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71"/>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Correlation Analysis P3Y" id="{34092865-E207-4164-8603-CA12E6EF4CDA}">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Lst>
        </p14:section>
        <p14:section name="Sectors Price Correlation Analysis P3Y" id="{0A439976-FA84-4A49-9BE0-BB32CD6B6757}">
          <p14:sldIdLst>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Lst>
        </p14:section>
        <p14:section name="Segments Price Correlation Analysis P3Y" id="{949CC2FF-394E-4B39-9CC4-F0BF980FF48A}">
          <p14:sldIdLst>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notesMaster" Target="notesMasters/notesMaster1.xml"/><Relationship Id="rId272" Type="http://schemas.openxmlformats.org/officeDocument/2006/relationships/presProps" Target="presProps.xml"/><Relationship Id="rId273" Type="http://schemas.openxmlformats.org/officeDocument/2006/relationships/viewProps" Target="viewProps.xml"/><Relationship Id="rId274" Type="http://schemas.openxmlformats.org/officeDocument/2006/relationships/theme" Target="theme/theme1.xml"/><Relationship Id="rId275" Type="http://schemas.openxmlformats.org/officeDocument/2006/relationships/tableStyles" Target="tableStyles.xml"/><Relationship Id="rId276"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222510548714963</c:v>
                </c:pt>
                <c:pt idx="1">
                  <c:v>0.6644255036483125</c:v>
                </c:pt>
                <c:pt idx="2">
                  <c:v>0.651380581443621</c:v>
                </c:pt>
                <c:pt idx="3">
                  <c:v>0.6617172054319223</c:v>
                </c:pt>
                <c:pt idx="4">
                  <c:v>0.6529883675149433</c:v>
                </c:pt>
                <c:pt idx="5">
                  <c:v>0.6486462204576122</c:v>
                </c:pt>
                <c:pt idx="6">
                  <c:v>0.6113420348309382</c:v>
                </c:pt>
                <c:pt idx="7">
                  <c:v>0.6070268869074918</c:v>
                </c:pt>
                <c:pt idx="8">
                  <c:v>0.626726749174094</c:v>
                </c:pt>
                <c:pt idx="9">
                  <c:v>0.6302936497987517</c:v>
                </c:pt>
                <c:pt idx="10">
                  <c:v>0.6336968835265846</c:v>
                </c:pt>
                <c:pt idx="11">
                  <c:v>0.6607651039295181</c:v>
                </c:pt>
                <c:pt idx="12">
                  <c:v>0.6711275106149424</c:v>
                </c:pt>
                <c:pt idx="13">
                  <c:v>0.6719850339739531</c:v>
                </c:pt>
                <c:pt idx="14">
                  <c:v>0.6791720987564258</c:v>
                </c:pt>
                <c:pt idx="15">
                  <c:v>0.6851847632959411</c:v>
                </c:pt>
                <c:pt idx="16">
                  <c:v>0.6910430791822312</c:v>
                </c:pt>
                <c:pt idx="17">
                  <c:v>0.6643105297463726</c:v>
                </c:pt>
                <c:pt idx="18">
                  <c:v>0.6989267239703545</c:v>
                </c:pt>
                <c:pt idx="19">
                  <c:v>0.7015103994249071</c:v>
                </c:pt>
                <c:pt idx="20">
                  <c:v>0.7341979347825378</c:v>
                </c:pt>
                <c:pt idx="21">
                  <c:v>0.6776203260772503</c:v>
                </c:pt>
                <c:pt idx="22">
                  <c:v>0.6270540239012207</c:v>
                </c:pt>
                <c:pt idx="23">
                  <c:v>0.6246331716770199</c:v>
                </c:pt>
                <c:pt idx="24">
                  <c:v>0.6219669436500921</c:v>
                </c:pt>
                <c:pt idx="25">
                  <c:v>0.5999370300835607</c:v>
                </c:pt>
                <c:pt idx="26">
                  <c:v>0.6050558454909322</c:v>
                </c:pt>
                <c:pt idx="27">
                  <c:v>0.6079294264868358</c:v>
                </c:pt>
                <c:pt idx="28">
                  <c:v>0.5972219486127367</c:v>
                </c:pt>
                <c:pt idx="29">
                  <c:v>0.6030360108341545</c:v>
                </c:pt>
                <c:pt idx="30">
                  <c:v>0.5969424367556282</c:v>
                </c:pt>
                <c:pt idx="31">
                  <c:v>0.5868082492308597</c:v>
                </c:pt>
                <c:pt idx="32">
                  <c:v>0.5734347346884932</c:v>
                </c:pt>
                <c:pt idx="33">
                  <c:v>0.5550179016449902</c:v>
                </c:pt>
                <c:pt idx="34">
                  <c:v>0.5856602303032371</c:v>
                </c:pt>
                <c:pt idx="35">
                  <c:v>0.6672630720143138</c:v>
                </c:pt>
                <c:pt idx="36">
                  <c:v>0.654565557869116</c:v>
                </c:pt>
                <c:pt idx="37">
                  <c:v>0.6287944680555697</c:v>
                </c:pt>
                <c:pt idx="38">
                  <c:v>0.6637069331166262</c:v>
                </c:pt>
                <c:pt idx="39">
                  <c:v>0.6957468363201683</c:v>
                </c:pt>
                <c:pt idx="40">
                  <c:v>0.687916380198556</c:v>
                </c:pt>
                <c:pt idx="41">
                  <c:v>0.6799063773243843</c:v>
                </c:pt>
                <c:pt idx="42">
                  <c:v>0.6936995743226974</c:v>
                </c:pt>
                <c:pt idx="43">
                  <c:v>0.6896296415483597</c:v>
                </c:pt>
                <c:pt idx="44">
                  <c:v>0.7000691279196655</c:v>
                </c:pt>
                <c:pt idx="45">
                  <c:v>0.6881451033689246</c:v>
                </c:pt>
                <c:pt idx="46">
                  <c:v>0.6970049285337645</c:v>
                </c:pt>
                <c:pt idx="47">
                  <c:v>0.6947546347645018</c:v>
                </c:pt>
                <c:pt idx="48">
                  <c:v>0.7071803168784321</c:v>
                </c:pt>
                <c:pt idx="49">
                  <c:v>0.7054050032348653</c:v>
                </c:pt>
                <c:pt idx="50">
                  <c:v>0.6627727796472623</c:v>
                </c:pt>
                <c:pt idx="51">
                  <c:v>0.6522548821574979</c:v>
                </c:pt>
                <c:pt idx="52">
                  <c:v>0.6685020128643611</c:v>
                </c:pt>
                <c:pt idx="53">
                  <c:v>0.6581593099189967</c:v>
                </c:pt>
                <c:pt idx="54">
                  <c:v>0.6354062921776021</c:v>
                </c:pt>
                <c:pt idx="55">
                  <c:v>0.6403917899277966</c:v>
                </c:pt>
                <c:pt idx="56">
                  <c:v>0.6293571128379706</c:v>
                </c:pt>
                <c:pt idx="57">
                  <c:v>0.6292379723097791</c:v>
                </c:pt>
                <c:pt idx="58">
                  <c:v>0.6100217959353095</c:v>
                </c:pt>
                <c:pt idx="59">
                  <c:v>0.6353561430153515</c:v>
                </c:pt>
                <c:pt idx="60">
                  <c:v>0.6422521432144294</c:v>
                </c:pt>
                <c:pt idx="61">
                  <c:v>0.6556352815271135</c:v>
                </c:pt>
                <c:pt idx="62">
                  <c:v>0.630941713328632</c:v>
                </c:pt>
                <c:pt idx="63">
                  <c:v>0.6446857947073779</c:v>
                </c:pt>
                <c:pt idx="64">
                  <c:v>0.6857979358426404</c:v>
                </c:pt>
                <c:pt idx="65">
                  <c:v>0.6914283402838616</c:v>
                </c:pt>
                <c:pt idx="66">
                  <c:v>0.7042687004819187</c:v>
                </c:pt>
                <c:pt idx="67">
                  <c:v>0.7220938599672456</c:v>
                </c:pt>
                <c:pt idx="68">
                  <c:v>0.7307025769262021</c:v>
                </c:pt>
                <c:pt idx="69">
                  <c:v>0.7308639382299895</c:v>
                </c:pt>
                <c:pt idx="70">
                  <c:v>0.7146629258701088</c:v>
                </c:pt>
                <c:pt idx="71">
                  <c:v>0.6950696044234462</c:v>
                </c:pt>
                <c:pt idx="72">
                  <c:v>0.7236533622725869</c:v>
                </c:pt>
                <c:pt idx="73">
                  <c:v>0.7115859940935453</c:v>
                </c:pt>
                <c:pt idx="74">
                  <c:v>0.692030893590753</c:v>
                </c:pt>
                <c:pt idx="75">
                  <c:v>0.6759603593948679</c:v>
                </c:pt>
                <c:pt idx="76">
                  <c:v>0.6681091322986699</c:v>
                </c:pt>
                <c:pt idx="77">
                  <c:v>0.6677286679857721</c:v>
                </c:pt>
                <c:pt idx="78">
                  <c:v>0.6731673361873296</c:v>
                </c:pt>
                <c:pt idx="79">
                  <c:v>0.6651576117864719</c:v>
                </c:pt>
                <c:pt idx="80">
                  <c:v>0.687111217489558</c:v>
                </c:pt>
                <c:pt idx="81">
                  <c:v>0.6986048993410259</c:v>
                </c:pt>
                <c:pt idx="82">
                  <c:v>0.7173883724696921</c:v>
                </c:pt>
                <c:pt idx="83">
                  <c:v>0.6833488582138519</c:v>
                </c:pt>
                <c:pt idx="84">
                  <c:v>0.6921712243066769</c:v>
                </c:pt>
                <c:pt idx="85">
                  <c:v>0.6799751233513974</c:v>
                </c:pt>
                <c:pt idx="86">
                  <c:v>0.6941023408596384</c:v>
                </c:pt>
                <c:pt idx="87">
                  <c:v>0.713615956521522</c:v>
                </c:pt>
                <c:pt idx="88">
                  <c:v>0.6972473733504433</c:v>
                </c:pt>
                <c:pt idx="89">
                  <c:v>0.6671794093892146</c:v>
                </c:pt>
                <c:pt idx="90">
                  <c:v>0.6896893696085942</c:v>
                </c:pt>
                <c:pt idx="91">
                  <c:v>0.7145235465104594</c:v>
                </c:pt>
                <c:pt idx="92">
                  <c:v>0.7029475607129599</c:v>
                </c:pt>
                <c:pt idx="93">
                  <c:v>0.7121751030835664</c:v>
                </c:pt>
                <c:pt idx="94">
                  <c:v>0.7192066345460497</c:v>
                </c:pt>
                <c:pt idx="95">
                  <c:v>0.7225664932863065</c:v>
                </c:pt>
                <c:pt idx="96">
                  <c:v>0.7246518087268266</c:v>
                </c:pt>
                <c:pt idx="97">
                  <c:v>0.7626475065678956</c:v>
                </c:pt>
                <c:pt idx="98">
                  <c:v>0.7718495653746127</c:v>
                </c:pt>
                <c:pt idx="99">
                  <c:v>0.7658933837634635</c:v>
                </c:pt>
                <c:pt idx="100">
                  <c:v>0.7568354787315257</c:v>
                </c:pt>
                <c:pt idx="101">
                  <c:v>0.7179285767058515</c:v>
                </c:pt>
                <c:pt idx="102">
                  <c:v>0.6943718816242654</c:v>
                </c:pt>
                <c:pt idx="103">
                  <c:v>0.7084616520859404</c:v>
                </c:pt>
                <c:pt idx="104">
                  <c:v>0.7097544689970312</c:v>
                </c:pt>
              </c:numCache>
            </c:numRef>
          </c:xVal>
          <c:yVal>
            <c:numRef>
              <c:f>Sheet1!$B$2:$B$106</c:f>
              <c:numCache>
                <c:formatCode>General</c:formatCode>
                <c:ptCount val="105"/>
                <c:pt idx="0">
                  <c:v>0.2222146569528608</c:v>
                </c:pt>
                <c:pt idx="1">
                  <c:v>0.21436831795331712</c:v>
                </c:pt>
                <c:pt idx="2">
                  <c:v>0.21788056610286502</c:v>
                </c:pt>
                <c:pt idx="3">
                  <c:v>0.22284236976901517</c:v>
                </c:pt>
                <c:pt idx="4">
                  <c:v>0.23230982175644757</c:v>
                </c:pt>
                <c:pt idx="5">
                  <c:v>0.23291621013782365</c:v>
                </c:pt>
                <c:pt idx="6">
                  <c:v>0.26065601535595323</c:v>
                </c:pt>
                <c:pt idx="7">
                  <c:v>0.26437738022850193</c:v>
                </c:pt>
                <c:pt idx="8">
                  <c:v>0.257263214202133</c:v>
                </c:pt>
                <c:pt idx="9">
                  <c:v>0.25305166789434913</c:v>
                </c:pt>
                <c:pt idx="10">
                  <c:v>0.24550973309251456</c:v>
                </c:pt>
                <c:pt idx="11">
                  <c:v>0.22982810920121335</c:v>
                </c:pt>
                <c:pt idx="12">
                  <c:v>0.22160040869403677</c:v>
                </c:pt>
                <c:pt idx="13">
                  <c:v>0.21053404833614928</c:v>
                </c:pt>
                <c:pt idx="14">
                  <c:v>0.1929620755584598</c:v>
                </c:pt>
                <c:pt idx="15">
                  <c:v>0.19070869326553608</c:v>
                </c:pt>
                <c:pt idx="16">
                  <c:v>0.18037248344153714</c:v>
                </c:pt>
                <c:pt idx="17">
                  <c:v>0.17803368978219664</c:v>
                </c:pt>
                <c:pt idx="18">
                  <c:v>0.16207250612115948</c:v>
                </c:pt>
                <c:pt idx="19">
                  <c:v>0.1645387436742653</c:v>
                </c:pt>
                <c:pt idx="20">
                  <c:v>0.17074384594770492</c:v>
                </c:pt>
                <c:pt idx="21">
                  <c:v>0.1679692794217303</c:v>
                </c:pt>
                <c:pt idx="22">
                  <c:v>0.18874264911789415</c:v>
                </c:pt>
                <c:pt idx="23">
                  <c:v>0.19065880039331368</c:v>
                </c:pt>
                <c:pt idx="24">
                  <c:v>0.19545118343195267</c:v>
                </c:pt>
                <c:pt idx="25">
                  <c:v>0.1965481171548117</c:v>
                </c:pt>
                <c:pt idx="26">
                  <c:v>0.2142291015898177</c:v>
                </c:pt>
                <c:pt idx="27">
                  <c:v>0.2190428532435629</c:v>
                </c:pt>
                <c:pt idx="28">
                  <c:v>0.21610719584569732</c:v>
                </c:pt>
                <c:pt idx="29">
                  <c:v>0.21404179201561102</c:v>
                </c:pt>
                <c:pt idx="30">
                  <c:v>0.21525529915422367</c:v>
                </c:pt>
                <c:pt idx="31">
                  <c:v>0.2158156532331743</c:v>
                </c:pt>
                <c:pt idx="32">
                  <c:v>0.22579515903180636</c:v>
                </c:pt>
                <c:pt idx="33">
                  <c:v>0.2243625609463672</c:v>
                </c:pt>
                <c:pt idx="34">
                  <c:v>0.22853110411464553</c:v>
                </c:pt>
                <c:pt idx="35">
                  <c:v>0.24465431218816822</c:v>
                </c:pt>
                <c:pt idx="36">
                  <c:v>0.21023367645953867</c:v>
                </c:pt>
                <c:pt idx="37">
                  <c:v>0.21509433962264152</c:v>
                </c:pt>
                <c:pt idx="38">
                  <c:v>0.2002953183357943</c:v>
                </c:pt>
                <c:pt idx="39">
                  <c:v>0.18644224973338897</c:v>
                </c:pt>
                <c:pt idx="40">
                  <c:v>0.1933965902954563</c:v>
                </c:pt>
                <c:pt idx="41">
                  <c:v>0.1845035313668467</c:v>
                </c:pt>
                <c:pt idx="42">
                  <c:v>0.1825368689733409</c:v>
                </c:pt>
                <c:pt idx="43">
                  <c:v>0.18491152406925856</c:v>
                </c:pt>
                <c:pt idx="44">
                  <c:v>0.179719027169339</c:v>
                </c:pt>
                <c:pt idx="45">
                  <c:v>0.19425275927214875</c:v>
                </c:pt>
                <c:pt idx="46">
                  <c:v>0.20227789562193046</c:v>
                </c:pt>
                <c:pt idx="47">
                  <c:v>0.19447760619247506</c:v>
                </c:pt>
                <c:pt idx="48">
                  <c:v>0.1946365151844604</c:v>
                </c:pt>
                <c:pt idx="49">
                  <c:v>0.2024177181681814</c:v>
                </c:pt>
                <c:pt idx="50">
                  <c:v>0.19343004525223934</c:v>
                </c:pt>
                <c:pt idx="51">
                  <c:v>0.1905886056027699</c:v>
                </c:pt>
                <c:pt idx="52">
                  <c:v>0.19163722255841645</c:v>
                </c:pt>
                <c:pt idx="53">
                  <c:v>0.1821459475050476</c:v>
                </c:pt>
                <c:pt idx="54">
                  <c:v>0.18893706477466823</c:v>
                </c:pt>
                <c:pt idx="55">
                  <c:v>0.18618821936357483</c:v>
                </c:pt>
                <c:pt idx="56">
                  <c:v>0.1827687615728134</c:v>
                </c:pt>
                <c:pt idx="57">
                  <c:v>0.17984808924756707</c:v>
                </c:pt>
                <c:pt idx="58">
                  <c:v>0.19077375079479927</c:v>
                </c:pt>
                <c:pt idx="59">
                  <c:v>0.18824739239018656</c:v>
                </c:pt>
                <c:pt idx="60">
                  <c:v>0.1917924831352393</c:v>
                </c:pt>
                <c:pt idx="61">
                  <c:v>0.18711292376081656</c:v>
                </c:pt>
                <c:pt idx="62">
                  <c:v>0.19957863689034025</c:v>
                </c:pt>
                <c:pt idx="63">
                  <c:v>0.2039075557604749</c:v>
                </c:pt>
                <c:pt idx="64">
                  <c:v>0.1943246991790681</c:v>
                </c:pt>
                <c:pt idx="65">
                  <c:v>0.19147112834115487</c:v>
                </c:pt>
                <c:pt idx="66">
                  <c:v>0.18685303480699092</c:v>
                </c:pt>
                <c:pt idx="67">
                  <c:v>0.1743600914933014</c:v>
                </c:pt>
                <c:pt idx="68">
                  <c:v>0.16798753104031278</c:v>
                </c:pt>
                <c:pt idx="69">
                  <c:v>0.1637571027589512</c:v>
                </c:pt>
                <c:pt idx="70">
                  <c:v>0.16157501697216564</c:v>
                </c:pt>
                <c:pt idx="71">
                  <c:v>0.15957227341493604</c:v>
                </c:pt>
                <c:pt idx="72">
                  <c:v>0.16045343380263072</c:v>
                </c:pt>
                <c:pt idx="73">
                  <c:v>0.16063700882811147</c:v>
                </c:pt>
                <c:pt idx="74">
                  <c:v>0.16004937942079275</c:v>
                </c:pt>
                <c:pt idx="75">
                  <c:v>0.1704176288700145</c:v>
                </c:pt>
                <c:pt idx="76">
                  <c:v>0.17403464829889376</c:v>
                </c:pt>
                <c:pt idx="77">
                  <c:v>0.16306754103838603</c:v>
                </c:pt>
                <c:pt idx="78">
                  <c:v>0.17122101414413549</c:v>
                </c:pt>
                <c:pt idx="79">
                  <c:v>0.16867216425445977</c:v>
                </c:pt>
                <c:pt idx="80">
                  <c:v>0.15128412624047022</c:v>
                </c:pt>
                <c:pt idx="81">
                  <c:v>0.15918572867213351</c:v>
                </c:pt>
                <c:pt idx="82">
                  <c:v>0.1604518736223365</c:v>
                </c:pt>
                <c:pt idx="83">
                  <c:v>0.15352127547249497</c:v>
                </c:pt>
                <c:pt idx="84">
                  <c:v>0.1606915980776667</c:v>
                </c:pt>
                <c:pt idx="85">
                  <c:v>0.16671613733056298</c:v>
                </c:pt>
                <c:pt idx="86">
                  <c:v>0.1759307231144993</c:v>
                </c:pt>
                <c:pt idx="87">
                  <c:v>0.19704711230134958</c:v>
                </c:pt>
                <c:pt idx="88">
                  <c:v>0.18048567053161235</c:v>
                </c:pt>
                <c:pt idx="89">
                  <c:v>0.17244673736505206</c:v>
                </c:pt>
                <c:pt idx="90">
                  <c:v>0.1624969158647915</c:v>
                </c:pt>
                <c:pt idx="91">
                  <c:v>0.1546732452057345</c:v>
                </c:pt>
                <c:pt idx="92">
                  <c:v>0.17381197362905376</c:v>
                </c:pt>
                <c:pt idx="93">
                  <c:v>0.16256891670391893</c:v>
                </c:pt>
                <c:pt idx="94">
                  <c:v>0.16598507525612377</c:v>
                </c:pt>
                <c:pt idx="95">
                  <c:v>0.17649211625850134</c:v>
                </c:pt>
                <c:pt idx="96">
                  <c:v>0.17222309294046526</c:v>
                </c:pt>
                <c:pt idx="97">
                  <c:v>0.17688563038294014</c:v>
                </c:pt>
                <c:pt idx="98">
                  <c:v>0.184845203101095</c:v>
                </c:pt>
                <c:pt idx="99">
                  <c:v>0.1852970193428802</c:v>
                </c:pt>
                <c:pt idx="100">
                  <c:v>0.18696157822191592</c:v>
                </c:pt>
                <c:pt idx="101">
                  <c:v>0.17836053875657837</c:v>
                </c:pt>
                <c:pt idx="102">
                  <c:v>0.16761097479366496</c:v>
                </c:pt>
                <c:pt idx="103">
                  <c:v>0.16980733033013978</c:v>
                </c:pt>
                <c:pt idx="104">
                  <c:v>0.1651442481502012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965231313523472</c:v>
                </c:pt>
                <c:pt idx="1">
                  <c:v>0.6866164893166699</c:v>
                </c:pt>
                <c:pt idx="2">
                  <c:v>0.6885540698119439</c:v>
                </c:pt>
                <c:pt idx="3">
                  <c:v>0.6516036105274993</c:v>
                </c:pt>
                <c:pt idx="4">
                  <c:v>0.6451638939840388</c:v>
                </c:pt>
                <c:pt idx="5">
                  <c:v>0.6813830135844173</c:v>
                </c:pt>
                <c:pt idx="6">
                  <c:v>0.6750642805140896</c:v>
                </c:pt>
                <c:pt idx="7">
                  <c:v>0.6691049967483454</c:v>
                </c:pt>
                <c:pt idx="8">
                  <c:v>0.6790664980113976</c:v>
                </c:pt>
                <c:pt idx="9">
                  <c:v>0.6590132576146425</c:v>
                </c:pt>
                <c:pt idx="10">
                  <c:v>0.6732018698600186</c:v>
                </c:pt>
                <c:pt idx="11">
                  <c:v>0.6791908754350978</c:v>
                </c:pt>
                <c:pt idx="12">
                  <c:v>0.6861514764418489</c:v>
                </c:pt>
                <c:pt idx="13">
                  <c:v>0.6536625844568668</c:v>
                </c:pt>
                <c:pt idx="14">
                  <c:v>0.6576018517063896</c:v>
                </c:pt>
                <c:pt idx="15">
                  <c:v>0.6622879663961417</c:v>
                </c:pt>
                <c:pt idx="16">
                  <c:v>0.6693225912486297</c:v>
                </c:pt>
                <c:pt idx="17">
                  <c:v>0.6566739328147946</c:v>
                </c:pt>
                <c:pt idx="18">
                  <c:v>0.6729485215297695</c:v>
                </c:pt>
                <c:pt idx="19">
                  <c:v>0.6759360663265842</c:v>
                </c:pt>
                <c:pt idx="20">
                  <c:v>0.6478720672435612</c:v>
                </c:pt>
                <c:pt idx="21">
                  <c:v>0.5755057852122222</c:v>
                </c:pt>
                <c:pt idx="22">
                  <c:v>0.6257947014064296</c:v>
                </c:pt>
                <c:pt idx="23">
                  <c:v>0.6321058159241841</c:v>
                </c:pt>
                <c:pt idx="24">
                  <c:v>0.615337012558164</c:v>
                </c:pt>
                <c:pt idx="25">
                  <c:v>0.6662815859524006</c:v>
                </c:pt>
                <c:pt idx="26">
                  <c:v>0.6525734453004399</c:v>
                </c:pt>
                <c:pt idx="27">
                  <c:v>0.6704811817923034</c:v>
                </c:pt>
                <c:pt idx="28">
                  <c:v>0.6862729261793721</c:v>
                </c:pt>
                <c:pt idx="29">
                  <c:v>0.6493510028211523</c:v>
                </c:pt>
                <c:pt idx="30">
                  <c:v>0.6546764309706666</c:v>
                </c:pt>
                <c:pt idx="31">
                  <c:v>0.6502976485424151</c:v>
                </c:pt>
                <c:pt idx="32">
                  <c:v>0.6536433572523714</c:v>
                </c:pt>
                <c:pt idx="33">
                  <c:v>0.6820168088528903</c:v>
                </c:pt>
                <c:pt idx="34">
                  <c:v>0.7062466100726772</c:v>
                </c:pt>
                <c:pt idx="35">
                  <c:v>0.6921947741429638</c:v>
                </c:pt>
                <c:pt idx="36">
                  <c:v>0.6467492399674769</c:v>
                </c:pt>
                <c:pt idx="37">
                  <c:v>0.6506392388449894</c:v>
                </c:pt>
                <c:pt idx="38">
                  <c:v>0.6457329521049858</c:v>
                </c:pt>
                <c:pt idx="39">
                  <c:v>0.6689215932399518</c:v>
                </c:pt>
                <c:pt idx="40">
                  <c:v>0.6545290876567662</c:v>
                </c:pt>
                <c:pt idx="41">
                  <c:v>0.6818279962563</c:v>
                </c:pt>
                <c:pt idx="42">
                  <c:v>0.6488405913705083</c:v>
                </c:pt>
                <c:pt idx="43">
                  <c:v>0.7006352408534089</c:v>
                </c:pt>
                <c:pt idx="44">
                  <c:v>0.7283508881034758</c:v>
                </c:pt>
                <c:pt idx="45">
                  <c:v>0.733204820684695</c:v>
                </c:pt>
                <c:pt idx="46">
                  <c:v>0.7128857451137722</c:v>
                </c:pt>
                <c:pt idx="47">
                  <c:v>0.708152635184384</c:v>
                </c:pt>
                <c:pt idx="48">
                  <c:v>0.750585634691467</c:v>
                </c:pt>
                <c:pt idx="49">
                  <c:v>0.7692867880727414</c:v>
                </c:pt>
                <c:pt idx="50">
                  <c:v>0.7549416578632173</c:v>
                </c:pt>
                <c:pt idx="51">
                  <c:v>0.7216004536912652</c:v>
                </c:pt>
              </c:numCache>
            </c:numRef>
          </c:xVal>
          <c:yVal>
            <c:numRef>
              <c:f>Sheet1!$B$109:$B$160</c:f>
              <c:numCache>
                <c:formatCode>General</c:formatCode>
                <c:ptCount val="52"/>
                <c:pt idx="0">
                  <c:v>0.17802485284499672</c:v>
                </c:pt>
                <c:pt idx="1">
                  <c:v>0.17281702961977452</c:v>
                </c:pt>
                <c:pt idx="2">
                  <c:v>0.19121979964643487</c:v>
                </c:pt>
                <c:pt idx="3">
                  <c:v>0.20584655418450432</c:v>
                </c:pt>
                <c:pt idx="4">
                  <c:v>0.1907154821727686</c:v>
                </c:pt>
                <c:pt idx="5">
                  <c:v>0.1865470261731862</c:v>
                </c:pt>
                <c:pt idx="6">
                  <c:v>0.1957534188576993</c:v>
                </c:pt>
                <c:pt idx="7">
                  <c:v>0.19280505867608522</c:v>
                </c:pt>
                <c:pt idx="8">
                  <c:v>0.18257041154062326</c:v>
                </c:pt>
                <c:pt idx="9">
                  <c:v>0.19004784140716763</c:v>
                </c:pt>
                <c:pt idx="10">
                  <c:v>0.19452803622208112</c:v>
                </c:pt>
                <c:pt idx="11">
                  <c:v>0.19565534334451087</c:v>
                </c:pt>
                <c:pt idx="12">
                  <c:v>0.19433398432904303</c:v>
                </c:pt>
                <c:pt idx="13">
                  <c:v>0.19587603827658231</c:v>
                </c:pt>
                <c:pt idx="14">
                  <c:v>0.19433897134967207</c:v>
                </c:pt>
                <c:pt idx="15">
                  <c:v>0.18689389213406682</c:v>
                </c:pt>
                <c:pt idx="16">
                  <c:v>0.1760687035086039</c:v>
                </c:pt>
                <c:pt idx="17">
                  <c:v>0.17739695871575167</c:v>
                </c:pt>
                <c:pt idx="18">
                  <c:v>0.17960259529602596</c:v>
                </c:pt>
                <c:pt idx="19">
                  <c:v>0.1812227074235808</c:v>
                </c:pt>
                <c:pt idx="20">
                  <c:v>0.16823110535685387</c:v>
                </c:pt>
                <c:pt idx="21">
                  <c:v>0.18844209005538165</c:v>
                </c:pt>
                <c:pt idx="22">
                  <c:v>0.16644015144160762</c:v>
                </c:pt>
                <c:pt idx="23">
                  <c:v>0.17566196611545096</c:v>
                </c:pt>
                <c:pt idx="24">
                  <c:v>0.18963132541613012</c:v>
                </c:pt>
                <c:pt idx="25">
                  <c:v>0.17986905892348443</c:v>
                </c:pt>
                <c:pt idx="26">
                  <c:v>0.17374981951196034</c:v>
                </c:pt>
                <c:pt idx="27">
                  <c:v>0.17513859275053306</c:v>
                </c:pt>
                <c:pt idx="28">
                  <c:v>0.16510977099838398</c:v>
                </c:pt>
                <c:pt idx="29">
                  <c:v>0.16586046511627908</c:v>
                </c:pt>
                <c:pt idx="30">
                  <c:v>0.17418667699457785</c:v>
                </c:pt>
                <c:pt idx="31">
                  <c:v>0.1685892228540482</c:v>
                </c:pt>
                <c:pt idx="32">
                  <c:v>0.16543958423559982</c:v>
                </c:pt>
                <c:pt idx="33">
                  <c:v>0.18127976309576213</c:v>
                </c:pt>
                <c:pt idx="34">
                  <c:v>0.20100297758971947</c:v>
                </c:pt>
                <c:pt idx="35">
                  <c:v>0.19222462203023757</c:v>
                </c:pt>
                <c:pt idx="36">
                  <c:v>0.17836587596148673</c:v>
                </c:pt>
                <c:pt idx="37">
                  <c:v>0.16997222357584912</c:v>
                </c:pt>
                <c:pt idx="38">
                  <c:v>0.1698518359458879</c:v>
                </c:pt>
                <c:pt idx="39">
                  <c:v>0.18550688671051</c:v>
                </c:pt>
                <c:pt idx="40">
                  <c:v>0.17479890572046874</c:v>
                </c:pt>
                <c:pt idx="41">
                  <c:v>0.17807064592751512</c:v>
                </c:pt>
                <c:pt idx="42">
                  <c:v>0.17420122365737595</c:v>
                </c:pt>
                <c:pt idx="43">
                  <c:v>0.17370469237448943</c:v>
                </c:pt>
                <c:pt idx="44">
                  <c:v>0.17378871696197118</c:v>
                </c:pt>
                <c:pt idx="45">
                  <c:v>0.19017245932275692</c:v>
                </c:pt>
                <c:pt idx="46">
                  <c:v>0.19968408262454435</c:v>
                </c:pt>
                <c:pt idx="47">
                  <c:v>0.19999542344568774</c:v>
                </c:pt>
                <c:pt idx="48">
                  <c:v>0.19529320987654322</c:v>
                </c:pt>
                <c:pt idx="49">
                  <c:v>0.20265524023602136</c:v>
                </c:pt>
                <c:pt idx="50">
                  <c:v>0.21063819791886876</c:v>
                </c:pt>
                <c:pt idx="51">
                  <c:v>0.1990822240243685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02381379347682</c:v>
                </c:pt>
              </c:numCache>
            </c:numRef>
          </c:xVal>
          <c:yVal>
            <c:numRef>
              <c:f>Sheet1!$B$163:$B$164</c:f>
              <c:numCache>
                <c:formatCode>General</c:formatCode>
                <c:ptCount val="2"/>
                <c:pt idx="0">
                  <c:v>0.23609206138432418</c:v>
                </c:pt>
                <c:pt idx="1">
                  <c:v>0.2360920613843241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02381379347682</c:v>
                </c:pt>
                <c:pt idx="1">
                  <c:v>1.02381379347682</c:v>
                </c:pt>
              </c:numCache>
            </c:numRef>
          </c:xVal>
          <c:yVal>
            <c:numRef>
              <c:f>Sheet1!$B$167:$B$168</c:f>
              <c:numCache>
                <c:formatCode>General</c:formatCode>
                <c:ptCount val="2"/>
                <c:pt idx="0">
                  <c:v>0.2360920613843241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943515133009371</c:v>
                </c:pt>
              </c:numCache>
            </c:numRef>
          </c:xVal>
          <c:yVal>
            <c:numRef>
              <c:f>Sheet1!$B$171:$B$172</c:f>
              <c:numCache>
                <c:formatCode>General</c:formatCode>
                <c:ptCount val="2"/>
                <c:pt idx="0">
                  <c:v>0.20191721801395046</c:v>
                </c:pt>
                <c:pt idx="1">
                  <c:v>0.2019172180139504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943515133009371</c:v>
                </c:pt>
                <c:pt idx="1">
                  <c:v>0.7943515133009371</c:v>
                </c:pt>
              </c:numCache>
            </c:numRef>
          </c:xVal>
          <c:yVal>
            <c:numRef>
              <c:f>Sheet1!$B$175:$B$176</c:f>
              <c:numCache>
                <c:formatCode>General</c:formatCode>
                <c:ptCount val="2"/>
                <c:pt idx="0">
                  <c:v>0.2019172180139504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079263461823494</c:v>
                </c:pt>
              </c:numCache>
            </c:numRef>
          </c:xVal>
          <c:yVal>
            <c:numRef>
              <c:f>Sheet1!$B$179:$B$180</c:f>
              <c:numCache>
                <c:formatCode>General</c:formatCode>
                <c:ptCount val="2"/>
                <c:pt idx="0">
                  <c:v>0.1890455314462401</c:v>
                </c:pt>
                <c:pt idx="1">
                  <c:v>0.189045531446240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079263461823494</c:v>
                </c:pt>
                <c:pt idx="1">
                  <c:v>0.7079263461823494</c:v>
                </c:pt>
              </c:numCache>
            </c:numRef>
          </c:xVal>
          <c:yVal>
            <c:numRef>
              <c:f>Sheet1!$B$183:$B$184</c:f>
              <c:numCache>
                <c:formatCode>General</c:formatCode>
                <c:ptCount val="2"/>
                <c:pt idx="0">
                  <c:v>0.189045531446240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965231313523472</c:v>
                </c:pt>
                <c:pt idx="1">
                  <c:v>0.6866164893166699</c:v>
                </c:pt>
                <c:pt idx="2">
                  <c:v>0.6885540698119439</c:v>
                </c:pt>
                <c:pt idx="3">
                  <c:v>0.6516036105274993</c:v>
                </c:pt>
                <c:pt idx="4">
                  <c:v>0.6451638939840388</c:v>
                </c:pt>
                <c:pt idx="5">
                  <c:v>0.6813830135844173</c:v>
                </c:pt>
                <c:pt idx="6">
                  <c:v>0.6750642805140896</c:v>
                </c:pt>
                <c:pt idx="7">
                  <c:v>0.6691049967483454</c:v>
                </c:pt>
                <c:pt idx="8">
                  <c:v>0.6790664980113976</c:v>
                </c:pt>
                <c:pt idx="9">
                  <c:v>0.6590132576146425</c:v>
                </c:pt>
                <c:pt idx="10">
                  <c:v>0.6732018698600186</c:v>
                </c:pt>
                <c:pt idx="11">
                  <c:v>0.6791908754350978</c:v>
                </c:pt>
                <c:pt idx="12">
                  <c:v>0.6861514764418489</c:v>
                </c:pt>
                <c:pt idx="13">
                  <c:v>0.6536625844568668</c:v>
                </c:pt>
                <c:pt idx="14">
                  <c:v>0.6576018517063896</c:v>
                </c:pt>
                <c:pt idx="15">
                  <c:v>0.6622879663961417</c:v>
                </c:pt>
                <c:pt idx="16">
                  <c:v>0.6693225912486297</c:v>
                </c:pt>
                <c:pt idx="17">
                  <c:v>0.6566739328147946</c:v>
                </c:pt>
                <c:pt idx="18">
                  <c:v>0.6729485215297695</c:v>
                </c:pt>
                <c:pt idx="19">
                  <c:v>0.6759360663265842</c:v>
                </c:pt>
                <c:pt idx="20">
                  <c:v>0.6478720672435612</c:v>
                </c:pt>
                <c:pt idx="21">
                  <c:v>0.5755057852122222</c:v>
                </c:pt>
                <c:pt idx="22">
                  <c:v>0.6257947014064296</c:v>
                </c:pt>
                <c:pt idx="23">
                  <c:v>0.6321058159241841</c:v>
                </c:pt>
                <c:pt idx="24">
                  <c:v>0.615337012558164</c:v>
                </c:pt>
                <c:pt idx="25">
                  <c:v>0.6662815859524006</c:v>
                </c:pt>
                <c:pt idx="26">
                  <c:v>0.6525734453004399</c:v>
                </c:pt>
                <c:pt idx="27">
                  <c:v>0.6704811817923034</c:v>
                </c:pt>
                <c:pt idx="28">
                  <c:v>0.6862729261793721</c:v>
                </c:pt>
                <c:pt idx="29">
                  <c:v>0.6493510028211523</c:v>
                </c:pt>
                <c:pt idx="30">
                  <c:v>0.6546764309706666</c:v>
                </c:pt>
                <c:pt idx="31">
                  <c:v>0.6502976485424151</c:v>
                </c:pt>
                <c:pt idx="32">
                  <c:v>0.6536433572523714</c:v>
                </c:pt>
                <c:pt idx="33">
                  <c:v>0.6820168088528903</c:v>
                </c:pt>
                <c:pt idx="34">
                  <c:v>0.7062466100726772</c:v>
                </c:pt>
                <c:pt idx="35">
                  <c:v>0.6921947741429638</c:v>
                </c:pt>
                <c:pt idx="36">
                  <c:v>0.6467492399674769</c:v>
                </c:pt>
                <c:pt idx="37">
                  <c:v>0.6506392388449894</c:v>
                </c:pt>
                <c:pt idx="38">
                  <c:v>0.6457329521049858</c:v>
                </c:pt>
                <c:pt idx="39">
                  <c:v>0.6689215932399518</c:v>
                </c:pt>
                <c:pt idx="40">
                  <c:v>0.6545290876567662</c:v>
                </c:pt>
                <c:pt idx="41">
                  <c:v>0.6818279962563</c:v>
                </c:pt>
                <c:pt idx="42">
                  <c:v>0.6488405913705083</c:v>
                </c:pt>
                <c:pt idx="43">
                  <c:v>0.7006352408534089</c:v>
                </c:pt>
                <c:pt idx="44">
                  <c:v>0.7283508881034758</c:v>
                </c:pt>
                <c:pt idx="45">
                  <c:v>0.733204820684695</c:v>
                </c:pt>
                <c:pt idx="46">
                  <c:v>0.7128857451137722</c:v>
                </c:pt>
                <c:pt idx="47">
                  <c:v>0.708152635184384</c:v>
                </c:pt>
                <c:pt idx="48">
                  <c:v>0.750585634691467</c:v>
                </c:pt>
                <c:pt idx="49">
                  <c:v>0.7692867880727414</c:v>
                </c:pt>
                <c:pt idx="50">
                  <c:v>0.7549416578632173</c:v>
                </c:pt>
                <c:pt idx="51">
                  <c:v>0.7216004536912652</c:v>
                </c:pt>
                <c:pt idx="52">
                  <c:v>0.7943515133009371</c:v>
                </c:pt>
                <c:pt idx="53">
                  <c:v>1.02381379347682</c:v>
                </c:pt>
                <c:pt idx="54">
                  <c:v>0.7079263461823494</c:v>
                </c:pt>
              </c:numCache>
            </c:numRef>
          </c:xVal>
          <c:yVal>
            <c:numRef>
              <c:f>Sheet1!$B$187:$B$241</c:f>
              <c:numCache>
                <c:formatCode>General</c:formatCode>
                <c:ptCount val="55"/>
                <c:pt idx="0">
                  <c:v>0.18734719967495578</c:v>
                </c:pt>
                <c:pt idx="1">
                  <c:v>0.185871759181485</c:v>
                </c:pt>
                <c:pt idx="2">
                  <c:v>0.18616033170805768</c:v>
                </c:pt>
                <c:pt idx="3">
                  <c:v>0.18065713459199423</c:v>
                </c:pt>
                <c:pt idx="4">
                  <c:v>0.17969803881357838</c:v>
                </c:pt>
                <c:pt idx="5">
                  <c:v>0.1850923142404895</c:v>
                </c:pt>
                <c:pt idx="6">
                  <c:v>0.18415123707167497</c:v>
                </c:pt>
                <c:pt idx="7">
                  <c:v>0.18326369429498063</c:v>
                </c:pt>
                <c:pt idx="8">
                  <c:v>0.18474730521847377</c:v>
                </c:pt>
                <c:pt idx="9">
                  <c:v>0.18176068646308505</c:v>
                </c:pt>
                <c:pt idx="10">
                  <c:v>0.183873859925656</c:v>
                </c:pt>
                <c:pt idx="11">
                  <c:v>0.1847658293043083</c:v>
                </c:pt>
                <c:pt idx="12">
                  <c:v>0.18580250273484797</c:v>
                </c:pt>
                <c:pt idx="13">
                  <c:v>0.1809637867854871</c:v>
                </c:pt>
                <c:pt idx="14">
                  <c:v>0.18155047947041686</c:v>
                </c:pt>
                <c:pt idx="15">
                  <c:v>0.18224840348396334</c:v>
                </c:pt>
                <c:pt idx="16">
                  <c:v>0.1832961016168279</c:v>
                </c:pt>
                <c:pt idx="17">
                  <c:v>0.181412280360932</c:v>
                </c:pt>
                <c:pt idx="18">
                  <c:v>0.18383612762604765</c:v>
                </c:pt>
                <c:pt idx="19">
                  <c:v>0.1842810760307042</c:v>
                </c:pt>
                <c:pt idx="20">
                  <c:v>0.1801013791660453</c:v>
                </c:pt>
                <c:pt idx="21">
                  <c:v>0.1693235452152031</c:v>
                </c:pt>
                <c:pt idx="22">
                  <c:v>0.1768132983584455</c:v>
                </c:pt>
                <c:pt idx="23">
                  <c:v>0.17775324086216085</c:v>
                </c:pt>
                <c:pt idx="24">
                  <c:v>0.17525578799930655</c:v>
                </c:pt>
                <c:pt idx="25">
                  <c:v>0.18284319110095815</c:v>
                </c:pt>
                <c:pt idx="26">
                  <c:v>0.18080157642110434</c:v>
                </c:pt>
                <c:pt idx="27">
                  <c:v>0.183468655686848</c:v>
                </c:pt>
                <c:pt idx="28">
                  <c:v>0.18582059078728974</c:v>
                </c:pt>
                <c:pt idx="29">
                  <c:v>0.18032164365431025</c:v>
                </c:pt>
                <c:pt idx="30">
                  <c:v>0.18111478347995102</c:v>
                </c:pt>
                <c:pt idx="31">
                  <c:v>0.18046263183426992</c:v>
                </c:pt>
                <c:pt idx="32">
                  <c:v>0.18096092319195195</c:v>
                </c:pt>
                <c:pt idx="33">
                  <c:v>0.18518670820368183</c:v>
                </c:pt>
                <c:pt idx="34">
                  <c:v>0.18879536083690246</c:v>
                </c:pt>
                <c:pt idx="35">
                  <c:v>0.18670255808258457</c:v>
                </c:pt>
                <c:pt idx="36">
                  <c:v>0.1799341514793739</c:v>
                </c:pt>
                <c:pt idx="37">
                  <c:v>0.18051350640536878</c:v>
                </c:pt>
                <c:pt idx="38">
                  <c:v>0.1797827911839335</c:v>
                </c:pt>
                <c:pt idx="39">
                  <c:v>0.18323637919043217</c:v>
                </c:pt>
                <c:pt idx="40">
                  <c:v>0.18109283898140266</c:v>
                </c:pt>
                <c:pt idx="41">
                  <c:v>0.18515858749944286</c:v>
                </c:pt>
                <c:pt idx="42">
                  <c:v>0.18024562579478742</c:v>
                </c:pt>
                <c:pt idx="43">
                  <c:v>0.18795963452922854</c:v>
                </c:pt>
                <c:pt idx="44">
                  <c:v>0.1920874497978363</c:v>
                </c:pt>
                <c:pt idx="45">
                  <c:v>0.19281036768031515</c:v>
                </c:pt>
                <c:pt idx="46">
                  <c:v>0.18978415690382144</c:v>
                </c:pt>
                <c:pt idx="47">
                  <c:v>0.18907923367910834</c:v>
                </c:pt>
                <c:pt idx="48">
                  <c:v>0.1953989700243507</c:v>
                </c:pt>
                <c:pt idx="49">
                  <c:v>0.1981842164150015</c:v>
                </c:pt>
                <c:pt idx="50">
                  <c:v>0.1960477320321987</c:v>
                </c:pt>
                <c:pt idx="51">
                  <c:v>0.19108207741792946</c:v>
                </c:pt>
                <c:pt idx="52">
                  <c:v>0.20191721801395046</c:v>
                </c:pt>
                <c:pt idx="53">
                  <c:v>0.23609206138432415</c:v>
                </c:pt>
                <c:pt idx="54">
                  <c:v>0.189045531446240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72528562742023"/>
          <c:min val="0.1210273009923761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5.339</c:v>
                </c:pt>
                <c:pt idx="1">
                  <c:v>908.2997</c:v>
                </c:pt>
                <c:pt idx="2">
                  <c:v>940.9637</c:v>
                </c:pt>
                <c:pt idx="3">
                  <c:v>955.9334</c:v>
                </c:pt>
                <c:pt idx="4">
                  <c:v>942.4441</c:v>
                </c:pt>
                <c:pt idx="5">
                  <c:v>940.2147</c:v>
                </c:pt>
                <c:pt idx="6">
                  <c:v>909.8198</c:v>
                </c:pt>
                <c:pt idx="7">
                  <c:v>924.4938</c:v>
                </c:pt>
                <c:pt idx="8">
                  <c:v>923.6388</c:v>
                </c:pt>
                <c:pt idx="9">
                  <c:v>897.1056</c:v>
                </c:pt>
                <c:pt idx="10">
                  <c:v>879.3296</c:v>
                </c:pt>
                <c:pt idx="11">
                  <c:v>894.5324</c:v>
                </c:pt>
                <c:pt idx="12">
                  <c:v>888.5455</c:v>
                </c:pt>
                <c:pt idx="13">
                  <c:v>871.4541</c:v>
                </c:pt>
                <c:pt idx="14">
                  <c:v>924.2327</c:v>
                </c:pt>
                <c:pt idx="15">
                  <c:v>926.4744</c:v>
                </c:pt>
                <c:pt idx="16">
                  <c:v>967.2882</c:v>
                </c:pt>
                <c:pt idx="17">
                  <c:v>949.7834</c:v>
                </c:pt>
                <c:pt idx="18">
                  <c:v>1007.0661</c:v>
                </c:pt>
                <c:pt idx="19">
                  <c:v>1009.8445</c:v>
                </c:pt>
                <c:pt idx="20">
                  <c:v>1021.2071</c:v>
                </c:pt>
                <c:pt idx="21">
                  <c:v>1026.5957</c:v>
                </c:pt>
                <c:pt idx="22">
                  <c:v>1010.5776</c:v>
                </c:pt>
                <c:pt idx="23">
                  <c:v>995.7251</c:v>
                </c:pt>
                <c:pt idx="24">
                  <c:v>1003.6206</c:v>
                </c:pt>
                <c:pt idx="25">
                  <c:v>975.6425</c:v>
                </c:pt>
                <c:pt idx="26">
                  <c:v>996.5869</c:v>
                </c:pt>
                <c:pt idx="27">
                  <c:v>1051.6926</c:v>
                </c:pt>
                <c:pt idx="28">
                  <c:v>1017.9765</c:v>
                </c:pt>
                <c:pt idx="29">
                  <c:v>955.151</c:v>
                </c:pt>
                <c:pt idx="30">
                  <c:v>975.1197</c:v>
                </c:pt>
                <c:pt idx="31">
                  <c:v>979.0429</c:v>
                </c:pt>
                <c:pt idx="32">
                  <c:v>964.5436</c:v>
                </c:pt>
                <c:pt idx="33">
                  <c:v>917.2174</c:v>
                </c:pt>
                <c:pt idx="34">
                  <c:v>975.4718</c:v>
                </c:pt>
                <c:pt idx="35">
                  <c:v>1007.2858</c:v>
                </c:pt>
                <c:pt idx="36">
                  <c:v>1086.5904</c:v>
                </c:pt>
                <c:pt idx="37">
                  <c:v>1090.6655</c:v>
                </c:pt>
                <c:pt idx="38">
                  <c:v>1115.782</c:v>
                </c:pt>
                <c:pt idx="39">
                  <c:v>1139.0051</c:v>
                </c:pt>
                <c:pt idx="40">
                  <c:v>1161.8093</c:v>
                </c:pt>
                <c:pt idx="41">
                  <c:v>1164.516</c:v>
                </c:pt>
                <c:pt idx="42">
                  <c:v>1188.0815</c:v>
                </c:pt>
                <c:pt idx="43">
                  <c:v>1207.3765</c:v>
                </c:pt>
                <c:pt idx="44">
                  <c:v>1068.4104</c:v>
                </c:pt>
                <c:pt idx="45">
                  <c:v>1044.4211</c:v>
                </c:pt>
                <c:pt idx="46">
                  <c:v>1022.3771</c:v>
                </c:pt>
                <c:pt idx="47">
                  <c:v>998.029</c:v>
                </c:pt>
                <c:pt idx="48">
                  <c:v>992.409</c:v>
                </c:pt>
                <c:pt idx="49">
                  <c:v>950.193</c:v>
                </c:pt>
                <c:pt idx="50">
                  <c:v>957.3793</c:v>
                </c:pt>
                <c:pt idx="51">
                  <c:v>985.9719</c:v>
                </c:pt>
                <c:pt idx="52">
                  <c:v>989.7834</c:v>
                </c:pt>
                <c:pt idx="53">
                  <c:v>1077.0405</c:v>
                </c:pt>
                <c:pt idx="54">
                  <c:v>1079.7286</c:v>
                </c:pt>
                <c:pt idx="55">
                  <c:v>1113.3342</c:v>
                </c:pt>
                <c:pt idx="56">
                  <c:v>1089.9423</c:v>
                </c:pt>
                <c:pt idx="57">
                  <c:v>1092.6085</c:v>
                </c:pt>
                <c:pt idx="58">
                  <c:v>1065.2985</c:v>
                </c:pt>
                <c:pt idx="59">
                  <c:v>1076.2585</c:v>
                </c:pt>
                <c:pt idx="60">
                  <c:v>1099.4991</c:v>
                </c:pt>
                <c:pt idx="61">
                  <c:v>1074.6468</c:v>
                </c:pt>
                <c:pt idx="62">
                  <c:v>1024.3388</c:v>
                </c:pt>
                <c:pt idx="63">
                  <c:v>1051.3767</c:v>
                </c:pt>
                <c:pt idx="64">
                  <c:v>1058.04</c:v>
                </c:pt>
                <c:pt idx="65">
                  <c:v>1027.6052</c:v>
                </c:pt>
                <c:pt idx="66">
                  <c:v>1040.2006</c:v>
                </c:pt>
                <c:pt idx="67">
                  <c:v>1026.6074</c:v>
                </c:pt>
                <c:pt idx="68">
                  <c:v>1024.3861</c:v>
                </c:pt>
                <c:pt idx="69">
                  <c:v>1042.0443</c:v>
                </c:pt>
                <c:pt idx="70">
                  <c:v>1039.7038</c:v>
                </c:pt>
                <c:pt idx="71">
                  <c:v>1056.9024</c:v>
                </c:pt>
                <c:pt idx="72">
                  <c:v>1076.037</c:v>
                </c:pt>
                <c:pt idx="73">
                  <c:v>1112.2362</c:v>
                </c:pt>
                <c:pt idx="74">
                  <c:v>1082.1863</c:v>
                </c:pt>
                <c:pt idx="75">
                  <c:v>1094.3358</c:v>
                </c:pt>
                <c:pt idx="76">
                  <c:v>1069.793</c:v>
                </c:pt>
                <c:pt idx="77">
                  <c:v>1033.0136</c:v>
                </c:pt>
                <c:pt idx="78">
                  <c:v>1099.6623</c:v>
                </c:pt>
                <c:pt idx="79">
                  <c:v>835.6999</c:v>
                </c:pt>
                <c:pt idx="80">
                  <c:v>829.1711</c:v>
                </c:pt>
                <c:pt idx="81">
                  <c:v>1000.7921</c:v>
                </c:pt>
                <c:pt idx="82">
                  <c:v>1004.7331</c:v>
                </c:pt>
                <c:pt idx="83">
                  <c:v>1035.0474</c:v>
                </c:pt>
                <c:pt idx="84">
                  <c:v>1034.8995</c:v>
                </c:pt>
                <c:pt idx="85">
                  <c:v>1059.6931</c:v>
                </c:pt>
                <c:pt idx="86">
                  <c:v>1143.2755</c:v>
                </c:pt>
                <c:pt idx="87">
                  <c:v>1164.9097</c:v>
                </c:pt>
                <c:pt idx="88">
                  <c:v>1166.1309</c:v>
                </c:pt>
                <c:pt idx="89">
                  <c:v>1119.1226</c:v>
                </c:pt>
                <c:pt idx="90">
                  <c:v>1152.0588</c:v>
                </c:pt>
                <c:pt idx="91">
                  <c:v>1172.9296</c:v>
                </c:pt>
                <c:pt idx="92">
                  <c:v>1168.2515</c:v>
                </c:pt>
                <c:pt idx="93">
                  <c:v>1196.6421</c:v>
                </c:pt>
                <c:pt idx="94">
                  <c:v>1182.9458</c:v>
                </c:pt>
                <c:pt idx="95">
                  <c:v>1191.1058</c:v>
                </c:pt>
                <c:pt idx="96">
                  <c:v>1134.5103</c:v>
                </c:pt>
                <c:pt idx="97">
                  <c:v>1151.7349</c:v>
                </c:pt>
                <c:pt idx="98">
                  <c:v>1135.9488</c:v>
                </c:pt>
                <c:pt idx="99">
                  <c:v>1087.9181</c:v>
                </c:pt>
                <c:pt idx="100">
                  <c:v>1075.9064</c:v>
                </c:pt>
                <c:pt idx="101">
                  <c:v>1118.8907</c:v>
                </c:pt>
                <c:pt idx="102">
                  <c:v>1146.2543</c:v>
                </c:pt>
                <c:pt idx="103">
                  <c:v>1027.8397</c:v>
                </c:pt>
                <c:pt idx="104">
                  <c:v>1112.0425</c:v>
                </c:pt>
              </c:numCache>
            </c:numRef>
          </c:xVal>
          <c:yVal>
            <c:numRef>
              <c:f>Sheet1!$B$2:$B$106</c:f>
              <c:numCache>
                <c:formatCode>General</c:formatCode>
                <c:ptCount val="105"/>
                <c:pt idx="0">
                  <c:v>0.22194230725584985</c:v>
                </c:pt>
                <c:pt idx="1">
                  <c:v>0.22026857992494867</c:v>
                </c:pt>
                <c:pt idx="2">
                  <c:v>0.20593717638936831</c:v>
                </c:pt>
                <c:pt idx="3">
                  <c:v>0.2040204890306369</c:v>
                </c:pt>
                <c:pt idx="4">
                  <c:v>0.19666111126804328</c:v>
                </c:pt>
                <c:pt idx="5">
                  <c:v>0.18637910155123696</c:v>
                </c:pt>
                <c:pt idx="6">
                  <c:v>0.20510359622875854</c:v>
                </c:pt>
                <c:pt idx="7">
                  <c:v>0.19365059045668384</c:v>
                </c:pt>
                <c:pt idx="8">
                  <c:v>0.2037377553408445</c:v>
                </c:pt>
                <c:pt idx="9">
                  <c:v>0.20627696516889404</c:v>
                </c:pt>
                <c:pt idx="10">
                  <c:v>0.21713827011840256</c:v>
                </c:pt>
                <c:pt idx="11">
                  <c:v>0.21172901921132456</c:v>
                </c:pt>
                <c:pt idx="12">
                  <c:v>0.2256641278097715</c:v>
                </c:pt>
                <c:pt idx="13">
                  <c:v>0.23085775851514484</c:v>
                </c:pt>
                <c:pt idx="14">
                  <c:v>0.22159297175633486</c:v>
                </c:pt>
                <c:pt idx="15">
                  <c:v>0.21491924999277728</c:v>
                </c:pt>
                <c:pt idx="16">
                  <c:v>0.2051609941635517</c:v>
                </c:pt>
                <c:pt idx="17">
                  <c:v>0.19201745288079825</c:v>
                </c:pt>
                <c:pt idx="18">
                  <c:v>0.18351630992812573</c:v>
                </c:pt>
                <c:pt idx="19">
                  <c:v>0.15794605134871628</c:v>
                </c:pt>
                <c:pt idx="20">
                  <c:v>0.17411278281842196</c:v>
                </c:pt>
                <c:pt idx="21">
                  <c:v>0.16995708154506436</c:v>
                </c:pt>
                <c:pt idx="22">
                  <c:v>0.16563987678521422</c:v>
                </c:pt>
                <c:pt idx="23">
                  <c:v>0.16956735496558506</c:v>
                </c:pt>
                <c:pt idx="24">
                  <c:v>0.18010355029585798</c:v>
                </c:pt>
                <c:pt idx="25">
                  <c:v>0.17641213389121338</c:v>
                </c:pt>
                <c:pt idx="26">
                  <c:v>0.17198937013380577</c:v>
                </c:pt>
                <c:pt idx="27">
                  <c:v>0.1726867436993904</c:v>
                </c:pt>
                <c:pt idx="28">
                  <c:v>0.163946587537092</c:v>
                </c:pt>
                <c:pt idx="29">
                  <c:v>0.17798194975201237</c:v>
                </c:pt>
                <c:pt idx="30">
                  <c:v>0.16221154850161845</c:v>
                </c:pt>
                <c:pt idx="31">
                  <c:v>0.15749670084255404</c:v>
                </c:pt>
                <c:pt idx="32">
                  <c:v>0.16348269653930786</c:v>
                </c:pt>
                <c:pt idx="33">
                  <c:v>0.18088082487411078</c:v>
                </c:pt>
                <c:pt idx="34">
                  <c:v>0.18054500054282924</c:v>
                </c:pt>
                <c:pt idx="35">
                  <c:v>0.19449394155381325</c:v>
                </c:pt>
                <c:pt idx="36">
                  <c:v>0.16721767225185966</c:v>
                </c:pt>
                <c:pt idx="37">
                  <c:v>0.13747257569109259</c:v>
                </c:pt>
                <c:pt idx="38">
                  <c:v>0.13328411361070094</c:v>
                </c:pt>
                <c:pt idx="39">
                  <c:v>0.13529929985626188</c:v>
                </c:pt>
                <c:pt idx="40">
                  <c:v>0.14140245313584818</c:v>
                </c:pt>
                <c:pt idx="41">
                  <c:v>0.1320315745741587</c:v>
                </c:pt>
                <c:pt idx="42">
                  <c:v>0.13478445830969937</c:v>
                </c:pt>
                <c:pt idx="43">
                  <c:v>0.14850637407242975</c:v>
                </c:pt>
                <c:pt idx="44">
                  <c:v>0.160577483329377</c:v>
                </c:pt>
                <c:pt idx="45">
                  <c:v>0.17985482748334494</c:v>
                </c:pt>
                <c:pt idx="46">
                  <c:v>0.1890920904278698</c:v>
                </c:pt>
                <c:pt idx="47">
                  <c:v>0.1872183925751916</c:v>
                </c:pt>
                <c:pt idx="48">
                  <c:v>0.20402986156410813</c:v>
                </c:pt>
                <c:pt idx="49">
                  <c:v>0.2373207055109464</c:v>
                </c:pt>
                <c:pt idx="50">
                  <c:v>0.19963127804987058</c:v>
                </c:pt>
                <c:pt idx="51">
                  <c:v>0.18215747110931246</c:v>
                </c:pt>
                <c:pt idx="52">
                  <c:v>0.19546332988463117</c:v>
                </c:pt>
                <c:pt idx="53">
                  <c:v>0.18087203153542927</c:v>
                </c:pt>
                <c:pt idx="54">
                  <c:v>0.1730390224674813</c:v>
                </c:pt>
                <c:pt idx="55">
                  <c:v>0.1718077183480027</c:v>
                </c:pt>
                <c:pt idx="56">
                  <c:v>0.18865047380459646</c:v>
                </c:pt>
                <c:pt idx="57">
                  <c:v>0.1838357464989319</c:v>
                </c:pt>
                <c:pt idx="58">
                  <c:v>0.19846960029818675</c:v>
                </c:pt>
                <c:pt idx="59">
                  <c:v>0.20095489936829733</c:v>
                </c:pt>
                <c:pt idx="60">
                  <c:v>0.20754898811435915</c:v>
                </c:pt>
                <c:pt idx="61">
                  <c:v>0.20793681621026736</c:v>
                </c:pt>
                <c:pt idx="62">
                  <c:v>0.215126935636785</c:v>
                </c:pt>
                <c:pt idx="63">
                  <c:v>0.22940080302768331</c:v>
                </c:pt>
                <c:pt idx="64">
                  <c:v>0.21880271394834502</c:v>
                </c:pt>
                <c:pt idx="65">
                  <c:v>0.21689451132421955</c:v>
                </c:pt>
                <c:pt idx="66">
                  <c:v>0.2178862817026121</c:v>
                </c:pt>
                <c:pt idx="67">
                  <c:v>0.21287441455179174</c:v>
                </c:pt>
                <c:pt idx="68">
                  <c:v>0.19509166798753105</c:v>
                </c:pt>
                <c:pt idx="69">
                  <c:v>0.1761484219894571</c:v>
                </c:pt>
                <c:pt idx="70">
                  <c:v>0.1632560695697152</c:v>
                </c:pt>
                <c:pt idx="71">
                  <c:v>0.1733943061477101</c:v>
                </c:pt>
                <c:pt idx="72">
                  <c:v>0.1759865159627206</c:v>
                </c:pt>
                <c:pt idx="73">
                  <c:v>0.17940107322139517</c:v>
                </c:pt>
                <c:pt idx="74">
                  <c:v>0.1715601227812625</c:v>
                </c:pt>
                <c:pt idx="75">
                  <c:v>0.16595561470116246</c:v>
                </c:pt>
                <c:pt idx="76">
                  <c:v>0.1590899603423085</c:v>
                </c:pt>
                <c:pt idx="77">
                  <c:v>0.16565724071676205</c:v>
                </c:pt>
                <c:pt idx="78">
                  <c:v>0.15544116232079283</c:v>
                </c:pt>
                <c:pt idx="79">
                  <c:v>0.18983507236620667</c:v>
                </c:pt>
                <c:pt idx="80">
                  <c:v>0.18471825886962817</c:v>
                </c:pt>
                <c:pt idx="81">
                  <c:v>0.16555171917709682</c:v>
                </c:pt>
                <c:pt idx="82">
                  <c:v>0.15227773695811903</c:v>
                </c:pt>
                <c:pt idx="83">
                  <c:v>0.14037588427832332</c:v>
                </c:pt>
                <c:pt idx="84">
                  <c:v>0.13738054466110589</c:v>
                </c:pt>
                <c:pt idx="85">
                  <c:v>0.1408924507766894</c:v>
                </c:pt>
                <c:pt idx="86">
                  <c:v>0.14388276219376805</c:v>
                </c:pt>
                <c:pt idx="87">
                  <c:v>0.16424116424116425</c:v>
                </c:pt>
                <c:pt idx="88">
                  <c:v>0.15143294683876612</c:v>
                </c:pt>
                <c:pt idx="89">
                  <c:v>0.13790962071271615</c:v>
                </c:pt>
                <c:pt idx="90">
                  <c:v>0.13506044905008635</c:v>
                </c:pt>
                <c:pt idx="91">
                  <c:v>0.13018990876931671</c:v>
                </c:pt>
                <c:pt idx="92">
                  <c:v>0.14122937388056858</c:v>
                </c:pt>
                <c:pt idx="93">
                  <c:v>0.13123975562509313</c:v>
                </c:pt>
                <c:pt idx="94">
                  <c:v>0.13373245077785742</c:v>
                </c:pt>
                <c:pt idx="95">
                  <c:v>0.14385922108024032</c:v>
                </c:pt>
                <c:pt idx="96">
                  <c:v>0.13698139399502945</c:v>
                </c:pt>
                <c:pt idx="97">
                  <c:v>0.14533199314137055</c:v>
                </c:pt>
                <c:pt idx="98">
                  <c:v>0.16315129011740842</c:v>
                </c:pt>
                <c:pt idx="99">
                  <c:v>0.17124577715327813</c:v>
                </c:pt>
                <c:pt idx="100">
                  <c:v>0.19575939007580978</c:v>
                </c:pt>
                <c:pt idx="101">
                  <c:v>0.17001159575417002</c:v>
                </c:pt>
                <c:pt idx="102">
                  <c:v>0.14514833816640643</c:v>
                </c:pt>
                <c:pt idx="103">
                  <c:v>0.16519679377366073</c:v>
                </c:pt>
                <c:pt idx="104">
                  <c:v>0.1671687835916222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63.7059</c:v>
                </c:pt>
                <c:pt idx="1">
                  <c:v>1164.446</c:v>
                </c:pt>
                <c:pt idx="2">
                  <c:v>1157.818</c:v>
                </c:pt>
                <c:pt idx="3">
                  <c:v>1177.4242</c:v>
                </c:pt>
                <c:pt idx="4">
                  <c:v>1168.3079</c:v>
                </c:pt>
                <c:pt idx="5">
                  <c:v>1183.8174</c:v>
                </c:pt>
                <c:pt idx="6">
                  <c:v>1119.6582</c:v>
                </c:pt>
                <c:pt idx="7">
                  <c:v>1136.6996</c:v>
                </c:pt>
                <c:pt idx="8">
                  <c:v>1204.0604</c:v>
                </c:pt>
                <c:pt idx="9">
                  <c:v>1142.6138</c:v>
                </c:pt>
                <c:pt idx="10">
                  <c:v>1161.5193</c:v>
                </c:pt>
                <c:pt idx="11">
                  <c:v>1093.1648</c:v>
                </c:pt>
                <c:pt idx="12">
                  <c:v>1114.1858</c:v>
                </c:pt>
                <c:pt idx="13">
                  <c:v>1133.4451</c:v>
                </c:pt>
                <c:pt idx="14">
                  <c:v>1157.0852</c:v>
                </c:pt>
                <c:pt idx="15">
                  <c:v>1166.4876</c:v>
                </c:pt>
                <c:pt idx="16">
                  <c:v>1180.1941</c:v>
                </c:pt>
                <c:pt idx="17">
                  <c:v>1159.8544</c:v>
                </c:pt>
                <c:pt idx="18">
                  <c:v>1130.6592</c:v>
                </c:pt>
                <c:pt idx="19">
                  <c:v>1198.172</c:v>
                </c:pt>
                <c:pt idx="20">
                  <c:v>1161.5629</c:v>
                </c:pt>
                <c:pt idx="21">
                  <c:v>1185.0671</c:v>
                </c:pt>
                <c:pt idx="22">
                  <c:v>1170.6061</c:v>
                </c:pt>
                <c:pt idx="23">
                  <c:v>1128.4268</c:v>
                </c:pt>
                <c:pt idx="24">
                  <c:v>1133.2159</c:v>
                </c:pt>
                <c:pt idx="25">
                  <c:v>1100.9002</c:v>
                </c:pt>
                <c:pt idx="26">
                  <c:v>1163.4706</c:v>
                </c:pt>
                <c:pt idx="27">
                  <c:v>1205.6455</c:v>
                </c:pt>
                <c:pt idx="28">
                  <c:v>1221.575</c:v>
                </c:pt>
                <c:pt idx="29">
                  <c:v>1221.8864</c:v>
                </c:pt>
                <c:pt idx="30">
                  <c:v>1221.5524</c:v>
                </c:pt>
                <c:pt idx="31">
                  <c:v>1131.664</c:v>
                </c:pt>
                <c:pt idx="32">
                  <c:v>1155.5517</c:v>
                </c:pt>
                <c:pt idx="33">
                  <c:v>1201.6145</c:v>
                </c:pt>
                <c:pt idx="34">
                  <c:v>1253.8698</c:v>
                </c:pt>
                <c:pt idx="35">
                  <c:v>1239.0244</c:v>
                </c:pt>
                <c:pt idx="36">
                  <c:v>1201.2271</c:v>
                </c:pt>
                <c:pt idx="37">
                  <c:v>1258.9395</c:v>
                </c:pt>
                <c:pt idx="38">
                  <c:v>1219.6602</c:v>
                </c:pt>
                <c:pt idx="39">
                  <c:v>1230.2412</c:v>
                </c:pt>
                <c:pt idx="40">
                  <c:v>1244.8039</c:v>
                </c:pt>
                <c:pt idx="41">
                  <c:v>1276.2091</c:v>
                </c:pt>
                <c:pt idx="42">
                  <c:v>1265.5872</c:v>
                </c:pt>
                <c:pt idx="43">
                  <c:v>1274.7125</c:v>
                </c:pt>
                <c:pt idx="44">
                  <c:v>1199.8527</c:v>
                </c:pt>
                <c:pt idx="45">
                  <c:v>1172.4964</c:v>
                </c:pt>
                <c:pt idx="46">
                  <c:v>1159.8599</c:v>
                </c:pt>
                <c:pt idx="47">
                  <c:v>1144.4188</c:v>
                </c:pt>
                <c:pt idx="48">
                  <c:v>1111.6808</c:v>
                </c:pt>
                <c:pt idx="49">
                  <c:v>1124.798</c:v>
                </c:pt>
                <c:pt idx="50">
                  <c:v>1042.0603</c:v>
                </c:pt>
                <c:pt idx="51">
                  <c:v>1015.9456</c:v>
                </c:pt>
              </c:numCache>
            </c:numRef>
          </c:xVal>
          <c:yVal>
            <c:numRef>
              <c:f>Sheet1!$B$109:$B$160</c:f>
              <c:numCache>
                <c:formatCode>General</c:formatCode>
                <c:ptCount val="52"/>
                <c:pt idx="0">
                  <c:v>0.16762589928057553</c:v>
                </c:pt>
                <c:pt idx="1">
                  <c:v>0.1615433092920664</c:v>
                </c:pt>
                <c:pt idx="2">
                  <c:v>0.16950079973061705</c:v>
                </c:pt>
                <c:pt idx="3">
                  <c:v>0.1768236380424746</c:v>
                </c:pt>
                <c:pt idx="4">
                  <c:v>0.165415823707281</c:v>
                </c:pt>
                <c:pt idx="5">
                  <c:v>0.16068098549834361</c:v>
                </c:pt>
                <c:pt idx="6">
                  <c:v>0.16907997798382657</c:v>
                </c:pt>
                <c:pt idx="7">
                  <c:v>0.16591660020508145</c:v>
                </c:pt>
                <c:pt idx="8">
                  <c:v>0.1669268719165678</c:v>
                </c:pt>
                <c:pt idx="9">
                  <c:v>0.1827140688114132</c:v>
                </c:pt>
                <c:pt idx="10">
                  <c:v>0.17981281576985728</c:v>
                </c:pt>
                <c:pt idx="11">
                  <c:v>0.2001124695394997</c:v>
                </c:pt>
                <c:pt idx="12">
                  <c:v>0.19026330031294855</c:v>
                </c:pt>
                <c:pt idx="13">
                  <c:v>0.18480108806528392</c:v>
                </c:pt>
                <c:pt idx="14">
                  <c:v>0.18698388253100023</c:v>
                </c:pt>
                <c:pt idx="15">
                  <c:v>0.17095786309760108</c:v>
                </c:pt>
                <c:pt idx="16">
                  <c:v>0.16961976822143474</c:v>
                </c:pt>
                <c:pt idx="17">
                  <c:v>0.14999830663460562</c:v>
                </c:pt>
                <c:pt idx="18">
                  <c:v>0.1481346309813463</c:v>
                </c:pt>
                <c:pt idx="19">
                  <c:v>0.15853748797276293</c:v>
                </c:pt>
                <c:pt idx="20">
                  <c:v>0.15641689593785402</c:v>
                </c:pt>
                <c:pt idx="21">
                  <c:v>0.1529496749337828</c:v>
                </c:pt>
                <c:pt idx="22">
                  <c:v>0.1511989127269197</c:v>
                </c:pt>
                <c:pt idx="23">
                  <c:v>0.15308917520543777</c:v>
                </c:pt>
                <c:pt idx="24">
                  <c:v>0.1520007631039252</c:v>
                </c:pt>
                <c:pt idx="25">
                  <c:v>0.1582287970413314</c:v>
                </c:pt>
                <c:pt idx="26">
                  <c:v>0.14265774654666216</c:v>
                </c:pt>
                <c:pt idx="27">
                  <c:v>0.1304051172707889</c:v>
                </c:pt>
                <c:pt idx="28">
                  <c:v>0.13956879902250602</c:v>
                </c:pt>
                <c:pt idx="29">
                  <c:v>0.12897674418604652</c:v>
                </c:pt>
                <c:pt idx="30">
                  <c:v>0.1453814872192099</c:v>
                </c:pt>
                <c:pt idx="31">
                  <c:v>0.13441646357974546</c:v>
                </c:pt>
                <c:pt idx="32">
                  <c:v>0.13719262788123768</c:v>
                </c:pt>
                <c:pt idx="33">
                  <c:v>0.15654888150786345</c:v>
                </c:pt>
                <c:pt idx="34">
                  <c:v>0.1764300266415922</c:v>
                </c:pt>
                <c:pt idx="35">
                  <c:v>0.16952813266464106</c:v>
                </c:pt>
                <c:pt idx="36">
                  <c:v>0.14872787908127588</c:v>
                </c:pt>
                <c:pt idx="37">
                  <c:v>0.13693289800691974</c:v>
                </c:pt>
                <c:pt idx="38">
                  <c:v>0.13522654069143225</c:v>
                </c:pt>
                <c:pt idx="39">
                  <c:v>0.15436158332299293</c:v>
                </c:pt>
                <c:pt idx="40">
                  <c:v>0.13784655587766934</c:v>
                </c:pt>
                <c:pt idx="41">
                  <c:v>0.1416366561949276</c:v>
                </c:pt>
                <c:pt idx="42">
                  <c:v>0.1381288239292998</c:v>
                </c:pt>
                <c:pt idx="43">
                  <c:v>0.13578618981764384</c:v>
                </c:pt>
                <c:pt idx="44">
                  <c:v>0.14003581068441165</c:v>
                </c:pt>
                <c:pt idx="45">
                  <c:v>0.15592435353145503</c:v>
                </c:pt>
                <c:pt idx="46">
                  <c:v>0.14998784933171325</c:v>
                </c:pt>
                <c:pt idx="47">
                  <c:v>0.15445870803871764</c:v>
                </c:pt>
                <c:pt idx="48">
                  <c:v>0.1474729938271605</c:v>
                </c:pt>
                <c:pt idx="49">
                  <c:v>0.15903343635852768</c:v>
                </c:pt>
                <c:pt idx="50">
                  <c:v>0.19861179620886477</c:v>
                </c:pt>
                <c:pt idx="51">
                  <c:v>0.1820915006823980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17.853661181524</c:v>
                </c:pt>
              </c:numCache>
            </c:numRef>
          </c:xVal>
          <c:yVal>
            <c:numRef>
              <c:f>Sheet1!$B$163:$B$164</c:f>
              <c:numCache>
                <c:formatCode>General</c:formatCode>
                <c:ptCount val="2"/>
                <c:pt idx="0">
                  <c:v>0.20418896749404122</c:v>
                </c:pt>
                <c:pt idx="1">
                  <c:v>0.204188967494041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17.853661181524</c:v>
                </c:pt>
                <c:pt idx="1">
                  <c:v>917.853661181524</c:v>
                </c:pt>
              </c:numCache>
            </c:numRef>
          </c:xVal>
          <c:yVal>
            <c:numRef>
              <c:f>Sheet1!$B$167:$B$168</c:f>
              <c:numCache>
                <c:formatCode>General</c:formatCode>
                <c:ptCount val="2"/>
                <c:pt idx="0">
                  <c:v>0.204188967494041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6.953172780567</c:v>
                </c:pt>
              </c:numCache>
            </c:numRef>
          </c:xVal>
          <c:yVal>
            <c:numRef>
              <c:f>Sheet1!$B$171:$B$172</c:f>
              <c:numCache>
                <c:formatCode>General</c:formatCode>
                <c:ptCount val="2"/>
                <c:pt idx="0">
                  <c:v>0.17180243176923776</c:v>
                </c:pt>
                <c:pt idx="1">
                  <c:v>0.1718024317692377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6.953172780567</c:v>
                </c:pt>
                <c:pt idx="1">
                  <c:v>1096.953172780567</c:v>
                </c:pt>
              </c:numCache>
            </c:numRef>
          </c:xVal>
          <c:yVal>
            <c:numRef>
              <c:f>Sheet1!$B$175:$B$176</c:f>
              <c:numCache>
                <c:formatCode>General</c:formatCode>
                <c:ptCount val="2"/>
                <c:pt idx="0">
                  <c:v>0.171802431769237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98.219371822527</c:v>
                </c:pt>
              </c:numCache>
            </c:numRef>
          </c:xVal>
          <c:yVal>
            <c:numRef>
              <c:f>Sheet1!$B$179:$B$180</c:f>
              <c:numCache>
                <c:formatCode>General</c:formatCode>
                <c:ptCount val="2"/>
                <c:pt idx="0">
                  <c:v>0.15349048136967555</c:v>
                </c:pt>
                <c:pt idx="1">
                  <c:v>0.1534904813696755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98.219371822527</c:v>
                </c:pt>
                <c:pt idx="1">
                  <c:v>1198.219371822527</c:v>
                </c:pt>
              </c:numCache>
            </c:numRef>
          </c:xVal>
          <c:yVal>
            <c:numRef>
              <c:f>Sheet1!$B$183:$B$184</c:f>
              <c:numCache>
                <c:formatCode>General</c:formatCode>
                <c:ptCount val="2"/>
                <c:pt idx="0">
                  <c:v>0.153490481369675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63.7059</c:v>
                </c:pt>
                <c:pt idx="1">
                  <c:v>1164.446</c:v>
                </c:pt>
                <c:pt idx="2">
                  <c:v>1157.818</c:v>
                </c:pt>
                <c:pt idx="3">
                  <c:v>1177.4242</c:v>
                </c:pt>
                <c:pt idx="4">
                  <c:v>1168.3079</c:v>
                </c:pt>
                <c:pt idx="5">
                  <c:v>1183.8174</c:v>
                </c:pt>
                <c:pt idx="6">
                  <c:v>1119.6582</c:v>
                </c:pt>
                <c:pt idx="7">
                  <c:v>1136.6996</c:v>
                </c:pt>
                <c:pt idx="8">
                  <c:v>1204.0604</c:v>
                </c:pt>
                <c:pt idx="9">
                  <c:v>1142.6138</c:v>
                </c:pt>
                <c:pt idx="10">
                  <c:v>1161.5193</c:v>
                </c:pt>
                <c:pt idx="11">
                  <c:v>1093.1648</c:v>
                </c:pt>
                <c:pt idx="12">
                  <c:v>1114.1858</c:v>
                </c:pt>
                <c:pt idx="13">
                  <c:v>1133.4451</c:v>
                </c:pt>
                <c:pt idx="14">
                  <c:v>1157.0852</c:v>
                </c:pt>
                <c:pt idx="15">
                  <c:v>1166.4876</c:v>
                </c:pt>
                <c:pt idx="16">
                  <c:v>1180.1941</c:v>
                </c:pt>
                <c:pt idx="17">
                  <c:v>1159.8544</c:v>
                </c:pt>
                <c:pt idx="18">
                  <c:v>1130.6592</c:v>
                </c:pt>
                <c:pt idx="19">
                  <c:v>1198.172</c:v>
                </c:pt>
                <c:pt idx="20">
                  <c:v>1161.5629</c:v>
                </c:pt>
                <c:pt idx="21">
                  <c:v>1185.0671</c:v>
                </c:pt>
                <c:pt idx="22">
                  <c:v>1170.6061</c:v>
                </c:pt>
                <c:pt idx="23">
                  <c:v>1128.4268</c:v>
                </c:pt>
                <c:pt idx="24">
                  <c:v>1133.2159</c:v>
                </c:pt>
                <c:pt idx="25">
                  <c:v>1100.9002</c:v>
                </c:pt>
                <c:pt idx="26">
                  <c:v>1163.4706</c:v>
                </c:pt>
                <c:pt idx="27">
                  <c:v>1205.6455</c:v>
                </c:pt>
                <c:pt idx="28">
                  <c:v>1221.575</c:v>
                </c:pt>
                <c:pt idx="29">
                  <c:v>1221.8864</c:v>
                </c:pt>
                <c:pt idx="30">
                  <c:v>1221.5524</c:v>
                </c:pt>
                <c:pt idx="31">
                  <c:v>1131.664</c:v>
                </c:pt>
                <c:pt idx="32">
                  <c:v>1155.5517</c:v>
                </c:pt>
                <c:pt idx="33">
                  <c:v>1201.6145</c:v>
                </c:pt>
                <c:pt idx="34">
                  <c:v>1253.8698</c:v>
                </c:pt>
                <c:pt idx="35">
                  <c:v>1239.0244</c:v>
                </c:pt>
                <c:pt idx="36">
                  <c:v>1201.2271</c:v>
                </c:pt>
                <c:pt idx="37">
                  <c:v>1258.9395</c:v>
                </c:pt>
                <c:pt idx="38">
                  <c:v>1219.6602</c:v>
                </c:pt>
                <c:pt idx="39">
                  <c:v>1230.2412</c:v>
                </c:pt>
                <c:pt idx="40">
                  <c:v>1244.8039</c:v>
                </c:pt>
                <c:pt idx="41">
                  <c:v>1276.2091</c:v>
                </c:pt>
                <c:pt idx="42">
                  <c:v>1265.5872</c:v>
                </c:pt>
                <c:pt idx="43">
                  <c:v>1274.7125</c:v>
                </c:pt>
                <c:pt idx="44">
                  <c:v>1199.8527</c:v>
                </c:pt>
                <c:pt idx="45">
                  <c:v>1172.4964</c:v>
                </c:pt>
                <c:pt idx="46">
                  <c:v>1159.8599</c:v>
                </c:pt>
                <c:pt idx="47">
                  <c:v>1144.4188</c:v>
                </c:pt>
                <c:pt idx="48">
                  <c:v>1111.6808</c:v>
                </c:pt>
                <c:pt idx="49">
                  <c:v>1124.798</c:v>
                </c:pt>
                <c:pt idx="50">
                  <c:v>1042.0603</c:v>
                </c:pt>
                <c:pt idx="51">
                  <c:v>1015.9456</c:v>
                </c:pt>
                <c:pt idx="52">
                  <c:v>1096.953172780567</c:v>
                </c:pt>
                <c:pt idx="53">
                  <c:v>917.853661181524</c:v>
                </c:pt>
                <c:pt idx="54">
                  <c:v>1198.219371822527</c:v>
                </c:pt>
              </c:numCache>
            </c:numRef>
          </c:xVal>
          <c:yVal>
            <c:numRef>
              <c:f>Sheet1!$B$187:$B$241</c:f>
              <c:numCache>
                <c:formatCode>General</c:formatCode>
                <c:ptCount val="55"/>
                <c:pt idx="0">
                  <c:v>0.15973154689904265</c:v>
                </c:pt>
                <c:pt idx="1">
                  <c:v>0.1595977147357055</c:v>
                </c:pt>
                <c:pt idx="2">
                  <c:v>0.16079625490405927</c:v>
                </c:pt>
                <c:pt idx="3">
                  <c:v>0.1572508689280819</c:v>
                </c:pt>
                <c:pt idx="4">
                  <c:v>0.15889936798311563</c:v>
                </c:pt>
                <c:pt idx="5">
                  <c:v>0.15609478760576456</c:v>
                </c:pt>
                <c:pt idx="6">
                  <c:v>0.16769668536820329</c:v>
                </c:pt>
                <c:pt idx="7">
                  <c:v>0.16461509176153702</c:v>
                </c:pt>
                <c:pt idx="8">
                  <c:v>0.152434249188748</c:v>
                </c:pt>
                <c:pt idx="9">
                  <c:v>0.16354562793177269</c:v>
                </c:pt>
                <c:pt idx="10">
                  <c:v>0.16012694942350286</c:v>
                </c:pt>
                <c:pt idx="11">
                  <c:v>0.17248748260662577</c:v>
                </c:pt>
                <c:pt idx="12">
                  <c:v>0.16868625857539993</c:v>
                </c:pt>
                <c:pt idx="13">
                  <c:v>0.16520360247033417</c:v>
                </c:pt>
                <c:pt idx="14">
                  <c:v>0.16092876700957673</c:v>
                </c:pt>
                <c:pt idx="15">
                  <c:v>0.15922853253780098</c:v>
                </c:pt>
                <c:pt idx="16">
                  <c:v>0.1567499883589324</c:v>
                </c:pt>
                <c:pt idx="17">
                  <c:v>0.16042801302131401</c:v>
                </c:pt>
                <c:pt idx="18">
                  <c:v>0.16570737631689672</c:v>
                </c:pt>
                <c:pt idx="19">
                  <c:v>0.1534990476086838</c:v>
                </c:pt>
                <c:pt idx="20">
                  <c:v>0.16011906524255232</c:v>
                </c:pt>
                <c:pt idx="21">
                  <c:v>0.15586880455682192</c:v>
                </c:pt>
                <c:pt idx="22">
                  <c:v>0.15848378484869943</c:v>
                </c:pt>
                <c:pt idx="23">
                  <c:v>0.1661110608479518</c:v>
                </c:pt>
                <c:pt idx="24">
                  <c:v>0.16524504866927603</c:v>
                </c:pt>
                <c:pt idx="25">
                  <c:v>0.17108869147532163</c:v>
                </c:pt>
                <c:pt idx="26">
                  <c:v>0.1597740961599982</c:v>
                </c:pt>
                <c:pt idx="27">
                  <c:v>0.15214761581203443</c:v>
                </c:pt>
                <c:pt idx="28">
                  <c:v>0.1492670869025909</c:v>
                </c:pt>
                <c:pt idx="29">
                  <c:v>0.14921077649093953</c:v>
                </c:pt>
                <c:pt idx="30">
                  <c:v>0.14927117365693685</c:v>
                </c:pt>
                <c:pt idx="31">
                  <c:v>0.16552567849535751</c:v>
                </c:pt>
                <c:pt idx="32">
                  <c:v>0.16120606956663322</c:v>
                </c:pt>
                <c:pt idx="33">
                  <c:v>0.1528765408902834</c:v>
                </c:pt>
                <c:pt idx="34">
                  <c:v>0.14342722344016612</c:v>
                </c:pt>
                <c:pt idx="35">
                  <c:v>0.146111714721892</c:v>
                </c:pt>
                <c:pt idx="36">
                  <c:v>0.15294659436964672</c:v>
                </c:pt>
                <c:pt idx="37">
                  <c:v>0.14251047040885906</c:v>
                </c:pt>
                <c:pt idx="38">
                  <c:v>0.14961333987699704</c:v>
                </c:pt>
                <c:pt idx="39">
                  <c:v>0.14769997935778292</c:v>
                </c:pt>
                <c:pt idx="40">
                  <c:v>0.1450666086713487</c:v>
                </c:pt>
                <c:pt idx="41">
                  <c:v>0.1393876114330892</c:v>
                </c:pt>
                <c:pt idx="42">
                  <c:v>0.14130836789269047</c:v>
                </c:pt>
                <c:pt idx="43">
                  <c:v>0.13965824136911187</c:v>
                </c:pt>
                <c:pt idx="44">
                  <c:v>0.1531951268994273</c:v>
                </c:pt>
                <c:pt idx="45">
                  <c:v>0.15814196220533203</c:v>
                </c:pt>
                <c:pt idx="46">
                  <c:v>0.16042701845720328</c:v>
                </c:pt>
                <c:pt idx="47">
                  <c:v>0.1632192300736136</c:v>
                </c:pt>
                <c:pt idx="48">
                  <c:v>0.16913923732037972</c:v>
                </c:pt>
                <c:pt idx="49">
                  <c:v>0.16676725616523033</c:v>
                </c:pt>
                <c:pt idx="50">
                  <c:v>0.1817287010788098</c:v>
                </c:pt>
                <c:pt idx="51">
                  <c:v>0.18645101805746228</c:v>
                </c:pt>
                <c:pt idx="52">
                  <c:v>0.17180243176923776</c:v>
                </c:pt>
                <c:pt idx="53">
                  <c:v>0.20418896749404122</c:v>
                </c:pt>
                <c:pt idx="54">
                  <c:v>0.153490481369675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31.0"/>
          <c:min val="65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478484661313563"/>
          <c:min val="0.1031813953488372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72.2873</c:v>
                </c:pt>
                <c:pt idx="1">
                  <c:v>974.8146</c:v>
                </c:pt>
                <c:pt idx="2">
                  <c:v>1009.843</c:v>
                </c:pt>
                <c:pt idx="3">
                  <c:v>1028.4172</c:v>
                </c:pt>
                <c:pt idx="4">
                  <c:v>1029.7472</c:v>
                </c:pt>
                <c:pt idx="5">
                  <c:v>1038.6931</c:v>
                </c:pt>
                <c:pt idx="6">
                  <c:v>1005.2735</c:v>
                </c:pt>
                <c:pt idx="7">
                  <c:v>1025.658</c:v>
                </c:pt>
                <c:pt idx="8">
                  <c:v>1014.4635</c:v>
                </c:pt>
                <c:pt idx="9">
                  <c:v>984.1789</c:v>
                </c:pt>
                <c:pt idx="10">
                  <c:v>966.8416</c:v>
                </c:pt>
                <c:pt idx="11">
                  <c:v>987.0812</c:v>
                </c:pt>
                <c:pt idx="12">
                  <c:v>980.5964</c:v>
                </c:pt>
                <c:pt idx="13">
                  <c:v>972.298</c:v>
                </c:pt>
                <c:pt idx="14">
                  <c:v>1024.5843</c:v>
                </c:pt>
                <c:pt idx="15">
                  <c:v>1021.2441</c:v>
                </c:pt>
                <c:pt idx="16">
                  <c:v>1060.9479</c:v>
                </c:pt>
                <c:pt idx="17">
                  <c:v>1040.8933</c:v>
                </c:pt>
                <c:pt idx="18">
                  <c:v>1101.4316</c:v>
                </c:pt>
                <c:pt idx="19">
                  <c:v>1108.5796</c:v>
                </c:pt>
                <c:pt idx="20">
                  <c:v>1108.2622</c:v>
                </c:pt>
                <c:pt idx="21">
                  <c:v>1108.1297</c:v>
                </c:pt>
                <c:pt idx="22">
                  <c:v>1095.8183</c:v>
                </c:pt>
                <c:pt idx="23">
                  <c:v>1078.1905</c:v>
                </c:pt>
                <c:pt idx="24">
                  <c:v>1088.3722</c:v>
                </c:pt>
                <c:pt idx="25">
                  <c:v>1048.203</c:v>
                </c:pt>
                <c:pt idx="26">
                  <c:v>1075.5551</c:v>
                </c:pt>
                <c:pt idx="27">
                  <c:v>1131.2779</c:v>
                </c:pt>
                <c:pt idx="28">
                  <c:v>1089.8563</c:v>
                </c:pt>
                <c:pt idx="29">
                  <c:v>1002.7813</c:v>
                </c:pt>
                <c:pt idx="30">
                  <c:v>1040.2253</c:v>
                </c:pt>
                <c:pt idx="31">
                  <c:v>1035.9483</c:v>
                </c:pt>
                <c:pt idx="32">
                  <c:v>1023.1375</c:v>
                </c:pt>
                <c:pt idx="33">
                  <c:v>961.9561</c:v>
                </c:pt>
                <c:pt idx="34">
                  <c:v>1036.1498</c:v>
                </c:pt>
                <c:pt idx="35">
                  <c:v>1066.676</c:v>
                </c:pt>
                <c:pt idx="36">
                  <c:v>1172.338</c:v>
                </c:pt>
                <c:pt idx="37">
                  <c:v>1168.4175</c:v>
                </c:pt>
                <c:pt idx="38">
                  <c:v>1214.1444</c:v>
                </c:pt>
                <c:pt idx="39">
                  <c:v>1238.2702</c:v>
                </c:pt>
                <c:pt idx="40">
                  <c:v>1266.41</c:v>
                </c:pt>
                <c:pt idx="41">
                  <c:v>1280.9089</c:v>
                </c:pt>
                <c:pt idx="42">
                  <c:v>1317.1437</c:v>
                </c:pt>
                <c:pt idx="43">
                  <c:v>1345.386</c:v>
                </c:pt>
                <c:pt idx="44">
                  <c:v>1168.0343</c:v>
                </c:pt>
                <c:pt idx="45">
                  <c:v>1134.5861</c:v>
                </c:pt>
                <c:pt idx="46">
                  <c:v>1107.3622</c:v>
                </c:pt>
                <c:pt idx="47">
                  <c:v>1088.3397</c:v>
                </c:pt>
                <c:pt idx="48">
                  <c:v>1072.3698</c:v>
                </c:pt>
                <c:pt idx="49">
                  <c:v>1034.8761</c:v>
                </c:pt>
                <c:pt idx="50">
                  <c:v>1047.4876</c:v>
                </c:pt>
                <c:pt idx="51">
                  <c:v>1074.8952</c:v>
                </c:pt>
                <c:pt idx="52">
                  <c:v>1067.0342</c:v>
                </c:pt>
                <c:pt idx="53">
                  <c:v>1175.4004</c:v>
                </c:pt>
                <c:pt idx="54">
                  <c:v>1169.3527</c:v>
                </c:pt>
                <c:pt idx="55">
                  <c:v>1218.8749</c:v>
                </c:pt>
                <c:pt idx="56">
                  <c:v>1192.5897</c:v>
                </c:pt>
                <c:pt idx="57">
                  <c:v>1199.3229</c:v>
                </c:pt>
                <c:pt idx="58">
                  <c:v>1166.6559</c:v>
                </c:pt>
                <c:pt idx="59">
                  <c:v>1158.4297</c:v>
                </c:pt>
                <c:pt idx="60">
                  <c:v>1184.8412</c:v>
                </c:pt>
                <c:pt idx="61">
                  <c:v>1163.1625</c:v>
                </c:pt>
                <c:pt idx="62">
                  <c:v>1122.7847</c:v>
                </c:pt>
                <c:pt idx="63">
                  <c:v>1143.7606</c:v>
                </c:pt>
                <c:pt idx="64">
                  <c:v>1159.791</c:v>
                </c:pt>
                <c:pt idx="65">
                  <c:v>1126.0592</c:v>
                </c:pt>
                <c:pt idx="66">
                  <c:v>1144.4196</c:v>
                </c:pt>
                <c:pt idx="67">
                  <c:v>1123.3883</c:v>
                </c:pt>
                <c:pt idx="68">
                  <c:v>1119.53</c:v>
                </c:pt>
                <c:pt idx="69">
                  <c:v>1140.4296</c:v>
                </c:pt>
                <c:pt idx="70">
                  <c:v>1125.9118</c:v>
                </c:pt>
                <c:pt idx="71">
                  <c:v>1147.5211</c:v>
                </c:pt>
                <c:pt idx="72">
                  <c:v>1200.2097</c:v>
                </c:pt>
                <c:pt idx="73">
                  <c:v>1219.9904</c:v>
                </c:pt>
                <c:pt idx="74">
                  <c:v>1156.535</c:v>
                </c:pt>
                <c:pt idx="75">
                  <c:v>1173.1096</c:v>
                </c:pt>
                <c:pt idx="76">
                  <c:v>1158.8285</c:v>
                </c:pt>
                <c:pt idx="77">
                  <c:v>1099.788</c:v>
                </c:pt>
                <c:pt idx="78">
                  <c:v>1185.15</c:v>
                </c:pt>
                <c:pt idx="79">
                  <c:v>869.9457</c:v>
                </c:pt>
                <c:pt idx="80">
                  <c:v>860.0657</c:v>
                </c:pt>
                <c:pt idx="81">
                  <c:v>1047.4902</c:v>
                </c:pt>
                <c:pt idx="82">
                  <c:v>1061.5598</c:v>
                </c:pt>
                <c:pt idx="83">
                  <c:v>1095.0504</c:v>
                </c:pt>
                <c:pt idx="84">
                  <c:v>1091.7007</c:v>
                </c:pt>
                <c:pt idx="85">
                  <c:v>1118.4574</c:v>
                </c:pt>
                <c:pt idx="86">
                  <c:v>1209.6632</c:v>
                </c:pt>
                <c:pt idx="87">
                  <c:v>1234.3443</c:v>
                </c:pt>
                <c:pt idx="88">
                  <c:v>1242.7241</c:v>
                </c:pt>
                <c:pt idx="89">
                  <c:v>1200.0669</c:v>
                </c:pt>
                <c:pt idx="90">
                  <c:v>1237.9561</c:v>
                </c:pt>
                <c:pt idx="91">
                  <c:v>1272.2123</c:v>
                </c:pt>
                <c:pt idx="92">
                  <c:v>1260.3089</c:v>
                </c:pt>
                <c:pt idx="93">
                  <c:v>1301.7424</c:v>
                </c:pt>
                <c:pt idx="94">
                  <c:v>1288.9335</c:v>
                </c:pt>
                <c:pt idx="95">
                  <c:v>1294.6556</c:v>
                </c:pt>
                <c:pt idx="96">
                  <c:v>1213.2673</c:v>
                </c:pt>
                <c:pt idx="97">
                  <c:v>1239.8987</c:v>
                </c:pt>
                <c:pt idx="98">
                  <c:v>1220.4183</c:v>
                </c:pt>
                <c:pt idx="99">
                  <c:v>1178.8639</c:v>
                </c:pt>
                <c:pt idx="100">
                  <c:v>1160.521</c:v>
                </c:pt>
                <c:pt idx="101">
                  <c:v>1220.4967</c:v>
                </c:pt>
                <c:pt idx="102">
                  <c:v>1252.7527</c:v>
                </c:pt>
                <c:pt idx="103">
                  <c:v>1121.6468</c:v>
                </c:pt>
                <c:pt idx="104">
                  <c:v>1208.1548</c:v>
                </c:pt>
              </c:numCache>
            </c:numRef>
          </c:xVal>
          <c:yVal>
            <c:numRef>
              <c:f>Sheet1!$B$2:$B$106</c:f>
              <c:numCache>
                <c:formatCode>General</c:formatCode>
                <c:ptCount val="105"/>
                <c:pt idx="0">
                  <c:v>0.2104353132628153</c:v>
                </c:pt>
                <c:pt idx="1">
                  <c:v>0.20936580711843744</c:v>
                </c:pt>
                <c:pt idx="2">
                  <c:v>0.1951964281132124</c:v>
                </c:pt>
                <c:pt idx="3">
                  <c:v>0.19280869846054474</c:v>
                </c:pt>
                <c:pt idx="4">
                  <c:v>0.18282521947326416</c:v>
                </c:pt>
                <c:pt idx="5">
                  <c:v>0.17047857630868335</c:v>
                </c:pt>
                <c:pt idx="6">
                  <c:v>0.18916918720638393</c:v>
                </c:pt>
                <c:pt idx="7">
                  <c:v>0.17825161479741633</c:v>
                </c:pt>
                <c:pt idx="8">
                  <c:v>0.18962759881197166</c:v>
                </c:pt>
                <c:pt idx="9">
                  <c:v>0.19161017956950885</c:v>
                </c:pt>
                <c:pt idx="10">
                  <c:v>0.20396039603960395</c:v>
                </c:pt>
                <c:pt idx="11">
                  <c:v>0.19627861497756816</c:v>
                </c:pt>
                <c:pt idx="12">
                  <c:v>0.2090399978766887</c:v>
                </c:pt>
                <c:pt idx="13">
                  <c:v>0.21092146331861766</c:v>
                </c:pt>
                <c:pt idx="14">
                  <c:v>0.20510605089328018</c:v>
                </c:pt>
                <c:pt idx="15">
                  <c:v>0.1997352308456065</c:v>
                </c:pt>
                <c:pt idx="16">
                  <c:v>0.19186415376002985</c:v>
                </c:pt>
                <c:pt idx="17">
                  <c:v>0.1788574697613599</c:v>
                </c:pt>
                <c:pt idx="18">
                  <c:v>0.17484202391235168</c:v>
                </c:pt>
                <c:pt idx="19">
                  <c:v>0.14627434377646062</c:v>
                </c:pt>
                <c:pt idx="20">
                  <c:v>0.16460617710017036</c:v>
                </c:pt>
                <c:pt idx="21">
                  <c:v>0.16421682397235546</c:v>
                </c:pt>
                <c:pt idx="22">
                  <c:v>0.1563387690689111</c:v>
                </c:pt>
                <c:pt idx="23">
                  <c:v>0.16137669437161822</c:v>
                </c:pt>
                <c:pt idx="24">
                  <c:v>0.1694212735091446</c:v>
                </c:pt>
                <c:pt idx="25">
                  <c:v>0.16806624679262888</c:v>
                </c:pt>
                <c:pt idx="26">
                  <c:v>0.1631565194669454</c:v>
                </c:pt>
                <c:pt idx="27">
                  <c:v>0.1644426607805759</c:v>
                </c:pt>
                <c:pt idx="28">
                  <c:v>0.15609481390467414</c:v>
                </c:pt>
                <c:pt idx="29">
                  <c:v>0.1752558726723477</c:v>
                </c:pt>
                <c:pt idx="30">
                  <c:v>0.1553217462070569</c:v>
                </c:pt>
                <c:pt idx="31">
                  <c:v>0.1508401503426929</c:v>
                </c:pt>
                <c:pt idx="32">
                  <c:v>0.15629783511917777</c:v>
                </c:pt>
                <c:pt idx="33">
                  <c:v>0.17726337898744146</c:v>
                </c:pt>
                <c:pt idx="34">
                  <c:v>0.17377744012155624</c:v>
                </c:pt>
                <c:pt idx="35">
                  <c:v>0.192956416138173</c:v>
                </c:pt>
                <c:pt idx="36">
                  <c:v>0.15716185884113393</c:v>
                </c:pt>
                <c:pt idx="37">
                  <c:v>0.1293269230769231</c:v>
                </c:pt>
                <c:pt idx="38">
                  <c:v>0.12359550561797752</c:v>
                </c:pt>
                <c:pt idx="39">
                  <c:v>0.12543323139653414</c:v>
                </c:pt>
                <c:pt idx="40">
                  <c:v>0.13096507313744724</c:v>
                </c:pt>
                <c:pt idx="41">
                  <c:v>0.1206642745422762</c:v>
                </c:pt>
                <c:pt idx="42">
                  <c:v>0.12140700364691581</c:v>
                </c:pt>
                <c:pt idx="43">
                  <c:v>0.13300094800042134</c:v>
                </c:pt>
                <c:pt idx="44">
                  <c:v>0.14654865576726858</c:v>
                </c:pt>
                <c:pt idx="45">
                  <c:v>0.16731320255675555</c:v>
                </c:pt>
                <c:pt idx="46">
                  <c:v>0.1764019187502653</c:v>
                </c:pt>
                <c:pt idx="47">
                  <c:v>0.1716687701884613</c:v>
                </c:pt>
                <c:pt idx="48">
                  <c:v>0.19153248508050896</c:v>
                </c:pt>
                <c:pt idx="49">
                  <c:v>0.22133119486768243</c:v>
                </c:pt>
                <c:pt idx="50">
                  <c:v>0.1820144482271859</c:v>
                </c:pt>
                <c:pt idx="51">
                  <c:v>0.1671104696015728</c:v>
                </c:pt>
                <c:pt idx="52">
                  <c:v>0.1823606150687568</c:v>
                </c:pt>
                <c:pt idx="53">
                  <c:v>0.165633727889347</c:v>
                </c:pt>
                <c:pt idx="54">
                  <c:v>0.15941820276497695</c:v>
                </c:pt>
                <c:pt idx="55">
                  <c:v>0.1570630582190758</c:v>
                </c:pt>
                <c:pt idx="56">
                  <c:v>0.17284360475644353</c:v>
                </c:pt>
                <c:pt idx="57">
                  <c:v>0.16677579027315823</c:v>
                </c:pt>
                <c:pt idx="58">
                  <c:v>0.1796740265733926</c:v>
                </c:pt>
                <c:pt idx="59">
                  <c:v>0.1848297810782139</c:v>
                </c:pt>
                <c:pt idx="60">
                  <c:v>0.1911824354113394</c:v>
                </c:pt>
                <c:pt idx="61">
                  <c:v>0.1938988416432837</c:v>
                </c:pt>
                <c:pt idx="62">
                  <c:v>0.1979644124767882</c:v>
                </c:pt>
                <c:pt idx="63">
                  <c:v>0.21463529815824497</c:v>
                </c:pt>
                <c:pt idx="64">
                  <c:v>0.20133358416421063</c:v>
                </c:pt>
                <c:pt idx="65">
                  <c:v>0.1998720672560711</c:v>
                </c:pt>
                <c:pt idx="66">
                  <c:v>0.19738022185508614</c:v>
                </c:pt>
                <c:pt idx="67">
                  <c:v>0.193351193375548</c:v>
                </c:pt>
                <c:pt idx="68">
                  <c:v>0.1764843521497514</c:v>
                </c:pt>
                <c:pt idx="69">
                  <c:v>0.15879038317054847</c:v>
                </c:pt>
                <c:pt idx="70">
                  <c:v>0.14821472630502977</c:v>
                </c:pt>
                <c:pt idx="71">
                  <c:v>0.15706529935153069</c:v>
                </c:pt>
                <c:pt idx="72">
                  <c:v>0.15622956774427896</c:v>
                </c:pt>
                <c:pt idx="73">
                  <c:v>0.16183638768184394</c:v>
                </c:pt>
                <c:pt idx="74">
                  <c:v>0.1592623335378397</c:v>
                </c:pt>
                <c:pt idx="75">
                  <c:v>0.15497225778915918</c:v>
                </c:pt>
                <c:pt idx="76">
                  <c:v>0.1459560670411472</c:v>
                </c:pt>
                <c:pt idx="77">
                  <c:v>0.15498438843386578</c:v>
                </c:pt>
                <c:pt idx="78">
                  <c:v>0.1446161907257008</c:v>
                </c:pt>
                <c:pt idx="79">
                  <c:v>0.18320854638422207</c:v>
                </c:pt>
                <c:pt idx="80">
                  <c:v>0.1774726788502158</c:v>
                </c:pt>
                <c:pt idx="81">
                  <c:v>0.1575934534557609</c:v>
                </c:pt>
                <c:pt idx="82">
                  <c:v>0.14378602039308408</c:v>
                </c:pt>
                <c:pt idx="83">
                  <c:v>0.1329802220093537</c:v>
                </c:pt>
                <c:pt idx="84">
                  <c:v>0.12998102466793168</c:v>
                </c:pt>
                <c:pt idx="85">
                  <c:v>0.1331891549741534</c:v>
                </c:pt>
                <c:pt idx="86">
                  <c:v>0.13664497698777972</c:v>
                </c:pt>
                <c:pt idx="87">
                  <c:v>0.15707769558051285</c:v>
                </c:pt>
                <c:pt idx="88">
                  <c:v>0.14278950856926428</c:v>
                </c:pt>
                <c:pt idx="89">
                  <c:v>0.12795285677683832</c:v>
                </c:pt>
                <c:pt idx="90">
                  <c:v>0.12505943889681406</c:v>
                </c:pt>
                <c:pt idx="91">
                  <c:v>0.11934383465435938</c:v>
                </c:pt>
                <c:pt idx="92">
                  <c:v>0.13114754098360656</c:v>
                </c:pt>
                <c:pt idx="93">
                  <c:v>0.11910570731512218</c:v>
                </c:pt>
                <c:pt idx="94">
                  <c:v>0.12265742556198987</c:v>
                </c:pt>
                <c:pt idx="95">
                  <c:v>0.13306545345863913</c:v>
                </c:pt>
                <c:pt idx="96">
                  <c:v>0.12835410689746618</c:v>
                </c:pt>
                <c:pt idx="97">
                  <c:v>0.13635974853526067</c:v>
                </c:pt>
                <c:pt idx="98">
                  <c:v>0.15405743754554457</c:v>
                </c:pt>
                <c:pt idx="99">
                  <c:v>0.1593022876350227</c:v>
                </c:pt>
                <c:pt idx="100">
                  <c:v>0.18337582746602418</c:v>
                </c:pt>
                <c:pt idx="101">
                  <c:v>0.15571918341904317</c:v>
                </c:pt>
                <c:pt idx="102">
                  <c:v>0.1313907284768212</c:v>
                </c:pt>
                <c:pt idx="103">
                  <c:v>0.15021106674272675</c:v>
                </c:pt>
                <c:pt idx="104">
                  <c:v>0.1544821131447587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61.7317</c:v>
                </c:pt>
                <c:pt idx="1">
                  <c:v>1256.7909</c:v>
                </c:pt>
                <c:pt idx="2">
                  <c:v>1251.7393</c:v>
                </c:pt>
                <c:pt idx="3">
                  <c:v>1284.1948</c:v>
                </c:pt>
                <c:pt idx="4">
                  <c:v>1277.3643</c:v>
                </c:pt>
                <c:pt idx="5">
                  <c:v>1282.4897</c:v>
                </c:pt>
                <c:pt idx="6">
                  <c:v>1207.1888</c:v>
                </c:pt>
                <c:pt idx="7">
                  <c:v>1242.1704</c:v>
                </c:pt>
                <c:pt idx="8">
                  <c:v>1331.0788</c:v>
                </c:pt>
                <c:pt idx="9">
                  <c:v>1257.829</c:v>
                </c:pt>
                <c:pt idx="10">
                  <c:v>1286.4968</c:v>
                </c:pt>
                <c:pt idx="11">
                  <c:v>1169.9601</c:v>
                </c:pt>
                <c:pt idx="12">
                  <c:v>1217.0901</c:v>
                </c:pt>
                <c:pt idx="13">
                  <c:v>1255.6037</c:v>
                </c:pt>
                <c:pt idx="14">
                  <c:v>1261.1765</c:v>
                </c:pt>
                <c:pt idx="15">
                  <c:v>1282.6054</c:v>
                </c:pt>
                <c:pt idx="16">
                  <c:v>1291.8069</c:v>
                </c:pt>
                <c:pt idx="17">
                  <c:v>1290.9181</c:v>
                </c:pt>
                <c:pt idx="18">
                  <c:v>1266.6664</c:v>
                </c:pt>
                <c:pt idx="19">
                  <c:v>1343.1935</c:v>
                </c:pt>
                <c:pt idx="20">
                  <c:v>1323.7416</c:v>
                </c:pt>
                <c:pt idx="21">
                  <c:v>1296.4086</c:v>
                </c:pt>
                <c:pt idx="22">
                  <c:v>1268.7069</c:v>
                </c:pt>
                <c:pt idx="23">
                  <c:v>1209.8883</c:v>
                </c:pt>
                <c:pt idx="24">
                  <c:v>1211.4266</c:v>
                </c:pt>
                <c:pt idx="25">
                  <c:v>1181.2466</c:v>
                </c:pt>
                <c:pt idx="26">
                  <c:v>1244.3609</c:v>
                </c:pt>
                <c:pt idx="27">
                  <c:v>1310.1474</c:v>
                </c:pt>
                <c:pt idx="28">
                  <c:v>1311.9759</c:v>
                </c:pt>
                <c:pt idx="29">
                  <c:v>1318.9416</c:v>
                </c:pt>
                <c:pt idx="30">
                  <c:v>1286.4016</c:v>
                </c:pt>
                <c:pt idx="31">
                  <c:v>1197.9475</c:v>
                </c:pt>
                <c:pt idx="32">
                  <c:v>1225.7107</c:v>
                </c:pt>
                <c:pt idx="33">
                  <c:v>1272.6502</c:v>
                </c:pt>
                <c:pt idx="34">
                  <c:v>1323.9043</c:v>
                </c:pt>
                <c:pt idx="35">
                  <c:v>1312.5002</c:v>
                </c:pt>
                <c:pt idx="36">
                  <c:v>1262.033</c:v>
                </c:pt>
                <c:pt idx="37">
                  <c:v>1344.8296</c:v>
                </c:pt>
                <c:pt idx="38">
                  <c:v>1297.3983</c:v>
                </c:pt>
                <c:pt idx="39">
                  <c:v>1310.9954</c:v>
                </c:pt>
                <c:pt idx="40">
                  <c:v>1343.8135</c:v>
                </c:pt>
                <c:pt idx="41">
                  <c:v>1386.8259</c:v>
                </c:pt>
                <c:pt idx="42">
                  <c:v>1388.5087</c:v>
                </c:pt>
                <c:pt idx="43">
                  <c:v>1382.4094</c:v>
                </c:pt>
                <c:pt idx="44">
                  <c:v>1318.6421</c:v>
                </c:pt>
                <c:pt idx="45">
                  <c:v>1287.7981</c:v>
                </c:pt>
                <c:pt idx="46">
                  <c:v>1292.5967</c:v>
                </c:pt>
                <c:pt idx="47">
                  <c:v>1262.942</c:v>
                </c:pt>
                <c:pt idx="48">
                  <c:v>1231.8961</c:v>
                </c:pt>
                <c:pt idx="49">
                  <c:v>1235.3904</c:v>
                </c:pt>
                <c:pt idx="50">
                  <c:v>1135.2079</c:v>
                </c:pt>
                <c:pt idx="51">
                  <c:v>1125.3148</c:v>
                </c:pt>
              </c:numCache>
            </c:numRef>
          </c:xVal>
          <c:yVal>
            <c:numRef>
              <c:f>Sheet1!$B$109:$B$160</c:f>
              <c:numCache>
                <c:formatCode>General</c:formatCode>
                <c:ptCount val="52"/>
                <c:pt idx="0">
                  <c:v>0.15451908792944893</c:v>
                </c:pt>
                <c:pt idx="1">
                  <c:v>0.1495251769565984</c:v>
                </c:pt>
                <c:pt idx="2">
                  <c:v>0.1573056852513046</c:v>
                </c:pt>
                <c:pt idx="3">
                  <c:v>0.16114564123579903</c:v>
                </c:pt>
                <c:pt idx="4">
                  <c:v>0.14990230926767262</c:v>
                </c:pt>
                <c:pt idx="5">
                  <c:v>0.1484953015344356</c:v>
                </c:pt>
                <c:pt idx="6">
                  <c:v>0.15711038140944683</c:v>
                </c:pt>
                <c:pt idx="7">
                  <c:v>0.15121453736324866</c:v>
                </c:pt>
                <c:pt idx="8">
                  <c:v>0.15143261041961176</c:v>
                </c:pt>
                <c:pt idx="9">
                  <c:v>0.16744904067294666</c:v>
                </c:pt>
                <c:pt idx="10">
                  <c:v>0.164021325209444</c:v>
                </c:pt>
                <c:pt idx="11">
                  <c:v>0.18821387940841866</c:v>
                </c:pt>
                <c:pt idx="12">
                  <c:v>0.17435803948122297</c:v>
                </c:pt>
                <c:pt idx="13">
                  <c:v>0.16749019818465008</c:v>
                </c:pt>
                <c:pt idx="14">
                  <c:v>0.17095239485128863</c:v>
                </c:pt>
                <c:pt idx="15">
                  <c:v>0.156000499001996</c:v>
                </c:pt>
                <c:pt idx="16">
                  <c:v>0.1539690811186382</c:v>
                </c:pt>
                <c:pt idx="17">
                  <c:v>0.13196308416369454</c:v>
                </c:pt>
                <c:pt idx="18">
                  <c:v>0.12945284186334305</c:v>
                </c:pt>
                <c:pt idx="19">
                  <c:v>0.14011156806058878</c:v>
                </c:pt>
                <c:pt idx="20">
                  <c:v>0.13377066619387437</c:v>
                </c:pt>
                <c:pt idx="21">
                  <c:v>0.1418818007254107</c:v>
                </c:pt>
                <c:pt idx="22">
                  <c:v>0.13938531287890768</c:v>
                </c:pt>
                <c:pt idx="23">
                  <c:v>0.14231696624287593</c:v>
                </c:pt>
                <c:pt idx="24">
                  <c:v>0.14298309304014106</c:v>
                </c:pt>
                <c:pt idx="25">
                  <c:v>0.14905650116917724</c:v>
                </c:pt>
                <c:pt idx="26">
                  <c:v>0.13264409408115793</c:v>
                </c:pt>
                <c:pt idx="27">
                  <c:v>0.11831746612962285</c:v>
                </c:pt>
                <c:pt idx="28">
                  <c:v>0.12924941097273646</c:v>
                </c:pt>
                <c:pt idx="29">
                  <c:v>0.11934729615442018</c:v>
                </c:pt>
                <c:pt idx="30">
                  <c:v>0.1400093201470512</c:v>
                </c:pt>
                <c:pt idx="31">
                  <c:v>0.127063560540696</c:v>
                </c:pt>
                <c:pt idx="32">
                  <c:v>0.12952996053103696</c:v>
                </c:pt>
                <c:pt idx="33">
                  <c:v>0.14883720930232558</c:v>
                </c:pt>
                <c:pt idx="34">
                  <c:v>0.16986561050743035</c:v>
                </c:pt>
                <c:pt idx="35">
                  <c:v>0.16272716474640694</c:v>
                </c:pt>
                <c:pt idx="36">
                  <c:v>0.1427751635487203</c:v>
                </c:pt>
                <c:pt idx="37">
                  <c:v>0.1290035587188612</c:v>
                </c:pt>
                <c:pt idx="38">
                  <c:v>0.12835734870317003</c:v>
                </c:pt>
                <c:pt idx="39">
                  <c:v>0.14641995172968625</c:v>
                </c:pt>
                <c:pt idx="40">
                  <c:v>0.1279339131955068</c:v>
                </c:pt>
                <c:pt idx="41">
                  <c:v>0.1306540974117258</c:v>
                </c:pt>
                <c:pt idx="42">
                  <c:v>0.1257999634302432</c:v>
                </c:pt>
                <c:pt idx="43">
                  <c:v>0.12494822587325694</c:v>
                </c:pt>
                <c:pt idx="44">
                  <c:v>0.12619987893113488</c:v>
                </c:pt>
                <c:pt idx="45">
                  <c:v>0.1415380556654795</c:v>
                </c:pt>
                <c:pt idx="46">
                  <c:v>0.13360547800895445</c:v>
                </c:pt>
                <c:pt idx="47">
                  <c:v>0.13851359695704793</c:v>
                </c:pt>
                <c:pt idx="48">
                  <c:v>0.13167355930089986</c:v>
                </c:pt>
                <c:pt idx="49">
                  <c:v>0.14483610451306414</c:v>
                </c:pt>
                <c:pt idx="50">
                  <c:v>0.18246457619315565</c:v>
                </c:pt>
                <c:pt idx="51">
                  <c:v>0.161886221068570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61.7151699317589</c:v>
                </c:pt>
              </c:numCache>
            </c:numRef>
          </c:xVal>
          <c:yVal>
            <c:numRef>
              <c:f>Sheet1!$B$163:$B$164</c:f>
              <c:numCache>
                <c:formatCode>General</c:formatCode>
                <c:ptCount val="2"/>
                <c:pt idx="0">
                  <c:v>0.19090649372808102</c:v>
                </c:pt>
                <c:pt idx="1">
                  <c:v>0.1909064937280810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61.7151699317589</c:v>
                </c:pt>
                <c:pt idx="1">
                  <c:v>961.7151699317589</c:v>
                </c:pt>
              </c:numCache>
            </c:numRef>
          </c:xVal>
          <c:yVal>
            <c:numRef>
              <c:f>Sheet1!$B$167:$B$168</c:f>
              <c:numCache>
                <c:formatCode>General</c:formatCode>
                <c:ptCount val="2"/>
                <c:pt idx="0">
                  <c:v>0.19090649372808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06.0304216105635</c:v>
                </c:pt>
              </c:numCache>
            </c:numRef>
          </c:xVal>
          <c:yVal>
            <c:numRef>
              <c:f>Sheet1!$B$171:$B$172</c:f>
              <c:numCache>
                <c:formatCode>General</c:formatCode>
                <c:ptCount val="2"/>
                <c:pt idx="0">
                  <c:v>0.1553564937642705</c:v>
                </c:pt>
                <c:pt idx="1">
                  <c:v>0.155356493764270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06.0304216105635</c:v>
                </c:pt>
                <c:pt idx="1">
                  <c:v>1206.0304216105635</c:v>
                </c:pt>
              </c:numCache>
            </c:numRef>
          </c:xVal>
          <c:yVal>
            <c:numRef>
              <c:f>Sheet1!$B$175:$B$176</c:f>
              <c:numCache>
                <c:formatCode>General</c:formatCode>
                <c:ptCount val="2"/>
                <c:pt idx="0">
                  <c:v>0.15535649376427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13.4312248497681</c:v>
                </c:pt>
              </c:numCache>
            </c:numRef>
          </c:xVal>
          <c:yVal>
            <c:numRef>
              <c:f>Sheet1!$B$179:$B$180</c:f>
              <c:numCache>
                <c:formatCode>General</c:formatCode>
                <c:ptCount val="2"/>
                <c:pt idx="0">
                  <c:v>0.13972874017528658</c:v>
                </c:pt>
                <c:pt idx="1">
                  <c:v>0.1397287401752865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13.4312248497681</c:v>
                </c:pt>
                <c:pt idx="1">
                  <c:v>1313.4312248497681</c:v>
                </c:pt>
              </c:numCache>
            </c:numRef>
          </c:xVal>
          <c:yVal>
            <c:numRef>
              <c:f>Sheet1!$B$183:$B$184</c:f>
              <c:numCache>
                <c:formatCode>General</c:formatCode>
                <c:ptCount val="2"/>
                <c:pt idx="0">
                  <c:v>0.1397287401752865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61.7317</c:v>
                </c:pt>
                <c:pt idx="1">
                  <c:v>1256.7909</c:v>
                </c:pt>
                <c:pt idx="2">
                  <c:v>1251.7393</c:v>
                </c:pt>
                <c:pt idx="3">
                  <c:v>1284.1948</c:v>
                </c:pt>
                <c:pt idx="4">
                  <c:v>1277.3643</c:v>
                </c:pt>
                <c:pt idx="5">
                  <c:v>1282.4897</c:v>
                </c:pt>
                <c:pt idx="6">
                  <c:v>1207.1888</c:v>
                </c:pt>
                <c:pt idx="7">
                  <c:v>1242.1704</c:v>
                </c:pt>
                <c:pt idx="8">
                  <c:v>1331.0788</c:v>
                </c:pt>
                <c:pt idx="9">
                  <c:v>1257.829</c:v>
                </c:pt>
                <c:pt idx="10">
                  <c:v>1286.4968</c:v>
                </c:pt>
                <c:pt idx="11">
                  <c:v>1169.9601</c:v>
                </c:pt>
                <c:pt idx="12">
                  <c:v>1217.0901</c:v>
                </c:pt>
                <c:pt idx="13">
                  <c:v>1255.6037</c:v>
                </c:pt>
                <c:pt idx="14">
                  <c:v>1261.1765</c:v>
                </c:pt>
                <c:pt idx="15">
                  <c:v>1282.6054</c:v>
                </c:pt>
                <c:pt idx="16">
                  <c:v>1291.8069</c:v>
                </c:pt>
                <c:pt idx="17">
                  <c:v>1290.9181</c:v>
                </c:pt>
                <c:pt idx="18">
                  <c:v>1266.6664</c:v>
                </c:pt>
                <c:pt idx="19">
                  <c:v>1343.1935</c:v>
                </c:pt>
                <c:pt idx="20">
                  <c:v>1323.7416</c:v>
                </c:pt>
                <c:pt idx="21">
                  <c:v>1296.4086</c:v>
                </c:pt>
                <c:pt idx="22">
                  <c:v>1268.7069</c:v>
                </c:pt>
                <c:pt idx="23">
                  <c:v>1209.8883</c:v>
                </c:pt>
                <c:pt idx="24">
                  <c:v>1211.4266</c:v>
                </c:pt>
                <c:pt idx="25">
                  <c:v>1181.2466</c:v>
                </c:pt>
                <c:pt idx="26">
                  <c:v>1244.3609</c:v>
                </c:pt>
                <c:pt idx="27">
                  <c:v>1310.1474</c:v>
                </c:pt>
                <c:pt idx="28">
                  <c:v>1311.9759</c:v>
                </c:pt>
                <c:pt idx="29">
                  <c:v>1318.9416</c:v>
                </c:pt>
                <c:pt idx="30">
                  <c:v>1286.4016</c:v>
                </c:pt>
                <c:pt idx="31">
                  <c:v>1197.9475</c:v>
                </c:pt>
                <c:pt idx="32">
                  <c:v>1225.7107</c:v>
                </c:pt>
                <c:pt idx="33">
                  <c:v>1272.6502</c:v>
                </c:pt>
                <c:pt idx="34">
                  <c:v>1323.9043</c:v>
                </c:pt>
                <c:pt idx="35">
                  <c:v>1312.5002</c:v>
                </c:pt>
                <c:pt idx="36">
                  <c:v>1262.033</c:v>
                </c:pt>
                <c:pt idx="37">
                  <c:v>1344.8296</c:v>
                </c:pt>
                <c:pt idx="38">
                  <c:v>1297.3983</c:v>
                </c:pt>
                <c:pt idx="39">
                  <c:v>1310.9954</c:v>
                </c:pt>
                <c:pt idx="40">
                  <c:v>1343.8135</c:v>
                </c:pt>
                <c:pt idx="41">
                  <c:v>1386.8259</c:v>
                </c:pt>
                <c:pt idx="42">
                  <c:v>1388.5087</c:v>
                </c:pt>
                <c:pt idx="43">
                  <c:v>1382.4094</c:v>
                </c:pt>
                <c:pt idx="44">
                  <c:v>1318.6421</c:v>
                </c:pt>
                <c:pt idx="45">
                  <c:v>1287.7981</c:v>
                </c:pt>
                <c:pt idx="46">
                  <c:v>1292.5967</c:v>
                </c:pt>
                <c:pt idx="47">
                  <c:v>1262.942</c:v>
                </c:pt>
                <c:pt idx="48">
                  <c:v>1231.8961</c:v>
                </c:pt>
                <c:pt idx="49">
                  <c:v>1235.3904</c:v>
                </c:pt>
                <c:pt idx="50">
                  <c:v>1135.2079</c:v>
                </c:pt>
                <c:pt idx="51">
                  <c:v>1125.3148</c:v>
                </c:pt>
                <c:pt idx="52">
                  <c:v>1206.0304216105635</c:v>
                </c:pt>
                <c:pt idx="53">
                  <c:v>961.7151699317589</c:v>
                </c:pt>
                <c:pt idx="54">
                  <c:v>1313.4312248497681</c:v>
                </c:pt>
              </c:numCache>
            </c:numRef>
          </c:xVal>
          <c:yVal>
            <c:numRef>
              <c:f>Sheet1!$B$187:$B$241</c:f>
              <c:numCache>
                <c:formatCode>General</c:formatCode>
                <c:ptCount val="55"/>
                <c:pt idx="0">
                  <c:v>0.14725147194871896</c:v>
                </c:pt>
                <c:pt idx="1">
                  <c:v>0.14797040144089865</c:v>
                </c:pt>
                <c:pt idx="2">
                  <c:v>0.14870545329944282</c:v>
                </c:pt>
                <c:pt idx="3">
                  <c:v>0.14398289498228004</c:v>
                </c:pt>
                <c:pt idx="4">
                  <c:v>0.14497679230585786</c:v>
                </c:pt>
                <c:pt idx="5">
                  <c:v>0.14423100190365218</c:v>
                </c:pt>
                <c:pt idx="6">
                  <c:v>0.15518793960557767</c:v>
                </c:pt>
                <c:pt idx="7">
                  <c:v>0.1500978117065263</c:v>
                </c:pt>
                <c:pt idx="8">
                  <c:v>0.1371608640740562</c:v>
                </c:pt>
                <c:pt idx="9">
                  <c:v>0.14781934883690098</c:v>
                </c:pt>
                <c:pt idx="10">
                  <c:v>0.14364793390492464</c:v>
                </c:pt>
                <c:pt idx="11">
                  <c:v>0.16060504015316304</c:v>
                </c:pt>
                <c:pt idx="12">
                  <c:v>0.1537472140994008</c:v>
                </c:pt>
                <c:pt idx="13">
                  <c:v>0.14814314939530196</c:v>
                </c:pt>
                <c:pt idx="14">
                  <c:v>0.1473322583910073</c:v>
                </c:pt>
                <c:pt idx="15">
                  <c:v>0.1442141665445514</c:v>
                </c:pt>
                <c:pt idx="16">
                  <c:v>0.1428752680418208</c:v>
                </c:pt>
                <c:pt idx="17">
                  <c:v>0.14300459619366854</c:v>
                </c:pt>
                <c:pt idx="18">
                  <c:v>0.14653343005974165</c:v>
                </c:pt>
                <c:pt idx="19">
                  <c:v>0.13539806956326658</c:v>
                </c:pt>
                <c:pt idx="20">
                  <c:v>0.13822849066691983</c:v>
                </c:pt>
                <c:pt idx="21">
                  <c:v>0.1422056805571699</c:v>
                </c:pt>
                <c:pt idx="22">
                  <c:v>0.14623651951311104</c:v>
                </c:pt>
                <c:pt idx="23">
                  <c:v>0.15479513881134613</c:v>
                </c:pt>
                <c:pt idx="24">
                  <c:v>0.1545713027447537</c:v>
                </c:pt>
                <c:pt idx="25">
                  <c:v>0.15896275596568613</c:v>
                </c:pt>
                <c:pt idx="26">
                  <c:v>0.14977907485164055</c:v>
                </c:pt>
                <c:pt idx="27">
                  <c:v>0.1402065653314659</c:v>
                </c:pt>
                <c:pt idx="28">
                  <c:v>0.13994050263383587</c:v>
                </c:pt>
                <c:pt idx="29">
                  <c:v>0.13892693253108404</c:v>
                </c:pt>
                <c:pt idx="30">
                  <c:v>0.14366178633523055</c:v>
                </c:pt>
                <c:pt idx="31">
                  <c:v>0.15653262935543197</c:v>
                </c:pt>
                <c:pt idx="32">
                  <c:v>0.1524928416131062</c:v>
                </c:pt>
                <c:pt idx="33">
                  <c:v>0.14566273497082796</c:v>
                </c:pt>
                <c:pt idx="34">
                  <c:v>0.13820481639789914</c:v>
                </c:pt>
                <c:pt idx="35">
                  <c:v>0.13986421241104807</c:v>
                </c:pt>
                <c:pt idx="36">
                  <c:v>0.14720763017087052</c:v>
                </c:pt>
                <c:pt idx="37">
                  <c:v>0.13516000274369178</c:v>
                </c:pt>
                <c:pt idx="38">
                  <c:v>0.14206167057530253</c:v>
                </c:pt>
                <c:pt idx="39">
                  <c:v>0.14008317393546355</c:v>
                </c:pt>
                <c:pt idx="40">
                  <c:v>0.13530785415581206</c:v>
                </c:pt>
                <c:pt idx="41">
                  <c:v>0.1290491748145253</c:v>
                </c:pt>
                <c:pt idx="42">
                  <c:v>0.12880431273764706</c:v>
                </c:pt>
                <c:pt idx="43">
                  <c:v>0.12969181408391722</c:v>
                </c:pt>
                <c:pt idx="44">
                  <c:v>0.13897051239323346</c:v>
                </c:pt>
                <c:pt idx="45">
                  <c:v>0.14345858340537526</c:v>
                </c:pt>
                <c:pt idx="46">
                  <c:v>0.14276034525342143</c:v>
                </c:pt>
                <c:pt idx="47">
                  <c:v>0.1470753627428444</c:v>
                </c:pt>
                <c:pt idx="48">
                  <c:v>0.15159281196589763</c:v>
                </c:pt>
                <c:pt idx="49">
                  <c:v>0.15108436083965823</c:v>
                </c:pt>
                <c:pt idx="50">
                  <c:v>0.1656617883514562</c:v>
                </c:pt>
                <c:pt idx="51">
                  <c:v>0.16710132068611513</c:v>
                </c:pt>
                <c:pt idx="52">
                  <c:v>0.15535649376427046</c:v>
                </c:pt>
                <c:pt idx="53">
                  <c:v>0.19090649372808102</c:v>
                </c:pt>
                <c:pt idx="54">
                  <c:v>0.139728740175286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66.0"/>
          <c:min val="68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55974338412189"/>
          <c:min val="0.0946539729036982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0535876134750491</c:v>
                </c:pt>
                <c:pt idx="1">
                  <c:v>0.12086553953510489</c:v>
                </c:pt>
                <c:pt idx="2">
                  <c:v>0.12265705455913728</c:v>
                </c:pt>
                <c:pt idx="3">
                  <c:v>0.11992264815376784</c:v>
                </c:pt>
                <c:pt idx="4">
                  <c:v>0.12293238888848632</c:v>
                </c:pt>
                <c:pt idx="5">
                  <c:v>0.1255339609871649</c:v>
                </c:pt>
                <c:pt idx="6">
                  <c:v>0.12535290334977775</c:v>
                </c:pt>
                <c:pt idx="7">
                  <c:v>0.12608635303173263</c:v>
                </c:pt>
                <c:pt idx="8">
                  <c:v>0.12180528775238286</c:v>
                </c:pt>
                <c:pt idx="9">
                  <c:v>0.12119258025926581</c:v>
                </c:pt>
                <c:pt idx="10">
                  <c:v>0.1196151157061288</c:v>
                </c:pt>
                <c:pt idx="11">
                  <c:v>0.11811757281678405</c:v>
                </c:pt>
                <c:pt idx="12">
                  <c:v>0.11701284884792455</c:v>
                </c:pt>
                <c:pt idx="13">
                  <c:v>0.11137880160699218</c:v>
                </c:pt>
                <c:pt idx="14">
                  <c:v>0.11929185518594475</c:v>
                </c:pt>
                <c:pt idx="15">
                  <c:v>0.11532943805741214</c:v>
                </c:pt>
                <c:pt idx="16">
                  <c:v>0.11401006166173236</c:v>
                </c:pt>
                <c:pt idx="17">
                  <c:v>0.1049225281901603</c:v>
                </c:pt>
                <c:pt idx="18">
                  <c:v>0.1129793924074077</c:v>
                </c:pt>
                <c:pt idx="19">
                  <c:v>0.11480211881430198</c:v>
                </c:pt>
                <c:pt idx="20">
                  <c:v>0.11384360139438977</c:v>
                </c:pt>
                <c:pt idx="21">
                  <c:v>0.11124252857438886</c:v>
                </c:pt>
                <c:pt idx="22">
                  <c:v>0.10434576573610803</c:v>
                </c:pt>
                <c:pt idx="23">
                  <c:v>0.10279459905057645</c:v>
                </c:pt>
                <c:pt idx="24">
                  <c:v>0.10252343811692904</c:v>
                </c:pt>
                <c:pt idx="25">
                  <c:v>0.09933680881651931</c:v>
                </c:pt>
                <c:pt idx="26">
                  <c:v>0.10922969316853898</c:v>
                </c:pt>
                <c:pt idx="27">
                  <c:v>0.11052807031102149</c:v>
                </c:pt>
                <c:pt idx="28">
                  <c:v>0.10728790617272282</c:v>
                </c:pt>
                <c:pt idx="29">
                  <c:v>0.1011829392091191</c:v>
                </c:pt>
                <c:pt idx="30">
                  <c:v>0.10410892374928411</c:v>
                </c:pt>
                <c:pt idx="31">
                  <c:v>0.10272439178448244</c:v>
                </c:pt>
                <c:pt idx="32">
                  <c:v>0.09791559586873154</c:v>
                </c:pt>
                <c:pt idx="33">
                  <c:v>0.09667337465119494</c:v>
                </c:pt>
                <c:pt idx="34">
                  <c:v>0.1044625883976325</c:v>
                </c:pt>
                <c:pt idx="35">
                  <c:v>0.10985012396495183</c:v>
                </c:pt>
                <c:pt idx="36">
                  <c:v>0.11269894545161396</c:v>
                </c:pt>
                <c:pt idx="37">
                  <c:v>0.11371606495168915</c:v>
                </c:pt>
                <c:pt idx="38">
                  <c:v>0.11983025763145547</c:v>
                </c:pt>
                <c:pt idx="39">
                  <c:v>0.12259175725776657</c:v>
                </c:pt>
                <c:pt idx="40">
                  <c:v>0.1294960379985658</c:v>
                </c:pt>
                <c:pt idx="41">
                  <c:v>0.1287240475471511</c:v>
                </c:pt>
                <c:pt idx="42">
                  <c:v>0.13107348488492035</c:v>
                </c:pt>
                <c:pt idx="43">
                  <c:v>0.14375100536731922</c:v>
                </c:pt>
                <c:pt idx="44">
                  <c:v>0.12913543391819243</c:v>
                </c:pt>
                <c:pt idx="45">
                  <c:v>0.12483889769797928</c:v>
                </c:pt>
                <c:pt idx="46">
                  <c:v>0.12355363174945351</c:v>
                </c:pt>
                <c:pt idx="47">
                  <c:v>0.11756450913217582</c:v>
                </c:pt>
                <c:pt idx="48">
                  <c:v>0.11925047564198182</c:v>
                </c:pt>
                <c:pt idx="49">
                  <c:v>0.1255265940398878</c:v>
                </c:pt>
                <c:pt idx="50">
                  <c:v>0.11411511277936731</c:v>
                </c:pt>
                <c:pt idx="51">
                  <c:v>0.11436183243136672</c:v>
                </c:pt>
                <c:pt idx="52">
                  <c:v>0.11569866994599898</c:v>
                </c:pt>
                <c:pt idx="53">
                  <c:v>0.13029633526882928</c:v>
                </c:pt>
                <c:pt idx="54">
                  <c:v>0.12518124797264063</c:v>
                </c:pt>
                <c:pt idx="55">
                  <c:v>0.1264833025371782</c:v>
                </c:pt>
                <c:pt idx="56">
                  <c:v>0.12236357369730508</c:v>
                </c:pt>
                <c:pt idx="57">
                  <c:v>0.12258835425511916</c:v>
                </c:pt>
                <c:pt idx="58">
                  <c:v>0.12108139581333548</c:v>
                </c:pt>
                <c:pt idx="59">
                  <c:v>0.12259699669823129</c:v>
                </c:pt>
                <c:pt idx="60">
                  <c:v>0.12484239827479034</c:v>
                </c:pt>
                <c:pt idx="61">
                  <c:v>0.12203669570377532</c:v>
                </c:pt>
                <c:pt idx="62">
                  <c:v>0.1141667759152936</c:v>
                </c:pt>
                <c:pt idx="63">
                  <c:v>0.11657197763436877</c:v>
                </c:pt>
                <c:pt idx="64">
                  <c:v>0.12396050406849163</c:v>
                </c:pt>
                <c:pt idx="65">
                  <c:v>0.11662362003760218</c:v>
                </c:pt>
                <c:pt idx="66">
                  <c:v>0.11858994084168961</c:v>
                </c:pt>
                <c:pt idx="67">
                  <c:v>0.11668609897190728</c:v>
                </c:pt>
                <c:pt idx="68">
                  <c:v>0.11341639243074722</c:v>
                </c:pt>
                <c:pt idx="69">
                  <c:v>0.11125467313105487</c:v>
                </c:pt>
                <c:pt idx="70">
                  <c:v>0.10951953382344863</c:v>
                </c:pt>
                <c:pt idx="71">
                  <c:v>0.11006610923755447</c:v>
                </c:pt>
                <c:pt idx="72">
                  <c:v>0.1155462641355661</c:v>
                </c:pt>
                <c:pt idx="73">
                  <c:v>0.11625933743739646</c:v>
                </c:pt>
                <c:pt idx="74">
                  <c:v>0.10909114816406616</c:v>
                </c:pt>
                <c:pt idx="75">
                  <c:v>0.10901250007515399</c:v>
                </c:pt>
                <c:pt idx="76">
                  <c:v>0.10885587864307139</c:v>
                </c:pt>
                <c:pt idx="77">
                  <c:v>0.10347245220532893</c:v>
                </c:pt>
                <c:pt idx="78">
                  <c:v>0.10863078881159063</c:v>
                </c:pt>
                <c:pt idx="79">
                  <c:v>0.07888253896197374</c:v>
                </c:pt>
                <c:pt idx="80">
                  <c:v>0.077212758720975</c:v>
                </c:pt>
                <c:pt idx="81">
                  <c:v>0.0967396547330806</c:v>
                </c:pt>
                <c:pt idx="82">
                  <c:v>0.09710329161981036</c:v>
                </c:pt>
                <c:pt idx="83">
                  <c:v>0.09680240995966974</c:v>
                </c:pt>
                <c:pt idx="84">
                  <c:v>0.09897978535245001</c:v>
                </c:pt>
                <c:pt idx="85">
                  <c:v>0.09943634735625934</c:v>
                </c:pt>
                <c:pt idx="86">
                  <c:v>0.11084450624875705</c:v>
                </c:pt>
                <c:pt idx="87">
                  <c:v>0.11065326228004754</c:v>
                </c:pt>
                <c:pt idx="88">
                  <c:v>0.11136893560767105</c:v>
                </c:pt>
                <c:pt idx="89">
                  <c:v>0.10511469489221953</c:v>
                </c:pt>
                <c:pt idx="90">
                  <c:v>0.10925408856226308</c:v>
                </c:pt>
                <c:pt idx="91">
                  <c:v>0.11452190613559536</c:v>
                </c:pt>
                <c:pt idx="92">
                  <c:v>0.11430363016260948</c:v>
                </c:pt>
                <c:pt idx="93">
                  <c:v>0.11735468527038602</c:v>
                </c:pt>
                <c:pt idx="94">
                  <c:v>0.11472566738647313</c:v>
                </c:pt>
                <c:pt idx="95">
                  <c:v>0.11565595761660086</c:v>
                </c:pt>
                <c:pt idx="96">
                  <c:v>0.11307794284120813</c:v>
                </c:pt>
                <c:pt idx="97">
                  <c:v>0.1161129367356142</c:v>
                </c:pt>
                <c:pt idx="98">
                  <c:v>0.11526555803149893</c:v>
                </c:pt>
                <c:pt idx="99">
                  <c:v>0.11414528844431358</c:v>
                </c:pt>
                <c:pt idx="100">
                  <c:v>0.11643400353158358</c:v>
                </c:pt>
                <c:pt idx="101">
                  <c:v>0.1193591558788142</c:v>
                </c:pt>
                <c:pt idx="102">
                  <c:v>0.11986713344149849</c:v>
                </c:pt>
                <c:pt idx="103">
                  <c:v>0.10747456417677484</c:v>
                </c:pt>
                <c:pt idx="104">
                  <c:v>0.11384018559829331</c:v>
                </c:pt>
              </c:numCache>
            </c:numRef>
          </c:xVal>
          <c:yVal>
            <c:numRef>
              <c:f>Sheet1!$B$2:$B$106</c:f>
              <c:numCache>
                <c:formatCode>General</c:formatCode>
                <c:ptCount val="105"/>
                <c:pt idx="0">
                  <c:v>0.2104353132628153</c:v>
                </c:pt>
                <c:pt idx="1">
                  <c:v>0.20936580711843744</c:v>
                </c:pt>
                <c:pt idx="2">
                  <c:v>0.1951964281132124</c:v>
                </c:pt>
                <c:pt idx="3">
                  <c:v>0.19280869846054474</c:v>
                </c:pt>
                <c:pt idx="4">
                  <c:v>0.18282521947326416</c:v>
                </c:pt>
                <c:pt idx="5">
                  <c:v>0.17047857630868335</c:v>
                </c:pt>
                <c:pt idx="6">
                  <c:v>0.18916918720638393</c:v>
                </c:pt>
                <c:pt idx="7">
                  <c:v>0.17825161479741633</c:v>
                </c:pt>
                <c:pt idx="8">
                  <c:v>0.18962759881197166</c:v>
                </c:pt>
                <c:pt idx="9">
                  <c:v>0.19161017956950885</c:v>
                </c:pt>
                <c:pt idx="10">
                  <c:v>0.20396039603960395</c:v>
                </c:pt>
                <c:pt idx="11">
                  <c:v>0.19627861497756816</c:v>
                </c:pt>
                <c:pt idx="12">
                  <c:v>0.2090399978766887</c:v>
                </c:pt>
                <c:pt idx="13">
                  <c:v>0.21092146331861766</c:v>
                </c:pt>
                <c:pt idx="14">
                  <c:v>0.20510605089328018</c:v>
                </c:pt>
                <c:pt idx="15">
                  <c:v>0.1997352308456065</c:v>
                </c:pt>
                <c:pt idx="16">
                  <c:v>0.19186415376002985</c:v>
                </c:pt>
                <c:pt idx="17">
                  <c:v>0.1788574697613599</c:v>
                </c:pt>
                <c:pt idx="18">
                  <c:v>0.17484202391235168</c:v>
                </c:pt>
                <c:pt idx="19">
                  <c:v>0.14627434377646062</c:v>
                </c:pt>
                <c:pt idx="20">
                  <c:v>0.16460617710017036</c:v>
                </c:pt>
                <c:pt idx="21">
                  <c:v>0.16421682397235546</c:v>
                </c:pt>
                <c:pt idx="22">
                  <c:v>0.1563387690689111</c:v>
                </c:pt>
                <c:pt idx="23">
                  <c:v>0.16137669437161822</c:v>
                </c:pt>
                <c:pt idx="24">
                  <c:v>0.1694212735091446</c:v>
                </c:pt>
                <c:pt idx="25">
                  <c:v>0.16806624679262888</c:v>
                </c:pt>
                <c:pt idx="26">
                  <c:v>0.1631565194669454</c:v>
                </c:pt>
                <c:pt idx="27">
                  <c:v>0.1644426607805759</c:v>
                </c:pt>
                <c:pt idx="28">
                  <c:v>0.15609481390467414</c:v>
                </c:pt>
                <c:pt idx="29">
                  <c:v>0.1752558726723477</c:v>
                </c:pt>
                <c:pt idx="30">
                  <c:v>0.1553217462070569</c:v>
                </c:pt>
                <c:pt idx="31">
                  <c:v>0.1508401503426929</c:v>
                </c:pt>
                <c:pt idx="32">
                  <c:v>0.15629783511917777</c:v>
                </c:pt>
                <c:pt idx="33">
                  <c:v>0.17726337898744146</c:v>
                </c:pt>
                <c:pt idx="34">
                  <c:v>0.17377744012155624</c:v>
                </c:pt>
                <c:pt idx="35">
                  <c:v>0.192956416138173</c:v>
                </c:pt>
                <c:pt idx="36">
                  <c:v>0.15716185884113393</c:v>
                </c:pt>
                <c:pt idx="37">
                  <c:v>0.1293269230769231</c:v>
                </c:pt>
                <c:pt idx="38">
                  <c:v>0.12359550561797752</c:v>
                </c:pt>
                <c:pt idx="39">
                  <c:v>0.12543323139653414</c:v>
                </c:pt>
                <c:pt idx="40">
                  <c:v>0.13096507313744724</c:v>
                </c:pt>
                <c:pt idx="41">
                  <c:v>0.1206642745422762</c:v>
                </c:pt>
                <c:pt idx="42">
                  <c:v>0.12140700364691581</c:v>
                </c:pt>
                <c:pt idx="43">
                  <c:v>0.13300094800042134</c:v>
                </c:pt>
                <c:pt idx="44">
                  <c:v>0.14654865576726858</c:v>
                </c:pt>
                <c:pt idx="45">
                  <c:v>0.16731320255675555</c:v>
                </c:pt>
                <c:pt idx="46">
                  <c:v>0.1764019187502653</c:v>
                </c:pt>
                <c:pt idx="47">
                  <c:v>0.1716687701884613</c:v>
                </c:pt>
                <c:pt idx="48">
                  <c:v>0.19153248508050896</c:v>
                </c:pt>
                <c:pt idx="49">
                  <c:v>0.22133119486768243</c:v>
                </c:pt>
                <c:pt idx="50">
                  <c:v>0.1820144482271859</c:v>
                </c:pt>
                <c:pt idx="51">
                  <c:v>0.1671104696015728</c:v>
                </c:pt>
                <c:pt idx="52">
                  <c:v>0.1823606150687568</c:v>
                </c:pt>
                <c:pt idx="53">
                  <c:v>0.165633727889347</c:v>
                </c:pt>
                <c:pt idx="54">
                  <c:v>0.15941820276497695</c:v>
                </c:pt>
                <c:pt idx="55">
                  <c:v>0.1570630582190758</c:v>
                </c:pt>
                <c:pt idx="56">
                  <c:v>0.17284360475644353</c:v>
                </c:pt>
                <c:pt idx="57">
                  <c:v>0.16677579027315823</c:v>
                </c:pt>
                <c:pt idx="58">
                  <c:v>0.1796740265733926</c:v>
                </c:pt>
                <c:pt idx="59">
                  <c:v>0.1848297810782139</c:v>
                </c:pt>
                <c:pt idx="60">
                  <c:v>0.1911824354113394</c:v>
                </c:pt>
                <c:pt idx="61">
                  <c:v>0.1938988416432837</c:v>
                </c:pt>
                <c:pt idx="62">
                  <c:v>0.1979644124767882</c:v>
                </c:pt>
                <c:pt idx="63">
                  <c:v>0.21463529815824497</c:v>
                </c:pt>
                <c:pt idx="64">
                  <c:v>0.20133358416421063</c:v>
                </c:pt>
                <c:pt idx="65">
                  <c:v>0.1998720672560711</c:v>
                </c:pt>
                <c:pt idx="66">
                  <c:v>0.19738022185508614</c:v>
                </c:pt>
                <c:pt idx="67">
                  <c:v>0.193351193375548</c:v>
                </c:pt>
                <c:pt idx="68">
                  <c:v>0.1764843521497514</c:v>
                </c:pt>
                <c:pt idx="69">
                  <c:v>0.15879038317054847</c:v>
                </c:pt>
                <c:pt idx="70">
                  <c:v>0.14821472630502977</c:v>
                </c:pt>
                <c:pt idx="71">
                  <c:v>0.15706529935153069</c:v>
                </c:pt>
                <c:pt idx="72">
                  <c:v>0.15622956774427896</c:v>
                </c:pt>
                <c:pt idx="73">
                  <c:v>0.16183638768184394</c:v>
                </c:pt>
                <c:pt idx="74">
                  <c:v>0.1592623335378397</c:v>
                </c:pt>
                <c:pt idx="75">
                  <c:v>0.15497225778915918</c:v>
                </c:pt>
                <c:pt idx="76">
                  <c:v>0.1459560670411472</c:v>
                </c:pt>
                <c:pt idx="77">
                  <c:v>0.15498438843386578</c:v>
                </c:pt>
                <c:pt idx="78">
                  <c:v>0.1446161907257008</c:v>
                </c:pt>
                <c:pt idx="79">
                  <c:v>0.18320854638422207</c:v>
                </c:pt>
                <c:pt idx="80">
                  <c:v>0.1774726788502158</c:v>
                </c:pt>
                <c:pt idx="81">
                  <c:v>0.1575934534557609</c:v>
                </c:pt>
                <c:pt idx="82">
                  <c:v>0.14378602039308408</c:v>
                </c:pt>
                <c:pt idx="83">
                  <c:v>0.1329802220093537</c:v>
                </c:pt>
                <c:pt idx="84">
                  <c:v>0.12998102466793168</c:v>
                </c:pt>
                <c:pt idx="85">
                  <c:v>0.1331891549741534</c:v>
                </c:pt>
                <c:pt idx="86">
                  <c:v>0.13664497698777972</c:v>
                </c:pt>
                <c:pt idx="87">
                  <c:v>0.15707769558051285</c:v>
                </c:pt>
                <c:pt idx="88">
                  <c:v>0.14278950856926428</c:v>
                </c:pt>
                <c:pt idx="89">
                  <c:v>0.12795285677683832</c:v>
                </c:pt>
                <c:pt idx="90">
                  <c:v>0.12505943889681406</c:v>
                </c:pt>
                <c:pt idx="91">
                  <c:v>0.11934383465435938</c:v>
                </c:pt>
                <c:pt idx="92">
                  <c:v>0.13114754098360656</c:v>
                </c:pt>
                <c:pt idx="93">
                  <c:v>0.11910570731512218</c:v>
                </c:pt>
                <c:pt idx="94">
                  <c:v>0.12265742556198987</c:v>
                </c:pt>
                <c:pt idx="95">
                  <c:v>0.13306545345863913</c:v>
                </c:pt>
                <c:pt idx="96">
                  <c:v>0.12835410689746618</c:v>
                </c:pt>
                <c:pt idx="97">
                  <c:v>0.13635974853526067</c:v>
                </c:pt>
                <c:pt idx="98">
                  <c:v>0.15405743754554457</c:v>
                </c:pt>
                <c:pt idx="99">
                  <c:v>0.1593022876350227</c:v>
                </c:pt>
                <c:pt idx="100">
                  <c:v>0.18337582746602418</c:v>
                </c:pt>
                <c:pt idx="101">
                  <c:v>0.15571918341904317</c:v>
                </c:pt>
                <c:pt idx="102">
                  <c:v>0.1313907284768212</c:v>
                </c:pt>
                <c:pt idx="103">
                  <c:v>0.15021106674272675</c:v>
                </c:pt>
                <c:pt idx="104">
                  <c:v>0.1544821131447587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2252884599566621</c:v>
                </c:pt>
                <c:pt idx="1">
                  <c:v>0.12432914281666804</c:v>
                </c:pt>
                <c:pt idx="2">
                  <c:v>0.1216425707526565</c:v>
                </c:pt>
                <c:pt idx="3">
                  <c:v>0.12586815638502524</c:v>
                </c:pt>
                <c:pt idx="4">
                  <c:v>0.12421977318978802</c:v>
                </c:pt>
                <c:pt idx="5">
                  <c:v>0.12346398141662027</c:v>
                </c:pt>
                <c:pt idx="6">
                  <c:v>0.11656147600717816</c:v>
                </c:pt>
                <c:pt idx="7">
                  <c:v>0.12030100295482458</c:v>
                </c:pt>
                <c:pt idx="8">
                  <c:v>0.1283414319439073</c:v>
                </c:pt>
                <c:pt idx="9">
                  <c:v>0.12485301100492674</c:v>
                </c:pt>
                <c:pt idx="10">
                  <c:v>0.12658728949854028</c:v>
                </c:pt>
                <c:pt idx="11">
                  <c:v>0.1141956895962383</c:v>
                </c:pt>
                <c:pt idx="12">
                  <c:v>0.11848938329994653</c:v>
                </c:pt>
                <c:pt idx="13">
                  <c:v>0.12044312002167586</c:v>
                </c:pt>
                <c:pt idx="14">
                  <c:v>0.11906805550642287</c:v>
                </c:pt>
                <c:pt idx="15">
                  <c:v>0.11780089596085609</c:v>
                </c:pt>
                <c:pt idx="16">
                  <c:v>0.1184955102246962</c:v>
                </c:pt>
                <c:pt idx="17">
                  <c:v>0.11820334027938761</c:v>
                </c:pt>
                <c:pt idx="18">
                  <c:v>0.11446761868983452</c:v>
                </c:pt>
                <c:pt idx="19">
                  <c:v>0.12458424722145733</c:v>
                </c:pt>
                <c:pt idx="20">
                  <c:v>0.121272626111414</c:v>
                </c:pt>
                <c:pt idx="21">
                  <c:v>0.12147283239334</c:v>
                </c:pt>
                <c:pt idx="22">
                  <c:v>0.11867331864711841</c:v>
                </c:pt>
                <c:pt idx="23">
                  <c:v>0.11512987963572817</c:v>
                </c:pt>
                <c:pt idx="24">
                  <c:v>0.11246797369766637</c:v>
                </c:pt>
                <c:pt idx="25">
                  <c:v>0.10926946779348903</c:v>
                </c:pt>
                <c:pt idx="26">
                  <c:v>0.11344871988643683</c:v>
                </c:pt>
                <c:pt idx="27">
                  <c:v>0.11926511098736853</c:v>
                </c:pt>
                <c:pt idx="28">
                  <c:v>0.12113688239956702</c:v>
                </c:pt>
                <c:pt idx="29">
                  <c:v>0.12250082605806578</c:v>
                </c:pt>
                <c:pt idx="30">
                  <c:v>0.12135397968485588</c:v>
                </c:pt>
                <c:pt idx="31">
                  <c:v>0.11203711318134468</c:v>
                </c:pt>
                <c:pt idx="32">
                  <c:v>0.11564554734988093</c:v>
                </c:pt>
                <c:pt idx="33">
                  <c:v>0.12231648519845817</c:v>
                </c:pt>
                <c:pt idx="34">
                  <c:v>0.12304669009568166</c:v>
                </c:pt>
                <c:pt idx="35">
                  <c:v>0.11868621639802697</c:v>
                </c:pt>
                <c:pt idx="36">
                  <c:v>0.11454878683617252</c:v>
                </c:pt>
                <c:pt idx="37">
                  <c:v>0.12101761334438545</c:v>
                </c:pt>
                <c:pt idx="38">
                  <c:v>0.11626612542656212</c:v>
                </c:pt>
                <c:pt idx="39">
                  <c:v>0.11872258577431283</c:v>
                </c:pt>
                <c:pt idx="40">
                  <c:v>0.12333116837514443</c:v>
                </c:pt>
                <c:pt idx="41">
                  <c:v>0.12846896194394847</c:v>
                </c:pt>
                <c:pt idx="42">
                  <c:v>0.12683652612561208</c:v>
                </c:pt>
                <c:pt idx="43">
                  <c:v>0.12973163086875972</c:v>
                </c:pt>
                <c:pt idx="44">
                  <c:v>0.1273109024722455</c:v>
                </c:pt>
                <c:pt idx="45">
                  <c:v>0.1274199864529736</c:v>
                </c:pt>
                <c:pt idx="46">
                  <c:v>0.12668619451557345</c:v>
                </c:pt>
                <c:pt idx="47">
                  <c:v>0.12242001658222802</c:v>
                </c:pt>
                <c:pt idx="48">
                  <c:v>0.11975688546186372</c:v>
                </c:pt>
                <c:pt idx="49">
                  <c:v>0.12370754080425407</c:v>
                </c:pt>
                <c:pt idx="50">
                  <c:v>0.11809615631727649</c:v>
                </c:pt>
                <c:pt idx="51">
                  <c:v>0.11127532512451366</c:v>
                </c:pt>
              </c:numCache>
            </c:numRef>
          </c:xVal>
          <c:yVal>
            <c:numRef>
              <c:f>Sheet1!$B$109:$B$160</c:f>
              <c:numCache>
                <c:formatCode>General</c:formatCode>
                <c:ptCount val="52"/>
                <c:pt idx="0">
                  <c:v>0.15451908792944893</c:v>
                </c:pt>
                <c:pt idx="1">
                  <c:v>0.1495251769565984</c:v>
                </c:pt>
                <c:pt idx="2">
                  <c:v>0.1573056852513046</c:v>
                </c:pt>
                <c:pt idx="3">
                  <c:v>0.16114564123579903</c:v>
                </c:pt>
                <c:pt idx="4">
                  <c:v>0.14990230926767262</c:v>
                </c:pt>
                <c:pt idx="5">
                  <c:v>0.1484953015344356</c:v>
                </c:pt>
                <c:pt idx="6">
                  <c:v>0.15711038140944683</c:v>
                </c:pt>
                <c:pt idx="7">
                  <c:v>0.15121453736324866</c:v>
                </c:pt>
                <c:pt idx="8">
                  <c:v>0.15143261041961176</c:v>
                </c:pt>
                <c:pt idx="9">
                  <c:v>0.16744904067294666</c:v>
                </c:pt>
                <c:pt idx="10">
                  <c:v>0.164021325209444</c:v>
                </c:pt>
                <c:pt idx="11">
                  <c:v>0.18821387940841866</c:v>
                </c:pt>
                <c:pt idx="12">
                  <c:v>0.17435803948122297</c:v>
                </c:pt>
                <c:pt idx="13">
                  <c:v>0.16749019818465008</c:v>
                </c:pt>
                <c:pt idx="14">
                  <c:v>0.17095239485128863</c:v>
                </c:pt>
                <c:pt idx="15">
                  <c:v>0.156000499001996</c:v>
                </c:pt>
                <c:pt idx="16">
                  <c:v>0.1539690811186382</c:v>
                </c:pt>
                <c:pt idx="17">
                  <c:v>0.13196308416369454</c:v>
                </c:pt>
                <c:pt idx="18">
                  <c:v>0.12945284186334305</c:v>
                </c:pt>
                <c:pt idx="19">
                  <c:v>0.14011156806058878</c:v>
                </c:pt>
                <c:pt idx="20">
                  <c:v>0.13377066619387437</c:v>
                </c:pt>
                <c:pt idx="21">
                  <c:v>0.1418818007254107</c:v>
                </c:pt>
                <c:pt idx="22">
                  <c:v>0.13938531287890768</c:v>
                </c:pt>
                <c:pt idx="23">
                  <c:v>0.14231696624287593</c:v>
                </c:pt>
                <c:pt idx="24">
                  <c:v>0.14298309304014106</c:v>
                </c:pt>
                <c:pt idx="25">
                  <c:v>0.14905650116917724</c:v>
                </c:pt>
                <c:pt idx="26">
                  <c:v>0.13264409408115793</c:v>
                </c:pt>
                <c:pt idx="27">
                  <c:v>0.11831746612962285</c:v>
                </c:pt>
                <c:pt idx="28">
                  <c:v>0.12924941097273646</c:v>
                </c:pt>
                <c:pt idx="29">
                  <c:v>0.11934729615442018</c:v>
                </c:pt>
                <c:pt idx="30">
                  <c:v>0.1400093201470512</c:v>
                </c:pt>
                <c:pt idx="31">
                  <c:v>0.127063560540696</c:v>
                </c:pt>
                <c:pt idx="32">
                  <c:v>0.12952996053103696</c:v>
                </c:pt>
                <c:pt idx="33">
                  <c:v>0.14883720930232558</c:v>
                </c:pt>
                <c:pt idx="34">
                  <c:v>0.16986561050743035</c:v>
                </c:pt>
                <c:pt idx="35">
                  <c:v>0.16272716474640694</c:v>
                </c:pt>
                <c:pt idx="36">
                  <c:v>0.1427751635487203</c:v>
                </c:pt>
                <c:pt idx="37">
                  <c:v>0.1290035587188612</c:v>
                </c:pt>
                <c:pt idx="38">
                  <c:v>0.12835734870317003</c:v>
                </c:pt>
                <c:pt idx="39">
                  <c:v>0.14641995172968625</c:v>
                </c:pt>
                <c:pt idx="40">
                  <c:v>0.1279339131955068</c:v>
                </c:pt>
                <c:pt idx="41">
                  <c:v>0.1306540974117258</c:v>
                </c:pt>
                <c:pt idx="42">
                  <c:v>0.1257999634302432</c:v>
                </c:pt>
                <c:pt idx="43">
                  <c:v>0.12494822587325694</c:v>
                </c:pt>
                <c:pt idx="44">
                  <c:v>0.12619987893113488</c:v>
                </c:pt>
                <c:pt idx="45">
                  <c:v>0.1415380556654795</c:v>
                </c:pt>
                <c:pt idx="46">
                  <c:v>0.13360547800895445</c:v>
                </c:pt>
                <c:pt idx="47">
                  <c:v>0.13851359695704793</c:v>
                </c:pt>
                <c:pt idx="48">
                  <c:v>0.13167355930089986</c:v>
                </c:pt>
                <c:pt idx="49">
                  <c:v>0.14483610451306414</c:v>
                </c:pt>
                <c:pt idx="50">
                  <c:v>0.18246457619315565</c:v>
                </c:pt>
                <c:pt idx="51">
                  <c:v>0.161886221068570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1130138238867186</c:v>
                </c:pt>
              </c:numCache>
            </c:numRef>
          </c:xVal>
          <c:yVal>
            <c:numRef>
              <c:f>Sheet1!$B$163:$B$164</c:f>
              <c:numCache>
                <c:formatCode>General</c:formatCode>
                <c:ptCount val="2"/>
                <c:pt idx="0">
                  <c:v>0.19090649372808102</c:v>
                </c:pt>
                <c:pt idx="1">
                  <c:v>0.1909064937280810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1130138238867186</c:v>
                </c:pt>
                <c:pt idx="1">
                  <c:v>0.01130138238867186</c:v>
                </c:pt>
              </c:numCache>
            </c:numRef>
          </c:xVal>
          <c:yVal>
            <c:numRef>
              <c:f>Sheet1!$B$167:$B$168</c:f>
              <c:numCache>
                <c:formatCode>General</c:formatCode>
                <c:ptCount val="2"/>
                <c:pt idx="0">
                  <c:v>0.19090649372808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9690333759655985</c:v>
                </c:pt>
              </c:numCache>
            </c:numRef>
          </c:xVal>
          <c:yVal>
            <c:numRef>
              <c:f>Sheet1!$B$171:$B$172</c:f>
              <c:numCache>
                <c:formatCode>General</c:formatCode>
                <c:ptCount val="2"/>
                <c:pt idx="0">
                  <c:v>0.1553564937642705</c:v>
                </c:pt>
                <c:pt idx="1">
                  <c:v>0.155356493764270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9690333759655985</c:v>
                </c:pt>
                <c:pt idx="1">
                  <c:v>0.09690333759655985</c:v>
                </c:pt>
              </c:numCache>
            </c:numRef>
          </c:xVal>
          <c:yVal>
            <c:numRef>
              <c:f>Sheet1!$B$175:$B$176</c:f>
              <c:numCache>
                <c:formatCode>General</c:formatCode>
                <c:ptCount val="2"/>
                <c:pt idx="0">
                  <c:v>0.15535649376427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345338935483444</c:v>
                </c:pt>
              </c:numCache>
            </c:numRef>
          </c:xVal>
          <c:yVal>
            <c:numRef>
              <c:f>Sheet1!$B$179:$B$180</c:f>
              <c:numCache>
                <c:formatCode>General</c:formatCode>
                <c:ptCount val="2"/>
                <c:pt idx="0">
                  <c:v>0.13972874017528658</c:v>
                </c:pt>
                <c:pt idx="1">
                  <c:v>0.1397287401752865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345338935483444</c:v>
                </c:pt>
                <c:pt idx="1">
                  <c:v>0.1345338935483444</c:v>
                </c:pt>
              </c:numCache>
            </c:numRef>
          </c:xVal>
          <c:yVal>
            <c:numRef>
              <c:f>Sheet1!$B$183:$B$184</c:f>
              <c:numCache>
                <c:formatCode>General</c:formatCode>
                <c:ptCount val="2"/>
                <c:pt idx="0">
                  <c:v>0.1397287401752865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2252884599566621</c:v>
                </c:pt>
                <c:pt idx="1">
                  <c:v>0.12432914281666804</c:v>
                </c:pt>
                <c:pt idx="2">
                  <c:v>0.1216425707526565</c:v>
                </c:pt>
                <c:pt idx="3">
                  <c:v>0.12586815638502524</c:v>
                </c:pt>
                <c:pt idx="4">
                  <c:v>0.12421977318978802</c:v>
                </c:pt>
                <c:pt idx="5">
                  <c:v>0.12346398141662027</c:v>
                </c:pt>
                <c:pt idx="6">
                  <c:v>0.11656147600717816</c:v>
                </c:pt>
                <c:pt idx="7">
                  <c:v>0.12030100295482458</c:v>
                </c:pt>
                <c:pt idx="8">
                  <c:v>0.1283414319439073</c:v>
                </c:pt>
                <c:pt idx="9">
                  <c:v>0.12485301100492674</c:v>
                </c:pt>
                <c:pt idx="10">
                  <c:v>0.12658728949854028</c:v>
                </c:pt>
                <c:pt idx="11">
                  <c:v>0.1141956895962383</c:v>
                </c:pt>
                <c:pt idx="12">
                  <c:v>0.11848938329994653</c:v>
                </c:pt>
                <c:pt idx="13">
                  <c:v>0.12044312002167586</c:v>
                </c:pt>
                <c:pt idx="14">
                  <c:v>0.11906805550642287</c:v>
                </c:pt>
                <c:pt idx="15">
                  <c:v>0.11780089596085609</c:v>
                </c:pt>
                <c:pt idx="16">
                  <c:v>0.1184955102246962</c:v>
                </c:pt>
                <c:pt idx="17">
                  <c:v>0.11820334027938761</c:v>
                </c:pt>
                <c:pt idx="18">
                  <c:v>0.11446761868983452</c:v>
                </c:pt>
                <c:pt idx="19">
                  <c:v>0.12458424722145733</c:v>
                </c:pt>
                <c:pt idx="20">
                  <c:v>0.121272626111414</c:v>
                </c:pt>
                <c:pt idx="21">
                  <c:v>0.12147283239334</c:v>
                </c:pt>
                <c:pt idx="22">
                  <c:v>0.11867331864711841</c:v>
                </c:pt>
                <c:pt idx="23">
                  <c:v>0.11512987963572817</c:v>
                </c:pt>
                <c:pt idx="24">
                  <c:v>0.11246797369766637</c:v>
                </c:pt>
                <c:pt idx="25">
                  <c:v>0.10926946779348903</c:v>
                </c:pt>
                <c:pt idx="26">
                  <c:v>0.11344871988643683</c:v>
                </c:pt>
                <c:pt idx="27">
                  <c:v>0.11926511098736853</c:v>
                </c:pt>
                <c:pt idx="28">
                  <c:v>0.12113688239956702</c:v>
                </c:pt>
                <c:pt idx="29">
                  <c:v>0.12250082605806578</c:v>
                </c:pt>
                <c:pt idx="30">
                  <c:v>0.12135397968485588</c:v>
                </c:pt>
                <c:pt idx="31">
                  <c:v>0.11203711318134468</c:v>
                </c:pt>
                <c:pt idx="32">
                  <c:v>0.11564554734988093</c:v>
                </c:pt>
                <c:pt idx="33">
                  <c:v>0.12231648519845817</c:v>
                </c:pt>
                <c:pt idx="34">
                  <c:v>0.12304669009568166</c:v>
                </c:pt>
                <c:pt idx="35">
                  <c:v>0.11868621639802697</c:v>
                </c:pt>
                <c:pt idx="36">
                  <c:v>0.11454878683617252</c:v>
                </c:pt>
                <c:pt idx="37">
                  <c:v>0.12101761334438545</c:v>
                </c:pt>
                <c:pt idx="38">
                  <c:v>0.11626612542656212</c:v>
                </c:pt>
                <c:pt idx="39">
                  <c:v>0.11872258577431283</c:v>
                </c:pt>
                <c:pt idx="40">
                  <c:v>0.12333116837514443</c:v>
                </c:pt>
                <c:pt idx="41">
                  <c:v>0.12846896194394847</c:v>
                </c:pt>
                <c:pt idx="42">
                  <c:v>0.12683652612561208</c:v>
                </c:pt>
                <c:pt idx="43">
                  <c:v>0.12973163086875972</c:v>
                </c:pt>
                <c:pt idx="44">
                  <c:v>0.1273109024722455</c:v>
                </c:pt>
                <c:pt idx="45">
                  <c:v>0.1274199864529736</c:v>
                </c:pt>
                <c:pt idx="46">
                  <c:v>0.12668619451557345</c:v>
                </c:pt>
                <c:pt idx="47">
                  <c:v>0.12242001658222802</c:v>
                </c:pt>
                <c:pt idx="48">
                  <c:v>0.11975688546186372</c:v>
                </c:pt>
                <c:pt idx="49">
                  <c:v>0.12370754080425407</c:v>
                </c:pt>
                <c:pt idx="50">
                  <c:v>0.11809615631727649</c:v>
                </c:pt>
                <c:pt idx="51">
                  <c:v>0.11127532512451366</c:v>
                </c:pt>
                <c:pt idx="52">
                  <c:v>0.09690333759655985</c:v>
                </c:pt>
                <c:pt idx="53">
                  <c:v>0.01130138238867186</c:v>
                </c:pt>
                <c:pt idx="54">
                  <c:v>0.1345338935483444</c:v>
                </c:pt>
              </c:numCache>
            </c:numRef>
          </c:xVal>
          <c:yVal>
            <c:numRef>
              <c:f>Sheet1!$B$187:$B$241</c:f>
              <c:numCache>
                <c:formatCode>General</c:formatCode>
                <c:ptCount val="55"/>
                <c:pt idx="0">
                  <c:v>0.1447143674197438</c:v>
                </c:pt>
                <c:pt idx="1">
                  <c:v>0.14396671449796142</c:v>
                </c:pt>
                <c:pt idx="2">
                  <c:v>0.1450824324339179</c:v>
                </c:pt>
                <c:pt idx="3">
                  <c:v>0.14332757100916454</c:v>
                </c:pt>
                <c:pt idx="4">
                  <c:v>0.14401213507535576</c:v>
                </c:pt>
                <c:pt idx="5">
                  <c:v>0.1443260110545143</c:v>
                </c:pt>
                <c:pt idx="6">
                  <c:v>0.1471925818759394</c:v>
                </c:pt>
                <c:pt idx="7">
                  <c:v>0.14563957782912004</c:v>
                </c:pt>
                <c:pt idx="8">
                  <c:v>0.142300433885775</c:v>
                </c:pt>
                <c:pt idx="9">
                  <c:v>0.14374915505053512</c:v>
                </c:pt>
                <c:pt idx="10">
                  <c:v>0.1430289191606484</c:v>
                </c:pt>
                <c:pt idx="11">
                  <c:v>0.14817507937402863</c:v>
                </c:pt>
                <c:pt idx="12">
                  <c:v>0.14639193305872839</c:v>
                </c:pt>
                <c:pt idx="13">
                  <c:v>0.14558055742813564</c:v>
                </c:pt>
                <c:pt idx="14">
                  <c:v>0.14615161381754593</c:v>
                </c:pt>
                <c:pt idx="15">
                  <c:v>0.14667785789327578</c:v>
                </c:pt>
                <c:pt idx="16">
                  <c:v>0.14638938858209696</c:v>
                </c:pt>
                <c:pt idx="17">
                  <c:v>0.14651072508101132</c:v>
                </c:pt>
                <c:pt idx="18">
                  <c:v>0.14806214878448742</c:v>
                </c:pt>
                <c:pt idx="19">
                  <c:v>0.14386077110497464</c:v>
                </c:pt>
                <c:pt idx="20">
                  <c:v>0.1452360683170101</c:v>
                </c:pt>
                <c:pt idx="21">
                  <c:v>0.14515292379889788</c:v>
                </c:pt>
                <c:pt idx="22">
                  <c:v>0.14631554576629535</c:v>
                </c:pt>
                <c:pt idx="23">
                  <c:v>0.14778711562028718</c:v>
                </c:pt>
                <c:pt idx="24">
                  <c:v>0.1488925898559159</c:v>
                </c:pt>
                <c:pt idx="25">
                  <c:v>0.1502209109731335</c:v>
                </c:pt>
                <c:pt idx="26">
                  <c:v>0.14848529160097973</c:v>
                </c:pt>
                <c:pt idx="27">
                  <c:v>0.1460697778089703</c:v>
                </c:pt>
                <c:pt idx="28">
                  <c:v>0.14529244190029483</c:v>
                </c:pt>
                <c:pt idx="29">
                  <c:v>0.14472600393877263</c:v>
                </c:pt>
                <c:pt idx="30">
                  <c:v>0.14520228264557433</c:v>
                </c:pt>
                <c:pt idx="31">
                  <c:v>0.14907152375178834</c:v>
                </c:pt>
                <c:pt idx="32">
                  <c:v>0.14757296178262136</c:v>
                </c:pt>
                <c:pt idx="33">
                  <c:v>0.14480255963818936</c:v>
                </c:pt>
                <c:pt idx="34">
                  <c:v>0.1444993097415389</c:v>
                </c:pt>
                <c:pt idx="35">
                  <c:v>0.1463101894044784</c:v>
                </c:pt>
                <c:pt idx="36">
                  <c:v>0.14802844011986205</c:v>
                </c:pt>
                <c:pt idx="37">
                  <c:v>0.1453419736533616</c:v>
                </c:pt>
                <c:pt idx="38">
                  <c:v>0.14731523927441484</c:v>
                </c:pt>
                <c:pt idx="39">
                  <c:v>0.1462950854115555</c:v>
                </c:pt>
                <c:pt idx="40">
                  <c:v>0.14438116754723918</c:v>
                </c:pt>
                <c:pt idx="41">
                  <c:v>0.14224747140979138</c:v>
                </c:pt>
                <c:pt idx="42">
                  <c:v>0.14292541262202008</c:v>
                </c:pt>
                <c:pt idx="43">
                  <c:v>0.14172309226304958</c:v>
                </c:pt>
                <c:pt idx="44">
                  <c:v>0.14272840685194516</c:v>
                </c:pt>
                <c:pt idx="45">
                  <c:v>0.14268310490175584</c:v>
                </c:pt>
                <c:pt idx="46">
                  <c:v>0.1429878444755736</c:v>
                </c:pt>
                <c:pt idx="47">
                  <c:v>0.14475956364960088</c:v>
                </c:pt>
                <c:pt idx="48">
                  <c:v>0.14586554669639756</c:v>
                </c:pt>
                <c:pt idx="49">
                  <c:v>0.14422486224079223</c:v>
                </c:pt>
                <c:pt idx="50">
                  <c:v>0.14655523796439018</c:v>
                </c:pt>
                <c:pt idx="51">
                  <c:v>0.14938788995308602</c:v>
                </c:pt>
                <c:pt idx="52">
                  <c:v>0.1553564937642705</c:v>
                </c:pt>
                <c:pt idx="53">
                  <c:v>0.19090649372808102</c:v>
                </c:pt>
                <c:pt idx="54">
                  <c:v>0.1397287401752865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55974338412189"/>
          <c:min val="0.0946539729036982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72.2873</c:v>
                </c:pt>
                <c:pt idx="1">
                  <c:v>974.8146</c:v>
                </c:pt>
                <c:pt idx="2">
                  <c:v>1009.843</c:v>
                </c:pt>
                <c:pt idx="3">
                  <c:v>1028.4172</c:v>
                </c:pt>
                <c:pt idx="4">
                  <c:v>1029.7472</c:v>
                </c:pt>
                <c:pt idx="5">
                  <c:v>1038.6931</c:v>
                </c:pt>
                <c:pt idx="6">
                  <c:v>1005.2735</c:v>
                </c:pt>
                <c:pt idx="7">
                  <c:v>1025.658</c:v>
                </c:pt>
                <c:pt idx="8">
                  <c:v>1014.4635</c:v>
                </c:pt>
                <c:pt idx="9">
                  <c:v>984.1789</c:v>
                </c:pt>
                <c:pt idx="10">
                  <c:v>966.8416</c:v>
                </c:pt>
                <c:pt idx="11">
                  <c:v>987.0812</c:v>
                </c:pt>
                <c:pt idx="12">
                  <c:v>980.5964</c:v>
                </c:pt>
                <c:pt idx="13">
                  <c:v>972.298</c:v>
                </c:pt>
                <c:pt idx="14">
                  <c:v>1024.5843</c:v>
                </c:pt>
                <c:pt idx="15">
                  <c:v>1021.2441</c:v>
                </c:pt>
                <c:pt idx="16">
                  <c:v>1060.9479</c:v>
                </c:pt>
                <c:pt idx="17">
                  <c:v>1040.8933</c:v>
                </c:pt>
                <c:pt idx="18">
                  <c:v>1101.4316</c:v>
                </c:pt>
                <c:pt idx="19">
                  <c:v>1108.5796</c:v>
                </c:pt>
                <c:pt idx="20">
                  <c:v>1108.2622</c:v>
                </c:pt>
                <c:pt idx="21">
                  <c:v>1108.1297</c:v>
                </c:pt>
                <c:pt idx="22">
                  <c:v>1095.8183</c:v>
                </c:pt>
                <c:pt idx="23">
                  <c:v>1078.1905</c:v>
                </c:pt>
                <c:pt idx="24">
                  <c:v>1088.3722</c:v>
                </c:pt>
                <c:pt idx="25">
                  <c:v>1048.203</c:v>
                </c:pt>
                <c:pt idx="26">
                  <c:v>1075.5551</c:v>
                </c:pt>
                <c:pt idx="27">
                  <c:v>1131.2779</c:v>
                </c:pt>
                <c:pt idx="28">
                  <c:v>1089.8563</c:v>
                </c:pt>
                <c:pt idx="29">
                  <c:v>1002.7813</c:v>
                </c:pt>
                <c:pt idx="30">
                  <c:v>1040.2253</c:v>
                </c:pt>
                <c:pt idx="31">
                  <c:v>1035.9483</c:v>
                </c:pt>
                <c:pt idx="32">
                  <c:v>1023.1375</c:v>
                </c:pt>
                <c:pt idx="33">
                  <c:v>961.9561</c:v>
                </c:pt>
                <c:pt idx="34">
                  <c:v>1036.1498</c:v>
                </c:pt>
                <c:pt idx="35">
                  <c:v>1066.676</c:v>
                </c:pt>
                <c:pt idx="36">
                  <c:v>1172.338</c:v>
                </c:pt>
                <c:pt idx="37">
                  <c:v>1168.4175</c:v>
                </c:pt>
                <c:pt idx="38">
                  <c:v>1214.1444</c:v>
                </c:pt>
                <c:pt idx="39">
                  <c:v>1238.2702</c:v>
                </c:pt>
                <c:pt idx="40">
                  <c:v>1266.41</c:v>
                </c:pt>
                <c:pt idx="41">
                  <c:v>1280.9089</c:v>
                </c:pt>
                <c:pt idx="42">
                  <c:v>1317.1437</c:v>
                </c:pt>
                <c:pt idx="43">
                  <c:v>1345.386</c:v>
                </c:pt>
                <c:pt idx="44">
                  <c:v>1168.0343</c:v>
                </c:pt>
                <c:pt idx="45">
                  <c:v>1134.5861</c:v>
                </c:pt>
                <c:pt idx="46">
                  <c:v>1107.3622</c:v>
                </c:pt>
                <c:pt idx="47">
                  <c:v>1088.3397</c:v>
                </c:pt>
                <c:pt idx="48">
                  <c:v>1072.3698</c:v>
                </c:pt>
                <c:pt idx="49">
                  <c:v>1034.8761</c:v>
                </c:pt>
                <c:pt idx="50">
                  <c:v>1047.4876</c:v>
                </c:pt>
                <c:pt idx="51">
                  <c:v>1074.8952</c:v>
                </c:pt>
                <c:pt idx="52">
                  <c:v>1067.0342</c:v>
                </c:pt>
                <c:pt idx="53">
                  <c:v>1175.4004</c:v>
                </c:pt>
                <c:pt idx="54">
                  <c:v>1169.3527</c:v>
                </c:pt>
                <c:pt idx="55">
                  <c:v>1218.8749</c:v>
                </c:pt>
                <c:pt idx="56">
                  <c:v>1192.5897</c:v>
                </c:pt>
                <c:pt idx="57">
                  <c:v>1199.3229</c:v>
                </c:pt>
                <c:pt idx="58">
                  <c:v>1166.6559</c:v>
                </c:pt>
                <c:pt idx="59">
                  <c:v>1158.4297</c:v>
                </c:pt>
                <c:pt idx="60">
                  <c:v>1184.8412</c:v>
                </c:pt>
                <c:pt idx="61">
                  <c:v>1163.1625</c:v>
                </c:pt>
                <c:pt idx="62">
                  <c:v>1122.7847</c:v>
                </c:pt>
                <c:pt idx="63">
                  <c:v>1143.7606</c:v>
                </c:pt>
                <c:pt idx="64">
                  <c:v>1159.791</c:v>
                </c:pt>
                <c:pt idx="65">
                  <c:v>1126.0592</c:v>
                </c:pt>
                <c:pt idx="66">
                  <c:v>1144.4196</c:v>
                </c:pt>
                <c:pt idx="67">
                  <c:v>1123.3883</c:v>
                </c:pt>
                <c:pt idx="68">
                  <c:v>1119.53</c:v>
                </c:pt>
                <c:pt idx="69">
                  <c:v>1140.4296</c:v>
                </c:pt>
                <c:pt idx="70">
                  <c:v>1125.9118</c:v>
                </c:pt>
                <c:pt idx="71">
                  <c:v>1147.5211</c:v>
                </c:pt>
                <c:pt idx="72">
                  <c:v>1200.2097</c:v>
                </c:pt>
                <c:pt idx="73">
                  <c:v>1219.9904</c:v>
                </c:pt>
                <c:pt idx="74">
                  <c:v>1156.535</c:v>
                </c:pt>
                <c:pt idx="75">
                  <c:v>1173.1096</c:v>
                </c:pt>
                <c:pt idx="76">
                  <c:v>1158.8285</c:v>
                </c:pt>
                <c:pt idx="77">
                  <c:v>1099.788</c:v>
                </c:pt>
                <c:pt idx="78">
                  <c:v>1185.15</c:v>
                </c:pt>
                <c:pt idx="79">
                  <c:v>869.9457</c:v>
                </c:pt>
                <c:pt idx="80">
                  <c:v>860.0657</c:v>
                </c:pt>
                <c:pt idx="81">
                  <c:v>1047.4902</c:v>
                </c:pt>
                <c:pt idx="82">
                  <c:v>1061.5598</c:v>
                </c:pt>
                <c:pt idx="83">
                  <c:v>1095.0504</c:v>
                </c:pt>
                <c:pt idx="84">
                  <c:v>1091.7007</c:v>
                </c:pt>
                <c:pt idx="85">
                  <c:v>1118.4574</c:v>
                </c:pt>
                <c:pt idx="86">
                  <c:v>1209.6632</c:v>
                </c:pt>
                <c:pt idx="87">
                  <c:v>1234.3443</c:v>
                </c:pt>
                <c:pt idx="88">
                  <c:v>1242.7241</c:v>
                </c:pt>
                <c:pt idx="89">
                  <c:v>1200.0669</c:v>
                </c:pt>
                <c:pt idx="90">
                  <c:v>1237.9561</c:v>
                </c:pt>
                <c:pt idx="91">
                  <c:v>1272.2123</c:v>
                </c:pt>
                <c:pt idx="92">
                  <c:v>1260.3089</c:v>
                </c:pt>
                <c:pt idx="93">
                  <c:v>1301.7424</c:v>
                </c:pt>
                <c:pt idx="94">
                  <c:v>1288.9335</c:v>
                </c:pt>
                <c:pt idx="95">
                  <c:v>1294.6556</c:v>
                </c:pt>
                <c:pt idx="96">
                  <c:v>1213.2673</c:v>
                </c:pt>
                <c:pt idx="97">
                  <c:v>1239.8987</c:v>
                </c:pt>
                <c:pt idx="98">
                  <c:v>1220.4183</c:v>
                </c:pt>
                <c:pt idx="99">
                  <c:v>1178.8639</c:v>
                </c:pt>
                <c:pt idx="100">
                  <c:v>1160.521</c:v>
                </c:pt>
                <c:pt idx="101">
                  <c:v>1220.4967</c:v>
                </c:pt>
                <c:pt idx="102">
                  <c:v>1252.7527</c:v>
                </c:pt>
                <c:pt idx="103">
                  <c:v>1121.6468</c:v>
                </c:pt>
                <c:pt idx="104">
                  <c:v>1208.1548</c:v>
                </c:pt>
              </c:numCache>
            </c:numRef>
          </c:xVal>
          <c:yVal>
            <c:numRef>
              <c:f>Sheet1!$B$2:$B$106</c:f>
              <c:numCache>
                <c:formatCode>General</c:formatCode>
                <c:ptCount val="105"/>
                <c:pt idx="0">
                  <c:v>0.2104353132628153</c:v>
                </c:pt>
                <c:pt idx="1">
                  <c:v>0.20936580711843744</c:v>
                </c:pt>
                <c:pt idx="2">
                  <c:v>0.1951964281132124</c:v>
                </c:pt>
                <c:pt idx="3">
                  <c:v>0.19280869846054474</c:v>
                </c:pt>
                <c:pt idx="4">
                  <c:v>0.18282521947326416</c:v>
                </c:pt>
                <c:pt idx="5">
                  <c:v>0.17047857630868335</c:v>
                </c:pt>
                <c:pt idx="6">
                  <c:v>0.18916918720638393</c:v>
                </c:pt>
                <c:pt idx="7">
                  <c:v>0.17825161479741633</c:v>
                </c:pt>
                <c:pt idx="8">
                  <c:v>0.18962759881197166</c:v>
                </c:pt>
                <c:pt idx="9">
                  <c:v>0.19161017956950885</c:v>
                </c:pt>
                <c:pt idx="10">
                  <c:v>0.20396039603960395</c:v>
                </c:pt>
                <c:pt idx="11">
                  <c:v>0.19627861497756816</c:v>
                </c:pt>
                <c:pt idx="12">
                  <c:v>0.2090399978766887</c:v>
                </c:pt>
                <c:pt idx="13">
                  <c:v>0.21092146331861766</c:v>
                </c:pt>
                <c:pt idx="14">
                  <c:v>0.20510605089328018</c:v>
                </c:pt>
                <c:pt idx="15">
                  <c:v>0.1997352308456065</c:v>
                </c:pt>
                <c:pt idx="16">
                  <c:v>0.19186415376002985</c:v>
                </c:pt>
                <c:pt idx="17">
                  <c:v>0.1788574697613599</c:v>
                </c:pt>
                <c:pt idx="18">
                  <c:v>0.17484202391235168</c:v>
                </c:pt>
                <c:pt idx="19">
                  <c:v>0.14627434377646062</c:v>
                </c:pt>
                <c:pt idx="20">
                  <c:v>0.16460617710017036</c:v>
                </c:pt>
                <c:pt idx="21">
                  <c:v>0.16421682397235546</c:v>
                </c:pt>
                <c:pt idx="22">
                  <c:v>0.1563387690689111</c:v>
                </c:pt>
                <c:pt idx="23">
                  <c:v>0.16137669437161822</c:v>
                </c:pt>
                <c:pt idx="24">
                  <c:v>0.1694212735091446</c:v>
                </c:pt>
                <c:pt idx="25">
                  <c:v>0.16806624679262888</c:v>
                </c:pt>
                <c:pt idx="26">
                  <c:v>0.1631565194669454</c:v>
                </c:pt>
                <c:pt idx="27">
                  <c:v>0.1644426607805759</c:v>
                </c:pt>
                <c:pt idx="28">
                  <c:v>0.15609481390467414</c:v>
                </c:pt>
                <c:pt idx="29">
                  <c:v>0.1752558726723477</c:v>
                </c:pt>
                <c:pt idx="30">
                  <c:v>0.1553217462070569</c:v>
                </c:pt>
                <c:pt idx="31">
                  <c:v>0.1508401503426929</c:v>
                </c:pt>
                <c:pt idx="32">
                  <c:v>0.15629783511917777</c:v>
                </c:pt>
                <c:pt idx="33">
                  <c:v>0.17726337898744146</c:v>
                </c:pt>
                <c:pt idx="34">
                  <c:v>0.17377744012155624</c:v>
                </c:pt>
                <c:pt idx="35">
                  <c:v>0.192956416138173</c:v>
                </c:pt>
                <c:pt idx="36">
                  <c:v>0.15716185884113393</c:v>
                </c:pt>
                <c:pt idx="37">
                  <c:v>0.1293269230769231</c:v>
                </c:pt>
                <c:pt idx="38">
                  <c:v>0.12359550561797752</c:v>
                </c:pt>
                <c:pt idx="39">
                  <c:v>0.12543323139653414</c:v>
                </c:pt>
                <c:pt idx="40">
                  <c:v>0.13096507313744724</c:v>
                </c:pt>
                <c:pt idx="41">
                  <c:v>0.1206642745422762</c:v>
                </c:pt>
                <c:pt idx="42">
                  <c:v>0.12140700364691581</c:v>
                </c:pt>
                <c:pt idx="43">
                  <c:v>0.13300094800042134</c:v>
                </c:pt>
                <c:pt idx="44">
                  <c:v>0.14654865576726858</c:v>
                </c:pt>
                <c:pt idx="45">
                  <c:v>0.16731320255675555</c:v>
                </c:pt>
                <c:pt idx="46">
                  <c:v>0.1764019187502653</c:v>
                </c:pt>
                <c:pt idx="47">
                  <c:v>0.1716687701884613</c:v>
                </c:pt>
                <c:pt idx="48">
                  <c:v>0.19153248508050896</c:v>
                </c:pt>
                <c:pt idx="49">
                  <c:v>0.22133119486768243</c:v>
                </c:pt>
                <c:pt idx="50">
                  <c:v>0.1820144482271859</c:v>
                </c:pt>
                <c:pt idx="51">
                  <c:v>0.1671104696015728</c:v>
                </c:pt>
                <c:pt idx="52">
                  <c:v>0.1823606150687568</c:v>
                </c:pt>
                <c:pt idx="53">
                  <c:v>0.165633727889347</c:v>
                </c:pt>
                <c:pt idx="54">
                  <c:v>0.15941820276497695</c:v>
                </c:pt>
                <c:pt idx="55">
                  <c:v>0.1570630582190758</c:v>
                </c:pt>
                <c:pt idx="56">
                  <c:v>0.17284360475644353</c:v>
                </c:pt>
                <c:pt idx="57">
                  <c:v>0.16677579027315823</c:v>
                </c:pt>
                <c:pt idx="58">
                  <c:v>0.1796740265733926</c:v>
                </c:pt>
                <c:pt idx="59">
                  <c:v>0.1848297810782139</c:v>
                </c:pt>
                <c:pt idx="60">
                  <c:v>0.1911824354113394</c:v>
                </c:pt>
                <c:pt idx="61">
                  <c:v>0.1938988416432837</c:v>
                </c:pt>
                <c:pt idx="62">
                  <c:v>0.1979644124767882</c:v>
                </c:pt>
                <c:pt idx="63">
                  <c:v>0.21463529815824497</c:v>
                </c:pt>
                <c:pt idx="64">
                  <c:v>0.20133358416421063</c:v>
                </c:pt>
                <c:pt idx="65">
                  <c:v>0.1998720672560711</c:v>
                </c:pt>
                <c:pt idx="66">
                  <c:v>0.19738022185508614</c:v>
                </c:pt>
                <c:pt idx="67">
                  <c:v>0.193351193375548</c:v>
                </c:pt>
                <c:pt idx="68">
                  <c:v>0.1764843521497514</c:v>
                </c:pt>
                <c:pt idx="69">
                  <c:v>0.15879038317054847</c:v>
                </c:pt>
                <c:pt idx="70">
                  <c:v>0.14821472630502977</c:v>
                </c:pt>
                <c:pt idx="71">
                  <c:v>0.15706529935153069</c:v>
                </c:pt>
                <c:pt idx="72">
                  <c:v>0.15622956774427896</c:v>
                </c:pt>
                <c:pt idx="73">
                  <c:v>0.16183638768184394</c:v>
                </c:pt>
                <c:pt idx="74">
                  <c:v>0.1592623335378397</c:v>
                </c:pt>
                <c:pt idx="75">
                  <c:v>0.15497225778915918</c:v>
                </c:pt>
                <c:pt idx="76">
                  <c:v>0.1459560670411472</c:v>
                </c:pt>
                <c:pt idx="77">
                  <c:v>0.15498438843386578</c:v>
                </c:pt>
                <c:pt idx="78">
                  <c:v>0.1446161907257008</c:v>
                </c:pt>
                <c:pt idx="79">
                  <c:v>0.18320854638422207</c:v>
                </c:pt>
                <c:pt idx="80">
                  <c:v>0.1774726788502158</c:v>
                </c:pt>
                <c:pt idx="81">
                  <c:v>0.1575934534557609</c:v>
                </c:pt>
                <c:pt idx="82">
                  <c:v>0.14378602039308408</c:v>
                </c:pt>
                <c:pt idx="83">
                  <c:v>0.1329802220093537</c:v>
                </c:pt>
                <c:pt idx="84">
                  <c:v>0.12998102466793168</c:v>
                </c:pt>
                <c:pt idx="85">
                  <c:v>0.1331891549741534</c:v>
                </c:pt>
                <c:pt idx="86">
                  <c:v>0.13664497698777972</c:v>
                </c:pt>
                <c:pt idx="87">
                  <c:v>0.15707769558051285</c:v>
                </c:pt>
                <c:pt idx="88">
                  <c:v>0.14278950856926428</c:v>
                </c:pt>
                <c:pt idx="89">
                  <c:v>0.12795285677683832</c:v>
                </c:pt>
                <c:pt idx="90">
                  <c:v>0.12505943889681406</c:v>
                </c:pt>
                <c:pt idx="91">
                  <c:v>0.11934383465435938</c:v>
                </c:pt>
                <c:pt idx="92">
                  <c:v>0.13114754098360656</c:v>
                </c:pt>
                <c:pt idx="93">
                  <c:v>0.11910570731512218</c:v>
                </c:pt>
                <c:pt idx="94">
                  <c:v>0.12265742556198987</c:v>
                </c:pt>
                <c:pt idx="95">
                  <c:v>0.13306545345863913</c:v>
                </c:pt>
                <c:pt idx="96">
                  <c:v>0.12835410689746618</c:v>
                </c:pt>
                <c:pt idx="97">
                  <c:v>0.13635974853526067</c:v>
                </c:pt>
                <c:pt idx="98">
                  <c:v>0.15405743754554457</c:v>
                </c:pt>
                <c:pt idx="99">
                  <c:v>0.1593022876350227</c:v>
                </c:pt>
                <c:pt idx="100">
                  <c:v>0.18337582746602418</c:v>
                </c:pt>
                <c:pt idx="101">
                  <c:v>0.15571918341904317</c:v>
                </c:pt>
                <c:pt idx="102">
                  <c:v>0.1313907284768212</c:v>
                </c:pt>
                <c:pt idx="103">
                  <c:v>0.15021106674272675</c:v>
                </c:pt>
                <c:pt idx="104">
                  <c:v>0.1544821131447587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61.7317</c:v>
                </c:pt>
                <c:pt idx="1">
                  <c:v>1256.7909</c:v>
                </c:pt>
                <c:pt idx="2">
                  <c:v>1251.7393</c:v>
                </c:pt>
                <c:pt idx="3">
                  <c:v>1284.1948</c:v>
                </c:pt>
                <c:pt idx="4">
                  <c:v>1277.3643</c:v>
                </c:pt>
                <c:pt idx="5">
                  <c:v>1282.4897</c:v>
                </c:pt>
                <c:pt idx="6">
                  <c:v>1207.1888</c:v>
                </c:pt>
                <c:pt idx="7">
                  <c:v>1242.1704</c:v>
                </c:pt>
                <c:pt idx="8">
                  <c:v>1331.0788</c:v>
                </c:pt>
                <c:pt idx="9">
                  <c:v>1257.829</c:v>
                </c:pt>
                <c:pt idx="10">
                  <c:v>1286.4968</c:v>
                </c:pt>
                <c:pt idx="11">
                  <c:v>1169.9601</c:v>
                </c:pt>
                <c:pt idx="12">
                  <c:v>1217.0901</c:v>
                </c:pt>
                <c:pt idx="13">
                  <c:v>1255.6037</c:v>
                </c:pt>
                <c:pt idx="14">
                  <c:v>1261.1765</c:v>
                </c:pt>
                <c:pt idx="15">
                  <c:v>1282.6054</c:v>
                </c:pt>
                <c:pt idx="16">
                  <c:v>1291.8069</c:v>
                </c:pt>
                <c:pt idx="17">
                  <c:v>1290.9181</c:v>
                </c:pt>
                <c:pt idx="18">
                  <c:v>1266.6664</c:v>
                </c:pt>
                <c:pt idx="19">
                  <c:v>1343.1935</c:v>
                </c:pt>
                <c:pt idx="20">
                  <c:v>1323.7416</c:v>
                </c:pt>
                <c:pt idx="21">
                  <c:v>1296.4086</c:v>
                </c:pt>
                <c:pt idx="22">
                  <c:v>1268.7069</c:v>
                </c:pt>
                <c:pt idx="23">
                  <c:v>1209.8883</c:v>
                </c:pt>
                <c:pt idx="24">
                  <c:v>1211.4266</c:v>
                </c:pt>
                <c:pt idx="25">
                  <c:v>1181.2466</c:v>
                </c:pt>
                <c:pt idx="26">
                  <c:v>1244.3609</c:v>
                </c:pt>
                <c:pt idx="27">
                  <c:v>1310.1474</c:v>
                </c:pt>
                <c:pt idx="28">
                  <c:v>1311.9759</c:v>
                </c:pt>
                <c:pt idx="29">
                  <c:v>1318.9416</c:v>
                </c:pt>
                <c:pt idx="30">
                  <c:v>1286.4016</c:v>
                </c:pt>
                <c:pt idx="31">
                  <c:v>1197.9475</c:v>
                </c:pt>
                <c:pt idx="32">
                  <c:v>1225.7107</c:v>
                </c:pt>
                <c:pt idx="33">
                  <c:v>1272.6502</c:v>
                </c:pt>
                <c:pt idx="34">
                  <c:v>1323.9043</c:v>
                </c:pt>
                <c:pt idx="35">
                  <c:v>1312.5002</c:v>
                </c:pt>
                <c:pt idx="36">
                  <c:v>1262.033</c:v>
                </c:pt>
                <c:pt idx="37">
                  <c:v>1344.8296</c:v>
                </c:pt>
                <c:pt idx="38">
                  <c:v>1297.3983</c:v>
                </c:pt>
                <c:pt idx="39">
                  <c:v>1310.9954</c:v>
                </c:pt>
                <c:pt idx="40">
                  <c:v>1343.8135</c:v>
                </c:pt>
                <c:pt idx="41">
                  <c:v>1386.8259</c:v>
                </c:pt>
                <c:pt idx="42">
                  <c:v>1388.5087</c:v>
                </c:pt>
                <c:pt idx="43">
                  <c:v>1382.4094</c:v>
                </c:pt>
                <c:pt idx="44">
                  <c:v>1318.6421</c:v>
                </c:pt>
                <c:pt idx="45">
                  <c:v>1287.7981</c:v>
                </c:pt>
                <c:pt idx="46">
                  <c:v>1292.5967</c:v>
                </c:pt>
                <c:pt idx="47">
                  <c:v>1262.942</c:v>
                </c:pt>
                <c:pt idx="48">
                  <c:v>1231.8961</c:v>
                </c:pt>
                <c:pt idx="49">
                  <c:v>1235.3904</c:v>
                </c:pt>
                <c:pt idx="50">
                  <c:v>1135.2079</c:v>
                </c:pt>
                <c:pt idx="51">
                  <c:v>1125.3148</c:v>
                </c:pt>
              </c:numCache>
            </c:numRef>
          </c:xVal>
          <c:yVal>
            <c:numRef>
              <c:f>Sheet1!$B$109:$B$160</c:f>
              <c:numCache>
                <c:formatCode>General</c:formatCode>
                <c:ptCount val="52"/>
                <c:pt idx="0">
                  <c:v>0.15451908792944893</c:v>
                </c:pt>
                <c:pt idx="1">
                  <c:v>0.1495251769565984</c:v>
                </c:pt>
                <c:pt idx="2">
                  <c:v>0.1573056852513046</c:v>
                </c:pt>
                <c:pt idx="3">
                  <c:v>0.16114564123579903</c:v>
                </c:pt>
                <c:pt idx="4">
                  <c:v>0.14990230926767262</c:v>
                </c:pt>
                <c:pt idx="5">
                  <c:v>0.1484953015344356</c:v>
                </c:pt>
                <c:pt idx="6">
                  <c:v>0.15711038140944683</c:v>
                </c:pt>
                <c:pt idx="7">
                  <c:v>0.15121453736324866</c:v>
                </c:pt>
                <c:pt idx="8">
                  <c:v>0.15143261041961176</c:v>
                </c:pt>
                <c:pt idx="9">
                  <c:v>0.16744904067294666</c:v>
                </c:pt>
                <c:pt idx="10">
                  <c:v>0.164021325209444</c:v>
                </c:pt>
                <c:pt idx="11">
                  <c:v>0.18821387940841866</c:v>
                </c:pt>
                <c:pt idx="12">
                  <c:v>0.17435803948122297</c:v>
                </c:pt>
                <c:pt idx="13">
                  <c:v>0.16749019818465008</c:v>
                </c:pt>
                <c:pt idx="14">
                  <c:v>0.17095239485128863</c:v>
                </c:pt>
                <c:pt idx="15">
                  <c:v>0.156000499001996</c:v>
                </c:pt>
                <c:pt idx="16">
                  <c:v>0.1539690811186382</c:v>
                </c:pt>
                <c:pt idx="17">
                  <c:v>0.13196308416369454</c:v>
                </c:pt>
                <c:pt idx="18">
                  <c:v>0.12945284186334305</c:v>
                </c:pt>
                <c:pt idx="19">
                  <c:v>0.14011156806058878</c:v>
                </c:pt>
                <c:pt idx="20">
                  <c:v>0.13377066619387437</c:v>
                </c:pt>
                <c:pt idx="21">
                  <c:v>0.1418818007254107</c:v>
                </c:pt>
                <c:pt idx="22">
                  <c:v>0.13938531287890768</c:v>
                </c:pt>
                <c:pt idx="23">
                  <c:v>0.14231696624287593</c:v>
                </c:pt>
                <c:pt idx="24">
                  <c:v>0.14298309304014106</c:v>
                </c:pt>
                <c:pt idx="25">
                  <c:v>0.14905650116917724</c:v>
                </c:pt>
                <c:pt idx="26">
                  <c:v>0.13264409408115793</c:v>
                </c:pt>
                <c:pt idx="27">
                  <c:v>0.11831746612962285</c:v>
                </c:pt>
                <c:pt idx="28">
                  <c:v>0.12924941097273646</c:v>
                </c:pt>
                <c:pt idx="29">
                  <c:v>0.11934729615442018</c:v>
                </c:pt>
                <c:pt idx="30">
                  <c:v>0.1400093201470512</c:v>
                </c:pt>
                <c:pt idx="31">
                  <c:v>0.127063560540696</c:v>
                </c:pt>
                <c:pt idx="32">
                  <c:v>0.12952996053103696</c:v>
                </c:pt>
                <c:pt idx="33">
                  <c:v>0.14883720930232558</c:v>
                </c:pt>
                <c:pt idx="34">
                  <c:v>0.16986561050743035</c:v>
                </c:pt>
                <c:pt idx="35">
                  <c:v>0.16272716474640694</c:v>
                </c:pt>
                <c:pt idx="36">
                  <c:v>0.1427751635487203</c:v>
                </c:pt>
                <c:pt idx="37">
                  <c:v>0.1290035587188612</c:v>
                </c:pt>
                <c:pt idx="38">
                  <c:v>0.12835734870317003</c:v>
                </c:pt>
                <c:pt idx="39">
                  <c:v>0.14641995172968625</c:v>
                </c:pt>
                <c:pt idx="40">
                  <c:v>0.1279339131955068</c:v>
                </c:pt>
                <c:pt idx="41">
                  <c:v>0.1306540974117258</c:v>
                </c:pt>
                <c:pt idx="42">
                  <c:v>0.1257999634302432</c:v>
                </c:pt>
                <c:pt idx="43">
                  <c:v>0.12494822587325694</c:v>
                </c:pt>
                <c:pt idx="44">
                  <c:v>0.12619987893113488</c:v>
                </c:pt>
                <c:pt idx="45">
                  <c:v>0.1415380556654795</c:v>
                </c:pt>
                <c:pt idx="46">
                  <c:v>0.13360547800895445</c:v>
                </c:pt>
                <c:pt idx="47">
                  <c:v>0.13851359695704793</c:v>
                </c:pt>
                <c:pt idx="48">
                  <c:v>0.13167355930089986</c:v>
                </c:pt>
                <c:pt idx="49">
                  <c:v>0.14483610451306414</c:v>
                </c:pt>
                <c:pt idx="50">
                  <c:v>0.18246457619315565</c:v>
                </c:pt>
                <c:pt idx="51">
                  <c:v>0.161886221068570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61.7151699317589</c:v>
                </c:pt>
              </c:numCache>
            </c:numRef>
          </c:xVal>
          <c:yVal>
            <c:numRef>
              <c:f>Sheet1!$B$163:$B$164</c:f>
              <c:numCache>
                <c:formatCode>General</c:formatCode>
                <c:ptCount val="2"/>
                <c:pt idx="0">
                  <c:v>0.19090649372808102</c:v>
                </c:pt>
                <c:pt idx="1">
                  <c:v>0.1909064937280810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61.7151699317589</c:v>
                </c:pt>
                <c:pt idx="1">
                  <c:v>961.7151699317589</c:v>
                </c:pt>
              </c:numCache>
            </c:numRef>
          </c:xVal>
          <c:yVal>
            <c:numRef>
              <c:f>Sheet1!$B$167:$B$168</c:f>
              <c:numCache>
                <c:formatCode>General</c:formatCode>
                <c:ptCount val="2"/>
                <c:pt idx="0">
                  <c:v>0.19090649372808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06.0304216105635</c:v>
                </c:pt>
              </c:numCache>
            </c:numRef>
          </c:xVal>
          <c:yVal>
            <c:numRef>
              <c:f>Sheet1!$B$171:$B$172</c:f>
              <c:numCache>
                <c:formatCode>General</c:formatCode>
                <c:ptCount val="2"/>
                <c:pt idx="0">
                  <c:v>0.1553564937642705</c:v>
                </c:pt>
                <c:pt idx="1">
                  <c:v>0.155356493764270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06.0304216105635</c:v>
                </c:pt>
                <c:pt idx="1">
                  <c:v>1206.0304216105635</c:v>
                </c:pt>
              </c:numCache>
            </c:numRef>
          </c:xVal>
          <c:yVal>
            <c:numRef>
              <c:f>Sheet1!$B$175:$B$176</c:f>
              <c:numCache>
                <c:formatCode>General</c:formatCode>
                <c:ptCount val="2"/>
                <c:pt idx="0">
                  <c:v>0.15535649376427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13.4312248497681</c:v>
                </c:pt>
              </c:numCache>
            </c:numRef>
          </c:xVal>
          <c:yVal>
            <c:numRef>
              <c:f>Sheet1!$B$179:$B$180</c:f>
              <c:numCache>
                <c:formatCode>General</c:formatCode>
                <c:ptCount val="2"/>
                <c:pt idx="0">
                  <c:v>0.13972874017528658</c:v>
                </c:pt>
                <c:pt idx="1">
                  <c:v>0.1397287401752865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13.4312248497681</c:v>
                </c:pt>
                <c:pt idx="1">
                  <c:v>1313.4312248497681</c:v>
                </c:pt>
              </c:numCache>
            </c:numRef>
          </c:xVal>
          <c:yVal>
            <c:numRef>
              <c:f>Sheet1!$B$183:$B$184</c:f>
              <c:numCache>
                <c:formatCode>General</c:formatCode>
                <c:ptCount val="2"/>
                <c:pt idx="0">
                  <c:v>0.1397287401752865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61.7317</c:v>
                </c:pt>
                <c:pt idx="1">
                  <c:v>1256.7909</c:v>
                </c:pt>
                <c:pt idx="2">
                  <c:v>1251.7393</c:v>
                </c:pt>
                <c:pt idx="3">
                  <c:v>1284.1948</c:v>
                </c:pt>
                <c:pt idx="4">
                  <c:v>1277.3643</c:v>
                </c:pt>
                <c:pt idx="5">
                  <c:v>1282.4897</c:v>
                </c:pt>
                <c:pt idx="6">
                  <c:v>1207.1888</c:v>
                </c:pt>
                <c:pt idx="7">
                  <c:v>1242.1704</c:v>
                </c:pt>
                <c:pt idx="8">
                  <c:v>1331.0788</c:v>
                </c:pt>
                <c:pt idx="9">
                  <c:v>1257.829</c:v>
                </c:pt>
                <c:pt idx="10">
                  <c:v>1286.4968</c:v>
                </c:pt>
                <c:pt idx="11">
                  <c:v>1169.9601</c:v>
                </c:pt>
                <c:pt idx="12">
                  <c:v>1217.0901</c:v>
                </c:pt>
                <c:pt idx="13">
                  <c:v>1255.6037</c:v>
                </c:pt>
                <c:pt idx="14">
                  <c:v>1261.1765</c:v>
                </c:pt>
                <c:pt idx="15">
                  <c:v>1282.6054</c:v>
                </c:pt>
                <c:pt idx="16">
                  <c:v>1291.8069</c:v>
                </c:pt>
                <c:pt idx="17">
                  <c:v>1290.9181</c:v>
                </c:pt>
                <c:pt idx="18">
                  <c:v>1266.6664</c:v>
                </c:pt>
                <c:pt idx="19">
                  <c:v>1343.1935</c:v>
                </c:pt>
                <c:pt idx="20">
                  <c:v>1323.7416</c:v>
                </c:pt>
                <c:pt idx="21">
                  <c:v>1296.4086</c:v>
                </c:pt>
                <c:pt idx="22">
                  <c:v>1268.7069</c:v>
                </c:pt>
                <c:pt idx="23">
                  <c:v>1209.8883</c:v>
                </c:pt>
                <c:pt idx="24">
                  <c:v>1211.4266</c:v>
                </c:pt>
                <c:pt idx="25">
                  <c:v>1181.2466</c:v>
                </c:pt>
                <c:pt idx="26">
                  <c:v>1244.3609</c:v>
                </c:pt>
                <c:pt idx="27">
                  <c:v>1310.1474</c:v>
                </c:pt>
                <c:pt idx="28">
                  <c:v>1311.9759</c:v>
                </c:pt>
                <c:pt idx="29">
                  <c:v>1318.9416</c:v>
                </c:pt>
                <c:pt idx="30">
                  <c:v>1286.4016</c:v>
                </c:pt>
                <c:pt idx="31">
                  <c:v>1197.9475</c:v>
                </c:pt>
                <c:pt idx="32">
                  <c:v>1225.7107</c:v>
                </c:pt>
                <c:pt idx="33">
                  <c:v>1272.6502</c:v>
                </c:pt>
                <c:pt idx="34">
                  <c:v>1323.9043</c:v>
                </c:pt>
                <c:pt idx="35">
                  <c:v>1312.5002</c:v>
                </c:pt>
                <c:pt idx="36">
                  <c:v>1262.033</c:v>
                </c:pt>
                <c:pt idx="37">
                  <c:v>1344.8296</c:v>
                </c:pt>
                <c:pt idx="38">
                  <c:v>1297.3983</c:v>
                </c:pt>
                <c:pt idx="39">
                  <c:v>1310.9954</c:v>
                </c:pt>
                <c:pt idx="40">
                  <c:v>1343.8135</c:v>
                </c:pt>
                <c:pt idx="41">
                  <c:v>1386.8259</c:v>
                </c:pt>
                <c:pt idx="42">
                  <c:v>1388.5087</c:v>
                </c:pt>
                <c:pt idx="43">
                  <c:v>1382.4094</c:v>
                </c:pt>
                <c:pt idx="44">
                  <c:v>1318.6421</c:v>
                </c:pt>
                <c:pt idx="45">
                  <c:v>1287.7981</c:v>
                </c:pt>
                <c:pt idx="46">
                  <c:v>1292.5967</c:v>
                </c:pt>
                <c:pt idx="47">
                  <c:v>1262.942</c:v>
                </c:pt>
                <c:pt idx="48">
                  <c:v>1231.8961</c:v>
                </c:pt>
                <c:pt idx="49">
                  <c:v>1235.3904</c:v>
                </c:pt>
                <c:pt idx="50">
                  <c:v>1135.2079</c:v>
                </c:pt>
                <c:pt idx="51">
                  <c:v>1125.3148</c:v>
                </c:pt>
                <c:pt idx="52">
                  <c:v>1206.0304216105635</c:v>
                </c:pt>
                <c:pt idx="53">
                  <c:v>961.7151699317589</c:v>
                </c:pt>
                <c:pt idx="54">
                  <c:v>1313.4312248497681</c:v>
                </c:pt>
              </c:numCache>
            </c:numRef>
          </c:xVal>
          <c:yVal>
            <c:numRef>
              <c:f>Sheet1!$B$187:$B$241</c:f>
              <c:numCache>
                <c:formatCode>General</c:formatCode>
                <c:ptCount val="55"/>
                <c:pt idx="0">
                  <c:v>0.14725147194871896</c:v>
                </c:pt>
                <c:pt idx="1">
                  <c:v>0.14797040144089865</c:v>
                </c:pt>
                <c:pt idx="2">
                  <c:v>0.14870545329944282</c:v>
                </c:pt>
                <c:pt idx="3">
                  <c:v>0.14398289498228004</c:v>
                </c:pt>
                <c:pt idx="4">
                  <c:v>0.14497679230585786</c:v>
                </c:pt>
                <c:pt idx="5">
                  <c:v>0.14423100190365218</c:v>
                </c:pt>
                <c:pt idx="6">
                  <c:v>0.15518793960557767</c:v>
                </c:pt>
                <c:pt idx="7">
                  <c:v>0.1500978117065263</c:v>
                </c:pt>
                <c:pt idx="8">
                  <c:v>0.1371608640740562</c:v>
                </c:pt>
                <c:pt idx="9">
                  <c:v>0.14781934883690098</c:v>
                </c:pt>
                <c:pt idx="10">
                  <c:v>0.14364793390492464</c:v>
                </c:pt>
                <c:pt idx="11">
                  <c:v>0.16060504015316304</c:v>
                </c:pt>
                <c:pt idx="12">
                  <c:v>0.1537472140994008</c:v>
                </c:pt>
                <c:pt idx="13">
                  <c:v>0.14814314939530196</c:v>
                </c:pt>
                <c:pt idx="14">
                  <c:v>0.1473322583910073</c:v>
                </c:pt>
                <c:pt idx="15">
                  <c:v>0.1442141665445514</c:v>
                </c:pt>
                <c:pt idx="16">
                  <c:v>0.1428752680418208</c:v>
                </c:pt>
                <c:pt idx="17">
                  <c:v>0.14300459619366854</c:v>
                </c:pt>
                <c:pt idx="18">
                  <c:v>0.14653343005974165</c:v>
                </c:pt>
                <c:pt idx="19">
                  <c:v>0.13539806956326658</c:v>
                </c:pt>
                <c:pt idx="20">
                  <c:v>0.13822849066691983</c:v>
                </c:pt>
                <c:pt idx="21">
                  <c:v>0.1422056805571699</c:v>
                </c:pt>
                <c:pt idx="22">
                  <c:v>0.14623651951311104</c:v>
                </c:pt>
                <c:pt idx="23">
                  <c:v>0.15479513881134613</c:v>
                </c:pt>
                <c:pt idx="24">
                  <c:v>0.1545713027447537</c:v>
                </c:pt>
                <c:pt idx="25">
                  <c:v>0.15896275596568613</c:v>
                </c:pt>
                <c:pt idx="26">
                  <c:v>0.14977907485164055</c:v>
                </c:pt>
                <c:pt idx="27">
                  <c:v>0.1402065653314659</c:v>
                </c:pt>
                <c:pt idx="28">
                  <c:v>0.13994050263383587</c:v>
                </c:pt>
                <c:pt idx="29">
                  <c:v>0.13892693253108404</c:v>
                </c:pt>
                <c:pt idx="30">
                  <c:v>0.14366178633523055</c:v>
                </c:pt>
                <c:pt idx="31">
                  <c:v>0.15653262935543197</c:v>
                </c:pt>
                <c:pt idx="32">
                  <c:v>0.1524928416131062</c:v>
                </c:pt>
                <c:pt idx="33">
                  <c:v>0.14566273497082796</c:v>
                </c:pt>
                <c:pt idx="34">
                  <c:v>0.13820481639789914</c:v>
                </c:pt>
                <c:pt idx="35">
                  <c:v>0.13986421241104807</c:v>
                </c:pt>
                <c:pt idx="36">
                  <c:v>0.14720763017087052</c:v>
                </c:pt>
                <c:pt idx="37">
                  <c:v>0.13516000274369178</c:v>
                </c:pt>
                <c:pt idx="38">
                  <c:v>0.14206167057530253</c:v>
                </c:pt>
                <c:pt idx="39">
                  <c:v>0.14008317393546355</c:v>
                </c:pt>
                <c:pt idx="40">
                  <c:v>0.13530785415581206</c:v>
                </c:pt>
                <c:pt idx="41">
                  <c:v>0.1290491748145253</c:v>
                </c:pt>
                <c:pt idx="42">
                  <c:v>0.12880431273764706</c:v>
                </c:pt>
                <c:pt idx="43">
                  <c:v>0.12969181408391722</c:v>
                </c:pt>
                <c:pt idx="44">
                  <c:v>0.13897051239323346</c:v>
                </c:pt>
                <c:pt idx="45">
                  <c:v>0.14345858340537526</c:v>
                </c:pt>
                <c:pt idx="46">
                  <c:v>0.14276034525342143</c:v>
                </c:pt>
                <c:pt idx="47">
                  <c:v>0.1470753627428444</c:v>
                </c:pt>
                <c:pt idx="48">
                  <c:v>0.15159281196589763</c:v>
                </c:pt>
                <c:pt idx="49">
                  <c:v>0.15108436083965823</c:v>
                </c:pt>
                <c:pt idx="50">
                  <c:v>0.1656617883514562</c:v>
                </c:pt>
                <c:pt idx="51">
                  <c:v>0.16710132068611513</c:v>
                </c:pt>
                <c:pt idx="52">
                  <c:v>0.15535649376427046</c:v>
                </c:pt>
                <c:pt idx="53">
                  <c:v>0.19090649372808102</c:v>
                </c:pt>
                <c:pt idx="54">
                  <c:v>0.139728740175286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66.0"/>
          <c:min val="68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55974338412189"/>
          <c:min val="0.0946539729036982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734116814354444</c:v>
                </c:pt>
                <c:pt idx="1">
                  <c:v>2.748431108195611</c:v>
                </c:pt>
                <c:pt idx="2">
                  <c:v>2.219011822727423</c:v>
                </c:pt>
                <c:pt idx="3">
                  <c:v>2.1008221130228972</c:v>
                </c:pt>
                <c:pt idx="4">
                  <c:v>2.762049002499646</c:v>
                </c:pt>
                <c:pt idx="5">
                  <c:v>2.697490506800662</c:v>
                </c:pt>
                <c:pt idx="6">
                  <c:v>2.193633461131302</c:v>
                </c:pt>
                <c:pt idx="7">
                  <c:v>2.141805745402464</c:v>
                </c:pt>
                <c:pt idx="8">
                  <c:v>2.067953089000651</c:v>
                </c:pt>
                <c:pt idx="9">
                  <c:v>2.3336771778134278</c:v>
                </c:pt>
                <c:pt idx="10">
                  <c:v>2.5994233774090927</c:v>
                </c:pt>
                <c:pt idx="11">
                  <c:v>2.3004722374009137</c:v>
                </c:pt>
                <c:pt idx="12">
                  <c:v>2.396190850177732</c:v>
                </c:pt>
                <c:pt idx="13">
                  <c:v>2.3396475124011338</c:v>
                </c:pt>
                <c:pt idx="14">
                  <c:v>2.8870005620553867</c:v>
                </c:pt>
                <c:pt idx="15">
                  <c:v>2.2739777876102782</c:v>
                </c:pt>
                <c:pt idx="16">
                  <c:v>3.1048780909876585</c:v>
                </c:pt>
                <c:pt idx="17">
                  <c:v>2.2976236156756635</c:v>
                </c:pt>
                <c:pt idx="18">
                  <c:v>3.0676597471360036</c:v>
                </c:pt>
                <c:pt idx="19">
                  <c:v>2.613857770581127</c:v>
                </c:pt>
                <c:pt idx="20">
                  <c:v>2.138042448732141</c:v>
                </c:pt>
                <c:pt idx="21">
                  <c:v>4.294971483178923</c:v>
                </c:pt>
                <c:pt idx="22">
                  <c:v>1.8912982756474386</c:v>
                </c:pt>
                <c:pt idx="23">
                  <c:v>2.342723228614771</c:v>
                </c:pt>
                <c:pt idx="24">
                  <c:v>1.6466552415177123</c:v>
                </c:pt>
                <c:pt idx="25">
                  <c:v>1.5869198774771591</c:v>
                </c:pt>
                <c:pt idx="26">
                  <c:v>1.8526374452164345</c:v>
                </c:pt>
                <c:pt idx="27">
                  <c:v>1.8013248412518699</c:v>
                </c:pt>
                <c:pt idx="28">
                  <c:v>1.896432761581466</c:v>
                </c:pt>
                <c:pt idx="29">
                  <c:v>1.8091323274642754</c:v>
                </c:pt>
                <c:pt idx="30">
                  <c:v>1.7822757910509033</c:v>
                </c:pt>
                <c:pt idx="31">
                  <c:v>1.9245796287910895</c:v>
                </c:pt>
                <c:pt idx="32">
                  <c:v>2.4565451407902823</c:v>
                </c:pt>
                <c:pt idx="33">
                  <c:v>1.5303118158097313</c:v>
                </c:pt>
                <c:pt idx="34">
                  <c:v>1.8062605545504604</c:v>
                </c:pt>
                <c:pt idx="35">
                  <c:v>1.8534406227012268</c:v>
                </c:pt>
                <c:pt idx="36">
                  <c:v>1.7871911330956498</c:v>
                </c:pt>
                <c:pt idx="37">
                  <c:v>1.810214822644351</c:v>
                </c:pt>
                <c:pt idx="38">
                  <c:v>1.8336419902221708</c:v>
                </c:pt>
                <c:pt idx="39">
                  <c:v>2.2333577726111553</c:v>
                </c:pt>
                <c:pt idx="40">
                  <c:v>2.5309891042037136</c:v>
                </c:pt>
                <c:pt idx="41">
                  <c:v>2.299433351154791</c:v>
                </c:pt>
                <c:pt idx="42">
                  <c:v>2.0555163716115685</c:v>
                </c:pt>
                <c:pt idx="43">
                  <c:v>1.8170066451149003</c:v>
                </c:pt>
                <c:pt idx="44">
                  <c:v>1.85263787425651</c:v>
                </c:pt>
                <c:pt idx="45">
                  <c:v>1.9590678957166598</c:v>
                </c:pt>
                <c:pt idx="46">
                  <c:v>1.9241082154791376</c:v>
                </c:pt>
                <c:pt idx="47">
                  <c:v>1.7249419732812858</c:v>
                </c:pt>
                <c:pt idx="48">
                  <c:v>2.425569107994151</c:v>
                </c:pt>
                <c:pt idx="49">
                  <c:v>2.075927737357215</c:v>
                </c:pt>
                <c:pt idx="50">
                  <c:v>1.9916695600061254</c:v>
                </c:pt>
                <c:pt idx="51">
                  <c:v>1.735270952598371</c:v>
                </c:pt>
                <c:pt idx="52">
                  <c:v>2.042903721153115</c:v>
                </c:pt>
                <c:pt idx="53">
                  <c:v>1.9127104239591917</c:v>
                </c:pt>
                <c:pt idx="54">
                  <c:v>1.624060233889405</c:v>
                </c:pt>
                <c:pt idx="55">
                  <c:v>1.7251668570200422</c:v>
                </c:pt>
                <c:pt idx="56">
                  <c:v>1.4132527803258035</c:v>
                </c:pt>
                <c:pt idx="57">
                  <c:v>1.497368089374581</c:v>
                </c:pt>
                <c:pt idx="58">
                  <c:v>1.341619739617881</c:v>
                </c:pt>
                <c:pt idx="59">
                  <c:v>1.5223051909059622</c:v>
                </c:pt>
                <c:pt idx="60">
                  <c:v>1.4635846748527517</c:v>
                </c:pt>
                <c:pt idx="61">
                  <c:v>1.5170033946325072</c:v>
                </c:pt>
                <c:pt idx="62">
                  <c:v>1.396408295726451</c:v>
                </c:pt>
                <c:pt idx="63">
                  <c:v>1.5511336012662182</c:v>
                </c:pt>
                <c:pt idx="64">
                  <c:v>1.455224642193243</c:v>
                </c:pt>
                <c:pt idx="65">
                  <c:v>1.4954565276018983</c:v>
                </c:pt>
                <c:pt idx="66">
                  <c:v>1.4005667030846642</c:v>
                </c:pt>
                <c:pt idx="67">
                  <c:v>1.5126556278329741</c:v>
                </c:pt>
                <c:pt idx="68">
                  <c:v>1.223837014747581</c:v>
                </c:pt>
                <c:pt idx="69">
                  <c:v>1.1308419813286916</c:v>
                </c:pt>
                <c:pt idx="70">
                  <c:v>1.2921283850269678</c:v>
                </c:pt>
                <c:pt idx="71">
                  <c:v>0.9679718324725959</c:v>
                </c:pt>
                <c:pt idx="72">
                  <c:v>1.1499442652063219</c:v>
                </c:pt>
                <c:pt idx="73">
                  <c:v>0.87110820311846</c:v>
                </c:pt>
                <c:pt idx="74">
                  <c:v>1.04351812507449</c:v>
                </c:pt>
                <c:pt idx="75">
                  <c:v>1.556308860016359</c:v>
                </c:pt>
                <c:pt idx="76">
                  <c:v>1.5996133494152145</c:v>
                </c:pt>
                <c:pt idx="77">
                  <c:v>1.9100364088787505</c:v>
                </c:pt>
                <c:pt idx="78">
                  <c:v>1.5695675819318373</c:v>
                </c:pt>
                <c:pt idx="79">
                  <c:v>2.1825526468203216</c:v>
                </c:pt>
                <c:pt idx="80">
                  <c:v>1.9258509496148615</c:v>
                </c:pt>
                <c:pt idx="81">
                  <c:v>1.9368165640355102</c:v>
                </c:pt>
                <c:pt idx="82">
                  <c:v>1.896719309402066</c:v>
                </c:pt>
                <c:pt idx="83">
                  <c:v>2.217529193781153</c:v>
                </c:pt>
                <c:pt idx="84">
                  <c:v>1.9660360203021252</c:v>
                </c:pt>
                <c:pt idx="85">
                  <c:v>1.8632473482579506</c:v>
                </c:pt>
                <c:pt idx="86">
                  <c:v>2.5892809668459353</c:v>
                </c:pt>
                <c:pt idx="87">
                  <c:v>2.5852725272673602</c:v>
                </c:pt>
                <c:pt idx="88">
                  <c:v>2.1952008210480667</c:v>
                </c:pt>
                <c:pt idx="89">
                  <c:v>2.114891446320617</c:v>
                </c:pt>
                <c:pt idx="90">
                  <c:v>2.3700468461024835</c:v>
                </c:pt>
                <c:pt idx="91">
                  <c:v>2.004202843767685</c:v>
                </c:pt>
                <c:pt idx="92">
                  <c:v>2.3490159805140487</c:v>
                </c:pt>
                <c:pt idx="93">
                  <c:v>2.5019124708086156</c:v>
                </c:pt>
                <c:pt idx="94">
                  <c:v>2.459203651710117</c:v>
                </c:pt>
                <c:pt idx="95">
                  <c:v>2.5254582599771034</c:v>
                </c:pt>
                <c:pt idx="96">
                  <c:v>2.1833251577484534</c:v>
                </c:pt>
                <c:pt idx="97">
                  <c:v>2.3028203110914536</c:v>
                </c:pt>
                <c:pt idx="98">
                  <c:v>2.2452945226850507</c:v>
                </c:pt>
                <c:pt idx="99">
                  <c:v>2.381923423093969</c:v>
                </c:pt>
                <c:pt idx="100">
                  <c:v>2.6773542525187</c:v>
                </c:pt>
                <c:pt idx="101">
                  <c:v>2.332324877000224</c:v>
                </c:pt>
                <c:pt idx="102">
                  <c:v>2.3232515675941987</c:v>
                </c:pt>
                <c:pt idx="103">
                  <c:v>2.4599990744885005</c:v>
                </c:pt>
                <c:pt idx="104">
                  <c:v>2.557346873535847</c:v>
                </c:pt>
              </c:numCache>
            </c:numRef>
          </c:xVal>
          <c:yVal>
            <c:numRef>
              <c:f>Sheet1!$B$2:$B$106</c:f>
              <c:numCache>
                <c:formatCode>General</c:formatCode>
                <c:ptCount val="105"/>
                <c:pt idx="0">
                  <c:v>0.0004068348250610252</c:v>
                </c:pt>
                <c:pt idx="1">
                  <c:v>0.00013251000450534016</c:v>
                </c:pt>
                <c:pt idx="2">
                  <c:v>0.00015396063739703882</c:v>
                </c:pt>
                <c:pt idx="3">
                  <c:v>0.00013456776832813006</c:v>
                </c:pt>
                <c:pt idx="4">
                  <c:v>9.577015163607342e-05</c:v>
                </c:pt>
                <c:pt idx="5">
                  <c:v>0.0001952044766893321</c:v>
                </c:pt>
                <c:pt idx="6">
                  <c:v>0.00035394813051032887</c:v>
                </c:pt>
                <c:pt idx="7">
                  <c:v>0.0002935995302407516</c:v>
                </c:pt>
                <c:pt idx="8">
                  <c:v>0.0002665448176071891</c:v>
                </c:pt>
                <c:pt idx="9">
                  <c:v>0.0002675704602211916</c:v>
                </c:pt>
                <c:pt idx="10">
                  <c:v>0.00017219113215669393</c:v>
                </c:pt>
                <c:pt idx="11">
                  <c:v>0.00028758771425284714</c:v>
                </c:pt>
                <c:pt idx="12">
                  <c:v>0.00029195530429705125</c:v>
                </c:pt>
                <c:pt idx="13">
                  <c:v>0.00028119112560807583</c:v>
                </c:pt>
                <c:pt idx="14">
                  <c:v>8.361437052314724e-05</c:v>
                </c:pt>
                <c:pt idx="15">
                  <c:v>0.00019857686579513486</c:v>
                </c:pt>
                <c:pt idx="16">
                  <c:v>7.464079119238663e-05</c:v>
                </c:pt>
                <c:pt idx="17">
                  <c:v>0.00016345210853220007</c:v>
                </c:pt>
                <c:pt idx="18">
                  <c:v>9.092148929399464e-05</c:v>
                </c:pt>
                <c:pt idx="19">
                  <c:v>0.00015876375952582556</c:v>
                </c:pt>
                <c:pt idx="20">
                  <c:v>0.00021842645581232798</c:v>
                </c:pt>
                <c:pt idx="21">
                  <c:v>5.157563566970963e-05</c:v>
                </c:pt>
                <c:pt idx="22">
                  <c:v>0.0003682272488164124</c:v>
                </c:pt>
                <c:pt idx="23">
                  <c:v>0.0002789089083505327</c:v>
                </c:pt>
                <c:pt idx="24">
                  <c:v>0.0004662970830526916</c:v>
                </c:pt>
                <c:pt idx="25">
                  <c:v>0.000583158385817588</c:v>
                </c:pt>
                <c:pt idx="26">
                  <c:v>0.0005226025607525476</c:v>
                </c:pt>
                <c:pt idx="27">
                  <c:v>0.0002508277315139962</c:v>
                </c:pt>
                <c:pt idx="28">
                  <c:v>0.0002559770644550248</c:v>
                </c:pt>
                <c:pt idx="29">
                  <c:v>0.00040578926011091576</c:v>
                </c:pt>
                <c:pt idx="30">
                  <c:v>0.00029064698017787597</c:v>
                </c:pt>
                <c:pt idx="31">
                  <c:v>0.00033163829316825116</c:v>
                </c:pt>
                <c:pt idx="32">
                  <c:v>0.00021867483052700635</c:v>
                </c:pt>
                <c:pt idx="33">
                  <c:v>0.0005688531046252134</c:v>
                </c:pt>
                <c:pt idx="34">
                  <c:v>0.0005597984725498821</c:v>
                </c:pt>
                <c:pt idx="35">
                  <c:v>0.0006072055053299149</c:v>
                </c:pt>
                <c:pt idx="36">
                  <c:v>0.0003740959348241749</c:v>
                </c:pt>
                <c:pt idx="37">
                  <c:v>0.0002884615384615385</c:v>
                </c:pt>
                <c:pt idx="38">
                  <c:v>0.0002411149153686647</c:v>
                </c:pt>
                <c:pt idx="39">
                  <c:v>0.0003058103975535168</c:v>
                </c:pt>
                <c:pt idx="40">
                  <c:v>0.00017058296729071602</c:v>
                </c:pt>
                <c:pt idx="41">
                  <c:v>0.00018400956849756188</c:v>
                </c:pt>
                <c:pt idx="42">
                  <c:v>0.00011764244539429826</c:v>
                </c:pt>
                <c:pt idx="43">
                  <c:v>0.00024577788701239423</c:v>
                </c:pt>
                <c:pt idx="44">
                  <c:v>0.0002135585981064471</c:v>
                </c:pt>
                <c:pt idx="45">
                  <c:v>0.00015428697377121447</c:v>
                </c:pt>
                <c:pt idx="46">
                  <c:v>0.00031837670331536275</c:v>
                </c:pt>
                <c:pt idx="47">
                  <c:v>0.00038505144715168886</c:v>
                </c:pt>
                <c:pt idx="48">
                  <c:v>0.00019302845561149806</c:v>
                </c:pt>
                <c:pt idx="49">
                  <c:v>0.00019773483758280146</c:v>
                </c:pt>
                <c:pt idx="50">
                  <c:v>0.00029062525948683884</c:v>
                </c:pt>
                <c:pt idx="51">
                  <c:v>0.00037329218823880747</c:v>
                </c:pt>
                <c:pt idx="52">
                  <c:v>0.0001283175431467739</c:v>
                </c:pt>
                <c:pt idx="53">
                  <c:v>0.00015959569091634525</c:v>
                </c:pt>
                <c:pt idx="54">
                  <c:v>0.0003744239631336406</c:v>
                </c:pt>
                <c:pt idx="55">
                  <c:v>0.00023897003913134391</c:v>
                </c:pt>
                <c:pt idx="56">
                  <c:v>0.00024144383412808595</c:v>
                </c:pt>
                <c:pt idx="57">
                  <c:v>0.00015713799334782496</c:v>
                </c:pt>
                <c:pt idx="58">
                  <c:v>0.0001700308484539338</c:v>
                </c:pt>
                <c:pt idx="59">
                  <c:v>0.00020895618349567622</c:v>
                </c:pt>
                <c:pt idx="60">
                  <c:v>0.0003703377127237457</c:v>
                </c:pt>
                <c:pt idx="61">
                  <c:v>0.0003837206513658057</c:v>
                </c:pt>
                <c:pt idx="62">
                  <c:v>0.0004231013327691982</c:v>
                </c:pt>
                <c:pt idx="63">
                  <c:v>0.00036491649851886834</c:v>
                </c:pt>
                <c:pt idx="64">
                  <c:v>0.0005016617545619866</c:v>
                </c:pt>
                <c:pt idx="65">
                  <c:v>0.00036552212551115986</c:v>
                </c:pt>
                <c:pt idx="66">
                  <c:v>0.00040122728345527497</c:v>
                </c:pt>
                <c:pt idx="67">
                  <c:v>0.0002922552362396493</c:v>
                </c:pt>
                <c:pt idx="68">
                  <c:v>0.00046797309154723605</c:v>
                </c:pt>
                <c:pt idx="69">
                  <c:v>0.0004883546205860256</c:v>
                </c:pt>
                <c:pt idx="70">
                  <c:v>0.00038771985478129074</c:v>
                </c:pt>
                <c:pt idx="71">
                  <c:v>0.00041471874528728697</c:v>
                </c:pt>
                <c:pt idx="72">
                  <c:v>0.0005811841627315655</c:v>
                </c:pt>
                <c:pt idx="73">
                  <c:v>0.0009446438692612885</c:v>
                </c:pt>
                <c:pt idx="74">
                  <c:v>0.0010105020029593274</c:v>
                </c:pt>
                <c:pt idx="75">
                  <c:v>0.0010670081092616305</c:v>
                </c:pt>
                <c:pt idx="76">
                  <c:v>0.0015070557610631593</c:v>
                </c:pt>
                <c:pt idx="77">
                  <c:v>0.001357527489931671</c:v>
                </c:pt>
                <c:pt idx="78">
                  <c:v>0.0019386953104532354</c:v>
                </c:pt>
                <c:pt idx="79">
                  <c:v>0.0013696128560993425</c:v>
                </c:pt>
                <c:pt idx="80">
                  <c:v>0.0013775369639085315</c:v>
                </c:pt>
                <c:pt idx="81">
                  <c:v>0.0015751661608206231</c:v>
                </c:pt>
                <c:pt idx="82">
                  <c:v>0.0016255356878971479</c:v>
                </c:pt>
                <c:pt idx="83">
                  <c:v>0.0012959936890742096</c:v>
                </c:pt>
                <c:pt idx="84">
                  <c:v>0.0014231499051233396</c:v>
                </c:pt>
                <c:pt idx="85">
                  <c:v>0.001213208144319021</c:v>
                </c:pt>
                <c:pt idx="86">
                  <c:v>0.0011109347722583717</c:v>
                </c:pt>
                <c:pt idx="87">
                  <c:v>0.0010732492621411322</c:v>
                </c:pt>
                <c:pt idx="88">
                  <c:v>0.0015150080484802575</c:v>
                </c:pt>
                <c:pt idx="89">
                  <c:v>0.0017422495516269537</c:v>
                </c:pt>
                <c:pt idx="90">
                  <c:v>0.0015322026734294922</c:v>
                </c:pt>
                <c:pt idx="91">
                  <c:v>0.0017557941205979732</c:v>
                </c:pt>
                <c:pt idx="92">
                  <c:v>0.0014452657224263946</c:v>
                </c:pt>
                <c:pt idx="93">
                  <c:v>0.0013598368195816503</c:v>
                </c:pt>
                <c:pt idx="94">
                  <c:v>0.0015503169030139984</c:v>
                </c:pt>
                <c:pt idx="95">
                  <c:v>0.0016272041975226646</c:v>
                </c:pt>
                <c:pt idx="96">
                  <c:v>0.0020251211456399623</c:v>
                </c:pt>
                <c:pt idx="97">
                  <c:v>0.0024804345036992686</c:v>
                </c:pt>
                <c:pt idx="98">
                  <c:v>0.002372989031932585</c:v>
                </c:pt>
                <c:pt idx="99">
                  <c:v>0.002219103873641615</c:v>
                </c:pt>
                <c:pt idx="100">
                  <c:v>0.001695866763350565</c:v>
                </c:pt>
                <c:pt idx="101">
                  <c:v>0.002240143369175627</c:v>
                </c:pt>
                <c:pt idx="102">
                  <c:v>0.0018302227573750753</c:v>
                </c:pt>
                <c:pt idx="103">
                  <c:v>0.001802624073017684</c:v>
                </c:pt>
                <c:pt idx="104">
                  <c:v>0.00137791181364392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2.53340199846113</c:v>
                </c:pt>
                <c:pt idx="1">
                  <c:v>2.179778502106846</c:v>
                </c:pt>
                <c:pt idx="2">
                  <c:v>2.4208968655749645</c:v>
                </c:pt>
                <c:pt idx="3">
                  <c:v>2.020163339336287</c:v>
                </c:pt>
                <c:pt idx="4">
                  <c:v>2.423930608124522</c:v>
                </c:pt>
                <c:pt idx="5">
                  <c:v>2.7204017759219132</c:v>
                </c:pt>
                <c:pt idx="6">
                  <c:v>2.6251121654274465</c:v>
                </c:pt>
                <c:pt idx="7">
                  <c:v>2.475738174006067</c:v>
                </c:pt>
                <c:pt idx="8">
                  <c:v>2.3493660948158057</c:v>
                </c:pt>
                <c:pt idx="9">
                  <c:v>2.3555233665428377</c:v>
                </c:pt>
                <c:pt idx="10">
                  <c:v>2.416119843864173</c:v>
                </c:pt>
                <c:pt idx="11">
                  <c:v>2.5437843096717097</c:v>
                </c:pt>
                <c:pt idx="12">
                  <c:v>2.3401659812481865</c:v>
                </c:pt>
                <c:pt idx="13">
                  <c:v>1.9275500529402434</c:v>
                </c:pt>
                <c:pt idx="14">
                  <c:v>1.96574236082619</c:v>
                </c:pt>
                <c:pt idx="15">
                  <c:v>2.040174028549066</c:v>
                </c:pt>
                <c:pt idx="16">
                  <c:v>2.1422637190718516</c:v>
                </c:pt>
                <c:pt idx="17">
                  <c:v>1.6253990021963034</c:v>
                </c:pt>
                <c:pt idx="18">
                  <c:v>2.314413068819987</c:v>
                </c:pt>
                <c:pt idx="19">
                  <c:v>2.3545871802160026</c:v>
                </c:pt>
                <c:pt idx="20">
                  <c:v>2.1942872466789174</c:v>
                </c:pt>
                <c:pt idx="21">
                  <c:v>1.8999097290304086</c:v>
                </c:pt>
                <c:pt idx="22">
                  <c:v>1.9797838642231294</c:v>
                </c:pt>
                <c:pt idx="23">
                  <c:v>1.6223697999683127</c:v>
                </c:pt>
                <c:pt idx="24">
                  <c:v>2.0726022597491083</c:v>
                </c:pt>
                <c:pt idx="25">
                  <c:v>1.9624247687885126</c:v>
                </c:pt>
                <c:pt idx="26">
                  <c:v>2.052174551396968</c:v>
                </c:pt>
                <c:pt idx="27">
                  <c:v>2.046690618690266</c:v>
                </c:pt>
                <c:pt idx="28">
                  <c:v>2.0773666382934772</c:v>
                </c:pt>
                <c:pt idx="29">
                  <c:v>1.8414962906471684</c:v>
                </c:pt>
                <c:pt idx="30">
                  <c:v>1.8390448751741164</c:v>
                </c:pt>
                <c:pt idx="31">
                  <c:v>2.037737455640011</c:v>
                </c:pt>
                <c:pt idx="32">
                  <c:v>2.3132941470625057</c:v>
                </c:pt>
                <c:pt idx="33">
                  <c:v>2.259280836863193</c:v>
                </c:pt>
                <c:pt idx="34">
                  <c:v>2.38490878036852</c:v>
                </c:pt>
                <c:pt idx="35">
                  <c:v>2.136800735255696</c:v>
                </c:pt>
                <c:pt idx="36">
                  <c:v>2.0716605790513247</c:v>
                </c:pt>
                <c:pt idx="37">
                  <c:v>2.0763987310010186</c:v>
                </c:pt>
                <c:pt idx="38">
                  <c:v>1.7646731491808587</c:v>
                </c:pt>
                <c:pt idx="39">
                  <c:v>1.7374876294024135</c:v>
                </c:pt>
                <c:pt idx="40">
                  <c:v>1.6322617036420337</c:v>
                </c:pt>
                <c:pt idx="41">
                  <c:v>1.82684446564999</c:v>
                </c:pt>
                <c:pt idx="42">
                  <c:v>1.6323062474844596</c:v>
                </c:pt>
                <c:pt idx="43">
                  <c:v>1.9525443309996875</c:v>
                </c:pt>
                <c:pt idx="44">
                  <c:v>2.426895626789388</c:v>
                </c:pt>
                <c:pt idx="45">
                  <c:v>2.6183554204700097</c:v>
                </c:pt>
                <c:pt idx="46">
                  <c:v>2.587202622268386</c:v>
                </c:pt>
                <c:pt idx="47">
                  <c:v>2.574311749279469</c:v>
                </c:pt>
                <c:pt idx="48">
                  <c:v>2.5534451903254793</c:v>
                </c:pt>
                <c:pt idx="49">
                  <c:v>2.5311368731374815</c:v>
                </c:pt>
                <c:pt idx="50">
                  <c:v>2.6673002240175117</c:v>
                </c:pt>
                <c:pt idx="51">
                  <c:v>2.7343141929618726</c:v>
                </c:pt>
              </c:numCache>
            </c:numRef>
          </c:xVal>
          <c:yVal>
            <c:numRef>
              <c:f>Sheet1!$B$109:$B$160</c:f>
              <c:numCache>
                <c:formatCode>General</c:formatCode>
                <c:ptCount val="52"/>
                <c:pt idx="0">
                  <c:v>0.0013676342285835555</c:v>
                </c:pt>
                <c:pt idx="1">
                  <c:v>0.0016121312879417617</c:v>
                </c:pt>
                <c:pt idx="2">
                  <c:v>0.0015792364734962922</c:v>
                </c:pt>
                <c:pt idx="3">
                  <c:v>0.001684766523233841</c:v>
                </c:pt>
                <c:pt idx="4">
                  <c:v>0.0016007156140392174</c:v>
                </c:pt>
                <c:pt idx="5">
                  <c:v>0.0014035922445581064</c:v>
                </c:pt>
                <c:pt idx="6">
                  <c:v>0.0016303474247399482</c:v>
                </c:pt>
                <c:pt idx="7">
                  <c:v>0.0018851597750169974</c:v>
                </c:pt>
                <c:pt idx="8">
                  <c:v>0.0022411474675033617</c:v>
                </c:pt>
                <c:pt idx="9">
                  <c:v>0.0022998645285277714</c:v>
                </c:pt>
                <c:pt idx="10">
                  <c:v>0.0021934501142421934</c:v>
                </c:pt>
                <c:pt idx="11">
                  <c:v>0.002252559726962457</c:v>
                </c:pt>
                <c:pt idx="12">
                  <c:v>0.002291786030522423</c:v>
                </c:pt>
                <c:pt idx="13">
                  <c:v>0.003356786078736774</c:v>
                </c:pt>
                <c:pt idx="14">
                  <c:v>0.00329821079361373</c:v>
                </c:pt>
                <c:pt idx="15">
                  <c:v>0.003212325349301397</c:v>
                </c:pt>
                <c:pt idx="16">
                  <c:v>0.0029529268716345317</c:v>
                </c:pt>
                <c:pt idx="17">
                  <c:v>0.0038974886936059125</c:v>
                </c:pt>
                <c:pt idx="18">
                  <c:v>0.0021214531954388757</c:v>
                </c:pt>
                <c:pt idx="19">
                  <c:v>0.0018730404332423958</c:v>
                </c:pt>
                <c:pt idx="20">
                  <c:v>0.0021718895439031957</c:v>
                </c:pt>
                <c:pt idx="21">
                  <c:v>0.0028803072327714956</c:v>
                </c:pt>
                <c:pt idx="22">
                  <c:v>0.0024777268174389793</c:v>
                </c:pt>
                <c:pt idx="23">
                  <c:v>0.002520824199912319</c:v>
                </c:pt>
                <c:pt idx="24">
                  <c:v>0.002333782802613837</c:v>
                </c:pt>
                <c:pt idx="25">
                  <c:v>0.0026646364674533687</c:v>
                </c:pt>
                <c:pt idx="26">
                  <c:v>0.0026880330834841044</c:v>
                </c:pt>
                <c:pt idx="27">
                  <c:v>0.002563163676309044</c:v>
                </c:pt>
                <c:pt idx="28">
                  <c:v>0.00214574217435207</c:v>
                </c:pt>
                <c:pt idx="29">
                  <c:v>0.002537187204616686</c:v>
                </c:pt>
                <c:pt idx="30">
                  <c:v>0.0024335939522601357</c:v>
                </c:pt>
                <c:pt idx="31">
                  <c:v>0.002530917457578372</c:v>
                </c:pt>
                <c:pt idx="32">
                  <c:v>0.002152852529601722</c:v>
                </c:pt>
                <c:pt idx="33">
                  <c:v>0.0021762321314273522</c:v>
                </c:pt>
                <c:pt idx="34">
                  <c:v>0.002031075454453133</c:v>
                </c:pt>
                <c:pt idx="35">
                  <c:v>0.002415172031516015</c:v>
                </c:pt>
                <c:pt idx="36">
                  <c:v>0.0027545047629978195</c:v>
                </c:pt>
                <c:pt idx="37">
                  <c:v>0.002826041448607913</c:v>
                </c:pt>
                <c:pt idx="38">
                  <c:v>0.003170028818443804</c:v>
                </c:pt>
                <c:pt idx="39">
                  <c:v>0.003128631447215518</c:v>
                </c:pt>
                <c:pt idx="40">
                  <c:v>0.0029284496700030596</c:v>
                </c:pt>
                <c:pt idx="41">
                  <c:v>0.002398081534772182</c:v>
                </c:pt>
                <c:pt idx="42">
                  <c:v>0.0027427317608337905</c:v>
                </c:pt>
                <c:pt idx="43">
                  <c:v>0.002001932900731741</c:v>
                </c:pt>
                <c:pt idx="44">
                  <c:v>0.0015277737741777406</c:v>
                </c:pt>
                <c:pt idx="45">
                  <c:v>0.0012751176186079232</c:v>
                </c:pt>
                <c:pt idx="46">
                  <c:v>0.0013695022386094285</c:v>
                </c:pt>
                <c:pt idx="47">
                  <c:v>0.0014572578852471163</c:v>
                </c:pt>
                <c:pt idx="48">
                  <c:v>0.0016001995053928802</c:v>
                </c:pt>
                <c:pt idx="49">
                  <c:v>0.0014821852731591448</c:v>
                </c:pt>
                <c:pt idx="50">
                  <c:v>0.0012532610363701468</c:v>
                </c:pt>
                <c:pt idx="51">
                  <c:v>0.001362751460090850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9254013384028716</c:v>
                </c:pt>
              </c:numCache>
            </c:numRef>
          </c:xVal>
          <c:yVal>
            <c:numRef>
              <c:f>Sheet1!$B$163:$B$164</c:f>
              <c:numCache>
                <c:formatCode>General</c:formatCode>
                <c:ptCount val="2"/>
                <c:pt idx="0">
                  <c:v>0.002677083737884858</c:v>
                </c:pt>
                <c:pt idx="1">
                  <c:v>0.00267708373788485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9254013384028716</c:v>
                </c:pt>
                <c:pt idx="1">
                  <c:v>1.9254013384028716</c:v>
                </c:pt>
              </c:numCache>
            </c:numRef>
          </c:xVal>
          <c:yVal>
            <c:numRef>
              <c:f>Sheet1!$B$167:$B$168</c:f>
              <c:numCache>
                <c:formatCode>General</c:formatCode>
                <c:ptCount val="2"/>
                <c:pt idx="0">
                  <c:v>0.00267708373788485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9254013384028716</c:v>
                </c:pt>
              </c:numCache>
            </c:numRef>
          </c:xVal>
          <c:yVal>
            <c:numRef>
              <c:f>Sheet1!$B$171:$B$172</c:f>
              <c:numCache>
                <c:formatCode>General</c:formatCode>
                <c:ptCount val="2"/>
                <c:pt idx="0">
                  <c:v>0.002677083737884858</c:v>
                </c:pt>
                <c:pt idx="1">
                  <c:v>0.00267708373788485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9254013384028716</c:v>
                </c:pt>
                <c:pt idx="1">
                  <c:v>1.9254013384028716</c:v>
                </c:pt>
              </c:numCache>
            </c:numRef>
          </c:xVal>
          <c:yVal>
            <c:numRef>
              <c:f>Sheet1!$B$175:$B$176</c:f>
              <c:numCache>
                <c:formatCode>General</c:formatCode>
                <c:ptCount val="2"/>
                <c:pt idx="0">
                  <c:v>0.00267708373788485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409792185292478</c:v>
                </c:pt>
              </c:numCache>
            </c:numRef>
          </c:xVal>
          <c:yVal>
            <c:numRef>
              <c:f>Sheet1!$B$179:$B$180</c:f>
              <c:numCache>
                <c:formatCode>General</c:formatCode>
                <c:ptCount val="2"/>
                <c:pt idx="0">
                  <c:v>0.001886759700400886</c:v>
                </c:pt>
                <c:pt idx="1">
                  <c:v>0.00188675970040088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409792185292478</c:v>
                </c:pt>
                <c:pt idx="1">
                  <c:v>2.409792185292478</c:v>
                </c:pt>
              </c:numCache>
            </c:numRef>
          </c:xVal>
          <c:yVal>
            <c:numRef>
              <c:f>Sheet1!$B$183:$B$184</c:f>
              <c:numCache>
                <c:formatCode>General</c:formatCode>
                <c:ptCount val="2"/>
                <c:pt idx="0">
                  <c:v>0.0018867597004008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2.53340199846113</c:v>
                </c:pt>
                <c:pt idx="1">
                  <c:v>2.179778502106846</c:v>
                </c:pt>
                <c:pt idx="2">
                  <c:v>2.4208968655749645</c:v>
                </c:pt>
                <c:pt idx="3">
                  <c:v>2.020163339336287</c:v>
                </c:pt>
                <c:pt idx="4">
                  <c:v>2.423930608124522</c:v>
                </c:pt>
                <c:pt idx="5">
                  <c:v>2.7204017759219132</c:v>
                </c:pt>
                <c:pt idx="6">
                  <c:v>2.6251121654274465</c:v>
                </c:pt>
                <c:pt idx="7">
                  <c:v>2.475738174006067</c:v>
                </c:pt>
                <c:pt idx="8">
                  <c:v>2.3493660948158057</c:v>
                </c:pt>
                <c:pt idx="9">
                  <c:v>2.3555233665428377</c:v>
                </c:pt>
                <c:pt idx="10">
                  <c:v>2.416119843864173</c:v>
                </c:pt>
                <c:pt idx="11">
                  <c:v>2.5437843096717097</c:v>
                </c:pt>
                <c:pt idx="12">
                  <c:v>2.3401659812481865</c:v>
                </c:pt>
                <c:pt idx="13">
                  <c:v>1.9275500529402434</c:v>
                </c:pt>
                <c:pt idx="14">
                  <c:v>1.96574236082619</c:v>
                </c:pt>
                <c:pt idx="15">
                  <c:v>2.040174028549066</c:v>
                </c:pt>
                <c:pt idx="16">
                  <c:v>2.1422637190718516</c:v>
                </c:pt>
                <c:pt idx="17">
                  <c:v>1.6253990021963034</c:v>
                </c:pt>
                <c:pt idx="18">
                  <c:v>2.314413068819987</c:v>
                </c:pt>
                <c:pt idx="19">
                  <c:v>2.3545871802160026</c:v>
                </c:pt>
                <c:pt idx="20">
                  <c:v>2.1942872466789174</c:v>
                </c:pt>
                <c:pt idx="21">
                  <c:v>1.8999097290304086</c:v>
                </c:pt>
                <c:pt idx="22">
                  <c:v>1.9797838642231294</c:v>
                </c:pt>
                <c:pt idx="23">
                  <c:v>1.6223697999683127</c:v>
                </c:pt>
                <c:pt idx="24">
                  <c:v>2.0726022597491083</c:v>
                </c:pt>
                <c:pt idx="25">
                  <c:v>1.9624247687885126</c:v>
                </c:pt>
                <c:pt idx="26">
                  <c:v>2.052174551396968</c:v>
                </c:pt>
                <c:pt idx="27">
                  <c:v>2.046690618690266</c:v>
                </c:pt>
                <c:pt idx="28">
                  <c:v>2.0773666382934772</c:v>
                </c:pt>
                <c:pt idx="29">
                  <c:v>1.8414962906471684</c:v>
                </c:pt>
                <c:pt idx="30">
                  <c:v>1.8390448751741164</c:v>
                </c:pt>
                <c:pt idx="31">
                  <c:v>2.037737455640011</c:v>
                </c:pt>
                <c:pt idx="32">
                  <c:v>2.3132941470625057</c:v>
                </c:pt>
                <c:pt idx="33">
                  <c:v>2.259280836863193</c:v>
                </c:pt>
                <c:pt idx="34">
                  <c:v>2.38490878036852</c:v>
                </c:pt>
                <c:pt idx="35">
                  <c:v>2.136800735255696</c:v>
                </c:pt>
                <c:pt idx="36">
                  <c:v>2.0716605790513247</c:v>
                </c:pt>
                <c:pt idx="37">
                  <c:v>2.0763987310010186</c:v>
                </c:pt>
                <c:pt idx="38">
                  <c:v>1.7646731491808587</c:v>
                </c:pt>
                <c:pt idx="39">
                  <c:v>1.7374876294024135</c:v>
                </c:pt>
                <c:pt idx="40">
                  <c:v>1.6322617036420337</c:v>
                </c:pt>
                <c:pt idx="41">
                  <c:v>1.82684446564999</c:v>
                </c:pt>
                <c:pt idx="42">
                  <c:v>1.6323062474844596</c:v>
                </c:pt>
                <c:pt idx="43">
                  <c:v>1.9525443309996875</c:v>
                </c:pt>
                <c:pt idx="44">
                  <c:v>2.426895626789388</c:v>
                </c:pt>
                <c:pt idx="45">
                  <c:v>2.6183554204700097</c:v>
                </c:pt>
                <c:pt idx="46">
                  <c:v>2.587202622268386</c:v>
                </c:pt>
                <c:pt idx="47">
                  <c:v>2.574311749279469</c:v>
                </c:pt>
                <c:pt idx="48">
                  <c:v>2.5534451903254793</c:v>
                </c:pt>
                <c:pt idx="49">
                  <c:v>2.5311368731374815</c:v>
                </c:pt>
                <c:pt idx="50">
                  <c:v>2.6673002240175117</c:v>
                </c:pt>
                <c:pt idx="51">
                  <c:v>2.7343141929618726</c:v>
                </c:pt>
                <c:pt idx="52">
                  <c:v>1.9254013384028716</c:v>
                </c:pt>
                <c:pt idx="53">
                  <c:v>1.9254013384028716</c:v>
                </c:pt>
                <c:pt idx="54">
                  <c:v>2.409792185292478</c:v>
                </c:pt>
              </c:numCache>
            </c:numRef>
          </c:xVal>
          <c:yVal>
            <c:numRef>
              <c:f>Sheet1!$B$187:$B$241</c:f>
              <c:numCache>
                <c:formatCode>General</c:formatCode>
                <c:ptCount val="55"/>
                <c:pt idx="0">
                  <c:v>0.0016850799881532423</c:v>
                </c:pt>
                <c:pt idx="1">
                  <c:v>0.002262046194642296</c:v>
                </c:pt>
                <c:pt idx="2">
                  <c:v>0.0018686414890181193</c:v>
                </c:pt>
                <c:pt idx="3">
                  <c:v>0.0025224716355739638</c:v>
                </c:pt>
                <c:pt idx="4">
                  <c:v>0.0018636916852060757</c:v>
                </c:pt>
                <c:pt idx="5">
                  <c:v>0.0013799742660273815</c:v>
                </c:pt>
                <c:pt idx="6">
                  <c:v>0.0015354472073099102</c:v>
                </c:pt>
                <c:pt idx="7">
                  <c:v>0.001779163323651277</c:v>
                </c:pt>
                <c:pt idx="8">
                  <c:v>0.001985349903129839</c:v>
                </c:pt>
                <c:pt idx="9">
                  <c:v>0.0019753038011391818</c:v>
                </c:pt>
                <c:pt idx="10">
                  <c:v>0.0018764355980725412</c:v>
                </c:pt>
                <c:pt idx="11">
                  <c:v>0.001668140382115991</c:v>
                </c:pt>
                <c:pt idx="12">
                  <c:v>0.0020003606551842208</c:v>
                </c:pt>
                <c:pt idx="13">
                  <c:v>0.0026735779310359457</c:v>
                </c:pt>
                <c:pt idx="14">
                  <c:v>0.002611263997642957</c:v>
                </c:pt>
                <c:pt idx="15">
                  <c:v>0.0024898225283642955</c:v>
                </c:pt>
                <c:pt idx="16">
                  <c:v>0.0023232546897737263</c:v>
                </c:pt>
                <c:pt idx="17">
                  <c:v>0.003166562552622731</c:v>
                </c:pt>
                <c:pt idx="18">
                  <c:v>0.0020423786781462944</c:v>
                </c:pt>
                <c:pt idx="19">
                  <c:v>0.0019768312671563718</c:v>
                </c:pt>
                <c:pt idx="20">
                  <c:v>0.0022383739686647553</c:v>
                </c:pt>
                <c:pt idx="21">
                  <c:v>0.002718675423133611</c:v>
                </c:pt>
                <c:pt idx="22">
                  <c:v>0.0025883541145841154</c:v>
                </c:pt>
                <c:pt idx="23">
                  <c:v>0.0031715049485217324</c:v>
                </c:pt>
                <c:pt idx="24">
                  <c:v>0.0024369131664821503</c:v>
                </c:pt>
                <c:pt idx="25">
                  <c:v>0.002616676925551852</c:v>
                </c:pt>
                <c:pt idx="26">
                  <c:v>0.002470242675173482</c:v>
                </c:pt>
                <c:pt idx="27">
                  <c:v>0.0024791901684341026</c:v>
                </c:pt>
                <c:pt idx="28">
                  <c:v>0.0024291396858074714</c:v>
                </c:pt>
                <c:pt idx="29">
                  <c:v>0.002813981816230846</c:v>
                </c:pt>
                <c:pt idx="30">
                  <c:v>0.0028179815048844483</c:v>
                </c:pt>
                <c:pt idx="31">
                  <c:v>0.0024937980001377073</c:v>
                </c:pt>
                <c:pt idx="32">
                  <c:v>0.002044204292248377</c:v>
                </c:pt>
                <c:pt idx="33">
                  <c:v>0.00213233150949186</c:v>
                </c:pt>
                <c:pt idx="34">
                  <c:v>0.0019273590494020723</c:v>
                </c:pt>
                <c:pt idx="35">
                  <c:v>0.002332168003173469</c:v>
                </c:pt>
                <c:pt idx="36">
                  <c:v>0.002438449597023462</c:v>
                </c:pt>
                <c:pt idx="37">
                  <c:v>0.002430718907223809</c:v>
                </c:pt>
                <c:pt idx="38">
                  <c:v>0.0029393251742354893</c:v>
                </c:pt>
                <c:pt idx="39">
                  <c:v>0.0029836806154878667</c:v>
                </c:pt>
                <c:pt idx="40">
                  <c:v>0.003155365483253101</c:v>
                </c:pt>
                <c:pt idx="41">
                  <c:v>0.002837887489846759</c:v>
                </c:pt>
                <c:pt idx="42">
                  <c:v>0.0031552928062617475</c:v>
                </c:pt>
                <c:pt idx="43">
                  <c:v>0.0026327976832736695</c:v>
                </c:pt>
                <c:pt idx="44">
                  <c:v>0.0018588540101395889</c:v>
                </c:pt>
                <c:pt idx="45">
                  <c:v>0.0015464713998381147</c:v>
                </c:pt>
                <c:pt idx="46">
                  <c:v>0.001597299786484408</c:v>
                </c:pt>
                <c:pt idx="47">
                  <c:v>0.0016183323201351026</c:v>
                </c:pt>
                <c:pt idx="48">
                  <c:v>0.0016523778501586553</c:v>
                </c:pt>
                <c:pt idx="49">
                  <c:v>0.0016887757289020368</c:v>
                </c:pt>
                <c:pt idx="50">
                  <c:v>0.0014666138736236746</c:v>
                </c:pt>
                <c:pt idx="51">
                  <c:v>0.0013572749981184502</c:v>
                </c:pt>
                <c:pt idx="52">
                  <c:v>0.002677083737884858</c:v>
                </c:pt>
                <c:pt idx="53">
                  <c:v>0.002677083737884858</c:v>
                </c:pt>
                <c:pt idx="54">
                  <c:v>0.001886759700400885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76986432327094"/>
          <c:min val="4.126050853576771e-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34.3125</c:v>
                </c:pt>
                <c:pt idx="1">
                  <c:v>3740.2</c:v>
                </c:pt>
                <c:pt idx="2">
                  <c:v>3175.8333</c:v>
                </c:pt>
                <c:pt idx="3">
                  <c:v>3027.4</c:v>
                </c:pt>
                <c:pt idx="4">
                  <c:v>3982.3333</c:v>
                </c:pt>
                <c:pt idx="5">
                  <c:v>3848.6667</c:v>
                </c:pt>
                <c:pt idx="6">
                  <c:v>3216.6364</c:v>
                </c:pt>
                <c:pt idx="7">
                  <c:v>3208.875</c:v>
                </c:pt>
                <c:pt idx="8">
                  <c:v>3023.0</c:v>
                </c:pt>
                <c:pt idx="9">
                  <c:v>3233.3333</c:v>
                </c:pt>
                <c:pt idx="10">
                  <c:v>3528.3333</c:v>
                </c:pt>
                <c:pt idx="11">
                  <c:v>3129.7</c:v>
                </c:pt>
                <c:pt idx="12">
                  <c:v>3208.4545</c:v>
                </c:pt>
                <c:pt idx="13">
                  <c:v>3153.0</c:v>
                </c:pt>
                <c:pt idx="14">
                  <c:v>3951.0</c:v>
                </c:pt>
                <c:pt idx="15">
                  <c:v>3128.3333</c:v>
                </c:pt>
                <c:pt idx="16">
                  <c:v>4342.0</c:v>
                </c:pt>
                <c:pt idx="17">
                  <c:v>3291.5</c:v>
                </c:pt>
                <c:pt idx="18">
                  <c:v>4434.0</c:v>
                </c:pt>
                <c:pt idx="19">
                  <c:v>3808.0</c:v>
                </c:pt>
                <c:pt idx="20">
                  <c:v>3044.2</c:v>
                </c:pt>
                <c:pt idx="21">
                  <c:v>6720.0</c:v>
                </c:pt>
                <c:pt idx="22">
                  <c:v>3122.1429</c:v>
                </c:pt>
                <c:pt idx="23">
                  <c:v>3924.6</c:v>
                </c:pt>
                <c:pt idx="24">
                  <c:v>2808.3333</c:v>
                </c:pt>
                <c:pt idx="25">
                  <c:v>2765.0</c:v>
                </c:pt>
                <c:pt idx="26">
                  <c:v>3202.0</c:v>
                </c:pt>
                <c:pt idx="27">
                  <c:v>3106.4</c:v>
                </c:pt>
                <c:pt idx="28">
                  <c:v>3346.6</c:v>
                </c:pt>
                <c:pt idx="29">
                  <c:v>3119.6667</c:v>
                </c:pt>
                <c:pt idx="30">
                  <c:v>3099.8</c:v>
                </c:pt>
                <c:pt idx="31">
                  <c:v>3342.0</c:v>
                </c:pt>
                <c:pt idx="32">
                  <c:v>4329.0</c:v>
                </c:pt>
                <c:pt idx="33">
                  <c:v>2663.4615</c:v>
                </c:pt>
                <c:pt idx="34">
                  <c:v>3005.3571</c:v>
                </c:pt>
                <c:pt idx="35">
                  <c:v>2884.4444</c:v>
                </c:pt>
                <c:pt idx="36">
                  <c:v>2882.1111</c:v>
                </c:pt>
                <c:pt idx="37">
                  <c:v>3050.0</c:v>
                </c:pt>
                <c:pt idx="38">
                  <c:v>3066.2</c:v>
                </c:pt>
                <c:pt idx="39">
                  <c:v>3735.1667</c:v>
                </c:pt>
                <c:pt idx="40">
                  <c:v>4272.75</c:v>
                </c:pt>
                <c:pt idx="41">
                  <c:v>4003.25</c:v>
                </c:pt>
                <c:pt idx="42">
                  <c:v>3549.6667</c:v>
                </c:pt>
                <c:pt idx="43">
                  <c:v>3104.1429</c:v>
                </c:pt>
                <c:pt idx="44">
                  <c:v>3004.2222</c:v>
                </c:pt>
                <c:pt idx="45">
                  <c:v>3138.1429</c:v>
                </c:pt>
                <c:pt idx="46">
                  <c:v>2995.8667</c:v>
                </c:pt>
                <c:pt idx="47">
                  <c:v>2660.1667</c:v>
                </c:pt>
                <c:pt idx="48">
                  <c:v>3669.0</c:v>
                </c:pt>
                <c:pt idx="49">
                  <c:v>3025.0556</c:v>
                </c:pt>
                <c:pt idx="50">
                  <c:v>3099.3571</c:v>
                </c:pt>
                <c:pt idx="51">
                  <c:v>2739.4667</c:v>
                </c:pt>
                <c:pt idx="52">
                  <c:v>3202.5</c:v>
                </c:pt>
                <c:pt idx="53">
                  <c:v>3334.5</c:v>
                </c:pt>
                <c:pt idx="54">
                  <c:v>2909.6923</c:v>
                </c:pt>
                <c:pt idx="55">
                  <c:v>3116.0</c:v>
                </c:pt>
                <c:pt idx="56">
                  <c:v>2599.75</c:v>
                </c:pt>
                <c:pt idx="57">
                  <c:v>2696.8333</c:v>
                </c:pt>
                <c:pt idx="58">
                  <c:v>2451.5714</c:v>
                </c:pt>
                <c:pt idx="59">
                  <c:v>2641.6154</c:v>
                </c:pt>
                <c:pt idx="60">
                  <c:v>2559.1905</c:v>
                </c:pt>
                <c:pt idx="61">
                  <c:v>2616.8125</c:v>
                </c:pt>
                <c:pt idx="62">
                  <c:v>2355.3889</c:v>
                </c:pt>
                <c:pt idx="63">
                  <c:v>2616.8235</c:v>
                </c:pt>
                <c:pt idx="64">
                  <c:v>2307.1667</c:v>
                </c:pt>
                <c:pt idx="65">
                  <c:v>2335.0625</c:v>
                </c:pt>
                <c:pt idx="66">
                  <c:v>2205.0588</c:v>
                </c:pt>
                <c:pt idx="67">
                  <c:v>2366.9167</c:v>
                </c:pt>
                <c:pt idx="68">
                  <c:v>1907.25</c:v>
                </c:pt>
                <c:pt idx="69">
                  <c:v>1806.8462</c:v>
                </c:pt>
                <c:pt idx="70">
                  <c:v>2093.8182</c:v>
                </c:pt>
                <c:pt idx="71">
                  <c:v>1689.1818</c:v>
                </c:pt>
                <c:pt idx="72">
                  <c:v>2030.4375</c:v>
                </c:pt>
                <c:pt idx="73">
                  <c:v>1540.12</c:v>
                </c:pt>
                <c:pt idx="74">
                  <c:v>1899.0714</c:v>
                </c:pt>
                <c:pt idx="75">
                  <c:v>2853.48</c:v>
                </c:pt>
                <c:pt idx="76">
                  <c:v>2875.1212</c:v>
                </c:pt>
                <c:pt idx="77">
                  <c:v>3425.6333</c:v>
                </c:pt>
                <c:pt idx="78">
                  <c:v>2855.7568</c:v>
                </c:pt>
                <c:pt idx="79">
                  <c:v>3978.3</c:v>
                </c:pt>
                <c:pt idx="80">
                  <c:v>3440.1333</c:v>
                </c:pt>
                <c:pt idx="81">
                  <c:v>3386.2927</c:v>
                </c:pt>
                <c:pt idx="82">
                  <c:v>3334.303</c:v>
                </c:pt>
                <c:pt idx="83">
                  <c:v>3918.6087</c:v>
                </c:pt>
                <c:pt idx="84">
                  <c:v>3499.875</c:v>
                </c:pt>
                <c:pt idx="85">
                  <c:v>3327.3478</c:v>
                </c:pt>
                <c:pt idx="86">
                  <c:v>4500.5714</c:v>
                </c:pt>
                <c:pt idx="87">
                  <c:v>4381.2143</c:v>
                </c:pt>
                <c:pt idx="88">
                  <c:v>3936.9063</c:v>
                </c:pt>
                <c:pt idx="89">
                  <c:v>3929.9118</c:v>
                </c:pt>
                <c:pt idx="90">
                  <c:v>4465.6207</c:v>
                </c:pt>
                <c:pt idx="91">
                  <c:v>3604.8857</c:v>
                </c:pt>
                <c:pt idx="92">
                  <c:v>4148.6286</c:v>
                </c:pt>
                <c:pt idx="93">
                  <c:v>4459.8824</c:v>
                </c:pt>
                <c:pt idx="94">
                  <c:v>4274.8824</c:v>
                </c:pt>
                <c:pt idx="95">
                  <c:v>4202.5714</c:v>
                </c:pt>
                <c:pt idx="96">
                  <c:v>3518.4405</c:v>
                </c:pt>
                <c:pt idx="97">
                  <c:v>3508.6293</c:v>
                </c:pt>
                <c:pt idx="98">
                  <c:v>3336.811</c:v>
                </c:pt>
                <c:pt idx="99">
                  <c:v>3491.1985</c:v>
                </c:pt>
                <c:pt idx="100">
                  <c:v>3901.069</c:v>
                </c:pt>
                <c:pt idx="101">
                  <c:v>3699.9652</c:v>
                </c:pt>
                <c:pt idx="102">
                  <c:v>3851.6974</c:v>
                </c:pt>
                <c:pt idx="103">
                  <c:v>3939.1392</c:v>
                </c:pt>
                <c:pt idx="104">
                  <c:v>4226.3208</c:v>
                </c:pt>
              </c:numCache>
            </c:numRef>
          </c:xVal>
          <c:yVal>
            <c:numRef>
              <c:f>Sheet1!$B$2:$B$106</c:f>
              <c:numCache>
                <c:formatCode>General</c:formatCode>
                <c:ptCount val="105"/>
                <c:pt idx="0">
                  <c:v>0.0004068348250610252</c:v>
                </c:pt>
                <c:pt idx="1">
                  <c:v>0.00013251000450534016</c:v>
                </c:pt>
                <c:pt idx="2">
                  <c:v>0.00015396063739703882</c:v>
                </c:pt>
                <c:pt idx="3">
                  <c:v>0.00013456776832813006</c:v>
                </c:pt>
                <c:pt idx="4">
                  <c:v>9.577015163607342e-05</c:v>
                </c:pt>
                <c:pt idx="5">
                  <c:v>0.0001952044766893321</c:v>
                </c:pt>
                <c:pt idx="6">
                  <c:v>0.00035394813051032887</c:v>
                </c:pt>
                <c:pt idx="7">
                  <c:v>0.0002935995302407516</c:v>
                </c:pt>
                <c:pt idx="8">
                  <c:v>0.0002665448176071891</c:v>
                </c:pt>
                <c:pt idx="9">
                  <c:v>0.0002675704602211916</c:v>
                </c:pt>
                <c:pt idx="10">
                  <c:v>0.00017219113215669393</c:v>
                </c:pt>
                <c:pt idx="11">
                  <c:v>0.00028758771425284714</c:v>
                </c:pt>
                <c:pt idx="12">
                  <c:v>0.00029195530429705125</c:v>
                </c:pt>
                <c:pt idx="13">
                  <c:v>0.00028119112560807583</c:v>
                </c:pt>
                <c:pt idx="14">
                  <c:v>8.361437052314724e-05</c:v>
                </c:pt>
                <c:pt idx="15">
                  <c:v>0.00019857686579513486</c:v>
                </c:pt>
                <c:pt idx="16">
                  <c:v>7.464079119238663e-05</c:v>
                </c:pt>
                <c:pt idx="17">
                  <c:v>0.00016345210853220007</c:v>
                </c:pt>
                <c:pt idx="18">
                  <c:v>9.092148929399464e-05</c:v>
                </c:pt>
                <c:pt idx="19">
                  <c:v>0.00015876375952582556</c:v>
                </c:pt>
                <c:pt idx="20">
                  <c:v>0.00021842645581232798</c:v>
                </c:pt>
                <c:pt idx="21">
                  <c:v>5.157563566970963e-05</c:v>
                </c:pt>
                <c:pt idx="22">
                  <c:v>0.0003682272488164124</c:v>
                </c:pt>
                <c:pt idx="23">
                  <c:v>0.0002789089083505327</c:v>
                </c:pt>
                <c:pt idx="24">
                  <c:v>0.0004662970830526916</c:v>
                </c:pt>
                <c:pt idx="25">
                  <c:v>0.000583158385817588</c:v>
                </c:pt>
                <c:pt idx="26">
                  <c:v>0.0005226025607525476</c:v>
                </c:pt>
                <c:pt idx="27">
                  <c:v>0.0002508277315139962</c:v>
                </c:pt>
                <c:pt idx="28">
                  <c:v>0.0002559770644550248</c:v>
                </c:pt>
                <c:pt idx="29">
                  <c:v>0.00040578926011091576</c:v>
                </c:pt>
                <c:pt idx="30">
                  <c:v>0.00029064698017787597</c:v>
                </c:pt>
                <c:pt idx="31">
                  <c:v>0.00033163829316825116</c:v>
                </c:pt>
                <c:pt idx="32">
                  <c:v>0.00021867483052700635</c:v>
                </c:pt>
                <c:pt idx="33">
                  <c:v>0.0005688531046252134</c:v>
                </c:pt>
                <c:pt idx="34">
                  <c:v>0.0005597984725498821</c:v>
                </c:pt>
                <c:pt idx="35">
                  <c:v>0.0006072055053299149</c:v>
                </c:pt>
                <c:pt idx="36">
                  <c:v>0.0003740959348241749</c:v>
                </c:pt>
                <c:pt idx="37">
                  <c:v>0.0002884615384615385</c:v>
                </c:pt>
                <c:pt idx="38">
                  <c:v>0.0002411149153686647</c:v>
                </c:pt>
                <c:pt idx="39">
                  <c:v>0.0003058103975535168</c:v>
                </c:pt>
                <c:pt idx="40">
                  <c:v>0.00017058296729071602</c:v>
                </c:pt>
                <c:pt idx="41">
                  <c:v>0.00018400956849756188</c:v>
                </c:pt>
                <c:pt idx="42">
                  <c:v>0.00011764244539429826</c:v>
                </c:pt>
                <c:pt idx="43">
                  <c:v>0.00024577788701239423</c:v>
                </c:pt>
                <c:pt idx="44">
                  <c:v>0.0002135585981064471</c:v>
                </c:pt>
                <c:pt idx="45">
                  <c:v>0.00015428697377121447</c:v>
                </c:pt>
                <c:pt idx="46">
                  <c:v>0.00031837670331536275</c:v>
                </c:pt>
                <c:pt idx="47">
                  <c:v>0.00038505144715168886</c:v>
                </c:pt>
                <c:pt idx="48">
                  <c:v>0.00019302845561149806</c:v>
                </c:pt>
                <c:pt idx="49">
                  <c:v>0.00019773483758280146</c:v>
                </c:pt>
                <c:pt idx="50">
                  <c:v>0.00029062525948683884</c:v>
                </c:pt>
                <c:pt idx="51">
                  <c:v>0.00037329218823880747</c:v>
                </c:pt>
                <c:pt idx="52">
                  <c:v>0.0001283175431467739</c:v>
                </c:pt>
                <c:pt idx="53">
                  <c:v>0.00015959569091634525</c:v>
                </c:pt>
                <c:pt idx="54">
                  <c:v>0.0003744239631336406</c:v>
                </c:pt>
                <c:pt idx="55">
                  <c:v>0.00023897003913134391</c:v>
                </c:pt>
                <c:pt idx="56">
                  <c:v>0.00024144383412808595</c:v>
                </c:pt>
                <c:pt idx="57">
                  <c:v>0.00015713799334782496</c:v>
                </c:pt>
                <c:pt idx="58">
                  <c:v>0.0001700308484539338</c:v>
                </c:pt>
                <c:pt idx="59">
                  <c:v>0.00020895618349567622</c:v>
                </c:pt>
                <c:pt idx="60">
                  <c:v>0.0003703377127237457</c:v>
                </c:pt>
                <c:pt idx="61">
                  <c:v>0.0003837206513658057</c:v>
                </c:pt>
                <c:pt idx="62">
                  <c:v>0.0004231013327691982</c:v>
                </c:pt>
                <c:pt idx="63">
                  <c:v>0.00036491649851886834</c:v>
                </c:pt>
                <c:pt idx="64">
                  <c:v>0.0005016617545619866</c:v>
                </c:pt>
                <c:pt idx="65">
                  <c:v>0.00036552212551115986</c:v>
                </c:pt>
                <c:pt idx="66">
                  <c:v>0.00040122728345527497</c:v>
                </c:pt>
                <c:pt idx="67">
                  <c:v>0.0002922552362396493</c:v>
                </c:pt>
                <c:pt idx="68">
                  <c:v>0.00046797309154723605</c:v>
                </c:pt>
                <c:pt idx="69">
                  <c:v>0.0004883546205860256</c:v>
                </c:pt>
                <c:pt idx="70">
                  <c:v>0.00038771985478129074</c:v>
                </c:pt>
                <c:pt idx="71">
                  <c:v>0.00041471874528728697</c:v>
                </c:pt>
                <c:pt idx="72">
                  <c:v>0.0005811841627315655</c:v>
                </c:pt>
                <c:pt idx="73">
                  <c:v>0.0009446438692612885</c:v>
                </c:pt>
                <c:pt idx="74">
                  <c:v>0.0010105020029593274</c:v>
                </c:pt>
                <c:pt idx="75">
                  <c:v>0.0010670081092616305</c:v>
                </c:pt>
                <c:pt idx="76">
                  <c:v>0.0015070557610631593</c:v>
                </c:pt>
                <c:pt idx="77">
                  <c:v>0.001357527489931671</c:v>
                </c:pt>
                <c:pt idx="78">
                  <c:v>0.0019386953104532354</c:v>
                </c:pt>
                <c:pt idx="79">
                  <c:v>0.0013696128560993425</c:v>
                </c:pt>
                <c:pt idx="80">
                  <c:v>0.0013775369639085315</c:v>
                </c:pt>
                <c:pt idx="81">
                  <c:v>0.0015751661608206231</c:v>
                </c:pt>
                <c:pt idx="82">
                  <c:v>0.0016255356878971479</c:v>
                </c:pt>
                <c:pt idx="83">
                  <c:v>0.0012959936890742096</c:v>
                </c:pt>
                <c:pt idx="84">
                  <c:v>0.0014231499051233396</c:v>
                </c:pt>
                <c:pt idx="85">
                  <c:v>0.001213208144319021</c:v>
                </c:pt>
                <c:pt idx="86">
                  <c:v>0.0011109347722583717</c:v>
                </c:pt>
                <c:pt idx="87">
                  <c:v>0.0010732492621411322</c:v>
                </c:pt>
                <c:pt idx="88">
                  <c:v>0.0015150080484802575</c:v>
                </c:pt>
                <c:pt idx="89">
                  <c:v>0.0017422495516269537</c:v>
                </c:pt>
                <c:pt idx="90">
                  <c:v>0.0015322026734294922</c:v>
                </c:pt>
                <c:pt idx="91">
                  <c:v>0.0017557941205979732</c:v>
                </c:pt>
                <c:pt idx="92">
                  <c:v>0.0014452657224263946</c:v>
                </c:pt>
                <c:pt idx="93">
                  <c:v>0.0013598368195816503</c:v>
                </c:pt>
                <c:pt idx="94">
                  <c:v>0.0015503169030139984</c:v>
                </c:pt>
                <c:pt idx="95">
                  <c:v>0.0016272041975226646</c:v>
                </c:pt>
                <c:pt idx="96">
                  <c:v>0.0020251211456399623</c:v>
                </c:pt>
                <c:pt idx="97">
                  <c:v>0.0024804345036992686</c:v>
                </c:pt>
                <c:pt idx="98">
                  <c:v>0.002372989031932585</c:v>
                </c:pt>
                <c:pt idx="99">
                  <c:v>0.002219103873641615</c:v>
                </c:pt>
                <c:pt idx="100">
                  <c:v>0.001695866763350565</c:v>
                </c:pt>
                <c:pt idx="101">
                  <c:v>0.002240143369175627</c:v>
                </c:pt>
                <c:pt idx="102">
                  <c:v>0.0018302227573750753</c:v>
                </c:pt>
                <c:pt idx="103">
                  <c:v>0.001802624073017684</c:v>
                </c:pt>
                <c:pt idx="104">
                  <c:v>0.00137791181364392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numCache>
            </c:numRef>
          </c:xVal>
          <c:yVal>
            <c:numRef>
              <c:f>Sheet1!$B$109:$B$160</c:f>
              <c:numCache>
                <c:formatCode>General</c:formatCode>
                <c:ptCount val="52"/>
                <c:pt idx="0">
                  <c:v>0.0013676342285835555</c:v>
                </c:pt>
                <c:pt idx="1">
                  <c:v>0.0016121312879417617</c:v>
                </c:pt>
                <c:pt idx="2">
                  <c:v>0.0015792364734962922</c:v>
                </c:pt>
                <c:pt idx="3">
                  <c:v>0.001684766523233841</c:v>
                </c:pt>
                <c:pt idx="4">
                  <c:v>0.0016007156140392174</c:v>
                </c:pt>
                <c:pt idx="5">
                  <c:v>0.0014035922445581064</c:v>
                </c:pt>
                <c:pt idx="6">
                  <c:v>0.0016303474247399482</c:v>
                </c:pt>
                <c:pt idx="7">
                  <c:v>0.0018851597750169974</c:v>
                </c:pt>
                <c:pt idx="8">
                  <c:v>0.0022411474675033617</c:v>
                </c:pt>
                <c:pt idx="9">
                  <c:v>0.0022998645285277714</c:v>
                </c:pt>
                <c:pt idx="10">
                  <c:v>0.0021934501142421934</c:v>
                </c:pt>
                <c:pt idx="11">
                  <c:v>0.002252559726962457</c:v>
                </c:pt>
                <c:pt idx="12">
                  <c:v>0.002291786030522423</c:v>
                </c:pt>
                <c:pt idx="13">
                  <c:v>0.003356786078736774</c:v>
                </c:pt>
                <c:pt idx="14">
                  <c:v>0.00329821079361373</c:v>
                </c:pt>
                <c:pt idx="15">
                  <c:v>0.003212325349301397</c:v>
                </c:pt>
                <c:pt idx="16">
                  <c:v>0.0029529268716345317</c:v>
                </c:pt>
                <c:pt idx="17">
                  <c:v>0.0038974886936059125</c:v>
                </c:pt>
                <c:pt idx="18">
                  <c:v>0.0021214531954388757</c:v>
                </c:pt>
                <c:pt idx="19">
                  <c:v>0.0018730404332423958</c:v>
                </c:pt>
                <c:pt idx="20">
                  <c:v>0.0021718895439031957</c:v>
                </c:pt>
                <c:pt idx="21">
                  <c:v>0.0028803072327714956</c:v>
                </c:pt>
                <c:pt idx="22">
                  <c:v>0.0024777268174389793</c:v>
                </c:pt>
                <c:pt idx="23">
                  <c:v>0.002520824199912319</c:v>
                </c:pt>
                <c:pt idx="24">
                  <c:v>0.002333782802613837</c:v>
                </c:pt>
                <c:pt idx="25">
                  <c:v>0.0026646364674533687</c:v>
                </c:pt>
                <c:pt idx="26">
                  <c:v>0.0026880330834841044</c:v>
                </c:pt>
                <c:pt idx="27">
                  <c:v>0.002563163676309044</c:v>
                </c:pt>
                <c:pt idx="28">
                  <c:v>0.00214574217435207</c:v>
                </c:pt>
                <c:pt idx="29">
                  <c:v>0.002537187204616686</c:v>
                </c:pt>
                <c:pt idx="30">
                  <c:v>0.0024335939522601357</c:v>
                </c:pt>
                <c:pt idx="31">
                  <c:v>0.002530917457578372</c:v>
                </c:pt>
                <c:pt idx="32">
                  <c:v>0.002152852529601722</c:v>
                </c:pt>
                <c:pt idx="33">
                  <c:v>0.0021762321314273522</c:v>
                </c:pt>
                <c:pt idx="34">
                  <c:v>0.002031075454453133</c:v>
                </c:pt>
                <c:pt idx="35">
                  <c:v>0.002415172031516015</c:v>
                </c:pt>
                <c:pt idx="36">
                  <c:v>0.0027545047629978195</c:v>
                </c:pt>
                <c:pt idx="37">
                  <c:v>0.002826041448607913</c:v>
                </c:pt>
                <c:pt idx="38">
                  <c:v>0.003170028818443804</c:v>
                </c:pt>
                <c:pt idx="39">
                  <c:v>0.003128631447215518</c:v>
                </c:pt>
                <c:pt idx="40">
                  <c:v>0.0029284496700030596</c:v>
                </c:pt>
                <c:pt idx="41">
                  <c:v>0.002398081534772182</c:v>
                </c:pt>
                <c:pt idx="42">
                  <c:v>0.0027427317608337905</c:v>
                </c:pt>
                <c:pt idx="43">
                  <c:v>0.002001932900731741</c:v>
                </c:pt>
                <c:pt idx="44">
                  <c:v>0.0015277737741777406</c:v>
                </c:pt>
                <c:pt idx="45">
                  <c:v>0.0012751176186079232</c:v>
                </c:pt>
                <c:pt idx="46">
                  <c:v>0.0013695022386094285</c:v>
                </c:pt>
                <c:pt idx="47">
                  <c:v>0.0014572578852471163</c:v>
                </c:pt>
                <c:pt idx="48">
                  <c:v>0.0016001995053928802</c:v>
                </c:pt>
                <c:pt idx="49">
                  <c:v>0.0014821852731591448</c:v>
                </c:pt>
                <c:pt idx="50">
                  <c:v>0.0012532610363701468</c:v>
                </c:pt>
                <c:pt idx="51">
                  <c:v>0.001362751460090850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57.1894696808668</c:v>
                </c:pt>
              </c:numCache>
            </c:numRef>
          </c:xVal>
          <c:yVal>
            <c:numRef>
              <c:f>Sheet1!$B$163:$B$164</c:f>
              <c:numCache>
                <c:formatCode>General</c:formatCode>
                <c:ptCount val="2"/>
                <c:pt idx="0">
                  <c:v>0.002677083737884858</c:v>
                </c:pt>
                <c:pt idx="1">
                  <c:v>0.00267708373788485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57.1894696808668</c:v>
                </c:pt>
                <c:pt idx="1">
                  <c:v>3557.1894696808668</c:v>
                </c:pt>
              </c:numCache>
            </c:numRef>
          </c:xVal>
          <c:yVal>
            <c:numRef>
              <c:f>Sheet1!$B$167:$B$168</c:f>
              <c:numCache>
                <c:formatCode>General</c:formatCode>
                <c:ptCount val="2"/>
                <c:pt idx="0">
                  <c:v>0.00267708373788485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57.1894696808668</c:v>
                </c:pt>
              </c:numCache>
            </c:numRef>
          </c:xVal>
          <c:yVal>
            <c:numRef>
              <c:f>Sheet1!$B$171:$B$172</c:f>
              <c:numCache>
                <c:formatCode>General</c:formatCode>
                <c:ptCount val="2"/>
                <c:pt idx="0">
                  <c:v>0.002677083737884858</c:v>
                </c:pt>
                <c:pt idx="1">
                  <c:v>0.00267708373788485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57.1894696808668</c:v>
                </c:pt>
                <c:pt idx="1">
                  <c:v>3557.1894696808668</c:v>
                </c:pt>
              </c:numCache>
            </c:numRef>
          </c:xVal>
          <c:yVal>
            <c:numRef>
              <c:f>Sheet1!$B$175:$B$176</c:f>
              <c:numCache>
                <c:formatCode>General</c:formatCode>
                <c:ptCount val="2"/>
                <c:pt idx="0">
                  <c:v>0.00267708373788485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47.9432228082915</c:v>
                </c:pt>
              </c:numCache>
            </c:numRef>
          </c:xVal>
          <c:yVal>
            <c:numRef>
              <c:f>Sheet1!$B$179:$B$180</c:f>
              <c:numCache>
                <c:formatCode>General</c:formatCode>
                <c:ptCount val="2"/>
                <c:pt idx="0">
                  <c:v>0.001886759700400886</c:v>
                </c:pt>
                <c:pt idx="1">
                  <c:v>0.00188675970040088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47.9432228082915</c:v>
                </c:pt>
                <c:pt idx="1">
                  <c:v>4247.9432228082915</c:v>
                </c:pt>
              </c:numCache>
            </c:numRef>
          </c:xVal>
          <c:yVal>
            <c:numRef>
              <c:f>Sheet1!$B$183:$B$184</c:f>
              <c:numCache>
                <c:formatCode>General</c:formatCode>
                <c:ptCount val="2"/>
                <c:pt idx="0">
                  <c:v>0.0018867597004008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pt idx="52">
                  <c:v>3557.1894696808668</c:v>
                </c:pt>
                <c:pt idx="53">
                  <c:v>3557.1894696808668</c:v>
                </c:pt>
                <c:pt idx="54">
                  <c:v>4247.9432228082915</c:v>
                </c:pt>
              </c:numCache>
            </c:numRef>
          </c:xVal>
          <c:yVal>
            <c:numRef>
              <c:f>Sheet1!$B$187:$B$241</c:f>
              <c:numCache>
                <c:formatCode>General</c:formatCode>
                <c:ptCount val="55"/>
                <c:pt idx="0">
                  <c:v>0.001706195663630174</c:v>
                </c:pt>
                <c:pt idx="1">
                  <c:v>0.002275579649187927</c:v>
                </c:pt>
                <c:pt idx="2">
                  <c:v>0.001831095816494925</c:v>
                </c:pt>
                <c:pt idx="3">
                  <c:v>0.0025209852851610457</c:v>
                </c:pt>
                <c:pt idx="4">
                  <c:v>0.001567629128997116</c:v>
                </c:pt>
                <c:pt idx="5">
                  <c:v>0.0012257460184081585</c:v>
                </c:pt>
                <c:pt idx="6">
                  <c:v>0.0017001343145105745</c:v>
                </c:pt>
                <c:pt idx="7">
                  <c:v>0.0018453179106039446</c:v>
                </c:pt>
                <c:pt idx="8">
                  <c:v>0.001976290281987588</c:v>
                </c:pt>
                <c:pt idx="9">
                  <c:v>0.0020581757596742443</c:v>
                </c:pt>
                <c:pt idx="10">
                  <c:v>0.0019408828133380615</c:v>
                </c:pt>
                <c:pt idx="11">
                  <c:v>0.002071827038698272</c:v>
                </c:pt>
                <c:pt idx="12">
                  <c:v>0.002346056834205779</c:v>
                </c:pt>
                <c:pt idx="13">
                  <c:v>0.002841773980919373</c:v>
                </c:pt>
                <c:pt idx="14">
                  <c:v>0.0027935782635497095</c:v>
                </c:pt>
                <c:pt idx="15">
                  <c:v>0.002579748118108941</c:v>
                </c:pt>
                <c:pt idx="16">
                  <c:v>0.002313542456403946</c:v>
                </c:pt>
                <c:pt idx="17">
                  <c:v>0.0034184165513252013</c:v>
                </c:pt>
                <c:pt idx="18">
                  <c:v>0.0020662066439457926</c:v>
                </c:pt>
                <c:pt idx="19">
                  <c:v>0.0017076605154107251</c:v>
                </c:pt>
                <c:pt idx="20">
                  <c:v>0.0018760005085880311</c:v>
                </c:pt>
                <c:pt idx="21">
                  <c:v>0.002543287004216339</c:v>
                </c:pt>
                <c:pt idx="22">
                  <c:v>0.0023084225116778772</c:v>
                </c:pt>
                <c:pt idx="23">
                  <c:v>0.0031490871386780374</c:v>
                </c:pt>
                <c:pt idx="24">
                  <c:v>0.0021049217280076386</c:v>
                </c:pt>
                <c:pt idx="25">
                  <c:v>0.0026178515410273965</c:v>
                </c:pt>
                <c:pt idx="26">
                  <c:v>0.0023779739671201273</c:v>
                </c:pt>
                <c:pt idx="27">
                  <c:v>0.0025007544727079518</c:v>
                </c:pt>
                <c:pt idx="28">
                  <c:v>0.0023837482496836537</c:v>
                </c:pt>
                <c:pt idx="29">
                  <c:v>0.0026471489198825974</c:v>
                </c:pt>
                <c:pt idx="30">
                  <c:v>0.002664982629339962</c:v>
                </c:pt>
                <c:pt idx="31">
                  <c:v>0.0023058167162157165</c:v>
                </c:pt>
                <c:pt idx="32">
                  <c:v>0.0016457972721254594</c:v>
                </c:pt>
                <c:pt idx="33">
                  <c:v>0.0019710924208307945</c:v>
                </c:pt>
                <c:pt idx="34">
                  <c:v>0.00181934256341697</c:v>
                </c:pt>
                <c:pt idx="35">
                  <c:v>0.0021525120770440297</c:v>
                </c:pt>
                <c:pt idx="36">
                  <c:v>0.001970861074247941</c:v>
                </c:pt>
                <c:pt idx="37">
                  <c:v>0.0020092456141565414</c:v>
                </c:pt>
                <c:pt idx="38">
                  <c:v>0.0026237752492275232</c:v>
                </c:pt>
                <c:pt idx="39">
                  <c:v>0.0029880836467795304</c:v>
                </c:pt>
                <c:pt idx="40">
                  <c:v>0.003061033906173436</c:v>
                </c:pt>
                <c:pt idx="41">
                  <c:v>0.0027062000779485883</c:v>
                </c:pt>
                <c:pt idx="42">
                  <c:v>0.0029634517573452084</c:v>
                </c:pt>
                <c:pt idx="43">
                  <c:v>0.0025501029184763543</c:v>
                </c:pt>
                <c:pt idx="44">
                  <c:v>0.002023625371762679</c:v>
                </c:pt>
                <c:pt idx="45">
                  <c:v>0.0018301580733727342</c:v>
                </c:pt>
                <c:pt idx="46">
                  <c:v>0.0017432582557552487</c:v>
                </c:pt>
                <c:pt idx="47">
                  <c:v>0.0018371667764517938</c:v>
                </c:pt>
                <c:pt idx="48">
                  <c:v>0.002219002709645282</c:v>
                </c:pt>
                <c:pt idx="49">
                  <c:v>0.0023172754657801876</c:v>
                </c:pt>
                <c:pt idx="50">
                  <c:v>0.002156363276835745</c:v>
                </c:pt>
                <c:pt idx="51">
                  <c:v>0.0019010238108116417</c:v>
                </c:pt>
                <c:pt idx="52">
                  <c:v>0.0026770837378848576</c:v>
                </c:pt>
                <c:pt idx="53">
                  <c:v>0.0026770837378848576</c:v>
                </c:pt>
                <c:pt idx="54">
                  <c:v>0.001886759700400885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64.0"/>
          <c:min val="123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76986432327094"/>
          <c:min val="4.126050853576771e-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749104841367857</c:v>
                </c:pt>
                <c:pt idx="1">
                  <c:v>0.6957575235362742</c:v>
                </c:pt>
                <c:pt idx="2">
                  <c:v>0.5806748435802742</c:v>
                </c:pt>
                <c:pt idx="3">
                  <c:v>0.5556109094644375</c:v>
                </c:pt>
                <c:pt idx="4">
                  <c:v>0.7026871936025456</c:v>
                </c:pt>
                <c:pt idx="5">
                  <c:v>0.6734247163549818</c:v>
                </c:pt>
                <c:pt idx="6">
                  <c:v>0.5858633000374069</c:v>
                </c:pt>
                <c:pt idx="7">
                  <c:v>0.5628067023576135</c:v>
                </c:pt>
                <c:pt idx="8">
                  <c:v>0.5272544137717528</c:v>
                </c:pt>
                <c:pt idx="9">
                  <c:v>0.5965846439037271</c:v>
                </c:pt>
                <c:pt idx="10">
                  <c:v>0.6617079206082517</c:v>
                </c:pt>
                <c:pt idx="11">
                  <c:v>0.5979862592513568</c:v>
                </c:pt>
                <c:pt idx="12">
                  <c:v>0.6349979705901423</c:v>
                </c:pt>
                <c:pt idx="13">
                  <c:v>0.6070302886551275</c:v>
                </c:pt>
                <c:pt idx="14">
                  <c:v>0.7896356631842355</c:v>
                </c:pt>
                <c:pt idx="15">
                  <c:v>0.6106191955878953</c:v>
                </c:pt>
                <c:pt idx="16">
                  <c:v>0.779057904402777</c:v>
                </c:pt>
                <c:pt idx="17">
                  <c:v>0.5545520042830319</c:v>
                </c:pt>
                <c:pt idx="18">
                  <c:v>0.6923989971551521</c:v>
                </c:pt>
                <c:pt idx="19">
                  <c:v>0.6056254525292862</c:v>
                </c:pt>
                <c:pt idx="20">
                  <c:v>0.5025582479817726</c:v>
                </c:pt>
                <c:pt idx="21">
                  <c:v>1.04173592518265</c:v>
                </c:pt>
                <c:pt idx="22">
                  <c:v>0.4504958199595201</c:v>
                </c:pt>
                <c:pt idx="23">
                  <c:v>0.5672442259131142</c:v>
                </c:pt>
                <c:pt idx="24">
                  <c:v>0.41505690600212786</c:v>
                </c:pt>
                <c:pt idx="25">
                  <c:v>0.3946222394051386</c:v>
                </c:pt>
                <c:pt idx="26">
                  <c:v>0.48095466105598955</c:v>
                </c:pt>
                <c:pt idx="27">
                  <c:v>0.44948022554693157</c:v>
                </c:pt>
                <c:pt idx="28">
                  <c:v>0.4691137003152086</c:v>
                </c:pt>
                <c:pt idx="29">
                  <c:v>0.45446164032292075</c:v>
                </c:pt>
                <c:pt idx="30">
                  <c:v>0.4353946799821011</c:v>
                </c:pt>
                <c:pt idx="31">
                  <c:v>0.43832270923200745</c:v>
                </c:pt>
                <c:pt idx="32">
                  <c:v>0.573108699259178</c:v>
                </c:pt>
                <c:pt idx="33">
                  <c:v>0.3685069071381823</c:v>
                </c:pt>
                <c:pt idx="34">
                  <c:v>0.4474293992288008</c:v>
                </c:pt>
                <c:pt idx="35">
                  <c:v>0.4390831912380779</c:v>
                </c:pt>
                <c:pt idx="36">
                  <c:v>0.39880092297407294</c:v>
                </c:pt>
                <c:pt idx="37">
                  <c:v>0.3909201026215256</c:v>
                </c:pt>
                <c:pt idx="38">
                  <c:v>0.4068274946604388</c:v>
                </c:pt>
                <c:pt idx="39">
                  <c:v>0.49031784279019075</c:v>
                </c:pt>
                <c:pt idx="40">
                  <c:v>0.5895497794847191</c:v>
                </c:pt>
                <c:pt idx="41">
                  <c:v>0.5374652805752697</c:v>
                </c:pt>
                <c:pt idx="42">
                  <c:v>0.47663478052076347</c:v>
                </c:pt>
                <c:pt idx="43">
                  <c:v>0.4440459611043944</c:v>
                </c:pt>
                <c:pt idx="44">
                  <c:v>0.4983389239983022</c:v>
                </c:pt>
                <c:pt idx="45">
                  <c:v>0.5096998712619772</c:v>
                </c:pt>
                <c:pt idx="46">
                  <c:v>0.5099930051585466</c:v>
                </c:pt>
                <c:pt idx="47">
                  <c:v>0.4316831731047988</c:v>
                </c:pt>
                <c:pt idx="48">
                  <c:v>0.6765224063612504</c:v>
                </c:pt>
                <c:pt idx="49">
                  <c:v>0.615212637475889</c:v>
                </c:pt>
                <c:pt idx="50">
                  <c:v>0.5346880896105064</c:v>
                </c:pt>
                <c:pt idx="51">
                  <c:v>0.4543160089424806</c:v>
                </c:pt>
                <c:pt idx="52">
                  <c:v>0.565997620070585</c:v>
                </c:pt>
                <c:pt idx="53">
                  <c:v>0.5489458437144515</c:v>
                </c:pt>
                <c:pt idx="54">
                  <c:v>0.48695990979009074</c:v>
                </c:pt>
                <c:pt idx="55">
                  <c:v>0.4831894947780877</c:v>
                </c:pt>
                <c:pt idx="56">
                  <c:v>0.4071989038404429</c:v>
                </c:pt>
                <c:pt idx="57">
                  <c:v>0.4293734323597284</c:v>
                </c:pt>
                <c:pt idx="58">
                  <c:v>0.4073158813045478</c:v>
                </c:pt>
                <c:pt idx="59">
                  <c:v>0.5056967122324519</c:v>
                </c:pt>
                <c:pt idx="60">
                  <c:v>0.47971464220787724</c:v>
                </c:pt>
                <c:pt idx="61">
                  <c:v>0.46902708209802374</c:v>
                </c:pt>
                <c:pt idx="62">
                  <c:v>0.43664930127533</c:v>
                </c:pt>
                <c:pt idx="63">
                  <c:v>0.48690288041922986</c:v>
                </c:pt>
                <c:pt idx="64">
                  <c:v>0.44177942174313756</c:v>
                </c:pt>
                <c:pt idx="65">
                  <c:v>0.44101607535170845</c:v>
                </c:pt>
                <c:pt idx="66">
                  <c:v>0.4019808797834312</c:v>
                </c:pt>
                <c:pt idx="67">
                  <c:v>0.43072318091983836</c:v>
                </c:pt>
                <c:pt idx="68">
                  <c:v>0.3285810410574092</c:v>
                </c:pt>
                <c:pt idx="69">
                  <c:v>0.2858948245973769</c:v>
                </c:pt>
                <c:pt idx="70">
                  <c:v>0.3234269738810043</c:v>
                </c:pt>
                <c:pt idx="71">
                  <c:v>0.2622308074810356</c:v>
                </c:pt>
                <c:pt idx="72">
                  <c:v>0.3303595341645634</c:v>
                </c:pt>
                <c:pt idx="73">
                  <c:v>0.24538476384186067</c:v>
                </c:pt>
                <c:pt idx="74">
                  <c:v>0.29575029808297787</c:v>
                </c:pt>
                <c:pt idx="75">
                  <c:v>0.43507788871253217</c:v>
                </c:pt>
                <c:pt idx="76">
                  <c:v>0.42045348771793073</c:v>
                </c:pt>
                <c:pt idx="77">
                  <c:v>0.4920914479055389</c:v>
                </c:pt>
                <c:pt idx="78">
                  <c:v>0.4132823650262374</c:v>
                </c:pt>
                <c:pt idx="79">
                  <c:v>0.5614815525513241</c:v>
                </c:pt>
                <c:pt idx="80">
                  <c:v>0.4610311623815078</c:v>
                </c:pt>
                <c:pt idx="81">
                  <c:v>0.4838575580176655</c:v>
                </c:pt>
                <c:pt idx="82">
                  <c:v>0.4602534070737501</c:v>
                </c:pt>
                <c:pt idx="83">
                  <c:v>0.5058388657265679</c:v>
                </c:pt>
                <c:pt idx="84">
                  <c:v>0.4434823630902043</c:v>
                </c:pt>
                <c:pt idx="85">
                  <c:v>0.42271199035895624</c:v>
                </c:pt>
                <c:pt idx="86">
                  <c:v>0.5927771477649403</c:v>
                </c:pt>
                <c:pt idx="87">
                  <c:v>0.6398344199447181</c:v>
                </c:pt>
                <c:pt idx="88">
                  <c:v>0.5156192340164973</c:v>
                </c:pt>
                <c:pt idx="89">
                  <c:v>0.5005087601060144</c:v>
                </c:pt>
                <c:pt idx="90">
                  <c:v>0.5742802006025928</c:v>
                </c:pt>
                <c:pt idx="91">
                  <c:v>0.48006340660118896</c:v>
                </c:pt>
                <c:pt idx="92">
                  <c:v>0.5857047877062082</c:v>
                </c:pt>
                <c:pt idx="93">
                  <c:v>0.6172877173916985</c:v>
                </c:pt>
                <c:pt idx="94">
                  <c:v>0.5773763695811771</c:v>
                </c:pt>
                <c:pt idx="95">
                  <c:v>0.6031860398382505</c:v>
                </c:pt>
                <c:pt idx="96">
                  <c:v>0.5321799301049969</c:v>
                </c:pt>
                <c:pt idx="97">
                  <c:v>0.561040311575451</c:v>
                </c:pt>
                <c:pt idx="98">
                  <c:v>0.5647489338935017</c:v>
                </c:pt>
                <c:pt idx="99">
                  <c:v>0.6297366681540666</c:v>
                </c:pt>
                <c:pt idx="100">
                  <c:v>0.7651430827561845</c:v>
                </c:pt>
                <c:pt idx="101">
                  <c:v>0.6673163623687458</c:v>
                </c:pt>
                <c:pt idx="102">
                  <c:v>0.6573813528858321</c:v>
                </c:pt>
                <c:pt idx="103">
                  <c:v>0.6634495804473918</c:v>
                </c:pt>
                <c:pt idx="104">
                  <c:v>0.73976559647432</c:v>
                </c:pt>
              </c:numCache>
            </c:numRef>
          </c:xVal>
          <c:yVal>
            <c:numRef>
              <c:f>Sheet1!$B$2:$B$106</c:f>
              <c:numCache>
                <c:formatCode>General</c:formatCode>
                <c:ptCount val="105"/>
                <c:pt idx="0">
                  <c:v>0.0004068348250610252</c:v>
                </c:pt>
                <c:pt idx="1">
                  <c:v>0.00013251000450534016</c:v>
                </c:pt>
                <c:pt idx="2">
                  <c:v>0.00015396063739703882</c:v>
                </c:pt>
                <c:pt idx="3">
                  <c:v>0.00013456776832813006</c:v>
                </c:pt>
                <c:pt idx="4">
                  <c:v>9.577015163607342e-05</c:v>
                </c:pt>
                <c:pt idx="5">
                  <c:v>0.0001952044766893321</c:v>
                </c:pt>
                <c:pt idx="6">
                  <c:v>0.00035394813051032887</c:v>
                </c:pt>
                <c:pt idx="7">
                  <c:v>0.0002935995302407516</c:v>
                </c:pt>
                <c:pt idx="8">
                  <c:v>0.0002665448176071891</c:v>
                </c:pt>
                <c:pt idx="9">
                  <c:v>0.0002675704602211916</c:v>
                </c:pt>
                <c:pt idx="10">
                  <c:v>0.00017219113215669393</c:v>
                </c:pt>
                <c:pt idx="11">
                  <c:v>0.00028758771425284714</c:v>
                </c:pt>
                <c:pt idx="12">
                  <c:v>0.00029195530429705125</c:v>
                </c:pt>
                <c:pt idx="13">
                  <c:v>0.00028119112560807583</c:v>
                </c:pt>
                <c:pt idx="14">
                  <c:v>8.361437052314724e-05</c:v>
                </c:pt>
                <c:pt idx="15">
                  <c:v>0.00019857686579513486</c:v>
                </c:pt>
                <c:pt idx="16">
                  <c:v>7.464079119238663e-05</c:v>
                </c:pt>
                <c:pt idx="17">
                  <c:v>0.00016345210853220007</c:v>
                </c:pt>
                <c:pt idx="18">
                  <c:v>9.092148929399464e-05</c:v>
                </c:pt>
                <c:pt idx="19">
                  <c:v>0.00015876375952582556</c:v>
                </c:pt>
                <c:pt idx="20">
                  <c:v>0.00021842645581232798</c:v>
                </c:pt>
                <c:pt idx="21">
                  <c:v>5.157563566970963e-05</c:v>
                </c:pt>
                <c:pt idx="22">
                  <c:v>0.0003682272488164124</c:v>
                </c:pt>
                <c:pt idx="23">
                  <c:v>0.0002789089083505327</c:v>
                </c:pt>
                <c:pt idx="24">
                  <c:v>0.0004662970830526916</c:v>
                </c:pt>
                <c:pt idx="25">
                  <c:v>0.000583158385817588</c:v>
                </c:pt>
                <c:pt idx="26">
                  <c:v>0.0005226025607525476</c:v>
                </c:pt>
                <c:pt idx="27">
                  <c:v>0.0002508277315139962</c:v>
                </c:pt>
                <c:pt idx="28">
                  <c:v>0.0002559770644550248</c:v>
                </c:pt>
                <c:pt idx="29">
                  <c:v>0.00040578926011091576</c:v>
                </c:pt>
                <c:pt idx="30">
                  <c:v>0.00029064698017787597</c:v>
                </c:pt>
                <c:pt idx="31">
                  <c:v>0.00033163829316825116</c:v>
                </c:pt>
                <c:pt idx="32">
                  <c:v>0.00021867483052700635</c:v>
                </c:pt>
                <c:pt idx="33">
                  <c:v>0.0005688531046252134</c:v>
                </c:pt>
                <c:pt idx="34">
                  <c:v>0.0005597984725498821</c:v>
                </c:pt>
                <c:pt idx="35">
                  <c:v>0.0006072055053299149</c:v>
                </c:pt>
                <c:pt idx="36">
                  <c:v>0.0003740959348241749</c:v>
                </c:pt>
                <c:pt idx="37">
                  <c:v>0.0002884615384615385</c:v>
                </c:pt>
                <c:pt idx="38">
                  <c:v>0.0002411149153686647</c:v>
                </c:pt>
                <c:pt idx="39">
                  <c:v>0.0003058103975535168</c:v>
                </c:pt>
                <c:pt idx="40">
                  <c:v>0.00017058296729071602</c:v>
                </c:pt>
                <c:pt idx="41">
                  <c:v>0.00018400956849756188</c:v>
                </c:pt>
                <c:pt idx="42">
                  <c:v>0.00011764244539429826</c:v>
                </c:pt>
                <c:pt idx="43">
                  <c:v>0.00024577788701239423</c:v>
                </c:pt>
                <c:pt idx="44">
                  <c:v>0.0002135585981064471</c:v>
                </c:pt>
                <c:pt idx="45">
                  <c:v>0.00015428697377121447</c:v>
                </c:pt>
                <c:pt idx="46">
                  <c:v>0.00031837670331536275</c:v>
                </c:pt>
                <c:pt idx="47">
                  <c:v>0.00038505144715168886</c:v>
                </c:pt>
                <c:pt idx="48">
                  <c:v>0.00019302845561149806</c:v>
                </c:pt>
                <c:pt idx="49">
                  <c:v>0.00019773483758280146</c:v>
                </c:pt>
                <c:pt idx="50">
                  <c:v>0.00029062525948683884</c:v>
                </c:pt>
                <c:pt idx="51">
                  <c:v>0.00037329218823880747</c:v>
                </c:pt>
                <c:pt idx="52">
                  <c:v>0.0001283175431467739</c:v>
                </c:pt>
                <c:pt idx="53">
                  <c:v>0.00015959569091634525</c:v>
                </c:pt>
                <c:pt idx="54">
                  <c:v>0.0003744239631336406</c:v>
                </c:pt>
                <c:pt idx="55">
                  <c:v>0.00023897003913134391</c:v>
                </c:pt>
                <c:pt idx="56">
                  <c:v>0.00024144383412808595</c:v>
                </c:pt>
                <c:pt idx="57">
                  <c:v>0.00015713799334782496</c:v>
                </c:pt>
                <c:pt idx="58">
                  <c:v>0.0001700308484539338</c:v>
                </c:pt>
                <c:pt idx="59">
                  <c:v>0.00020895618349567622</c:v>
                </c:pt>
                <c:pt idx="60">
                  <c:v>0.0003703377127237457</c:v>
                </c:pt>
                <c:pt idx="61">
                  <c:v>0.0003837206513658057</c:v>
                </c:pt>
                <c:pt idx="62">
                  <c:v>0.0004231013327691982</c:v>
                </c:pt>
                <c:pt idx="63">
                  <c:v>0.00036491649851886834</c:v>
                </c:pt>
                <c:pt idx="64">
                  <c:v>0.0005016617545619866</c:v>
                </c:pt>
                <c:pt idx="65">
                  <c:v>0.00036552212551115986</c:v>
                </c:pt>
                <c:pt idx="66">
                  <c:v>0.00040122728345527497</c:v>
                </c:pt>
                <c:pt idx="67">
                  <c:v>0.0002922552362396493</c:v>
                </c:pt>
                <c:pt idx="68">
                  <c:v>0.00046797309154723605</c:v>
                </c:pt>
                <c:pt idx="69">
                  <c:v>0.0004883546205860256</c:v>
                </c:pt>
                <c:pt idx="70">
                  <c:v>0.00038771985478129074</c:v>
                </c:pt>
                <c:pt idx="71">
                  <c:v>0.00041471874528728697</c:v>
                </c:pt>
                <c:pt idx="72">
                  <c:v>0.0005811841627315655</c:v>
                </c:pt>
                <c:pt idx="73">
                  <c:v>0.0009446438692612885</c:v>
                </c:pt>
                <c:pt idx="74">
                  <c:v>0.0010105020029593274</c:v>
                </c:pt>
                <c:pt idx="75">
                  <c:v>0.0010670081092616305</c:v>
                </c:pt>
                <c:pt idx="76">
                  <c:v>0.0015070557610631593</c:v>
                </c:pt>
                <c:pt idx="77">
                  <c:v>0.001357527489931671</c:v>
                </c:pt>
                <c:pt idx="78">
                  <c:v>0.0019386953104532354</c:v>
                </c:pt>
                <c:pt idx="79">
                  <c:v>0.0013696128560993425</c:v>
                </c:pt>
                <c:pt idx="80">
                  <c:v>0.0013775369639085315</c:v>
                </c:pt>
                <c:pt idx="81">
                  <c:v>0.0015751661608206231</c:v>
                </c:pt>
                <c:pt idx="82">
                  <c:v>0.0016255356878971479</c:v>
                </c:pt>
                <c:pt idx="83">
                  <c:v>0.0012959936890742096</c:v>
                </c:pt>
                <c:pt idx="84">
                  <c:v>0.0014231499051233396</c:v>
                </c:pt>
                <c:pt idx="85">
                  <c:v>0.001213208144319021</c:v>
                </c:pt>
                <c:pt idx="86">
                  <c:v>0.0011109347722583717</c:v>
                </c:pt>
                <c:pt idx="87">
                  <c:v>0.0010732492621411322</c:v>
                </c:pt>
                <c:pt idx="88">
                  <c:v>0.0015150080484802575</c:v>
                </c:pt>
                <c:pt idx="89">
                  <c:v>0.0017422495516269537</c:v>
                </c:pt>
                <c:pt idx="90">
                  <c:v>0.0015322026734294922</c:v>
                </c:pt>
                <c:pt idx="91">
                  <c:v>0.0017557941205979732</c:v>
                </c:pt>
                <c:pt idx="92">
                  <c:v>0.0014452657224263946</c:v>
                </c:pt>
                <c:pt idx="93">
                  <c:v>0.0013598368195816503</c:v>
                </c:pt>
                <c:pt idx="94">
                  <c:v>0.0015503169030139984</c:v>
                </c:pt>
                <c:pt idx="95">
                  <c:v>0.0016272041975226646</c:v>
                </c:pt>
                <c:pt idx="96">
                  <c:v>0.0020251211456399623</c:v>
                </c:pt>
                <c:pt idx="97">
                  <c:v>0.0024804345036992686</c:v>
                </c:pt>
                <c:pt idx="98">
                  <c:v>0.002372989031932585</c:v>
                </c:pt>
                <c:pt idx="99">
                  <c:v>0.002219103873641615</c:v>
                </c:pt>
                <c:pt idx="100">
                  <c:v>0.001695866763350565</c:v>
                </c:pt>
                <c:pt idx="101">
                  <c:v>0.002240143369175627</c:v>
                </c:pt>
                <c:pt idx="102">
                  <c:v>0.0018302227573750753</c:v>
                </c:pt>
                <c:pt idx="103">
                  <c:v>0.001802624073017684</c:v>
                </c:pt>
                <c:pt idx="104">
                  <c:v>0.00137791181364392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570901701869049</c:v>
                </c:pt>
                <c:pt idx="1">
                  <c:v>0.6878278211701246</c:v>
                </c:pt>
                <c:pt idx="2">
                  <c:v>0.7321423964525585</c:v>
                </c:pt>
                <c:pt idx="3">
                  <c:v>0.6311194615900372</c:v>
                </c:pt>
                <c:pt idx="4">
                  <c:v>0.7537313749686164</c:v>
                </c:pt>
                <c:pt idx="5">
                  <c:v>0.803258136519184</c:v>
                </c:pt>
                <c:pt idx="6">
                  <c:v>0.733405950292105</c:v>
                </c:pt>
                <c:pt idx="7">
                  <c:v>0.6751452196149667</c:v>
                </c:pt>
                <c:pt idx="8">
                  <c:v>0.6706781379642341</c:v>
                </c:pt>
                <c:pt idx="9">
                  <c:v>0.6826295170583118</c:v>
                </c:pt>
                <c:pt idx="10">
                  <c:v>0.7070705865231366</c:v>
                </c:pt>
                <c:pt idx="11">
                  <c:v>0.7073224760220113</c:v>
                </c:pt>
                <c:pt idx="12">
                  <c:v>0.640090916104257</c:v>
                </c:pt>
                <c:pt idx="13">
                  <c:v>0.556846885313277</c:v>
                </c:pt>
                <c:pt idx="14">
                  <c:v>0.5542192333709371</c:v>
                </c:pt>
                <c:pt idx="15">
                  <c:v>0.5593285831090409</c:v>
                </c:pt>
                <c:pt idx="16">
                  <c:v>0.573660284891846</c:v>
                </c:pt>
                <c:pt idx="17">
                  <c:v>0.4206542713737571</c:v>
                </c:pt>
                <c:pt idx="18">
                  <c:v>0.5740862683605752</c:v>
                </c:pt>
                <c:pt idx="19">
                  <c:v>0.6365397312946541</c:v>
                </c:pt>
                <c:pt idx="20">
                  <c:v>0.5732789483120787</c:v>
                </c:pt>
                <c:pt idx="21">
                  <c:v>0.48193186526552306</c:v>
                </c:pt>
                <c:pt idx="22">
                  <c:v>0.5426885694153993</c:v>
                </c:pt>
                <c:pt idx="23">
                  <c:v>0.40587991306471755</c:v>
                </c:pt>
                <c:pt idx="24">
                  <c:v>0.5164542427306748</c:v>
                </c:pt>
                <c:pt idx="25">
                  <c:v>0.4648040508085898</c:v>
                </c:pt>
                <c:pt idx="26">
                  <c:v>0.48197466087698615</c:v>
                </c:pt>
                <c:pt idx="27">
                  <c:v>0.47635137762871893</c:v>
                </c:pt>
                <c:pt idx="28">
                  <c:v>0.500586076186557</c:v>
                </c:pt>
                <c:pt idx="29">
                  <c:v>0.45214909159285127</c:v>
                </c:pt>
                <c:pt idx="30">
                  <c:v>0.43745680704323203</c:v>
                </c:pt>
                <c:pt idx="31">
                  <c:v>0.48371869051077726</c:v>
                </c:pt>
                <c:pt idx="32">
                  <c:v>0.5403735250753909</c:v>
                </c:pt>
                <c:pt idx="33">
                  <c:v>0.5328300683439222</c:v>
                </c:pt>
                <c:pt idx="34">
                  <c:v>0.5988717529912254</c:v>
                </c:pt>
                <c:pt idx="35">
                  <c:v>0.5362376059875177</c:v>
                </c:pt>
                <c:pt idx="36">
                  <c:v>0.49659324439400937</c:v>
                </c:pt>
                <c:pt idx="37">
                  <c:v>0.5272807292453757</c:v>
                </c:pt>
                <c:pt idx="38">
                  <c:v>0.43399694247260673</c:v>
                </c:pt>
                <c:pt idx="39">
                  <c:v>0.42721277801499746</c:v>
                </c:pt>
                <c:pt idx="40">
                  <c:v>0.4111992646840807</c:v>
                </c:pt>
                <c:pt idx="41">
                  <c:v>0.4686551262993973</c:v>
                </c:pt>
                <c:pt idx="42">
                  <c:v>0.4315372805394643</c:v>
                </c:pt>
                <c:pt idx="43">
                  <c:v>0.4957682264345494</c:v>
                </c:pt>
                <c:pt idx="44">
                  <c:v>0.5909511256264609</c:v>
                </c:pt>
                <c:pt idx="45">
                  <c:v>0.644107508383308</c:v>
                </c:pt>
                <c:pt idx="46">
                  <c:v>0.6212747882738747</c:v>
                </c:pt>
                <c:pt idx="47">
                  <c:v>0.6111341914727624</c:v>
                </c:pt>
                <c:pt idx="48">
                  <c:v>0.5886042806300649</c:v>
                </c:pt>
                <c:pt idx="49">
                  <c:v>0.6235936647608807</c:v>
                </c:pt>
                <c:pt idx="50">
                  <c:v>0.7184439940963163</c:v>
                </c:pt>
                <c:pt idx="51">
                  <c:v>0.6740791331810876</c:v>
                </c:pt>
              </c:numCache>
            </c:numRef>
          </c:xVal>
          <c:yVal>
            <c:numRef>
              <c:f>Sheet1!$B$109:$B$160</c:f>
              <c:numCache>
                <c:formatCode>General</c:formatCode>
                <c:ptCount val="52"/>
                <c:pt idx="0">
                  <c:v>0.0013676342285835555</c:v>
                </c:pt>
                <c:pt idx="1">
                  <c:v>0.0016121312879417617</c:v>
                </c:pt>
                <c:pt idx="2">
                  <c:v>0.0015792364734962922</c:v>
                </c:pt>
                <c:pt idx="3">
                  <c:v>0.001684766523233841</c:v>
                </c:pt>
                <c:pt idx="4">
                  <c:v>0.0016007156140392174</c:v>
                </c:pt>
                <c:pt idx="5">
                  <c:v>0.0014035922445581064</c:v>
                </c:pt>
                <c:pt idx="6">
                  <c:v>0.0016303474247399482</c:v>
                </c:pt>
                <c:pt idx="7">
                  <c:v>0.0018851597750169974</c:v>
                </c:pt>
                <c:pt idx="8">
                  <c:v>0.0022411474675033617</c:v>
                </c:pt>
                <c:pt idx="9">
                  <c:v>0.0022998645285277714</c:v>
                </c:pt>
                <c:pt idx="10">
                  <c:v>0.0021934501142421934</c:v>
                </c:pt>
                <c:pt idx="11">
                  <c:v>0.002252559726962457</c:v>
                </c:pt>
                <c:pt idx="12">
                  <c:v>0.002291786030522423</c:v>
                </c:pt>
                <c:pt idx="13">
                  <c:v>0.003356786078736774</c:v>
                </c:pt>
                <c:pt idx="14">
                  <c:v>0.00329821079361373</c:v>
                </c:pt>
                <c:pt idx="15">
                  <c:v>0.003212325349301397</c:v>
                </c:pt>
                <c:pt idx="16">
                  <c:v>0.0029529268716345317</c:v>
                </c:pt>
                <c:pt idx="17">
                  <c:v>0.0038974886936059125</c:v>
                </c:pt>
                <c:pt idx="18">
                  <c:v>0.0021214531954388757</c:v>
                </c:pt>
                <c:pt idx="19">
                  <c:v>0.0018730404332423958</c:v>
                </c:pt>
                <c:pt idx="20">
                  <c:v>0.0021718895439031957</c:v>
                </c:pt>
                <c:pt idx="21">
                  <c:v>0.0028803072327714956</c:v>
                </c:pt>
                <c:pt idx="22">
                  <c:v>0.0024777268174389793</c:v>
                </c:pt>
                <c:pt idx="23">
                  <c:v>0.002520824199912319</c:v>
                </c:pt>
                <c:pt idx="24">
                  <c:v>0.002333782802613837</c:v>
                </c:pt>
                <c:pt idx="25">
                  <c:v>0.0026646364674533687</c:v>
                </c:pt>
                <c:pt idx="26">
                  <c:v>0.0026880330834841044</c:v>
                </c:pt>
                <c:pt idx="27">
                  <c:v>0.002563163676309044</c:v>
                </c:pt>
                <c:pt idx="28">
                  <c:v>0.00214574217435207</c:v>
                </c:pt>
                <c:pt idx="29">
                  <c:v>0.002537187204616686</c:v>
                </c:pt>
                <c:pt idx="30">
                  <c:v>0.0024335939522601357</c:v>
                </c:pt>
                <c:pt idx="31">
                  <c:v>0.002530917457578372</c:v>
                </c:pt>
                <c:pt idx="32">
                  <c:v>0.002152852529601722</c:v>
                </c:pt>
                <c:pt idx="33">
                  <c:v>0.0021762321314273522</c:v>
                </c:pt>
                <c:pt idx="34">
                  <c:v>0.002031075454453133</c:v>
                </c:pt>
                <c:pt idx="35">
                  <c:v>0.002415172031516015</c:v>
                </c:pt>
                <c:pt idx="36">
                  <c:v>0.0027545047629978195</c:v>
                </c:pt>
                <c:pt idx="37">
                  <c:v>0.002826041448607913</c:v>
                </c:pt>
                <c:pt idx="38">
                  <c:v>0.003170028818443804</c:v>
                </c:pt>
                <c:pt idx="39">
                  <c:v>0.003128631447215518</c:v>
                </c:pt>
                <c:pt idx="40">
                  <c:v>0.0029284496700030596</c:v>
                </c:pt>
                <c:pt idx="41">
                  <c:v>0.002398081534772182</c:v>
                </c:pt>
                <c:pt idx="42">
                  <c:v>0.0027427317608337905</c:v>
                </c:pt>
                <c:pt idx="43">
                  <c:v>0.002001932900731741</c:v>
                </c:pt>
                <c:pt idx="44">
                  <c:v>0.0015277737741777406</c:v>
                </c:pt>
                <c:pt idx="45">
                  <c:v>0.0012751176186079232</c:v>
                </c:pt>
                <c:pt idx="46">
                  <c:v>0.0013695022386094285</c:v>
                </c:pt>
                <c:pt idx="47">
                  <c:v>0.0014572578852471163</c:v>
                </c:pt>
                <c:pt idx="48">
                  <c:v>0.0016001995053928802</c:v>
                </c:pt>
                <c:pt idx="49">
                  <c:v>0.0014821852731591448</c:v>
                </c:pt>
                <c:pt idx="50">
                  <c:v>0.0012532610363701468</c:v>
                </c:pt>
                <c:pt idx="51">
                  <c:v>0.001362751460090850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7251476584533225</c:v>
                </c:pt>
              </c:numCache>
            </c:numRef>
          </c:xVal>
          <c:yVal>
            <c:numRef>
              <c:f>Sheet1!$B$163:$B$164</c:f>
              <c:numCache>
                <c:formatCode>General</c:formatCode>
                <c:ptCount val="2"/>
                <c:pt idx="0">
                  <c:v>0.002677083737884858</c:v>
                </c:pt>
                <c:pt idx="1">
                  <c:v>0.00267708373788485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7251476584533225</c:v>
                </c:pt>
                <c:pt idx="1">
                  <c:v>0.47251476584533225</c:v>
                </c:pt>
              </c:numCache>
            </c:numRef>
          </c:xVal>
          <c:yVal>
            <c:numRef>
              <c:f>Sheet1!$B$167:$B$168</c:f>
              <c:numCache>
                <c:formatCode>General</c:formatCode>
                <c:ptCount val="2"/>
                <c:pt idx="0">
                  <c:v>0.00267708373788485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7251476584533225</c:v>
                </c:pt>
              </c:numCache>
            </c:numRef>
          </c:xVal>
          <c:yVal>
            <c:numRef>
              <c:f>Sheet1!$B$171:$B$172</c:f>
              <c:numCache>
                <c:formatCode>General</c:formatCode>
                <c:ptCount val="2"/>
                <c:pt idx="0">
                  <c:v>0.002677083737884858</c:v>
                </c:pt>
                <c:pt idx="1">
                  <c:v>0.00267708373788485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7251476584533225</c:v>
                </c:pt>
                <c:pt idx="1">
                  <c:v>0.47251476584533225</c:v>
                </c:pt>
              </c:numCache>
            </c:numRef>
          </c:xVal>
          <c:yVal>
            <c:numRef>
              <c:f>Sheet1!$B$175:$B$176</c:f>
              <c:numCache>
                <c:formatCode>General</c:formatCode>
                <c:ptCount val="2"/>
                <c:pt idx="0">
                  <c:v>0.00267708373788485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582354716836897</c:v>
                </c:pt>
              </c:numCache>
            </c:numRef>
          </c:xVal>
          <c:yVal>
            <c:numRef>
              <c:f>Sheet1!$B$179:$B$180</c:f>
              <c:numCache>
                <c:formatCode>General</c:formatCode>
                <c:ptCount val="2"/>
                <c:pt idx="0">
                  <c:v>0.001886759700400886</c:v>
                </c:pt>
                <c:pt idx="1">
                  <c:v>0.00188675970040088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582354716836897</c:v>
                </c:pt>
                <c:pt idx="1">
                  <c:v>0.6582354716836897</c:v>
                </c:pt>
              </c:numCache>
            </c:numRef>
          </c:xVal>
          <c:yVal>
            <c:numRef>
              <c:f>Sheet1!$B$183:$B$184</c:f>
              <c:numCache>
                <c:formatCode>General</c:formatCode>
                <c:ptCount val="2"/>
                <c:pt idx="0">
                  <c:v>0.0018867597004008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570901701869049</c:v>
                </c:pt>
                <c:pt idx="1">
                  <c:v>0.6878278211701246</c:v>
                </c:pt>
                <c:pt idx="2">
                  <c:v>0.7321423964525585</c:v>
                </c:pt>
                <c:pt idx="3">
                  <c:v>0.6311194615900372</c:v>
                </c:pt>
                <c:pt idx="4">
                  <c:v>0.7537313749686164</c:v>
                </c:pt>
                <c:pt idx="5">
                  <c:v>0.803258136519184</c:v>
                </c:pt>
                <c:pt idx="6">
                  <c:v>0.733405950292105</c:v>
                </c:pt>
                <c:pt idx="7">
                  <c:v>0.6751452196149667</c:v>
                </c:pt>
                <c:pt idx="8">
                  <c:v>0.6706781379642341</c:v>
                </c:pt>
                <c:pt idx="9">
                  <c:v>0.6826295170583118</c:v>
                </c:pt>
                <c:pt idx="10">
                  <c:v>0.7070705865231366</c:v>
                </c:pt>
                <c:pt idx="11">
                  <c:v>0.7073224760220113</c:v>
                </c:pt>
                <c:pt idx="12">
                  <c:v>0.640090916104257</c:v>
                </c:pt>
                <c:pt idx="13">
                  <c:v>0.556846885313277</c:v>
                </c:pt>
                <c:pt idx="14">
                  <c:v>0.5542192333709371</c:v>
                </c:pt>
                <c:pt idx="15">
                  <c:v>0.5593285831090409</c:v>
                </c:pt>
                <c:pt idx="16">
                  <c:v>0.573660284891846</c:v>
                </c:pt>
                <c:pt idx="17">
                  <c:v>0.4206542713737571</c:v>
                </c:pt>
                <c:pt idx="18">
                  <c:v>0.5740862683605752</c:v>
                </c:pt>
                <c:pt idx="19">
                  <c:v>0.6365397312946541</c:v>
                </c:pt>
                <c:pt idx="20">
                  <c:v>0.5732789483120787</c:v>
                </c:pt>
                <c:pt idx="21">
                  <c:v>0.48193186526552306</c:v>
                </c:pt>
                <c:pt idx="22">
                  <c:v>0.5426885694153993</c:v>
                </c:pt>
                <c:pt idx="23">
                  <c:v>0.40587991306471755</c:v>
                </c:pt>
                <c:pt idx="24">
                  <c:v>0.5164542427306748</c:v>
                </c:pt>
                <c:pt idx="25">
                  <c:v>0.4648040508085898</c:v>
                </c:pt>
                <c:pt idx="26">
                  <c:v>0.48197466087698615</c:v>
                </c:pt>
                <c:pt idx="27">
                  <c:v>0.47635137762871893</c:v>
                </c:pt>
                <c:pt idx="28">
                  <c:v>0.500586076186557</c:v>
                </c:pt>
                <c:pt idx="29">
                  <c:v>0.45214909159285127</c:v>
                </c:pt>
                <c:pt idx="30">
                  <c:v>0.43745680704323203</c:v>
                </c:pt>
                <c:pt idx="31">
                  <c:v>0.48371869051077726</c:v>
                </c:pt>
                <c:pt idx="32">
                  <c:v>0.5403735250753909</c:v>
                </c:pt>
                <c:pt idx="33">
                  <c:v>0.5328300683439222</c:v>
                </c:pt>
                <c:pt idx="34">
                  <c:v>0.5988717529912254</c:v>
                </c:pt>
                <c:pt idx="35">
                  <c:v>0.5362376059875177</c:v>
                </c:pt>
                <c:pt idx="36">
                  <c:v>0.49659324439400937</c:v>
                </c:pt>
                <c:pt idx="37">
                  <c:v>0.5272807292453757</c:v>
                </c:pt>
                <c:pt idx="38">
                  <c:v>0.43399694247260673</c:v>
                </c:pt>
                <c:pt idx="39">
                  <c:v>0.42721277801499746</c:v>
                </c:pt>
                <c:pt idx="40">
                  <c:v>0.4111992646840807</c:v>
                </c:pt>
                <c:pt idx="41">
                  <c:v>0.4686551262993973</c:v>
                </c:pt>
                <c:pt idx="42">
                  <c:v>0.4315372805394643</c:v>
                </c:pt>
                <c:pt idx="43">
                  <c:v>0.4957682264345494</c:v>
                </c:pt>
                <c:pt idx="44">
                  <c:v>0.5909511256264609</c:v>
                </c:pt>
                <c:pt idx="45">
                  <c:v>0.644107508383308</c:v>
                </c:pt>
                <c:pt idx="46">
                  <c:v>0.6212747882738747</c:v>
                </c:pt>
                <c:pt idx="47">
                  <c:v>0.6111341914727624</c:v>
                </c:pt>
                <c:pt idx="48">
                  <c:v>0.5886042806300649</c:v>
                </c:pt>
                <c:pt idx="49">
                  <c:v>0.6235936647608807</c:v>
                </c:pt>
                <c:pt idx="50">
                  <c:v>0.7184439940963163</c:v>
                </c:pt>
                <c:pt idx="51">
                  <c:v>0.6740791331810876</c:v>
                </c:pt>
                <c:pt idx="52">
                  <c:v>0.47251476584533225</c:v>
                </c:pt>
                <c:pt idx="53">
                  <c:v>0.47251476584533225</c:v>
                </c:pt>
                <c:pt idx="54">
                  <c:v>0.6582354716836897</c:v>
                </c:pt>
              </c:numCache>
            </c:numRef>
          </c:xVal>
          <c:yVal>
            <c:numRef>
              <c:f>Sheet1!$B$187:$B$241</c:f>
              <c:numCache>
                <c:formatCode>General</c:formatCode>
                <c:ptCount val="55"/>
                <c:pt idx="0">
                  <c:v>0.0014660890805437755</c:v>
                </c:pt>
                <c:pt idx="1">
                  <c:v>0.001760831118452078</c:v>
                </c:pt>
                <c:pt idx="2">
                  <c:v>0.0015722529311223204</c:v>
                </c:pt>
                <c:pt idx="3">
                  <c:v>0.0020021503590834113</c:v>
                </c:pt>
                <c:pt idx="4">
                  <c:v>0.0014803822450351382</c:v>
                </c:pt>
                <c:pt idx="5">
                  <c:v>0.0012696238916492858</c:v>
                </c:pt>
                <c:pt idx="6">
                  <c:v>0.0015668759486930275</c:v>
                </c:pt>
                <c:pt idx="7">
                  <c:v>0.001814801217378995</c:v>
                </c:pt>
                <c:pt idx="8">
                  <c:v>0.0018338106325653135</c:v>
                </c:pt>
                <c:pt idx="9">
                  <c:v>0.0017829522097712828</c:v>
                </c:pt>
                <c:pt idx="10">
                  <c:v>0.0016789446107657166</c:v>
                </c:pt>
                <c:pt idx="11">
                  <c:v>0.0016778727091441297</c:v>
                </c:pt>
                <c:pt idx="12">
                  <c:v>0.001963972838048395</c:v>
                </c:pt>
                <c:pt idx="13">
                  <c:v>0.0023182131378264264</c:v>
                </c:pt>
                <c:pt idx="14">
                  <c:v>0.0023293949631527856</c:v>
                </c:pt>
                <c:pt idx="15">
                  <c:v>0.002307652412177073</c:v>
                </c:pt>
                <c:pt idx="16">
                  <c:v>0.0022466646598105653</c:v>
                </c:pt>
                <c:pt idx="17">
                  <c:v>0.002897773160702168</c:v>
                </c:pt>
                <c:pt idx="18">
                  <c:v>0.0022448519110737576</c:v>
                </c:pt>
                <c:pt idx="19">
                  <c:v>0.0019790847056449985</c:v>
                </c:pt>
                <c:pt idx="20">
                  <c:v>0.0022482874162178357</c:v>
                </c:pt>
                <c:pt idx="21">
                  <c:v>0.002637009799970629</c:v>
                </c:pt>
                <c:pt idx="22">
                  <c:v>0.0023784630562933696</c:v>
                </c:pt>
                <c:pt idx="23">
                  <c:v>0.002960644613065685</c:v>
                </c:pt>
                <c:pt idx="24">
                  <c:v>0.0024901017607262</c:v>
                </c:pt>
                <c:pt idx="25">
                  <c:v>0.0027098962528503707</c:v>
                </c:pt>
                <c:pt idx="26">
                  <c:v>0.0026368276856485588</c:v>
                </c:pt>
                <c:pt idx="27">
                  <c:v>0.002660757251824958</c:v>
                </c:pt>
                <c:pt idx="28">
                  <c:v>0.002557627852628577</c:v>
                </c:pt>
                <c:pt idx="29">
                  <c:v>0.0027637487213537067</c:v>
                </c:pt>
                <c:pt idx="30">
                  <c:v>0.002826270913441565</c:v>
                </c:pt>
                <c:pt idx="31">
                  <c:v>0.002629406065450383</c:v>
                </c:pt>
                <c:pt idx="32">
                  <c:v>0.002388314597517547</c:v>
                </c:pt>
                <c:pt idx="33">
                  <c:v>0.002420415354154714</c:v>
                </c:pt>
                <c:pt idx="34">
                  <c:v>0.002139378672665212</c:v>
                </c:pt>
                <c:pt idx="35">
                  <c:v>0.0024059147690088183</c:v>
                </c:pt>
                <c:pt idx="36">
                  <c:v>0.0025746191241673958</c:v>
                </c:pt>
                <c:pt idx="37">
                  <c:v>0.002444030255153142</c:v>
                </c:pt>
                <c:pt idx="38">
                  <c:v>0.002840994172887845</c:v>
                </c:pt>
                <c:pt idx="39">
                  <c:v>0.002869863803879661</c:v>
                </c:pt>
                <c:pt idx="40">
                  <c:v>0.0029380084108736096</c:v>
                </c:pt>
                <c:pt idx="41">
                  <c:v>0.002693508217295522</c:v>
                </c:pt>
                <c:pt idx="42">
                  <c:v>0.0028514611261608886</c:v>
                </c:pt>
                <c:pt idx="43">
                  <c:v>0.002578129941778033</c:v>
                </c:pt>
                <c:pt idx="44">
                  <c:v>0.002173084457758313</c:v>
                </c:pt>
                <c:pt idx="45">
                  <c:v>0.0019468804550931557</c:v>
                </c:pt>
                <c:pt idx="46">
                  <c:v>0.0020440438137082927</c:v>
                </c:pt>
                <c:pt idx="47">
                  <c:v>0.0020871965541104723</c:v>
                </c:pt>
                <c:pt idx="48">
                  <c:v>0.0021830713248904847</c:v>
                </c:pt>
                <c:pt idx="49">
                  <c:v>0.002034175964997701</c:v>
                </c:pt>
                <c:pt idx="50">
                  <c:v>0.0016305457133320104</c:v>
                </c:pt>
                <c:pt idx="51">
                  <c:v>0.0018193378883491315</c:v>
                </c:pt>
                <c:pt idx="52">
                  <c:v>0.002677083737884858</c:v>
                </c:pt>
                <c:pt idx="53">
                  <c:v>0.002677083737884858</c:v>
                </c:pt>
                <c:pt idx="54">
                  <c:v>0.001886759700400885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76986432327094"/>
          <c:min val="4.126050853576771e-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34.3125</c:v>
                </c:pt>
                <c:pt idx="1">
                  <c:v>3740.2</c:v>
                </c:pt>
                <c:pt idx="2">
                  <c:v>3175.8333</c:v>
                </c:pt>
                <c:pt idx="3">
                  <c:v>3027.4</c:v>
                </c:pt>
                <c:pt idx="4">
                  <c:v>3982.3333</c:v>
                </c:pt>
                <c:pt idx="5">
                  <c:v>3848.6667</c:v>
                </c:pt>
                <c:pt idx="6">
                  <c:v>3216.6364</c:v>
                </c:pt>
                <c:pt idx="7">
                  <c:v>3208.875</c:v>
                </c:pt>
                <c:pt idx="8">
                  <c:v>3023.0</c:v>
                </c:pt>
                <c:pt idx="9">
                  <c:v>3233.3333</c:v>
                </c:pt>
                <c:pt idx="10">
                  <c:v>3528.3333</c:v>
                </c:pt>
                <c:pt idx="11">
                  <c:v>3129.7</c:v>
                </c:pt>
                <c:pt idx="12">
                  <c:v>3208.4545</c:v>
                </c:pt>
                <c:pt idx="13">
                  <c:v>3153.0</c:v>
                </c:pt>
                <c:pt idx="14">
                  <c:v>3951.0</c:v>
                </c:pt>
                <c:pt idx="15">
                  <c:v>3128.3333</c:v>
                </c:pt>
                <c:pt idx="16">
                  <c:v>4342.0</c:v>
                </c:pt>
                <c:pt idx="17">
                  <c:v>3291.5</c:v>
                </c:pt>
                <c:pt idx="18">
                  <c:v>4434.0</c:v>
                </c:pt>
                <c:pt idx="19">
                  <c:v>3808.0</c:v>
                </c:pt>
                <c:pt idx="20">
                  <c:v>3044.2</c:v>
                </c:pt>
                <c:pt idx="21">
                  <c:v>6720.0</c:v>
                </c:pt>
                <c:pt idx="22">
                  <c:v>3122.1429</c:v>
                </c:pt>
                <c:pt idx="23">
                  <c:v>3924.6</c:v>
                </c:pt>
                <c:pt idx="24">
                  <c:v>2808.3333</c:v>
                </c:pt>
                <c:pt idx="25">
                  <c:v>2765.0</c:v>
                </c:pt>
                <c:pt idx="26">
                  <c:v>3202.0</c:v>
                </c:pt>
                <c:pt idx="27">
                  <c:v>3106.4</c:v>
                </c:pt>
                <c:pt idx="28">
                  <c:v>3346.6</c:v>
                </c:pt>
                <c:pt idx="29">
                  <c:v>3119.6667</c:v>
                </c:pt>
                <c:pt idx="30">
                  <c:v>3099.8</c:v>
                </c:pt>
                <c:pt idx="31">
                  <c:v>3342.0</c:v>
                </c:pt>
                <c:pt idx="32">
                  <c:v>4329.0</c:v>
                </c:pt>
                <c:pt idx="33">
                  <c:v>2663.4615</c:v>
                </c:pt>
                <c:pt idx="34">
                  <c:v>3005.3571</c:v>
                </c:pt>
                <c:pt idx="35">
                  <c:v>2884.4444</c:v>
                </c:pt>
                <c:pt idx="36">
                  <c:v>2882.1111</c:v>
                </c:pt>
                <c:pt idx="37">
                  <c:v>3050.0</c:v>
                </c:pt>
                <c:pt idx="38">
                  <c:v>3066.2</c:v>
                </c:pt>
                <c:pt idx="39">
                  <c:v>3735.1667</c:v>
                </c:pt>
                <c:pt idx="40">
                  <c:v>4272.75</c:v>
                </c:pt>
                <c:pt idx="41">
                  <c:v>4003.25</c:v>
                </c:pt>
                <c:pt idx="42">
                  <c:v>3549.6667</c:v>
                </c:pt>
                <c:pt idx="43">
                  <c:v>3104.1429</c:v>
                </c:pt>
                <c:pt idx="44">
                  <c:v>3004.2222</c:v>
                </c:pt>
                <c:pt idx="45">
                  <c:v>3138.1429</c:v>
                </c:pt>
                <c:pt idx="46">
                  <c:v>2995.8667</c:v>
                </c:pt>
                <c:pt idx="47">
                  <c:v>2660.1667</c:v>
                </c:pt>
                <c:pt idx="48">
                  <c:v>3669.0</c:v>
                </c:pt>
                <c:pt idx="49">
                  <c:v>3025.0556</c:v>
                </c:pt>
                <c:pt idx="50">
                  <c:v>3099.3571</c:v>
                </c:pt>
                <c:pt idx="51">
                  <c:v>2739.4667</c:v>
                </c:pt>
                <c:pt idx="52">
                  <c:v>3202.5</c:v>
                </c:pt>
                <c:pt idx="53">
                  <c:v>3334.5</c:v>
                </c:pt>
                <c:pt idx="54">
                  <c:v>2909.6923</c:v>
                </c:pt>
                <c:pt idx="55">
                  <c:v>3116.0</c:v>
                </c:pt>
                <c:pt idx="56">
                  <c:v>2599.75</c:v>
                </c:pt>
                <c:pt idx="57">
                  <c:v>2696.8333</c:v>
                </c:pt>
                <c:pt idx="58">
                  <c:v>2451.5714</c:v>
                </c:pt>
                <c:pt idx="59">
                  <c:v>2641.6154</c:v>
                </c:pt>
                <c:pt idx="60">
                  <c:v>2559.1905</c:v>
                </c:pt>
                <c:pt idx="61">
                  <c:v>2616.8125</c:v>
                </c:pt>
                <c:pt idx="62">
                  <c:v>2355.3889</c:v>
                </c:pt>
                <c:pt idx="63">
                  <c:v>2616.8235</c:v>
                </c:pt>
                <c:pt idx="64">
                  <c:v>2307.1667</c:v>
                </c:pt>
                <c:pt idx="65">
                  <c:v>2335.0625</c:v>
                </c:pt>
                <c:pt idx="66">
                  <c:v>2205.0588</c:v>
                </c:pt>
                <c:pt idx="67">
                  <c:v>2366.9167</c:v>
                </c:pt>
                <c:pt idx="68">
                  <c:v>1907.25</c:v>
                </c:pt>
                <c:pt idx="69">
                  <c:v>1806.8462</c:v>
                </c:pt>
                <c:pt idx="70">
                  <c:v>2093.8182</c:v>
                </c:pt>
                <c:pt idx="71">
                  <c:v>1689.1818</c:v>
                </c:pt>
                <c:pt idx="72">
                  <c:v>2030.4375</c:v>
                </c:pt>
                <c:pt idx="73">
                  <c:v>1540.12</c:v>
                </c:pt>
                <c:pt idx="74">
                  <c:v>1899.0714</c:v>
                </c:pt>
                <c:pt idx="75">
                  <c:v>2853.48</c:v>
                </c:pt>
                <c:pt idx="76">
                  <c:v>2875.1212</c:v>
                </c:pt>
                <c:pt idx="77">
                  <c:v>3425.6333</c:v>
                </c:pt>
                <c:pt idx="78">
                  <c:v>2855.7568</c:v>
                </c:pt>
                <c:pt idx="79">
                  <c:v>3978.3</c:v>
                </c:pt>
                <c:pt idx="80">
                  <c:v>3440.1333</c:v>
                </c:pt>
                <c:pt idx="81">
                  <c:v>3386.2927</c:v>
                </c:pt>
                <c:pt idx="82">
                  <c:v>3334.303</c:v>
                </c:pt>
                <c:pt idx="83">
                  <c:v>3918.6087</c:v>
                </c:pt>
                <c:pt idx="84">
                  <c:v>3499.875</c:v>
                </c:pt>
                <c:pt idx="85">
                  <c:v>3327.3478</c:v>
                </c:pt>
                <c:pt idx="86">
                  <c:v>4500.5714</c:v>
                </c:pt>
                <c:pt idx="87">
                  <c:v>4381.2143</c:v>
                </c:pt>
                <c:pt idx="88">
                  <c:v>3936.9063</c:v>
                </c:pt>
                <c:pt idx="89">
                  <c:v>3929.9118</c:v>
                </c:pt>
                <c:pt idx="90">
                  <c:v>4465.6207</c:v>
                </c:pt>
                <c:pt idx="91">
                  <c:v>3604.8857</c:v>
                </c:pt>
                <c:pt idx="92">
                  <c:v>4148.6286</c:v>
                </c:pt>
                <c:pt idx="93">
                  <c:v>4459.8824</c:v>
                </c:pt>
                <c:pt idx="94">
                  <c:v>4274.8824</c:v>
                </c:pt>
                <c:pt idx="95">
                  <c:v>4202.5714</c:v>
                </c:pt>
                <c:pt idx="96">
                  <c:v>3518.4405</c:v>
                </c:pt>
                <c:pt idx="97">
                  <c:v>3508.6293</c:v>
                </c:pt>
                <c:pt idx="98">
                  <c:v>3336.811</c:v>
                </c:pt>
                <c:pt idx="99">
                  <c:v>3491.1985</c:v>
                </c:pt>
                <c:pt idx="100">
                  <c:v>3901.069</c:v>
                </c:pt>
                <c:pt idx="101">
                  <c:v>3699.9652</c:v>
                </c:pt>
                <c:pt idx="102">
                  <c:v>3851.6974</c:v>
                </c:pt>
                <c:pt idx="103">
                  <c:v>3939.1392</c:v>
                </c:pt>
                <c:pt idx="104">
                  <c:v>4226.3208</c:v>
                </c:pt>
              </c:numCache>
            </c:numRef>
          </c:xVal>
          <c:yVal>
            <c:numRef>
              <c:f>Sheet1!$B$2:$B$106</c:f>
              <c:numCache>
                <c:formatCode>General</c:formatCode>
                <c:ptCount val="105"/>
                <c:pt idx="0">
                  <c:v>0.0004068348250610252</c:v>
                </c:pt>
                <c:pt idx="1">
                  <c:v>0.00013251000450534016</c:v>
                </c:pt>
                <c:pt idx="2">
                  <c:v>0.00015396063739703882</c:v>
                </c:pt>
                <c:pt idx="3">
                  <c:v>0.00013456776832813006</c:v>
                </c:pt>
                <c:pt idx="4">
                  <c:v>9.577015163607342e-05</c:v>
                </c:pt>
                <c:pt idx="5">
                  <c:v>0.0001952044766893321</c:v>
                </c:pt>
                <c:pt idx="6">
                  <c:v>0.00035394813051032887</c:v>
                </c:pt>
                <c:pt idx="7">
                  <c:v>0.0002935995302407516</c:v>
                </c:pt>
                <c:pt idx="8">
                  <c:v>0.0002665448176071891</c:v>
                </c:pt>
                <c:pt idx="9">
                  <c:v>0.0002675704602211916</c:v>
                </c:pt>
                <c:pt idx="10">
                  <c:v>0.00017219113215669393</c:v>
                </c:pt>
                <c:pt idx="11">
                  <c:v>0.00028758771425284714</c:v>
                </c:pt>
                <c:pt idx="12">
                  <c:v>0.00029195530429705125</c:v>
                </c:pt>
                <c:pt idx="13">
                  <c:v>0.00028119112560807583</c:v>
                </c:pt>
                <c:pt idx="14">
                  <c:v>8.361437052314724e-05</c:v>
                </c:pt>
                <c:pt idx="15">
                  <c:v>0.00019857686579513486</c:v>
                </c:pt>
                <c:pt idx="16">
                  <c:v>7.464079119238663e-05</c:v>
                </c:pt>
                <c:pt idx="17">
                  <c:v>0.00016345210853220007</c:v>
                </c:pt>
                <c:pt idx="18">
                  <c:v>9.092148929399464e-05</c:v>
                </c:pt>
                <c:pt idx="19">
                  <c:v>0.00015876375952582556</c:v>
                </c:pt>
                <c:pt idx="20">
                  <c:v>0.00021842645581232798</c:v>
                </c:pt>
                <c:pt idx="21">
                  <c:v>5.157563566970963e-05</c:v>
                </c:pt>
                <c:pt idx="22">
                  <c:v>0.0003682272488164124</c:v>
                </c:pt>
                <c:pt idx="23">
                  <c:v>0.0002789089083505327</c:v>
                </c:pt>
                <c:pt idx="24">
                  <c:v>0.0004662970830526916</c:v>
                </c:pt>
                <c:pt idx="25">
                  <c:v>0.000583158385817588</c:v>
                </c:pt>
                <c:pt idx="26">
                  <c:v>0.0005226025607525476</c:v>
                </c:pt>
                <c:pt idx="27">
                  <c:v>0.0002508277315139962</c:v>
                </c:pt>
                <c:pt idx="28">
                  <c:v>0.0002559770644550248</c:v>
                </c:pt>
                <c:pt idx="29">
                  <c:v>0.00040578926011091576</c:v>
                </c:pt>
                <c:pt idx="30">
                  <c:v>0.00029064698017787597</c:v>
                </c:pt>
                <c:pt idx="31">
                  <c:v>0.00033163829316825116</c:v>
                </c:pt>
                <c:pt idx="32">
                  <c:v>0.00021867483052700635</c:v>
                </c:pt>
                <c:pt idx="33">
                  <c:v>0.0005688531046252134</c:v>
                </c:pt>
                <c:pt idx="34">
                  <c:v>0.0005597984725498821</c:v>
                </c:pt>
                <c:pt idx="35">
                  <c:v>0.0006072055053299149</c:v>
                </c:pt>
                <c:pt idx="36">
                  <c:v>0.0003740959348241749</c:v>
                </c:pt>
                <c:pt idx="37">
                  <c:v>0.0002884615384615385</c:v>
                </c:pt>
                <c:pt idx="38">
                  <c:v>0.0002411149153686647</c:v>
                </c:pt>
                <c:pt idx="39">
                  <c:v>0.0003058103975535168</c:v>
                </c:pt>
                <c:pt idx="40">
                  <c:v>0.00017058296729071602</c:v>
                </c:pt>
                <c:pt idx="41">
                  <c:v>0.00018400956849756188</c:v>
                </c:pt>
                <c:pt idx="42">
                  <c:v>0.00011764244539429826</c:v>
                </c:pt>
                <c:pt idx="43">
                  <c:v>0.00024577788701239423</c:v>
                </c:pt>
                <c:pt idx="44">
                  <c:v>0.0002135585981064471</c:v>
                </c:pt>
                <c:pt idx="45">
                  <c:v>0.00015428697377121447</c:v>
                </c:pt>
                <c:pt idx="46">
                  <c:v>0.00031837670331536275</c:v>
                </c:pt>
                <c:pt idx="47">
                  <c:v>0.00038505144715168886</c:v>
                </c:pt>
                <c:pt idx="48">
                  <c:v>0.00019302845561149806</c:v>
                </c:pt>
                <c:pt idx="49">
                  <c:v>0.00019773483758280146</c:v>
                </c:pt>
                <c:pt idx="50">
                  <c:v>0.00029062525948683884</c:v>
                </c:pt>
                <c:pt idx="51">
                  <c:v>0.00037329218823880747</c:v>
                </c:pt>
                <c:pt idx="52">
                  <c:v>0.0001283175431467739</c:v>
                </c:pt>
                <c:pt idx="53">
                  <c:v>0.00015959569091634525</c:v>
                </c:pt>
                <c:pt idx="54">
                  <c:v>0.0003744239631336406</c:v>
                </c:pt>
                <c:pt idx="55">
                  <c:v>0.00023897003913134391</c:v>
                </c:pt>
                <c:pt idx="56">
                  <c:v>0.00024144383412808595</c:v>
                </c:pt>
                <c:pt idx="57">
                  <c:v>0.00015713799334782496</c:v>
                </c:pt>
                <c:pt idx="58">
                  <c:v>0.0001700308484539338</c:v>
                </c:pt>
                <c:pt idx="59">
                  <c:v>0.00020895618349567622</c:v>
                </c:pt>
                <c:pt idx="60">
                  <c:v>0.0003703377127237457</c:v>
                </c:pt>
                <c:pt idx="61">
                  <c:v>0.0003837206513658057</c:v>
                </c:pt>
                <c:pt idx="62">
                  <c:v>0.0004231013327691982</c:v>
                </c:pt>
                <c:pt idx="63">
                  <c:v>0.00036491649851886834</c:v>
                </c:pt>
                <c:pt idx="64">
                  <c:v>0.0005016617545619866</c:v>
                </c:pt>
                <c:pt idx="65">
                  <c:v>0.00036552212551115986</c:v>
                </c:pt>
                <c:pt idx="66">
                  <c:v>0.00040122728345527497</c:v>
                </c:pt>
                <c:pt idx="67">
                  <c:v>0.0002922552362396493</c:v>
                </c:pt>
                <c:pt idx="68">
                  <c:v>0.00046797309154723605</c:v>
                </c:pt>
                <c:pt idx="69">
                  <c:v>0.0004883546205860256</c:v>
                </c:pt>
                <c:pt idx="70">
                  <c:v>0.00038771985478129074</c:v>
                </c:pt>
                <c:pt idx="71">
                  <c:v>0.00041471874528728697</c:v>
                </c:pt>
                <c:pt idx="72">
                  <c:v>0.0005811841627315655</c:v>
                </c:pt>
                <c:pt idx="73">
                  <c:v>0.0009446438692612885</c:v>
                </c:pt>
                <c:pt idx="74">
                  <c:v>0.0010105020029593274</c:v>
                </c:pt>
                <c:pt idx="75">
                  <c:v>0.0010670081092616305</c:v>
                </c:pt>
                <c:pt idx="76">
                  <c:v>0.0015070557610631593</c:v>
                </c:pt>
                <c:pt idx="77">
                  <c:v>0.001357527489931671</c:v>
                </c:pt>
                <c:pt idx="78">
                  <c:v>0.0019386953104532354</c:v>
                </c:pt>
                <c:pt idx="79">
                  <c:v>0.0013696128560993425</c:v>
                </c:pt>
                <c:pt idx="80">
                  <c:v>0.0013775369639085315</c:v>
                </c:pt>
                <c:pt idx="81">
                  <c:v>0.0015751661608206231</c:v>
                </c:pt>
                <c:pt idx="82">
                  <c:v>0.0016255356878971479</c:v>
                </c:pt>
                <c:pt idx="83">
                  <c:v>0.0012959936890742096</c:v>
                </c:pt>
                <c:pt idx="84">
                  <c:v>0.0014231499051233396</c:v>
                </c:pt>
                <c:pt idx="85">
                  <c:v>0.001213208144319021</c:v>
                </c:pt>
                <c:pt idx="86">
                  <c:v>0.0011109347722583717</c:v>
                </c:pt>
                <c:pt idx="87">
                  <c:v>0.0010732492621411322</c:v>
                </c:pt>
                <c:pt idx="88">
                  <c:v>0.0015150080484802575</c:v>
                </c:pt>
                <c:pt idx="89">
                  <c:v>0.0017422495516269537</c:v>
                </c:pt>
                <c:pt idx="90">
                  <c:v>0.0015322026734294922</c:v>
                </c:pt>
                <c:pt idx="91">
                  <c:v>0.0017557941205979732</c:v>
                </c:pt>
                <c:pt idx="92">
                  <c:v>0.0014452657224263946</c:v>
                </c:pt>
                <c:pt idx="93">
                  <c:v>0.0013598368195816503</c:v>
                </c:pt>
                <c:pt idx="94">
                  <c:v>0.0015503169030139984</c:v>
                </c:pt>
                <c:pt idx="95">
                  <c:v>0.0016272041975226646</c:v>
                </c:pt>
                <c:pt idx="96">
                  <c:v>0.0020251211456399623</c:v>
                </c:pt>
                <c:pt idx="97">
                  <c:v>0.0024804345036992686</c:v>
                </c:pt>
                <c:pt idx="98">
                  <c:v>0.002372989031932585</c:v>
                </c:pt>
                <c:pt idx="99">
                  <c:v>0.002219103873641615</c:v>
                </c:pt>
                <c:pt idx="100">
                  <c:v>0.001695866763350565</c:v>
                </c:pt>
                <c:pt idx="101">
                  <c:v>0.002240143369175627</c:v>
                </c:pt>
                <c:pt idx="102">
                  <c:v>0.0018302227573750753</c:v>
                </c:pt>
                <c:pt idx="103">
                  <c:v>0.001802624073017684</c:v>
                </c:pt>
                <c:pt idx="104">
                  <c:v>0.00137791181364392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numCache>
            </c:numRef>
          </c:xVal>
          <c:yVal>
            <c:numRef>
              <c:f>Sheet1!$B$109:$B$160</c:f>
              <c:numCache>
                <c:formatCode>General</c:formatCode>
                <c:ptCount val="52"/>
                <c:pt idx="0">
                  <c:v>0.0013676342285835555</c:v>
                </c:pt>
                <c:pt idx="1">
                  <c:v>0.0016121312879417617</c:v>
                </c:pt>
                <c:pt idx="2">
                  <c:v>0.0015792364734962922</c:v>
                </c:pt>
                <c:pt idx="3">
                  <c:v>0.001684766523233841</c:v>
                </c:pt>
                <c:pt idx="4">
                  <c:v>0.0016007156140392174</c:v>
                </c:pt>
                <c:pt idx="5">
                  <c:v>0.0014035922445581064</c:v>
                </c:pt>
                <c:pt idx="6">
                  <c:v>0.0016303474247399482</c:v>
                </c:pt>
                <c:pt idx="7">
                  <c:v>0.0018851597750169974</c:v>
                </c:pt>
                <c:pt idx="8">
                  <c:v>0.0022411474675033617</c:v>
                </c:pt>
                <c:pt idx="9">
                  <c:v>0.0022998645285277714</c:v>
                </c:pt>
                <c:pt idx="10">
                  <c:v>0.0021934501142421934</c:v>
                </c:pt>
                <c:pt idx="11">
                  <c:v>0.002252559726962457</c:v>
                </c:pt>
                <c:pt idx="12">
                  <c:v>0.002291786030522423</c:v>
                </c:pt>
                <c:pt idx="13">
                  <c:v>0.003356786078736774</c:v>
                </c:pt>
                <c:pt idx="14">
                  <c:v>0.00329821079361373</c:v>
                </c:pt>
                <c:pt idx="15">
                  <c:v>0.003212325349301397</c:v>
                </c:pt>
                <c:pt idx="16">
                  <c:v>0.0029529268716345317</c:v>
                </c:pt>
                <c:pt idx="17">
                  <c:v>0.0038974886936059125</c:v>
                </c:pt>
                <c:pt idx="18">
                  <c:v>0.0021214531954388757</c:v>
                </c:pt>
                <c:pt idx="19">
                  <c:v>0.0018730404332423958</c:v>
                </c:pt>
                <c:pt idx="20">
                  <c:v>0.0021718895439031957</c:v>
                </c:pt>
                <c:pt idx="21">
                  <c:v>0.0028803072327714956</c:v>
                </c:pt>
                <c:pt idx="22">
                  <c:v>0.0024777268174389793</c:v>
                </c:pt>
                <c:pt idx="23">
                  <c:v>0.002520824199912319</c:v>
                </c:pt>
                <c:pt idx="24">
                  <c:v>0.002333782802613837</c:v>
                </c:pt>
                <c:pt idx="25">
                  <c:v>0.0026646364674533687</c:v>
                </c:pt>
                <c:pt idx="26">
                  <c:v>0.0026880330834841044</c:v>
                </c:pt>
                <c:pt idx="27">
                  <c:v>0.002563163676309044</c:v>
                </c:pt>
                <c:pt idx="28">
                  <c:v>0.00214574217435207</c:v>
                </c:pt>
                <c:pt idx="29">
                  <c:v>0.002537187204616686</c:v>
                </c:pt>
                <c:pt idx="30">
                  <c:v>0.0024335939522601357</c:v>
                </c:pt>
                <c:pt idx="31">
                  <c:v>0.002530917457578372</c:v>
                </c:pt>
                <c:pt idx="32">
                  <c:v>0.002152852529601722</c:v>
                </c:pt>
                <c:pt idx="33">
                  <c:v>0.0021762321314273522</c:v>
                </c:pt>
                <c:pt idx="34">
                  <c:v>0.002031075454453133</c:v>
                </c:pt>
                <c:pt idx="35">
                  <c:v>0.002415172031516015</c:v>
                </c:pt>
                <c:pt idx="36">
                  <c:v>0.0027545047629978195</c:v>
                </c:pt>
                <c:pt idx="37">
                  <c:v>0.002826041448607913</c:v>
                </c:pt>
                <c:pt idx="38">
                  <c:v>0.003170028818443804</c:v>
                </c:pt>
                <c:pt idx="39">
                  <c:v>0.003128631447215518</c:v>
                </c:pt>
                <c:pt idx="40">
                  <c:v>0.0029284496700030596</c:v>
                </c:pt>
                <c:pt idx="41">
                  <c:v>0.002398081534772182</c:v>
                </c:pt>
                <c:pt idx="42">
                  <c:v>0.0027427317608337905</c:v>
                </c:pt>
                <c:pt idx="43">
                  <c:v>0.002001932900731741</c:v>
                </c:pt>
                <c:pt idx="44">
                  <c:v>0.0015277737741777406</c:v>
                </c:pt>
                <c:pt idx="45">
                  <c:v>0.0012751176186079232</c:v>
                </c:pt>
                <c:pt idx="46">
                  <c:v>0.0013695022386094285</c:v>
                </c:pt>
                <c:pt idx="47">
                  <c:v>0.0014572578852471163</c:v>
                </c:pt>
                <c:pt idx="48">
                  <c:v>0.0016001995053928802</c:v>
                </c:pt>
                <c:pt idx="49">
                  <c:v>0.0014821852731591448</c:v>
                </c:pt>
                <c:pt idx="50">
                  <c:v>0.0012532610363701468</c:v>
                </c:pt>
                <c:pt idx="51">
                  <c:v>0.001362751460090850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57.1894696808668</c:v>
                </c:pt>
              </c:numCache>
            </c:numRef>
          </c:xVal>
          <c:yVal>
            <c:numRef>
              <c:f>Sheet1!$B$163:$B$164</c:f>
              <c:numCache>
                <c:formatCode>General</c:formatCode>
                <c:ptCount val="2"/>
                <c:pt idx="0">
                  <c:v>0.002677083737884858</c:v>
                </c:pt>
                <c:pt idx="1">
                  <c:v>0.00267708373788485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57.1894696808668</c:v>
                </c:pt>
                <c:pt idx="1">
                  <c:v>3557.1894696808668</c:v>
                </c:pt>
              </c:numCache>
            </c:numRef>
          </c:xVal>
          <c:yVal>
            <c:numRef>
              <c:f>Sheet1!$B$167:$B$168</c:f>
              <c:numCache>
                <c:formatCode>General</c:formatCode>
                <c:ptCount val="2"/>
                <c:pt idx="0">
                  <c:v>0.00267708373788485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57.1894696808668</c:v>
                </c:pt>
              </c:numCache>
            </c:numRef>
          </c:xVal>
          <c:yVal>
            <c:numRef>
              <c:f>Sheet1!$B$171:$B$172</c:f>
              <c:numCache>
                <c:formatCode>General</c:formatCode>
                <c:ptCount val="2"/>
                <c:pt idx="0">
                  <c:v>0.002677083737884858</c:v>
                </c:pt>
                <c:pt idx="1">
                  <c:v>0.00267708373788485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57.1894696808668</c:v>
                </c:pt>
                <c:pt idx="1">
                  <c:v>3557.1894696808668</c:v>
                </c:pt>
              </c:numCache>
            </c:numRef>
          </c:xVal>
          <c:yVal>
            <c:numRef>
              <c:f>Sheet1!$B$175:$B$176</c:f>
              <c:numCache>
                <c:formatCode>General</c:formatCode>
                <c:ptCount val="2"/>
                <c:pt idx="0">
                  <c:v>0.00267708373788485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47.9432228082915</c:v>
                </c:pt>
              </c:numCache>
            </c:numRef>
          </c:xVal>
          <c:yVal>
            <c:numRef>
              <c:f>Sheet1!$B$179:$B$180</c:f>
              <c:numCache>
                <c:formatCode>General</c:formatCode>
                <c:ptCount val="2"/>
                <c:pt idx="0">
                  <c:v>0.001886759700400886</c:v>
                </c:pt>
                <c:pt idx="1">
                  <c:v>0.00188675970040088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47.9432228082915</c:v>
                </c:pt>
                <c:pt idx="1">
                  <c:v>4247.9432228082915</c:v>
                </c:pt>
              </c:numCache>
            </c:numRef>
          </c:xVal>
          <c:yVal>
            <c:numRef>
              <c:f>Sheet1!$B$183:$B$184</c:f>
              <c:numCache>
                <c:formatCode>General</c:formatCode>
                <c:ptCount val="2"/>
                <c:pt idx="0">
                  <c:v>0.0018867597004008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pt idx="52">
                  <c:v>3557.1894696808668</c:v>
                </c:pt>
                <c:pt idx="53">
                  <c:v>3557.1894696808668</c:v>
                </c:pt>
                <c:pt idx="54">
                  <c:v>4247.9432228082915</c:v>
                </c:pt>
              </c:numCache>
            </c:numRef>
          </c:xVal>
          <c:yVal>
            <c:numRef>
              <c:f>Sheet1!$B$187:$B$241</c:f>
              <c:numCache>
                <c:formatCode>General</c:formatCode>
                <c:ptCount val="55"/>
                <c:pt idx="0">
                  <c:v>0.001706195663630174</c:v>
                </c:pt>
                <c:pt idx="1">
                  <c:v>0.002275579649187927</c:v>
                </c:pt>
                <c:pt idx="2">
                  <c:v>0.001831095816494925</c:v>
                </c:pt>
                <c:pt idx="3">
                  <c:v>0.0025209852851610457</c:v>
                </c:pt>
                <c:pt idx="4">
                  <c:v>0.001567629128997116</c:v>
                </c:pt>
                <c:pt idx="5">
                  <c:v>0.0012257460184081585</c:v>
                </c:pt>
                <c:pt idx="6">
                  <c:v>0.0017001343145105745</c:v>
                </c:pt>
                <c:pt idx="7">
                  <c:v>0.0018453179106039446</c:v>
                </c:pt>
                <c:pt idx="8">
                  <c:v>0.001976290281987588</c:v>
                </c:pt>
                <c:pt idx="9">
                  <c:v>0.0020581757596742443</c:v>
                </c:pt>
                <c:pt idx="10">
                  <c:v>0.0019408828133380615</c:v>
                </c:pt>
                <c:pt idx="11">
                  <c:v>0.002071827038698272</c:v>
                </c:pt>
                <c:pt idx="12">
                  <c:v>0.002346056834205779</c:v>
                </c:pt>
                <c:pt idx="13">
                  <c:v>0.002841773980919373</c:v>
                </c:pt>
                <c:pt idx="14">
                  <c:v>0.0027935782635497095</c:v>
                </c:pt>
                <c:pt idx="15">
                  <c:v>0.002579748118108941</c:v>
                </c:pt>
                <c:pt idx="16">
                  <c:v>0.002313542456403946</c:v>
                </c:pt>
                <c:pt idx="17">
                  <c:v>0.0034184165513252013</c:v>
                </c:pt>
                <c:pt idx="18">
                  <c:v>0.0020662066439457926</c:v>
                </c:pt>
                <c:pt idx="19">
                  <c:v>0.0017076605154107251</c:v>
                </c:pt>
                <c:pt idx="20">
                  <c:v>0.0018760005085880311</c:v>
                </c:pt>
                <c:pt idx="21">
                  <c:v>0.002543287004216339</c:v>
                </c:pt>
                <c:pt idx="22">
                  <c:v>0.0023084225116778772</c:v>
                </c:pt>
                <c:pt idx="23">
                  <c:v>0.0031490871386780374</c:v>
                </c:pt>
                <c:pt idx="24">
                  <c:v>0.0021049217280076386</c:v>
                </c:pt>
                <c:pt idx="25">
                  <c:v>0.0026178515410273965</c:v>
                </c:pt>
                <c:pt idx="26">
                  <c:v>0.0023779739671201273</c:v>
                </c:pt>
                <c:pt idx="27">
                  <c:v>0.0025007544727079518</c:v>
                </c:pt>
                <c:pt idx="28">
                  <c:v>0.0023837482496836537</c:v>
                </c:pt>
                <c:pt idx="29">
                  <c:v>0.0026471489198825974</c:v>
                </c:pt>
                <c:pt idx="30">
                  <c:v>0.002664982629339962</c:v>
                </c:pt>
                <c:pt idx="31">
                  <c:v>0.0023058167162157165</c:v>
                </c:pt>
                <c:pt idx="32">
                  <c:v>0.0016457972721254594</c:v>
                </c:pt>
                <c:pt idx="33">
                  <c:v>0.0019710924208307945</c:v>
                </c:pt>
                <c:pt idx="34">
                  <c:v>0.00181934256341697</c:v>
                </c:pt>
                <c:pt idx="35">
                  <c:v>0.0021525120770440297</c:v>
                </c:pt>
                <c:pt idx="36">
                  <c:v>0.001970861074247941</c:v>
                </c:pt>
                <c:pt idx="37">
                  <c:v>0.0020092456141565414</c:v>
                </c:pt>
                <c:pt idx="38">
                  <c:v>0.0026237752492275232</c:v>
                </c:pt>
                <c:pt idx="39">
                  <c:v>0.0029880836467795304</c:v>
                </c:pt>
                <c:pt idx="40">
                  <c:v>0.003061033906173436</c:v>
                </c:pt>
                <c:pt idx="41">
                  <c:v>0.0027062000779485883</c:v>
                </c:pt>
                <c:pt idx="42">
                  <c:v>0.0029634517573452084</c:v>
                </c:pt>
                <c:pt idx="43">
                  <c:v>0.0025501029184763543</c:v>
                </c:pt>
                <c:pt idx="44">
                  <c:v>0.002023625371762679</c:v>
                </c:pt>
                <c:pt idx="45">
                  <c:v>0.0018301580733727342</c:v>
                </c:pt>
                <c:pt idx="46">
                  <c:v>0.0017432582557552487</c:v>
                </c:pt>
                <c:pt idx="47">
                  <c:v>0.0018371667764517938</c:v>
                </c:pt>
                <c:pt idx="48">
                  <c:v>0.002219002709645282</c:v>
                </c:pt>
                <c:pt idx="49">
                  <c:v>0.0023172754657801876</c:v>
                </c:pt>
                <c:pt idx="50">
                  <c:v>0.002156363276835745</c:v>
                </c:pt>
                <c:pt idx="51">
                  <c:v>0.0019010238108116417</c:v>
                </c:pt>
                <c:pt idx="52">
                  <c:v>0.0026770837378848576</c:v>
                </c:pt>
                <c:pt idx="53">
                  <c:v>0.0026770837378848576</c:v>
                </c:pt>
                <c:pt idx="54">
                  <c:v>0.001886759700400885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64.0"/>
          <c:min val="123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76986432327094"/>
          <c:min val="4.126050853576771e-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785762817778059</c:v>
                </c:pt>
                <c:pt idx="1">
                  <c:v>0.46374078821675346</c:v>
                </c:pt>
                <c:pt idx="2">
                  <c:v>0.3857415047178868</c:v>
                </c:pt>
                <c:pt idx="3">
                  <c:v>0.35302193022512335</c:v>
                </c:pt>
                <c:pt idx="4">
                  <c:v>0.4754154669409822</c:v>
                </c:pt>
                <c:pt idx="5">
                  <c:v>0.4651406419956008</c:v>
                </c:pt>
                <c:pt idx="6">
                  <c:v>0.40109951347625994</c:v>
                </c:pt>
                <c:pt idx="7">
                  <c:v>0.39447393388897767</c:v>
                </c:pt>
                <c:pt idx="8">
                  <c:v>0.36296760295018343</c:v>
                </c:pt>
                <c:pt idx="9">
                  <c:v>0.3981552596435534</c:v>
                </c:pt>
                <c:pt idx="10">
                  <c:v>0.43651617382753</c:v>
                </c:pt>
                <c:pt idx="11">
                  <c:v>0.3745107977385133</c:v>
                </c:pt>
                <c:pt idx="12">
                  <c:v>0.3828592491711609</c:v>
                </c:pt>
                <c:pt idx="13">
                  <c:v>0.3611828487427171</c:v>
                </c:pt>
                <c:pt idx="14">
                  <c:v>0.4600130217100415</c:v>
                </c:pt>
                <c:pt idx="15">
                  <c:v>0.35328372672634256</c:v>
                </c:pt>
                <c:pt idx="16">
                  <c:v>0.4665937768812605</c:v>
                </c:pt>
                <c:pt idx="17">
                  <c:v>0.3317847290763738</c:v>
                </c:pt>
                <c:pt idx="18">
                  <c:v>0.4548177353314049</c:v>
                </c:pt>
                <c:pt idx="19">
                  <c:v>0.3943482889680289</c:v>
                </c:pt>
                <c:pt idx="20">
                  <c:v>0.31270821233892243</c:v>
                </c:pt>
                <c:pt idx="21">
                  <c:v>0.6746049600691085</c:v>
                </c:pt>
                <c:pt idx="22">
                  <c:v>0.29729599481780233</c:v>
                </c:pt>
                <c:pt idx="23">
                  <c:v>0.37417106108233406</c:v>
                </c:pt>
                <c:pt idx="24">
                  <c:v>0.26454184082822135</c:v>
                </c:pt>
                <c:pt idx="25">
                  <c:v>0.26203538472764903</c:v>
                </c:pt>
                <c:pt idx="26">
                  <c:v>0.32518415609359463</c:v>
                </c:pt>
                <c:pt idx="27">
                  <c:v>0.3035013745200513</c:v>
                </c:pt>
                <c:pt idx="28">
                  <c:v>0.3294468333097072</c:v>
                </c:pt>
                <c:pt idx="29">
                  <c:v>0.31478154415006865</c:v>
                </c:pt>
                <c:pt idx="30">
                  <c:v>0.31023744744338644</c:v>
                </c:pt>
                <c:pt idx="31">
                  <c:v>0.33139194045083165</c:v>
                </c:pt>
                <c:pt idx="32">
                  <c:v>0.414290957486886</c:v>
                </c:pt>
                <c:pt idx="33">
                  <c:v>0.2676689834999057</c:v>
                </c:pt>
                <c:pt idx="34">
                  <c:v>0.3029942019244732</c:v>
                </c:pt>
                <c:pt idx="35">
                  <c:v>0.2970504397867873</c:v>
                </c:pt>
                <c:pt idx="36">
                  <c:v>0.2770624867950976</c:v>
                </c:pt>
                <c:pt idx="37">
                  <c:v>0.2968408108425729</c:v>
                </c:pt>
                <c:pt idx="38">
                  <c:v>0.3026193061958436</c:v>
                </c:pt>
                <c:pt idx="39">
                  <c:v>0.36979057511332586</c:v>
                </c:pt>
                <c:pt idx="40">
                  <c:v>0.4369076336718535</c:v>
                </c:pt>
                <c:pt idx="41">
                  <c:v>0.4023038198447468</c:v>
                </c:pt>
                <c:pt idx="42">
                  <c:v>0.3532395019229527</c:v>
                </c:pt>
                <c:pt idx="43">
                  <c:v>0.3316696194837956</c:v>
                </c:pt>
                <c:pt idx="44">
                  <c:v>0.3321405350713303</c:v>
                </c:pt>
                <c:pt idx="45">
                  <c:v>0.3452909395371052</c:v>
                </c:pt>
                <c:pt idx="46">
                  <c:v>0.33426299996717473</c:v>
                </c:pt>
                <c:pt idx="47">
                  <c:v>0.2873562292134157</c:v>
                </c:pt>
                <c:pt idx="48">
                  <c:v>0.40800290639519254</c:v>
                </c:pt>
                <c:pt idx="49">
                  <c:v>0.3669279117077776</c:v>
                </c:pt>
                <c:pt idx="50">
                  <c:v>0.33764932874626186</c:v>
                </c:pt>
                <c:pt idx="51">
                  <c:v>0.29146137381273</c:v>
                </c:pt>
                <c:pt idx="52">
                  <c:v>0.3472475301185864</c:v>
                </c:pt>
                <c:pt idx="53">
                  <c:v>0.3696384057329836</c:v>
                </c:pt>
                <c:pt idx="54">
                  <c:v>0.3114876404102741</c:v>
                </c:pt>
                <c:pt idx="55">
                  <c:v>0.32334899234191083</c:v>
                </c:pt>
                <c:pt idx="56">
                  <c:v>0.2667427873304363</c:v>
                </c:pt>
                <c:pt idx="57">
                  <c:v>0.2756558354279753</c:v>
                </c:pt>
                <c:pt idx="58">
                  <c:v>0.25443636555393323</c:v>
                </c:pt>
                <c:pt idx="59">
                  <c:v>0.2795630278400122</c:v>
                </c:pt>
                <c:pt idx="60">
                  <c:v>0.26965257425388295</c:v>
                </c:pt>
                <c:pt idx="61">
                  <c:v>0.27455076206147944</c:v>
                </c:pt>
                <c:pt idx="62">
                  <c:v>0.2395001969119012</c:v>
                </c:pt>
                <c:pt idx="63">
                  <c:v>0.26670641611110807</c:v>
                </c:pt>
                <c:pt idx="64">
                  <c:v>0.24659403901395893</c:v>
                </c:pt>
                <c:pt idx="65">
                  <c:v>0.24183758879111636</c:v>
                </c:pt>
                <c:pt idx="66">
                  <c:v>0.22849817728082172</c:v>
                </c:pt>
                <c:pt idx="67">
                  <c:v>0.2458511240632114</c:v>
                </c:pt>
                <c:pt idx="68">
                  <c:v>0.19321805977824857</c:v>
                </c:pt>
                <c:pt idx="69">
                  <c:v>0.17626698165243046</c:v>
                </c:pt>
                <c:pt idx="70">
                  <c:v>0.20366958866143187</c:v>
                </c:pt>
                <c:pt idx="71">
                  <c:v>0.1620202613449887</c:v>
                </c:pt>
                <c:pt idx="72">
                  <c:v>0.1954737307036916</c:v>
                </c:pt>
                <c:pt idx="73">
                  <c:v>0.14676618010607545</c:v>
                </c:pt>
                <c:pt idx="74">
                  <c:v>0.1791315260424808</c:v>
                </c:pt>
                <c:pt idx="75">
                  <c:v>0.26516276800944294</c:v>
                </c:pt>
                <c:pt idx="76">
                  <c:v>0.27007779359182293</c:v>
                </c:pt>
                <c:pt idx="77">
                  <c:v>0.3222972772090923</c:v>
                </c:pt>
                <c:pt idx="78">
                  <c:v>0.2617585232570256</c:v>
                </c:pt>
                <c:pt idx="79">
                  <c:v>0.36073332479535236</c:v>
                </c:pt>
                <c:pt idx="80">
                  <c:v>0.30883940896711903</c:v>
                </c:pt>
                <c:pt idx="81">
                  <c:v>0.3127368510208032</c:v>
                </c:pt>
                <c:pt idx="82">
                  <c:v>0.30499628617983515</c:v>
                </c:pt>
                <c:pt idx="83">
                  <c:v>0.34640484661612697</c:v>
                </c:pt>
                <c:pt idx="84">
                  <c:v>0.31731854368180396</c:v>
                </c:pt>
                <c:pt idx="85">
                  <c:v>0.29581753548761475</c:v>
                </c:pt>
                <c:pt idx="86">
                  <c:v>0.41239876907082673</c:v>
                </c:pt>
                <c:pt idx="87">
                  <c:v>0.3927556153036028</c:v>
                </c:pt>
                <c:pt idx="88">
                  <c:v>0.35281287634007785</c:v>
                </c:pt>
                <c:pt idx="89">
                  <c:v>0.34422370937014696</c:v>
                </c:pt>
                <c:pt idx="90">
                  <c:v>0.39410712499681955</c:v>
                </c:pt>
                <c:pt idx="91">
                  <c:v>0.3245043156436626</c:v>
                </c:pt>
                <c:pt idx="92">
                  <c:v>0.37625958935656517</c:v>
                </c:pt>
                <c:pt idx="93">
                  <c:v>0.4020673332872417</c:v>
                </c:pt>
                <c:pt idx="94">
                  <c:v>0.38049964279669046</c:v>
                </c:pt>
                <c:pt idx="95">
                  <c:v>0.3754298978965054</c:v>
                </c:pt>
                <c:pt idx="96">
                  <c:v>0.32792280295462656</c:v>
                </c:pt>
                <c:pt idx="97">
                  <c:v>0.32857301321440396</c:v>
                </c:pt>
                <c:pt idx="98">
                  <c:v>0.31515373209385994</c:v>
                </c:pt>
                <c:pt idx="99">
                  <c:v>0.338040599766313</c:v>
                </c:pt>
                <c:pt idx="100">
                  <c:v>0.39139066136929124</c:v>
                </c:pt>
                <c:pt idx="101">
                  <c:v>0.3618401615121024</c:v>
                </c:pt>
                <c:pt idx="102">
                  <c:v>0.3685419526312518</c:v>
                </c:pt>
                <c:pt idx="103">
                  <c:v>0.3774425859830826</c:v>
                </c:pt>
                <c:pt idx="104">
                  <c:v>0.3982313725608072</c:v>
                </c:pt>
              </c:numCache>
            </c:numRef>
          </c:xVal>
          <c:yVal>
            <c:numRef>
              <c:f>Sheet1!$B$2:$B$106</c:f>
              <c:numCache>
                <c:formatCode>General</c:formatCode>
                <c:ptCount val="105"/>
                <c:pt idx="0">
                  <c:v>0.0004068348250610252</c:v>
                </c:pt>
                <c:pt idx="1">
                  <c:v>0.00013251000450534016</c:v>
                </c:pt>
                <c:pt idx="2">
                  <c:v>0.00015396063739703882</c:v>
                </c:pt>
                <c:pt idx="3">
                  <c:v>0.00013456776832813006</c:v>
                </c:pt>
                <c:pt idx="4">
                  <c:v>9.577015163607342e-05</c:v>
                </c:pt>
                <c:pt idx="5">
                  <c:v>0.0001952044766893321</c:v>
                </c:pt>
                <c:pt idx="6">
                  <c:v>0.00035394813051032887</c:v>
                </c:pt>
                <c:pt idx="7">
                  <c:v>0.0002935995302407516</c:v>
                </c:pt>
                <c:pt idx="8">
                  <c:v>0.0002665448176071891</c:v>
                </c:pt>
                <c:pt idx="9">
                  <c:v>0.0002675704602211916</c:v>
                </c:pt>
                <c:pt idx="10">
                  <c:v>0.00017219113215669393</c:v>
                </c:pt>
                <c:pt idx="11">
                  <c:v>0.00028758771425284714</c:v>
                </c:pt>
                <c:pt idx="12">
                  <c:v>0.00029195530429705125</c:v>
                </c:pt>
                <c:pt idx="13">
                  <c:v>0.00028119112560807583</c:v>
                </c:pt>
                <c:pt idx="14">
                  <c:v>8.361437052314724e-05</c:v>
                </c:pt>
                <c:pt idx="15">
                  <c:v>0.00019857686579513486</c:v>
                </c:pt>
                <c:pt idx="16">
                  <c:v>7.464079119238663e-05</c:v>
                </c:pt>
                <c:pt idx="17">
                  <c:v>0.00016345210853220007</c:v>
                </c:pt>
                <c:pt idx="18">
                  <c:v>9.092148929399464e-05</c:v>
                </c:pt>
                <c:pt idx="19">
                  <c:v>0.00015876375952582556</c:v>
                </c:pt>
                <c:pt idx="20">
                  <c:v>0.00021842645581232798</c:v>
                </c:pt>
                <c:pt idx="21">
                  <c:v>5.157563566970963e-05</c:v>
                </c:pt>
                <c:pt idx="22">
                  <c:v>0.0003682272488164124</c:v>
                </c:pt>
                <c:pt idx="23">
                  <c:v>0.0002789089083505327</c:v>
                </c:pt>
                <c:pt idx="24">
                  <c:v>0.0004662970830526916</c:v>
                </c:pt>
                <c:pt idx="25">
                  <c:v>0.000583158385817588</c:v>
                </c:pt>
                <c:pt idx="26">
                  <c:v>0.0005226025607525476</c:v>
                </c:pt>
                <c:pt idx="27">
                  <c:v>0.0002508277315139962</c:v>
                </c:pt>
                <c:pt idx="28">
                  <c:v>0.0002559770644550248</c:v>
                </c:pt>
                <c:pt idx="29">
                  <c:v>0.00040578926011091576</c:v>
                </c:pt>
                <c:pt idx="30">
                  <c:v>0.00029064698017787597</c:v>
                </c:pt>
                <c:pt idx="31">
                  <c:v>0.00033163829316825116</c:v>
                </c:pt>
                <c:pt idx="32">
                  <c:v>0.00021867483052700635</c:v>
                </c:pt>
                <c:pt idx="33">
                  <c:v>0.0005688531046252134</c:v>
                </c:pt>
                <c:pt idx="34">
                  <c:v>0.0005597984725498821</c:v>
                </c:pt>
                <c:pt idx="35">
                  <c:v>0.0006072055053299149</c:v>
                </c:pt>
                <c:pt idx="36">
                  <c:v>0.0003740959348241749</c:v>
                </c:pt>
                <c:pt idx="37">
                  <c:v>0.0002884615384615385</c:v>
                </c:pt>
                <c:pt idx="38">
                  <c:v>0.0002411149153686647</c:v>
                </c:pt>
                <c:pt idx="39">
                  <c:v>0.0003058103975535168</c:v>
                </c:pt>
                <c:pt idx="40">
                  <c:v>0.00017058296729071602</c:v>
                </c:pt>
                <c:pt idx="41">
                  <c:v>0.00018400956849756188</c:v>
                </c:pt>
                <c:pt idx="42">
                  <c:v>0.00011764244539429826</c:v>
                </c:pt>
                <c:pt idx="43">
                  <c:v>0.00024577788701239423</c:v>
                </c:pt>
                <c:pt idx="44">
                  <c:v>0.0002135585981064471</c:v>
                </c:pt>
                <c:pt idx="45">
                  <c:v>0.00015428697377121447</c:v>
                </c:pt>
                <c:pt idx="46">
                  <c:v>0.00031837670331536275</c:v>
                </c:pt>
                <c:pt idx="47">
                  <c:v>0.00038505144715168886</c:v>
                </c:pt>
                <c:pt idx="48">
                  <c:v>0.00019302845561149806</c:v>
                </c:pt>
                <c:pt idx="49">
                  <c:v>0.00019773483758280146</c:v>
                </c:pt>
                <c:pt idx="50">
                  <c:v>0.00029062525948683884</c:v>
                </c:pt>
                <c:pt idx="51">
                  <c:v>0.00037329218823880747</c:v>
                </c:pt>
                <c:pt idx="52">
                  <c:v>0.0001283175431467739</c:v>
                </c:pt>
                <c:pt idx="53">
                  <c:v>0.00015959569091634525</c:v>
                </c:pt>
                <c:pt idx="54">
                  <c:v>0.0003744239631336406</c:v>
                </c:pt>
                <c:pt idx="55">
                  <c:v>0.00023897003913134391</c:v>
                </c:pt>
                <c:pt idx="56">
                  <c:v>0.00024144383412808595</c:v>
                </c:pt>
                <c:pt idx="57">
                  <c:v>0.00015713799334782496</c:v>
                </c:pt>
                <c:pt idx="58">
                  <c:v>0.0001700308484539338</c:v>
                </c:pt>
                <c:pt idx="59">
                  <c:v>0.00020895618349567622</c:v>
                </c:pt>
                <c:pt idx="60">
                  <c:v>0.0003703377127237457</c:v>
                </c:pt>
                <c:pt idx="61">
                  <c:v>0.0003837206513658057</c:v>
                </c:pt>
                <c:pt idx="62">
                  <c:v>0.0004231013327691982</c:v>
                </c:pt>
                <c:pt idx="63">
                  <c:v>0.00036491649851886834</c:v>
                </c:pt>
                <c:pt idx="64">
                  <c:v>0.0005016617545619866</c:v>
                </c:pt>
                <c:pt idx="65">
                  <c:v>0.00036552212551115986</c:v>
                </c:pt>
                <c:pt idx="66">
                  <c:v>0.00040122728345527497</c:v>
                </c:pt>
                <c:pt idx="67">
                  <c:v>0.0002922552362396493</c:v>
                </c:pt>
                <c:pt idx="68">
                  <c:v>0.00046797309154723605</c:v>
                </c:pt>
                <c:pt idx="69">
                  <c:v>0.0004883546205860256</c:v>
                </c:pt>
                <c:pt idx="70">
                  <c:v>0.00038771985478129074</c:v>
                </c:pt>
                <c:pt idx="71">
                  <c:v>0.00041471874528728697</c:v>
                </c:pt>
                <c:pt idx="72">
                  <c:v>0.0005811841627315655</c:v>
                </c:pt>
                <c:pt idx="73">
                  <c:v>0.0009446438692612885</c:v>
                </c:pt>
                <c:pt idx="74">
                  <c:v>0.0010105020029593274</c:v>
                </c:pt>
                <c:pt idx="75">
                  <c:v>0.0010670081092616305</c:v>
                </c:pt>
                <c:pt idx="76">
                  <c:v>0.0015070557610631593</c:v>
                </c:pt>
                <c:pt idx="77">
                  <c:v>0.001357527489931671</c:v>
                </c:pt>
                <c:pt idx="78">
                  <c:v>0.0019386953104532354</c:v>
                </c:pt>
                <c:pt idx="79">
                  <c:v>0.0013696128560993425</c:v>
                </c:pt>
                <c:pt idx="80">
                  <c:v>0.0013775369639085315</c:v>
                </c:pt>
                <c:pt idx="81">
                  <c:v>0.0015751661608206231</c:v>
                </c:pt>
                <c:pt idx="82">
                  <c:v>0.0016255356878971479</c:v>
                </c:pt>
                <c:pt idx="83">
                  <c:v>0.0012959936890742096</c:v>
                </c:pt>
                <c:pt idx="84">
                  <c:v>0.0014231499051233396</c:v>
                </c:pt>
                <c:pt idx="85">
                  <c:v>0.001213208144319021</c:v>
                </c:pt>
                <c:pt idx="86">
                  <c:v>0.0011109347722583717</c:v>
                </c:pt>
                <c:pt idx="87">
                  <c:v>0.0010732492621411322</c:v>
                </c:pt>
                <c:pt idx="88">
                  <c:v>0.0015150080484802575</c:v>
                </c:pt>
                <c:pt idx="89">
                  <c:v>0.0017422495516269537</c:v>
                </c:pt>
                <c:pt idx="90">
                  <c:v>0.0015322026734294922</c:v>
                </c:pt>
                <c:pt idx="91">
                  <c:v>0.0017557941205979732</c:v>
                </c:pt>
                <c:pt idx="92">
                  <c:v>0.0014452657224263946</c:v>
                </c:pt>
                <c:pt idx="93">
                  <c:v>0.0013598368195816503</c:v>
                </c:pt>
                <c:pt idx="94">
                  <c:v>0.0015503169030139984</c:v>
                </c:pt>
                <c:pt idx="95">
                  <c:v>0.0016272041975226646</c:v>
                </c:pt>
                <c:pt idx="96">
                  <c:v>0.0020251211456399623</c:v>
                </c:pt>
                <c:pt idx="97">
                  <c:v>0.0024804345036992686</c:v>
                </c:pt>
                <c:pt idx="98">
                  <c:v>0.002372989031932585</c:v>
                </c:pt>
                <c:pt idx="99">
                  <c:v>0.002219103873641615</c:v>
                </c:pt>
                <c:pt idx="100">
                  <c:v>0.001695866763350565</c:v>
                </c:pt>
                <c:pt idx="101">
                  <c:v>0.002240143369175627</c:v>
                </c:pt>
                <c:pt idx="102">
                  <c:v>0.0018302227573750753</c:v>
                </c:pt>
                <c:pt idx="103">
                  <c:v>0.001802624073017684</c:v>
                </c:pt>
                <c:pt idx="104">
                  <c:v>0.00137791181364392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278504827876497</c:v>
                </c:pt>
                <c:pt idx="1">
                  <c:v>0.38661315238339394</c:v>
                </c:pt>
                <c:pt idx="2">
                  <c:v>0.41753803205583906</c:v>
                </c:pt>
                <c:pt idx="3">
                  <c:v>0.36202400225877507</c:v>
                </c:pt>
                <c:pt idx="4">
                  <c:v>0.44022403517320785</c:v>
                </c:pt>
                <c:pt idx="5">
                  <c:v>0.4645631219608182</c:v>
                </c:pt>
                <c:pt idx="6">
                  <c:v>0.425914515673739</c:v>
                </c:pt>
                <c:pt idx="7">
                  <c:v>0.4149102361422014</c:v>
                </c:pt>
                <c:pt idx="8">
                  <c:v>0.4020380164927007</c:v>
                </c:pt>
                <c:pt idx="9">
                  <c:v>0.40678266558844384</c:v>
                </c:pt>
                <c:pt idx="10">
                  <c:v>0.41332982135138613</c:v>
                </c:pt>
                <c:pt idx="11">
                  <c:v>0.39883881667679366</c:v>
                </c:pt>
                <c:pt idx="12">
                  <c:v>0.37447577927239234</c:v>
                </c:pt>
                <c:pt idx="13">
                  <c:v>0.32741400692570843</c:v>
                </c:pt>
                <c:pt idx="14">
                  <c:v>0.32622268918816894</c:v>
                </c:pt>
                <c:pt idx="15">
                  <c:v>0.3345235710876231</c:v>
                </c:pt>
                <c:pt idx="16">
                  <c:v>0.35544146446165903</c:v>
                </c:pt>
                <c:pt idx="17">
                  <c:v>0.2663868631662285</c:v>
                </c:pt>
                <c:pt idx="18">
                  <c:v>0.36970977961204343</c:v>
                </c:pt>
                <c:pt idx="19">
                  <c:v>0.40852536392466465</c:v>
                </c:pt>
                <c:pt idx="20">
                  <c:v>0.3900305307548598</c:v>
                </c:pt>
                <c:pt idx="21">
                  <c:v>0.3442640916545982</c:v>
                </c:pt>
                <c:pt idx="22">
                  <c:v>0.3628748158104141</c:v>
                </c:pt>
                <c:pt idx="23">
                  <c:v>0.2992370694734611</c:v>
                </c:pt>
                <c:pt idx="24">
                  <c:v>0.3766737204713993</c:v>
                </c:pt>
                <c:pt idx="25">
                  <c:v>0.33384142741440775</c:v>
                </c:pt>
                <c:pt idx="26">
                  <c:v>0.3481441990572301</c:v>
                </c:pt>
                <c:pt idx="27">
                  <c:v>0.3378467459171543</c:v>
                </c:pt>
                <c:pt idx="28">
                  <c:v>0.3521130312080286</c:v>
                </c:pt>
                <c:pt idx="29">
                  <c:v>0.3328151074373312</c:v>
                </c:pt>
                <c:pt idx="30">
                  <c:v>0.33656876879220265</c:v>
                </c:pt>
                <c:pt idx="31">
                  <c:v>0.36303128739829227</c:v>
                </c:pt>
                <c:pt idx="32">
                  <c:v>0.42066303050752346</c:v>
                </c:pt>
                <c:pt idx="33">
                  <c:v>0.40119255887228994</c:v>
                </c:pt>
                <c:pt idx="34">
                  <c:v>0.40029003011646014</c:v>
                </c:pt>
                <c:pt idx="35">
                  <c:v>0.36312750873799443</c:v>
                </c:pt>
                <c:pt idx="36">
                  <c:v>0.37889401572575754</c:v>
                </c:pt>
                <c:pt idx="37">
                  <c:v>0.372627500021012</c:v>
                </c:pt>
                <c:pt idx="38">
                  <c:v>0.32295228594700776</c:v>
                </c:pt>
                <c:pt idx="39">
                  <c:v>0.2975203328989363</c:v>
                </c:pt>
                <c:pt idx="40">
                  <c:v>0.2956698676403154</c:v>
                </c:pt>
                <c:pt idx="41">
                  <c:v>0.32716374240808976</c:v>
                </c:pt>
                <c:pt idx="42">
                  <c:v>0.30207639912143625</c:v>
                </c:pt>
                <c:pt idx="43">
                  <c:v>0.34423810179515013</c:v>
                </c:pt>
                <c:pt idx="44">
                  <c:v>0.39857687445512513</c:v>
                </c:pt>
                <c:pt idx="45">
                  <c:v>0.42520361551925084</c:v>
                </c:pt>
                <c:pt idx="46">
                  <c:v>0.42862945553866766</c:v>
                </c:pt>
                <c:pt idx="47">
                  <c:v>0.41596491395576185</c:v>
                </c:pt>
                <c:pt idx="48">
                  <c:v>0.38472795556170414</c:v>
                </c:pt>
                <c:pt idx="49">
                  <c:v>0.3876947451354015</c:v>
                </c:pt>
                <c:pt idx="50">
                  <c:v>0.4174018947351951</c:v>
                </c:pt>
                <c:pt idx="51">
                  <c:v>0.4188196860222043</c:v>
                </c:pt>
              </c:numCache>
            </c:numRef>
          </c:xVal>
          <c:yVal>
            <c:numRef>
              <c:f>Sheet1!$B$109:$B$160</c:f>
              <c:numCache>
                <c:formatCode>General</c:formatCode>
                <c:ptCount val="52"/>
                <c:pt idx="0">
                  <c:v>0.0013676342285835555</c:v>
                </c:pt>
                <c:pt idx="1">
                  <c:v>0.0016121312879417617</c:v>
                </c:pt>
                <c:pt idx="2">
                  <c:v>0.0015792364734962922</c:v>
                </c:pt>
                <c:pt idx="3">
                  <c:v>0.001684766523233841</c:v>
                </c:pt>
                <c:pt idx="4">
                  <c:v>0.0016007156140392174</c:v>
                </c:pt>
                <c:pt idx="5">
                  <c:v>0.0014035922445581064</c:v>
                </c:pt>
                <c:pt idx="6">
                  <c:v>0.0016303474247399482</c:v>
                </c:pt>
                <c:pt idx="7">
                  <c:v>0.0018851597750169974</c:v>
                </c:pt>
                <c:pt idx="8">
                  <c:v>0.0022411474675033617</c:v>
                </c:pt>
                <c:pt idx="9">
                  <c:v>0.0022998645285277714</c:v>
                </c:pt>
                <c:pt idx="10">
                  <c:v>0.0021934501142421934</c:v>
                </c:pt>
                <c:pt idx="11">
                  <c:v>0.002252559726962457</c:v>
                </c:pt>
                <c:pt idx="12">
                  <c:v>0.002291786030522423</c:v>
                </c:pt>
                <c:pt idx="13">
                  <c:v>0.003356786078736774</c:v>
                </c:pt>
                <c:pt idx="14">
                  <c:v>0.00329821079361373</c:v>
                </c:pt>
                <c:pt idx="15">
                  <c:v>0.003212325349301397</c:v>
                </c:pt>
                <c:pt idx="16">
                  <c:v>0.0029529268716345317</c:v>
                </c:pt>
                <c:pt idx="17">
                  <c:v>0.0038974886936059125</c:v>
                </c:pt>
                <c:pt idx="18">
                  <c:v>0.0021214531954388757</c:v>
                </c:pt>
                <c:pt idx="19">
                  <c:v>0.0018730404332423958</c:v>
                </c:pt>
                <c:pt idx="20">
                  <c:v>0.0021718895439031957</c:v>
                </c:pt>
                <c:pt idx="21">
                  <c:v>0.0028803072327714956</c:v>
                </c:pt>
                <c:pt idx="22">
                  <c:v>0.0024777268174389793</c:v>
                </c:pt>
                <c:pt idx="23">
                  <c:v>0.002520824199912319</c:v>
                </c:pt>
                <c:pt idx="24">
                  <c:v>0.002333782802613837</c:v>
                </c:pt>
                <c:pt idx="25">
                  <c:v>0.0026646364674533687</c:v>
                </c:pt>
                <c:pt idx="26">
                  <c:v>0.0026880330834841044</c:v>
                </c:pt>
                <c:pt idx="27">
                  <c:v>0.002563163676309044</c:v>
                </c:pt>
                <c:pt idx="28">
                  <c:v>0.00214574217435207</c:v>
                </c:pt>
                <c:pt idx="29">
                  <c:v>0.002537187204616686</c:v>
                </c:pt>
                <c:pt idx="30">
                  <c:v>0.0024335939522601357</c:v>
                </c:pt>
                <c:pt idx="31">
                  <c:v>0.002530917457578372</c:v>
                </c:pt>
                <c:pt idx="32">
                  <c:v>0.002152852529601722</c:v>
                </c:pt>
                <c:pt idx="33">
                  <c:v>0.0021762321314273522</c:v>
                </c:pt>
                <c:pt idx="34">
                  <c:v>0.002031075454453133</c:v>
                </c:pt>
                <c:pt idx="35">
                  <c:v>0.002415172031516015</c:v>
                </c:pt>
                <c:pt idx="36">
                  <c:v>0.0027545047629978195</c:v>
                </c:pt>
                <c:pt idx="37">
                  <c:v>0.002826041448607913</c:v>
                </c:pt>
                <c:pt idx="38">
                  <c:v>0.003170028818443804</c:v>
                </c:pt>
                <c:pt idx="39">
                  <c:v>0.003128631447215518</c:v>
                </c:pt>
                <c:pt idx="40">
                  <c:v>0.0029284496700030596</c:v>
                </c:pt>
                <c:pt idx="41">
                  <c:v>0.002398081534772182</c:v>
                </c:pt>
                <c:pt idx="42">
                  <c:v>0.0027427317608337905</c:v>
                </c:pt>
                <c:pt idx="43">
                  <c:v>0.002001932900731741</c:v>
                </c:pt>
                <c:pt idx="44">
                  <c:v>0.0015277737741777406</c:v>
                </c:pt>
                <c:pt idx="45">
                  <c:v>0.0012751176186079232</c:v>
                </c:pt>
                <c:pt idx="46">
                  <c:v>0.0013695022386094285</c:v>
                </c:pt>
                <c:pt idx="47">
                  <c:v>0.0014572578852471163</c:v>
                </c:pt>
                <c:pt idx="48">
                  <c:v>0.0016001995053928802</c:v>
                </c:pt>
                <c:pt idx="49">
                  <c:v>0.0014821852731591448</c:v>
                </c:pt>
                <c:pt idx="50">
                  <c:v>0.0012532610363701468</c:v>
                </c:pt>
                <c:pt idx="51">
                  <c:v>0.001362751460090850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3644630054534486</c:v>
                </c:pt>
              </c:numCache>
            </c:numRef>
          </c:xVal>
          <c:yVal>
            <c:numRef>
              <c:f>Sheet1!$B$163:$B$164</c:f>
              <c:numCache>
                <c:formatCode>General</c:formatCode>
                <c:ptCount val="2"/>
                <c:pt idx="0">
                  <c:v>0.002677083737884858</c:v>
                </c:pt>
                <c:pt idx="1">
                  <c:v>0.00267708373788485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3644630054534486</c:v>
                </c:pt>
                <c:pt idx="1">
                  <c:v>0.33644630054534486</c:v>
                </c:pt>
              </c:numCache>
            </c:numRef>
          </c:xVal>
          <c:yVal>
            <c:numRef>
              <c:f>Sheet1!$B$167:$B$168</c:f>
              <c:numCache>
                <c:formatCode>General</c:formatCode>
                <c:ptCount val="2"/>
                <c:pt idx="0">
                  <c:v>0.00267708373788485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3644630054534486</c:v>
                </c:pt>
              </c:numCache>
            </c:numRef>
          </c:xVal>
          <c:yVal>
            <c:numRef>
              <c:f>Sheet1!$B$171:$B$172</c:f>
              <c:numCache>
                <c:formatCode>General</c:formatCode>
                <c:ptCount val="2"/>
                <c:pt idx="0">
                  <c:v>0.002677083737884858</c:v>
                </c:pt>
                <c:pt idx="1">
                  <c:v>0.00267708373788485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3644630054534486</c:v>
                </c:pt>
                <c:pt idx="1">
                  <c:v>0.33644630054534486</c:v>
                </c:pt>
              </c:numCache>
            </c:numRef>
          </c:xVal>
          <c:yVal>
            <c:numRef>
              <c:f>Sheet1!$B$175:$B$176</c:f>
              <c:numCache>
                <c:formatCode>General</c:formatCode>
                <c:ptCount val="2"/>
                <c:pt idx="0">
                  <c:v>0.00267708373788485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036436224820067</c:v>
                </c:pt>
              </c:numCache>
            </c:numRef>
          </c:xVal>
          <c:yVal>
            <c:numRef>
              <c:f>Sheet1!$B$179:$B$180</c:f>
              <c:numCache>
                <c:formatCode>General</c:formatCode>
                <c:ptCount val="2"/>
                <c:pt idx="0">
                  <c:v>0.001886759700400886</c:v>
                </c:pt>
                <c:pt idx="1">
                  <c:v>0.00188675970040088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036436224820067</c:v>
                </c:pt>
                <c:pt idx="1">
                  <c:v>0.4036436224820067</c:v>
                </c:pt>
              </c:numCache>
            </c:numRef>
          </c:xVal>
          <c:yVal>
            <c:numRef>
              <c:f>Sheet1!$B$183:$B$184</c:f>
              <c:numCache>
                <c:formatCode>General</c:formatCode>
                <c:ptCount val="2"/>
                <c:pt idx="0">
                  <c:v>0.0018867597004008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278504827876497</c:v>
                </c:pt>
                <c:pt idx="1">
                  <c:v>0.38661315238339394</c:v>
                </c:pt>
                <c:pt idx="2">
                  <c:v>0.41753803205583906</c:v>
                </c:pt>
                <c:pt idx="3">
                  <c:v>0.36202400225877507</c:v>
                </c:pt>
                <c:pt idx="4">
                  <c:v>0.44022403517320785</c:v>
                </c:pt>
                <c:pt idx="5">
                  <c:v>0.4645631219608182</c:v>
                </c:pt>
                <c:pt idx="6">
                  <c:v>0.425914515673739</c:v>
                </c:pt>
                <c:pt idx="7">
                  <c:v>0.4149102361422014</c:v>
                </c:pt>
                <c:pt idx="8">
                  <c:v>0.4020380164927007</c:v>
                </c:pt>
                <c:pt idx="9">
                  <c:v>0.40678266558844384</c:v>
                </c:pt>
                <c:pt idx="10">
                  <c:v>0.41332982135138613</c:v>
                </c:pt>
                <c:pt idx="11">
                  <c:v>0.39883881667679366</c:v>
                </c:pt>
                <c:pt idx="12">
                  <c:v>0.37447577927239234</c:v>
                </c:pt>
                <c:pt idx="13">
                  <c:v>0.32741400692570843</c:v>
                </c:pt>
                <c:pt idx="14">
                  <c:v>0.32622268918816894</c:v>
                </c:pt>
                <c:pt idx="15">
                  <c:v>0.3345235710876231</c:v>
                </c:pt>
                <c:pt idx="16">
                  <c:v>0.35544146446165903</c:v>
                </c:pt>
                <c:pt idx="17">
                  <c:v>0.2663868631662285</c:v>
                </c:pt>
                <c:pt idx="18">
                  <c:v>0.36970977961204343</c:v>
                </c:pt>
                <c:pt idx="19">
                  <c:v>0.40852536392466465</c:v>
                </c:pt>
                <c:pt idx="20">
                  <c:v>0.3900305307548598</c:v>
                </c:pt>
                <c:pt idx="21">
                  <c:v>0.3442640916545982</c:v>
                </c:pt>
                <c:pt idx="22">
                  <c:v>0.3628748158104141</c:v>
                </c:pt>
                <c:pt idx="23">
                  <c:v>0.2992370694734611</c:v>
                </c:pt>
                <c:pt idx="24">
                  <c:v>0.3766737204713993</c:v>
                </c:pt>
                <c:pt idx="25">
                  <c:v>0.33384142741440775</c:v>
                </c:pt>
                <c:pt idx="26">
                  <c:v>0.3481441990572301</c:v>
                </c:pt>
                <c:pt idx="27">
                  <c:v>0.3378467459171543</c:v>
                </c:pt>
                <c:pt idx="28">
                  <c:v>0.3521130312080286</c:v>
                </c:pt>
                <c:pt idx="29">
                  <c:v>0.3328151074373312</c:v>
                </c:pt>
                <c:pt idx="30">
                  <c:v>0.33656876879220265</c:v>
                </c:pt>
                <c:pt idx="31">
                  <c:v>0.36303128739829227</c:v>
                </c:pt>
                <c:pt idx="32">
                  <c:v>0.42066303050752346</c:v>
                </c:pt>
                <c:pt idx="33">
                  <c:v>0.40119255887228994</c:v>
                </c:pt>
                <c:pt idx="34">
                  <c:v>0.40029003011646014</c:v>
                </c:pt>
                <c:pt idx="35">
                  <c:v>0.36312750873799443</c:v>
                </c:pt>
                <c:pt idx="36">
                  <c:v>0.37889401572575754</c:v>
                </c:pt>
                <c:pt idx="37">
                  <c:v>0.372627500021012</c:v>
                </c:pt>
                <c:pt idx="38">
                  <c:v>0.32295228594700776</c:v>
                </c:pt>
                <c:pt idx="39">
                  <c:v>0.2975203328989363</c:v>
                </c:pt>
                <c:pt idx="40">
                  <c:v>0.2956698676403154</c:v>
                </c:pt>
                <c:pt idx="41">
                  <c:v>0.32716374240808976</c:v>
                </c:pt>
                <c:pt idx="42">
                  <c:v>0.30207639912143625</c:v>
                </c:pt>
                <c:pt idx="43">
                  <c:v>0.34423810179515013</c:v>
                </c:pt>
                <c:pt idx="44">
                  <c:v>0.39857687445512513</c:v>
                </c:pt>
                <c:pt idx="45">
                  <c:v>0.42520361551925084</c:v>
                </c:pt>
                <c:pt idx="46">
                  <c:v>0.42862945553866766</c:v>
                </c:pt>
                <c:pt idx="47">
                  <c:v>0.41596491395576185</c:v>
                </c:pt>
                <c:pt idx="48">
                  <c:v>0.38472795556170414</c:v>
                </c:pt>
                <c:pt idx="49">
                  <c:v>0.3876947451354015</c:v>
                </c:pt>
                <c:pt idx="50">
                  <c:v>0.4174018947351951</c:v>
                </c:pt>
                <c:pt idx="51">
                  <c:v>0.4188196860222043</c:v>
                </c:pt>
                <c:pt idx="52">
                  <c:v>0.33644630054534486</c:v>
                </c:pt>
                <c:pt idx="53">
                  <c:v>0.33644630054534486</c:v>
                </c:pt>
                <c:pt idx="54">
                  <c:v>0.4036436224820067</c:v>
                </c:pt>
              </c:numCache>
            </c:numRef>
          </c:xVal>
          <c:yVal>
            <c:numRef>
              <c:f>Sheet1!$B$187:$B$241</c:f>
              <c:numCache>
                <c:formatCode>General</c:formatCode>
                <c:ptCount val="55"/>
                <c:pt idx="0">
                  <c:v>0.001602056932192373</c:v>
                </c:pt>
                <c:pt idx="1">
                  <c:v>0.002087059198962336</c:v>
                </c:pt>
                <c:pt idx="2">
                  <c:v>0.0017233441719785242</c:v>
                </c:pt>
                <c:pt idx="3">
                  <c:v>0.0023762581706580476</c:v>
                </c:pt>
                <c:pt idx="4">
                  <c:v>0.0014565285748481434</c:v>
                </c:pt>
                <c:pt idx="5">
                  <c:v>0.0011702706588438702</c:v>
                </c:pt>
                <c:pt idx="6">
                  <c:v>0.0016248263120099832</c:v>
                </c:pt>
                <c:pt idx="7">
                  <c:v>0.0017542503184780458</c:v>
                </c:pt>
                <c:pt idx="8">
                  <c:v>0.0019056436227285175</c:v>
                </c:pt>
                <c:pt idx="9">
                  <c:v>0.0018498406513939329</c:v>
                </c:pt>
                <c:pt idx="10">
                  <c:v>0.0017728379609968032</c:v>
                </c:pt>
                <c:pt idx="11">
                  <c:v>0.0019432701894183148</c:v>
                </c:pt>
                <c:pt idx="12">
                  <c:v>0.002229809794448533</c:v>
                </c:pt>
                <c:pt idx="13">
                  <c:v>0.0027833147386967694</c:v>
                </c:pt>
                <c:pt idx="14">
                  <c:v>0.0027973261161910383</c:v>
                </c:pt>
                <c:pt idx="15">
                  <c:v>0.0026996974264102483</c:v>
                </c:pt>
                <c:pt idx="16">
                  <c:v>0.0024536769977596866</c:v>
                </c:pt>
                <c:pt idx="17">
                  <c:v>0.0035010698108046768</c:v>
                </c:pt>
                <c:pt idx="18">
                  <c:v>0.002285863874963298</c:v>
                </c:pt>
                <c:pt idx="19">
                  <c:v>0.0018293443526501097</c:v>
                </c:pt>
                <c:pt idx="20">
                  <c:v>0.0020468665812462157</c:v>
                </c:pt>
                <c:pt idx="21">
                  <c:v>0.002585136796316336</c:v>
                </c:pt>
                <c:pt idx="22">
                  <c:v>0.0023662515456632123</c:v>
                </c:pt>
                <c:pt idx="23">
                  <c:v>0.003114710549264688</c:v>
                </c:pt>
                <c:pt idx="24">
                  <c:v>0.0022039592737359837</c:v>
                </c:pt>
                <c:pt idx="25">
                  <c:v>0.002707720283965016</c:v>
                </c:pt>
                <c:pt idx="26">
                  <c:v>0.0025395019099854503</c:v>
                </c:pt>
                <c:pt idx="27">
                  <c:v>0.0026606127594496253</c:v>
                </c:pt>
                <c:pt idx="28">
                  <c:v>0.002492823510324348</c:v>
                </c:pt>
                <c:pt idx="29">
                  <c:v>0.002719791082691163</c:v>
                </c:pt>
                <c:pt idx="30">
                  <c:v>0.002675643359064234</c:v>
                </c:pt>
                <c:pt idx="31">
                  <c:v>0.002364411245283385</c:v>
                </c:pt>
                <c:pt idx="32">
                  <c:v>0.001686590305570064</c:v>
                </c:pt>
                <c:pt idx="33">
                  <c:v>0.0019155872553142687</c:v>
                </c:pt>
                <c:pt idx="34">
                  <c:v>0.0019262021153964182</c:v>
                </c:pt>
                <c:pt idx="35">
                  <c:v>0.002363279562717862</c:v>
                </c:pt>
                <c:pt idx="36">
                  <c:v>0.0021778458415446693</c:v>
                </c:pt>
                <c:pt idx="37">
                  <c:v>0.002251547855999938</c:v>
                </c:pt>
                <c:pt idx="38">
                  <c:v>0.0028357901236732326</c:v>
                </c:pt>
                <c:pt idx="39">
                  <c:v>0.0031349015054184725</c:v>
                </c:pt>
                <c:pt idx="40">
                  <c:v>0.0031566652771324046</c:v>
                </c:pt>
                <c:pt idx="41">
                  <c:v>0.002786258160522267</c:v>
                </c:pt>
                <c:pt idx="42">
                  <c:v>0.0030813165030964384</c:v>
                </c:pt>
                <c:pt idx="43">
                  <c:v>0.0025854424693708663</c:v>
                </c:pt>
                <c:pt idx="44">
                  <c:v>0.0019463509555597358</c:v>
                </c:pt>
                <c:pt idx="45">
                  <c:v>0.0016331873815310666</c:v>
                </c:pt>
                <c:pt idx="46">
                  <c:v>0.0015928952443165553</c:v>
                </c:pt>
                <c:pt idx="47">
                  <c:v>0.0017418459963438465</c:v>
                </c:pt>
                <c:pt idx="48">
                  <c:v>0.002109231457031998</c:v>
                </c:pt>
                <c:pt idx="49">
                  <c:v>0.002074338323694632</c:v>
                </c:pt>
                <c:pt idx="50">
                  <c:v>0.0017249453160985972</c:v>
                </c:pt>
                <c:pt idx="51">
                  <c:v>0.0017082703281382904</c:v>
                </c:pt>
                <c:pt idx="52">
                  <c:v>0.0026770837378848585</c:v>
                </c:pt>
                <c:pt idx="53">
                  <c:v>0.0026770837378848585</c:v>
                </c:pt>
                <c:pt idx="54">
                  <c:v>0.001886759700400885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76986432327094"/>
          <c:min val="4.126050853576771e-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34.3125</c:v>
                </c:pt>
                <c:pt idx="1">
                  <c:v>3740.2</c:v>
                </c:pt>
                <c:pt idx="2">
                  <c:v>3175.8333</c:v>
                </c:pt>
                <c:pt idx="3">
                  <c:v>3027.4</c:v>
                </c:pt>
                <c:pt idx="4">
                  <c:v>3982.3333</c:v>
                </c:pt>
                <c:pt idx="5">
                  <c:v>3848.6667</c:v>
                </c:pt>
                <c:pt idx="6">
                  <c:v>3216.6364</c:v>
                </c:pt>
                <c:pt idx="7">
                  <c:v>3208.875</c:v>
                </c:pt>
                <c:pt idx="8">
                  <c:v>3023.0</c:v>
                </c:pt>
                <c:pt idx="9">
                  <c:v>3233.3333</c:v>
                </c:pt>
                <c:pt idx="10">
                  <c:v>3528.3333</c:v>
                </c:pt>
                <c:pt idx="11">
                  <c:v>3129.7</c:v>
                </c:pt>
                <c:pt idx="12">
                  <c:v>3208.4545</c:v>
                </c:pt>
                <c:pt idx="13">
                  <c:v>3153.0</c:v>
                </c:pt>
                <c:pt idx="14">
                  <c:v>3951.0</c:v>
                </c:pt>
                <c:pt idx="15">
                  <c:v>3128.3333</c:v>
                </c:pt>
                <c:pt idx="16">
                  <c:v>4342.0</c:v>
                </c:pt>
                <c:pt idx="17">
                  <c:v>3291.5</c:v>
                </c:pt>
                <c:pt idx="18">
                  <c:v>4434.0</c:v>
                </c:pt>
                <c:pt idx="19">
                  <c:v>3808.0</c:v>
                </c:pt>
                <c:pt idx="20">
                  <c:v>3044.2</c:v>
                </c:pt>
                <c:pt idx="21">
                  <c:v>6720.0</c:v>
                </c:pt>
                <c:pt idx="22">
                  <c:v>3122.1429</c:v>
                </c:pt>
                <c:pt idx="23">
                  <c:v>3924.6</c:v>
                </c:pt>
                <c:pt idx="24">
                  <c:v>2808.3333</c:v>
                </c:pt>
                <c:pt idx="25">
                  <c:v>2765.0</c:v>
                </c:pt>
                <c:pt idx="26">
                  <c:v>3202.0</c:v>
                </c:pt>
                <c:pt idx="27">
                  <c:v>3106.4</c:v>
                </c:pt>
                <c:pt idx="28">
                  <c:v>3346.6</c:v>
                </c:pt>
                <c:pt idx="29">
                  <c:v>3119.6667</c:v>
                </c:pt>
                <c:pt idx="30">
                  <c:v>3099.8</c:v>
                </c:pt>
                <c:pt idx="31">
                  <c:v>3342.0</c:v>
                </c:pt>
                <c:pt idx="32">
                  <c:v>4329.0</c:v>
                </c:pt>
                <c:pt idx="33">
                  <c:v>2663.4615</c:v>
                </c:pt>
                <c:pt idx="34">
                  <c:v>3005.3571</c:v>
                </c:pt>
                <c:pt idx="35">
                  <c:v>2884.4444</c:v>
                </c:pt>
                <c:pt idx="36">
                  <c:v>2882.1111</c:v>
                </c:pt>
                <c:pt idx="37">
                  <c:v>3050.0</c:v>
                </c:pt>
                <c:pt idx="38">
                  <c:v>3066.2</c:v>
                </c:pt>
                <c:pt idx="39">
                  <c:v>3735.1667</c:v>
                </c:pt>
                <c:pt idx="40">
                  <c:v>4272.75</c:v>
                </c:pt>
                <c:pt idx="41">
                  <c:v>4003.25</c:v>
                </c:pt>
                <c:pt idx="42">
                  <c:v>3549.6667</c:v>
                </c:pt>
                <c:pt idx="43">
                  <c:v>3104.1429</c:v>
                </c:pt>
                <c:pt idx="44">
                  <c:v>3004.2222</c:v>
                </c:pt>
                <c:pt idx="45">
                  <c:v>3138.1429</c:v>
                </c:pt>
                <c:pt idx="46">
                  <c:v>2995.8667</c:v>
                </c:pt>
                <c:pt idx="47">
                  <c:v>2660.1667</c:v>
                </c:pt>
                <c:pt idx="48">
                  <c:v>3669.0</c:v>
                </c:pt>
                <c:pt idx="49">
                  <c:v>3025.0556</c:v>
                </c:pt>
                <c:pt idx="50">
                  <c:v>3099.3571</c:v>
                </c:pt>
                <c:pt idx="51">
                  <c:v>2739.4667</c:v>
                </c:pt>
                <c:pt idx="52">
                  <c:v>3202.5</c:v>
                </c:pt>
                <c:pt idx="53">
                  <c:v>3334.5</c:v>
                </c:pt>
                <c:pt idx="54">
                  <c:v>2909.6923</c:v>
                </c:pt>
                <c:pt idx="55">
                  <c:v>3116.0</c:v>
                </c:pt>
                <c:pt idx="56">
                  <c:v>2599.75</c:v>
                </c:pt>
                <c:pt idx="57">
                  <c:v>2696.8333</c:v>
                </c:pt>
                <c:pt idx="58">
                  <c:v>2451.5714</c:v>
                </c:pt>
                <c:pt idx="59">
                  <c:v>2641.6154</c:v>
                </c:pt>
                <c:pt idx="60">
                  <c:v>2559.1905</c:v>
                </c:pt>
                <c:pt idx="61">
                  <c:v>2616.8125</c:v>
                </c:pt>
                <c:pt idx="62">
                  <c:v>2355.3889</c:v>
                </c:pt>
                <c:pt idx="63">
                  <c:v>2616.8235</c:v>
                </c:pt>
                <c:pt idx="64">
                  <c:v>2307.1667</c:v>
                </c:pt>
                <c:pt idx="65">
                  <c:v>2335.0625</c:v>
                </c:pt>
                <c:pt idx="66">
                  <c:v>2205.0588</c:v>
                </c:pt>
                <c:pt idx="67">
                  <c:v>2366.9167</c:v>
                </c:pt>
                <c:pt idx="68">
                  <c:v>1907.25</c:v>
                </c:pt>
                <c:pt idx="69">
                  <c:v>1806.8462</c:v>
                </c:pt>
                <c:pt idx="70">
                  <c:v>2093.8182</c:v>
                </c:pt>
                <c:pt idx="71">
                  <c:v>1689.1818</c:v>
                </c:pt>
                <c:pt idx="72">
                  <c:v>2030.4375</c:v>
                </c:pt>
                <c:pt idx="73">
                  <c:v>1540.12</c:v>
                </c:pt>
                <c:pt idx="74">
                  <c:v>1899.0714</c:v>
                </c:pt>
                <c:pt idx="75">
                  <c:v>2853.48</c:v>
                </c:pt>
                <c:pt idx="76">
                  <c:v>2875.1212</c:v>
                </c:pt>
                <c:pt idx="77">
                  <c:v>3425.6333</c:v>
                </c:pt>
                <c:pt idx="78">
                  <c:v>2855.7568</c:v>
                </c:pt>
                <c:pt idx="79">
                  <c:v>3978.3</c:v>
                </c:pt>
                <c:pt idx="80">
                  <c:v>3440.1333</c:v>
                </c:pt>
                <c:pt idx="81">
                  <c:v>3386.2927</c:v>
                </c:pt>
                <c:pt idx="82">
                  <c:v>3334.303</c:v>
                </c:pt>
                <c:pt idx="83">
                  <c:v>3918.6087</c:v>
                </c:pt>
                <c:pt idx="84">
                  <c:v>3499.875</c:v>
                </c:pt>
                <c:pt idx="85">
                  <c:v>3327.3478</c:v>
                </c:pt>
                <c:pt idx="86">
                  <c:v>4500.5714</c:v>
                </c:pt>
                <c:pt idx="87">
                  <c:v>4381.2143</c:v>
                </c:pt>
                <c:pt idx="88">
                  <c:v>3936.9063</c:v>
                </c:pt>
                <c:pt idx="89">
                  <c:v>3929.9118</c:v>
                </c:pt>
                <c:pt idx="90">
                  <c:v>4465.6207</c:v>
                </c:pt>
                <c:pt idx="91">
                  <c:v>3604.8857</c:v>
                </c:pt>
                <c:pt idx="92">
                  <c:v>4148.6286</c:v>
                </c:pt>
                <c:pt idx="93">
                  <c:v>4459.8824</c:v>
                </c:pt>
                <c:pt idx="94">
                  <c:v>4274.8824</c:v>
                </c:pt>
                <c:pt idx="95">
                  <c:v>4202.5714</c:v>
                </c:pt>
                <c:pt idx="96">
                  <c:v>3518.4405</c:v>
                </c:pt>
                <c:pt idx="97">
                  <c:v>3508.6293</c:v>
                </c:pt>
                <c:pt idx="98">
                  <c:v>3336.811</c:v>
                </c:pt>
                <c:pt idx="99">
                  <c:v>3491.1985</c:v>
                </c:pt>
                <c:pt idx="100">
                  <c:v>3901.069</c:v>
                </c:pt>
                <c:pt idx="101">
                  <c:v>3699.9652</c:v>
                </c:pt>
                <c:pt idx="102">
                  <c:v>3851.6974</c:v>
                </c:pt>
                <c:pt idx="103">
                  <c:v>3939.1392</c:v>
                </c:pt>
                <c:pt idx="104">
                  <c:v>4226.3208</c:v>
                </c:pt>
              </c:numCache>
            </c:numRef>
          </c:xVal>
          <c:yVal>
            <c:numRef>
              <c:f>Sheet1!$B$2:$B$106</c:f>
              <c:numCache>
                <c:formatCode>General</c:formatCode>
                <c:ptCount val="105"/>
                <c:pt idx="0">
                  <c:v>0.0004068348250610252</c:v>
                </c:pt>
                <c:pt idx="1">
                  <c:v>0.00013251000450534016</c:v>
                </c:pt>
                <c:pt idx="2">
                  <c:v>0.00015396063739703882</c:v>
                </c:pt>
                <c:pt idx="3">
                  <c:v>0.00013456776832813006</c:v>
                </c:pt>
                <c:pt idx="4">
                  <c:v>9.577015163607342e-05</c:v>
                </c:pt>
                <c:pt idx="5">
                  <c:v>0.0001952044766893321</c:v>
                </c:pt>
                <c:pt idx="6">
                  <c:v>0.00035394813051032887</c:v>
                </c:pt>
                <c:pt idx="7">
                  <c:v>0.0002935995302407516</c:v>
                </c:pt>
                <c:pt idx="8">
                  <c:v>0.0002665448176071891</c:v>
                </c:pt>
                <c:pt idx="9">
                  <c:v>0.0002675704602211916</c:v>
                </c:pt>
                <c:pt idx="10">
                  <c:v>0.00017219113215669393</c:v>
                </c:pt>
                <c:pt idx="11">
                  <c:v>0.00028758771425284714</c:v>
                </c:pt>
                <c:pt idx="12">
                  <c:v>0.00029195530429705125</c:v>
                </c:pt>
                <c:pt idx="13">
                  <c:v>0.00028119112560807583</c:v>
                </c:pt>
                <c:pt idx="14">
                  <c:v>8.361437052314724e-05</c:v>
                </c:pt>
                <c:pt idx="15">
                  <c:v>0.00019857686579513486</c:v>
                </c:pt>
                <c:pt idx="16">
                  <c:v>7.464079119238663e-05</c:v>
                </c:pt>
                <c:pt idx="17">
                  <c:v>0.00016345210853220007</c:v>
                </c:pt>
                <c:pt idx="18">
                  <c:v>9.092148929399464e-05</c:v>
                </c:pt>
                <c:pt idx="19">
                  <c:v>0.00015876375952582556</c:v>
                </c:pt>
                <c:pt idx="20">
                  <c:v>0.00021842645581232798</c:v>
                </c:pt>
                <c:pt idx="21">
                  <c:v>5.157563566970963e-05</c:v>
                </c:pt>
                <c:pt idx="22">
                  <c:v>0.0003682272488164124</c:v>
                </c:pt>
                <c:pt idx="23">
                  <c:v>0.0002789089083505327</c:v>
                </c:pt>
                <c:pt idx="24">
                  <c:v>0.0004662970830526916</c:v>
                </c:pt>
                <c:pt idx="25">
                  <c:v>0.000583158385817588</c:v>
                </c:pt>
                <c:pt idx="26">
                  <c:v>0.0005226025607525476</c:v>
                </c:pt>
                <c:pt idx="27">
                  <c:v>0.0002508277315139962</c:v>
                </c:pt>
                <c:pt idx="28">
                  <c:v>0.0002559770644550248</c:v>
                </c:pt>
                <c:pt idx="29">
                  <c:v>0.00040578926011091576</c:v>
                </c:pt>
                <c:pt idx="30">
                  <c:v>0.00029064698017787597</c:v>
                </c:pt>
                <c:pt idx="31">
                  <c:v>0.00033163829316825116</c:v>
                </c:pt>
                <c:pt idx="32">
                  <c:v>0.00021867483052700635</c:v>
                </c:pt>
                <c:pt idx="33">
                  <c:v>0.0005688531046252134</c:v>
                </c:pt>
                <c:pt idx="34">
                  <c:v>0.0005597984725498821</c:v>
                </c:pt>
                <c:pt idx="35">
                  <c:v>0.0006072055053299149</c:v>
                </c:pt>
                <c:pt idx="36">
                  <c:v>0.0003740959348241749</c:v>
                </c:pt>
                <c:pt idx="37">
                  <c:v>0.0002884615384615385</c:v>
                </c:pt>
                <c:pt idx="38">
                  <c:v>0.0002411149153686647</c:v>
                </c:pt>
                <c:pt idx="39">
                  <c:v>0.0003058103975535168</c:v>
                </c:pt>
                <c:pt idx="40">
                  <c:v>0.00017058296729071602</c:v>
                </c:pt>
                <c:pt idx="41">
                  <c:v>0.00018400956849756188</c:v>
                </c:pt>
                <c:pt idx="42">
                  <c:v>0.00011764244539429826</c:v>
                </c:pt>
                <c:pt idx="43">
                  <c:v>0.00024577788701239423</c:v>
                </c:pt>
                <c:pt idx="44">
                  <c:v>0.0002135585981064471</c:v>
                </c:pt>
                <c:pt idx="45">
                  <c:v>0.00015428697377121447</c:v>
                </c:pt>
                <c:pt idx="46">
                  <c:v>0.00031837670331536275</c:v>
                </c:pt>
                <c:pt idx="47">
                  <c:v>0.00038505144715168886</c:v>
                </c:pt>
                <c:pt idx="48">
                  <c:v>0.00019302845561149806</c:v>
                </c:pt>
                <c:pt idx="49">
                  <c:v>0.00019773483758280146</c:v>
                </c:pt>
                <c:pt idx="50">
                  <c:v>0.00029062525948683884</c:v>
                </c:pt>
                <c:pt idx="51">
                  <c:v>0.00037329218823880747</c:v>
                </c:pt>
                <c:pt idx="52">
                  <c:v>0.0001283175431467739</c:v>
                </c:pt>
                <c:pt idx="53">
                  <c:v>0.00015959569091634525</c:v>
                </c:pt>
                <c:pt idx="54">
                  <c:v>0.0003744239631336406</c:v>
                </c:pt>
                <c:pt idx="55">
                  <c:v>0.00023897003913134391</c:v>
                </c:pt>
                <c:pt idx="56">
                  <c:v>0.00024144383412808595</c:v>
                </c:pt>
                <c:pt idx="57">
                  <c:v>0.00015713799334782496</c:v>
                </c:pt>
                <c:pt idx="58">
                  <c:v>0.0001700308484539338</c:v>
                </c:pt>
                <c:pt idx="59">
                  <c:v>0.00020895618349567622</c:v>
                </c:pt>
                <c:pt idx="60">
                  <c:v>0.0003703377127237457</c:v>
                </c:pt>
                <c:pt idx="61">
                  <c:v>0.0003837206513658057</c:v>
                </c:pt>
                <c:pt idx="62">
                  <c:v>0.0004231013327691982</c:v>
                </c:pt>
                <c:pt idx="63">
                  <c:v>0.00036491649851886834</c:v>
                </c:pt>
                <c:pt idx="64">
                  <c:v>0.0005016617545619866</c:v>
                </c:pt>
                <c:pt idx="65">
                  <c:v>0.00036552212551115986</c:v>
                </c:pt>
                <c:pt idx="66">
                  <c:v>0.00040122728345527497</c:v>
                </c:pt>
                <c:pt idx="67">
                  <c:v>0.0002922552362396493</c:v>
                </c:pt>
                <c:pt idx="68">
                  <c:v>0.00046797309154723605</c:v>
                </c:pt>
                <c:pt idx="69">
                  <c:v>0.0004883546205860256</c:v>
                </c:pt>
                <c:pt idx="70">
                  <c:v>0.00038771985478129074</c:v>
                </c:pt>
                <c:pt idx="71">
                  <c:v>0.00041471874528728697</c:v>
                </c:pt>
                <c:pt idx="72">
                  <c:v>0.0005811841627315655</c:v>
                </c:pt>
                <c:pt idx="73">
                  <c:v>0.0009446438692612885</c:v>
                </c:pt>
                <c:pt idx="74">
                  <c:v>0.0010105020029593274</c:v>
                </c:pt>
                <c:pt idx="75">
                  <c:v>0.0010670081092616305</c:v>
                </c:pt>
                <c:pt idx="76">
                  <c:v>0.0015070557610631593</c:v>
                </c:pt>
                <c:pt idx="77">
                  <c:v>0.001357527489931671</c:v>
                </c:pt>
                <c:pt idx="78">
                  <c:v>0.0019386953104532354</c:v>
                </c:pt>
                <c:pt idx="79">
                  <c:v>0.0013696128560993425</c:v>
                </c:pt>
                <c:pt idx="80">
                  <c:v>0.0013775369639085315</c:v>
                </c:pt>
                <c:pt idx="81">
                  <c:v>0.0015751661608206231</c:v>
                </c:pt>
                <c:pt idx="82">
                  <c:v>0.0016255356878971479</c:v>
                </c:pt>
                <c:pt idx="83">
                  <c:v>0.0012959936890742096</c:v>
                </c:pt>
                <c:pt idx="84">
                  <c:v>0.0014231499051233396</c:v>
                </c:pt>
                <c:pt idx="85">
                  <c:v>0.001213208144319021</c:v>
                </c:pt>
                <c:pt idx="86">
                  <c:v>0.0011109347722583717</c:v>
                </c:pt>
                <c:pt idx="87">
                  <c:v>0.0010732492621411322</c:v>
                </c:pt>
                <c:pt idx="88">
                  <c:v>0.0015150080484802575</c:v>
                </c:pt>
                <c:pt idx="89">
                  <c:v>0.0017422495516269537</c:v>
                </c:pt>
                <c:pt idx="90">
                  <c:v>0.0015322026734294922</c:v>
                </c:pt>
                <c:pt idx="91">
                  <c:v>0.0017557941205979732</c:v>
                </c:pt>
                <c:pt idx="92">
                  <c:v>0.0014452657224263946</c:v>
                </c:pt>
                <c:pt idx="93">
                  <c:v>0.0013598368195816503</c:v>
                </c:pt>
                <c:pt idx="94">
                  <c:v>0.0015503169030139984</c:v>
                </c:pt>
                <c:pt idx="95">
                  <c:v>0.0016272041975226646</c:v>
                </c:pt>
                <c:pt idx="96">
                  <c:v>0.0020251211456399623</c:v>
                </c:pt>
                <c:pt idx="97">
                  <c:v>0.0024804345036992686</c:v>
                </c:pt>
                <c:pt idx="98">
                  <c:v>0.002372989031932585</c:v>
                </c:pt>
                <c:pt idx="99">
                  <c:v>0.002219103873641615</c:v>
                </c:pt>
                <c:pt idx="100">
                  <c:v>0.001695866763350565</c:v>
                </c:pt>
                <c:pt idx="101">
                  <c:v>0.002240143369175627</c:v>
                </c:pt>
                <c:pt idx="102">
                  <c:v>0.0018302227573750753</c:v>
                </c:pt>
                <c:pt idx="103">
                  <c:v>0.001802624073017684</c:v>
                </c:pt>
                <c:pt idx="104">
                  <c:v>0.00137791181364392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numCache>
            </c:numRef>
          </c:xVal>
          <c:yVal>
            <c:numRef>
              <c:f>Sheet1!$B$109:$B$160</c:f>
              <c:numCache>
                <c:formatCode>General</c:formatCode>
                <c:ptCount val="52"/>
                <c:pt idx="0">
                  <c:v>0.0013676342285835555</c:v>
                </c:pt>
                <c:pt idx="1">
                  <c:v>0.0016121312879417617</c:v>
                </c:pt>
                <c:pt idx="2">
                  <c:v>0.0015792364734962922</c:v>
                </c:pt>
                <c:pt idx="3">
                  <c:v>0.001684766523233841</c:v>
                </c:pt>
                <c:pt idx="4">
                  <c:v>0.0016007156140392174</c:v>
                </c:pt>
                <c:pt idx="5">
                  <c:v>0.0014035922445581064</c:v>
                </c:pt>
                <c:pt idx="6">
                  <c:v>0.0016303474247399482</c:v>
                </c:pt>
                <c:pt idx="7">
                  <c:v>0.0018851597750169974</c:v>
                </c:pt>
                <c:pt idx="8">
                  <c:v>0.0022411474675033617</c:v>
                </c:pt>
                <c:pt idx="9">
                  <c:v>0.0022998645285277714</c:v>
                </c:pt>
                <c:pt idx="10">
                  <c:v>0.0021934501142421934</c:v>
                </c:pt>
                <c:pt idx="11">
                  <c:v>0.002252559726962457</c:v>
                </c:pt>
                <c:pt idx="12">
                  <c:v>0.002291786030522423</c:v>
                </c:pt>
                <c:pt idx="13">
                  <c:v>0.003356786078736774</c:v>
                </c:pt>
                <c:pt idx="14">
                  <c:v>0.00329821079361373</c:v>
                </c:pt>
                <c:pt idx="15">
                  <c:v>0.003212325349301397</c:v>
                </c:pt>
                <c:pt idx="16">
                  <c:v>0.0029529268716345317</c:v>
                </c:pt>
                <c:pt idx="17">
                  <c:v>0.0038974886936059125</c:v>
                </c:pt>
                <c:pt idx="18">
                  <c:v>0.0021214531954388757</c:v>
                </c:pt>
                <c:pt idx="19">
                  <c:v>0.0018730404332423958</c:v>
                </c:pt>
                <c:pt idx="20">
                  <c:v>0.0021718895439031957</c:v>
                </c:pt>
                <c:pt idx="21">
                  <c:v>0.0028803072327714956</c:v>
                </c:pt>
                <c:pt idx="22">
                  <c:v>0.0024777268174389793</c:v>
                </c:pt>
                <c:pt idx="23">
                  <c:v>0.002520824199912319</c:v>
                </c:pt>
                <c:pt idx="24">
                  <c:v>0.002333782802613837</c:v>
                </c:pt>
                <c:pt idx="25">
                  <c:v>0.0026646364674533687</c:v>
                </c:pt>
                <c:pt idx="26">
                  <c:v>0.0026880330834841044</c:v>
                </c:pt>
                <c:pt idx="27">
                  <c:v>0.002563163676309044</c:v>
                </c:pt>
                <c:pt idx="28">
                  <c:v>0.00214574217435207</c:v>
                </c:pt>
                <c:pt idx="29">
                  <c:v>0.002537187204616686</c:v>
                </c:pt>
                <c:pt idx="30">
                  <c:v>0.0024335939522601357</c:v>
                </c:pt>
                <c:pt idx="31">
                  <c:v>0.002530917457578372</c:v>
                </c:pt>
                <c:pt idx="32">
                  <c:v>0.002152852529601722</c:v>
                </c:pt>
                <c:pt idx="33">
                  <c:v>0.0021762321314273522</c:v>
                </c:pt>
                <c:pt idx="34">
                  <c:v>0.002031075454453133</c:v>
                </c:pt>
                <c:pt idx="35">
                  <c:v>0.002415172031516015</c:v>
                </c:pt>
                <c:pt idx="36">
                  <c:v>0.0027545047629978195</c:v>
                </c:pt>
                <c:pt idx="37">
                  <c:v>0.002826041448607913</c:v>
                </c:pt>
                <c:pt idx="38">
                  <c:v>0.003170028818443804</c:v>
                </c:pt>
                <c:pt idx="39">
                  <c:v>0.003128631447215518</c:v>
                </c:pt>
                <c:pt idx="40">
                  <c:v>0.0029284496700030596</c:v>
                </c:pt>
                <c:pt idx="41">
                  <c:v>0.002398081534772182</c:v>
                </c:pt>
                <c:pt idx="42">
                  <c:v>0.0027427317608337905</c:v>
                </c:pt>
                <c:pt idx="43">
                  <c:v>0.002001932900731741</c:v>
                </c:pt>
                <c:pt idx="44">
                  <c:v>0.0015277737741777406</c:v>
                </c:pt>
                <c:pt idx="45">
                  <c:v>0.0012751176186079232</c:v>
                </c:pt>
                <c:pt idx="46">
                  <c:v>0.0013695022386094285</c:v>
                </c:pt>
                <c:pt idx="47">
                  <c:v>0.0014572578852471163</c:v>
                </c:pt>
                <c:pt idx="48">
                  <c:v>0.0016001995053928802</c:v>
                </c:pt>
                <c:pt idx="49">
                  <c:v>0.0014821852731591448</c:v>
                </c:pt>
                <c:pt idx="50">
                  <c:v>0.0012532610363701468</c:v>
                </c:pt>
                <c:pt idx="51">
                  <c:v>0.001362751460090850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57.1894696808668</c:v>
                </c:pt>
              </c:numCache>
            </c:numRef>
          </c:xVal>
          <c:yVal>
            <c:numRef>
              <c:f>Sheet1!$B$163:$B$164</c:f>
              <c:numCache>
                <c:formatCode>General</c:formatCode>
                <c:ptCount val="2"/>
                <c:pt idx="0">
                  <c:v>0.002677083737884858</c:v>
                </c:pt>
                <c:pt idx="1">
                  <c:v>0.00267708373788485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57.1894696808668</c:v>
                </c:pt>
                <c:pt idx="1">
                  <c:v>3557.1894696808668</c:v>
                </c:pt>
              </c:numCache>
            </c:numRef>
          </c:xVal>
          <c:yVal>
            <c:numRef>
              <c:f>Sheet1!$B$167:$B$168</c:f>
              <c:numCache>
                <c:formatCode>General</c:formatCode>
                <c:ptCount val="2"/>
                <c:pt idx="0">
                  <c:v>0.00267708373788485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57.1894696808668</c:v>
                </c:pt>
              </c:numCache>
            </c:numRef>
          </c:xVal>
          <c:yVal>
            <c:numRef>
              <c:f>Sheet1!$B$171:$B$172</c:f>
              <c:numCache>
                <c:formatCode>General</c:formatCode>
                <c:ptCount val="2"/>
                <c:pt idx="0">
                  <c:v>0.002677083737884858</c:v>
                </c:pt>
                <c:pt idx="1">
                  <c:v>0.00267708373788485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57.1894696808668</c:v>
                </c:pt>
                <c:pt idx="1">
                  <c:v>3557.1894696808668</c:v>
                </c:pt>
              </c:numCache>
            </c:numRef>
          </c:xVal>
          <c:yVal>
            <c:numRef>
              <c:f>Sheet1!$B$175:$B$176</c:f>
              <c:numCache>
                <c:formatCode>General</c:formatCode>
                <c:ptCount val="2"/>
                <c:pt idx="0">
                  <c:v>0.00267708373788485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47.9432228082915</c:v>
                </c:pt>
              </c:numCache>
            </c:numRef>
          </c:xVal>
          <c:yVal>
            <c:numRef>
              <c:f>Sheet1!$B$179:$B$180</c:f>
              <c:numCache>
                <c:formatCode>General</c:formatCode>
                <c:ptCount val="2"/>
                <c:pt idx="0">
                  <c:v>0.001886759700400886</c:v>
                </c:pt>
                <c:pt idx="1">
                  <c:v>0.00188675970040088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47.9432228082915</c:v>
                </c:pt>
                <c:pt idx="1">
                  <c:v>4247.9432228082915</c:v>
                </c:pt>
              </c:numCache>
            </c:numRef>
          </c:xVal>
          <c:yVal>
            <c:numRef>
              <c:f>Sheet1!$B$183:$B$184</c:f>
              <c:numCache>
                <c:formatCode>General</c:formatCode>
                <c:ptCount val="2"/>
                <c:pt idx="0">
                  <c:v>0.0018867597004008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pt idx="52">
                  <c:v>3557.1894696808668</c:v>
                </c:pt>
                <c:pt idx="53">
                  <c:v>3557.1894696808668</c:v>
                </c:pt>
                <c:pt idx="54">
                  <c:v>4247.9432228082915</c:v>
                </c:pt>
              </c:numCache>
            </c:numRef>
          </c:xVal>
          <c:yVal>
            <c:numRef>
              <c:f>Sheet1!$B$187:$B$241</c:f>
              <c:numCache>
                <c:formatCode>General</c:formatCode>
                <c:ptCount val="55"/>
                <c:pt idx="0">
                  <c:v>0.001706195663630174</c:v>
                </c:pt>
                <c:pt idx="1">
                  <c:v>0.002275579649187927</c:v>
                </c:pt>
                <c:pt idx="2">
                  <c:v>0.001831095816494925</c:v>
                </c:pt>
                <c:pt idx="3">
                  <c:v>0.0025209852851610457</c:v>
                </c:pt>
                <c:pt idx="4">
                  <c:v>0.001567629128997116</c:v>
                </c:pt>
                <c:pt idx="5">
                  <c:v>0.0012257460184081585</c:v>
                </c:pt>
                <c:pt idx="6">
                  <c:v>0.0017001343145105745</c:v>
                </c:pt>
                <c:pt idx="7">
                  <c:v>0.0018453179106039446</c:v>
                </c:pt>
                <c:pt idx="8">
                  <c:v>0.001976290281987588</c:v>
                </c:pt>
                <c:pt idx="9">
                  <c:v>0.0020581757596742443</c:v>
                </c:pt>
                <c:pt idx="10">
                  <c:v>0.0019408828133380615</c:v>
                </c:pt>
                <c:pt idx="11">
                  <c:v>0.002071827038698272</c:v>
                </c:pt>
                <c:pt idx="12">
                  <c:v>0.002346056834205779</c:v>
                </c:pt>
                <c:pt idx="13">
                  <c:v>0.002841773980919373</c:v>
                </c:pt>
                <c:pt idx="14">
                  <c:v>0.0027935782635497095</c:v>
                </c:pt>
                <c:pt idx="15">
                  <c:v>0.002579748118108941</c:v>
                </c:pt>
                <c:pt idx="16">
                  <c:v>0.002313542456403946</c:v>
                </c:pt>
                <c:pt idx="17">
                  <c:v>0.0034184165513252013</c:v>
                </c:pt>
                <c:pt idx="18">
                  <c:v>0.0020662066439457926</c:v>
                </c:pt>
                <c:pt idx="19">
                  <c:v>0.0017076605154107251</c:v>
                </c:pt>
                <c:pt idx="20">
                  <c:v>0.0018760005085880311</c:v>
                </c:pt>
                <c:pt idx="21">
                  <c:v>0.002543287004216339</c:v>
                </c:pt>
                <c:pt idx="22">
                  <c:v>0.0023084225116778772</c:v>
                </c:pt>
                <c:pt idx="23">
                  <c:v>0.0031490871386780374</c:v>
                </c:pt>
                <c:pt idx="24">
                  <c:v>0.0021049217280076386</c:v>
                </c:pt>
                <c:pt idx="25">
                  <c:v>0.0026178515410273965</c:v>
                </c:pt>
                <c:pt idx="26">
                  <c:v>0.0023779739671201273</c:v>
                </c:pt>
                <c:pt idx="27">
                  <c:v>0.0025007544727079518</c:v>
                </c:pt>
                <c:pt idx="28">
                  <c:v>0.0023837482496836537</c:v>
                </c:pt>
                <c:pt idx="29">
                  <c:v>0.0026471489198825974</c:v>
                </c:pt>
                <c:pt idx="30">
                  <c:v>0.002664982629339962</c:v>
                </c:pt>
                <c:pt idx="31">
                  <c:v>0.0023058167162157165</c:v>
                </c:pt>
                <c:pt idx="32">
                  <c:v>0.0016457972721254594</c:v>
                </c:pt>
                <c:pt idx="33">
                  <c:v>0.0019710924208307945</c:v>
                </c:pt>
                <c:pt idx="34">
                  <c:v>0.00181934256341697</c:v>
                </c:pt>
                <c:pt idx="35">
                  <c:v>0.0021525120770440297</c:v>
                </c:pt>
                <c:pt idx="36">
                  <c:v>0.001970861074247941</c:v>
                </c:pt>
                <c:pt idx="37">
                  <c:v>0.0020092456141565414</c:v>
                </c:pt>
                <c:pt idx="38">
                  <c:v>0.0026237752492275232</c:v>
                </c:pt>
                <c:pt idx="39">
                  <c:v>0.0029880836467795304</c:v>
                </c:pt>
                <c:pt idx="40">
                  <c:v>0.003061033906173436</c:v>
                </c:pt>
                <c:pt idx="41">
                  <c:v>0.0027062000779485883</c:v>
                </c:pt>
                <c:pt idx="42">
                  <c:v>0.0029634517573452084</c:v>
                </c:pt>
                <c:pt idx="43">
                  <c:v>0.0025501029184763543</c:v>
                </c:pt>
                <c:pt idx="44">
                  <c:v>0.002023625371762679</c:v>
                </c:pt>
                <c:pt idx="45">
                  <c:v>0.0018301580733727342</c:v>
                </c:pt>
                <c:pt idx="46">
                  <c:v>0.0017432582557552487</c:v>
                </c:pt>
                <c:pt idx="47">
                  <c:v>0.0018371667764517938</c:v>
                </c:pt>
                <c:pt idx="48">
                  <c:v>0.002219002709645282</c:v>
                </c:pt>
                <c:pt idx="49">
                  <c:v>0.0023172754657801876</c:v>
                </c:pt>
                <c:pt idx="50">
                  <c:v>0.002156363276835745</c:v>
                </c:pt>
                <c:pt idx="51">
                  <c:v>0.0019010238108116417</c:v>
                </c:pt>
                <c:pt idx="52">
                  <c:v>0.0026770837378848576</c:v>
                </c:pt>
                <c:pt idx="53">
                  <c:v>0.0026770837378848576</c:v>
                </c:pt>
                <c:pt idx="54">
                  <c:v>0.001886759700400885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64.0"/>
          <c:min val="123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76986432327094"/>
          <c:min val="4.126050853576771e-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105256022109318</c:v>
                </c:pt>
                <c:pt idx="1">
                  <c:v>0.645146438577532</c:v>
                </c:pt>
                <c:pt idx="2">
                  <c:v>0.6330889433396742</c:v>
                </c:pt>
                <c:pt idx="3">
                  <c:v>0.6367526147521197</c:v>
                </c:pt>
                <c:pt idx="4">
                  <c:v>0.6219429894162363</c:v>
                </c:pt>
                <c:pt idx="5">
                  <c:v>0.6165928338984955</c:v>
                </c:pt>
                <c:pt idx="6">
                  <c:v>0.5814990179762796</c:v>
                </c:pt>
                <c:pt idx="7">
                  <c:v>0.5680322730557392</c:v>
                </c:pt>
                <c:pt idx="8">
                  <c:v>0.5804095345423508</c:v>
                </c:pt>
                <c:pt idx="9">
                  <c:v>0.6151664934806061</c:v>
                </c:pt>
                <c:pt idx="10">
                  <c:v>0.6230514043813024</c:v>
                </c:pt>
                <c:pt idx="11">
                  <c:v>0.645512776052089</c:v>
                </c:pt>
                <c:pt idx="12">
                  <c:v>0.6746808159439491</c:v>
                </c:pt>
                <c:pt idx="13">
                  <c:v>0.6773059339209125</c:v>
                </c:pt>
                <c:pt idx="14">
                  <c:v>0.6941099855564651</c:v>
                </c:pt>
                <c:pt idx="15">
                  <c:v>0.7045821381436765</c:v>
                </c:pt>
                <c:pt idx="16">
                  <c:v>0.7092337071220395</c:v>
                </c:pt>
                <c:pt idx="17">
                  <c:v>0.7068502746092981</c:v>
                </c:pt>
                <c:pt idx="18">
                  <c:v>0.7257465294013158</c:v>
                </c:pt>
                <c:pt idx="19">
                  <c:v>0.7271544035541391</c:v>
                </c:pt>
                <c:pt idx="20">
                  <c:v>0.7496757914853479</c:v>
                </c:pt>
                <c:pt idx="21">
                  <c:v>0.6781434788394857</c:v>
                </c:pt>
                <c:pt idx="22">
                  <c:v>0.6321046576594639</c:v>
                </c:pt>
                <c:pt idx="23">
                  <c:v>0.6176509934341851</c:v>
                </c:pt>
                <c:pt idx="24">
                  <c:v>0.6077819952654252</c:v>
                </c:pt>
                <c:pt idx="25">
                  <c:v>0.5824858099174522</c:v>
                </c:pt>
                <c:pt idx="26">
                  <c:v>0.58148723388114</c:v>
                </c:pt>
                <c:pt idx="27">
                  <c:v>0.5923896682624664</c:v>
                </c:pt>
                <c:pt idx="28">
                  <c:v>0.5873596971940712</c:v>
                </c:pt>
                <c:pt idx="29">
                  <c:v>0.5878227510589357</c:v>
                </c:pt>
                <c:pt idx="30">
                  <c:v>0.5812542935598939</c:v>
                </c:pt>
                <c:pt idx="31">
                  <c:v>0.5774395684925357</c:v>
                </c:pt>
                <c:pt idx="32">
                  <c:v>0.5565485817609016</c:v>
                </c:pt>
                <c:pt idx="33">
                  <c:v>0.5529885715707353</c:v>
                </c:pt>
                <c:pt idx="34">
                  <c:v>0.5890667671511515</c:v>
                </c:pt>
                <c:pt idx="35">
                  <c:v>0.6399698402211801</c:v>
                </c:pt>
                <c:pt idx="36">
                  <c:v>0.6636299749242354</c:v>
                </c:pt>
                <c:pt idx="37">
                  <c:v>0.6397829744823176</c:v>
                </c:pt>
                <c:pt idx="38">
                  <c:v>0.6720864509388359</c:v>
                </c:pt>
                <c:pt idx="39">
                  <c:v>0.6937980855524</c:v>
                </c:pt>
                <c:pt idx="40">
                  <c:v>0.68645907753426</c:v>
                </c:pt>
                <c:pt idx="41">
                  <c:v>0.6738576880685465</c:v>
                </c:pt>
                <c:pt idx="42">
                  <c:v>0.6961483781820581</c:v>
                </c:pt>
                <c:pt idx="43">
                  <c:v>0.705621331331827</c:v>
                </c:pt>
                <c:pt idx="44">
                  <c:v>0.7109201896801651</c:v>
                </c:pt>
                <c:pt idx="45">
                  <c:v>0.7095193510464005</c:v>
                </c:pt>
                <c:pt idx="46">
                  <c:v>0.713119043890119</c:v>
                </c:pt>
                <c:pt idx="47">
                  <c:v>0.7164179104477613</c:v>
                </c:pt>
                <c:pt idx="48">
                  <c:v>0.7229028561181151</c:v>
                </c:pt>
                <c:pt idx="49">
                  <c:v>0.7189600471827621</c:v>
                </c:pt>
                <c:pt idx="50">
                  <c:v>0.6731955378258755</c:v>
                </c:pt>
                <c:pt idx="51">
                  <c:v>0.666796193134575</c:v>
                </c:pt>
                <c:pt idx="52">
                  <c:v>0.6737796932804723</c:v>
                </c:pt>
                <c:pt idx="53">
                  <c:v>0.665250269755264</c:v>
                </c:pt>
                <c:pt idx="54">
                  <c:v>0.6332746031732083</c:v>
                </c:pt>
                <c:pt idx="55">
                  <c:v>0.6433709162987796</c:v>
                </c:pt>
                <c:pt idx="56">
                  <c:v>0.6427232055816607</c:v>
                </c:pt>
                <c:pt idx="57">
                  <c:v>0.6390540273952187</c:v>
                </c:pt>
                <c:pt idx="58">
                  <c:v>0.6232551301341324</c:v>
                </c:pt>
                <c:pt idx="59">
                  <c:v>0.6409151269513989</c:v>
                </c:pt>
                <c:pt idx="60">
                  <c:v>0.6433545498164522</c:v>
                </c:pt>
                <c:pt idx="61">
                  <c:v>0.6590774341431281</c:v>
                </c:pt>
                <c:pt idx="62">
                  <c:v>0.6369934233412109</c:v>
                </c:pt>
                <c:pt idx="63">
                  <c:v>0.6518097300835981</c:v>
                </c:pt>
                <c:pt idx="64">
                  <c:v>0.6990823125841242</c:v>
                </c:pt>
                <c:pt idx="65">
                  <c:v>0.7080992266562046</c:v>
                </c:pt>
                <c:pt idx="66">
                  <c:v>0.7213660125979728</c:v>
                </c:pt>
                <c:pt idx="67">
                  <c:v>0.7407672661315113</c:v>
                </c:pt>
                <c:pt idx="68">
                  <c:v>0.7518760548552211</c:v>
                </c:pt>
                <c:pt idx="69">
                  <c:v>0.7602957441875852</c:v>
                </c:pt>
                <c:pt idx="70">
                  <c:v>0.7301110114336199</c:v>
                </c:pt>
                <c:pt idx="71">
                  <c:v>0.7029766632561825</c:v>
                </c:pt>
                <c:pt idx="72">
                  <c:v>0.7483686177107798</c:v>
                </c:pt>
                <c:pt idx="73">
                  <c:v>0.7127833812361589</c:v>
                </c:pt>
                <c:pt idx="74">
                  <c:v>0.7015659765065355</c:v>
                </c:pt>
                <c:pt idx="75">
                  <c:v>0.6707378280977924</c:v>
                </c:pt>
                <c:pt idx="76">
                  <c:v>0.6559978593574354</c:v>
                </c:pt>
                <c:pt idx="77">
                  <c:v>0.6669962236196343</c:v>
                </c:pt>
                <c:pt idx="78">
                  <c:v>0.6943145345588724</c:v>
                </c:pt>
                <c:pt idx="79">
                  <c:v>0.6763894473797715</c:v>
                </c:pt>
                <c:pt idx="80">
                  <c:v>0.716603870357304</c:v>
                </c:pt>
                <c:pt idx="81">
                  <c:v>0.7187479203801876</c:v>
                </c:pt>
                <c:pt idx="82">
                  <c:v>0.7088887405384796</c:v>
                </c:pt>
                <c:pt idx="83">
                  <c:v>0.673585998179166</c:v>
                </c:pt>
                <c:pt idx="84">
                  <c:v>0.6929103943641713</c:v>
                </c:pt>
                <c:pt idx="85">
                  <c:v>0.6816165724438575</c:v>
                </c:pt>
                <c:pt idx="86">
                  <c:v>0.7020434144880825</c:v>
                </c:pt>
                <c:pt idx="87">
                  <c:v>0.7243832757141697</c:v>
                </c:pt>
                <c:pt idx="88">
                  <c:v>0.7001550655062969</c:v>
                </c:pt>
                <c:pt idx="89">
                  <c:v>0.6735161299739042</c:v>
                </c:pt>
                <c:pt idx="90">
                  <c:v>0.6939095285831204</c:v>
                </c:pt>
                <c:pt idx="91">
                  <c:v>0.7135498864219536</c:v>
                </c:pt>
                <c:pt idx="92">
                  <c:v>0.7161463114813909</c:v>
                </c:pt>
                <c:pt idx="93">
                  <c:v>0.7247095492806281</c:v>
                </c:pt>
                <c:pt idx="94">
                  <c:v>0.7319701147885451</c:v>
                </c:pt>
                <c:pt idx="95">
                  <c:v>0.7431557378947534</c:v>
                </c:pt>
                <c:pt idx="96">
                  <c:v>0.748891996506674</c:v>
                </c:pt>
                <c:pt idx="97">
                  <c:v>0.7847532305517134</c:v>
                </c:pt>
                <c:pt idx="98">
                  <c:v>0.7910545812695191</c:v>
                </c:pt>
                <c:pt idx="99">
                  <c:v>0.7778321137702249</c:v>
                </c:pt>
                <c:pt idx="100">
                  <c:v>0.7681488012850511</c:v>
                </c:pt>
                <c:pt idx="101">
                  <c:v>0.727598363954438</c:v>
                </c:pt>
                <c:pt idx="102">
                  <c:v>0.7053976755317749</c:v>
                </c:pt>
                <c:pt idx="103">
                  <c:v>0.718751791525255</c:v>
                </c:pt>
                <c:pt idx="104">
                  <c:v>0.7091790781222626</c:v>
                </c:pt>
              </c:numCache>
            </c:numRef>
          </c:xVal>
          <c:yVal>
            <c:numRef>
              <c:f>Sheet1!$B$2:$B$106</c:f>
              <c:numCache>
                <c:formatCode>General</c:formatCode>
                <c:ptCount val="105"/>
                <c:pt idx="0">
                  <c:v>0.22226506555029193</c:v>
                </c:pt>
                <c:pt idx="1">
                  <c:v>0.21748878923766815</c:v>
                </c:pt>
                <c:pt idx="2">
                  <c:v>0.21873943899966206</c:v>
                </c:pt>
                <c:pt idx="3">
                  <c:v>0.21880877742946708</c:v>
                </c:pt>
                <c:pt idx="4">
                  <c:v>0.23012847663419456</c:v>
                </c:pt>
                <c:pt idx="5">
                  <c:v>0.23601854534917416</c:v>
                </c:pt>
                <c:pt idx="6">
                  <c:v>0.2631891967534285</c:v>
                </c:pt>
                <c:pt idx="7">
                  <c:v>0.264646382909856</c:v>
                </c:pt>
                <c:pt idx="8">
                  <c:v>0.2586243119458801</c:v>
                </c:pt>
                <c:pt idx="9">
                  <c:v>0.24723282141843525</c:v>
                </c:pt>
                <c:pt idx="10">
                  <c:v>0.240457548323954</c:v>
                </c:pt>
                <c:pt idx="11">
                  <c:v>0.21958603645350633</c:v>
                </c:pt>
                <c:pt idx="12">
                  <c:v>0.20595766473199045</c:v>
                </c:pt>
                <c:pt idx="13">
                  <c:v>0.19534355479841</c:v>
                </c:pt>
                <c:pt idx="14">
                  <c:v>0.1779950952193527</c:v>
                </c:pt>
                <c:pt idx="15">
                  <c:v>0.168645487930973</c:v>
                </c:pt>
                <c:pt idx="16">
                  <c:v>0.16324619268670088</c:v>
                </c:pt>
                <c:pt idx="17">
                  <c:v>0.15663621708758732</c:v>
                </c:pt>
                <c:pt idx="18">
                  <c:v>0.1496506308751822</c:v>
                </c:pt>
                <c:pt idx="19">
                  <c:v>0.1484397783610382</c:v>
                </c:pt>
                <c:pt idx="20">
                  <c:v>0.15575458594760286</c:v>
                </c:pt>
                <c:pt idx="21">
                  <c:v>0.16326167003207032</c:v>
                </c:pt>
                <c:pt idx="22">
                  <c:v>0.17795461243737107</c:v>
                </c:pt>
                <c:pt idx="23">
                  <c:v>0.1898969839890778</c:v>
                </c:pt>
                <c:pt idx="24">
                  <c:v>0.19180421172453044</c:v>
                </c:pt>
                <c:pt idx="25">
                  <c:v>0.19442463533225285</c:v>
                </c:pt>
                <c:pt idx="26">
                  <c:v>0.20790259591086607</c:v>
                </c:pt>
                <c:pt idx="27">
                  <c:v>0.2096837172979305</c:v>
                </c:pt>
                <c:pt idx="28">
                  <c:v>0.21572077185017027</c:v>
                </c:pt>
                <c:pt idx="29">
                  <c:v>0.20905013062552374</c:v>
                </c:pt>
                <c:pt idx="30">
                  <c:v>0.21441727532550015</c:v>
                </c:pt>
                <c:pt idx="31">
                  <c:v>0.21806815395930376</c:v>
                </c:pt>
                <c:pt idx="32">
                  <c:v>0.22538531278331822</c:v>
                </c:pt>
                <c:pt idx="33">
                  <c:v>0.22100081250298714</c:v>
                </c:pt>
                <c:pt idx="34">
                  <c:v>0.21928327645051193</c:v>
                </c:pt>
                <c:pt idx="35">
                  <c:v>0.23582775119617225</c:v>
                </c:pt>
                <c:pt idx="36">
                  <c:v>0.20781902445739459</c:v>
                </c:pt>
                <c:pt idx="37">
                  <c:v>0.20361056699666472</c:v>
                </c:pt>
                <c:pt idx="38">
                  <c:v>0.1926458832933653</c:v>
                </c:pt>
                <c:pt idx="39">
                  <c:v>0.18791795448159596</c:v>
                </c:pt>
                <c:pt idx="40">
                  <c:v>0.18927819961577166</c:v>
                </c:pt>
                <c:pt idx="41">
                  <c:v>0.18410232983097305</c:v>
                </c:pt>
                <c:pt idx="42">
                  <c:v>0.1844411662617147</c:v>
                </c:pt>
                <c:pt idx="43">
                  <c:v>0.17869283065512978</c:v>
                </c:pt>
                <c:pt idx="44">
                  <c:v>0.1801480101433525</c:v>
                </c:pt>
                <c:pt idx="45">
                  <c:v>0.19204877130213727</c:v>
                </c:pt>
                <c:pt idx="46">
                  <c:v>0.19389858458155834</c:v>
                </c:pt>
                <c:pt idx="47">
                  <c:v>0.19004100761570006</c:v>
                </c:pt>
                <c:pt idx="48">
                  <c:v>0.187392393842797</c:v>
                </c:pt>
                <c:pt idx="49">
                  <c:v>0.20137562094000763</c:v>
                </c:pt>
                <c:pt idx="50">
                  <c:v>0.19135440180586907</c:v>
                </c:pt>
                <c:pt idx="51">
                  <c:v>0.1846539978486913</c:v>
                </c:pt>
                <c:pt idx="52">
                  <c:v>0.18815193402253455</c:v>
                </c:pt>
                <c:pt idx="53">
                  <c:v>0.1812184824674563</c:v>
                </c:pt>
                <c:pt idx="54">
                  <c:v>0.1860592401802962</c:v>
                </c:pt>
                <c:pt idx="55">
                  <c:v>0.18362143188290617</c:v>
                </c:pt>
                <c:pt idx="56">
                  <c:v>0.18648420341273864</c:v>
                </c:pt>
                <c:pt idx="57">
                  <c:v>0.18117511188104518</c:v>
                </c:pt>
                <c:pt idx="58">
                  <c:v>0.19146386921561317</c:v>
                </c:pt>
                <c:pt idx="59">
                  <c:v>0.19048030109457548</c:v>
                </c:pt>
                <c:pt idx="60">
                  <c:v>0.19382582445748134</c:v>
                </c:pt>
                <c:pt idx="61">
                  <c:v>0.1902548569041153</c:v>
                </c:pt>
                <c:pt idx="62">
                  <c:v>0.2036891381016416</c:v>
                </c:pt>
                <c:pt idx="63">
                  <c:v>0.20864302643992913</c:v>
                </c:pt>
                <c:pt idx="64">
                  <c:v>0.19630329195898544</c:v>
                </c:pt>
                <c:pt idx="65">
                  <c:v>0.19063234142521535</c:v>
                </c:pt>
                <c:pt idx="66">
                  <c:v>0.19000101822624987</c:v>
                </c:pt>
                <c:pt idx="67">
                  <c:v>0.17937626829007797</c:v>
                </c:pt>
                <c:pt idx="68">
                  <c:v>0.16788459713390907</c:v>
                </c:pt>
                <c:pt idx="69">
                  <c:v>0.1609119170984456</c:v>
                </c:pt>
                <c:pt idx="70">
                  <c:v>0.16178092986603626</c:v>
                </c:pt>
                <c:pt idx="71">
                  <c:v>0.16205719163465643</c:v>
                </c:pt>
                <c:pt idx="72">
                  <c:v>0.16154716676097325</c:v>
                </c:pt>
                <c:pt idx="73">
                  <c:v>0.16443455564588594</c:v>
                </c:pt>
                <c:pt idx="74">
                  <c:v>0.16447449293177627</c:v>
                </c:pt>
                <c:pt idx="75">
                  <c:v>0.17549175203193382</c:v>
                </c:pt>
                <c:pt idx="76">
                  <c:v>0.17818368922047853</c:v>
                </c:pt>
                <c:pt idx="77">
                  <c:v>0.17209963663173417</c:v>
                </c:pt>
                <c:pt idx="78">
                  <c:v>0.17405100481842756</c:v>
                </c:pt>
                <c:pt idx="79">
                  <c:v>0.1605390891252711</c:v>
                </c:pt>
                <c:pt idx="80">
                  <c:v>0.15557729941291584</c:v>
                </c:pt>
                <c:pt idx="81">
                  <c:v>0.1628547688809201</c:v>
                </c:pt>
                <c:pt idx="82">
                  <c:v>0.1626240974729242</c:v>
                </c:pt>
                <c:pt idx="83">
                  <c:v>0.16220834702596124</c:v>
                </c:pt>
                <c:pt idx="84">
                  <c:v>0.16348265992145378</c:v>
                </c:pt>
                <c:pt idx="85">
                  <c:v>0.16821068577754472</c:v>
                </c:pt>
                <c:pt idx="86">
                  <c:v>0.1764033081119127</c:v>
                </c:pt>
                <c:pt idx="87">
                  <c:v>0.19161401012679416</c:v>
                </c:pt>
                <c:pt idx="88">
                  <c:v>0.18565601991630912</c:v>
                </c:pt>
                <c:pt idx="89">
                  <c:v>0.18069021237303787</c:v>
                </c:pt>
                <c:pt idx="90">
                  <c:v>0.1697967889092956</c:v>
                </c:pt>
                <c:pt idx="91">
                  <c:v>0.16111781956184235</c:v>
                </c:pt>
                <c:pt idx="92">
                  <c:v>0.1722055773219636</c:v>
                </c:pt>
                <c:pt idx="93">
                  <c:v>0.16393442622950818</c:v>
                </c:pt>
                <c:pt idx="94">
                  <c:v>0.16772088353413656</c:v>
                </c:pt>
                <c:pt idx="95">
                  <c:v>0.1712412039936632</c:v>
                </c:pt>
                <c:pt idx="96">
                  <c:v>0.17387654450536477</c:v>
                </c:pt>
                <c:pt idx="97">
                  <c:v>0.17686965320577683</c:v>
                </c:pt>
                <c:pt idx="98">
                  <c:v>0.18162422985663867</c:v>
                </c:pt>
                <c:pt idx="99">
                  <c:v>0.18420596994251678</c:v>
                </c:pt>
                <c:pt idx="100">
                  <c:v>0.1880809529200156</c:v>
                </c:pt>
                <c:pt idx="101">
                  <c:v>0.1839502684374117</c:v>
                </c:pt>
                <c:pt idx="102">
                  <c:v>0.17164885702691735</c:v>
                </c:pt>
                <c:pt idx="103">
                  <c:v>0.17687576250508336</c:v>
                </c:pt>
                <c:pt idx="104">
                  <c:v>0.1747592827066340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070123533280721</c:v>
                </c:pt>
                <c:pt idx="1">
                  <c:v>0.6783259500302962</c:v>
                </c:pt>
                <c:pt idx="2">
                  <c:v>0.6920128361757607</c:v>
                </c:pt>
                <c:pt idx="3">
                  <c:v>0.6711598735852166</c:v>
                </c:pt>
                <c:pt idx="4">
                  <c:v>0.6796620202178065</c:v>
                </c:pt>
                <c:pt idx="5">
                  <c:v>0.6876745096788175</c:v>
                </c:pt>
                <c:pt idx="6">
                  <c:v>0.6879155751438306</c:v>
                </c:pt>
                <c:pt idx="7">
                  <c:v>0.6839654934446234</c:v>
                </c:pt>
                <c:pt idx="8">
                  <c:v>0.7033095049428476</c:v>
                </c:pt>
                <c:pt idx="9">
                  <c:v>0.6754880420455857</c:v>
                </c:pt>
                <c:pt idx="10">
                  <c:v>0.6924373397148949</c:v>
                </c:pt>
                <c:pt idx="11">
                  <c:v>0.6945314060522362</c:v>
                </c:pt>
                <c:pt idx="12">
                  <c:v>0.7016895504100462</c:v>
                </c:pt>
                <c:pt idx="13">
                  <c:v>0.6686763490331205</c:v>
                </c:pt>
                <c:pt idx="14">
                  <c:v>0.673790652945936</c:v>
                </c:pt>
                <c:pt idx="15">
                  <c:v>0.6658282227489262</c:v>
                </c:pt>
                <c:pt idx="16">
                  <c:v>0.692456534892586</c:v>
                </c:pt>
                <c:pt idx="17">
                  <c:v>0.661588688847843</c:v>
                </c:pt>
                <c:pt idx="18">
                  <c:v>0.6791250087314417</c:v>
                </c:pt>
                <c:pt idx="19">
                  <c:v>0.6952325392655947</c:v>
                </c:pt>
                <c:pt idx="20">
                  <c:v>0.6549708564015421</c:v>
                </c:pt>
                <c:pt idx="21">
                  <c:v>0.618108411805718</c:v>
                </c:pt>
                <c:pt idx="22">
                  <c:v>0.6247783433961807</c:v>
                </c:pt>
                <c:pt idx="23">
                  <c:v>0.622348880097159</c:v>
                </c:pt>
                <c:pt idx="24">
                  <c:v>0.6160261019785447</c:v>
                </c:pt>
                <c:pt idx="25">
                  <c:v>0.6503706961827922</c:v>
                </c:pt>
                <c:pt idx="26">
                  <c:v>0.6516596596336554</c:v>
                </c:pt>
                <c:pt idx="27">
                  <c:v>0.6792677024562161</c:v>
                </c:pt>
                <c:pt idx="28">
                  <c:v>0.6911469518429815</c:v>
                </c:pt>
                <c:pt idx="29">
                  <c:v>0.6538989950930048</c:v>
                </c:pt>
                <c:pt idx="30">
                  <c:v>0.6486887405987405</c:v>
                </c:pt>
                <c:pt idx="31">
                  <c:v>0.6487713016806961</c:v>
                </c:pt>
                <c:pt idx="32">
                  <c:v>0.6541240263815864</c:v>
                </c:pt>
                <c:pt idx="33">
                  <c:v>0.676038570895639</c:v>
                </c:pt>
                <c:pt idx="34">
                  <c:v>0.7014827951333354</c:v>
                </c:pt>
                <c:pt idx="35">
                  <c:v>0.6823937874204069</c:v>
                </c:pt>
                <c:pt idx="36">
                  <c:v>0.629530115174744</c:v>
                </c:pt>
                <c:pt idx="37">
                  <c:v>0.6312241090234259</c:v>
                </c:pt>
                <c:pt idx="38">
                  <c:v>0.6359127308601258</c:v>
                </c:pt>
                <c:pt idx="39">
                  <c:v>0.6730614317378069</c:v>
                </c:pt>
                <c:pt idx="40">
                  <c:v>0.6723983230725539</c:v>
                </c:pt>
                <c:pt idx="41">
                  <c:v>0.6878448162694061</c:v>
                </c:pt>
                <c:pt idx="42">
                  <c:v>0.6568687119005638</c:v>
                </c:pt>
                <c:pt idx="43">
                  <c:v>0.7092053965234757</c:v>
                </c:pt>
                <c:pt idx="44">
                  <c:v>0.7469575218187782</c:v>
                </c:pt>
                <c:pt idx="45">
                  <c:v>0.7554101843718581</c:v>
                </c:pt>
                <c:pt idx="46">
                  <c:v>0.7253906967669823</c:v>
                </c:pt>
                <c:pt idx="47">
                  <c:v>0.7317016740263154</c:v>
                </c:pt>
                <c:pt idx="48">
                  <c:v>0.7663274088905646</c:v>
                </c:pt>
                <c:pt idx="49">
                  <c:v>0.7814072446041148</c:v>
                </c:pt>
                <c:pt idx="50">
                  <c:v>0.7639271033420019</c:v>
                </c:pt>
                <c:pt idx="51">
                  <c:v>0.7339236914487116</c:v>
                </c:pt>
              </c:numCache>
            </c:numRef>
          </c:xVal>
          <c:yVal>
            <c:numRef>
              <c:f>Sheet1!$B$109:$B$160</c:f>
              <c:numCache>
                <c:formatCode>General</c:formatCode>
                <c:ptCount val="52"/>
                <c:pt idx="0">
                  <c:v>0.18217699495220707</c:v>
                </c:pt>
                <c:pt idx="1">
                  <c:v>0.18062663482315477</c:v>
                </c:pt>
                <c:pt idx="2">
                  <c:v>0.1946429934118485</c:v>
                </c:pt>
                <c:pt idx="3">
                  <c:v>0.20574750915657097</c:v>
                </c:pt>
                <c:pt idx="4">
                  <c:v>0.1908303671040748</c:v>
                </c:pt>
                <c:pt idx="5">
                  <c:v>0.18936664264552808</c:v>
                </c:pt>
                <c:pt idx="6">
                  <c:v>0.1971470831557572</c:v>
                </c:pt>
                <c:pt idx="7">
                  <c:v>0.19326490680031583</c:v>
                </c:pt>
                <c:pt idx="8">
                  <c:v>0.18219546848126822</c:v>
                </c:pt>
                <c:pt idx="9">
                  <c:v>0.191000823723229</c:v>
                </c:pt>
                <c:pt idx="10">
                  <c:v>0.19159109645507008</c:v>
                </c:pt>
                <c:pt idx="11">
                  <c:v>0.19539322794643518</c:v>
                </c:pt>
                <c:pt idx="12">
                  <c:v>0.19344427917941234</c:v>
                </c:pt>
                <c:pt idx="13">
                  <c:v>0.19342082137207803</c:v>
                </c:pt>
                <c:pt idx="14">
                  <c:v>0.19140109978454514</c:v>
                </c:pt>
                <c:pt idx="15">
                  <c:v>0.18997361477572558</c:v>
                </c:pt>
                <c:pt idx="16">
                  <c:v>0.1796423767703141</c:v>
                </c:pt>
                <c:pt idx="17">
                  <c:v>0.1837104818432876</c:v>
                </c:pt>
                <c:pt idx="18">
                  <c:v>0.1872991967871486</c:v>
                </c:pt>
                <c:pt idx="19">
                  <c:v>0.18302782171768867</c:v>
                </c:pt>
                <c:pt idx="20">
                  <c:v>0.1756687242798354</c:v>
                </c:pt>
                <c:pt idx="21">
                  <c:v>0.18492764517947755</c:v>
                </c:pt>
                <c:pt idx="22">
                  <c:v>0.1825450939068989</c:v>
                </c:pt>
                <c:pt idx="23">
                  <c:v>0.19000063207129764</c:v>
                </c:pt>
                <c:pt idx="24">
                  <c:v>0.1904928550597842</c:v>
                </c:pt>
                <c:pt idx="25">
                  <c:v>0.18846625766871167</c:v>
                </c:pt>
                <c:pt idx="26">
                  <c:v>0.18192372438613805</c:v>
                </c:pt>
                <c:pt idx="27">
                  <c:v>0.18187585915195092</c:v>
                </c:pt>
                <c:pt idx="28">
                  <c:v>0.17280129517642018</c:v>
                </c:pt>
                <c:pt idx="29">
                  <c:v>0.17543758967001435</c:v>
                </c:pt>
                <c:pt idx="30">
                  <c:v>0.18</c:v>
                </c:pt>
                <c:pt idx="31">
                  <c:v>0.1725672277036177</c:v>
                </c:pt>
                <c:pt idx="32">
                  <c:v>0.16785391225689733</c:v>
                </c:pt>
                <c:pt idx="33">
                  <c:v>0.1851078966089637</c:v>
                </c:pt>
                <c:pt idx="34">
                  <c:v>0.1982967012533006</c:v>
                </c:pt>
                <c:pt idx="35">
                  <c:v>0.19516886602549766</c:v>
                </c:pt>
                <c:pt idx="36">
                  <c:v>0.18259230822921757</c:v>
                </c:pt>
                <c:pt idx="37">
                  <c:v>0.18523615889896777</c:v>
                </c:pt>
                <c:pt idx="38">
                  <c:v>0.18279118572927597</c:v>
                </c:pt>
                <c:pt idx="39">
                  <c:v>0.1885899480425948</c:v>
                </c:pt>
                <c:pt idx="40">
                  <c:v>0.1790814549435239</c:v>
                </c:pt>
                <c:pt idx="41">
                  <c:v>0.18204488778054864</c:v>
                </c:pt>
                <c:pt idx="42">
                  <c:v>0.18224150703778177</c:v>
                </c:pt>
                <c:pt idx="43">
                  <c:v>0.175</c:v>
                </c:pt>
                <c:pt idx="44">
                  <c:v>0.17232425585813807</c:v>
                </c:pt>
                <c:pt idx="45">
                  <c:v>0.18626747080222095</c:v>
                </c:pt>
                <c:pt idx="46">
                  <c:v>0.20043010752688173</c:v>
                </c:pt>
                <c:pt idx="47">
                  <c:v>0.2023057697992529</c:v>
                </c:pt>
                <c:pt idx="48">
                  <c:v>0.19867519928146402</c:v>
                </c:pt>
                <c:pt idx="49">
                  <c:v>0.20408204877253078</c:v>
                </c:pt>
                <c:pt idx="50">
                  <c:v>0.2109689213893967</c:v>
                </c:pt>
                <c:pt idx="51">
                  <c:v>0.2034182384740681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1397991914159447</c:v>
                </c:pt>
              </c:numCache>
            </c:numRef>
          </c:xVal>
          <c:yVal>
            <c:numRef>
              <c:f>Sheet1!$B$163:$B$164</c:f>
              <c:numCache>
                <c:formatCode>General</c:formatCode>
                <c:ptCount val="2"/>
                <c:pt idx="0">
                  <c:v>0.23665655386773585</c:v>
                </c:pt>
                <c:pt idx="1">
                  <c:v>0.2366565538677358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1397991914159447</c:v>
                </c:pt>
                <c:pt idx="1">
                  <c:v>1.1397991914159447</c:v>
                </c:pt>
              </c:numCache>
            </c:numRef>
          </c:xVal>
          <c:yVal>
            <c:numRef>
              <c:f>Sheet1!$B$167:$B$168</c:f>
              <c:numCache>
                <c:formatCode>General</c:formatCode>
                <c:ptCount val="2"/>
                <c:pt idx="0">
                  <c:v>0.236656553867735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377679241375297</c:v>
                </c:pt>
              </c:numCache>
            </c:numRef>
          </c:xVal>
          <c:yVal>
            <c:numRef>
              <c:f>Sheet1!$B$171:$B$172</c:f>
              <c:numCache>
                <c:formatCode>General</c:formatCode>
                <c:ptCount val="2"/>
                <c:pt idx="0">
                  <c:v>0.20428610197936492</c:v>
                </c:pt>
                <c:pt idx="1">
                  <c:v>0.2042861019793649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377679241375297</c:v>
                </c:pt>
                <c:pt idx="1">
                  <c:v>0.8377679241375297</c:v>
                </c:pt>
              </c:numCache>
            </c:numRef>
          </c:xVal>
          <c:yVal>
            <c:numRef>
              <c:f>Sheet1!$B$175:$B$176</c:f>
              <c:numCache>
                <c:formatCode>General</c:formatCode>
                <c:ptCount val="2"/>
                <c:pt idx="0">
                  <c:v>0.2042861019793649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155463981936677</c:v>
                </c:pt>
              </c:numCache>
            </c:numRef>
          </c:xVal>
          <c:yVal>
            <c:numRef>
              <c:f>Sheet1!$B$179:$B$180</c:f>
              <c:numCache>
                <c:formatCode>General</c:formatCode>
                <c:ptCount val="2"/>
                <c:pt idx="0">
                  <c:v>0.19118690843910788</c:v>
                </c:pt>
                <c:pt idx="1">
                  <c:v>0.1911869084391078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155463981936677</c:v>
                </c:pt>
                <c:pt idx="1">
                  <c:v>0.7155463981936677</c:v>
                </c:pt>
              </c:numCache>
            </c:numRef>
          </c:xVal>
          <c:yVal>
            <c:numRef>
              <c:f>Sheet1!$B$183:$B$184</c:f>
              <c:numCache>
                <c:formatCode>General</c:formatCode>
                <c:ptCount val="2"/>
                <c:pt idx="0">
                  <c:v>0.191186908439107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070123533280721</c:v>
                </c:pt>
                <c:pt idx="1">
                  <c:v>0.6783259500302962</c:v>
                </c:pt>
                <c:pt idx="2">
                  <c:v>0.6920128361757607</c:v>
                </c:pt>
                <c:pt idx="3">
                  <c:v>0.6711598735852166</c:v>
                </c:pt>
                <c:pt idx="4">
                  <c:v>0.6796620202178065</c:v>
                </c:pt>
                <c:pt idx="5">
                  <c:v>0.6876745096788175</c:v>
                </c:pt>
                <c:pt idx="6">
                  <c:v>0.6879155751438306</c:v>
                </c:pt>
                <c:pt idx="7">
                  <c:v>0.6839654934446234</c:v>
                </c:pt>
                <c:pt idx="8">
                  <c:v>0.7033095049428476</c:v>
                </c:pt>
                <c:pt idx="9">
                  <c:v>0.6754880420455857</c:v>
                </c:pt>
                <c:pt idx="10">
                  <c:v>0.6924373397148949</c:v>
                </c:pt>
                <c:pt idx="11">
                  <c:v>0.6945314060522362</c:v>
                </c:pt>
                <c:pt idx="12">
                  <c:v>0.7016895504100462</c:v>
                </c:pt>
                <c:pt idx="13">
                  <c:v>0.6686763490331205</c:v>
                </c:pt>
                <c:pt idx="14">
                  <c:v>0.673790652945936</c:v>
                </c:pt>
                <c:pt idx="15">
                  <c:v>0.6658282227489262</c:v>
                </c:pt>
                <c:pt idx="16">
                  <c:v>0.692456534892586</c:v>
                </c:pt>
                <c:pt idx="17">
                  <c:v>0.661588688847843</c:v>
                </c:pt>
                <c:pt idx="18">
                  <c:v>0.6791250087314417</c:v>
                </c:pt>
                <c:pt idx="19">
                  <c:v>0.6952325392655947</c:v>
                </c:pt>
                <c:pt idx="20">
                  <c:v>0.6549708564015421</c:v>
                </c:pt>
                <c:pt idx="21">
                  <c:v>0.618108411805718</c:v>
                </c:pt>
                <c:pt idx="22">
                  <c:v>0.6247783433961807</c:v>
                </c:pt>
                <c:pt idx="23">
                  <c:v>0.622348880097159</c:v>
                </c:pt>
                <c:pt idx="24">
                  <c:v>0.6160261019785447</c:v>
                </c:pt>
                <c:pt idx="25">
                  <c:v>0.6503706961827922</c:v>
                </c:pt>
                <c:pt idx="26">
                  <c:v>0.6516596596336554</c:v>
                </c:pt>
                <c:pt idx="27">
                  <c:v>0.6792677024562161</c:v>
                </c:pt>
                <c:pt idx="28">
                  <c:v>0.6911469518429815</c:v>
                </c:pt>
                <c:pt idx="29">
                  <c:v>0.6538989950930048</c:v>
                </c:pt>
                <c:pt idx="30">
                  <c:v>0.6486887405987405</c:v>
                </c:pt>
                <c:pt idx="31">
                  <c:v>0.6487713016806961</c:v>
                </c:pt>
                <c:pt idx="32">
                  <c:v>0.6541240263815864</c:v>
                </c:pt>
                <c:pt idx="33">
                  <c:v>0.676038570895639</c:v>
                </c:pt>
                <c:pt idx="34">
                  <c:v>0.7014827951333354</c:v>
                </c:pt>
                <c:pt idx="35">
                  <c:v>0.6823937874204069</c:v>
                </c:pt>
                <c:pt idx="36">
                  <c:v>0.629530115174744</c:v>
                </c:pt>
                <c:pt idx="37">
                  <c:v>0.6312241090234259</c:v>
                </c:pt>
                <c:pt idx="38">
                  <c:v>0.6359127308601258</c:v>
                </c:pt>
                <c:pt idx="39">
                  <c:v>0.6730614317378069</c:v>
                </c:pt>
                <c:pt idx="40">
                  <c:v>0.6723983230725539</c:v>
                </c:pt>
                <c:pt idx="41">
                  <c:v>0.6878448162694061</c:v>
                </c:pt>
                <c:pt idx="42">
                  <c:v>0.6568687119005638</c:v>
                </c:pt>
                <c:pt idx="43">
                  <c:v>0.7092053965234757</c:v>
                </c:pt>
                <c:pt idx="44">
                  <c:v>0.7469575218187782</c:v>
                </c:pt>
                <c:pt idx="45">
                  <c:v>0.7554101843718581</c:v>
                </c:pt>
                <c:pt idx="46">
                  <c:v>0.7253906967669823</c:v>
                </c:pt>
                <c:pt idx="47">
                  <c:v>0.7317016740263154</c:v>
                </c:pt>
                <c:pt idx="48">
                  <c:v>0.7663274088905646</c:v>
                </c:pt>
                <c:pt idx="49">
                  <c:v>0.7814072446041148</c:v>
                </c:pt>
                <c:pt idx="50">
                  <c:v>0.7639271033420019</c:v>
                </c:pt>
                <c:pt idx="51">
                  <c:v>0.7339236914487116</c:v>
                </c:pt>
                <c:pt idx="52">
                  <c:v>0.8377679241375297</c:v>
                </c:pt>
                <c:pt idx="53">
                  <c:v>1.1397991914159447</c:v>
                </c:pt>
                <c:pt idx="54">
                  <c:v>0.7155463981936677</c:v>
                </c:pt>
              </c:numCache>
            </c:numRef>
          </c:xVal>
          <c:yVal>
            <c:numRef>
              <c:f>Sheet1!$B$187:$B$241</c:f>
              <c:numCache>
                <c:formatCode>General</c:formatCode>
                <c:ptCount val="55"/>
                <c:pt idx="0">
                  <c:v>0.1902722650936548</c:v>
                </c:pt>
                <c:pt idx="1">
                  <c:v>0.1871977759979776</c:v>
                </c:pt>
                <c:pt idx="2">
                  <c:v>0.1886646793867084</c:v>
                </c:pt>
                <c:pt idx="3">
                  <c:v>0.1864297458040043</c:v>
                </c:pt>
                <c:pt idx="4">
                  <c:v>0.18734097042984554</c:v>
                </c:pt>
                <c:pt idx="5">
                  <c:v>0.18819971564169358</c:v>
                </c:pt>
                <c:pt idx="6">
                  <c:v>0.18822555203309593</c:v>
                </c:pt>
                <c:pt idx="7">
                  <c:v>0.18780219874669113</c:v>
                </c:pt>
                <c:pt idx="8">
                  <c:v>0.18987540924298768</c:v>
                </c:pt>
                <c:pt idx="9">
                  <c:v>0.1868936208530137</c:v>
                </c:pt>
                <c:pt idx="10">
                  <c:v>0.18871017590603836</c:v>
                </c:pt>
                <c:pt idx="11">
                  <c:v>0.18893460920473215</c:v>
                </c:pt>
                <c:pt idx="12">
                  <c:v>0.18970178927066522</c:v>
                </c:pt>
                <c:pt idx="13">
                  <c:v>0.18616357199772382</c:v>
                </c:pt>
                <c:pt idx="14">
                  <c:v>0.18671170176668478</c:v>
                </c:pt>
                <c:pt idx="15">
                  <c:v>0.18585832169802707</c:v>
                </c:pt>
                <c:pt idx="16">
                  <c:v>0.1887122331651478</c:v>
                </c:pt>
                <c:pt idx="17">
                  <c:v>0.18540394613151456</c:v>
                </c:pt>
                <c:pt idx="18">
                  <c:v>0.1872834157778404</c:v>
                </c:pt>
                <c:pt idx="19">
                  <c:v>0.18900975373912052</c:v>
                </c:pt>
                <c:pt idx="20">
                  <c:v>0.18469467444339221</c:v>
                </c:pt>
                <c:pt idx="21">
                  <c:v>0.1807439113319131</c:v>
                </c:pt>
                <c:pt idx="22">
                  <c:v>0.18145876678907596</c:v>
                </c:pt>
                <c:pt idx="23">
                  <c:v>0.1811983870424882</c:v>
                </c:pt>
                <c:pt idx="24">
                  <c:v>0.18052073804695956</c:v>
                </c:pt>
                <c:pt idx="25">
                  <c:v>0.18420164845180648</c:v>
                </c:pt>
                <c:pt idx="26">
                  <c:v>0.18433979418005514</c:v>
                </c:pt>
                <c:pt idx="27">
                  <c:v>0.1872987090962912</c:v>
                </c:pt>
                <c:pt idx="28">
                  <c:v>0.18857187751428078</c:v>
                </c:pt>
                <c:pt idx="29">
                  <c:v>0.18457979681753695</c:v>
                </c:pt>
                <c:pt idx="30">
                  <c:v>0.18402138346532831</c:v>
                </c:pt>
                <c:pt idx="31">
                  <c:v>0.18403023201784868</c:v>
                </c:pt>
                <c:pt idx="32">
                  <c:v>0.18460391473276488</c:v>
                </c:pt>
                <c:pt idx="33">
                  <c:v>0.18695262423969744</c:v>
                </c:pt>
                <c:pt idx="34">
                  <c:v>0.18967963010218664</c:v>
                </c:pt>
                <c:pt idx="35">
                  <c:v>0.18763374984834358</c:v>
                </c:pt>
                <c:pt idx="36">
                  <c:v>0.1819680418754885</c:v>
                </c:pt>
                <c:pt idx="37">
                  <c:v>0.1821495970729754</c:v>
                </c:pt>
                <c:pt idx="38">
                  <c:v>0.18265210401192672</c:v>
                </c:pt>
                <c:pt idx="39">
                  <c:v>0.18663354687813158</c:v>
                </c:pt>
                <c:pt idx="40">
                  <c:v>0.1865624776562634</c:v>
                </c:pt>
                <c:pt idx="41">
                  <c:v>0.18821796839196872</c:v>
                </c:pt>
                <c:pt idx="42">
                  <c:v>0.18489807868254848</c:v>
                </c:pt>
                <c:pt idx="43">
                  <c:v>0.19050730631930543</c:v>
                </c:pt>
                <c:pt idx="44">
                  <c:v>0.19455342169857456</c:v>
                </c:pt>
                <c:pt idx="45">
                  <c:v>0.19545934282710092</c:v>
                </c:pt>
                <c:pt idx="46">
                  <c:v>0.19224197931376832</c:v>
                </c:pt>
                <c:pt idx="47">
                  <c:v>0.1929183635424036</c:v>
                </c:pt>
                <c:pt idx="48">
                  <c:v>0.1966294054309557</c:v>
                </c:pt>
                <c:pt idx="49">
                  <c:v>0.19824559934640232</c:v>
                </c:pt>
                <c:pt idx="50">
                  <c:v>0.19637215069048697</c:v>
                </c:pt>
                <c:pt idx="51">
                  <c:v>0.19315651010489343</c:v>
                </c:pt>
                <c:pt idx="52">
                  <c:v>0.20428610197936492</c:v>
                </c:pt>
                <c:pt idx="53">
                  <c:v>0.23665655386773585</c:v>
                </c:pt>
                <c:pt idx="54">
                  <c:v>0.1911869084391078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757565949182714"/>
          <c:min val="0.1187518226888305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977527885127924</c:v>
                </c:pt>
                <c:pt idx="1">
                  <c:v>0.11239101374958435</c:v>
                </c:pt>
                <c:pt idx="2">
                  <c:v>0.1139112171019946</c:v>
                </c:pt>
                <c:pt idx="3">
                  <c:v>0.11107157880321726</c:v>
                </c:pt>
                <c:pt idx="4">
                  <c:v>0.11212778876417676</c:v>
                </c:pt>
                <c:pt idx="5">
                  <c:v>0.11075261764701934</c:v>
                </c:pt>
                <c:pt idx="6">
                  <c:v>0.10822087492663016</c:v>
                </c:pt>
                <c:pt idx="7">
                  <c:v>0.10675549121827713</c:v>
                </c:pt>
                <c:pt idx="8">
                  <c:v>0.10477199011967678</c:v>
                </c:pt>
                <c:pt idx="9">
                  <c:v>0.10267868016130718</c:v>
                </c:pt>
                <c:pt idx="10">
                  <c:v>0.10232597748012895</c:v>
                </c:pt>
                <c:pt idx="11">
                  <c:v>0.10248682109609016</c:v>
                </c:pt>
                <c:pt idx="12">
                  <c:v>0.10196438062220563</c:v>
                </c:pt>
                <c:pt idx="13">
                  <c:v>0.09699781029405664</c:v>
                </c:pt>
                <c:pt idx="14">
                  <c:v>0.1059242814652177</c:v>
                </c:pt>
                <c:pt idx="15">
                  <c:v>0.1032806451115212</c:v>
                </c:pt>
                <c:pt idx="16">
                  <c:v>0.10272159802901258</c:v>
                </c:pt>
                <c:pt idx="17">
                  <c:v>0.09547444910616792</c:v>
                </c:pt>
                <c:pt idx="18">
                  <c:v>0.10267689542821315</c:v>
                </c:pt>
                <c:pt idx="19">
                  <c:v>0.10382516998411921</c:v>
                </c:pt>
                <c:pt idx="20">
                  <c:v>0.10430693005747024</c:v>
                </c:pt>
                <c:pt idx="21">
                  <c:v>0.10283377658756594</c:v>
                </c:pt>
                <c:pt idx="22">
                  <c:v>0.09634348171610248</c:v>
                </c:pt>
                <c:pt idx="23">
                  <c:v>0.09449587234175254</c:v>
                </c:pt>
                <c:pt idx="24">
                  <c:v>0.09445901217139062</c:v>
                </c:pt>
                <c:pt idx="25">
                  <c:v>0.09227114178729172</c:v>
                </c:pt>
                <c:pt idx="26">
                  <c:v>0.10057976123306311</c:v>
                </c:pt>
                <c:pt idx="27">
                  <c:v>0.10253310615677078</c:v>
                </c:pt>
                <c:pt idx="28">
                  <c:v>0.10034725980744849</c:v>
                </c:pt>
                <c:pt idx="29">
                  <c:v>0.09644390592936997</c:v>
                </c:pt>
                <c:pt idx="30">
                  <c:v>0.09776805876472537</c:v>
                </c:pt>
                <c:pt idx="31">
                  <c:v>0.09723893839834563</c:v>
                </c:pt>
                <c:pt idx="32">
                  <c:v>0.0922955943548461</c:v>
                </c:pt>
                <c:pt idx="33">
                  <c:v>0.0921971555545888</c:v>
                </c:pt>
                <c:pt idx="34">
                  <c:v>0.09829759861244722</c:v>
                </c:pt>
                <c:pt idx="35">
                  <c:v>0.1037383618397284</c:v>
                </c:pt>
                <c:pt idx="36">
                  <c:v>0.10421593732993188</c:v>
                </c:pt>
                <c:pt idx="37">
                  <c:v>0.10576406085399051</c:v>
                </c:pt>
                <c:pt idx="38">
                  <c:v>0.10997536405655768</c:v>
                </c:pt>
                <c:pt idx="39">
                  <c:v>0.11326183444389926</c:v>
                </c:pt>
                <c:pt idx="40">
                  <c:v>0.11921311314867425</c:v>
                </c:pt>
                <c:pt idx="41">
                  <c:v>0.11749509508859897</c:v>
                </c:pt>
                <c:pt idx="42">
                  <c:v>0.1185159950354781</c:v>
                </c:pt>
                <c:pt idx="43">
                  <c:v>0.12934913876158763</c:v>
                </c:pt>
                <c:pt idx="44">
                  <c:v>0.11171402825530191</c:v>
                </c:pt>
                <c:pt idx="45">
                  <c:v>0.109736953103047</c:v>
                </c:pt>
                <c:pt idx="46">
                  <c:v>0.11019475062657155</c:v>
                </c:pt>
                <c:pt idx="47">
                  <c:v>0.10535534586627193</c:v>
                </c:pt>
                <c:pt idx="48">
                  <c:v>0.10873017130368594</c:v>
                </c:pt>
                <c:pt idx="49">
                  <c:v>0.113519309087388</c:v>
                </c:pt>
                <c:pt idx="50">
                  <c:v>0.10348815145302818</c:v>
                </c:pt>
                <c:pt idx="51">
                  <c:v>0.10416425595078777</c:v>
                </c:pt>
                <c:pt idx="52">
                  <c:v>0.10702533521831416</c:v>
                </c:pt>
                <c:pt idx="53">
                  <c:v>0.11890331679093805</c:v>
                </c:pt>
                <c:pt idx="54">
                  <c:v>0.1152876578301699</c:v>
                </c:pt>
                <c:pt idx="55">
                  <c:v>0.1152305041265081</c:v>
                </c:pt>
                <c:pt idx="56">
                  <c:v>0.11137050686644717</c:v>
                </c:pt>
                <c:pt idx="57">
                  <c:v>0.11125940718157899</c:v>
                </c:pt>
                <c:pt idx="58">
                  <c:v>0.11046474448892088</c:v>
                </c:pt>
                <c:pt idx="59">
                  <c:v>0.11370141339275121</c:v>
                </c:pt>
                <c:pt idx="60">
                  <c:v>0.11553492002470843</c:v>
                </c:pt>
                <c:pt idx="61">
                  <c:v>0.11242338077680733</c:v>
                </c:pt>
                <c:pt idx="62">
                  <c:v>0.10313129610811449</c:v>
                </c:pt>
                <c:pt idx="63">
                  <c:v>0.10604054372631422</c:v>
                </c:pt>
                <c:pt idx="64">
                  <c:v>0.11195028799445424</c:v>
                </c:pt>
                <c:pt idx="65">
                  <c:v>0.10489060590870616</c:v>
                </c:pt>
                <c:pt idx="66">
                  <c:v>0.10687505722235419</c:v>
                </c:pt>
                <c:pt idx="67">
                  <c:v>0.1061139533261151</c:v>
                </c:pt>
                <c:pt idx="68">
                  <c:v>0.1036851827359237</c:v>
                </c:pt>
                <c:pt idx="69">
                  <c:v>0.10182751312859473</c:v>
                </c:pt>
                <c:pt idx="70">
                  <c:v>0.10083853868237362</c:v>
                </c:pt>
                <c:pt idx="71">
                  <c:v>0.10150654424237536</c:v>
                </c:pt>
                <c:pt idx="72">
                  <c:v>0.10308858590977517</c:v>
                </c:pt>
                <c:pt idx="73">
                  <c:v>0.10601753157583936</c:v>
                </c:pt>
                <c:pt idx="74">
                  <c:v>0.10197906439987826</c:v>
                </c:pt>
                <c:pt idx="75">
                  <c:v>0.10103873805405812</c:v>
                </c:pt>
                <c:pt idx="76">
                  <c:v>0.10032421494850337</c:v>
                </c:pt>
                <c:pt idx="77">
                  <c:v>0.09668397608393758</c:v>
                </c:pt>
                <c:pt idx="78">
                  <c:v>0.10027889376359526</c:v>
                </c:pt>
                <c:pt idx="79">
                  <c:v>0.07547323221430217</c:v>
                </c:pt>
                <c:pt idx="80">
                  <c:v>0.07414451023702488</c:v>
                </c:pt>
                <c:pt idx="81">
                  <c:v>0.09235990150672692</c:v>
                </c:pt>
                <c:pt idx="82">
                  <c:v>0.09158145999117212</c:v>
                </c:pt>
                <c:pt idx="83">
                  <c:v>0.09135967367783715</c:v>
                </c:pt>
                <c:pt idx="84">
                  <c:v>0.09365422840357923</c:v>
                </c:pt>
                <c:pt idx="85">
                  <c:v>0.09392418842529156</c:v>
                </c:pt>
                <c:pt idx="86">
                  <c:v>0.10456639612721597</c:v>
                </c:pt>
                <c:pt idx="87">
                  <c:v>0.10413170683863847</c:v>
                </c:pt>
                <c:pt idx="88">
                  <c:v>0.1048610358325061</c:v>
                </c:pt>
                <c:pt idx="89">
                  <c:v>0.09823631929752732</c:v>
                </c:pt>
                <c:pt idx="90">
                  <c:v>0.10180242959599047</c:v>
                </c:pt>
                <c:pt idx="91">
                  <c:v>0.10581150395786741</c:v>
                </c:pt>
                <c:pt idx="92">
                  <c:v>0.10673166943602218</c:v>
                </c:pt>
                <c:pt idx="93">
                  <c:v>0.10807335167836364</c:v>
                </c:pt>
                <c:pt idx="94">
                  <c:v>0.10523959086274591</c:v>
                </c:pt>
                <c:pt idx="95">
                  <c:v>0.10628409528051928</c:v>
                </c:pt>
                <c:pt idx="96">
                  <c:v>0.10469533408369998</c:v>
                </c:pt>
                <c:pt idx="97">
                  <c:v>0.10586415216239062</c:v>
                </c:pt>
                <c:pt idx="98">
                  <c:v>0.10489956033098262</c:v>
                </c:pt>
                <c:pt idx="99">
                  <c:v>0.10342337364340956</c:v>
                </c:pt>
                <c:pt idx="100">
                  <c:v>0.10574765506289222</c:v>
                </c:pt>
                <c:pt idx="101">
                  <c:v>0.10782532541421738</c:v>
                </c:pt>
                <c:pt idx="102">
                  <c:v>0.10836883752576641</c:v>
                </c:pt>
                <c:pt idx="103">
                  <c:v>0.09744800658024531</c:v>
                </c:pt>
                <c:pt idx="104">
                  <c:v>0.10396343969938662</c:v>
                </c:pt>
              </c:numCache>
            </c:numRef>
          </c:xVal>
          <c:yVal>
            <c:numRef>
              <c:f>Sheet1!$B$2:$B$106</c:f>
              <c:numCache>
                <c:formatCode>General</c:formatCode>
                <c:ptCount val="105"/>
                <c:pt idx="0">
                  <c:v>0.22194230725584985</c:v>
                </c:pt>
                <c:pt idx="1">
                  <c:v>0.22026857992494867</c:v>
                </c:pt>
                <c:pt idx="2">
                  <c:v>0.20593717638936831</c:v>
                </c:pt>
                <c:pt idx="3">
                  <c:v>0.2040204890306369</c:v>
                </c:pt>
                <c:pt idx="4">
                  <c:v>0.19666111126804328</c:v>
                </c:pt>
                <c:pt idx="5">
                  <c:v>0.18637910155123696</c:v>
                </c:pt>
                <c:pt idx="6">
                  <c:v>0.20510359622875854</c:v>
                </c:pt>
                <c:pt idx="7">
                  <c:v>0.19365059045668384</c:v>
                </c:pt>
                <c:pt idx="8">
                  <c:v>0.2037377553408445</c:v>
                </c:pt>
                <c:pt idx="9">
                  <c:v>0.20627696516889404</c:v>
                </c:pt>
                <c:pt idx="10">
                  <c:v>0.21713827011840256</c:v>
                </c:pt>
                <c:pt idx="11">
                  <c:v>0.21172901921132456</c:v>
                </c:pt>
                <c:pt idx="12">
                  <c:v>0.2256641278097715</c:v>
                </c:pt>
                <c:pt idx="13">
                  <c:v>0.23085775851514484</c:v>
                </c:pt>
                <c:pt idx="14">
                  <c:v>0.22159297175633486</c:v>
                </c:pt>
                <c:pt idx="15">
                  <c:v>0.21491924999277728</c:v>
                </c:pt>
                <c:pt idx="16">
                  <c:v>0.2051609941635517</c:v>
                </c:pt>
                <c:pt idx="17">
                  <c:v>0.19201745288079825</c:v>
                </c:pt>
                <c:pt idx="18">
                  <c:v>0.18351630992812573</c:v>
                </c:pt>
                <c:pt idx="19">
                  <c:v>0.15794605134871628</c:v>
                </c:pt>
                <c:pt idx="20">
                  <c:v>0.17411278281842196</c:v>
                </c:pt>
                <c:pt idx="21">
                  <c:v>0.16995708154506436</c:v>
                </c:pt>
                <c:pt idx="22">
                  <c:v>0.16563987678521422</c:v>
                </c:pt>
                <c:pt idx="23">
                  <c:v>0.16956735496558506</c:v>
                </c:pt>
                <c:pt idx="24">
                  <c:v>0.18010355029585798</c:v>
                </c:pt>
                <c:pt idx="25">
                  <c:v>0.17641213389121338</c:v>
                </c:pt>
                <c:pt idx="26">
                  <c:v>0.17198937013380577</c:v>
                </c:pt>
                <c:pt idx="27">
                  <c:v>0.1726867436993904</c:v>
                </c:pt>
                <c:pt idx="28">
                  <c:v>0.163946587537092</c:v>
                </c:pt>
                <c:pt idx="29">
                  <c:v>0.17798194975201237</c:v>
                </c:pt>
                <c:pt idx="30">
                  <c:v>0.16221154850161845</c:v>
                </c:pt>
                <c:pt idx="31">
                  <c:v>0.15749670084255404</c:v>
                </c:pt>
                <c:pt idx="32">
                  <c:v>0.16348269653930786</c:v>
                </c:pt>
                <c:pt idx="33">
                  <c:v>0.18088082487411078</c:v>
                </c:pt>
                <c:pt idx="34">
                  <c:v>0.18054500054282924</c:v>
                </c:pt>
                <c:pt idx="35">
                  <c:v>0.19449394155381325</c:v>
                </c:pt>
                <c:pt idx="36">
                  <c:v>0.16721767225185966</c:v>
                </c:pt>
                <c:pt idx="37">
                  <c:v>0.13747257569109259</c:v>
                </c:pt>
                <c:pt idx="38">
                  <c:v>0.13328411361070094</c:v>
                </c:pt>
                <c:pt idx="39">
                  <c:v>0.13529929985626188</c:v>
                </c:pt>
                <c:pt idx="40">
                  <c:v>0.14140245313584818</c:v>
                </c:pt>
                <c:pt idx="41">
                  <c:v>0.1320315745741587</c:v>
                </c:pt>
                <c:pt idx="42">
                  <c:v>0.13478445830969937</c:v>
                </c:pt>
                <c:pt idx="43">
                  <c:v>0.14850637407242975</c:v>
                </c:pt>
                <c:pt idx="44">
                  <c:v>0.160577483329377</c:v>
                </c:pt>
                <c:pt idx="45">
                  <c:v>0.17985482748334494</c:v>
                </c:pt>
                <c:pt idx="46">
                  <c:v>0.1890920904278698</c:v>
                </c:pt>
                <c:pt idx="47">
                  <c:v>0.1872183925751916</c:v>
                </c:pt>
                <c:pt idx="48">
                  <c:v>0.20402986156410813</c:v>
                </c:pt>
                <c:pt idx="49">
                  <c:v>0.2373207055109464</c:v>
                </c:pt>
                <c:pt idx="50">
                  <c:v>0.19963127804987058</c:v>
                </c:pt>
                <c:pt idx="51">
                  <c:v>0.18215747110931246</c:v>
                </c:pt>
                <c:pt idx="52">
                  <c:v>0.19546332988463117</c:v>
                </c:pt>
                <c:pt idx="53">
                  <c:v>0.18087203153542927</c:v>
                </c:pt>
                <c:pt idx="54">
                  <c:v>0.1730390224674813</c:v>
                </c:pt>
                <c:pt idx="55">
                  <c:v>0.1718077183480027</c:v>
                </c:pt>
                <c:pt idx="56">
                  <c:v>0.18865047380459646</c:v>
                </c:pt>
                <c:pt idx="57">
                  <c:v>0.1838357464989319</c:v>
                </c:pt>
                <c:pt idx="58">
                  <c:v>0.19846960029818675</c:v>
                </c:pt>
                <c:pt idx="59">
                  <c:v>0.20095489936829733</c:v>
                </c:pt>
                <c:pt idx="60">
                  <c:v>0.20754898811435915</c:v>
                </c:pt>
                <c:pt idx="61">
                  <c:v>0.20793681621026736</c:v>
                </c:pt>
                <c:pt idx="62">
                  <c:v>0.215126935636785</c:v>
                </c:pt>
                <c:pt idx="63">
                  <c:v>0.22940080302768331</c:v>
                </c:pt>
                <c:pt idx="64">
                  <c:v>0.21880271394834502</c:v>
                </c:pt>
                <c:pt idx="65">
                  <c:v>0.21689451132421955</c:v>
                </c:pt>
                <c:pt idx="66">
                  <c:v>0.2178862817026121</c:v>
                </c:pt>
                <c:pt idx="67">
                  <c:v>0.21287441455179174</c:v>
                </c:pt>
                <c:pt idx="68">
                  <c:v>0.19509166798753105</c:v>
                </c:pt>
                <c:pt idx="69">
                  <c:v>0.1761484219894571</c:v>
                </c:pt>
                <c:pt idx="70">
                  <c:v>0.1632560695697152</c:v>
                </c:pt>
                <c:pt idx="71">
                  <c:v>0.1733943061477101</c:v>
                </c:pt>
                <c:pt idx="72">
                  <c:v>0.1759865159627206</c:v>
                </c:pt>
                <c:pt idx="73">
                  <c:v>0.17940107322139517</c:v>
                </c:pt>
                <c:pt idx="74">
                  <c:v>0.1715601227812625</c:v>
                </c:pt>
                <c:pt idx="75">
                  <c:v>0.16595561470116246</c:v>
                </c:pt>
                <c:pt idx="76">
                  <c:v>0.1590899603423085</c:v>
                </c:pt>
                <c:pt idx="77">
                  <c:v>0.16565724071676205</c:v>
                </c:pt>
                <c:pt idx="78">
                  <c:v>0.15544116232079283</c:v>
                </c:pt>
                <c:pt idx="79">
                  <c:v>0.18983507236620667</c:v>
                </c:pt>
                <c:pt idx="80">
                  <c:v>0.18471825886962817</c:v>
                </c:pt>
                <c:pt idx="81">
                  <c:v>0.16555171917709682</c:v>
                </c:pt>
                <c:pt idx="82">
                  <c:v>0.15227773695811903</c:v>
                </c:pt>
                <c:pt idx="83">
                  <c:v>0.14037588427832332</c:v>
                </c:pt>
                <c:pt idx="84">
                  <c:v>0.13738054466110589</c:v>
                </c:pt>
                <c:pt idx="85">
                  <c:v>0.1408924507766894</c:v>
                </c:pt>
                <c:pt idx="86">
                  <c:v>0.14388276219376805</c:v>
                </c:pt>
                <c:pt idx="87">
                  <c:v>0.16424116424116425</c:v>
                </c:pt>
                <c:pt idx="88">
                  <c:v>0.15143294683876612</c:v>
                </c:pt>
                <c:pt idx="89">
                  <c:v>0.13790962071271615</c:v>
                </c:pt>
                <c:pt idx="90">
                  <c:v>0.13506044905008635</c:v>
                </c:pt>
                <c:pt idx="91">
                  <c:v>0.13018990876931671</c:v>
                </c:pt>
                <c:pt idx="92">
                  <c:v>0.14122937388056858</c:v>
                </c:pt>
                <c:pt idx="93">
                  <c:v>0.13123975562509313</c:v>
                </c:pt>
                <c:pt idx="94">
                  <c:v>0.13373245077785742</c:v>
                </c:pt>
                <c:pt idx="95">
                  <c:v>0.14385922108024032</c:v>
                </c:pt>
                <c:pt idx="96">
                  <c:v>0.13698139399502945</c:v>
                </c:pt>
                <c:pt idx="97">
                  <c:v>0.14533199314137055</c:v>
                </c:pt>
                <c:pt idx="98">
                  <c:v>0.16315129011740842</c:v>
                </c:pt>
                <c:pt idx="99">
                  <c:v>0.17124577715327813</c:v>
                </c:pt>
                <c:pt idx="100">
                  <c:v>0.19575939007580978</c:v>
                </c:pt>
                <c:pt idx="101">
                  <c:v>0.17001159575417002</c:v>
                </c:pt>
                <c:pt idx="102">
                  <c:v>0.14514833816640643</c:v>
                </c:pt>
                <c:pt idx="103">
                  <c:v>0.16519679377366073</c:v>
                </c:pt>
                <c:pt idx="104">
                  <c:v>0.1671687835916222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24484249222093</c:v>
                </c:pt>
                <c:pt idx="1">
                  <c:v>0.1149613411853053</c:v>
                </c:pt>
                <c:pt idx="2">
                  <c:v>0.1122505100808611</c:v>
                </c:pt>
                <c:pt idx="3">
                  <c:v>0.11514237055626596</c:v>
                </c:pt>
                <c:pt idx="4">
                  <c:v>0.11314595767614398</c:v>
                </c:pt>
                <c:pt idx="5">
                  <c:v>0.10783862211995608</c:v>
                </c:pt>
                <c:pt idx="6">
                  <c:v>0.10248700214556133</c:v>
                </c:pt>
                <c:pt idx="7">
                  <c:v>0.10613368806479245</c:v>
                </c:pt>
                <c:pt idx="8">
                  <c:v>0.11405458319796742</c:v>
                </c:pt>
                <c:pt idx="9">
                  <c:v>0.11215640723921701</c:v>
                </c:pt>
                <c:pt idx="10">
                  <c:v>0.11283096711832885</c:v>
                </c:pt>
                <c:pt idx="11">
                  <c:v>0.10567824231277688</c:v>
                </c:pt>
                <c:pt idx="12">
                  <c:v>0.10737789711634245</c:v>
                </c:pt>
                <c:pt idx="13">
                  <c:v>0.10810037488183727</c:v>
                </c:pt>
                <c:pt idx="14">
                  <c:v>0.10952631482646237</c:v>
                </c:pt>
                <c:pt idx="15">
                  <c:v>0.10770249630264433</c:v>
                </c:pt>
                <c:pt idx="16">
                  <c:v>0.10887489238149252</c:v>
                </c:pt>
                <c:pt idx="17">
                  <c:v>0.10675467497827913</c:v>
                </c:pt>
                <c:pt idx="18">
                  <c:v>0.10249179813940262</c:v>
                </c:pt>
                <c:pt idx="19">
                  <c:v>0.11170142047682183</c:v>
                </c:pt>
                <c:pt idx="20">
                  <c:v>0.10633338714558009</c:v>
                </c:pt>
                <c:pt idx="21">
                  <c:v>0.11115782080762399</c:v>
                </c:pt>
                <c:pt idx="22">
                  <c:v>0.10947560886138057</c:v>
                </c:pt>
                <c:pt idx="23">
                  <c:v>0.107250217168453</c:v>
                </c:pt>
                <c:pt idx="24">
                  <c:v>0.10492022374210801</c:v>
                </c:pt>
                <c:pt idx="25">
                  <c:v>0.10177803862189733</c:v>
                </c:pt>
                <c:pt idx="26">
                  <c:v>0.10579949469757455</c:v>
                </c:pt>
                <c:pt idx="27">
                  <c:v>0.109691167330181</c:v>
                </c:pt>
                <c:pt idx="28">
                  <c:v>0.11285412007543495</c:v>
                </c:pt>
                <c:pt idx="29">
                  <c:v>0.1137234909351159</c:v>
                </c:pt>
                <c:pt idx="30">
                  <c:v>0.11532204009390769</c:v>
                </c:pt>
                <c:pt idx="31">
                  <c:v>0.10557994463206723</c:v>
                </c:pt>
                <c:pt idx="32">
                  <c:v>0.1091401993926315</c:v>
                </c:pt>
                <c:pt idx="33">
                  <c:v>0.11560407828102656</c:v>
                </c:pt>
                <c:pt idx="34">
                  <c:v>0.1164053979167286</c:v>
                </c:pt>
                <c:pt idx="35">
                  <c:v>0.1126066475966202</c:v>
                </c:pt>
                <c:pt idx="36">
                  <c:v>0.10913692195396112</c:v>
                </c:pt>
                <c:pt idx="37">
                  <c:v>0.11324824853706861</c:v>
                </c:pt>
                <c:pt idx="38">
                  <c:v>0.10943283400980919</c:v>
                </c:pt>
                <c:pt idx="39">
                  <c:v>0.11139263172468727</c:v>
                </c:pt>
                <c:pt idx="40">
                  <c:v>0.11481224065466752</c:v>
                </c:pt>
                <c:pt idx="41">
                  <c:v>0.11874716253808126</c:v>
                </c:pt>
                <c:pt idx="42">
                  <c:v>0.11633573903600175</c:v>
                </c:pt>
                <c:pt idx="43">
                  <c:v>0.11970791517557962</c:v>
                </c:pt>
                <c:pt idx="44">
                  <c:v>0.11638410036427749</c:v>
                </c:pt>
                <c:pt idx="45">
                  <c:v>0.11609775867266535</c:v>
                </c:pt>
                <c:pt idx="46">
                  <c:v>0.11345644453222077</c:v>
                </c:pt>
                <c:pt idx="47">
                  <c:v>0.11092675102764037</c:v>
                </c:pt>
                <c:pt idx="48">
                  <c:v>0.10907921306971496</c:v>
                </c:pt>
                <c:pt idx="49">
                  <c:v>0.11391299059552812</c:v>
                </c:pt>
                <c:pt idx="50">
                  <c:v>0.10924508633133288</c:v>
                </c:pt>
                <c:pt idx="51">
                  <c:v>0.10132090641669542</c:v>
                </c:pt>
              </c:numCache>
            </c:numRef>
          </c:xVal>
          <c:yVal>
            <c:numRef>
              <c:f>Sheet1!$B$109:$B$160</c:f>
              <c:numCache>
                <c:formatCode>General</c:formatCode>
                <c:ptCount val="52"/>
                <c:pt idx="0">
                  <c:v>0.16762589928057553</c:v>
                </c:pt>
                <c:pt idx="1">
                  <c:v>0.1615433092920664</c:v>
                </c:pt>
                <c:pt idx="2">
                  <c:v>0.16950079973061705</c:v>
                </c:pt>
                <c:pt idx="3">
                  <c:v>0.1768236380424746</c:v>
                </c:pt>
                <c:pt idx="4">
                  <c:v>0.165415823707281</c:v>
                </c:pt>
                <c:pt idx="5">
                  <c:v>0.16068098549834361</c:v>
                </c:pt>
                <c:pt idx="6">
                  <c:v>0.16907997798382657</c:v>
                </c:pt>
                <c:pt idx="7">
                  <c:v>0.16591660020508145</c:v>
                </c:pt>
                <c:pt idx="8">
                  <c:v>0.1669268719165678</c:v>
                </c:pt>
                <c:pt idx="9">
                  <c:v>0.1827140688114132</c:v>
                </c:pt>
                <c:pt idx="10">
                  <c:v>0.17981281576985728</c:v>
                </c:pt>
                <c:pt idx="11">
                  <c:v>0.2001124695394997</c:v>
                </c:pt>
                <c:pt idx="12">
                  <c:v>0.19026330031294855</c:v>
                </c:pt>
                <c:pt idx="13">
                  <c:v>0.18480108806528392</c:v>
                </c:pt>
                <c:pt idx="14">
                  <c:v>0.18698388253100023</c:v>
                </c:pt>
                <c:pt idx="15">
                  <c:v>0.17095786309760108</c:v>
                </c:pt>
                <c:pt idx="16">
                  <c:v>0.16961976822143474</c:v>
                </c:pt>
                <c:pt idx="17">
                  <c:v>0.14999830663460562</c:v>
                </c:pt>
                <c:pt idx="18">
                  <c:v>0.1481346309813463</c:v>
                </c:pt>
                <c:pt idx="19">
                  <c:v>0.15853748797276293</c:v>
                </c:pt>
                <c:pt idx="20">
                  <c:v>0.15641689593785402</c:v>
                </c:pt>
                <c:pt idx="21">
                  <c:v>0.1529496749337828</c:v>
                </c:pt>
                <c:pt idx="22">
                  <c:v>0.1511989127269197</c:v>
                </c:pt>
                <c:pt idx="23">
                  <c:v>0.15308917520543777</c:v>
                </c:pt>
                <c:pt idx="24">
                  <c:v>0.1520007631039252</c:v>
                </c:pt>
                <c:pt idx="25">
                  <c:v>0.1582287970413314</c:v>
                </c:pt>
                <c:pt idx="26">
                  <c:v>0.14265774654666216</c:v>
                </c:pt>
                <c:pt idx="27">
                  <c:v>0.1304051172707889</c:v>
                </c:pt>
                <c:pt idx="28">
                  <c:v>0.13956879902250602</c:v>
                </c:pt>
                <c:pt idx="29">
                  <c:v>0.12897674418604652</c:v>
                </c:pt>
                <c:pt idx="30">
                  <c:v>0.1453814872192099</c:v>
                </c:pt>
                <c:pt idx="31">
                  <c:v>0.13441646357974546</c:v>
                </c:pt>
                <c:pt idx="32">
                  <c:v>0.13719262788123768</c:v>
                </c:pt>
                <c:pt idx="33">
                  <c:v>0.15654888150786345</c:v>
                </c:pt>
                <c:pt idx="34">
                  <c:v>0.1764300266415922</c:v>
                </c:pt>
                <c:pt idx="35">
                  <c:v>0.16952813266464106</c:v>
                </c:pt>
                <c:pt idx="36">
                  <c:v>0.14872787908127588</c:v>
                </c:pt>
                <c:pt idx="37">
                  <c:v>0.13693289800691974</c:v>
                </c:pt>
                <c:pt idx="38">
                  <c:v>0.13522654069143225</c:v>
                </c:pt>
                <c:pt idx="39">
                  <c:v>0.15436158332299293</c:v>
                </c:pt>
                <c:pt idx="40">
                  <c:v>0.13784655587766934</c:v>
                </c:pt>
                <c:pt idx="41">
                  <c:v>0.1416366561949276</c:v>
                </c:pt>
                <c:pt idx="42">
                  <c:v>0.1381288239292998</c:v>
                </c:pt>
                <c:pt idx="43">
                  <c:v>0.13578618981764384</c:v>
                </c:pt>
                <c:pt idx="44">
                  <c:v>0.14003581068441165</c:v>
                </c:pt>
                <c:pt idx="45">
                  <c:v>0.15592435353145503</c:v>
                </c:pt>
                <c:pt idx="46">
                  <c:v>0.14998784933171325</c:v>
                </c:pt>
                <c:pt idx="47">
                  <c:v>0.15445870803871764</c:v>
                </c:pt>
                <c:pt idx="48">
                  <c:v>0.1474729938271605</c:v>
                </c:pt>
                <c:pt idx="49">
                  <c:v>0.15903343635852768</c:v>
                </c:pt>
                <c:pt idx="50">
                  <c:v>0.19861179620886477</c:v>
                </c:pt>
                <c:pt idx="51">
                  <c:v>0.1820915006823980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6217243509888114</c:v>
                </c:pt>
              </c:numCache>
            </c:numRef>
          </c:xVal>
          <c:yVal>
            <c:numRef>
              <c:f>Sheet1!$B$163:$B$164</c:f>
              <c:numCache>
                <c:formatCode>General</c:formatCode>
                <c:ptCount val="2"/>
                <c:pt idx="0">
                  <c:v>0.20418896749404122</c:v>
                </c:pt>
                <c:pt idx="1">
                  <c:v>0.204188967494041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6217243509888114</c:v>
                </c:pt>
                <c:pt idx="1">
                  <c:v>0.06217243509888114</c:v>
                </c:pt>
              </c:numCache>
            </c:numRef>
          </c:xVal>
          <c:yVal>
            <c:numRef>
              <c:f>Sheet1!$B$167:$B$168</c:f>
              <c:numCache>
                <c:formatCode>General</c:formatCode>
                <c:ptCount val="2"/>
                <c:pt idx="0">
                  <c:v>0.204188967494041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9629872350161985</c:v>
                </c:pt>
              </c:numCache>
            </c:numRef>
          </c:xVal>
          <c:yVal>
            <c:numRef>
              <c:f>Sheet1!$B$171:$B$172</c:f>
              <c:numCache>
                <c:formatCode>General</c:formatCode>
                <c:ptCount val="2"/>
                <c:pt idx="0">
                  <c:v>0.17180243176923776</c:v>
                </c:pt>
                <c:pt idx="1">
                  <c:v>0.1718024317692377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9629872350161985</c:v>
                </c:pt>
                <c:pt idx="1">
                  <c:v>0.09629872350161985</c:v>
                </c:pt>
              </c:numCache>
            </c:numRef>
          </c:xVal>
          <c:yVal>
            <c:numRef>
              <c:f>Sheet1!$B$175:$B$176</c:f>
              <c:numCache>
                <c:formatCode>General</c:formatCode>
                <c:ptCount val="2"/>
                <c:pt idx="0">
                  <c:v>0.171802431769237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1559436246289065</c:v>
                </c:pt>
              </c:numCache>
            </c:numRef>
          </c:xVal>
          <c:yVal>
            <c:numRef>
              <c:f>Sheet1!$B$179:$B$180</c:f>
              <c:numCache>
                <c:formatCode>General</c:formatCode>
                <c:ptCount val="2"/>
                <c:pt idx="0">
                  <c:v>0.15349048136967555</c:v>
                </c:pt>
                <c:pt idx="1">
                  <c:v>0.1534904813696755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1559436246289065</c:v>
                </c:pt>
                <c:pt idx="1">
                  <c:v>0.11559436246289065</c:v>
                </c:pt>
              </c:numCache>
            </c:numRef>
          </c:xVal>
          <c:yVal>
            <c:numRef>
              <c:f>Sheet1!$B$183:$B$184</c:f>
              <c:numCache>
                <c:formatCode>General</c:formatCode>
                <c:ptCount val="2"/>
                <c:pt idx="0">
                  <c:v>0.153490481369675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24484249222093</c:v>
                </c:pt>
                <c:pt idx="1">
                  <c:v>0.1149613411853053</c:v>
                </c:pt>
                <c:pt idx="2">
                  <c:v>0.1122505100808611</c:v>
                </c:pt>
                <c:pt idx="3">
                  <c:v>0.11514237055626596</c:v>
                </c:pt>
                <c:pt idx="4">
                  <c:v>0.11314595767614398</c:v>
                </c:pt>
                <c:pt idx="5">
                  <c:v>0.10783862211995608</c:v>
                </c:pt>
                <c:pt idx="6">
                  <c:v>0.10248700214556133</c:v>
                </c:pt>
                <c:pt idx="7">
                  <c:v>0.10613368806479245</c:v>
                </c:pt>
                <c:pt idx="8">
                  <c:v>0.11405458319796742</c:v>
                </c:pt>
                <c:pt idx="9">
                  <c:v>0.11215640723921701</c:v>
                </c:pt>
                <c:pt idx="10">
                  <c:v>0.11283096711832885</c:v>
                </c:pt>
                <c:pt idx="11">
                  <c:v>0.10567824231277688</c:v>
                </c:pt>
                <c:pt idx="12">
                  <c:v>0.10737789711634245</c:v>
                </c:pt>
                <c:pt idx="13">
                  <c:v>0.10810037488183727</c:v>
                </c:pt>
                <c:pt idx="14">
                  <c:v>0.10952631482646237</c:v>
                </c:pt>
                <c:pt idx="15">
                  <c:v>0.10770249630264433</c:v>
                </c:pt>
                <c:pt idx="16">
                  <c:v>0.10887489238149252</c:v>
                </c:pt>
                <c:pt idx="17">
                  <c:v>0.10675467497827913</c:v>
                </c:pt>
                <c:pt idx="18">
                  <c:v>0.10249179813940262</c:v>
                </c:pt>
                <c:pt idx="19">
                  <c:v>0.11170142047682183</c:v>
                </c:pt>
                <c:pt idx="20">
                  <c:v>0.10633338714558009</c:v>
                </c:pt>
                <c:pt idx="21">
                  <c:v>0.11115782080762399</c:v>
                </c:pt>
                <c:pt idx="22">
                  <c:v>0.10947560886138057</c:v>
                </c:pt>
                <c:pt idx="23">
                  <c:v>0.107250217168453</c:v>
                </c:pt>
                <c:pt idx="24">
                  <c:v>0.10492022374210801</c:v>
                </c:pt>
                <c:pt idx="25">
                  <c:v>0.10177803862189733</c:v>
                </c:pt>
                <c:pt idx="26">
                  <c:v>0.10579949469757455</c:v>
                </c:pt>
                <c:pt idx="27">
                  <c:v>0.109691167330181</c:v>
                </c:pt>
                <c:pt idx="28">
                  <c:v>0.11285412007543495</c:v>
                </c:pt>
                <c:pt idx="29">
                  <c:v>0.1137234909351159</c:v>
                </c:pt>
                <c:pt idx="30">
                  <c:v>0.11532204009390769</c:v>
                </c:pt>
                <c:pt idx="31">
                  <c:v>0.10557994463206723</c:v>
                </c:pt>
                <c:pt idx="32">
                  <c:v>0.1091401993926315</c:v>
                </c:pt>
                <c:pt idx="33">
                  <c:v>0.11560407828102656</c:v>
                </c:pt>
                <c:pt idx="34">
                  <c:v>0.1164053979167286</c:v>
                </c:pt>
                <c:pt idx="35">
                  <c:v>0.1126066475966202</c:v>
                </c:pt>
                <c:pt idx="36">
                  <c:v>0.10913692195396112</c:v>
                </c:pt>
                <c:pt idx="37">
                  <c:v>0.11324824853706861</c:v>
                </c:pt>
                <c:pt idx="38">
                  <c:v>0.10943283400980919</c:v>
                </c:pt>
                <c:pt idx="39">
                  <c:v>0.11139263172468727</c:v>
                </c:pt>
                <c:pt idx="40">
                  <c:v>0.11481224065466752</c:v>
                </c:pt>
                <c:pt idx="41">
                  <c:v>0.11874716253808126</c:v>
                </c:pt>
                <c:pt idx="42">
                  <c:v>0.11633573903600175</c:v>
                </c:pt>
                <c:pt idx="43">
                  <c:v>0.11970791517557962</c:v>
                </c:pt>
                <c:pt idx="44">
                  <c:v>0.11638410036427749</c:v>
                </c:pt>
                <c:pt idx="45">
                  <c:v>0.11609775867266535</c:v>
                </c:pt>
                <c:pt idx="46">
                  <c:v>0.11345644453222077</c:v>
                </c:pt>
                <c:pt idx="47">
                  <c:v>0.11092675102764037</c:v>
                </c:pt>
                <c:pt idx="48">
                  <c:v>0.10907921306971496</c:v>
                </c:pt>
                <c:pt idx="49">
                  <c:v>0.11391299059552812</c:v>
                </c:pt>
                <c:pt idx="50">
                  <c:v>0.10924508633133288</c:v>
                </c:pt>
                <c:pt idx="51">
                  <c:v>0.10132090641669542</c:v>
                </c:pt>
                <c:pt idx="52">
                  <c:v>0.09629872350161985</c:v>
                </c:pt>
                <c:pt idx="53">
                  <c:v>0.06217243509888114</c:v>
                </c:pt>
                <c:pt idx="54">
                  <c:v>0.11559436246289065</c:v>
                </c:pt>
              </c:numCache>
            </c:numRef>
          </c:xVal>
          <c:yVal>
            <c:numRef>
              <c:f>Sheet1!$B$187:$B$241</c:f>
              <c:numCache>
                <c:formatCode>General</c:formatCode>
                <c:ptCount val="55"/>
                <c:pt idx="0">
                  <c:v>0.15647603952199723</c:v>
                </c:pt>
                <c:pt idx="1">
                  <c:v>0.15409123132464086</c:v>
                </c:pt>
                <c:pt idx="2">
                  <c:v>0.15666386469665872</c:v>
                </c:pt>
                <c:pt idx="3">
                  <c:v>0.15391943080181034</c:v>
                </c:pt>
                <c:pt idx="4">
                  <c:v>0.15581406687534066</c:v>
                </c:pt>
                <c:pt idx="5">
                  <c:v>0.1608508353209887</c:v>
                </c:pt>
                <c:pt idx="6">
                  <c:v>0.16592963057234683</c:v>
                </c:pt>
                <c:pt idx="7">
                  <c:v>0.16246885211303924</c:v>
                </c:pt>
                <c:pt idx="8">
                  <c:v>0.1549517629360514</c:v>
                </c:pt>
                <c:pt idx="9">
                  <c:v>0.1567531701906153</c:v>
                </c:pt>
                <c:pt idx="10">
                  <c:v>0.1561129992653288</c:v>
                </c:pt>
                <c:pt idx="11">
                  <c:v>0.16290107931408399</c:v>
                </c:pt>
                <c:pt idx="12">
                  <c:v>0.16128807263823663</c:v>
                </c:pt>
                <c:pt idx="13">
                  <c:v>0.16060242667268543</c:v>
                </c:pt>
                <c:pt idx="14">
                  <c:v>0.1592491809164221</c:v>
                </c:pt>
                <c:pt idx="15">
                  <c:v>0.16098002146609203</c:v>
                </c:pt>
                <c:pt idx="16">
                  <c:v>0.15986739395022692</c:v>
                </c:pt>
                <c:pt idx="17">
                  <c:v>0.16187952301223207</c:v>
                </c:pt>
                <c:pt idx="18">
                  <c:v>0.16592507907749793</c:v>
                </c:pt>
                <c:pt idx="19">
                  <c:v>0.15718496180125646</c:v>
                </c:pt>
                <c:pt idx="20">
                  <c:v>0.16227933365917713</c:v>
                </c:pt>
                <c:pt idx="21">
                  <c:v>0.15770084884700547</c:v>
                </c:pt>
                <c:pt idx="22">
                  <c:v>0.1592973018995833</c:v>
                </c:pt>
                <c:pt idx="23">
                  <c:v>0.16140924348297847</c:v>
                </c:pt>
                <c:pt idx="24">
                  <c:v>0.16362045422029448</c:v>
                </c:pt>
                <c:pt idx="25">
                  <c:v>0.16660245124993578</c:v>
                </c:pt>
                <c:pt idx="26">
                  <c:v>0.16278600835630436</c:v>
                </c:pt>
                <c:pt idx="27">
                  <c:v>0.15909273256675105</c:v>
                </c:pt>
                <c:pt idx="28">
                  <c:v>0.15609102664224123</c:v>
                </c:pt>
                <c:pt idx="29">
                  <c:v>0.15526597616875049</c:v>
                </c:pt>
                <c:pt idx="30">
                  <c:v>0.15374892078821548</c:v>
                </c:pt>
                <c:pt idx="31">
                  <c:v>0.16299436579488727</c:v>
                </c:pt>
                <c:pt idx="32">
                  <c:v>0.1596156122477197</c:v>
                </c:pt>
                <c:pt idx="33">
                  <c:v>0.15348126086238095</c:v>
                </c:pt>
                <c:pt idx="34">
                  <c:v>0.1527207923724479</c:v>
                </c:pt>
                <c:pt idx="35">
                  <c:v>0.15632588301400524</c:v>
                </c:pt>
                <c:pt idx="36">
                  <c:v>0.15961872260309534</c:v>
                </c:pt>
                <c:pt idx="37">
                  <c:v>0.15571699078600565</c:v>
                </c:pt>
                <c:pt idx="38">
                  <c:v>0.15933789609612148</c:v>
                </c:pt>
                <c:pt idx="39">
                  <c:v>0.15747800855261723</c:v>
                </c:pt>
                <c:pt idx="40">
                  <c:v>0.1542327307342778</c:v>
                </c:pt>
                <c:pt idx="41">
                  <c:v>0.1504984105337469</c:v>
                </c:pt>
                <c:pt idx="42">
                  <c:v>0.15278690005467183</c:v>
                </c:pt>
                <c:pt idx="43">
                  <c:v>0.14958663691073135</c:v>
                </c:pt>
                <c:pt idx="44">
                  <c:v>0.15274100417911052</c:v>
                </c:pt>
                <c:pt idx="45">
                  <c:v>0.15301274821747343</c:v>
                </c:pt>
                <c:pt idx="46">
                  <c:v>0.1555194085891027</c:v>
                </c:pt>
                <c:pt idx="47">
                  <c:v>0.15792013872687888</c:v>
                </c:pt>
                <c:pt idx="48">
                  <c:v>0.15967348949773152</c:v>
                </c:pt>
                <c:pt idx="49">
                  <c:v>0.15508613717045833</c:v>
                </c:pt>
                <c:pt idx="50">
                  <c:v>0.15951607242823423</c:v>
                </c:pt>
                <c:pt idx="51">
                  <c:v>0.16703627892905548</c:v>
                </c:pt>
                <c:pt idx="52">
                  <c:v>0.17180243176923776</c:v>
                </c:pt>
                <c:pt idx="53">
                  <c:v>0.20418896749404122</c:v>
                </c:pt>
                <c:pt idx="54">
                  <c:v>0.1534904813696755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478484661313563"/>
          <c:min val="0.1031813953488372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0.1602</c:v>
                </c:pt>
                <c:pt idx="1">
                  <c:v>896.6671</c:v>
                </c:pt>
                <c:pt idx="2">
                  <c:v>925.3649</c:v>
                </c:pt>
                <c:pt idx="3">
                  <c:v>939.8836</c:v>
                </c:pt>
                <c:pt idx="4">
                  <c:v>933.8344</c:v>
                </c:pt>
                <c:pt idx="5">
                  <c:v>919.7325</c:v>
                </c:pt>
                <c:pt idx="6">
                  <c:v>883.5374</c:v>
                </c:pt>
                <c:pt idx="7">
                  <c:v>889.8271</c:v>
                </c:pt>
                <c:pt idx="8">
                  <c:v>894.7587</c:v>
                </c:pt>
                <c:pt idx="9">
                  <c:v>870.9048</c:v>
                </c:pt>
                <c:pt idx="10">
                  <c:v>858.2044</c:v>
                </c:pt>
                <c:pt idx="11">
                  <c:v>900.905</c:v>
                </c:pt>
                <c:pt idx="12">
                  <c:v>915.5783</c:v>
                </c:pt>
                <c:pt idx="13">
                  <c:v>919.7056</c:v>
                </c:pt>
                <c:pt idx="14">
                  <c:v>960.2228</c:v>
                </c:pt>
                <c:pt idx="15">
                  <c:v>977.2438</c:v>
                </c:pt>
                <c:pt idx="16">
                  <c:v>994.4941</c:v>
                </c:pt>
                <c:pt idx="17">
                  <c:v>1017.189</c:v>
                </c:pt>
                <c:pt idx="18">
                  <c:v>1057.7813</c:v>
                </c:pt>
                <c:pt idx="19">
                  <c:v>1066.0149</c:v>
                </c:pt>
                <c:pt idx="20">
                  <c:v>1091.4757</c:v>
                </c:pt>
                <c:pt idx="21">
                  <c:v>1100.1601</c:v>
                </c:pt>
                <c:pt idx="22">
                  <c:v>1064.3803</c:v>
                </c:pt>
                <c:pt idx="23">
                  <c:v>1056.8376</c:v>
                </c:pt>
                <c:pt idx="24">
                  <c:v>1060.7294</c:v>
                </c:pt>
                <c:pt idx="25">
                  <c:v>1038.9553</c:v>
                </c:pt>
                <c:pt idx="26">
                  <c:v>1026.3227</c:v>
                </c:pt>
                <c:pt idx="27">
                  <c:v>1037.4307</c:v>
                </c:pt>
                <c:pt idx="28">
                  <c:v>1037.9847</c:v>
                </c:pt>
                <c:pt idx="29">
                  <c:v>1029.1964</c:v>
                </c:pt>
                <c:pt idx="30">
                  <c:v>1031.7509</c:v>
                </c:pt>
                <c:pt idx="31">
                  <c:v>1013.6425</c:v>
                </c:pt>
                <c:pt idx="32">
                  <c:v>1003.4237</c:v>
                </c:pt>
                <c:pt idx="33">
                  <c:v>971.3372</c:v>
                </c:pt>
                <c:pt idx="34">
                  <c:v>981.5778</c:v>
                </c:pt>
                <c:pt idx="35">
                  <c:v>1018.1876</c:v>
                </c:pt>
                <c:pt idx="36">
                  <c:v>1083.6092</c:v>
                </c:pt>
                <c:pt idx="37">
                  <c:v>1095.7103</c:v>
                </c:pt>
                <c:pt idx="38">
                  <c:v>1138.3225</c:v>
                </c:pt>
                <c:pt idx="39">
                  <c:v>1161.1624</c:v>
                </c:pt>
                <c:pt idx="40">
                  <c:v>1163.3908</c:v>
                </c:pt>
                <c:pt idx="41">
                  <c:v>1195.6292</c:v>
                </c:pt>
                <c:pt idx="42">
                  <c:v>1211.0972</c:v>
                </c:pt>
                <c:pt idx="43">
                  <c:v>1218.396</c:v>
                </c:pt>
                <c:pt idx="44">
                  <c:v>1156.9309</c:v>
                </c:pt>
                <c:pt idx="45">
                  <c:v>1121.7811</c:v>
                </c:pt>
                <c:pt idx="46">
                  <c:v>1111.4667</c:v>
                </c:pt>
                <c:pt idx="47">
                  <c:v>1098.4128</c:v>
                </c:pt>
                <c:pt idx="48">
                  <c:v>1094.8564</c:v>
                </c:pt>
                <c:pt idx="49">
                  <c:v>1046.4081</c:v>
                </c:pt>
                <c:pt idx="50">
                  <c:v>1047.8026</c:v>
                </c:pt>
                <c:pt idx="51">
                  <c:v>1055.6736</c:v>
                </c:pt>
                <c:pt idx="52">
                  <c:v>1053.314</c:v>
                </c:pt>
                <c:pt idx="53">
                  <c:v>1166.5389</c:v>
                </c:pt>
                <c:pt idx="54">
                  <c:v>1152.9671</c:v>
                </c:pt>
                <c:pt idx="55">
                  <c:v>1167.2546</c:v>
                </c:pt>
                <c:pt idx="56">
                  <c:v>1178.832</c:v>
                </c:pt>
                <c:pt idx="57">
                  <c:v>1152.5788</c:v>
                </c:pt>
                <c:pt idx="58">
                  <c:v>1130.1762</c:v>
                </c:pt>
                <c:pt idx="59">
                  <c:v>1114.6146</c:v>
                </c:pt>
                <c:pt idx="60">
                  <c:v>1131.0099</c:v>
                </c:pt>
                <c:pt idx="61">
                  <c:v>1145.4141</c:v>
                </c:pt>
                <c:pt idx="62">
                  <c:v>1077.2692</c:v>
                </c:pt>
                <c:pt idx="63">
                  <c:v>1097.606</c:v>
                </c:pt>
                <c:pt idx="64">
                  <c:v>1110.3883</c:v>
                </c:pt>
                <c:pt idx="65">
                  <c:v>1101.1496</c:v>
                </c:pt>
                <c:pt idx="66">
                  <c:v>1136.1167</c:v>
                </c:pt>
                <c:pt idx="67">
                  <c:v>1160.0968</c:v>
                </c:pt>
                <c:pt idx="68">
                  <c:v>1175.814</c:v>
                </c:pt>
                <c:pt idx="69">
                  <c:v>1207.8284</c:v>
                </c:pt>
                <c:pt idx="70">
                  <c:v>1189.7808</c:v>
                </c:pt>
                <c:pt idx="71">
                  <c:v>1242.0927</c:v>
                </c:pt>
                <c:pt idx="72">
                  <c:v>1307.1248</c:v>
                </c:pt>
                <c:pt idx="73">
                  <c:v>1283.356</c:v>
                </c:pt>
                <c:pt idx="74">
                  <c:v>1277.4382</c:v>
                </c:pt>
                <c:pt idx="75">
                  <c:v>1240.835</c:v>
                </c:pt>
                <c:pt idx="76">
                  <c:v>1206.9189</c:v>
                </c:pt>
                <c:pt idx="77">
                  <c:v>1204.1637</c:v>
                </c:pt>
                <c:pt idx="78">
                  <c:v>1256.4379</c:v>
                </c:pt>
                <c:pt idx="79">
                  <c:v>1241.5478</c:v>
                </c:pt>
                <c:pt idx="80">
                  <c:v>1256.622</c:v>
                </c:pt>
                <c:pt idx="81">
                  <c:v>1246.3743</c:v>
                </c:pt>
                <c:pt idx="82">
                  <c:v>1257.2699</c:v>
                </c:pt>
                <c:pt idx="83">
                  <c:v>1219.594</c:v>
                </c:pt>
                <c:pt idx="84">
                  <c:v>1240.0375</c:v>
                </c:pt>
                <c:pt idx="85">
                  <c:v>1216.7624</c:v>
                </c:pt>
                <c:pt idx="86">
                  <c:v>1220.1259</c:v>
                </c:pt>
                <c:pt idx="87">
                  <c:v>1222.8493</c:v>
                </c:pt>
                <c:pt idx="88">
                  <c:v>1269.4996</c:v>
                </c:pt>
                <c:pt idx="89">
                  <c:v>1255.1555</c:v>
                </c:pt>
                <c:pt idx="90">
                  <c:v>1314.4375</c:v>
                </c:pt>
                <c:pt idx="91">
                  <c:v>1315.6106</c:v>
                </c:pt>
                <c:pt idx="92">
                  <c:v>1266.0669</c:v>
                </c:pt>
                <c:pt idx="93">
                  <c:v>1292.6658</c:v>
                </c:pt>
                <c:pt idx="94">
                  <c:v>1281.8216</c:v>
                </c:pt>
                <c:pt idx="95">
                  <c:v>1251.4322</c:v>
                </c:pt>
                <c:pt idx="96">
                  <c:v>1200.8594</c:v>
                </c:pt>
                <c:pt idx="97">
                  <c:v>1193.5625</c:v>
                </c:pt>
                <c:pt idx="98">
                  <c:v>1172.9539</c:v>
                </c:pt>
                <c:pt idx="99">
                  <c:v>1137.7425</c:v>
                </c:pt>
                <c:pt idx="100">
                  <c:v>1118.3324</c:v>
                </c:pt>
                <c:pt idx="101">
                  <c:v>1165.05</c:v>
                </c:pt>
                <c:pt idx="102">
                  <c:v>1177.0303</c:v>
                </c:pt>
                <c:pt idx="103">
                  <c:v>1152.1832</c:v>
                </c:pt>
                <c:pt idx="104">
                  <c:v>1184.3692</c:v>
                </c:pt>
              </c:numCache>
            </c:numRef>
          </c:xVal>
          <c:yVal>
            <c:numRef>
              <c:f>Sheet1!$B$2:$B$106</c:f>
              <c:numCache>
                <c:formatCode>General</c:formatCode>
                <c:ptCount val="105"/>
                <c:pt idx="0">
                  <c:v>0.22226506555029193</c:v>
                </c:pt>
                <c:pt idx="1">
                  <c:v>0.21748878923766815</c:v>
                </c:pt>
                <c:pt idx="2">
                  <c:v>0.21873943899966206</c:v>
                </c:pt>
                <c:pt idx="3">
                  <c:v>0.21880877742946708</c:v>
                </c:pt>
                <c:pt idx="4">
                  <c:v>0.23012847663419456</c:v>
                </c:pt>
                <c:pt idx="5">
                  <c:v>0.23601854534917416</c:v>
                </c:pt>
                <c:pt idx="6">
                  <c:v>0.2631891967534285</c:v>
                </c:pt>
                <c:pt idx="7">
                  <c:v>0.264646382909856</c:v>
                </c:pt>
                <c:pt idx="8">
                  <c:v>0.2586243119458801</c:v>
                </c:pt>
                <c:pt idx="9">
                  <c:v>0.24723282141843525</c:v>
                </c:pt>
                <c:pt idx="10">
                  <c:v>0.240457548323954</c:v>
                </c:pt>
                <c:pt idx="11">
                  <c:v>0.21958603645350633</c:v>
                </c:pt>
                <c:pt idx="12">
                  <c:v>0.20595766473199045</c:v>
                </c:pt>
                <c:pt idx="13">
                  <c:v>0.19534355479841</c:v>
                </c:pt>
                <c:pt idx="14">
                  <c:v>0.1779950952193527</c:v>
                </c:pt>
                <c:pt idx="15">
                  <c:v>0.168645487930973</c:v>
                </c:pt>
                <c:pt idx="16">
                  <c:v>0.16324619268670088</c:v>
                </c:pt>
                <c:pt idx="17">
                  <c:v>0.15663621708758732</c:v>
                </c:pt>
                <c:pt idx="18">
                  <c:v>0.1496506308751822</c:v>
                </c:pt>
                <c:pt idx="19">
                  <c:v>0.1484397783610382</c:v>
                </c:pt>
                <c:pt idx="20">
                  <c:v>0.15575458594760286</c:v>
                </c:pt>
                <c:pt idx="21">
                  <c:v>0.16326167003207032</c:v>
                </c:pt>
                <c:pt idx="22">
                  <c:v>0.17795461243737107</c:v>
                </c:pt>
                <c:pt idx="23">
                  <c:v>0.1898969839890778</c:v>
                </c:pt>
                <c:pt idx="24">
                  <c:v>0.19180421172453044</c:v>
                </c:pt>
                <c:pt idx="25">
                  <c:v>0.19442463533225285</c:v>
                </c:pt>
                <c:pt idx="26">
                  <c:v>0.20790259591086607</c:v>
                </c:pt>
                <c:pt idx="27">
                  <c:v>0.2096837172979305</c:v>
                </c:pt>
                <c:pt idx="28">
                  <c:v>0.21572077185017027</c:v>
                </c:pt>
                <c:pt idx="29">
                  <c:v>0.20905013062552374</c:v>
                </c:pt>
                <c:pt idx="30">
                  <c:v>0.21441727532550015</c:v>
                </c:pt>
                <c:pt idx="31">
                  <c:v>0.21806815395930376</c:v>
                </c:pt>
                <c:pt idx="32">
                  <c:v>0.22538531278331822</c:v>
                </c:pt>
                <c:pt idx="33">
                  <c:v>0.22100081250298714</c:v>
                </c:pt>
                <c:pt idx="34">
                  <c:v>0.21928327645051193</c:v>
                </c:pt>
                <c:pt idx="35">
                  <c:v>0.23582775119617225</c:v>
                </c:pt>
                <c:pt idx="36">
                  <c:v>0.20781902445739459</c:v>
                </c:pt>
                <c:pt idx="37">
                  <c:v>0.20361056699666472</c:v>
                </c:pt>
                <c:pt idx="38">
                  <c:v>0.1926458832933653</c:v>
                </c:pt>
                <c:pt idx="39">
                  <c:v>0.18791795448159596</c:v>
                </c:pt>
                <c:pt idx="40">
                  <c:v>0.18927819961577166</c:v>
                </c:pt>
                <c:pt idx="41">
                  <c:v>0.18410232983097305</c:v>
                </c:pt>
                <c:pt idx="42">
                  <c:v>0.1844411662617147</c:v>
                </c:pt>
                <c:pt idx="43">
                  <c:v>0.17869283065512978</c:v>
                </c:pt>
                <c:pt idx="44">
                  <c:v>0.1801480101433525</c:v>
                </c:pt>
                <c:pt idx="45">
                  <c:v>0.19204877130213727</c:v>
                </c:pt>
                <c:pt idx="46">
                  <c:v>0.19389858458155834</c:v>
                </c:pt>
                <c:pt idx="47">
                  <c:v>0.19004100761570006</c:v>
                </c:pt>
                <c:pt idx="48">
                  <c:v>0.187392393842797</c:v>
                </c:pt>
                <c:pt idx="49">
                  <c:v>0.20137562094000763</c:v>
                </c:pt>
                <c:pt idx="50">
                  <c:v>0.19135440180586907</c:v>
                </c:pt>
                <c:pt idx="51">
                  <c:v>0.1846539978486913</c:v>
                </c:pt>
                <c:pt idx="52">
                  <c:v>0.18815193402253455</c:v>
                </c:pt>
                <c:pt idx="53">
                  <c:v>0.1812184824674563</c:v>
                </c:pt>
                <c:pt idx="54">
                  <c:v>0.1860592401802962</c:v>
                </c:pt>
                <c:pt idx="55">
                  <c:v>0.18362143188290617</c:v>
                </c:pt>
                <c:pt idx="56">
                  <c:v>0.18648420341273864</c:v>
                </c:pt>
                <c:pt idx="57">
                  <c:v>0.18117511188104518</c:v>
                </c:pt>
                <c:pt idx="58">
                  <c:v>0.19146386921561317</c:v>
                </c:pt>
                <c:pt idx="59">
                  <c:v>0.19048030109457548</c:v>
                </c:pt>
                <c:pt idx="60">
                  <c:v>0.19382582445748134</c:v>
                </c:pt>
                <c:pt idx="61">
                  <c:v>0.1902548569041153</c:v>
                </c:pt>
                <c:pt idx="62">
                  <c:v>0.2036891381016416</c:v>
                </c:pt>
                <c:pt idx="63">
                  <c:v>0.20864302643992913</c:v>
                </c:pt>
                <c:pt idx="64">
                  <c:v>0.19630329195898544</c:v>
                </c:pt>
                <c:pt idx="65">
                  <c:v>0.19063234142521535</c:v>
                </c:pt>
                <c:pt idx="66">
                  <c:v>0.19000101822624987</c:v>
                </c:pt>
                <c:pt idx="67">
                  <c:v>0.17937626829007797</c:v>
                </c:pt>
                <c:pt idx="68">
                  <c:v>0.16788459713390907</c:v>
                </c:pt>
                <c:pt idx="69">
                  <c:v>0.1609119170984456</c:v>
                </c:pt>
                <c:pt idx="70">
                  <c:v>0.16178092986603626</c:v>
                </c:pt>
                <c:pt idx="71">
                  <c:v>0.16205719163465643</c:v>
                </c:pt>
                <c:pt idx="72">
                  <c:v>0.16154716676097325</c:v>
                </c:pt>
                <c:pt idx="73">
                  <c:v>0.16443455564588594</c:v>
                </c:pt>
                <c:pt idx="74">
                  <c:v>0.16447449293177627</c:v>
                </c:pt>
                <c:pt idx="75">
                  <c:v>0.17549175203193382</c:v>
                </c:pt>
                <c:pt idx="76">
                  <c:v>0.17818368922047853</c:v>
                </c:pt>
                <c:pt idx="77">
                  <c:v>0.17209963663173417</c:v>
                </c:pt>
                <c:pt idx="78">
                  <c:v>0.17405100481842756</c:v>
                </c:pt>
                <c:pt idx="79">
                  <c:v>0.1605390891252711</c:v>
                </c:pt>
                <c:pt idx="80">
                  <c:v>0.15557729941291584</c:v>
                </c:pt>
                <c:pt idx="81">
                  <c:v>0.1628547688809201</c:v>
                </c:pt>
                <c:pt idx="82">
                  <c:v>0.1626240974729242</c:v>
                </c:pt>
                <c:pt idx="83">
                  <c:v>0.16220834702596124</c:v>
                </c:pt>
                <c:pt idx="84">
                  <c:v>0.16348265992145378</c:v>
                </c:pt>
                <c:pt idx="85">
                  <c:v>0.16821068577754472</c:v>
                </c:pt>
                <c:pt idx="86">
                  <c:v>0.1764033081119127</c:v>
                </c:pt>
                <c:pt idx="87">
                  <c:v>0.19161401012679416</c:v>
                </c:pt>
                <c:pt idx="88">
                  <c:v>0.18565601991630912</c:v>
                </c:pt>
                <c:pt idx="89">
                  <c:v>0.18069021237303787</c:v>
                </c:pt>
                <c:pt idx="90">
                  <c:v>0.1697967889092956</c:v>
                </c:pt>
                <c:pt idx="91">
                  <c:v>0.16111781956184235</c:v>
                </c:pt>
                <c:pt idx="92">
                  <c:v>0.1722055773219636</c:v>
                </c:pt>
                <c:pt idx="93">
                  <c:v>0.16393442622950818</c:v>
                </c:pt>
                <c:pt idx="94">
                  <c:v>0.16772088353413656</c:v>
                </c:pt>
                <c:pt idx="95">
                  <c:v>0.1712412039936632</c:v>
                </c:pt>
                <c:pt idx="96">
                  <c:v>0.17387654450536477</c:v>
                </c:pt>
                <c:pt idx="97">
                  <c:v>0.17686965320577683</c:v>
                </c:pt>
                <c:pt idx="98">
                  <c:v>0.18162422985663867</c:v>
                </c:pt>
                <c:pt idx="99">
                  <c:v>0.18420596994251678</c:v>
                </c:pt>
                <c:pt idx="100">
                  <c:v>0.1880809529200156</c:v>
                </c:pt>
                <c:pt idx="101">
                  <c:v>0.1839502684374117</c:v>
                </c:pt>
                <c:pt idx="102">
                  <c:v>0.17164885702691735</c:v>
                </c:pt>
                <c:pt idx="103">
                  <c:v>0.17687576250508336</c:v>
                </c:pt>
                <c:pt idx="104">
                  <c:v>0.1747592827066340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0.5912</c:v>
                </c:pt>
                <c:pt idx="1">
                  <c:v>1237.7126</c:v>
                </c:pt>
                <c:pt idx="2">
                  <c:v>1244.7866</c:v>
                </c:pt>
                <c:pt idx="3">
                  <c:v>1234.0677</c:v>
                </c:pt>
                <c:pt idx="4">
                  <c:v>1258.56</c:v>
                </c:pt>
                <c:pt idx="5">
                  <c:v>1250.2569</c:v>
                </c:pt>
                <c:pt idx="6">
                  <c:v>1164.5687</c:v>
                </c:pt>
                <c:pt idx="7">
                  <c:v>1194.7737</c:v>
                </c:pt>
                <c:pt idx="8">
                  <c:v>1247.4773</c:v>
                </c:pt>
                <c:pt idx="9">
                  <c:v>1175.6943</c:v>
                </c:pt>
                <c:pt idx="10">
                  <c:v>1205.7759</c:v>
                </c:pt>
                <c:pt idx="11">
                  <c:v>1110.92</c:v>
                </c:pt>
                <c:pt idx="12">
                  <c:v>1150.6327</c:v>
                </c:pt>
                <c:pt idx="13">
                  <c:v>1180.9382</c:v>
                </c:pt>
                <c:pt idx="14">
                  <c:v>1191.5638</c:v>
                </c:pt>
                <c:pt idx="15">
                  <c:v>1193.0121</c:v>
                </c:pt>
                <c:pt idx="16">
                  <c:v>1244.6981</c:v>
                </c:pt>
                <c:pt idx="17">
                  <c:v>1191.8941</c:v>
                </c:pt>
                <c:pt idx="18">
                  <c:v>1219.1898</c:v>
                </c:pt>
                <c:pt idx="19">
                  <c:v>1317.9428</c:v>
                </c:pt>
                <c:pt idx="20">
                  <c:v>1290.4524</c:v>
                </c:pt>
                <c:pt idx="21">
                  <c:v>1220.3404</c:v>
                </c:pt>
                <c:pt idx="22">
                  <c:v>1242.508</c:v>
                </c:pt>
                <c:pt idx="23">
                  <c:v>1225.5446</c:v>
                </c:pt>
                <c:pt idx="24">
                  <c:v>1221.3668</c:v>
                </c:pt>
                <c:pt idx="25">
                  <c:v>1212.181</c:v>
                </c:pt>
                <c:pt idx="26">
                  <c:v>1224.1385</c:v>
                </c:pt>
                <c:pt idx="27">
                  <c:v>1236.0506</c:v>
                </c:pt>
                <c:pt idx="28">
                  <c:v>1270.3037</c:v>
                </c:pt>
                <c:pt idx="29">
                  <c:v>1273.6984</c:v>
                </c:pt>
                <c:pt idx="30">
                  <c:v>1266.8522</c:v>
                </c:pt>
                <c:pt idx="31">
                  <c:v>1252.2354</c:v>
                </c:pt>
                <c:pt idx="32">
                  <c:v>1271.4732</c:v>
                </c:pt>
                <c:pt idx="33">
                  <c:v>1267.4386</c:v>
                </c:pt>
                <c:pt idx="34">
                  <c:v>1286.4124</c:v>
                </c:pt>
                <c:pt idx="35">
                  <c:v>1312.7891</c:v>
                </c:pt>
                <c:pt idx="36">
                  <c:v>1334.6724</c:v>
                </c:pt>
                <c:pt idx="37">
                  <c:v>1326.2307</c:v>
                </c:pt>
                <c:pt idx="38">
                  <c:v>1337.6582</c:v>
                </c:pt>
                <c:pt idx="39">
                  <c:v>1300.5035</c:v>
                </c:pt>
                <c:pt idx="40">
                  <c:v>1319.2248</c:v>
                </c:pt>
                <c:pt idx="41">
                  <c:v>1350.2781</c:v>
                </c:pt>
                <c:pt idx="42">
                  <c:v>1337.7756</c:v>
                </c:pt>
                <c:pt idx="43">
                  <c:v>1345.0308</c:v>
                </c:pt>
                <c:pt idx="44">
                  <c:v>1271.2854</c:v>
                </c:pt>
                <c:pt idx="45">
                  <c:v>1232.453</c:v>
                </c:pt>
                <c:pt idx="46">
                  <c:v>1224.3599</c:v>
                </c:pt>
                <c:pt idx="47">
                  <c:v>1197.6553</c:v>
                </c:pt>
                <c:pt idx="48">
                  <c:v>1178.8108</c:v>
                </c:pt>
                <c:pt idx="49">
                  <c:v>1186.8418</c:v>
                </c:pt>
                <c:pt idx="50">
                  <c:v>1142.2921</c:v>
                </c:pt>
                <c:pt idx="51">
                  <c:v>1126.4572</c:v>
                </c:pt>
              </c:numCache>
            </c:numRef>
          </c:xVal>
          <c:yVal>
            <c:numRef>
              <c:f>Sheet1!$B$109:$B$160</c:f>
              <c:numCache>
                <c:formatCode>General</c:formatCode>
                <c:ptCount val="52"/>
                <c:pt idx="0">
                  <c:v>0.18217699495220707</c:v>
                </c:pt>
                <c:pt idx="1">
                  <c:v>0.18062663482315477</c:v>
                </c:pt>
                <c:pt idx="2">
                  <c:v>0.1946429934118485</c:v>
                </c:pt>
                <c:pt idx="3">
                  <c:v>0.20574750915657097</c:v>
                </c:pt>
                <c:pt idx="4">
                  <c:v>0.1908303671040748</c:v>
                </c:pt>
                <c:pt idx="5">
                  <c:v>0.18936664264552808</c:v>
                </c:pt>
                <c:pt idx="6">
                  <c:v>0.1971470831557572</c:v>
                </c:pt>
                <c:pt idx="7">
                  <c:v>0.19326490680031583</c:v>
                </c:pt>
                <c:pt idx="8">
                  <c:v>0.18219546848126822</c:v>
                </c:pt>
                <c:pt idx="9">
                  <c:v>0.191000823723229</c:v>
                </c:pt>
                <c:pt idx="10">
                  <c:v>0.19159109645507008</c:v>
                </c:pt>
                <c:pt idx="11">
                  <c:v>0.19539322794643518</c:v>
                </c:pt>
                <c:pt idx="12">
                  <c:v>0.19344427917941234</c:v>
                </c:pt>
                <c:pt idx="13">
                  <c:v>0.19342082137207803</c:v>
                </c:pt>
                <c:pt idx="14">
                  <c:v>0.19140109978454514</c:v>
                </c:pt>
                <c:pt idx="15">
                  <c:v>0.18997361477572558</c:v>
                </c:pt>
                <c:pt idx="16">
                  <c:v>0.1796423767703141</c:v>
                </c:pt>
                <c:pt idx="17">
                  <c:v>0.1837104818432876</c:v>
                </c:pt>
                <c:pt idx="18">
                  <c:v>0.1872991967871486</c:v>
                </c:pt>
                <c:pt idx="19">
                  <c:v>0.18302782171768867</c:v>
                </c:pt>
                <c:pt idx="20">
                  <c:v>0.1756687242798354</c:v>
                </c:pt>
                <c:pt idx="21">
                  <c:v>0.18492764517947755</c:v>
                </c:pt>
                <c:pt idx="22">
                  <c:v>0.1825450939068989</c:v>
                </c:pt>
                <c:pt idx="23">
                  <c:v>0.19000063207129764</c:v>
                </c:pt>
                <c:pt idx="24">
                  <c:v>0.1904928550597842</c:v>
                </c:pt>
                <c:pt idx="25">
                  <c:v>0.18846625766871167</c:v>
                </c:pt>
                <c:pt idx="26">
                  <c:v>0.18192372438613805</c:v>
                </c:pt>
                <c:pt idx="27">
                  <c:v>0.18187585915195092</c:v>
                </c:pt>
                <c:pt idx="28">
                  <c:v>0.17280129517642018</c:v>
                </c:pt>
                <c:pt idx="29">
                  <c:v>0.17543758967001435</c:v>
                </c:pt>
                <c:pt idx="30">
                  <c:v>0.18</c:v>
                </c:pt>
                <c:pt idx="31">
                  <c:v>0.1725672277036177</c:v>
                </c:pt>
                <c:pt idx="32">
                  <c:v>0.16785391225689733</c:v>
                </c:pt>
                <c:pt idx="33">
                  <c:v>0.1851078966089637</c:v>
                </c:pt>
                <c:pt idx="34">
                  <c:v>0.1982967012533006</c:v>
                </c:pt>
                <c:pt idx="35">
                  <c:v>0.19516886602549766</c:v>
                </c:pt>
                <c:pt idx="36">
                  <c:v>0.18259230822921757</c:v>
                </c:pt>
                <c:pt idx="37">
                  <c:v>0.18523615889896777</c:v>
                </c:pt>
                <c:pt idx="38">
                  <c:v>0.18279118572927597</c:v>
                </c:pt>
                <c:pt idx="39">
                  <c:v>0.1885899480425948</c:v>
                </c:pt>
                <c:pt idx="40">
                  <c:v>0.1790814549435239</c:v>
                </c:pt>
                <c:pt idx="41">
                  <c:v>0.18204488778054864</c:v>
                </c:pt>
                <c:pt idx="42">
                  <c:v>0.18224150703778177</c:v>
                </c:pt>
                <c:pt idx="43">
                  <c:v>0.175</c:v>
                </c:pt>
                <c:pt idx="44">
                  <c:v>0.17232425585813807</c:v>
                </c:pt>
                <c:pt idx="45">
                  <c:v>0.18626747080222095</c:v>
                </c:pt>
                <c:pt idx="46">
                  <c:v>0.20043010752688173</c:v>
                </c:pt>
                <c:pt idx="47">
                  <c:v>0.2023057697992529</c:v>
                </c:pt>
                <c:pt idx="48">
                  <c:v>0.19867519928146402</c:v>
                </c:pt>
                <c:pt idx="49">
                  <c:v>0.20408204877253078</c:v>
                </c:pt>
                <c:pt idx="50">
                  <c:v>0.2109689213893967</c:v>
                </c:pt>
                <c:pt idx="51">
                  <c:v>0.2034182384740681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20.5789737789129</c:v>
                </c:pt>
              </c:numCache>
            </c:numRef>
          </c:xVal>
          <c:yVal>
            <c:numRef>
              <c:f>Sheet1!$B$163:$B$164</c:f>
              <c:numCache>
                <c:formatCode>General</c:formatCode>
                <c:ptCount val="2"/>
                <c:pt idx="0">
                  <c:v>0.23665655386773585</c:v>
                </c:pt>
                <c:pt idx="1">
                  <c:v>0.2366565538677358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20.5789737789129</c:v>
                </c:pt>
                <c:pt idx="1">
                  <c:v>720.5789737789129</c:v>
                </c:pt>
              </c:numCache>
            </c:numRef>
          </c:xVal>
          <c:yVal>
            <c:numRef>
              <c:f>Sheet1!$B$167:$B$168</c:f>
              <c:numCache>
                <c:formatCode>General</c:formatCode>
                <c:ptCount val="2"/>
                <c:pt idx="0">
                  <c:v>0.236656553867735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63.9480792664249</c:v>
                </c:pt>
              </c:numCache>
            </c:numRef>
          </c:xVal>
          <c:yVal>
            <c:numRef>
              <c:f>Sheet1!$B$171:$B$172</c:f>
              <c:numCache>
                <c:formatCode>General</c:formatCode>
                <c:ptCount val="2"/>
                <c:pt idx="0">
                  <c:v>0.20428610197936492</c:v>
                </c:pt>
                <c:pt idx="1">
                  <c:v>0.2042861019793649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63.9480792664249</c:v>
                </c:pt>
                <c:pt idx="1">
                  <c:v>1063.9480792664249</c:v>
                </c:pt>
              </c:numCache>
            </c:numRef>
          </c:xVal>
          <c:yVal>
            <c:numRef>
              <c:f>Sheet1!$B$175:$B$176</c:f>
              <c:numCache>
                <c:formatCode>General</c:formatCode>
                <c:ptCount val="2"/>
                <c:pt idx="0">
                  <c:v>0.2042861019793649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2.897587417768</c:v>
                </c:pt>
              </c:numCache>
            </c:numRef>
          </c:xVal>
          <c:yVal>
            <c:numRef>
              <c:f>Sheet1!$B$179:$B$180</c:f>
              <c:numCache>
                <c:formatCode>General</c:formatCode>
                <c:ptCount val="2"/>
                <c:pt idx="0">
                  <c:v>0.19118690843910788</c:v>
                </c:pt>
                <c:pt idx="1">
                  <c:v>0.1911869084391078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2.897587417768</c:v>
                </c:pt>
                <c:pt idx="1">
                  <c:v>1202.897587417768</c:v>
                </c:pt>
              </c:numCache>
            </c:numRef>
          </c:xVal>
          <c:yVal>
            <c:numRef>
              <c:f>Sheet1!$B$183:$B$184</c:f>
              <c:numCache>
                <c:formatCode>General</c:formatCode>
                <c:ptCount val="2"/>
                <c:pt idx="0">
                  <c:v>0.191186908439107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0.5912</c:v>
                </c:pt>
                <c:pt idx="1">
                  <c:v>1237.7126</c:v>
                </c:pt>
                <c:pt idx="2">
                  <c:v>1244.7866</c:v>
                </c:pt>
                <c:pt idx="3">
                  <c:v>1234.0677</c:v>
                </c:pt>
                <c:pt idx="4">
                  <c:v>1258.56</c:v>
                </c:pt>
                <c:pt idx="5">
                  <c:v>1250.2569</c:v>
                </c:pt>
                <c:pt idx="6">
                  <c:v>1164.5687</c:v>
                </c:pt>
                <c:pt idx="7">
                  <c:v>1194.7737</c:v>
                </c:pt>
                <c:pt idx="8">
                  <c:v>1247.4773</c:v>
                </c:pt>
                <c:pt idx="9">
                  <c:v>1175.6943</c:v>
                </c:pt>
                <c:pt idx="10">
                  <c:v>1205.7759</c:v>
                </c:pt>
                <c:pt idx="11">
                  <c:v>1110.92</c:v>
                </c:pt>
                <c:pt idx="12">
                  <c:v>1150.6327</c:v>
                </c:pt>
                <c:pt idx="13">
                  <c:v>1180.9382</c:v>
                </c:pt>
                <c:pt idx="14">
                  <c:v>1191.5638</c:v>
                </c:pt>
                <c:pt idx="15">
                  <c:v>1193.0121</c:v>
                </c:pt>
                <c:pt idx="16">
                  <c:v>1244.6981</c:v>
                </c:pt>
                <c:pt idx="17">
                  <c:v>1191.8941</c:v>
                </c:pt>
                <c:pt idx="18">
                  <c:v>1219.1898</c:v>
                </c:pt>
                <c:pt idx="19">
                  <c:v>1317.9428</c:v>
                </c:pt>
                <c:pt idx="20">
                  <c:v>1290.4524</c:v>
                </c:pt>
                <c:pt idx="21">
                  <c:v>1220.3404</c:v>
                </c:pt>
                <c:pt idx="22">
                  <c:v>1242.508</c:v>
                </c:pt>
                <c:pt idx="23">
                  <c:v>1225.5446</c:v>
                </c:pt>
                <c:pt idx="24">
                  <c:v>1221.3668</c:v>
                </c:pt>
                <c:pt idx="25">
                  <c:v>1212.181</c:v>
                </c:pt>
                <c:pt idx="26">
                  <c:v>1224.1385</c:v>
                </c:pt>
                <c:pt idx="27">
                  <c:v>1236.0506</c:v>
                </c:pt>
                <c:pt idx="28">
                  <c:v>1270.3037</c:v>
                </c:pt>
                <c:pt idx="29">
                  <c:v>1273.6984</c:v>
                </c:pt>
                <c:pt idx="30">
                  <c:v>1266.8522</c:v>
                </c:pt>
                <c:pt idx="31">
                  <c:v>1252.2354</c:v>
                </c:pt>
                <c:pt idx="32">
                  <c:v>1271.4732</c:v>
                </c:pt>
                <c:pt idx="33">
                  <c:v>1267.4386</c:v>
                </c:pt>
                <c:pt idx="34">
                  <c:v>1286.4124</c:v>
                </c:pt>
                <c:pt idx="35">
                  <c:v>1312.7891</c:v>
                </c:pt>
                <c:pt idx="36">
                  <c:v>1334.6724</c:v>
                </c:pt>
                <c:pt idx="37">
                  <c:v>1326.2307</c:v>
                </c:pt>
                <c:pt idx="38">
                  <c:v>1337.6582</c:v>
                </c:pt>
                <c:pt idx="39">
                  <c:v>1300.5035</c:v>
                </c:pt>
                <c:pt idx="40">
                  <c:v>1319.2248</c:v>
                </c:pt>
                <c:pt idx="41">
                  <c:v>1350.2781</c:v>
                </c:pt>
                <c:pt idx="42">
                  <c:v>1337.7756</c:v>
                </c:pt>
                <c:pt idx="43">
                  <c:v>1345.0308</c:v>
                </c:pt>
                <c:pt idx="44">
                  <c:v>1271.2854</c:v>
                </c:pt>
                <c:pt idx="45">
                  <c:v>1232.453</c:v>
                </c:pt>
                <c:pt idx="46">
                  <c:v>1224.3599</c:v>
                </c:pt>
                <c:pt idx="47">
                  <c:v>1197.6553</c:v>
                </c:pt>
                <c:pt idx="48">
                  <c:v>1178.8108</c:v>
                </c:pt>
                <c:pt idx="49">
                  <c:v>1186.8418</c:v>
                </c:pt>
                <c:pt idx="50">
                  <c:v>1142.2921</c:v>
                </c:pt>
                <c:pt idx="51">
                  <c:v>1126.4572</c:v>
                </c:pt>
                <c:pt idx="52">
                  <c:v>1063.9480792664249</c:v>
                </c:pt>
                <c:pt idx="53">
                  <c:v>720.5789737789129</c:v>
                </c:pt>
                <c:pt idx="54">
                  <c:v>1202.897587417768</c:v>
                </c:pt>
              </c:numCache>
            </c:numRef>
          </c:xVal>
          <c:yVal>
            <c:numRef>
              <c:f>Sheet1!$B$187:$B$241</c:f>
              <c:numCache>
                <c:formatCode>General</c:formatCode>
                <c:ptCount val="55"/>
                <c:pt idx="0">
                  <c:v>0.1885761471930268</c:v>
                </c:pt>
                <c:pt idx="1">
                  <c:v>0.1879047911147024</c:v>
                </c:pt>
                <c:pt idx="2">
                  <c:v>0.18723790357881528</c:v>
                </c:pt>
                <c:pt idx="3">
                  <c:v>0.18824840694443878</c:v>
                </c:pt>
                <c:pt idx="4">
                  <c:v>0.18593944319052183</c:v>
                </c:pt>
                <c:pt idx="5">
                  <c:v>0.1867222017287215</c:v>
                </c:pt>
                <c:pt idx="6">
                  <c:v>0.1948002894517359</c:v>
                </c:pt>
                <c:pt idx="7">
                  <c:v>0.19195277206108408</c:v>
                </c:pt>
                <c:pt idx="8">
                  <c:v>0.18698424309071637</c:v>
                </c:pt>
                <c:pt idx="9">
                  <c:v>0.19375144523781648</c:v>
                </c:pt>
                <c:pt idx="10">
                  <c:v>0.19091556114118907</c:v>
                </c:pt>
                <c:pt idx="11">
                  <c:v>0.19985791587901156</c:v>
                </c:pt>
                <c:pt idx="12">
                  <c:v>0.1961140786375039</c:v>
                </c:pt>
                <c:pt idx="13">
                  <c:v>0.1932570868056086</c:v>
                </c:pt>
                <c:pt idx="14">
                  <c:v>0.1922553791152888</c:v>
                </c:pt>
                <c:pt idx="15">
                  <c:v>0.1921188434610302</c:v>
                </c:pt>
                <c:pt idx="16">
                  <c:v>0.18724624674349238</c:v>
                </c:pt>
                <c:pt idx="17">
                  <c:v>0.19222424072779892</c:v>
                </c:pt>
                <c:pt idx="18">
                  <c:v>0.1896509919133637</c:v>
                </c:pt>
                <c:pt idx="19">
                  <c:v>0.18034124568330123</c:v>
                </c:pt>
                <c:pt idx="20">
                  <c:v>0.1829328494600261</c:v>
                </c:pt>
                <c:pt idx="21">
                  <c:v>0.18954252134525634</c:v>
                </c:pt>
                <c:pt idx="22">
                  <c:v>0.18745271414416337</c:v>
                </c:pt>
                <c:pt idx="23">
                  <c:v>0.18905190555302226</c:v>
                </c:pt>
                <c:pt idx="24">
                  <c:v>0.18944575948961107</c:v>
                </c:pt>
                <c:pt idx="25">
                  <c:v>0.1903117328465735</c:v>
                </c:pt>
                <c:pt idx="26">
                  <c:v>0.18918446288468904</c:v>
                </c:pt>
                <c:pt idx="27">
                  <c:v>0.1880614729191475</c:v>
                </c:pt>
                <c:pt idx="28">
                  <c:v>0.1848323288061286</c:v>
                </c:pt>
                <c:pt idx="29">
                  <c:v>0.18451230009280148</c:v>
                </c:pt>
                <c:pt idx="30">
                  <c:v>0.1851577122285366</c:v>
                </c:pt>
                <c:pt idx="31">
                  <c:v>0.18653568250483787</c:v>
                </c:pt>
                <c:pt idx="32">
                  <c:v>0.18472207647742914</c:v>
                </c:pt>
                <c:pt idx="33">
                  <c:v>0.18510243051365904</c:v>
                </c:pt>
                <c:pt idx="34">
                  <c:v>0.18331371257071088</c:v>
                </c:pt>
                <c:pt idx="35">
                  <c:v>0.18082710068665175</c:v>
                </c:pt>
                <c:pt idx="36">
                  <c:v>0.17876409531287754</c:v>
                </c:pt>
                <c:pt idx="37">
                  <c:v>0.179559920095419</c:v>
                </c:pt>
                <c:pt idx="38">
                  <c:v>0.17848261484855016</c:v>
                </c:pt>
                <c:pt idx="39">
                  <c:v>0.18198530163532223</c:v>
                </c:pt>
                <c:pt idx="40">
                  <c:v>0.18022038763679188</c:v>
                </c:pt>
                <c:pt idx="41">
                  <c:v>0.177292898420201</c:v>
                </c:pt>
                <c:pt idx="42">
                  <c:v>0.17847154719280897</c:v>
                </c:pt>
                <c:pt idx="43">
                  <c:v>0.17778757738076933</c:v>
                </c:pt>
                <c:pt idx="44">
                  <c:v>0.18473978095569316</c:v>
                </c:pt>
                <c:pt idx="45">
                  <c:v>0.18840062963375132</c:v>
                </c:pt>
                <c:pt idx="46">
                  <c:v>0.18916359083203915</c:v>
                </c:pt>
                <c:pt idx="47">
                  <c:v>0.19168111484827488</c:v>
                </c:pt>
                <c:pt idx="48">
                  <c:v>0.19345764328622017</c:v>
                </c:pt>
                <c:pt idx="49">
                  <c:v>0.1927005364441634</c:v>
                </c:pt>
                <c:pt idx="50">
                  <c:v>0.19690037241497357</c:v>
                </c:pt>
                <c:pt idx="51">
                  <c:v>0.19839317669006817</c:v>
                </c:pt>
                <c:pt idx="52">
                  <c:v>0.20428610197936492</c:v>
                </c:pt>
                <c:pt idx="53">
                  <c:v>0.23665655386773585</c:v>
                </c:pt>
                <c:pt idx="54">
                  <c:v>0.1911869084391078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0.0"/>
          <c:min val="57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757565949182714"/>
          <c:min val="0.1187518226888305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564462223776375</c:v>
                </c:pt>
                <c:pt idx="1">
                  <c:v>0.1747173934536503</c:v>
                </c:pt>
                <c:pt idx="2">
                  <c:v>0.176932831233443</c:v>
                </c:pt>
                <c:pt idx="3">
                  <c:v>0.17907084634218695</c:v>
                </c:pt>
                <c:pt idx="4">
                  <c:v>0.17229590223739336</c:v>
                </c:pt>
                <c:pt idx="5">
                  <c:v>0.16829598948561436</c:v>
                </c:pt>
                <c:pt idx="6">
                  <c:v>0.1685525856560477</c:v>
                </c:pt>
                <c:pt idx="7">
                  <c:v>0.16383105014953595</c:v>
                </c:pt>
                <c:pt idx="8">
                  <c:v>0.16442853686432657</c:v>
                </c:pt>
                <c:pt idx="9">
                  <c:v>0.1633811368259109</c:v>
                </c:pt>
                <c:pt idx="10">
                  <c:v>0.16757836811412796</c:v>
                </c:pt>
                <c:pt idx="11">
                  <c:v>0.18071296475434737</c:v>
                </c:pt>
                <c:pt idx="12">
                  <c:v>0.18697954365494815</c:v>
                </c:pt>
                <c:pt idx="13">
                  <c:v>0.1834340934908638</c:v>
                </c:pt>
                <c:pt idx="14">
                  <c:v>0.18888360793194747</c:v>
                </c:pt>
                <c:pt idx="15">
                  <c:v>0.19028771197791294</c:v>
                </c:pt>
                <c:pt idx="16">
                  <c:v>0.1822459705167702</c:v>
                </c:pt>
                <c:pt idx="17">
                  <c:v>0.1821398063115957</c:v>
                </c:pt>
                <c:pt idx="18">
                  <c:v>0.17481666402128804</c:v>
                </c:pt>
                <c:pt idx="19">
                  <c:v>0.17487897059736654</c:v>
                </c:pt>
                <c:pt idx="20">
                  <c:v>0.18585827635879812</c:v>
                </c:pt>
                <c:pt idx="21">
                  <c:v>0.1772587212576732</c:v>
                </c:pt>
                <c:pt idx="22">
                  <c:v>0.16400794957115228</c:v>
                </c:pt>
                <c:pt idx="23">
                  <c:v>0.1606177813667935</c:v>
                </c:pt>
                <c:pt idx="24">
                  <c:v>0.16493955312525121</c:v>
                </c:pt>
                <c:pt idx="25">
                  <c:v>0.15404642509586208</c:v>
                </c:pt>
                <c:pt idx="26">
                  <c:v>0.15694073834404376</c:v>
                </c:pt>
                <c:pt idx="27">
                  <c:v>0.15583406143369521</c:v>
                </c:pt>
                <c:pt idx="28">
                  <c:v>0.15315448894456174</c:v>
                </c:pt>
                <c:pt idx="29">
                  <c:v>0.15677920879843368</c:v>
                </c:pt>
                <c:pt idx="30">
                  <c:v>0.14780667971862618</c:v>
                </c:pt>
                <c:pt idx="31">
                  <c:v>0.13814698607356596</c:v>
                </c:pt>
                <c:pt idx="32">
                  <c:v>0.1397712282916583</c:v>
                </c:pt>
                <c:pt idx="33">
                  <c:v>0.14103067361382743</c:v>
                </c:pt>
                <c:pt idx="34">
                  <c:v>0.1513734630334281</c:v>
                </c:pt>
                <c:pt idx="35">
                  <c:v>0.16139180458539956</c:v>
                </c:pt>
                <c:pt idx="36">
                  <c:v>0.1547439639620419</c:v>
                </c:pt>
                <c:pt idx="37">
                  <c:v>0.144227442050256</c:v>
                </c:pt>
                <c:pt idx="38">
                  <c:v>0.15405859849371212</c:v>
                </c:pt>
                <c:pt idx="39">
                  <c:v>0.15619507874332444</c:v>
                </c:pt>
                <c:pt idx="40">
                  <c:v>0.1701760749737881</c:v>
                </c:pt>
                <c:pt idx="41">
                  <c:v>0.1669360741902985</c:v>
                </c:pt>
                <c:pt idx="42">
                  <c:v>0.16676503545317733</c:v>
                </c:pt>
                <c:pt idx="43">
                  <c:v>0.17689993718899125</c:v>
                </c:pt>
                <c:pt idx="44">
                  <c:v>0.18360056693274365</c:v>
                </c:pt>
                <c:pt idx="45">
                  <c:v>0.18799054977135335</c:v>
                </c:pt>
                <c:pt idx="46">
                  <c:v>0.18708267447063526</c:v>
                </c:pt>
                <c:pt idx="47">
                  <c:v>0.1808166205016793</c:v>
                </c:pt>
                <c:pt idx="48">
                  <c:v>0.20602226167747148</c:v>
                </c:pt>
                <c:pt idx="49">
                  <c:v>0.21500144093409188</c:v>
                </c:pt>
                <c:pt idx="50">
                  <c:v>0.1859949191099844</c:v>
                </c:pt>
                <c:pt idx="51">
                  <c:v>0.17493017407205527</c:v>
                </c:pt>
                <c:pt idx="52">
                  <c:v>0.19011809492468687</c:v>
                </c:pt>
                <c:pt idx="53">
                  <c:v>0.19407823416224687</c:v>
                </c:pt>
                <c:pt idx="54">
                  <c:v>0.1862267152220246</c:v>
                </c:pt>
                <c:pt idx="55">
                  <c:v>0.18404487268299694</c:v>
                </c:pt>
                <c:pt idx="56">
                  <c:v>0.18859721446532085</c:v>
                </c:pt>
                <c:pt idx="57">
                  <c:v>0.1832327648975143</c:v>
                </c:pt>
                <c:pt idx="58">
                  <c:v>0.19326281753880417</c:v>
                </c:pt>
                <c:pt idx="59">
                  <c:v>0.21539575591663387</c:v>
                </c:pt>
                <c:pt idx="60">
                  <c:v>0.2170641480741464</c:v>
                </c:pt>
                <c:pt idx="61">
                  <c:v>0.20735411209334073</c:v>
                </c:pt>
                <c:pt idx="62">
                  <c:v>0.20256072431001826</c:v>
                </c:pt>
                <c:pt idx="63">
                  <c:v>0.20650431996360005</c:v>
                </c:pt>
                <c:pt idx="64">
                  <c:v>0.21480350263396286</c:v>
                </c:pt>
                <c:pt idx="65">
                  <c:v>0.20413879010492586</c:v>
                </c:pt>
                <c:pt idx="66">
                  <c:v>0.20644396243600077</c:v>
                </c:pt>
                <c:pt idx="67">
                  <c:v>0.2140131772783533</c:v>
                </c:pt>
                <c:pt idx="68">
                  <c:v>0.20145317661474801</c:v>
                </c:pt>
                <c:pt idx="69">
                  <c:v>0.19314441403124877</c:v>
                </c:pt>
                <c:pt idx="70">
                  <c:v>0.18598368503778376</c:v>
                </c:pt>
                <c:pt idx="71">
                  <c:v>0.19329823411431196</c:v>
                </c:pt>
                <c:pt idx="72">
                  <c:v>0.21264143066982177</c:v>
                </c:pt>
                <c:pt idx="73">
                  <c:v>0.20609964409896686</c:v>
                </c:pt>
                <c:pt idx="74">
                  <c:v>0.20409610258399927</c:v>
                </c:pt>
                <c:pt idx="75">
                  <c:v>0.1926476382497369</c:v>
                </c:pt>
                <c:pt idx="76">
                  <c:v>0.182151425939294</c:v>
                </c:pt>
                <c:pt idx="77">
                  <c:v>0.18471175040367607</c:v>
                </c:pt>
                <c:pt idx="78">
                  <c:v>0.18422109735660816</c:v>
                </c:pt>
                <c:pt idx="79">
                  <c:v>0.17281582672012882</c:v>
                </c:pt>
                <c:pt idx="80">
                  <c:v>0.17271612183307836</c:v>
                </c:pt>
                <c:pt idx="81">
                  <c:v>0.1813296184048702</c:v>
                </c:pt>
                <c:pt idx="82">
                  <c:v>0.1749857449244116</c:v>
                </c:pt>
                <c:pt idx="83">
                  <c:v>0.16006243778208176</c:v>
                </c:pt>
                <c:pt idx="84">
                  <c:v>0.1574491525085856</c:v>
                </c:pt>
                <c:pt idx="85">
                  <c:v>0.15940045550533105</c:v>
                </c:pt>
                <c:pt idx="86">
                  <c:v>0.16812688632336587</c:v>
                </c:pt>
                <c:pt idx="87">
                  <c:v>0.18450295590395693</c:v>
                </c:pt>
                <c:pt idx="88">
                  <c:v>0.16948676760515818</c:v>
                </c:pt>
                <c:pt idx="89">
                  <c:v>0.1604509839827757</c:v>
                </c:pt>
                <c:pt idx="90">
                  <c:v>0.17069431555187978</c:v>
                </c:pt>
                <c:pt idx="91">
                  <c:v>0.1775562334590851</c:v>
                </c:pt>
                <c:pt idx="92">
                  <c:v>0.17998266884073105</c:v>
                </c:pt>
                <c:pt idx="93">
                  <c:v>0.17953728820911033</c:v>
                </c:pt>
                <c:pt idx="94">
                  <c:v>0.1744221197811544</c:v>
                </c:pt>
                <c:pt idx="95">
                  <c:v>0.18292162847453716</c:v>
                </c:pt>
                <c:pt idx="96">
                  <c:v>0.1886293926636629</c:v>
                </c:pt>
                <c:pt idx="97">
                  <c:v>0.1978410546479489</c:v>
                </c:pt>
                <c:pt idx="98">
                  <c:v>0.20724594213547154</c:v>
                </c:pt>
                <c:pt idx="99">
                  <c:v>0.2108225318230626</c:v>
                </c:pt>
                <c:pt idx="100">
                  <c:v>0.22541641922070907</c:v>
                </c:pt>
                <c:pt idx="101">
                  <c:v>0.21162830364397398</c:v>
                </c:pt>
                <c:pt idx="102">
                  <c:v>0.21090169945661688</c:v>
                </c:pt>
                <c:pt idx="103">
                  <c:v>0.2016581964146918</c:v>
                </c:pt>
                <c:pt idx="104">
                  <c:v>0.20690250578657282</c:v>
                </c:pt>
              </c:numCache>
            </c:numRef>
          </c:xVal>
          <c:yVal>
            <c:numRef>
              <c:f>Sheet1!$B$2:$B$106</c:f>
              <c:numCache>
                <c:formatCode>General</c:formatCode>
                <c:ptCount val="105"/>
                <c:pt idx="0">
                  <c:v>0.22226506555029193</c:v>
                </c:pt>
                <c:pt idx="1">
                  <c:v>0.21748878923766815</c:v>
                </c:pt>
                <c:pt idx="2">
                  <c:v>0.21873943899966206</c:v>
                </c:pt>
                <c:pt idx="3">
                  <c:v>0.21880877742946708</c:v>
                </c:pt>
                <c:pt idx="4">
                  <c:v>0.23012847663419456</c:v>
                </c:pt>
                <c:pt idx="5">
                  <c:v>0.23601854534917416</c:v>
                </c:pt>
                <c:pt idx="6">
                  <c:v>0.2631891967534285</c:v>
                </c:pt>
                <c:pt idx="7">
                  <c:v>0.264646382909856</c:v>
                </c:pt>
                <c:pt idx="8">
                  <c:v>0.2586243119458801</c:v>
                </c:pt>
                <c:pt idx="9">
                  <c:v>0.24723282141843525</c:v>
                </c:pt>
                <c:pt idx="10">
                  <c:v>0.240457548323954</c:v>
                </c:pt>
                <c:pt idx="11">
                  <c:v>0.21958603645350633</c:v>
                </c:pt>
                <c:pt idx="12">
                  <c:v>0.20595766473199045</c:v>
                </c:pt>
                <c:pt idx="13">
                  <c:v>0.19534355479841</c:v>
                </c:pt>
                <c:pt idx="14">
                  <c:v>0.1779950952193527</c:v>
                </c:pt>
                <c:pt idx="15">
                  <c:v>0.168645487930973</c:v>
                </c:pt>
                <c:pt idx="16">
                  <c:v>0.16324619268670088</c:v>
                </c:pt>
                <c:pt idx="17">
                  <c:v>0.15663621708758732</c:v>
                </c:pt>
                <c:pt idx="18">
                  <c:v>0.1496506308751822</c:v>
                </c:pt>
                <c:pt idx="19">
                  <c:v>0.1484397783610382</c:v>
                </c:pt>
                <c:pt idx="20">
                  <c:v>0.15575458594760286</c:v>
                </c:pt>
                <c:pt idx="21">
                  <c:v>0.16326167003207032</c:v>
                </c:pt>
                <c:pt idx="22">
                  <c:v>0.17795461243737107</c:v>
                </c:pt>
                <c:pt idx="23">
                  <c:v>0.1898969839890778</c:v>
                </c:pt>
                <c:pt idx="24">
                  <c:v>0.19180421172453044</c:v>
                </c:pt>
                <c:pt idx="25">
                  <c:v>0.19442463533225285</c:v>
                </c:pt>
                <c:pt idx="26">
                  <c:v>0.20790259591086607</c:v>
                </c:pt>
                <c:pt idx="27">
                  <c:v>0.2096837172979305</c:v>
                </c:pt>
                <c:pt idx="28">
                  <c:v>0.21572077185017027</c:v>
                </c:pt>
                <c:pt idx="29">
                  <c:v>0.20905013062552374</c:v>
                </c:pt>
                <c:pt idx="30">
                  <c:v>0.21441727532550015</c:v>
                </c:pt>
                <c:pt idx="31">
                  <c:v>0.21806815395930376</c:v>
                </c:pt>
                <c:pt idx="32">
                  <c:v>0.22538531278331822</c:v>
                </c:pt>
                <c:pt idx="33">
                  <c:v>0.22100081250298714</c:v>
                </c:pt>
                <c:pt idx="34">
                  <c:v>0.21928327645051193</c:v>
                </c:pt>
                <c:pt idx="35">
                  <c:v>0.23582775119617225</c:v>
                </c:pt>
                <c:pt idx="36">
                  <c:v>0.20781902445739459</c:v>
                </c:pt>
                <c:pt idx="37">
                  <c:v>0.20361056699666472</c:v>
                </c:pt>
                <c:pt idx="38">
                  <c:v>0.1926458832933653</c:v>
                </c:pt>
                <c:pt idx="39">
                  <c:v>0.18791795448159596</c:v>
                </c:pt>
                <c:pt idx="40">
                  <c:v>0.18927819961577166</c:v>
                </c:pt>
                <c:pt idx="41">
                  <c:v>0.18410232983097305</c:v>
                </c:pt>
                <c:pt idx="42">
                  <c:v>0.1844411662617147</c:v>
                </c:pt>
                <c:pt idx="43">
                  <c:v>0.17869283065512978</c:v>
                </c:pt>
                <c:pt idx="44">
                  <c:v>0.1801480101433525</c:v>
                </c:pt>
                <c:pt idx="45">
                  <c:v>0.19204877130213727</c:v>
                </c:pt>
                <c:pt idx="46">
                  <c:v>0.19389858458155834</c:v>
                </c:pt>
                <c:pt idx="47">
                  <c:v>0.19004100761570006</c:v>
                </c:pt>
                <c:pt idx="48">
                  <c:v>0.187392393842797</c:v>
                </c:pt>
                <c:pt idx="49">
                  <c:v>0.20137562094000763</c:v>
                </c:pt>
                <c:pt idx="50">
                  <c:v>0.19135440180586907</c:v>
                </c:pt>
                <c:pt idx="51">
                  <c:v>0.1846539978486913</c:v>
                </c:pt>
                <c:pt idx="52">
                  <c:v>0.18815193402253455</c:v>
                </c:pt>
                <c:pt idx="53">
                  <c:v>0.1812184824674563</c:v>
                </c:pt>
                <c:pt idx="54">
                  <c:v>0.1860592401802962</c:v>
                </c:pt>
                <c:pt idx="55">
                  <c:v>0.18362143188290617</c:v>
                </c:pt>
                <c:pt idx="56">
                  <c:v>0.18648420341273864</c:v>
                </c:pt>
                <c:pt idx="57">
                  <c:v>0.18117511188104518</c:v>
                </c:pt>
                <c:pt idx="58">
                  <c:v>0.19146386921561317</c:v>
                </c:pt>
                <c:pt idx="59">
                  <c:v>0.19048030109457548</c:v>
                </c:pt>
                <c:pt idx="60">
                  <c:v>0.19382582445748134</c:v>
                </c:pt>
                <c:pt idx="61">
                  <c:v>0.1902548569041153</c:v>
                </c:pt>
                <c:pt idx="62">
                  <c:v>0.2036891381016416</c:v>
                </c:pt>
                <c:pt idx="63">
                  <c:v>0.20864302643992913</c:v>
                </c:pt>
                <c:pt idx="64">
                  <c:v>0.19630329195898544</c:v>
                </c:pt>
                <c:pt idx="65">
                  <c:v>0.19063234142521535</c:v>
                </c:pt>
                <c:pt idx="66">
                  <c:v>0.19000101822624987</c:v>
                </c:pt>
                <c:pt idx="67">
                  <c:v>0.17937626829007797</c:v>
                </c:pt>
                <c:pt idx="68">
                  <c:v>0.16788459713390907</c:v>
                </c:pt>
                <c:pt idx="69">
                  <c:v>0.1609119170984456</c:v>
                </c:pt>
                <c:pt idx="70">
                  <c:v>0.16178092986603626</c:v>
                </c:pt>
                <c:pt idx="71">
                  <c:v>0.16205719163465643</c:v>
                </c:pt>
                <c:pt idx="72">
                  <c:v>0.16154716676097325</c:v>
                </c:pt>
                <c:pt idx="73">
                  <c:v>0.16443455564588594</c:v>
                </c:pt>
                <c:pt idx="74">
                  <c:v>0.16447449293177627</c:v>
                </c:pt>
                <c:pt idx="75">
                  <c:v>0.17549175203193382</c:v>
                </c:pt>
                <c:pt idx="76">
                  <c:v>0.17818368922047853</c:v>
                </c:pt>
                <c:pt idx="77">
                  <c:v>0.17209963663173417</c:v>
                </c:pt>
                <c:pt idx="78">
                  <c:v>0.17405100481842756</c:v>
                </c:pt>
                <c:pt idx="79">
                  <c:v>0.1605390891252711</c:v>
                </c:pt>
                <c:pt idx="80">
                  <c:v>0.15557729941291584</c:v>
                </c:pt>
                <c:pt idx="81">
                  <c:v>0.1628547688809201</c:v>
                </c:pt>
                <c:pt idx="82">
                  <c:v>0.1626240974729242</c:v>
                </c:pt>
                <c:pt idx="83">
                  <c:v>0.16220834702596124</c:v>
                </c:pt>
                <c:pt idx="84">
                  <c:v>0.16348265992145378</c:v>
                </c:pt>
                <c:pt idx="85">
                  <c:v>0.16821068577754472</c:v>
                </c:pt>
                <c:pt idx="86">
                  <c:v>0.1764033081119127</c:v>
                </c:pt>
                <c:pt idx="87">
                  <c:v>0.19161401012679416</c:v>
                </c:pt>
                <c:pt idx="88">
                  <c:v>0.18565601991630912</c:v>
                </c:pt>
                <c:pt idx="89">
                  <c:v>0.18069021237303787</c:v>
                </c:pt>
                <c:pt idx="90">
                  <c:v>0.1697967889092956</c:v>
                </c:pt>
                <c:pt idx="91">
                  <c:v>0.16111781956184235</c:v>
                </c:pt>
                <c:pt idx="92">
                  <c:v>0.1722055773219636</c:v>
                </c:pt>
                <c:pt idx="93">
                  <c:v>0.16393442622950818</c:v>
                </c:pt>
                <c:pt idx="94">
                  <c:v>0.16772088353413656</c:v>
                </c:pt>
                <c:pt idx="95">
                  <c:v>0.1712412039936632</c:v>
                </c:pt>
                <c:pt idx="96">
                  <c:v>0.17387654450536477</c:v>
                </c:pt>
                <c:pt idx="97">
                  <c:v>0.17686965320577683</c:v>
                </c:pt>
                <c:pt idx="98">
                  <c:v>0.18162422985663867</c:v>
                </c:pt>
                <c:pt idx="99">
                  <c:v>0.18420596994251678</c:v>
                </c:pt>
                <c:pt idx="100">
                  <c:v>0.1880809529200156</c:v>
                </c:pt>
                <c:pt idx="101">
                  <c:v>0.1839502684374117</c:v>
                </c:pt>
                <c:pt idx="102">
                  <c:v>0.17164885702691735</c:v>
                </c:pt>
                <c:pt idx="103">
                  <c:v>0.17687576250508336</c:v>
                </c:pt>
                <c:pt idx="104">
                  <c:v>0.1747592827066340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1932678457772709</c:v>
                </c:pt>
                <c:pt idx="1">
                  <c:v>0.21925388010493682</c:v>
                </c:pt>
                <c:pt idx="2">
                  <c:v>0.21837372208858888</c:v>
                </c:pt>
                <c:pt idx="3">
                  <c:v>0.21868811800259672</c:v>
                </c:pt>
                <c:pt idx="4">
                  <c:v>0.21367386417000192</c:v>
                </c:pt>
                <c:pt idx="5">
                  <c:v>0.21699586216644698</c:v>
                </c:pt>
                <c:pt idx="6">
                  <c:v>0.2008520661318804</c:v>
                </c:pt>
                <c:pt idx="7">
                  <c:v>0.19420259970640757</c:v>
                </c:pt>
                <c:pt idx="8">
                  <c:v>0.20921265180142498</c:v>
                </c:pt>
                <c:pt idx="9">
                  <c:v>0.20052218570344418</c:v>
                </c:pt>
                <c:pt idx="10">
                  <c:v>0.20986934406216798</c:v>
                </c:pt>
                <c:pt idx="11">
                  <c:v>0.19822903240225298</c:v>
                </c:pt>
                <c:pt idx="12">
                  <c:v>0.20488082554975404</c:v>
                </c:pt>
                <c:pt idx="13">
                  <c:v>0.19961952656999718</c:v>
                </c:pt>
                <c:pt idx="14">
                  <c:v>0.2005551486693024</c:v>
                </c:pt>
                <c:pt idx="15">
                  <c:v>0.19134955451051636</c:v>
                </c:pt>
                <c:pt idx="16">
                  <c:v>0.192077980291476</c:v>
                </c:pt>
                <c:pt idx="17">
                  <c:v>0.18251274544460463</c:v>
                </c:pt>
                <c:pt idx="18">
                  <c:v>0.16998057908233452</c:v>
                </c:pt>
                <c:pt idx="19">
                  <c:v>0.20076508833019036</c:v>
                </c:pt>
                <c:pt idx="20">
                  <c:v>0.1834421600318594</c:v>
                </c:pt>
                <c:pt idx="21">
                  <c:v>0.1675156471566015</c:v>
                </c:pt>
                <c:pt idx="22">
                  <c:v>0.17389459382333178</c:v>
                </c:pt>
                <c:pt idx="23">
                  <c:v>0.1617129799481091</c:v>
                </c:pt>
                <c:pt idx="24">
                  <c:v>0.15995430112096518</c:v>
                </c:pt>
                <c:pt idx="25">
                  <c:v>0.15719386119432224</c:v>
                </c:pt>
                <c:pt idx="26">
                  <c:v>0.1620032714870677</c:v>
                </c:pt>
                <c:pt idx="27">
                  <c:v>0.1624226485589647</c:v>
                </c:pt>
                <c:pt idx="28">
                  <c:v>0.17192836350782592</c:v>
                </c:pt>
                <c:pt idx="29">
                  <c:v>0.16330932891321</c:v>
                </c:pt>
                <c:pt idx="30">
                  <c:v>0.15790746577498577</c:v>
                </c:pt>
                <c:pt idx="31">
                  <c:v>0.1581036192584612</c:v>
                </c:pt>
                <c:pt idx="32">
                  <c:v>0.1562501666683093</c:v>
                </c:pt>
                <c:pt idx="33">
                  <c:v>0.16733455421961613</c:v>
                </c:pt>
                <c:pt idx="34">
                  <c:v>0.18380087516034557</c:v>
                </c:pt>
                <c:pt idx="35">
                  <c:v>0.17736966413394428</c:v>
                </c:pt>
                <c:pt idx="36">
                  <c:v>0.16252744846052075</c:v>
                </c:pt>
                <c:pt idx="37">
                  <c:v>0.16245285889344507</c:v>
                </c:pt>
                <c:pt idx="38">
                  <c:v>0.16562712801819435</c:v>
                </c:pt>
                <c:pt idx="39">
                  <c:v>0.1738584166905663</c:v>
                </c:pt>
                <c:pt idx="40">
                  <c:v>0.1749479485928459</c:v>
                </c:pt>
                <c:pt idx="41">
                  <c:v>0.1821174120543613</c:v>
                </c:pt>
                <c:pt idx="42">
                  <c:v>0.17743506110460075</c:v>
                </c:pt>
                <c:pt idx="43">
                  <c:v>0.18645421077091506</c:v>
                </c:pt>
                <c:pt idx="44">
                  <c:v>0.18583018142206875</c:v>
                </c:pt>
                <c:pt idx="45">
                  <c:v>0.19157350942664658</c:v>
                </c:pt>
                <c:pt idx="46">
                  <c:v>0.17784243910440004</c:v>
                </c:pt>
                <c:pt idx="47">
                  <c:v>0.17596651936077146</c:v>
                </c:pt>
                <c:pt idx="48">
                  <c:v>0.17930930166542255</c:v>
                </c:pt>
                <c:pt idx="49">
                  <c:v>0.1997832592945391</c:v>
                </c:pt>
                <c:pt idx="50">
                  <c:v>0.211845417612649</c:v>
                </c:pt>
                <c:pt idx="51">
                  <c:v>0.18619619692421618</c:v>
                </c:pt>
              </c:numCache>
            </c:numRef>
          </c:xVal>
          <c:yVal>
            <c:numRef>
              <c:f>Sheet1!$B$109:$B$160</c:f>
              <c:numCache>
                <c:formatCode>General</c:formatCode>
                <c:ptCount val="52"/>
                <c:pt idx="0">
                  <c:v>0.18217699495220707</c:v>
                </c:pt>
                <c:pt idx="1">
                  <c:v>0.18062663482315477</c:v>
                </c:pt>
                <c:pt idx="2">
                  <c:v>0.1946429934118485</c:v>
                </c:pt>
                <c:pt idx="3">
                  <c:v>0.20574750915657097</c:v>
                </c:pt>
                <c:pt idx="4">
                  <c:v>0.1908303671040748</c:v>
                </c:pt>
                <c:pt idx="5">
                  <c:v>0.18936664264552808</c:v>
                </c:pt>
                <c:pt idx="6">
                  <c:v>0.1971470831557572</c:v>
                </c:pt>
                <c:pt idx="7">
                  <c:v>0.19326490680031583</c:v>
                </c:pt>
                <c:pt idx="8">
                  <c:v>0.18219546848126822</c:v>
                </c:pt>
                <c:pt idx="9">
                  <c:v>0.191000823723229</c:v>
                </c:pt>
                <c:pt idx="10">
                  <c:v>0.19159109645507008</c:v>
                </c:pt>
                <c:pt idx="11">
                  <c:v>0.19539322794643518</c:v>
                </c:pt>
                <c:pt idx="12">
                  <c:v>0.19344427917941234</c:v>
                </c:pt>
                <c:pt idx="13">
                  <c:v>0.19342082137207803</c:v>
                </c:pt>
                <c:pt idx="14">
                  <c:v>0.19140109978454514</c:v>
                </c:pt>
                <c:pt idx="15">
                  <c:v>0.18997361477572558</c:v>
                </c:pt>
                <c:pt idx="16">
                  <c:v>0.1796423767703141</c:v>
                </c:pt>
                <c:pt idx="17">
                  <c:v>0.1837104818432876</c:v>
                </c:pt>
                <c:pt idx="18">
                  <c:v>0.1872991967871486</c:v>
                </c:pt>
                <c:pt idx="19">
                  <c:v>0.18302782171768867</c:v>
                </c:pt>
                <c:pt idx="20">
                  <c:v>0.1756687242798354</c:v>
                </c:pt>
                <c:pt idx="21">
                  <c:v>0.18492764517947755</c:v>
                </c:pt>
                <c:pt idx="22">
                  <c:v>0.1825450939068989</c:v>
                </c:pt>
                <c:pt idx="23">
                  <c:v>0.19000063207129764</c:v>
                </c:pt>
                <c:pt idx="24">
                  <c:v>0.1904928550597842</c:v>
                </c:pt>
                <c:pt idx="25">
                  <c:v>0.18846625766871167</c:v>
                </c:pt>
                <c:pt idx="26">
                  <c:v>0.18192372438613805</c:v>
                </c:pt>
                <c:pt idx="27">
                  <c:v>0.18187585915195092</c:v>
                </c:pt>
                <c:pt idx="28">
                  <c:v>0.17280129517642018</c:v>
                </c:pt>
                <c:pt idx="29">
                  <c:v>0.17543758967001435</c:v>
                </c:pt>
                <c:pt idx="30">
                  <c:v>0.18</c:v>
                </c:pt>
                <c:pt idx="31">
                  <c:v>0.1725672277036177</c:v>
                </c:pt>
                <c:pt idx="32">
                  <c:v>0.16785391225689733</c:v>
                </c:pt>
                <c:pt idx="33">
                  <c:v>0.1851078966089637</c:v>
                </c:pt>
                <c:pt idx="34">
                  <c:v>0.1982967012533006</c:v>
                </c:pt>
                <c:pt idx="35">
                  <c:v>0.19516886602549766</c:v>
                </c:pt>
                <c:pt idx="36">
                  <c:v>0.18259230822921757</c:v>
                </c:pt>
                <c:pt idx="37">
                  <c:v>0.18523615889896777</c:v>
                </c:pt>
                <c:pt idx="38">
                  <c:v>0.18279118572927597</c:v>
                </c:pt>
                <c:pt idx="39">
                  <c:v>0.1885899480425948</c:v>
                </c:pt>
                <c:pt idx="40">
                  <c:v>0.1790814549435239</c:v>
                </c:pt>
                <c:pt idx="41">
                  <c:v>0.18204488778054864</c:v>
                </c:pt>
                <c:pt idx="42">
                  <c:v>0.18224150703778177</c:v>
                </c:pt>
                <c:pt idx="43">
                  <c:v>0.175</c:v>
                </c:pt>
                <c:pt idx="44">
                  <c:v>0.17232425585813807</c:v>
                </c:pt>
                <c:pt idx="45">
                  <c:v>0.18626747080222095</c:v>
                </c:pt>
                <c:pt idx="46">
                  <c:v>0.20043010752688173</c:v>
                </c:pt>
                <c:pt idx="47">
                  <c:v>0.2023057697992529</c:v>
                </c:pt>
                <c:pt idx="48">
                  <c:v>0.19867519928146402</c:v>
                </c:pt>
                <c:pt idx="49">
                  <c:v>0.20408204877253078</c:v>
                </c:pt>
                <c:pt idx="50">
                  <c:v>0.2109689213893967</c:v>
                </c:pt>
                <c:pt idx="51">
                  <c:v>0.2034182384740681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3177363043295547</c:v>
                </c:pt>
              </c:numCache>
            </c:numRef>
          </c:xVal>
          <c:yVal>
            <c:numRef>
              <c:f>Sheet1!$B$163:$B$164</c:f>
              <c:numCache>
                <c:formatCode>General</c:formatCode>
                <c:ptCount val="2"/>
                <c:pt idx="0">
                  <c:v>0.23665655386773585</c:v>
                </c:pt>
                <c:pt idx="1">
                  <c:v>0.2366565538677358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3177363043295547</c:v>
                </c:pt>
                <c:pt idx="1">
                  <c:v>0.43177363043295547</c:v>
                </c:pt>
              </c:numCache>
            </c:numRef>
          </c:xVal>
          <c:yVal>
            <c:numRef>
              <c:f>Sheet1!$B$167:$B$168</c:f>
              <c:numCache>
                <c:formatCode>General</c:formatCode>
                <c:ptCount val="2"/>
                <c:pt idx="0">
                  <c:v>0.236656553867735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689302503788995</c:v>
                </c:pt>
              </c:numCache>
            </c:numRef>
          </c:xVal>
          <c:yVal>
            <c:numRef>
              <c:f>Sheet1!$B$171:$B$172</c:f>
              <c:numCache>
                <c:formatCode>General</c:formatCode>
                <c:ptCount val="2"/>
                <c:pt idx="0">
                  <c:v>0.20428610197936492</c:v>
                </c:pt>
                <c:pt idx="1">
                  <c:v>0.2042861019793649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689302503788995</c:v>
                </c:pt>
                <c:pt idx="1">
                  <c:v>0.2689302503788995</c:v>
                </c:pt>
              </c:numCache>
            </c:numRef>
          </c:xVal>
          <c:yVal>
            <c:numRef>
              <c:f>Sheet1!$B$175:$B$176</c:f>
              <c:numCache>
                <c:formatCode>General</c:formatCode>
                <c:ptCount val="2"/>
                <c:pt idx="0">
                  <c:v>0.2042861019793649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0303321071341265</c:v>
                </c:pt>
              </c:numCache>
            </c:numRef>
          </c:xVal>
          <c:yVal>
            <c:numRef>
              <c:f>Sheet1!$B$179:$B$180</c:f>
              <c:numCache>
                <c:formatCode>General</c:formatCode>
                <c:ptCount val="2"/>
                <c:pt idx="0">
                  <c:v>0.19118690843910788</c:v>
                </c:pt>
                <c:pt idx="1">
                  <c:v>0.1911869084391078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0303321071341265</c:v>
                </c:pt>
                <c:pt idx="1">
                  <c:v>0.20303321071341265</c:v>
                </c:pt>
              </c:numCache>
            </c:numRef>
          </c:xVal>
          <c:yVal>
            <c:numRef>
              <c:f>Sheet1!$B$183:$B$184</c:f>
              <c:numCache>
                <c:formatCode>General</c:formatCode>
                <c:ptCount val="2"/>
                <c:pt idx="0">
                  <c:v>0.191186908439107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1932678457772709</c:v>
                </c:pt>
                <c:pt idx="1">
                  <c:v>0.21925388010493682</c:v>
                </c:pt>
                <c:pt idx="2">
                  <c:v>0.21837372208858888</c:v>
                </c:pt>
                <c:pt idx="3">
                  <c:v>0.21868811800259672</c:v>
                </c:pt>
                <c:pt idx="4">
                  <c:v>0.21367386417000192</c:v>
                </c:pt>
                <c:pt idx="5">
                  <c:v>0.21699586216644698</c:v>
                </c:pt>
                <c:pt idx="6">
                  <c:v>0.2008520661318804</c:v>
                </c:pt>
                <c:pt idx="7">
                  <c:v>0.19420259970640757</c:v>
                </c:pt>
                <c:pt idx="8">
                  <c:v>0.20921265180142498</c:v>
                </c:pt>
                <c:pt idx="9">
                  <c:v>0.20052218570344418</c:v>
                </c:pt>
                <c:pt idx="10">
                  <c:v>0.20986934406216798</c:v>
                </c:pt>
                <c:pt idx="11">
                  <c:v>0.19822903240225298</c:v>
                </c:pt>
                <c:pt idx="12">
                  <c:v>0.20488082554975404</c:v>
                </c:pt>
                <c:pt idx="13">
                  <c:v>0.19961952656999718</c:v>
                </c:pt>
                <c:pt idx="14">
                  <c:v>0.2005551486693024</c:v>
                </c:pt>
                <c:pt idx="15">
                  <c:v>0.19134955451051636</c:v>
                </c:pt>
                <c:pt idx="16">
                  <c:v>0.192077980291476</c:v>
                </c:pt>
                <c:pt idx="17">
                  <c:v>0.18251274544460463</c:v>
                </c:pt>
                <c:pt idx="18">
                  <c:v>0.16998057908233452</c:v>
                </c:pt>
                <c:pt idx="19">
                  <c:v>0.20076508833019036</c:v>
                </c:pt>
                <c:pt idx="20">
                  <c:v>0.1834421600318594</c:v>
                </c:pt>
                <c:pt idx="21">
                  <c:v>0.1675156471566015</c:v>
                </c:pt>
                <c:pt idx="22">
                  <c:v>0.17389459382333178</c:v>
                </c:pt>
                <c:pt idx="23">
                  <c:v>0.1617129799481091</c:v>
                </c:pt>
                <c:pt idx="24">
                  <c:v>0.15995430112096518</c:v>
                </c:pt>
                <c:pt idx="25">
                  <c:v>0.15719386119432224</c:v>
                </c:pt>
                <c:pt idx="26">
                  <c:v>0.1620032714870677</c:v>
                </c:pt>
                <c:pt idx="27">
                  <c:v>0.1624226485589647</c:v>
                </c:pt>
                <c:pt idx="28">
                  <c:v>0.17192836350782592</c:v>
                </c:pt>
                <c:pt idx="29">
                  <c:v>0.16330932891321</c:v>
                </c:pt>
                <c:pt idx="30">
                  <c:v>0.15790746577498577</c:v>
                </c:pt>
                <c:pt idx="31">
                  <c:v>0.1581036192584612</c:v>
                </c:pt>
                <c:pt idx="32">
                  <c:v>0.1562501666683093</c:v>
                </c:pt>
                <c:pt idx="33">
                  <c:v>0.16733455421961613</c:v>
                </c:pt>
                <c:pt idx="34">
                  <c:v>0.18380087516034557</c:v>
                </c:pt>
                <c:pt idx="35">
                  <c:v>0.17736966413394428</c:v>
                </c:pt>
                <c:pt idx="36">
                  <c:v>0.16252744846052075</c:v>
                </c:pt>
                <c:pt idx="37">
                  <c:v>0.16245285889344507</c:v>
                </c:pt>
                <c:pt idx="38">
                  <c:v>0.16562712801819435</c:v>
                </c:pt>
                <c:pt idx="39">
                  <c:v>0.1738584166905663</c:v>
                </c:pt>
                <c:pt idx="40">
                  <c:v>0.1749479485928459</c:v>
                </c:pt>
                <c:pt idx="41">
                  <c:v>0.1821174120543613</c:v>
                </c:pt>
                <c:pt idx="42">
                  <c:v>0.17743506110460075</c:v>
                </c:pt>
                <c:pt idx="43">
                  <c:v>0.18645421077091506</c:v>
                </c:pt>
                <c:pt idx="44">
                  <c:v>0.18583018142206875</c:v>
                </c:pt>
                <c:pt idx="45">
                  <c:v>0.19157350942664658</c:v>
                </c:pt>
                <c:pt idx="46">
                  <c:v>0.17784243910440004</c:v>
                </c:pt>
                <c:pt idx="47">
                  <c:v>0.17596651936077146</c:v>
                </c:pt>
                <c:pt idx="48">
                  <c:v>0.17930930166542255</c:v>
                </c:pt>
                <c:pt idx="49">
                  <c:v>0.1997832592945391</c:v>
                </c:pt>
                <c:pt idx="50">
                  <c:v>0.211845417612649</c:v>
                </c:pt>
                <c:pt idx="51">
                  <c:v>0.18619619692421618</c:v>
                </c:pt>
                <c:pt idx="52">
                  <c:v>0.2689302503788995</c:v>
                </c:pt>
                <c:pt idx="53">
                  <c:v>0.43177363043295547</c:v>
                </c:pt>
                <c:pt idx="54">
                  <c:v>0.20303321071341265</c:v>
                </c:pt>
              </c:numCache>
            </c:numRef>
          </c:xVal>
          <c:yVal>
            <c:numRef>
              <c:f>Sheet1!$B$187:$B$241</c:f>
              <c:numCache>
                <c:formatCode>General</c:formatCode>
                <c:ptCount val="55"/>
                <c:pt idx="0">
                  <c:v>0.1944257895572063</c:v>
                </c:pt>
                <c:pt idx="1">
                  <c:v>0.19441129740696894</c:v>
                </c:pt>
                <c:pt idx="2">
                  <c:v>0.19423633719235722</c:v>
                </c:pt>
                <c:pt idx="3">
                  <c:v>0.19429883367090559</c:v>
                </c:pt>
                <c:pt idx="4">
                  <c:v>0.19330208659779638</c:v>
                </c:pt>
                <c:pt idx="5">
                  <c:v>0.19396244243345573</c:v>
                </c:pt>
                <c:pt idx="6">
                  <c:v>0.1907533345614677</c:v>
                </c:pt>
                <c:pt idx="7">
                  <c:v>0.1894315354626179</c:v>
                </c:pt>
                <c:pt idx="8">
                  <c:v>0.19241527461751884</c:v>
                </c:pt>
                <c:pt idx="9">
                  <c:v>0.19068776002884583</c:v>
                </c:pt>
                <c:pt idx="10">
                  <c:v>0.19254581369884222</c:v>
                </c:pt>
                <c:pt idx="11">
                  <c:v>0.19023192075196377</c:v>
                </c:pt>
                <c:pt idx="12">
                  <c:v>0.19155418236297372</c:v>
                </c:pt>
                <c:pt idx="13">
                  <c:v>0.19050832698071613</c:v>
                </c:pt>
                <c:pt idx="14">
                  <c:v>0.19069431249723637</c:v>
                </c:pt>
                <c:pt idx="15">
                  <c:v>0.18886439934558147</c:v>
                </c:pt>
                <c:pt idx="16">
                  <c:v>0.1890091978119912</c:v>
                </c:pt>
                <c:pt idx="17">
                  <c:v>0.18710779430201224</c:v>
                </c:pt>
                <c:pt idx="18">
                  <c:v>0.1846166160413285</c:v>
                </c:pt>
                <c:pt idx="19">
                  <c:v>0.1907360448764708</c:v>
                </c:pt>
                <c:pt idx="20">
                  <c:v>0.1872925458723315</c:v>
                </c:pt>
                <c:pt idx="21">
                  <c:v>0.1841266301402525</c:v>
                </c:pt>
                <c:pt idx="22">
                  <c:v>0.18539465458254378</c:v>
                </c:pt>
                <c:pt idx="23">
                  <c:v>0.1829731601027577</c:v>
                </c:pt>
                <c:pt idx="24">
                  <c:v>0.18262356512172584</c:v>
                </c:pt>
                <c:pt idx="25">
                  <c:v>0.1820748373330588</c:v>
                </c:pt>
                <c:pt idx="26">
                  <c:v>0.18303086504779348</c:v>
                </c:pt>
                <c:pt idx="27">
                  <c:v>0.18311422996765955</c:v>
                </c:pt>
                <c:pt idx="28">
                  <c:v>0.18500380194973545</c:v>
                </c:pt>
                <c:pt idx="29">
                  <c:v>0.18329048671041406</c:v>
                </c:pt>
                <c:pt idx="30">
                  <c:v>0.18221668960079002</c:v>
                </c:pt>
                <c:pt idx="31">
                  <c:v>0.18225568152602192</c:v>
                </c:pt>
                <c:pt idx="32">
                  <c:v>0.181887247157508</c:v>
                </c:pt>
                <c:pt idx="33">
                  <c:v>0.18409063199158926</c:v>
                </c:pt>
                <c:pt idx="34">
                  <c:v>0.18736385224539032</c:v>
                </c:pt>
                <c:pt idx="35">
                  <c:v>0.18608543855092524</c:v>
                </c:pt>
                <c:pt idx="36">
                  <c:v>0.18313506237834828</c:v>
                </c:pt>
                <c:pt idx="37">
                  <c:v>0.18312023526046609</c:v>
                </c:pt>
                <c:pt idx="38">
                  <c:v>0.18375122514749329</c:v>
                </c:pt>
                <c:pt idx="39">
                  <c:v>0.18538746319327604</c:v>
                </c:pt>
                <c:pt idx="40">
                  <c:v>0.185604043320831</c:v>
                </c:pt>
                <c:pt idx="41">
                  <c:v>0.18702920885085977</c:v>
                </c:pt>
                <c:pt idx="42">
                  <c:v>0.18609843833938197</c:v>
                </c:pt>
                <c:pt idx="43">
                  <c:v>0.18789128954555645</c:v>
                </c:pt>
                <c:pt idx="44">
                  <c:v>0.18776724328707756</c:v>
                </c:pt>
                <c:pt idx="45">
                  <c:v>0.18890891771553517</c:v>
                </c:pt>
                <c:pt idx="46">
                  <c:v>0.1861794180509214</c:v>
                </c:pt>
                <c:pt idx="47">
                  <c:v>0.18580651760027111</c:v>
                </c:pt>
                <c:pt idx="48">
                  <c:v>0.18647100499748728</c:v>
                </c:pt>
                <c:pt idx="49">
                  <c:v>0.190540874218931</c:v>
                </c:pt>
                <c:pt idx="50">
                  <c:v>0.19293862299678538</c:v>
                </c:pt>
                <c:pt idx="51">
                  <c:v>0.18784000084835348</c:v>
                </c:pt>
                <c:pt idx="52">
                  <c:v>0.20428610197936492</c:v>
                </c:pt>
                <c:pt idx="53">
                  <c:v>0.23665655386773585</c:v>
                </c:pt>
                <c:pt idx="54">
                  <c:v>0.1911869084391078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757565949182714"/>
          <c:min val="0.1187518226888305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0.1602</c:v>
                </c:pt>
                <c:pt idx="1">
                  <c:v>896.6671</c:v>
                </c:pt>
                <c:pt idx="2">
                  <c:v>925.3649</c:v>
                </c:pt>
                <c:pt idx="3">
                  <c:v>939.8836</c:v>
                </c:pt>
                <c:pt idx="4">
                  <c:v>933.8344</c:v>
                </c:pt>
                <c:pt idx="5">
                  <c:v>919.7325</c:v>
                </c:pt>
                <c:pt idx="6">
                  <c:v>883.5374</c:v>
                </c:pt>
                <c:pt idx="7">
                  <c:v>889.8271</c:v>
                </c:pt>
                <c:pt idx="8">
                  <c:v>894.7587</c:v>
                </c:pt>
                <c:pt idx="9">
                  <c:v>870.9048</c:v>
                </c:pt>
                <c:pt idx="10">
                  <c:v>858.2044</c:v>
                </c:pt>
                <c:pt idx="11">
                  <c:v>900.905</c:v>
                </c:pt>
                <c:pt idx="12">
                  <c:v>915.5783</c:v>
                </c:pt>
                <c:pt idx="13">
                  <c:v>919.7056</c:v>
                </c:pt>
                <c:pt idx="14">
                  <c:v>960.2228</c:v>
                </c:pt>
                <c:pt idx="15">
                  <c:v>977.2438</c:v>
                </c:pt>
                <c:pt idx="16">
                  <c:v>994.4941</c:v>
                </c:pt>
                <c:pt idx="17">
                  <c:v>1017.189</c:v>
                </c:pt>
                <c:pt idx="18">
                  <c:v>1057.7813</c:v>
                </c:pt>
                <c:pt idx="19">
                  <c:v>1066.0149</c:v>
                </c:pt>
                <c:pt idx="20">
                  <c:v>1091.4757</c:v>
                </c:pt>
                <c:pt idx="21">
                  <c:v>1100.1601</c:v>
                </c:pt>
                <c:pt idx="22">
                  <c:v>1064.3803</c:v>
                </c:pt>
                <c:pt idx="23">
                  <c:v>1056.8376</c:v>
                </c:pt>
                <c:pt idx="24">
                  <c:v>1060.7294</c:v>
                </c:pt>
                <c:pt idx="25">
                  <c:v>1038.9553</c:v>
                </c:pt>
                <c:pt idx="26">
                  <c:v>1026.3227</c:v>
                </c:pt>
                <c:pt idx="27">
                  <c:v>1037.4307</c:v>
                </c:pt>
                <c:pt idx="28">
                  <c:v>1037.9847</c:v>
                </c:pt>
                <c:pt idx="29">
                  <c:v>1029.1964</c:v>
                </c:pt>
                <c:pt idx="30">
                  <c:v>1031.7509</c:v>
                </c:pt>
                <c:pt idx="31">
                  <c:v>1013.6425</c:v>
                </c:pt>
                <c:pt idx="32">
                  <c:v>1003.4237</c:v>
                </c:pt>
                <c:pt idx="33">
                  <c:v>971.3372</c:v>
                </c:pt>
                <c:pt idx="34">
                  <c:v>981.5778</c:v>
                </c:pt>
                <c:pt idx="35">
                  <c:v>1018.1876</c:v>
                </c:pt>
                <c:pt idx="36">
                  <c:v>1083.6092</c:v>
                </c:pt>
                <c:pt idx="37">
                  <c:v>1095.7103</c:v>
                </c:pt>
                <c:pt idx="38">
                  <c:v>1138.3225</c:v>
                </c:pt>
                <c:pt idx="39">
                  <c:v>1161.1624</c:v>
                </c:pt>
                <c:pt idx="40">
                  <c:v>1163.3908</c:v>
                </c:pt>
                <c:pt idx="41">
                  <c:v>1195.6292</c:v>
                </c:pt>
                <c:pt idx="42">
                  <c:v>1211.0972</c:v>
                </c:pt>
                <c:pt idx="43">
                  <c:v>1218.396</c:v>
                </c:pt>
                <c:pt idx="44">
                  <c:v>1156.9309</c:v>
                </c:pt>
                <c:pt idx="45">
                  <c:v>1121.7811</c:v>
                </c:pt>
                <c:pt idx="46">
                  <c:v>1111.4667</c:v>
                </c:pt>
                <c:pt idx="47">
                  <c:v>1098.4128</c:v>
                </c:pt>
                <c:pt idx="48">
                  <c:v>1094.8564</c:v>
                </c:pt>
                <c:pt idx="49">
                  <c:v>1046.4081</c:v>
                </c:pt>
                <c:pt idx="50">
                  <c:v>1047.8026</c:v>
                </c:pt>
                <c:pt idx="51">
                  <c:v>1055.6736</c:v>
                </c:pt>
                <c:pt idx="52">
                  <c:v>1053.314</c:v>
                </c:pt>
                <c:pt idx="53">
                  <c:v>1166.5389</c:v>
                </c:pt>
                <c:pt idx="54">
                  <c:v>1152.9671</c:v>
                </c:pt>
                <c:pt idx="55">
                  <c:v>1167.2546</c:v>
                </c:pt>
                <c:pt idx="56">
                  <c:v>1178.832</c:v>
                </c:pt>
                <c:pt idx="57">
                  <c:v>1152.5788</c:v>
                </c:pt>
                <c:pt idx="58">
                  <c:v>1130.1762</c:v>
                </c:pt>
                <c:pt idx="59">
                  <c:v>1114.6146</c:v>
                </c:pt>
                <c:pt idx="60">
                  <c:v>1131.0099</c:v>
                </c:pt>
                <c:pt idx="61">
                  <c:v>1145.4141</c:v>
                </c:pt>
                <c:pt idx="62">
                  <c:v>1077.2692</c:v>
                </c:pt>
                <c:pt idx="63">
                  <c:v>1097.606</c:v>
                </c:pt>
                <c:pt idx="64">
                  <c:v>1110.3883</c:v>
                </c:pt>
                <c:pt idx="65">
                  <c:v>1101.1496</c:v>
                </c:pt>
                <c:pt idx="66">
                  <c:v>1136.1167</c:v>
                </c:pt>
                <c:pt idx="67">
                  <c:v>1160.0968</c:v>
                </c:pt>
                <c:pt idx="68">
                  <c:v>1175.814</c:v>
                </c:pt>
                <c:pt idx="69">
                  <c:v>1207.8284</c:v>
                </c:pt>
                <c:pt idx="70">
                  <c:v>1189.7808</c:v>
                </c:pt>
                <c:pt idx="71">
                  <c:v>1242.0927</c:v>
                </c:pt>
                <c:pt idx="72">
                  <c:v>1307.1248</c:v>
                </c:pt>
                <c:pt idx="73">
                  <c:v>1283.356</c:v>
                </c:pt>
                <c:pt idx="74">
                  <c:v>1277.4382</c:v>
                </c:pt>
                <c:pt idx="75">
                  <c:v>1240.835</c:v>
                </c:pt>
                <c:pt idx="76">
                  <c:v>1206.9189</c:v>
                </c:pt>
                <c:pt idx="77">
                  <c:v>1204.1637</c:v>
                </c:pt>
                <c:pt idx="78">
                  <c:v>1256.4379</c:v>
                </c:pt>
                <c:pt idx="79">
                  <c:v>1241.5478</c:v>
                </c:pt>
                <c:pt idx="80">
                  <c:v>1256.622</c:v>
                </c:pt>
                <c:pt idx="81">
                  <c:v>1246.3743</c:v>
                </c:pt>
                <c:pt idx="82">
                  <c:v>1257.2699</c:v>
                </c:pt>
                <c:pt idx="83">
                  <c:v>1219.594</c:v>
                </c:pt>
                <c:pt idx="84">
                  <c:v>1240.0375</c:v>
                </c:pt>
                <c:pt idx="85">
                  <c:v>1216.7624</c:v>
                </c:pt>
                <c:pt idx="86">
                  <c:v>1220.1259</c:v>
                </c:pt>
                <c:pt idx="87">
                  <c:v>1222.8493</c:v>
                </c:pt>
                <c:pt idx="88">
                  <c:v>1269.4996</c:v>
                </c:pt>
                <c:pt idx="89">
                  <c:v>1255.1555</c:v>
                </c:pt>
                <c:pt idx="90">
                  <c:v>1314.4375</c:v>
                </c:pt>
                <c:pt idx="91">
                  <c:v>1315.6106</c:v>
                </c:pt>
                <c:pt idx="92">
                  <c:v>1266.0669</c:v>
                </c:pt>
                <c:pt idx="93">
                  <c:v>1292.6658</c:v>
                </c:pt>
                <c:pt idx="94">
                  <c:v>1281.8216</c:v>
                </c:pt>
                <c:pt idx="95">
                  <c:v>1251.4322</c:v>
                </c:pt>
                <c:pt idx="96">
                  <c:v>1200.8594</c:v>
                </c:pt>
                <c:pt idx="97">
                  <c:v>1193.5625</c:v>
                </c:pt>
                <c:pt idx="98">
                  <c:v>1172.9539</c:v>
                </c:pt>
                <c:pt idx="99">
                  <c:v>1137.7425</c:v>
                </c:pt>
                <c:pt idx="100">
                  <c:v>1118.3324</c:v>
                </c:pt>
                <c:pt idx="101">
                  <c:v>1165.05</c:v>
                </c:pt>
                <c:pt idx="102">
                  <c:v>1177.0303</c:v>
                </c:pt>
                <c:pt idx="103">
                  <c:v>1152.1832</c:v>
                </c:pt>
                <c:pt idx="104">
                  <c:v>1184.3692</c:v>
                </c:pt>
              </c:numCache>
            </c:numRef>
          </c:xVal>
          <c:yVal>
            <c:numRef>
              <c:f>Sheet1!$B$2:$B$106</c:f>
              <c:numCache>
                <c:formatCode>General</c:formatCode>
                <c:ptCount val="105"/>
                <c:pt idx="0">
                  <c:v>0.22226506555029193</c:v>
                </c:pt>
                <c:pt idx="1">
                  <c:v>0.21748878923766815</c:v>
                </c:pt>
                <c:pt idx="2">
                  <c:v>0.21873943899966206</c:v>
                </c:pt>
                <c:pt idx="3">
                  <c:v>0.21880877742946708</c:v>
                </c:pt>
                <c:pt idx="4">
                  <c:v>0.23012847663419456</c:v>
                </c:pt>
                <c:pt idx="5">
                  <c:v>0.23601854534917416</c:v>
                </c:pt>
                <c:pt idx="6">
                  <c:v>0.2631891967534285</c:v>
                </c:pt>
                <c:pt idx="7">
                  <c:v>0.264646382909856</c:v>
                </c:pt>
                <c:pt idx="8">
                  <c:v>0.2586243119458801</c:v>
                </c:pt>
                <c:pt idx="9">
                  <c:v>0.24723282141843525</c:v>
                </c:pt>
                <c:pt idx="10">
                  <c:v>0.240457548323954</c:v>
                </c:pt>
                <c:pt idx="11">
                  <c:v>0.21958603645350633</c:v>
                </c:pt>
                <c:pt idx="12">
                  <c:v>0.20595766473199045</c:v>
                </c:pt>
                <c:pt idx="13">
                  <c:v>0.19534355479841</c:v>
                </c:pt>
                <c:pt idx="14">
                  <c:v>0.1779950952193527</c:v>
                </c:pt>
                <c:pt idx="15">
                  <c:v>0.168645487930973</c:v>
                </c:pt>
                <c:pt idx="16">
                  <c:v>0.16324619268670088</c:v>
                </c:pt>
                <c:pt idx="17">
                  <c:v>0.15663621708758732</c:v>
                </c:pt>
                <c:pt idx="18">
                  <c:v>0.1496506308751822</c:v>
                </c:pt>
                <c:pt idx="19">
                  <c:v>0.1484397783610382</c:v>
                </c:pt>
                <c:pt idx="20">
                  <c:v>0.15575458594760286</c:v>
                </c:pt>
                <c:pt idx="21">
                  <c:v>0.16326167003207032</c:v>
                </c:pt>
                <c:pt idx="22">
                  <c:v>0.17795461243737107</c:v>
                </c:pt>
                <c:pt idx="23">
                  <c:v>0.1898969839890778</c:v>
                </c:pt>
                <c:pt idx="24">
                  <c:v>0.19180421172453044</c:v>
                </c:pt>
                <c:pt idx="25">
                  <c:v>0.19442463533225285</c:v>
                </c:pt>
                <c:pt idx="26">
                  <c:v>0.20790259591086607</c:v>
                </c:pt>
                <c:pt idx="27">
                  <c:v>0.2096837172979305</c:v>
                </c:pt>
                <c:pt idx="28">
                  <c:v>0.21572077185017027</c:v>
                </c:pt>
                <c:pt idx="29">
                  <c:v>0.20905013062552374</c:v>
                </c:pt>
                <c:pt idx="30">
                  <c:v>0.21441727532550015</c:v>
                </c:pt>
                <c:pt idx="31">
                  <c:v>0.21806815395930376</c:v>
                </c:pt>
                <c:pt idx="32">
                  <c:v>0.22538531278331822</c:v>
                </c:pt>
                <c:pt idx="33">
                  <c:v>0.22100081250298714</c:v>
                </c:pt>
                <c:pt idx="34">
                  <c:v>0.21928327645051193</c:v>
                </c:pt>
                <c:pt idx="35">
                  <c:v>0.23582775119617225</c:v>
                </c:pt>
                <c:pt idx="36">
                  <c:v>0.20781902445739459</c:v>
                </c:pt>
                <c:pt idx="37">
                  <c:v>0.20361056699666472</c:v>
                </c:pt>
                <c:pt idx="38">
                  <c:v>0.1926458832933653</c:v>
                </c:pt>
                <c:pt idx="39">
                  <c:v>0.18791795448159596</c:v>
                </c:pt>
                <c:pt idx="40">
                  <c:v>0.18927819961577166</c:v>
                </c:pt>
                <c:pt idx="41">
                  <c:v>0.18410232983097305</c:v>
                </c:pt>
                <c:pt idx="42">
                  <c:v>0.1844411662617147</c:v>
                </c:pt>
                <c:pt idx="43">
                  <c:v>0.17869283065512978</c:v>
                </c:pt>
                <c:pt idx="44">
                  <c:v>0.1801480101433525</c:v>
                </c:pt>
                <c:pt idx="45">
                  <c:v>0.19204877130213727</c:v>
                </c:pt>
                <c:pt idx="46">
                  <c:v>0.19389858458155834</c:v>
                </c:pt>
                <c:pt idx="47">
                  <c:v>0.19004100761570006</c:v>
                </c:pt>
                <c:pt idx="48">
                  <c:v>0.187392393842797</c:v>
                </c:pt>
                <c:pt idx="49">
                  <c:v>0.20137562094000763</c:v>
                </c:pt>
                <c:pt idx="50">
                  <c:v>0.19135440180586907</c:v>
                </c:pt>
                <c:pt idx="51">
                  <c:v>0.1846539978486913</c:v>
                </c:pt>
                <c:pt idx="52">
                  <c:v>0.18815193402253455</c:v>
                </c:pt>
                <c:pt idx="53">
                  <c:v>0.1812184824674563</c:v>
                </c:pt>
                <c:pt idx="54">
                  <c:v>0.1860592401802962</c:v>
                </c:pt>
                <c:pt idx="55">
                  <c:v>0.18362143188290617</c:v>
                </c:pt>
                <c:pt idx="56">
                  <c:v>0.18648420341273864</c:v>
                </c:pt>
                <c:pt idx="57">
                  <c:v>0.18117511188104518</c:v>
                </c:pt>
                <c:pt idx="58">
                  <c:v>0.19146386921561317</c:v>
                </c:pt>
                <c:pt idx="59">
                  <c:v>0.19048030109457548</c:v>
                </c:pt>
                <c:pt idx="60">
                  <c:v>0.19382582445748134</c:v>
                </c:pt>
                <c:pt idx="61">
                  <c:v>0.1902548569041153</c:v>
                </c:pt>
                <c:pt idx="62">
                  <c:v>0.2036891381016416</c:v>
                </c:pt>
                <c:pt idx="63">
                  <c:v>0.20864302643992913</c:v>
                </c:pt>
                <c:pt idx="64">
                  <c:v>0.19630329195898544</c:v>
                </c:pt>
                <c:pt idx="65">
                  <c:v>0.19063234142521535</c:v>
                </c:pt>
                <c:pt idx="66">
                  <c:v>0.19000101822624987</c:v>
                </c:pt>
                <c:pt idx="67">
                  <c:v>0.17937626829007797</c:v>
                </c:pt>
                <c:pt idx="68">
                  <c:v>0.16788459713390907</c:v>
                </c:pt>
                <c:pt idx="69">
                  <c:v>0.1609119170984456</c:v>
                </c:pt>
                <c:pt idx="70">
                  <c:v>0.16178092986603626</c:v>
                </c:pt>
                <c:pt idx="71">
                  <c:v>0.16205719163465643</c:v>
                </c:pt>
                <c:pt idx="72">
                  <c:v>0.16154716676097325</c:v>
                </c:pt>
                <c:pt idx="73">
                  <c:v>0.16443455564588594</c:v>
                </c:pt>
                <c:pt idx="74">
                  <c:v>0.16447449293177627</c:v>
                </c:pt>
                <c:pt idx="75">
                  <c:v>0.17549175203193382</c:v>
                </c:pt>
                <c:pt idx="76">
                  <c:v>0.17818368922047853</c:v>
                </c:pt>
                <c:pt idx="77">
                  <c:v>0.17209963663173417</c:v>
                </c:pt>
                <c:pt idx="78">
                  <c:v>0.17405100481842756</c:v>
                </c:pt>
                <c:pt idx="79">
                  <c:v>0.1605390891252711</c:v>
                </c:pt>
                <c:pt idx="80">
                  <c:v>0.15557729941291584</c:v>
                </c:pt>
                <c:pt idx="81">
                  <c:v>0.1628547688809201</c:v>
                </c:pt>
                <c:pt idx="82">
                  <c:v>0.1626240974729242</c:v>
                </c:pt>
                <c:pt idx="83">
                  <c:v>0.16220834702596124</c:v>
                </c:pt>
                <c:pt idx="84">
                  <c:v>0.16348265992145378</c:v>
                </c:pt>
                <c:pt idx="85">
                  <c:v>0.16821068577754472</c:v>
                </c:pt>
                <c:pt idx="86">
                  <c:v>0.1764033081119127</c:v>
                </c:pt>
                <c:pt idx="87">
                  <c:v>0.19161401012679416</c:v>
                </c:pt>
                <c:pt idx="88">
                  <c:v>0.18565601991630912</c:v>
                </c:pt>
                <c:pt idx="89">
                  <c:v>0.18069021237303787</c:v>
                </c:pt>
                <c:pt idx="90">
                  <c:v>0.1697967889092956</c:v>
                </c:pt>
                <c:pt idx="91">
                  <c:v>0.16111781956184235</c:v>
                </c:pt>
                <c:pt idx="92">
                  <c:v>0.1722055773219636</c:v>
                </c:pt>
                <c:pt idx="93">
                  <c:v>0.16393442622950818</c:v>
                </c:pt>
                <c:pt idx="94">
                  <c:v>0.16772088353413656</c:v>
                </c:pt>
                <c:pt idx="95">
                  <c:v>0.1712412039936632</c:v>
                </c:pt>
                <c:pt idx="96">
                  <c:v>0.17387654450536477</c:v>
                </c:pt>
                <c:pt idx="97">
                  <c:v>0.17686965320577683</c:v>
                </c:pt>
                <c:pt idx="98">
                  <c:v>0.18162422985663867</c:v>
                </c:pt>
                <c:pt idx="99">
                  <c:v>0.18420596994251678</c:v>
                </c:pt>
                <c:pt idx="100">
                  <c:v>0.1880809529200156</c:v>
                </c:pt>
                <c:pt idx="101">
                  <c:v>0.1839502684374117</c:v>
                </c:pt>
                <c:pt idx="102">
                  <c:v>0.17164885702691735</c:v>
                </c:pt>
                <c:pt idx="103">
                  <c:v>0.17687576250508336</c:v>
                </c:pt>
                <c:pt idx="104">
                  <c:v>0.1747592827066340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0.5912</c:v>
                </c:pt>
                <c:pt idx="1">
                  <c:v>1237.7126</c:v>
                </c:pt>
                <c:pt idx="2">
                  <c:v>1244.7866</c:v>
                </c:pt>
                <c:pt idx="3">
                  <c:v>1234.0677</c:v>
                </c:pt>
                <c:pt idx="4">
                  <c:v>1258.56</c:v>
                </c:pt>
                <c:pt idx="5">
                  <c:v>1250.2569</c:v>
                </c:pt>
                <c:pt idx="6">
                  <c:v>1164.5687</c:v>
                </c:pt>
                <c:pt idx="7">
                  <c:v>1194.7737</c:v>
                </c:pt>
                <c:pt idx="8">
                  <c:v>1247.4773</c:v>
                </c:pt>
                <c:pt idx="9">
                  <c:v>1175.6943</c:v>
                </c:pt>
                <c:pt idx="10">
                  <c:v>1205.7759</c:v>
                </c:pt>
                <c:pt idx="11">
                  <c:v>1110.92</c:v>
                </c:pt>
                <c:pt idx="12">
                  <c:v>1150.6327</c:v>
                </c:pt>
                <c:pt idx="13">
                  <c:v>1180.9382</c:v>
                </c:pt>
                <c:pt idx="14">
                  <c:v>1191.5638</c:v>
                </c:pt>
                <c:pt idx="15">
                  <c:v>1193.0121</c:v>
                </c:pt>
                <c:pt idx="16">
                  <c:v>1244.6981</c:v>
                </c:pt>
                <c:pt idx="17">
                  <c:v>1191.8941</c:v>
                </c:pt>
                <c:pt idx="18">
                  <c:v>1219.1898</c:v>
                </c:pt>
                <c:pt idx="19">
                  <c:v>1317.9428</c:v>
                </c:pt>
                <c:pt idx="20">
                  <c:v>1290.4524</c:v>
                </c:pt>
                <c:pt idx="21">
                  <c:v>1220.3404</c:v>
                </c:pt>
                <c:pt idx="22">
                  <c:v>1242.508</c:v>
                </c:pt>
                <c:pt idx="23">
                  <c:v>1225.5446</c:v>
                </c:pt>
                <c:pt idx="24">
                  <c:v>1221.3668</c:v>
                </c:pt>
                <c:pt idx="25">
                  <c:v>1212.181</c:v>
                </c:pt>
                <c:pt idx="26">
                  <c:v>1224.1385</c:v>
                </c:pt>
                <c:pt idx="27">
                  <c:v>1236.0506</c:v>
                </c:pt>
                <c:pt idx="28">
                  <c:v>1270.3037</c:v>
                </c:pt>
                <c:pt idx="29">
                  <c:v>1273.6984</c:v>
                </c:pt>
                <c:pt idx="30">
                  <c:v>1266.8522</c:v>
                </c:pt>
                <c:pt idx="31">
                  <c:v>1252.2354</c:v>
                </c:pt>
                <c:pt idx="32">
                  <c:v>1271.4732</c:v>
                </c:pt>
                <c:pt idx="33">
                  <c:v>1267.4386</c:v>
                </c:pt>
                <c:pt idx="34">
                  <c:v>1286.4124</c:v>
                </c:pt>
                <c:pt idx="35">
                  <c:v>1312.7891</c:v>
                </c:pt>
                <c:pt idx="36">
                  <c:v>1334.6724</c:v>
                </c:pt>
                <c:pt idx="37">
                  <c:v>1326.2307</c:v>
                </c:pt>
                <c:pt idx="38">
                  <c:v>1337.6582</c:v>
                </c:pt>
                <c:pt idx="39">
                  <c:v>1300.5035</c:v>
                </c:pt>
                <c:pt idx="40">
                  <c:v>1319.2248</c:v>
                </c:pt>
                <c:pt idx="41">
                  <c:v>1350.2781</c:v>
                </c:pt>
                <c:pt idx="42">
                  <c:v>1337.7756</c:v>
                </c:pt>
                <c:pt idx="43">
                  <c:v>1345.0308</c:v>
                </c:pt>
                <c:pt idx="44">
                  <c:v>1271.2854</c:v>
                </c:pt>
                <c:pt idx="45">
                  <c:v>1232.453</c:v>
                </c:pt>
                <c:pt idx="46">
                  <c:v>1224.3599</c:v>
                </c:pt>
                <c:pt idx="47">
                  <c:v>1197.6553</c:v>
                </c:pt>
                <c:pt idx="48">
                  <c:v>1178.8108</c:v>
                </c:pt>
                <c:pt idx="49">
                  <c:v>1186.8418</c:v>
                </c:pt>
                <c:pt idx="50">
                  <c:v>1142.2921</c:v>
                </c:pt>
                <c:pt idx="51">
                  <c:v>1126.4572</c:v>
                </c:pt>
              </c:numCache>
            </c:numRef>
          </c:xVal>
          <c:yVal>
            <c:numRef>
              <c:f>Sheet1!$B$109:$B$160</c:f>
              <c:numCache>
                <c:formatCode>General</c:formatCode>
                <c:ptCount val="52"/>
                <c:pt idx="0">
                  <c:v>0.18217699495220707</c:v>
                </c:pt>
                <c:pt idx="1">
                  <c:v>0.18062663482315477</c:v>
                </c:pt>
                <c:pt idx="2">
                  <c:v>0.1946429934118485</c:v>
                </c:pt>
                <c:pt idx="3">
                  <c:v>0.20574750915657097</c:v>
                </c:pt>
                <c:pt idx="4">
                  <c:v>0.1908303671040748</c:v>
                </c:pt>
                <c:pt idx="5">
                  <c:v>0.18936664264552808</c:v>
                </c:pt>
                <c:pt idx="6">
                  <c:v>0.1971470831557572</c:v>
                </c:pt>
                <c:pt idx="7">
                  <c:v>0.19326490680031583</c:v>
                </c:pt>
                <c:pt idx="8">
                  <c:v>0.18219546848126822</c:v>
                </c:pt>
                <c:pt idx="9">
                  <c:v>0.191000823723229</c:v>
                </c:pt>
                <c:pt idx="10">
                  <c:v>0.19159109645507008</c:v>
                </c:pt>
                <c:pt idx="11">
                  <c:v>0.19539322794643518</c:v>
                </c:pt>
                <c:pt idx="12">
                  <c:v>0.19344427917941234</c:v>
                </c:pt>
                <c:pt idx="13">
                  <c:v>0.19342082137207803</c:v>
                </c:pt>
                <c:pt idx="14">
                  <c:v>0.19140109978454514</c:v>
                </c:pt>
                <c:pt idx="15">
                  <c:v>0.18997361477572558</c:v>
                </c:pt>
                <c:pt idx="16">
                  <c:v>0.1796423767703141</c:v>
                </c:pt>
                <c:pt idx="17">
                  <c:v>0.1837104818432876</c:v>
                </c:pt>
                <c:pt idx="18">
                  <c:v>0.1872991967871486</c:v>
                </c:pt>
                <c:pt idx="19">
                  <c:v>0.18302782171768867</c:v>
                </c:pt>
                <c:pt idx="20">
                  <c:v>0.1756687242798354</c:v>
                </c:pt>
                <c:pt idx="21">
                  <c:v>0.18492764517947755</c:v>
                </c:pt>
                <c:pt idx="22">
                  <c:v>0.1825450939068989</c:v>
                </c:pt>
                <c:pt idx="23">
                  <c:v>0.19000063207129764</c:v>
                </c:pt>
                <c:pt idx="24">
                  <c:v>0.1904928550597842</c:v>
                </c:pt>
                <c:pt idx="25">
                  <c:v>0.18846625766871167</c:v>
                </c:pt>
                <c:pt idx="26">
                  <c:v>0.18192372438613805</c:v>
                </c:pt>
                <c:pt idx="27">
                  <c:v>0.18187585915195092</c:v>
                </c:pt>
                <c:pt idx="28">
                  <c:v>0.17280129517642018</c:v>
                </c:pt>
                <c:pt idx="29">
                  <c:v>0.17543758967001435</c:v>
                </c:pt>
                <c:pt idx="30">
                  <c:v>0.18</c:v>
                </c:pt>
                <c:pt idx="31">
                  <c:v>0.1725672277036177</c:v>
                </c:pt>
                <c:pt idx="32">
                  <c:v>0.16785391225689733</c:v>
                </c:pt>
                <c:pt idx="33">
                  <c:v>0.1851078966089637</c:v>
                </c:pt>
                <c:pt idx="34">
                  <c:v>0.1982967012533006</c:v>
                </c:pt>
                <c:pt idx="35">
                  <c:v>0.19516886602549766</c:v>
                </c:pt>
                <c:pt idx="36">
                  <c:v>0.18259230822921757</c:v>
                </c:pt>
                <c:pt idx="37">
                  <c:v>0.18523615889896777</c:v>
                </c:pt>
                <c:pt idx="38">
                  <c:v>0.18279118572927597</c:v>
                </c:pt>
                <c:pt idx="39">
                  <c:v>0.1885899480425948</c:v>
                </c:pt>
                <c:pt idx="40">
                  <c:v>0.1790814549435239</c:v>
                </c:pt>
                <c:pt idx="41">
                  <c:v>0.18204488778054864</c:v>
                </c:pt>
                <c:pt idx="42">
                  <c:v>0.18224150703778177</c:v>
                </c:pt>
                <c:pt idx="43">
                  <c:v>0.175</c:v>
                </c:pt>
                <c:pt idx="44">
                  <c:v>0.17232425585813807</c:v>
                </c:pt>
                <c:pt idx="45">
                  <c:v>0.18626747080222095</c:v>
                </c:pt>
                <c:pt idx="46">
                  <c:v>0.20043010752688173</c:v>
                </c:pt>
                <c:pt idx="47">
                  <c:v>0.2023057697992529</c:v>
                </c:pt>
                <c:pt idx="48">
                  <c:v>0.19867519928146402</c:v>
                </c:pt>
                <c:pt idx="49">
                  <c:v>0.20408204877253078</c:v>
                </c:pt>
                <c:pt idx="50">
                  <c:v>0.2109689213893967</c:v>
                </c:pt>
                <c:pt idx="51">
                  <c:v>0.2034182384740681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20.5789737789129</c:v>
                </c:pt>
              </c:numCache>
            </c:numRef>
          </c:xVal>
          <c:yVal>
            <c:numRef>
              <c:f>Sheet1!$B$163:$B$164</c:f>
              <c:numCache>
                <c:formatCode>General</c:formatCode>
                <c:ptCount val="2"/>
                <c:pt idx="0">
                  <c:v>0.23665655386773585</c:v>
                </c:pt>
                <c:pt idx="1">
                  <c:v>0.2366565538677358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20.5789737789129</c:v>
                </c:pt>
                <c:pt idx="1">
                  <c:v>720.5789737789129</c:v>
                </c:pt>
              </c:numCache>
            </c:numRef>
          </c:xVal>
          <c:yVal>
            <c:numRef>
              <c:f>Sheet1!$B$167:$B$168</c:f>
              <c:numCache>
                <c:formatCode>General</c:formatCode>
                <c:ptCount val="2"/>
                <c:pt idx="0">
                  <c:v>0.236656553867735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63.9480792664249</c:v>
                </c:pt>
              </c:numCache>
            </c:numRef>
          </c:xVal>
          <c:yVal>
            <c:numRef>
              <c:f>Sheet1!$B$171:$B$172</c:f>
              <c:numCache>
                <c:formatCode>General</c:formatCode>
                <c:ptCount val="2"/>
                <c:pt idx="0">
                  <c:v>0.20428610197936492</c:v>
                </c:pt>
                <c:pt idx="1">
                  <c:v>0.2042861019793649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63.9480792664249</c:v>
                </c:pt>
                <c:pt idx="1">
                  <c:v>1063.9480792664249</c:v>
                </c:pt>
              </c:numCache>
            </c:numRef>
          </c:xVal>
          <c:yVal>
            <c:numRef>
              <c:f>Sheet1!$B$175:$B$176</c:f>
              <c:numCache>
                <c:formatCode>General</c:formatCode>
                <c:ptCount val="2"/>
                <c:pt idx="0">
                  <c:v>0.2042861019793649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2.897587417768</c:v>
                </c:pt>
              </c:numCache>
            </c:numRef>
          </c:xVal>
          <c:yVal>
            <c:numRef>
              <c:f>Sheet1!$B$179:$B$180</c:f>
              <c:numCache>
                <c:formatCode>General</c:formatCode>
                <c:ptCount val="2"/>
                <c:pt idx="0">
                  <c:v>0.19118690843910788</c:v>
                </c:pt>
                <c:pt idx="1">
                  <c:v>0.1911869084391078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2.897587417768</c:v>
                </c:pt>
                <c:pt idx="1">
                  <c:v>1202.897587417768</c:v>
                </c:pt>
              </c:numCache>
            </c:numRef>
          </c:xVal>
          <c:yVal>
            <c:numRef>
              <c:f>Sheet1!$B$183:$B$184</c:f>
              <c:numCache>
                <c:formatCode>General</c:formatCode>
                <c:ptCount val="2"/>
                <c:pt idx="0">
                  <c:v>0.191186908439107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0.5912</c:v>
                </c:pt>
                <c:pt idx="1">
                  <c:v>1237.7126</c:v>
                </c:pt>
                <c:pt idx="2">
                  <c:v>1244.7866</c:v>
                </c:pt>
                <c:pt idx="3">
                  <c:v>1234.0677</c:v>
                </c:pt>
                <c:pt idx="4">
                  <c:v>1258.56</c:v>
                </c:pt>
                <c:pt idx="5">
                  <c:v>1250.2569</c:v>
                </c:pt>
                <c:pt idx="6">
                  <c:v>1164.5687</c:v>
                </c:pt>
                <c:pt idx="7">
                  <c:v>1194.7737</c:v>
                </c:pt>
                <c:pt idx="8">
                  <c:v>1247.4773</c:v>
                </c:pt>
                <c:pt idx="9">
                  <c:v>1175.6943</c:v>
                </c:pt>
                <c:pt idx="10">
                  <c:v>1205.7759</c:v>
                </c:pt>
                <c:pt idx="11">
                  <c:v>1110.92</c:v>
                </c:pt>
                <c:pt idx="12">
                  <c:v>1150.6327</c:v>
                </c:pt>
                <c:pt idx="13">
                  <c:v>1180.9382</c:v>
                </c:pt>
                <c:pt idx="14">
                  <c:v>1191.5638</c:v>
                </c:pt>
                <c:pt idx="15">
                  <c:v>1193.0121</c:v>
                </c:pt>
                <c:pt idx="16">
                  <c:v>1244.6981</c:v>
                </c:pt>
                <c:pt idx="17">
                  <c:v>1191.8941</c:v>
                </c:pt>
                <c:pt idx="18">
                  <c:v>1219.1898</c:v>
                </c:pt>
                <c:pt idx="19">
                  <c:v>1317.9428</c:v>
                </c:pt>
                <c:pt idx="20">
                  <c:v>1290.4524</c:v>
                </c:pt>
                <c:pt idx="21">
                  <c:v>1220.3404</c:v>
                </c:pt>
                <c:pt idx="22">
                  <c:v>1242.508</c:v>
                </c:pt>
                <c:pt idx="23">
                  <c:v>1225.5446</c:v>
                </c:pt>
                <c:pt idx="24">
                  <c:v>1221.3668</c:v>
                </c:pt>
                <c:pt idx="25">
                  <c:v>1212.181</c:v>
                </c:pt>
                <c:pt idx="26">
                  <c:v>1224.1385</c:v>
                </c:pt>
                <c:pt idx="27">
                  <c:v>1236.0506</c:v>
                </c:pt>
                <c:pt idx="28">
                  <c:v>1270.3037</c:v>
                </c:pt>
                <c:pt idx="29">
                  <c:v>1273.6984</c:v>
                </c:pt>
                <c:pt idx="30">
                  <c:v>1266.8522</c:v>
                </c:pt>
                <c:pt idx="31">
                  <c:v>1252.2354</c:v>
                </c:pt>
                <c:pt idx="32">
                  <c:v>1271.4732</c:v>
                </c:pt>
                <c:pt idx="33">
                  <c:v>1267.4386</c:v>
                </c:pt>
                <c:pt idx="34">
                  <c:v>1286.4124</c:v>
                </c:pt>
                <c:pt idx="35">
                  <c:v>1312.7891</c:v>
                </c:pt>
                <c:pt idx="36">
                  <c:v>1334.6724</c:v>
                </c:pt>
                <c:pt idx="37">
                  <c:v>1326.2307</c:v>
                </c:pt>
                <c:pt idx="38">
                  <c:v>1337.6582</c:v>
                </c:pt>
                <c:pt idx="39">
                  <c:v>1300.5035</c:v>
                </c:pt>
                <c:pt idx="40">
                  <c:v>1319.2248</c:v>
                </c:pt>
                <c:pt idx="41">
                  <c:v>1350.2781</c:v>
                </c:pt>
                <c:pt idx="42">
                  <c:v>1337.7756</c:v>
                </c:pt>
                <c:pt idx="43">
                  <c:v>1345.0308</c:v>
                </c:pt>
                <c:pt idx="44">
                  <c:v>1271.2854</c:v>
                </c:pt>
                <c:pt idx="45">
                  <c:v>1232.453</c:v>
                </c:pt>
                <c:pt idx="46">
                  <c:v>1224.3599</c:v>
                </c:pt>
                <c:pt idx="47">
                  <c:v>1197.6553</c:v>
                </c:pt>
                <c:pt idx="48">
                  <c:v>1178.8108</c:v>
                </c:pt>
                <c:pt idx="49">
                  <c:v>1186.8418</c:v>
                </c:pt>
                <c:pt idx="50">
                  <c:v>1142.2921</c:v>
                </c:pt>
                <c:pt idx="51">
                  <c:v>1126.4572</c:v>
                </c:pt>
                <c:pt idx="52">
                  <c:v>1063.9480792664249</c:v>
                </c:pt>
                <c:pt idx="53">
                  <c:v>720.5789737789129</c:v>
                </c:pt>
                <c:pt idx="54">
                  <c:v>1202.897587417768</c:v>
                </c:pt>
              </c:numCache>
            </c:numRef>
          </c:xVal>
          <c:yVal>
            <c:numRef>
              <c:f>Sheet1!$B$187:$B$241</c:f>
              <c:numCache>
                <c:formatCode>General</c:formatCode>
                <c:ptCount val="55"/>
                <c:pt idx="0">
                  <c:v>0.1885761471930268</c:v>
                </c:pt>
                <c:pt idx="1">
                  <c:v>0.1879047911147024</c:v>
                </c:pt>
                <c:pt idx="2">
                  <c:v>0.18723790357881528</c:v>
                </c:pt>
                <c:pt idx="3">
                  <c:v>0.18824840694443878</c:v>
                </c:pt>
                <c:pt idx="4">
                  <c:v>0.18593944319052183</c:v>
                </c:pt>
                <c:pt idx="5">
                  <c:v>0.1867222017287215</c:v>
                </c:pt>
                <c:pt idx="6">
                  <c:v>0.1948002894517359</c:v>
                </c:pt>
                <c:pt idx="7">
                  <c:v>0.19195277206108408</c:v>
                </c:pt>
                <c:pt idx="8">
                  <c:v>0.18698424309071637</c:v>
                </c:pt>
                <c:pt idx="9">
                  <c:v>0.19375144523781648</c:v>
                </c:pt>
                <c:pt idx="10">
                  <c:v>0.19091556114118907</c:v>
                </c:pt>
                <c:pt idx="11">
                  <c:v>0.19985791587901156</c:v>
                </c:pt>
                <c:pt idx="12">
                  <c:v>0.1961140786375039</c:v>
                </c:pt>
                <c:pt idx="13">
                  <c:v>0.1932570868056086</c:v>
                </c:pt>
                <c:pt idx="14">
                  <c:v>0.1922553791152888</c:v>
                </c:pt>
                <c:pt idx="15">
                  <c:v>0.1921188434610302</c:v>
                </c:pt>
                <c:pt idx="16">
                  <c:v>0.18724624674349238</c:v>
                </c:pt>
                <c:pt idx="17">
                  <c:v>0.19222424072779892</c:v>
                </c:pt>
                <c:pt idx="18">
                  <c:v>0.1896509919133637</c:v>
                </c:pt>
                <c:pt idx="19">
                  <c:v>0.18034124568330123</c:v>
                </c:pt>
                <c:pt idx="20">
                  <c:v>0.1829328494600261</c:v>
                </c:pt>
                <c:pt idx="21">
                  <c:v>0.18954252134525634</c:v>
                </c:pt>
                <c:pt idx="22">
                  <c:v>0.18745271414416337</c:v>
                </c:pt>
                <c:pt idx="23">
                  <c:v>0.18905190555302226</c:v>
                </c:pt>
                <c:pt idx="24">
                  <c:v>0.18944575948961107</c:v>
                </c:pt>
                <c:pt idx="25">
                  <c:v>0.1903117328465735</c:v>
                </c:pt>
                <c:pt idx="26">
                  <c:v>0.18918446288468904</c:v>
                </c:pt>
                <c:pt idx="27">
                  <c:v>0.1880614729191475</c:v>
                </c:pt>
                <c:pt idx="28">
                  <c:v>0.1848323288061286</c:v>
                </c:pt>
                <c:pt idx="29">
                  <c:v>0.18451230009280148</c:v>
                </c:pt>
                <c:pt idx="30">
                  <c:v>0.1851577122285366</c:v>
                </c:pt>
                <c:pt idx="31">
                  <c:v>0.18653568250483787</c:v>
                </c:pt>
                <c:pt idx="32">
                  <c:v>0.18472207647742914</c:v>
                </c:pt>
                <c:pt idx="33">
                  <c:v>0.18510243051365904</c:v>
                </c:pt>
                <c:pt idx="34">
                  <c:v>0.18331371257071088</c:v>
                </c:pt>
                <c:pt idx="35">
                  <c:v>0.18082710068665175</c:v>
                </c:pt>
                <c:pt idx="36">
                  <c:v>0.17876409531287754</c:v>
                </c:pt>
                <c:pt idx="37">
                  <c:v>0.179559920095419</c:v>
                </c:pt>
                <c:pt idx="38">
                  <c:v>0.17848261484855016</c:v>
                </c:pt>
                <c:pt idx="39">
                  <c:v>0.18198530163532223</c:v>
                </c:pt>
                <c:pt idx="40">
                  <c:v>0.18022038763679188</c:v>
                </c:pt>
                <c:pt idx="41">
                  <c:v>0.177292898420201</c:v>
                </c:pt>
                <c:pt idx="42">
                  <c:v>0.17847154719280897</c:v>
                </c:pt>
                <c:pt idx="43">
                  <c:v>0.17778757738076933</c:v>
                </c:pt>
                <c:pt idx="44">
                  <c:v>0.18473978095569316</c:v>
                </c:pt>
                <c:pt idx="45">
                  <c:v>0.18840062963375132</c:v>
                </c:pt>
                <c:pt idx="46">
                  <c:v>0.18916359083203915</c:v>
                </c:pt>
                <c:pt idx="47">
                  <c:v>0.19168111484827488</c:v>
                </c:pt>
                <c:pt idx="48">
                  <c:v>0.19345764328622017</c:v>
                </c:pt>
                <c:pt idx="49">
                  <c:v>0.1927005364441634</c:v>
                </c:pt>
                <c:pt idx="50">
                  <c:v>0.19690037241497357</c:v>
                </c:pt>
                <c:pt idx="51">
                  <c:v>0.19839317669006817</c:v>
                </c:pt>
                <c:pt idx="52">
                  <c:v>0.20428610197936492</c:v>
                </c:pt>
                <c:pt idx="53">
                  <c:v>0.23665655386773585</c:v>
                </c:pt>
                <c:pt idx="54">
                  <c:v>0.1911869084391078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0.0"/>
          <c:min val="57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757565949182714"/>
          <c:min val="0.1187518226888305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958293413700842</c:v>
                </c:pt>
                <c:pt idx="1">
                  <c:v>0.10963181992833115</c:v>
                </c:pt>
                <c:pt idx="2">
                  <c:v>0.11291094067373882</c:v>
                </c:pt>
                <c:pt idx="3">
                  <c:v>0.10843332989764773</c:v>
                </c:pt>
                <c:pt idx="4">
                  <c:v>0.10442693625015119</c:v>
                </c:pt>
                <c:pt idx="5">
                  <c:v>0.10331078297876325</c:v>
                </c:pt>
                <c:pt idx="6">
                  <c:v>0.10540106599091956</c:v>
                </c:pt>
                <c:pt idx="7">
                  <c:v>0.10709569321371461</c:v>
                </c:pt>
                <c:pt idx="8">
                  <c:v>0.10263546734799207</c:v>
                </c:pt>
                <c:pt idx="9">
                  <c:v>0.10296478665084328</c:v>
                </c:pt>
                <c:pt idx="10">
                  <c:v>0.10181433954965097</c:v>
                </c:pt>
                <c:pt idx="11">
                  <c:v>0.10534710104371514</c:v>
                </c:pt>
                <c:pt idx="12">
                  <c:v>0.10501033669823208</c:v>
                </c:pt>
                <c:pt idx="13">
                  <c:v>0.1023190185666669</c:v>
                </c:pt>
                <c:pt idx="14">
                  <c:v>0.10391301676262647</c:v>
                </c:pt>
                <c:pt idx="15">
                  <c:v>0.10321656871495617</c:v>
                </c:pt>
                <c:pt idx="16">
                  <c:v>0.09992831444842781</c:v>
                </c:pt>
                <c:pt idx="17">
                  <c:v>0.09413772713123984</c:v>
                </c:pt>
                <c:pt idx="18">
                  <c:v>0.10161799106383756</c:v>
                </c:pt>
                <c:pt idx="19">
                  <c:v>0.10013898363940692</c:v>
                </c:pt>
                <c:pt idx="20">
                  <c:v>0.10309241533584208</c:v>
                </c:pt>
                <c:pt idx="21">
                  <c:v>0.10311478008841556</c:v>
                </c:pt>
                <c:pt idx="22">
                  <c:v>0.09623476328174393</c:v>
                </c:pt>
                <c:pt idx="23">
                  <c:v>0.09671565574734392</c:v>
                </c:pt>
                <c:pt idx="24">
                  <c:v>0.09376418699810433</c:v>
                </c:pt>
                <c:pt idx="25">
                  <c:v>0.0969198073121482</c:v>
                </c:pt>
                <c:pt idx="26">
                  <c:v>0.10006056342902882</c:v>
                </c:pt>
                <c:pt idx="27">
                  <c:v>0.09944296143916603</c:v>
                </c:pt>
                <c:pt idx="28">
                  <c:v>0.10045753176542041</c:v>
                </c:pt>
                <c:pt idx="29">
                  <c:v>0.1022003173742061</c:v>
                </c:pt>
                <c:pt idx="30">
                  <c:v>0.10011491930972571</c:v>
                </c:pt>
                <c:pt idx="31">
                  <c:v>0.09728290245305503</c:v>
                </c:pt>
                <c:pt idx="32">
                  <c:v>0.09476262174499404</c:v>
                </c:pt>
                <c:pt idx="33">
                  <c:v>0.0952421639551896</c:v>
                </c:pt>
                <c:pt idx="34">
                  <c:v>0.09706103111404436</c:v>
                </c:pt>
                <c:pt idx="35">
                  <c:v>0.10279879643779154</c:v>
                </c:pt>
                <c:pt idx="36">
                  <c:v>0.10401733200477183</c:v>
                </c:pt>
                <c:pt idx="37">
                  <c:v>0.10497592009925452</c:v>
                </c:pt>
                <c:pt idx="38">
                  <c:v>0.11021436750030283</c:v>
                </c:pt>
                <c:pt idx="39">
                  <c:v>0.11595203568418617</c:v>
                </c:pt>
                <c:pt idx="40">
                  <c:v>0.11851542255508538</c:v>
                </c:pt>
                <c:pt idx="41">
                  <c:v>0.11959015067730923</c:v>
                </c:pt>
                <c:pt idx="42">
                  <c:v>0.11891809167825451</c:v>
                </c:pt>
                <c:pt idx="43">
                  <c:v>0.11914162829590887</c:v>
                </c:pt>
                <c:pt idx="44">
                  <c:v>0.12139906455227303</c:v>
                </c:pt>
                <c:pt idx="45">
                  <c:v>0.12058988258348644</c:v>
                </c:pt>
                <c:pt idx="46">
                  <c:v>0.11783767838378645</c:v>
                </c:pt>
                <c:pt idx="47">
                  <c:v>0.11364165231712671</c:v>
                </c:pt>
                <c:pt idx="48">
                  <c:v>0.12042139730481803</c:v>
                </c:pt>
                <c:pt idx="49">
                  <c:v>0.1275120713295836</c:v>
                </c:pt>
                <c:pt idx="50">
                  <c:v>0.1126711514146942</c:v>
                </c:pt>
                <c:pt idx="51">
                  <c:v>0.11127832851111671</c:v>
                </c:pt>
                <c:pt idx="52">
                  <c:v>0.11321508123501361</c:v>
                </c:pt>
                <c:pt idx="53">
                  <c:v>0.1280582984927212</c:v>
                </c:pt>
                <c:pt idx="54">
                  <c:v>0.1220404737557968</c:v>
                </c:pt>
                <c:pt idx="55">
                  <c:v>0.11921902242135071</c:v>
                </c:pt>
                <c:pt idx="56">
                  <c:v>0.12020001195849571</c:v>
                </c:pt>
                <c:pt idx="57">
                  <c:v>0.11735004232101558</c:v>
                </c:pt>
                <c:pt idx="58">
                  <c:v>0.11694040821215429</c:v>
                </c:pt>
                <c:pt idx="59">
                  <c:v>0.11815470798418869</c:v>
                </c:pt>
                <c:pt idx="60">
                  <c:v>0.11759553118434632</c:v>
                </c:pt>
                <c:pt idx="61">
                  <c:v>0.11986643941229498</c:v>
                </c:pt>
                <c:pt idx="62">
                  <c:v>0.10874573706138066</c:v>
                </c:pt>
                <c:pt idx="63">
                  <c:v>0.11314245047313201</c:v>
                </c:pt>
                <c:pt idx="64">
                  <c:v>0.11908265750120922</c:v>
                </c:pt>
                <c:pt idx="65">
                  <c:v>0.11383437880123252</c:v>
                </c:pt>
                <c:pt idx="66">
                  <c:v>0.11766827312586979</c:v>
                </c:pt>
                <c:pt idx="67">
                  <c:v>0.11911284964854117</c:v>
                </c:pt>
                <c:pt idx="68">
                  <c:v>0.11921240692965623</c:v>
                </c:pt>
                <c:pt idx="69">
                  <c:v>0.11593599097720907</c:v>
                </c:pt>
                <c:pt idx="70">
                  <c:v>0.11202039154272504</c:v>
                </c:pt>
                <c:pt idx="71">
                  <c:v>0.11642263541528959</c:v>
                </c:pt>
                <c:pt idx="72">
                  <c:v>0.12336235708592026</c:v>
                </c:pt>
                <c:pt idx="73">
                  <c:v>0.12071732176401465</c:v>
                </c:pt>
                <c:pt idx="74">
                  <c:v>0.11851900467869796</c:v>
                </c:pt>
                <c:pt idx="75">
                  <c:v>0.11218246400674552</c:v>
                </c:pt>
                <c:pt idx="76">
                  <c:v>0.11053316281813846</c:v>
                </c:pt>
                <c:pt idx="77">
                  <c:v>0.1097427495718268</c:v>
                </c:pt>
                <c:pt idx="78">
                  <c:v>0.11388912486661215</c:v>
                </c:pt>
                <c:pt idx="79">
                  <c:v>0.1100654981077442</c:v>
                </c:pt>
                <c:pt idx="80">
                  <c:v>0.11055043917561677</c:v>
                </c:pt>
                <c:pt idx="81">
                  <c:v>0.11443254714575389</c:v>
                </c:pt>
                <c:pt idx="82">
                  <c:v>0.11512525493579413</c:v>
                </c:pt>
                <c:pt idx="83">
                  <c:v>0.10721641965831341</c:v>
                </c:pt>
                <c:pt idx="84">
                  <c:v>0.109365188850154</c:v>
                </c:pt>
                <c:pt idx="85">
                  <c:v>0.10499424692615919</c:v>
                </c:pt>
                <c:pt idx="86">
                  <c:v>0.10974464148600642</c:v>
                </c:pt>
                <c:pt idx="87">
                  <c:v>0.10693241349048244</c:v>
                </c:pt>
                <c:pt idx="88">
                  <c:v>0.11104385110378542</c:v>
                </c:pt>
                <c:pt idx="89">
                  <c:v>0.1079474649429641</c:v>
                </c:pt>
                <c:pt idx="90">
                  <c:v>0.11370259828370201</c:v>
                </c:pt>
                <c:pt idx="91">
                  <c:v>0.11872398410367606</c:v>
                </c:pt>
                <c:pt idx="92">
                  <c:v>0.11306136118632286</c:v>
                </c:pt>
                <c:pt idx="93">
                  <c:v>0.11547082964596138</c:v>
                </c:pt>
                <c:pt idx="94">
                  <c:v>0.1127192488968882</c:v>
                </c:pt>
                <c:pt idx="95">
                  <c:v>0.11006709936037215</c:v>
                </c:pt>
                <c:pt idx="96">
                  <c:v>0.1109709626790806</c:v>
                </c:pt>
                <c:pt idx="97">
                  <c:v>0.10999225919900449</c:v>
                </c:pt>
                <c:pt idx="98">
                  <c:v>0.11209804807455911</c:v>
                </c:pt>
                <c:pt idx="99">
                  <c:v>0.10963008901964096</c:v>
                </c:pt>
                <c:pt idx="100">
                  <c:v>0.11233512187068409</c:v>
                </c:pt>
                <c:pt idx="101">
                  <c:v>0.11401258010728112</c:v>
                </c:pt>
                <c:pt idx="102">
                  <c:v>0.11176698484461607</c:v>
                </c:pt>
                <c:pt idx="103">
                  <c:v>0.10995434375614935</c:v>
                </c:pt>
                <c:pt idx="104">
                  <c:v>0.11170731710537689</c:v>
                </c:pt>
              </c:numCache>
            </c:numRef>
          </c:xVal>
          <c:yVal>
            <c:numRef>
              <c:f>Sheet1!$B$2:$B$106</c:f>
              <c:numCache>
                <c:formatCode>General</c:formatCode>
                <c:ptCount val="105"/>
                <c:pt idx="0">
                  <c:v>0.22226506555029193</c:v>
                </c:pt>
                <c:pt idx="1">
                  <c:v>0.21748878923766815</c:v>
                </c:pt>
                <c:pt idx="2">
                  <c:v>0.21873943899966206</c:v>
                </c:pt>
                <c:pt idx="3">
                  <c:v>0.21880877742946708</c:v>
                </c:pt>
                <c:pt idx="4">
                  <c:v>0.23012847663419456</c:v>
                </c:pt>
                <c:pt idx="5">
                  <c:v>0.23601854534917416</c:v>
                </c:pt>
                <c:pt idx="6">
                  <c:v>0.2631891967534285</c:v>
                </c:pt>
                <c:pt idx="7">
                  <c:v>0.264646382909856</c:v>
                </c:pt>
                <c:pt idx="8">
                  <c:v>0.2586243119458801</c:v>
                </c:pt>
                <c:pt idx="9">
                  <c:v>0.24723282141843525</c:v>
                </c:pt>
                <c:pt idx="10">
                  <c:v>0.240457548323954</c:v>
                </c:pt>
                <c:pt idx="11">
                  <c:v>0.21958603645350633</c:v>
                </c:pt>
                <c:pt idx="12">
                  <c:v>0.20595766473199045</c:v>
                </c:pt>
                <c:pt idx="13">
                  <c:v>0.19534355479841</c:v>
                </c:pt>
                <c:pt idx="14">
                  <c:v>0.1779950952193527</c:v>
                </c:pt>
                <c:pt idx="15">
                  <c:v>0.168645487930973</c:v>
                </c:pt>
                <c:pt idx="16">
                  <c:v>0.16324619268670088</c:v>
                </c:pt>
                <c:pt idx="17">
                  <c:v>0.15663621708758732</c:v>
                </c:pt>
                <c:pt idx="18">
                  <c:v>0.1496506308751822</c:v>
                </c:pt>
                <c:pt idx="19">
                  <c:v>0.1484397783610382</c:v>
                </c:pt>
                <c:pt idx="20">
                  <c:v>0.15575458594760286</c:v>
                </c:pt>
                <c:pt idx="21">
                  <c:v>0.16326167003207032</c:v>
                </c:pt>
                <c:pt idx="22">
                  <c:v>0.17795461243737107</c:v>
                </c:pt>
                <c:pt idx="23">
                  <c:v>0.1898969839890778</c:v>
                </c:pt>
                <c:pt idx="24">
                  <c:v>0.19180421172453044</c:v>
                </c:pt>
                <c:pt idx="25">
                  <c:v>0.19442463533225285</c:v>
                </c:pt>
                <c:pt idx="26">
                  <c:v>0.20790259591086607</c:v>
                </c:pt>
                <c:pt idx="27">
                  <c:v>0.2096837172979305</c:v>
                </c:pt>
                <c:pt idx="28">
                  <c:v>0.21572077185017027</c:v>
                </c:pt>
                <c:pt idx="29">
                  <c:v>0.20905013062552374</c:v>
                </c:pt>
                <c:pt idx="30">
                  <c:v>0.21441727532550015</c:v>
                </c:pt>
                <c:pt idx="31">
                  <c:v>0.21806815395930376</c:v>
                </c:pt>
                <c:pt idx="32">
                  <c:v>0.22538531278331822</c:v>
                </c:pt>
                <c:pt idx="33">
                  <c:v>0.22100081250298714</c:v>
                </c:pt>
                <c:pt idx="34">
                  <c:v>0.21928327645051193</c:v>
                </c:pt>
                <c:pt idx="35">
                  <c:v>0.23582775119617225</c:v>
                </c:pt>
                <c:pt idx="36">
                  <c:v>0.20781902445739459</c:v>
                </c:pt>
                <c:pt idx="37">
                  <c:v>0.20361056699666472</c:v>
                </c:pt>
                <c:pt idx="38">
                  <c:v>0.1926458832933653</c:v>
                </c:pt>
                <c:pt idx="39">
                  <c:v>0.18791795448159596</c:v>
                </c:pt>
                <c:pt idx="40">
                  <c:v>0.18927819961577166</c:v>
                </c:pt>
                <c:pt idx="41">
                  <c:v>0.18410232983097305</c:v>
                </c:pt>
                <c:pt idx="42">
                  <c:v>0.1844411662617147</c:v>
                </c:pt>
                <c:pt idx="43">
                  <c:v>0.17869283065512978</c:v>
                </c:pt>
                <c:pt idx="44">
                  <c:v>0.1801480101433525</c:v>
                </c:pt>
                <c:pt idx="45">
                  <c:v>0.19204877130213727</c:v>
                </c:pt>
                <c:pt idx="46">
                  <c:v>0.19389858458155834</c:v>
                </c:pt>
                <c:pt idx="47">
                  <c:v>0.19004100761570006</c:v>
                </c:pt>
                <c:pt idx="48">
                  <c:v>0.187392393842797</c:v>
                </c:pt>
                <c:pt idx="49">
                  <c:v>0.20137562094000763</c:v>
                </c:pt>
                <c:pt idx="50">
                  <c:v>0.19135440180586907</c:v>
                </c:pt>
                <c:pt idx="51">
                  <c:v>0.1846539978486913</c:v>
                </c:pt>
                <c:pt idx="52">
                  <c:v>0.18815193402253455</c:v>
                </c:pt>
                <c:pt idx="53">
                  <c:v>0.1812184824674563</c:v>
                </c:pt>
                <c:pt idx="54">
                  <c:v>0.1860592401802962</c:v>
                </c:pt>
                <c:pt idx="55">
                  <c:v>0.18362143188290617</c:v>
                </c:pt>
                <c:pt idx="56">
                  <c:v>0.18648420341273864</c:v>
                </c:pt>
                <c:pt idx="57">
                  <c:v>0.18117511188104518</c:v>
                </c:pt>
                <c:pt idx="58">
                  <c:v>0.19146386921561317</c:v>
                </c:pt>
                <c:pt idx="59">
                  <c:v>0.19048030109457548</c:v>
                </c:pt>
                <c:pt idx="60">
                  <c:v>0.19382582445748134</c:v>
                </c:pt>
                <c:pt idx="61">
                  <c:v>0.1902548569041153</c:v>
                </c:pt>
                <c:pt idx="62">
                  <c:v>0.2036891381016416</c:v>
                </c:pt>
                <c:pt idx="63">
                  <c:v>0.20864302643992913</c:v>
                </c:pt>
                <c:pt idx="64">
                  <c:v>0.19630329195898544</c:v>
                </c:pt>
                <c:pt idx="65">
                  <c:v>0.19063234142521535</c:v>
                </c:pt>
                <c:pt idx="66">
                  <c:v>0.19000101822624987</c:v>
                </c:pt>
                <c:pt idx="67">
                  <c:v>0.17937626829007797</c:v>
                </c:pt>
                <c:pt idx="68">
                  <c:v>0.16788459713390907</c:v>
                </c:pt>
                <c:pt idx="69">
                  <c:v>0.1609119170984456</c:v>
                </c:pt>
                <c:pt idx="70">
                  <c:v>0.16178092986603626</c:v>
                </c:pt>
                <c:pt idx="71">
                  <c:v>0.16205719163465643</c:v>
                </c:pt>
                <c:pt idx="72">
                  <c:v>0.16154716676097325</c:v>
                </c:pt>
                <c:pt idx="73">
                  <c:v>0.16443455564588594</c:v>
                </c:pt>
                <c:pt idx="74">
                  <c:v>0.16447449293177627</c:v>
                </c:pt>
                <c:pt idx="75">
                  <c:v>0.17549175203193382</c:v>
                </c:pt>
                <c:pt idx="76">
                  <c:v>0.17818368922047853</c:v>
                </c:pt>
                <c:pt idx="77">
                  <c:v>0.17209963663173417</c:v>
                </c:pt>
                <c:pt idx="78">
                  <c:v>0.17405100481842756</c:v>
                </c:pt>
                <c:pt idx="79">
                  <c:v>0.1605390891252711</c:v>
                </c:pt>
                <c:pt idx="80">
                  <c:v>0.15557729941291584</c:v>
                </c:pt>
                <c:pt idx="81">
                  <c:v>0.1628547688809201</c:v>
                </c:pt>
                <c:pt idx="82">
                  <c:v>0.1626240974729242</c:v>
                </c:pt>
                <c:pt idx="83">
                  <c:v>0.16220834702596124</c:v>
                </c:pt>
                <c:pt idx="84">
                  <c:v>0.16348265992145378</c:v>
                </c:pt>
                <c:pt idx="85">
                  <c:v>0.16821068577754472</c:v>
                </c:pt>
                <c:pt idx="86">
                  <c:v>0.1764033081119127</c:v>
                </c:pt>
                <c:pt idx="87">
                  <c:v>0.19161401012679416</c:v>
                </c:pt>
                <c:pt idx="88">
                  <c:v>0.18565601991630912</c:v>
                </c:pt>
                <c:pt idx="89">
                  <c:v>0.18069021237303787</c:v>
                </c:pt>
                <c:pt idx="90">
                  <c:v>0.1697967889092956</c:v>
                </c:pt>
                <c:pt idx="91">
                  <c:v>0.16111781956184235</c:v>
                </c:pt>
                <c:pt idx="92">
                  <c:v>0.1722055773219636</c:v>
                </c:pt>
                <c:pt idx="93">
                  <c:v>0.16393442622950818</c:v>
                </c:pt>
                <c:pt idx="94">
                  <c:v>0.16772088353413656</c:v>
                </c:pt>
                <c:pt idx="95">
                  <c:v>0.1712412039936632</c:v>
                </c:pt>
                <c:pt idx="96">
                  <c:v>0.17387654450536477</c:v>
                </c:pt>
                <c:pt idx="97">
                  <c:v>0.17686965320577683</c:v>
                </c:pt>
                <c:pt idx="98">
                  <c:v>0.18162422985663867</c:v>
                </c:pt>
                <c:pt idx="99">
                  <c:v>0.18420596994251678</c:v>
                </c:pt>
                <c:pt idx="100">
                  <c:v>0.1880809529200156</c:v>
                </c:pt>
                <c:pt idx="101">
                  <c:v>0.1839502684374117</c:v>
                </c:pt>
                <c:pt idx="102">
                  <c:v>0.17164885702691735</c:v>
                </c:pt>
                <c:pt idx="103">
                  <c:v>0.17687576250508336</c:v>
                </c:pt>
                <c:pt idx="104">
                  <c:v>0.1747592827066340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80477147363577</c:v>
                </c:pt>
                <c:pt idx="1">
                  <c:v>0.12284942860014168</c:v>
                </c:pt>
                <c:pt idx="2">
                  <c:v>0.12098130697197955</c:v>
                </c:pt>
                <c:pt idx="3">
                  <c:v>0.11882769372634691</c:v>
                </c:pt>
                <c:pt idx="4">
                  <c:v>0.12094115698028796</c:v>
                </c:pt>
                <c:pt idx="5">
                  <c:v>0.11935133145615402</c:v>
                </c:pt>
                <c:pt idx="6">
                  <c:v>0.1119303043950799</c:v>
                </c:pt>
                <c:pt idx="7">
                  <c:v>0.11257455495984746</c:v>
                </c:pt>
                <c:pt idx="8">
                  <c:v>0.12131503023327675</c:v>
                </c:pt>
                <c:pt idx="9">
                  <c:v>0.11529995334629607</c:v>
                </c:pt>
                <c:pt idx="10">
                  <c:v>0.11865748642049224</c:v>
                </c:pt>
                <c:pt idx="11">
                  <c:v>0.10818758948152365</c:v>
                </c:pt>
                <c:pt idx="12">
                  <c:v>0.11121446328411423</c:v>
                </c:pt>
                <c:pt idx="13">
                  <c:v>0.11270695179168337</c:v>
                </c:pt>
                <c:pt idx="14">
                  <c:v>0.11207452629367921</c:v>
                </c:pt>
                <c:pt idx="15">
                  <c:v>0.1090894970849625</c:v>
                </c:pt>
                <c:pt idx="16">
                  <c:v>0.11239909373340187</c:v>
                </c:pt>
                <c:pt idx="17">
                  <c:v>0.10673028822675366</c:v>
                </c:pt>
                <c:pt idx="18">
                  <c:v>0.10817662217268426</c:v>
                </c:pt>
                <c:pt idx="19">
                  <c:v>0.11902274437324004</c:v>
                </c:pt>
                <c:pt idx="20">
                  <c:v>0.11419023263633869</c:v>
                </c:pt>
                <c:pt idx="21">
                  <c:v>0.11043063390424404</c:v>
                </c:pt>
                <c:pt idx="22">
                  <c:v>0.11446177701386485</c:v>
                </c:pt>
                <c:pt idx="23">
                  <c:v>0.11390333643771752</c:v>
                </c:pt>
                <c:pt idx="24">
                  <c:v>0.11192993988711301</c:v>
                </c:pt>
                <c:pt idx="25">
                  <c:v>0.11000412544623515</c:v>
                </c:pt>
                <c:pt idx="26">
                  <c:v>0.10959910408213874</c:v>
                </c:pt>
                <c:pt idx="27">
                  <c:v>0.10958888102115492</c:v>
                </c:pt>
                <c:pt idx="28">
                  <c:v>0.11556880698630735</c:v>
                </c:pt>
                <c:pt idx="29">
                  <c:v>0.11586022183935632</c:v>
                </c:pt>
                <c:pt idx="30">
                  <c:v>0.1147383217268366</c:v>
                </c:pt>
                <c:pt idx="31">
                  <c:v>0.11046517792656566</c:v>
                </c:pt>
                <c:pt idx="32">
                  <c:v>0.1161296145609275</c:v>
                </c:pt>
                <c:pt idx="33">
                  <c:v>0.11805916458145141</c:v>
                </c:pt>
                <c:pt idx="34">
                  <c:v>0.11757218233152986</c:v>
                </c:pt>
                <c:pt idx="35">
                  <c:v>0.11723835649713565</c:v>
                </c:pt>
                <c:pt idx="36">
                  <c:v>0.12004921121036186</c:v>
                </c:pt>
                <c:pt idx="37">
                  <c:v>0.11934610252476585</c:v>
                </c:pt>
                <c:pt idx="38">
                  <c:v>0.11934964021387531</c:v>
                </c:pt>
                <c:pt idx="39">
                  <c:v>0.11905721295678448</c:v>
                </c:pt>
                <c:pt idx="40">
                  <c:v>0.11982031650061498</c:v>
                </c:pt>
                <c:pt idx="41">
                  <c:v>0.12347788496976526</c:v>
                </c:pt>
                <c:pt idx="42">
                  <c:v>0.12230965283959681</c:v>
                </c:pt>
                <c:pt idx="43">
                  <c:v>0.12521345029770561</c:v>
                </c:pt>
                <c:pt idx="44">
                  <c:v>0.12249950541449117</c:v>
                </c:pt>
                <c:pt idx="45">
                  <c:v>0.12269806662286203</c:v>
                </c:pt>
                <c:pt idx="46">
                  <c:v>0.12173166398267926</c:v>
                </c:pt>
                <c:pt idx="47">
                  <c:v>0.11548229068371797</c:v>
                </c:pt>
                <c:pt idx="48">
                  <c:v>0.11436927200191457</c:v>
                </c:pt>
                <c:pt idx="49">
                  <c:v>0.12021953250227434</c:v>
                </c:pt>
                <c:pt idx="50">
                  <c:v>0.12063054591629195</c:v>
                </c:pt>
                <c:pt idx="51">
                  <c:v>0.11213266484130514</c:v>
                </c:pt>
              </c:numCache>
            </c:numRef>
          </c:xVal>
          <c:yVal>
            <c:numRef>
              <c:f>Sheet1!$B$109:$B$160</c:f>
              <c:numCache>
                <c:formatCode>General</c:formatCode>
                <c:ptCount val="52"/>
                <c:pt idx="0">
                  <c:v>0.18217699495220707</c:v>
                </c:pt>
                <c:pt idx="1">
                  <c:v>0.18062663482315477</c:v>
                </c:pt>
                <c:pt idx="2">
                  <c:v>0.1946429934118485</c:v>
                </c:pt>
                <c:pt idx="3">
                  <c:v>0.20574750915657097</c:v>
                </c:pt>
                <c:pt idx="4">
                  <c:v>0.1908303671040748</c:v>
                </c:pt>
                <c:pt idx="5">
                  <c:v>0.18936664264552808</c:v>
                </c:pt>
                <c:pt idx="6">
                  <c:v>0.1971470831557572</c:v>
                </c:pt>
                <c:pt idx="7">
                  <c:v>0.19326490680031583</c:v>
                </c:pt>
                <c:pt idx="8">
                  <c:v>0.18219546848126822</c:v>
                </c:pt>
                <c:pt idx="9">
                  <c:v>0.191000823723229</c:v>
                </c:pt>
                <c:pt idx="10">
                  <c:v>0.19159109645507008</c:v>
                </c:pt>
                <c:pt idx="11">
                  <c:v>0.19539322794643518</c:v>
                </c:pt>
                <c:pt idx="12">
                  <c:v>0.19344427917941234</c:v>
                </c:pt>
                <c:pt idx="13">
                  <c:v>0.19342082137207803</c:v>
                </c:pt>
                <c:pt idx="14">
                  <c:v>0.19140109978454514</c:v>
                </c:pt>
                <c:pt idx="15">
                  <c:v>0.18997361477572558</c:v>
                </c:pt>
                <c:pt idx="16">
                  <c:v>0.1796423767703141</c:v>
                </c:pt>
                <c:pt idx="17">
                  <c:v>0.1837104818432876</c:v>
                </c:pt>
                <c:pt idx="18">
                  <c:v>0.1872991967871486</c:v>
                </c:pt>
                <c:pt idx="19">
                  <c:v>0.18302782171768867</c:v>
                </c:pt>
                <c:pt idx="20">
                  <c:v>0.1756687242798354</c:v>
                </c:pt>
                <c:pt idx="21">
                  <c:v>0.18492764517947755</c:v>
                </c:pt>
                <c:pt idx="22">
                  <c:v>0.1825450939068989</c:v>
                </c:pt>
                <c:pt idx="23">
                  <c:v>0.19000063207129764</c:v>
                </c:pt>
                <c:pt idx="24">
                  <c:v>0.1904928550597842</c:v>
                </c:pt>
                <c:pt idx="25">
                  <c:v>0.18846625766871167</c:v>
                </c:pt>
                <c:pt idx="26">
                  <c:v>0.18192372438613805</c:v>
                </c:pt>
                <c:pt idx="27">
                  <c:v>0.18187585915195092</c:v>
                </c:pt>
                <c:pt idx="28">
                  <c:v>0.17280129517642018</c:v>
                </c:pt>
                <c:pt idx="29">
                  <c:v>0.17543758967001435</c:v>
                </c:pt>
                <c:pt idx="30">
                  <c:v>0.18</c:v>
                </c:pt>
                <c:pt idx="31">
                  <c:v>0.1725672277036177</c:v>
                </c:pt>
                <c:pt idx="32">
                  <c:v>0.16785391225689733</c:v>
                </c:pt>
                <c:pt idx="33">
                  <c:v>0.1851078966089637</c:v>
                </c:pt>
                <c:pt idx="34">
                  <c:v>0.1982967012533006</c:v>
                </c:pt>
                <c:pt idx="35">
                  <c:v>0.19516886602549766</c:v>
                </c:pt>
                <c:pt idx="36">
                  <c:v>0.18259230822921757</c:v>
                </c:pt>
                <c:pt idx="37">
                  <c:v>0.18523615889896777</c:v>
                </c:pt>
                <c:pt idx="38">
                  <c:v>0.18279118572927597</c:v>
                </c:pt>
                <c:pt idx="39">
                  <c:v>0.1885899480425948</c:v>
                </c:pt>
                <c:pt idx="40">
                  <c:v>0.1790814549435239</c:v>
                </c:pt>
                <c:pt idx="41">
                  <c:v>0.18204488778054864</c:v>
                </c:pt>
                <c:pt idx="42">
                  <c:v>0.18224150703778177</c:v>
                </c:pt>
                <c:pt idx="43">
                  <c:v>0.175</c:v>
                </c:pt>
                <c:pt idx="44">
                  <c:v>0.17232425585813807</c:v>
                </c:pt>
                <c:pt idx="45">
                  <c:v>0.18626747080222095</c:v>
                </c:pt>
                <c:pt idx="46">
                  <c:v>0.20043010752688173</c:v>
                </c:pt>
                <c:pt idx="47">
                  <c:v>0.2023057697992529</c:v>
                </c:pt>
                <c:pt idx="48">
                  <c:v>0.19867519928146402</c:v>
                </c:pt>
                <c:pt idx="49">
                  <c:v>0.20408204877253078</c:v>
                </c:pt>
                <c:pt idx="50">
                  <c:v>0.2109689213893967</c:v>
                </c:pt>
                <c:pt idx="51">
                  <c:v>0.2034182384740681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963070118957483</c:v>
                </c:pt>
              </c:numCache>
            </c:numRef>
          </c:xVal>
          <c:yVal>
            <c:numRef>
              <c:f>Sheet1!$B$163:$B$164</c:f>
              <c:numCache>
                <c:formatCode>General</c:formatCode>
                <c:ptCount val="2"/>
                <c:pt idx="0">
                  <c:v>0.23665655386773585</c:v>
                </c:pt>
                <c:pt idx="1">
                  <c:v>0.2366565538677358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963070118957483</c:v>
                </c:pt>
                <c:pt idx="1">
                  <c:v>-0.3963070118957483</c:v>
                </c:pt>
              </c:numCache>
            </c:numRef>
          </c:xVal>
          <c:yVal>
            <c:numRef>
              <c:f>Sheet1!$B$167:$B$168</c:f>
              <c:numCache>
                <c:formatCode>General</c:formatCode>
                <c:ptCount val="2"/>
                <c:pt idx="0">
                  <c:v>0.236656553867735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58188579213013104</c:v>
                </c:pt>
              </c:numCache>
            </c:numRef>
          </c:xVal>
          <c:yVal>
            <c:numRef>
              <c:f>Sheet1!$B$171:$B$172</c:f>
              <c:numCache>
                <c:formatCode>General</c:formatCode>
                <c:ptCount val="2"/>
                <c:pt idx="0">
                  <c:v>0.20428610197936492</c:v>
                </c:pt>
                <c:pt idx="1">
                  <c:v>0.2042861019793649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58188579213013104</c:v>
                </c:pt>
                <c:pt idx="1">
                  <c:v>-0.058188579213013104</c:v>
                </c:pt>
              </c:numCache>
            </c:numRef>
          </c:xVal>
          <c:yVal>
            <c:numRef>
              <c:f>Sheet1!$B$175:$B$176</c:f>
              <c:numCache>
                <c:formatCode>General</c:formatCode>
                <c:ptCount val="2"/>
                <c:pt idx="0">
                  <c:v>0.2042861019793649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7863616467728352</c:v>
                </c:pt>
              </c:numCache>
            </c:numRef>
          </c:xVal>
          <c:yVal>
            <c:numRef>
              <c:f>Sheet1!$B$179:$B$180</c:f>
              <c:numCache>
                <c:formatCode>General</c:formatCode>
                <c:ptCount val="2"/>
                <c:pt idx="0">
                  <c:v>0.19118690843910788</c:v>
                </c:pt>
                <c:pt idx="1">
                  <c:v>0.1911869084391078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7863616467728352</c:v>
                </c:pt>
                <c:pt idx="1">
                  <c:v>0.07863616467728352</c:v>
                </c:pt>
              </c:numCache>
            </c:numRef>
          </c:xVal>
          <c:yVal>
            <c:numRef>
              <c:f>Sheet1!$B$183:$B$184</c:f>
              <c:numCache>
                <c:formatCode>General</c:formatCode>
                <c:ptCount val="2"/>
                <c:pt idx="0">
                  <c:v>0.191186908439107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80477147363577</c:v>
                </c:pt>
                <c:pt idx="1">
                  <c:v>0.12284942860014168</c:v>
                </c:pt>
                <c:pt idx="2">
                  <c:v>0.12098130697197955</c:v>
                </c:pt>
                <c:pt idx="3">
                  <c:v>0.11882769372634691</c:v>
                </c:pt>
                <c:pt idx="4">
                  <c:v>0.12094115698028796</c:v>
                </c:pt>
                <c:pt idx="5">
                  <c:v>0.11935133145615402</c:v>
                </c:pt>
                <c:pt idx="6">
                  <c:v>0.1119303043950799</c:v>
                </c:pt>
                <c:pt idx="7">
                  <c:v>0.11257455495984746</c:v>
                </c:pt>
                <c:pt idx="8">
                  <c:v>0.12131503023327675</c:v>
                </c:pt>
                <c:pt idx="9">
                  <c:v>0.11529995334629607</c:v>
                </c:pt>
                <c:pt idx="10">
                  <c:v>0.11865748642049224</c:v>
                </c:pt>
                <c:pt idx="11">
                  <c:v>0.10818758948152365</c:v>
                </c:pt>
                <c:pt idx="12">
                  <c:v>0.11121446328411423</c:v>
                </c:pt>
                <c:pt idx="13">
                  <c:v>0.11270695179168337</c:v>
                </c:pt>
                <c:pt idx="14">
                  <c:v>0.11207452629367921</c:v>
                </c:pt>
                <c:pt idx="15">
                  <c:v>0.1090894970849625</c:v>
                </c:pt>
                <c:pt idx="16">
                  <c:v>0.11239909373340187</c:v>
                </c:pt>
                <c:pt idx="17">
                  <c:v>0.10673028822675366</c:v>
                </c:pt>
                <c:pt idx="18">
                  <c:v>0.10817662217268426</c:v>
                </c:pt>
                <c:pt idx="19">
                  <c:v>0.11902274437324004</c:v>
                </c:pt>
                <c:pt idx="20">
                  <c:v>0.11419023263633869</c:v>
                </c:pt>
                <c:pt idx="21">
                  <c:v>0.11043063390424404</c:v>
                </c:pt>
                <c:pt idx="22">
                  <c:v>0.11446177701386485</c:v>
                </c:pt>
                <c:pt idx="23">
                  <c:v>0.11390333643771752</c:v>
                </c:pt>
                <c:pt idx="24">
                  <c:v>0.11192993988711301</c:v>
                </c:pt>
                <c:pt idx="25">
                  <c:v>0.11000412544623515</c:v>
                </c:pt>
                <c:pt idx="26">
                  <c:v>0.10959910408213874</c:v>
                </c:pt>
                <c:pt idx="27">
                  <c:v>0.10958888102115492</c:v>
                </c:pt>
                <c:pt idx="28">
                  <c:v>0.11556880698630735</c:v>
                </c:pt>
                <c:pt idx="29">
                  <c:v>0.11586022183935632</c:v>
                </c:pt>
                <c:pt idx="30">
                  <c:v>0.1147383217268366</c:v>
                </c:pt>
                <c:pt idx="31">
                  <c:v>0.11046517792656566</c:v>
                </c:pt>
                <c:pt idx="32">
                  <c:v>0.1161296145609275</c:v>
                </c:pt>
                <c:pt idx="33">
                  <c:v>0.11805916458145141</c:v>
                </c:pt>
                <c:pt idx="34">
                  <c:v>0.11757218233152986</c:v>
                </c:pt>
                <c:pt idx="35">
                  <c:v>0.11723835649713565</c:v>
                </c:pt>
                <c:pt idx="36">
                  <c:v>0.12004921121036186</c:v>
                </c:pt>
                <c:pt idx="37">
                  <c:v>0.11934610252476585</c:v>
                </c:pt>
                <c:pt idx="38">
                  <c:v>0.11934964021387531</c:v>
                </c:pt>
                <c:pt idx="39">
                  <c:v>0.11905721295678448</c:v>
                </c:pt>
                <c:pt idx="40">
                  <c:v>0.11982031650061498</c:v>
                </c:pt>
                <c:pt idx="41">
                  <c:v>0.12347788496976526</c:v>
                </c:pt>
                <c:pt idx="42">
                  <c:v>0.12230965283959681</c:v>
                </c:pt>
                <c:pt idx="43">
                  <c:v>0.12521345029770561</c:v>
                </c:pt>
                <c:pt idx="44">
                  <c:v>0.12249950541449117</c:v>
                </c:pt>
                <c:pt idx="45">
                  <c:v>0.12269806662286203</c:v>
                </c:pt>
                <c:pt idx="46">
                  <c:v>0.12173166398267926</c:v>
                </c:pt>
                <c:pt idx="47">
                  <c:v>0.11548229068371797</c:v>
                </c:pt>
                <c:pt idx="48">
                  <c:v>0.11436927200191457</c:v>
                </c:pt>
                <c:pt idx="49">
                  <c:v>0.12021953250227434</c:v>
                </c:pt>
                <c:pt idx="50">
                  <c:v>0.12063054591629195</c:v>
                </c:pt>
                <c:pt idx="51">
                  <c:v>0.11213266484130514</c:v>
                </c:pt>
                <c:pt idx="52">
                  <c:v>-0.058188579213013104</c:v>
                </c:pt>
                <c:pt idx="53">
                  <c:v>-0.3963070118957483</c:v>
                </c:pt>
                <c:pt idx="54">
                  <c:v>0.07863616467728352</c:v>
                </c:pt>
              </c:numCache>
            </c:numRef>
          </c:xVal>
          <c:yVal>
            <c:numRef>
              <c:f>Sheet1!$B$187:$B$241</c:f>
              <c:numCache>
                <c:formatCode>General</c:formatCode>
                <c:ptCount val="55"/>
                <c:pt idx="0">
                  <c:v>0.18741376399705237</c:v>
                </c:pt>
                <c:pt idx="1">
                  <c:v>0.18695406221038524</c:v>
                </c:pt>
                <c:pt idx="2">
                  <c:v>0.1871329106121309</c:v>
                </c:pt>
                <c:pt idx="3">
                  <c:v>0.18733909113118977</c:v>
                </c:pt>
                <c:pt idx="4">
                  <c:v>0.1871367544527759</c:v>
                </c:pt>
                <c:pt idx="5">
                  <c:v>0.18728895961423825</c:v>
                </c:pt>
                <c:pt idx="6">
                  <c:v>0.1879994266465642</c:v>
                </c:pt>
                <c:pt idx="7">
                  <c:v>0.18793774801595717</c:v>
                </c:pt>
                <c:pt idx="8">
                  <c:v>0.18710096094086293</c:v>
                </c:pt>
                <c:pt idx="9">
                  <c:v>0.18767682649019118</c:v>
                </c:pt>
                <c:pt idx="10">
                  <c:v>0.18735538627180515</c:v>
                </c:pt>
                <c:pt idx="11">
                  <c:v>0.18835774302724742</c:v>
                </c:pt>
                <c:pt idx="12">
                  <c:v>0.18806795914288027</c:v>
                </c:pt>
                <c:pt idx="13">
                  <c:v>0.18792507273753145</c:v>
                </c:pt>
                <c:pt idx="14">
                  <c:v>0.18798561927145951</c:v>
                </c:pt>
                <c:pt idx="15">
                  <c:v>0.1882713970790149</c:v>
                </c:pt>
                <c:pt idx="16">
                  <c:v>0.18795454615128468</c:v>
                </c:pt>
                <c:pt idx="17">
                  <c:v>0.18849726070979464</c:v>
                </c:pt>
                <c:pt idx="18">
                  <c:v>0.18835879300473699</c:v>
                </c:pt>
                <c:pt idx="19">
                  <c:v>0.18732041756308243</c:v>
                </c:pt>
                <c:pt idx="20">
                  <c:v>0.18778306784641122</c:v>
                </c:pt>
                <c:pt idx="21">
                  <c:v>0.18814300063360428</c:v>
                </c:pt>
                <c:pt idx="22">
                  <c:v>0.18775707099631783</c:v>
                </c:pt>
                <c:pt idx="23">
                  <c:v>0.18781053443414125</c:v>
                </c:pt>
                <c:pt idx="24">
                  <c:v>0.1879994615434715</c:v>
                </c:pt>
                <c:pt idx="25">
                  <c:v>0.1881838332833076</c:v>
                </c:pt>
                <c:pt idx="26">
                  <c:v>0.18822260882262445</c:v>
                </c:pt>
                <c:pt idx="27">
                  <c:v>0.18822358754804058</c:v>
                </c:pt>
                <c:pt idx="28">
                  <c:v>0.18765108724329493</c:v>
                </c:pt>
                <c:pt idx="29">
                  <c:v>0.18762318805304573</c:v>
                </c:pt>
                <c:pt idx="30">
                  <c:v>0.18773059542899898</c:v>
                </c:pt>
                <c:pt idx="31">
                  <c:v>0.18813969349177317</c:v>
                </c:pt>
                <c:pt idx="32">
                  <c:v>0.1875973971960862</c:v>
                </c:pt>
                <c:pt idx="33">
                  <c:v>0.1874126678229787</c:v>
                </c:pt>
                <c:pt idx="34">
                  <c:v>0.1874592900534395</c:v>
                </c:pt>
                <c:pt idx="35">
                  <c:v>0.18749124954475033</c:v>
                </c:pt>
                <c:pt idx="36">
                  <c:v>0.18722214668473242</c:v>
                </c:pt>
                <c:pt idx="37">
                  <c:v>0.18728946021655854</c:v>
                </c:pt>
                <c:pt idx="38">
                  <c:v>0.1872891215287378</c:v>
                </c:pt>
                <c:pt idx="39">
                  <c:v>0.1873171176435352</c:v>
                </c:pt>
                <c:pt idx="40">
                  <c:v>0.18724406038263577</c:v>
                </c:pt>
                <c:pt idx="41">
                  <c:v>0.18689389566898898</c:v>
                </c:pt>
                <c:pt idx="42">
                  <c:v>0.1870057387343434</c:v>
                </c:pt>
                <c:pt idx="43">
                  <c:v>0.18672773781269744</c:v>
                </c:pt>
                <c:pt idx="44">
                  <c:v>0.18698756281417028</c:v>
                </c:pt>
                <c:pt idx="45">
                  <c:v>0.1869685531553609</c:v>
                </c:pt>
                <c:pt idx="46">
                  <c:v>0.18706107366635646</c:v>
                </c:pt>
                <c:pt idx="47">
                  <c:v>0.18765937005647465</c:v>
                </c:pt>
                <c:pt idx="48">
                  <c:v>0.18776592715069843</c:v>
                </c:pt>
                <c:pt idx="49">
                  <c:v>0.1872058406314313</c:v>
                </c:pt>
                <c:pt idx="50">
                  <c:v>0.18716649143109823</c:v>
                </c:pt>
                <c:pt idx="51">
                  <c:v>0.18798005326003608</c:v>
                </c:pt>
                <c:pt idx="52">
                  <c:v>0.20428610197936492</c:v>
                </c:pt>
                <c:pt idx="53">
                  <c:v>0.23665655386773585</c:v>
                </c:pt>
                <c:pt idx="54">
                  <c:v>0.1911869084391078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757565949182714"/>
          <c:min val="0.1187518226888305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0.1602</c:v>
                </c:pt>
                <c:pt idx="1">
                  <c:v>896.6671</c:v>
                </c:pt>
                <c:pt idx="2">
                  <c:v>925.3649</c:v>
                </c:pt>
                <c:pt idx="3">
                  <c:v>939.8836</c:v>
                </c:pt>
                <c:pt idx="4">
                  <c:v>933.8344</c:v>
                </c:pt>
                <c:pt idx="5">
                  <c:v>919.7325</c:v>
                </c:pt>
                <c:pt idx="6">
                  <c:v>883.5374</c:v>
                </c:pt>
                <c:pt idx="7">
                  <c:v>889.8271</c:v>
                </c:pt>
                <c:pt idx="8">
                  <c:v>894.7587</c:v>
                </c:pt>
                <c:pt idx="9">
                  <c:v>870.9048</c:v>
                </c:pt>
                <c:pt idx="10">
                  <c:v>858.2044</c:v>
                </c:pt>
                <c:pt idx="11">
                  <c:v>900.905</c:v>
                </c:pt>
                <c:pt idx="12">
                  <c:v>915.5783</c:v>
                </c:pt>
                <c:pt idx="13">
                  <c:v>919.7056</c:v>
                </c:pt>
                <c:pt idx="14">
                  <c:v>960.2228</c:v>
                </c:pt>
                <c:pt idx="15">
                  <c:v>977.2438</c:v>
                </c:pt>
                <c:pt idx="16">
                  <c:v>994.4941</c:v>
                </c:pt>
                <c:pt idx="17">
                  <c:v>1017.189</c:v>
                </c:pt>
                <c:pt idx="18">
                  <c:v>1057.7813</c:v>
                </c:pt>
                <c:pt idx="19">
                  <c:v>1066.0149</c:v>
                </c:pt>
                <c:pt idx="20">
                  <c:v>1091.4757</c:v>
                </c:pt>
                <c:pt idx="21">
                  <c:v>1100.1601</c:v>
                </c:pt>
                <c:pt idx="22">
                  <c:v>1064.3803</c:v>
                </c:pt>
                <c:pt idx="23">
                  <c:v>1056.8376</c:v>
                </c:pt>
                <c:pt idx="24">
                  <c:v>1060.7294</c:v>
                </c:pt>
                <c:pt idx="25">
                  <c:v>1038.9553</c:v>
                </c:pt>
                <c:pt idx="26">
                  <c:v>1026.3227</c:v>
                </c:pt>
                <c:pt idx="27">
                  <c:v>1037.4307</c:v>
                </c:pt>
                <c:pt idx="28">
                  <c:v>1037.9847</c:v>
                </c:pt>
                <c:pt idx="29">
                  <c:v>1029.1964</c:v>
                </c:pt>
                <c:pt idx="30">
                  <c:v>1031.7509</c:v>
                </c:pt>
                <c:pt idx="31">
                  <c:v>1013.6425</c:v>
                </c:pt>
                <c:pt idx="32">
                  <c:v>1003.4237</c:v>
                </c:pt>
                <c:pt idx="33">
                  <c:v>971.3372</c:v>
                </c:pt>
                <c:pt idx="34">
                  <c:v>981.5778</c:v>
                </c:pt>
                <c:pt idx="35">
                  <c:v>1018.1876</c:v>
                </c:pt>
                <c:pt idx="36">
                  <c:v>1083.6092</c:v>
                </c:pt>
                <c:pt idx="37">
                  <c:v>1095.7103</c:v>
                </c:pt>
                <c:pt idx="38">
                  <c:v>1138.3225</c:v>
                </c:pt>
                <c:pt idx="39">
                  <c:v>1161.1624</c:v>
                </c:pt>
                <c:pt idx="40">
                  <c:v>1163.3908</c:v>
                </c:pt>
                <c:pt idx="41">
                  <c:v>1195.6292</c:v>
                </c:pt>
                <c:pt idx="42">
                  <c:v>1211.0972</c:v>
                </c:pt>
                <c:pt idx="43">
                  <c:v>1218.396</c:v>
                </c:pt>
                <c:pt idx="44">
                  <c:v>1156.9309</c:v>
                </c:pt>
                <c:pt idx="45">
                  <c:v>1121.7811</c:v>
                </c:pt>
                <c:pt idx="46">
                  <c:v>1111.4667</c:v>
                </c:pt>
                <c:pt idx="47">
                  <c:v>1098.4128</c:v>
                </c:pt>
                <c:pt idx="48">
                  <c:v>1094.8564</c:v>
                </c:pt>
                <c:pt idx="49">
                  <c:v>1046.4081</c:v>
                </c:pt>
                <c:pt idx="50">
                  <c:v>1047.8026</c:v>
                </c:pt>
                <c:pt idx="51">
                  <c:v>1055.6736</c:v>
                </c:pt>
                <c:pt idx="52">
                  <c:v>1053.314</c:v>
                </c:pt>
                <c:pt idx="53">
                  <c:v>1166.5389</c:v>
                </c:pt>
                <c:pt idx="54">
                  <c:v>1152.9671</c:v>
                </c:pt>
                <c:pt idx="55">
                  <c:v>1167.2546</c:v>
                </c:pt>
                <c:pt idx="56">
                  <c:v>1178.832</c:v>
                </c:pt>
                <c:pt idx="57">
                  <c:v>1152.5788</c:v>
                </c:pt>
                <c:pt idx="58">
                  <c:v>1130.1762</c:v>
                </c:pt>
                <c:pt idx="59">
                  <c:v>1114.6146</c:v>
                </c:pt>
                <c:pt idx="60">
                  <c:v>1131.0099</c:v>
                </c:pt>
                <c:pt idx="61">
                  <c:v>1145.4141</c:v>
                </c:pt>
                <c:pt idx="62">
                  <c:v>1077.2692</c:v>
                </c:pt>
                <c:pt idx="63">
                  <c:v>1097.606</c:v>
                </c:pt>
                <c:pt idx="64">
                  <c:v>1110.3883</c:v>
                </c:pt>
                <c:pt idx="65">
                  <c:v>1101.1496</c:v>
                </c:pt>
                <c:pt idx="66">
                  <c:v>1136.1167</c:v>
                </c:pt>
                <c:pt idx="67">
                  <c:v>1160.0968</c:v>
                </c:pt>
                <c:pt idx="68">
                  <c:v>1175.814</c:v>
                </c:pt>
                <c:pt idx="69">
                  <c:v>1207.8284</c:v>
                </c:pt>
                <c:pt idx="70">
                  <c:v>1189.7808</c:v>
                </c:pt>
                <c:pt idx="71">
                  <c:v>1242.0927</c:v>
                </c:pt>
                <c:pt idx="72">
                  <c:v>1307.1248</c:v>
                </c:pt>
                <c:pt idx="73">
                  <c:v>1283.356</c:v>
                </c:pt>
                <c:pt idx="74">
                  <c:v>1277.4382</c:v>
                </c:pt>
                <c:pt idx="75">
                  <c:v>1240.835</c:v>
                </c:pt>
                <c:pt idx="76">
                  <c:v>1206.9189</c:v>
                </c:pt>
                <c:pt idx="77">
                  <c:v>1204.1637</c:v>
                </c:pt>
                <c:pt idx="78">
                  <c:v>1256.4379</c:v>
                </c:pt>
                <c:pt idx="79">
                  <c:v>1241.5478</c:v>
                </c:pt>
                <c:pt idx="80">
                  <c:v>1256.622</c:v>
                </c:pt>
                <c:pt idx="81">
                  <c:v>1246.3743</c:v>
                </c:pt>
                <c:pt idx="82">
                  <c:v>1257.2699</c:v>
                </c:pt>
                <c:pt idx="83">
                  <c:v>1219.594</c:v>
                </c:pt>
                <c:pt idx="84">
                  <c:v>1240.0375</c:v>
                </c:pt>
                <c:pt idx="85">
                  <c:v>1216.7624</c:v>
                </c:pt>
                <c:pt idx="86">
                  <c:v>1220.1259</c:v>
                </c:pt>
                <c:pt idx="87">
                  <c:v>1222.8493</c:v>
                </c:pt>
                <c:pt idx="88">
                  <c:v>1269.4996</c:v>
                </c:pt>
                <c:pt idx="89">
                  <c:v>1255.1555</c:v>
                </c:pt>
                <c:pt idx="90">
                  <c:v>1314.4375</c:v>
                </c:pt>
                <c:pt idx="91">
                  <c:v>1315.6106</c:v>
                </c:pt>
                <c:pt idx="92">
                  <c:v>1266.0669</c:v>
                </c:pt>
                <c:pt idx="93">
                  <c:v>1292.6658</c:v>
                </c:pt>
                <c:pt idx="94">
                  <c:v>1281.8216</c:v>
                </c:pt>
                <c:pt idx="95">
                  <c:v>1251.4322</c:v>
                </c:pt>
                <c:pt idx="96">
                  <c:v>1200.8594</c:v>
                </c:pt>
                <c:pt idx="97">
                  <c:v>1193.5625</c:v>
                </c:pt>
                <c:pt idx="98">
                  <c:v>1172.9539</c:v>
                </c:pt>
                <c:pt idx="99">
                  <c:v>1137.7425</c:v>
                </c:pt>
                <c:pt idx="100">
                  <c:v>1118.3324</c:v>
                </c:pt>
                <c:pt idx="101">
                  <c:v>1165.05</c:v>
                </c:pt>
                <c:pt idx="102">
                  <c:v>1177.0303</c:v>
                </c:pt>
                <c:pt idx="103">
                  <c:v>1152.1832</c:v>
                </c:pt>
                <c:pt idx="104">
                  <c:v>1184.3692</c:v>
                </c:pt>
              </c:numCache>
            </c:numRef>
          </c:xVal>
          <c:yVal>
            <c:numRef>
              <c:f>Sheet1!$B$2:$B$106</c:f>
              <c:numCache>
                <c:formatCode>General</c:formatCode>
                <c:ptCount val="105"/>
                <c:pt idx="0">
                  <c:v>0.22226506555029193</c:v>
                </c:pt>
                <c:pt idx="1">
                  <c:v>0.21748878923766815</c:v>
                </c:pt>
                <c:pt idx="2">
                  <c:v>0.21873943899966206</c:v>
                </c:pt>
                <c:pt idx="3">
                  <c:v>0.21880877742946708</c:v>
                </c:pt>
                <c:pt idx="4">
                  <c:v>0.23012847663419456</c:v>
                </c:pt>
                <c:pt idx="5">
                  <c:v>0.23601854534917416</c:v>
                </c:pt>
                <c:pt idx="6">
                  <c:v>0.2631891967534285</c:v>
                </c:pt>
                <c:pt idx="7">
                  <c:v>0.264646382909856</c:v>
                </c:pt>
                <c:pt idx="8">
                  <c:v>0.2586243119458801</c:v>
                </c:pt>
                <c:pt idx="9">
                  <c:v>0.24723282141843525</c:v>
                </c:pt>
                <c:pt idx="10">
                  <c:v>0.240457548323954</c:v>
                </c:pt>
                <c:pt idx="11">
                  <c:v>0.21958603645350633</c:v>
                </c:pt>
                <c:pt idx="12">
                  <c:v>0.20595766473199045</c:v>
                </c:pt>
                <c:pt idx="13">
                  <c:v>0.19534355479841</c:v>
                </c:pt>
                <c:pt idx="14">
                  <c:v>0.1779950952193527</c:v>
                </c:pt>
                <c:pt idx="15">
                  <c:v>0.168645487930973</c:v>
                </c:pt>
                <c:pt idx="16">
                  <c:v>0.16324619268670088</c:v>
                </c:pt>
                <c:pt idx="17">
                  <c:v>0.15663621708758732</c:v>
                </c:pt>
                <c:pt idx="18">
                  <c:v>0.1496506308751822</c:v>
                </c:pt>
                <c:pt idx="19">
                  <c:v>0.1484397783610382</c:v>
                </c:pt>
                <c:pt idx="20">
                  <c:v>0.15575458594760286</c:v>
                </c:pt>
                <c:pt idx="21">
                  <c:v>0.16326167003207032</c:v>
                </c:pt>
                <c:pt idx="22">
                  <c:v>0.17795461243737107</c:v>
                </c:pt>
                <c:pt idx="23">
                  <c:v>0.1898969839890778</c:v>
                </c:pt>
                <c:pt idx="24">
                  <c:v>0.19180421172453044</c:v>
                </c:pt>
                <c:pt idx="25">
                  <c:v>0.19442463533225285</c:v>
                </c:pt>
                <c:pt idx="26">
                  <c:v>0.20790259591086607</c:v>
                </c:pt>
                <c:pt idx="27">
                  <c:v>0.2096837172979305</c:v>
                </c:pt>
                <c:pt idx="28">
                  <c:v>0.21572077185017027</c:v>
                </c:pt>
                <c:pt idx="29">
                  <c:v>0.20905013062552374</c:v>
                </c:pt>
                <c:pt idx="30">
                  <c:v>0.21441727532550015</c:v>
                </c:pt>
                <c:pt idx="31">
                  <c:v>0.21806815395930376</c:v>
                </c:pt>
                <c:pt idx="32">
                  <c:v>0.22538531278331822</c:v>
                </c:pt>
                <c:pt idx="33">
                  <c:v>0.22100081250298714</c:v>
                </c:pt>
                <c:pt idx="34">
                  <c:v>0.21928327645051193</c:v>
                </c:pt>
                <c:pt idx="35">
                  <c:v>0.23582775119617225</c:v>
                </c:pt>
                <c:pt idx="36">
                  <c:v>0.20781902445739459</c:v>
                </c:pt>
                <c:pt idx="37">
                  <c:v>0.20361056699666472</c:v>
                </c:pt>
                <c:pt idx="38">
                  <c:v>0.1926458832933653</c:v>
                </c:pt>
                <c:pt idx="39">
                  <c:v>0.18791795448159596</c:v>
                </c:pt>
                <c:pt idx="40">
                  <c:v>0.18927819961577166</c:v>
                </c:pt>
                <c:pt idx="41">
                  <c:v>0.18410232983097305</c:v>
                </c:pt>
                <c:pt idx="42">
                  <c:v>0.1844411662617147</c:v>
                </c:pt>
                <c:pt idx="43">
                  <c:v>0.17869283065512978</c:v>
                </c:pt>
                <c:pt idx="44">
                  <c:v>0.1801480101433525</c:v>
                </c:pt>
                <c:pt idx="45">
                  <c:v>0.19204877130213727</c:v>
                </c:pt>
                <c:pt idx="46">
                  <c:v>0.19389858458155834</c:v>
                </c:pt>
                <c:pt idx="47">
                  <c:v>0.19004100761570006</c:v>
                </c:pt>
                <c:pt idx="48">
                  <c:v>0.187392393842797</c:v>
                </c:pt>
                <c:pt idx="49">
                  <c:v>0.20137562094000763</c:v>
                </c:pt>
                <c:pt idx="50">
                  <c:v>0.19135440180586907</c:v>
                </c:pt>
                <c:pt idx="51">
                  <c:v>0.1846539978486913</c:v>
                </c:pt>
                <c:pt idx="52">
                  <c:v>0.18815193402253455</c:v>
                </c:pt>
                <c:pt idx="53">
                  <c:v>0.1812184824674563</c:v>
                </c:pt>
                <c:pt idx="54">
                  <c:v>0.1860592401802962</c:v>
                </c:pt>
                <c:pt idx="55">
                  <c:v>0.18362143188290617</c:v>
                </c:pt>
                <c:pt idx="56">
                  <c:v>0.18648420341273864</c:v>
                </c:pt>
                <c:pt idx="57">
                  <c:v>0.18117511188104518</c:v>
                </c:pt>
                <c:pt idx="58">
                  <c:v>0.19146386921561317</c:v>
                </c:pt>
                <c:pt idx="59">
                  <c:v>0.19048030109457548</c:v>
                </c:pt>
                <c:pt idx="60">
                  <c:v>0.19382582445748134</c:v>
                </c:pt>
                <c:pt idx="61">
                  <c:v>0.1902548569041153</c:v>
                </c:pt>
                <c:pt idx="62">
                  <c:v>0.2036891381016416</c:v>
                </c:pt>
                <c:pt idx="63">
                  <c:v>0.20864302643992913</c:v>
                </c:pt>
                <c:pt idx="64">
                  <c:v>0.19630329195898544</c:v>
                </c:pt>
                <c:pt idx="65">
                  <c:v>0.19063234142521535</c:v>
                </c:pt>
                <c:pt idx="66">
                  <c:v>0.19000101822624987</c:v>
                </c:pt>
                <c:pt idx="67">
                  <c:v>0.17937626829007797</c:v>
                </c:pt>
                <c:pt idx="68">
                  <c:v>0.16788459713390907</c:v>
                </c:pt>
                <c:pt idx="69">
                  <c:v>0.1609119170984456</c:v>
                </c:pt>
                <c:pt idx="70">
                  <c:v>0.16178092986603626</c:v>
                </c:pt>
                <c:pt idx="71">
                  <c:v>0.16205719163465643</c:v>
                </c:pt>
                <c:pt idx="72">
                  <c:v>0.16154716676097325</c:v>
                </c:pt>
                <c:pt idx="73">
                  <c:v>0.16443455564588594</c:v>
                </c:pt>
                <c:pt idx="74">
                  <c:v>0.16447449293177627</c:v>
                </c:pt>
                <c:pt idx="75">
                  <c:v>0.17549175203193382</c:v>
                </c:pt>
                <c:pt idx="76">
                  <c:v>0.17818368922047853</c:v>
                </c:pt>
                <c:pt idx="77">
                  <c:v>0.17209963663173417</c:v>
                </c:pt>
                <c:pt idx="78">
                  <c:v>0.17405100481842756</c:v>
                </c:pt>
                <c:pt idx="79">
                  <c:v>0.1605390891252711</c:v>
                </c:pt>
                <c:pt idx="80">
                  <c:v>0.15557729941291584</c:v>
                </c:pt>
                <c:pt idx="81">
                  <c:v>0.1628547688809201</c:v>
                </c:pt>
                <c:pt idx="82">
                  <c:v>0.1626240974729242</c:v>
                </c:pt>
                <c:pt idx="83">
                  <c:v>0.16220834702596124</c:v>
                </c:pt>
                <c:pt idx="84">
                  <c:v>0.16348265992145378</c:v>
                </c:pt>
                <c:pt idx="85">
                  <c:v>0.16821068577754472</c:v>
                </c:pt>
                <c:pt idx="86">
                  <c:v>0.1764033081119127</c:v>
                </c:pt>
                <c:pt idx="87">
                  <c:v>0.19161401012679416</c:v>
                </c:pt>
                <c:pt idx="88">
                  <c:v>0.18565601991630912</c:v>
                </c:pt>
                <c:pt idx="89">
                  <c:v>0.18069021237303787</c:v>
                </c:pt>
                <c:pt idx="90">
                  <c:v>0.1697967889092956</c:v>
                </c:pt>
                <c:pt idx="91">
                  <c:v>0.16111781956184235</c:v>
                </c:pt>
                <c:pt idx="92">
                  <c:v>0.1722055773219636</c:v>
                </c:pt>
                <c:pt idx="93">
                  <c:v>0.16393442622950818</c:v>
                </c:pt>
                <c:pt idx="94">
                  <c:v>0.16772088353413656</c:v>
                </c:pt>
                <c:pt idx="95">
                  <c:v>0.1712412039936632</c:v>
                </c:pt>
                <c:pt idx="96">
                  <c:v>0.17387654450536477</c:v>
                </c:pt>
                <c:pt idx="97">
                  <c:v>0.17686965320577683</c:v>
                </c:pt>
                <c:pt idx="98">
                  <c:v>0.18162422985663867</c:v>
                </c:pt>
                <c:pt idx="99">
                  <c:v>0.18420596994251678</c:v>
                </c:pt>
                <c:pt idx="100">
                  <c:v>0.1880809529200156</c:v>
                </c:pt>
                <c:pt idx="101">
                  <c:v>0.1839502684374117</c:v>
                </c:pt>
                <c:pt idx="102">
                  <c:v>0.17164885702691735</c:v>
                </c:pt>
                <c:pt idx="103">
                  <c:v>0.17687576250508336</c:v>
                </c:pt>
                <c:pt idx="104">
                  <c:v>0.1747592827066340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0.5912</c:v>
                </c:pt>
                <c:pt idx="1">
                  <c:v>1237.7126</c:v>
                </c:pt>
                <c:pt idx="2">
                  <c:v>1244.7866</c:v>
                </c:pt>
                <c:pt idx="3">
                  <c:v>1234.0677</c:v>
                </c:pt>
                <c:pt idx="4">
                  <c:v>1258.56</c:v>
                </c:pt>
                <c:pt idx="5">
                  <c:v>1250.2569</c:v>
                </c:pt>
                <c:pt idx="6">
                  <c:v>1164.5687</c:v>
                </c:pt>
                <c:pt idx="7">
                  <c:v>1194.7737</c:v>
                </c:pt>
                <c:pt idx="8">
                  <c:v>1247.4773</c:v>
                </c:pt>
                <c:pt idx="9">
                  <c:v>1175.6943</c:v>
                </c:pt>
                <c:pt idx="10">
                  <c:v>1205.7759</c:v>
                </c:pt>
                <c:pt idx="11">
                  <c:v>1110.92</c:v>
                </c:pt>
                <c:pt idx="12">
                  <c:v>1150.6327</c:v>
                </c:pt>
                <c:pt idx="13">
                  <c:v>1180.9382</c:v>
                </c:pt>
                <c:pt idx="14">
                  <c:v>1191.5638</c:v>
                </c:pt>
                <c:pt idx="15">
                  <c:v>1193.0121</c:v>
                </c:pt>
                <c:pt idx="16">
                  <c:v>1244.6981</c:v>
                </c:pt>
                <c:pt idx="17">
                  <c:v>1191.8941</c:v>
                </c:pt>
                <c:pt idx="18">
                  <c:v>1219.1898</c:v>
                </c:pt>
                <c:pt idx="19">
                  <c:v>1317.9428</c:v>
                </c:pt>
                <c:pt idx="20">
                  <c:v>1290.4524</c:v>
                </c:pt>
                <c:pt idx="21">
                  <c:v>1220.3404</c:v>
                </c:pt>
                <c:pt idx="22">
                  <c:v>1242.508</c:v>
                </c:pt>
                <c:pt idx="23">
                  <c:v>1225.5446</c:v>
                </c:pt>
                <c:pt idx="24">
                  <c:v>1221.3668</c:v>
                </c:pt>
                <c:pt idx="25">
                  <c:v>1212.181</c:v>
                </c:pt>
                <c:pt idx="26">
                  <c:v>1224.1385</c:v>
                </c:pt>
                <c:pt idx="27">
                  <c:v>1236.0506</c:v>
                </c:pt>
                <c:pt idx="28">
                  <c:v>1270.3037</c:v>
                </c:pt>
                <c:pt idx="29">
                  <c:v>1273.6984</c:v>
                </c:pt>
                <c:pt idx="30">
                  <c:v>1266.8522</c:v>
                </c:pt>
                <c:pt idx="31">
                  <c:v>1252.2354</c:v>
                </c:pt>
                <c:pt idx="32">
                  <c:v>1271.4732</c:v>
                </c:pt>
                <c:pt idx="33">
                  <c:v>1267.4386</c:v>
                </c:pt>
                <c:pt idx="34">
                  <c:v>1286.4124</c:v>
                </c:pt>
                <c:pt idx="35">
                  <c:v>1312.7891</c:v>
                </c:pt>
                <c:pt idx="36">
                  <c:v>1334.6724</c:v>
                </c:pt>
                <c:pt idx="37">
                  <c:v>1326.2307</c:v>
                </c:pt>
                <c:pt idx="38">
                  <c:v>1337.6582</c:v>
                </c:pt>
                <c:pt idx="39">
                  <c:v>1300.5035</c:v>
                </c:pt>
                <c:pt idx="40">
                  <c:v>1319.2248</c:v>
                </c:pt>
                <c:pt idx="41">
                  <c:v>1350.2781</c:v>
                </c:pt>
                <c:pt idx="42">
                  <c:v>1337.7756</c:v>
                </c:pt>
                <c:pt idx="43">
                  <c:v>1345.0308</c:v>
                </c:pt>
                <c:pt idx="44">
                  <c:v>1271.2854</c:v>
                </c:pt>
                <c:pt idx="45">
                  <c:v>1232.453</c:v>
                </c:pt>
                <c:pt idx="46">
                  <c:v>1224.3599</c:v>
                </c:pt>
                <c:pt idx="47">
                  <c:v>1197.6553</c:v>
                </c:pt>
                <c:pt idx="48">
                  <c:v>1178.8108</c:v>
                </c:pt>
                <c:pt idx="49">
                  <c:v>1186.8418</c:v>
                </c:pt>
                <c:pt idx="50">
                  <c:v>1142.2921</c:v>
                </c:pt>
                <c:pt idx="51">
                  <c:v>1126.4572</c:v>
                </c:pt>
              </c:numCache>
            </c:numRef>
          </c:xVal>
          <c:yVal>
            <c:numRef>
              <c:f>Sheet1!$B$109:$B$160</c:f>
              <c:numCache>
                <c:formatCode>General</c:formatCode>
                <c:ptCount val="52"/>
                <c:pt idx="0">
                  <c:v>0.18217699495220707</c:v>
                </c:pt>
                <c:pt idx="1">
                  <c:v>0.18062663482315477</c:v>
                </c:pt>
                <c:pt idx="2">
                  <c:v>0.1946429934118485</c:v>
                </c:pt>
                <c:pt idx="3">
                  <c:v>0.20574750915657097</c:v>
                </c:pt>
                <c:pt idx="4">
                  <c:v>0.1908303671040748</c:v>
                </c:pt>
                <c:pt idx="5">
                  <c:v>0.18936664264552808</c:v>
                </c:pt>
                <c:pt idx="6">
                  <c:v>0.1971470831557572</c:v>
                </c:pt>
                <c:pt idx="7">
                  <c:v>0.19326490680031583</c:v>
                </c:pt>
                <c:pt idx="8">
                  <c:v>0.18219546848126822</c:v>
                </c:pt>
                <c:pt idx="9">
                  <c:v>0.191000823723229</c:v>
                </c:pt>
                <c:pt idx="10">
                  <c:v>0.19159109645507008</c:v>
                </c:pt>
                <c:pt idx="11">
                  <c:v>0.19539322794643518</c:v>
                </c:pt>
                <c:pt idx="12">
                  <c:v>0.19344427917941234</c:v>
                </c:pt>
                <c:pt idx="13">
                  <c:v>0.19342082137207803</c:v>
                </c:pt>
                <c:pt idx="14">
                  <c:v>0.19140109978454514</c:v>
                </c:pt>
                <c:pt idx="15">
                  <c:v>0.18997361477572558</c:v>
                </c:pt>
                <c:pt idx="16">
                  <c:v>0.1796423767703141</c:v>
                </c:pt>
                <c:pt idx="17">
                  <c:v>0.1837104818432876</c:v>
                </c:pt>
                <c:pt idx="18">
                  <c:v>0.1872991967871486</c:v>
                </c:pt>
                <c:pt idx="19">
                  <c:v>0.18302782171768867</c:v>
                </c:pt>
                <c:pt idx="20">
                  <c:v>0.1756687242798354</c:v>
                </c:pt>
                <c:pt idx="21">
                  <c:v>0.18492764517947755</c:v>
                </c:pt>
                <c:pt idx="22">
                  <c:v>0.1825450939068989</c:v>
                </c:pt>
                <c:pt idx="23">
                  <c:v>0.19000063207129764</c:v>
                </c:pt>
                <c:pt idx="24">
                  <c:v>0.1904928550597842</c:v>
                </c:pt>
                <c:pt idx="25">
                  <c:v>0.18846625766871167</c:v>
                </c:pt>
                <c:pt idx="26">
                  <c:v>0.18192372438613805</c:v>
                </c:pt>
                <c:pt idx="27">
                  <c:v>0.18187585915195092</c:v>
                </c:pt>
                <c:pt idx="28">
                  <c:v>0.17280129517642018</c:v>
                </c:pt>
                <c:pt idx="29">
                  <c:v>0.17543758967001435</c:v>
                </c:pt>
                <c:pt idx="30">
                  <c:v>0.18</c:v>
                </c:pt>
                <c:pt idx="31">
                  <c:v>0.1725672277036177</c:v>
                </c:pt>
                <c:pt idx="32">
                  <c:v>0.16785391225689733</c:v>
                </c:pt>
                <c:pt idx="33">
                  <c:v>0.1851078966089637</c:v>
                </c:pt>
                <c:pt idx="34">
                  <c:v>0.1982967012533006</c:v>
                </c:pt>
                <c:pt idx="35">
                  <c:v>0.19516886602549766</c:v>
                </c:pt>
                <c:pt idx="36">
                  <c:v>0.18259230822921757</c:v>
                </c:pt>
                <c:pt idx="37">
                  <c:v>0.18523615889896777</c:v>
                </c:pt>
                <c:pt idx="38">
                  <c:v>0.18279118572927597</c:v>
                </c:pt>
                <c:pt idx="39">
                  <c:v>0.1885899480425948</c:v>
                </c:pt>
                <c:pt idx="40">
                  <c:v>0.1790814549435239</c:v>
                </c:pt>
                <c:pt idx="41">
                  <c:v>0.18204488778054864</c:v>
                </c:pt>
                <c:pt idx="42">
                  <c:v>0.18224150703778177</c:v>
                </c:pt>
                <c:pt idx="43">
                  <c:v>0.175</c:v>
                </c:pt>
                <c:pt idx="44">
                  <c:v>0.17232425585813807</c:v>
                </c:pt>
                <c:pt idx="45">
                  <c:v>0.18626747080222095</c:v>
                </c:pt>
                <c:pt idx="46">
                  <c:v>0.20043010752688173</c:v>
                </c:pt>
                <c:pt idx="47">
                  <c:v>0.2023057697992529</c:v>
                </c:pt>
                <c:pt idx="48">
                  <c:v>0.19867519928146402</c:v>
                </c:pt>
                <c:pt idx="49">
                  <c:v>0.20408204877253078</c:v>
                </c:pt>
                <c:pt idx="50">
                  <c:v>0.2109689213893967</c:v>
                </c:pt>
                <c:pt idx="51">
                  <c:v>0.2034182384740681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20.5789737789129</c:v>
                </c:pt>
              </c:numCache>
            </c:numRef>
          </c:xVal>
          <c:yVal>
            <c:numRef>
              <c:f>Sheet1!$B$163:$B$164</c:f>
              <c:numCache>
                <c:formatCode>General</c:formatCode>
                <c:ptCount val="2"/>
                <c:pt idx="0">
                  <c:v>0.23665655386773585</c:v>
                </c:pt>
                <c:pt idx="1">
                  <c:v>0.2366565538677358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20.5789737789129</c:v>
                </c:pt>
                <c:pt idx="1">
                  <c:v>720.5789737789129</c:v>
                </c:pt>
              </c:numCache>
            </c:numRef>
          </c:xVal>
          <c:yVal>
            <c:numRef>
              <c:f>Sheet1!$B$167:$B$168</c:f>
              <c:numCache>
                <c:formatCode>General</c:formatCode>
                <c:ptCount val="2"/>
                <c:pt idx="0">
                  <c:v>0.236656553867735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63.9480792664249</c:v>
                </c:pt>
              </c:numCache>
            </c:numRef>
          </c:xVal>
          <c:yVal>
            <c:numRef>
              <c:f>Sheet1!$B$171:$B$172</c:f>
              <c:numCache>
                <c:formatCode>General</c:formatCode>
                <c:ptCount val="2"/>
                <c:pt idx="0">
                  <c:v>0.20428610197936492</c:v>
                </c:pt>
                <c:pt idx="1">
                  <c:v>0.2042861019793649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63.9480792664249</c:v>
                </c:pt>
                <c:pt idx="1">
                  <c:v>1063.9480792664249</c:v>
                </c:pt>
              </c:numCache>
            </c:numRef>
          </c:xVal>
          <c:yVal>
            <c:numRef>
              <c:f>Sheet1!$B$175:$B$176</c:f>
              <c:numCache>
                <c:formatCode>General</c:formatCode>
                <c:ptCount val="2"/>
                <c:pt idx="0">
                  <c:v>0.2042861019793649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02.897587417768</c:v>
                </c:pt>
              </c:numCache>
            </c:numRef>
          </c:xVal>
          <c:yVal>
            <c:numRef>
              <c:f>Sheet1!$B$179:$B$180</c:f>
              <c:numCache>
                <c:formatCode>General</c:formatCode>
                <c:ptCount val="2"/>
                <c:pt idx="0">
                  <c:v>0.19118690843910788</c:v>
                </c:pt>
                <c:pt idx="1">
                  <c:v>0.1911869084391078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02.897587417768</c:v>
                </c:pt>
                <c:pt idx="1">
                  <c:v>1202.897587417768</c:v>
                </c:pt>
              </c:numCache>
            </c:numRef>
          </c:xVal>
          <c:yVal>
            <c:numRef>
              <c:f>Sheet1!$B$183:$B$184</c:f>
              <c:numCache>
                <c:formatCode>General</c:formatCode>
                <c:ptCount val="2"/>
                <c:pt idx="0">
                  <c:v>0.191186908439107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0.5912</c:v>
                </c:pt>
                <c:pt idx="1">
                  <c:v>1237.7126</c:v>
                </c:pt>
                <c:pt idx="2">
                  <c:v>1244.7866</c:v>
                </c:pt>
                <c:pt idx="3">
                  <c:v>1234.0677</c:v>
                </c:pt>
                <c:pt idx="4">
                  <c:v>1258.56</c:v>
                </c:pt>
                <c:pt idx="5">
                  <c:v>1250.2569</c:v>
                </c:pt>
                <c:pt idx="6">
                  <c:v>1164.5687</c:v>
                </c:pt>
                <c:pt idx="7">
                  <c:v>1194.7737</c:v>
                </c:pt>
                <c:pt idx="8">
                  <c:v>1247.4773</c:v>
                </c:pt>
                <c:pt idx="9">
                  <c:v>1175.6943</c:v>
                </c:pt>
                <c:pt idx="10">
                  <c:v>1205.7759</c:v>
                </c:pt>
                <c:pt idx="11">
                  <c:v>1110.92</c:v>
                </c:pt>
                <c:pt idx="12">
                  <c:v>1150.6327</c:v>
                </c:pt>
                <c:pt idx="13">
                  <c:v>1180.9382</c:v>
                </c:pt>
                <c:pt idx="14">
                  <c:v>1191.5638</c:v>
                </c:pt>
                <c:pt idx="15">
                  <c:v>1193.0121</c:v>
                </c:pt>
                <c:pt idx="16">
                  <c:v>1244.6981</c:v>
                </c:pt>
                <c:pt idx="17">
                  <c:v>1191.8941</c:v>
                </c:pt>
                <c:pt idx="18">
                  <c:v>1219.1898</c:v>
                </c:pt>
                <c:pt idx="19">
                  <c:v>1317.9428</c:v>
                </c:pt>
                <c:pt idx="20">
                  <c:v>1290.4524</c:v>
                </c:pt>
                <c:pt idx="21">
                  <c:v>1220.3404</c:v>
                </c:pt>
                <c:pt idx="22">
                  <c:v>1242.508</c:v>
                </c:pt>
                <c:pt idx="23">
                  <c:v>1225.5446</c:v>
                </c:pt>
                <c:pt idx="24">
                  <c:v>1221.3668</c:v>
                </c:pt>
                <c:pt idx="25">
                  <c:v>1212.181</c:v>
                </c:pt>
                <c:pt idx="26">
                  <c:v>1224.1385</c:v>
                </c:pt>
                <c:pt idx="27">
                  <c:v>1236.0506</c:v>
                </c:pt>
                <c:pt idx="28">
                  <c:v>1270.3037</c:v>
                </c:pt>
                <c:pt idx="29">
                  <c:v>1273.6984</c:v>
                </c:pt>
                <c:pt idx="30">
                  <c:v>1266.8522</c:v>
                </c:pt>
                <c:pt idx="31">
                  <c:v>1252.2354</c:v>
                </c:pt>
                <c:pt idx="32">
                  <c:v>1271.4732</c:v>
                </c:pt>
                <c:pt idx="33">
                  <c:v>1267.4386</c:v>
                </c:pt>
                <c:pt idx="34">
                  <c:v>1286.4124</c:v>
                </c:pt>
                <c:pt idx="35">
                  <c:v>1312.7891</c:v>
                </c:pt>
                <c:pt idx="36">
                  <c:v>1334.6724</c:v>
                </c:pt>
                <c:pt idx="37">
                  <c:v>1326.2307</c:v>
                </c:pt>
                <c:pt idx="38">
                  <c:v>1337.6582</c:v>
                </c:pt>
                <c:pt idx="39">
                  <c:v>1300.5035</c:v>
                </c:pt>
                <c:pt idx="40">
                  <c:v>1319.2248</c:v>
                </c:pt>
                <c:pt idx="41">
                  <c:v>1350.2781</c:v>
                </c:pt>
                <c:pt idx="42">
                  <c:v>1337.7756</c:v>
                </c:pt>
                <c:pt idx="43">
                  <c:v>1345.0308</c:v>
                </c:pt>
                <c:pt idx="44">
                  <c:v>1271.2854</c:v>
                </c:pt>
                <c:pt idx="45">
                  <c:v>1232.453</c:v>
                </c:pt>
                <c:pt idx="46">
                  <c:v>1224.3599</c:v>
                </c:pt>
                <c:pt idx="47">
                  <c:v>1197.6553</c:v>
                </c:pt>
                <c:pt idx="48">
                  <c:v>1178.8108</c:v>
                </c:pt>
                <c:pt idx="49">
                  <c:v>1186.8418</c:v>
                </c:pt>
                <c:pt idx="50">
                  <c:v>1142.2921</c:v>
                </c:pt>
                <c:pt idx="51">
                  <c:v>1126.4572</c:v>
                </c:pt>
                <c:pt idx="52">
                  <c:v>1063.9480792664249</c:v>
                </c:pt>
                <c:pt idx="53">
                  <c:v>720.5789737789129</c:v>
                </c:pt>
                <c:pt idx="54">
                  <c:v>1202.897587417768</c:v>
                </c:pt>
              </c:numCache>
            </c:numRef>
          </c:xVal>
          <c:yVal>
            <c:numRef>
              <c:f>Sheet1!$B$187:$B$241</c:f>
              <c:numCache>
                <c:formatCode>General</c:formatCode>
                <c:ptCount val="55"/>
                <c:pt idx="0">
                  <c:v>0.1885761471930268</c:v>
                </c:pt>
                <c:pt idx="1">
                  <c:v>0.1879047911147024</c:v>
                </c:pt>
                <c:pt idx="2">
                  <c:v>0.18723790357881528</c:v>
                </c:pt>
                <c:pt idx="3">
                  <c:v>0.18824840694443878</c:v>
                </c:pt>
                <c:pt idx="4">
                  <c:v>0.18593944319052183</c:v>
                </c:pt>
                <c:pt idx="5">
                  <c:v>0.1867222017287215</c:v>
                </c:pt>
                <c:pt idx="6">
                  <c:v>0.1948002894517359</c:v>
                </c:pt>
                <c:pt idx="7">
                  <c:v>0.19195277206108408</c:v>
                </c:pt>
                <c:pt idx="8">
                  <c:v>0.18698424309071637</c:v>
                </c:pt>
                <c:pt idx="9">
                  <c:v>0.19375144523781648</c:v>
                </c:pt>
                <c:pt idx="10">
                  <c:v>0.19091556114118907</c:v>
                </c:pt>
                <c:pt idx="11">
                  <c:v>0.19985791587901156</c:v>
                </c:pt>
                <c:pt idx="12">
                  <c:v>0.1961140786375039</c:v>
                </c:pt>
                <c:pt idx="13">
                  <c:v>0.1932570868056086</c:v>
                </c:pt>
                <c:pt idx="14">
                  <c:v>0.1922553791152888</c:v>
                </c:pt>
                <c:pt idx="15">
                  <c:v>0.1921188434610302</c:v>
                </c:pt>
                <c:pt idx="16">
                  <c:v>0.18724624674349238</c:v>
                </c:pt>
                <c:pt idx="17">
                  <c:v>0.19222424072779892</c:v>
                </c:pt>
                <c:pt idx="18">
                  <c:v>0.1896509919133637</c:v>
                </c:pt>
                <c:pt idx="19">
                  <c:v>0.18034124568330123</c:v>
                </c:pt>
                <c:pt idx="20">
                  <c:v>0.1829328494600261</c:v>
                </c:pt>
                <c:pt idx="21">
                  <c:v>0.18954252134525634</c:v>
                </c:pt>
                <c:pt idx="22">
                  <c:v>0.18745271414416337</c:v>
                </c:pt>
                <c:pt idx="23">
                  <c:v>0.18905190555302226</c:v>
                </c:pt>
                <c:pt idx="24">
                  <c:v>0.18944575948961107</c:v>
                </c:pt>
                <c:pt idx="25">
                  <c:v>0.1903117328465735</c:v>
                </c:pt>
                <c:pt idx="26">
                  <c:v>0.18918446288468904</c:v>
                </c:pt>
                <c:pt idx="27">
                  <c:v>0.1880614729191475</c:v>
                </c:pt>
                <c:pt idx="28">
                  <c:v>0.1848323288061286</c:v>
                </c:pt>
                <c:pt idx="29">
                  <c:v>0.18451230009280148</c:v>
                </c:pt>
                <c:pt idx="30">
                  <c:v>0.1851577122285366</c:v>
                </c:pt>
                <c:pt idx="31">
                  <c:v>0.18653568250483787</c:v>
                </c:pt>
                <c:pt idx="32">
                  <c:v>0.18472207647742914</c:v>
                </c:pt>
                <c:pt idx="33">
                  <c:v>0.18510243051365904</c:v>
                </c:pt>
                <c:pt idx="34">
                  <c:v>0.18331371257071088</c:v>
                </c:pt>
                <c:pt idx="35">
                  <c:v>0.18082710068665175</c:v>
                </c:pt>
                <c:pt idx="36">
                  <c:v>0.17876409531287754</c:v>
                </c:pt>
                <c:pt idx="37">
                  <c:v>0.179559920095419</c:v>
                </c:pt>
                <c:pt idx="38">
                  <c:v>0.17848261484855016</c:v>
                </c:pt>
                <c:pt idx="39">
                  <c:v>0.18198530163532223</c:v>
                </c:pt>
                <c:pt idx="40">
                  <c:v>0.18022038763679188</c:v>
                </c:pt>
                <c:pt idx="41">
                  <c:v>0.177292898420201</c:v>
                </c:pt>
                <c:pt idx="42">
                  <c:v>0.17847154719280897</c:v>
                </c:pt>
                <c:pt idx="43">
                  <c:v>0.17778757738076933</c:v>
                </c:pt>
                <c:pt idx="44">
                  <c:v>0.18473978095569316</c:v>
                </c:pt>
                <c:pt idx="45">
                  <c:v>0.18840062963375132</c:v>
                </c:pt>
                <c:pt idx="46">
                  <c:v>0.18916359083203915</c:v>
                </c:pt>
                <c:pt idx="47">
                  <c:v>0.19168111484827488</c:v>
                </c:pt>
                <c:pt idx="48">
                  <c:v>0.19345764328622017</c:v>
                </c:pt>
                <c:pt idx="49">
                  <c:v>0.1927005364441634</c:v>
                </c:pt>
                <c:pt idx="50">
                  <c:v>0.19690037241497357</c:v>
                </c:pt>
                <c:pt idx="51">
                  <c:v>0.19839317669006817</c:v>
                </c:pt>
                <c:pt idx="52">
                  <c:v>0.20428610197936492</c:v>
                </c:pt>
                <c:pt idx="53">
                  <c:v>0.23665655386773585</c:v>
                </c:pt>
                <c:pt idx="54">
                  <c:v>0.1911869084391078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0.0"/>
          <c:min val="57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757565949182714"/>
          <c:min val="0.1187518226888305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655576228967028</c:v>
                </c:pt>
                <c:pt idx="1">
                  <c:v>0.6954447407160115</c:v>
                </c:pt>
                <c:pt idx="2">
                  <c:v>0.6870006256557155</c:v>
                </c:pt>
                <c:pt idx="3">
                  <c:v>0.6950345504786161</c:v>
                </c:pt>
                <c:pt idx="4">
                  <c:v>0.6918560504771595</c:v>
                </c:pt>
                <c:pt idx="5">
                  <c:v>0.7004847762193033</c:v>
                </c:pt>
                <c:pt idx="6">
                  <c:v>0.6678634004412493</c:v>
                </c:pt>
                <c:pt idx="7">
                  <c:v>0.6612797381181584</c:v>
                </c:pt>
                <c:pt idx="8">
                  <c:v>0.6622904310582993</c:v>
                </c:pt>
                <c:pt idx="9">
                  <c:v>0.6948466793023856</c:v>
                </c:pt>
                <c:pt idx="10">
                  <c:v>0.7018710685146123</c:v>
                </c:pt>
                <c:pt idx="11">
                  <c:v>0.7066732853630701</c:v>
                </c:pt>
                <c:pt idx="12">
                  <c:v>0.721866336932797</c:v>
                </c:pt>
                <c:pt idx="13">
                  <c:v>0.7136443506386388</c:v>
                </c:pt>
                <c:pt idx="14">
                  <c:v>0.7358574472756035</c:v>
                </c:pt>
                <c:pt idx="15">
                  <c:v>0.7375086293384168</c:v>
                </c:pt>
                <c:pt idx="16">
                  <c:v>0.7324332394600435</c:v>
                </c:pt>
                <c:pt idx="17">
                  <c:v>0.7274121821806065</c:v>
                </c:pt>
                <c:pt idx="18">
                  <c:v>0.7430412555568309</c:v>
                </c:pt>
                <c:pt idx="19">
                  <c:v>0.7590007974030173</c:v>
                </c:pt>
                <c:pt idx="20">
                  <c:v>0.7648439626539815</c:v>
                </c:pt>
                <c:pt idx="21">
                  <c:v>0.6922613576663473</c:v>
                </c:pt>
                <c:pt idx="22">
                  <c:v>0.6590245952887497</c:v>
                </c:pt>
                <c:pt idx="23">
                  <c:v>0.6406867791564232</c:v>
                </c:pt>
                <c:pt idx="24">
                  <c:v>0.6232809520030552</c:v>
                </c:pt>
                <c:pt idx="25">
                  <c:v>0.6024406476646276</c:v>
                </c:pt>
                <c:pt idx="26">
                  <c:v>0.6099765886168247</c:v>
                </c:pt>
                <c:pt idx="27">
                  <c:v>0.6262211751055238</c:v>
                </c:pt>
                <c:pt idx="28">
                  <c:v>0.6185714217002051</c:v>
                </c:pt>
                <c:pt idx="29">
                  <c:v>0.5706893028336103</c:v>
                </c:pt>
                <c:pt idx="30">
                  <c:v>0.5865900540280112</c:v>
                </c:pt>
                <c:pt idx="31">
                  <c:v>0.5942655636681325</c:v>
                </c:pt>
                <c:pt idx="32">
                  <c:v>0.5690101168092117</c:v>
                </c:pt>
                <c:pt idx="33">
                  <c:v>0.5460139977663828</c:v>
                </c:pt>
                <c:pt idx="34">
                  <c:v>0.6217628125669699</c:v>
                </c:pt>
                <c:pt idx="35">
                  <c:v>0.6931999893651332</c:v>
                </c:pt>
                <c:pt idx="36">
                  <c:v>0.7202364697585788</c:v>
                </c:pt>
                <c:pt idx="37">
                  <c:v>0.6866472645170308</c:v>
                </c:pt>
                <c:pt idx="38">
                  <c:v>0.7234937602230931</c:v>
                </c:pt>
                <c:pt idx="39">
                  <c:v>0.7438534262856892</c:v>
                </c:pt>
                <c:pt idx="40">
                  <c:v>0.7542548526325802</c:v>
                </c:pt>
                <c:pt idx="41">
                  <c:v>0.7329663464887551</c:v>
                </c:pt>
                <c:pt idx="42">
                  <c:v>0.7656556579243925</c:v>
                </c:pt>
                <c:pt idx="43">
                  <c:v>0.7725394603982917</c:v>
                </c:pt>
                <c:pt idx="44">
                  <c:v>0.7251108075540242</c:v>
                </c:pt>
                <c:pt idx="45">
                  <c:v>0.7076886616100492</c:v>
                </c:pt>
                <c:pt idx="46">
                  <c:v>0.7079112261774051</c:v>
                </c:pt>
                <c:pt idx="47">
                  <c:v>0.7100898433943309</c:v>
                </c:pt>
                <c:pt idx="48">
                  <c:v>0.7086228928001779</c:v>
                </c:pt>
                <c:pt idx="49">
                  <c:v>0.7195590385028158</c:v>
                </c:pt>
                <c:pt idx="50">
                  <c:v>0.6843775076921297</c:v>
                </c:pt>
                <c:pt idx="51">
                  <c:v>0.6862615452676056</c:v>
                </c:pt>
                <c:pt idx="52">
                  <c:v>0.696144557566171</c:v>
                </c:pt>
                <c:pt idx="53">
                  <c:v>0.6726544608005584</c:v>
                </c:pt>
                <c:pt idx="54">
                  <c:v>0.6514463679649038</c:v>
                </c:pt>
                <c:pt idx="55">
                  <c:v>0.6602074630842416</c:v>
                </c:pt>
                <c:pt idx="56">
                  <c:v>0.6677466391526665</c:v>
                </c:pt>
                <c:pt idx="57">
                  <c:v>0.6666389253936441</c:v>
                </c:pt>
                <c:pt idx="58">
                  <c:v>0.652219567336464</c:v>
                </c:pt>
                <c:pt idx="59">
                  <c:v>0.6690819600452786</c:v>
                </c:pt>
                <c:pt idx="60">
                  <c:v>0.6744167552859419</c:v>
                </c:pt>
                <c:pt idx="61">
                  <c:v>0.6780368112138684</c:v>
                </c:pt>
                <c:pt idx="62">
                  <c:v>0.6747742505386335</c:v>
                </c:pt>
                <c:pt idx="63">
                  <c:v>0.688584935700058</c:v>
                </c:pt>
                <c:pt idx="64">
                  <c:v>0.7265290115606038</c:v>
                </c:pt>
                <c:pt idx="65">
                  <c:v>0.7352561906697804</c:v>
                </c:pt>
                <c:pt idx="66">
                  <c:v>0.7268081473985425</c:v>
                </c:pt>
                <c:pt idx="67">
                  <c:v>0.7267089958549868</c:v>
                </c:pt>
                <c:pt idx="68">
                  <c:v>0.7181107123349303</c:v>
                </c:pt>
                <c:pt idx="69">
                  <c:v>0.714401222638605</c:v>
                </c:pt>
                <c:pt idx="70">
                  <c:v>0.6881200528550482</c:v>
                </c:pt>
                <c:pt idx="71">
                  <c:v>0.6559005506013171</c:v>
                </c:pt>
                <c:pt idx="72">
                  <c:v>0.6895911062677588</c:v>
                </c:pt>
                <c:pt idx="73">
                  <c:v>0.6679523570672863</c:v>
                </c:pt>
                <c:pt idx="74">
                  <c:v>0.6319951090659726</c:v>
                </c:pt>
                <c:pt idx="75">
                  <c:v>0.6190590659136467</c:v>
                </c:pt>
                <c:pt idx="76">
                  <c:v>0.6271492982960193</c:v>
                </c:pt>
                <c:pt idx="77">
                  <c:v>0.625250428849625</c:v>
                </c:pt>
                <c:pt idx="78">
                  <c:v>0.6653172776374743</c:v>
                </c:pt>
                <c:pt idx="79">
                  <c:v>0.46006794578436555</c:v>
                </c:pt>
                <c:pt idx="80">
                  <c:v>0.4871646267346731</c:v>
                </c:pt>
                <c:pt idx="81">
                  <c:v>0.609704450343148</c:v>
                </c:pt>
                <c:pt idx="82">
                  <c:v>0.6017751341835089</c:v>
                </c:pt>
                <c:pt idx="83">
                  <c:v>0.5934690225134359</c:v>
                </c:pt>
                <c:pt idx="84">
                  <c:v>0.603850297213249</c:v>
                </c:pt>
                <c:pt idx="85">
                  <c:v>0.6200955827606851</c:v>
                </c:pt>
                <c:pt idx="86">
                  <c:v>0.6989631428414266</c:v>
                </c:pt>
                <c:pt idx="87">
                  <c:v>0.7388464845043734</c:v>
                </c:pt>
                <c:pt idx="88">
                  <c:v>0.6904108011541339</c:v>
                </c:pt>
                <c:pt idx="89">
                  <c:v>0.6466371508184434</c:v>
                </c:pt>
                <c:pt idx="90">
                  <c:v>0.659172386567321</c:v>
                </c:pt>
                <c:pt idx="91">
                  <c:v>0.6956175069323232</c:v>
                </c:pt>
                <c:pt idx="92">
                  <c:v>0.7191368279652915</c:v>
                </c:pt>
                <c:pt idx="93">
                  <c:v>0.7333035862102293</c:v>
                </c:pt>
                <c:pt idx="94">
                  <c:v>0.7433461251778001</c:v>
                </c:pt>
                <c:pt idx="95">
                  <c:v>0.7714676752199627</c:v>
                </c:pt>
                <c:pt idx="96">
                  <c:v>0.7570260654906334</c:v>
                </c:pt>
                <c:pt idx="97">
                  <c:v>0.8144568368546318</c:v>
                </c:pt>
                <c:pt idx="98">
                  <c:v>0.8217730516160133</c:v>
                </c:pt>
                <c:pt idx="99">
                  <c:v>0.8077834451896673</c:v>
                </c:pt>
                <c:pt idx="100">
                  <c:v>0.803420941521344</c:v>
                </c:pt>
                <c:pt idx="101">
                  <c:v>0.7675654067243941</c:v>
                </c:pt>
                <c:pt idx="102">
                  <c:v>0.7638815482606942</c:v>
                </c:pt>
                <c:pt idx="103">
                  <c:v>0.7046850237378072</c:v>
                </c:pt>
                <c:pt idx="104">
                  <c:v>0.7180187785252309</c:v>
                </c:pt>
              </c:numCache>
            </c:numRef>
          </c:xVal>
          <c:yVal>
            <c:numRef>
              <c:f>Sheet1!$B$2:$B$106</c:f>
              <c:numCache>
                <c:formatCode>General</c:formatCode>
                <c:ptCount val="105"/>
                <c:pt idx="0">
                  <c:v>0.2142778451030076</c:v>
                </c:pt>
                <c:pt idx="1">
                  <c:v>0.2205680119581465</c:v>
                </c:pt>
                <c:pt idx="2">
                  <c:v>0.20282753182381436</c:v>
                </c:pt>
                <c:pt idx="3">
                  <c:v>0.20211971936109868</c:v>
                </c:pt>
                <c:pt idx="4">
                  <c:v>0.19169137371170408</c:v>
                </c:pt>
                <c:pt idx="5">
                  <c:v>0.1788611996522747</c:v>
                </c:pt>
                <c:pt idx="6">
                  <c:v>0.1940596137699412</c:v>
                </c:pt>
                <c:pt idx="7">
                  <c:v>0.18765172357986729</c:v>
                </c:pt>
                <c:pt idx="8">
                  <c:v>0.2003025337199042</c:v>
                </c:pt>
                <c:pt idx="9">
                  <c:v>0.19964681025511652</c:v>
                </c:pt>
                <c:pt idx="10">
                  <c:v>0.21146317592366037</c:v>
                </c:pt>
                <c:pt idx="11">
                  <c:v>0.20691998764287922</c:v>
                </c:pt>
                <c:pt idx="12">
                  <c:v>0.2121600091043587</c:v>
                </c:pt>
                <c:pt idx="13">
                  <c:v>0.21832690755850445</c:v>
                </c:pt>
                <c:pt idx="14">
                  <c:v>0.21323685246298707</c:v>
                </c:pt>
                <c:pt idx="15">
                  <c:v>0.21025421613719827</c:v>
                </c:pt>
                <c:pt idx="16">
                  <c:v>0.19590357520970764</c:v>
                </c:pt>
                <c:pt idx="17">
                  <c:v>0.19084721475909008</c:v>
                </c:pt>
                <c:pt idx="18">
                  <c:v>0.17428241089830593</c:v>
                </c:pt>
                <c:pt idx="19">
                  <c:v>0.15911344415281423</c:v>
                </c:pt>
                <c:pt idx="20">
                  <c:v>0.17342784616121462</c:v>
                </c:pt>
                <c:pt idx="21">
                  <c:v>0.1697351229362157</c:v>
                </c:pt>
                <c:pt idx="22">
                  <c:v>0.16864132036545829</c:v>
                </c:pt>
                <c:pt idx="23">
                  <c:v>0.16985230234578627</c:v>
                </c:pt>
                <c:pt idx="24">
                  <c:v>0.17376209447922594</c:v>
                </c:pt>
                <c:pt idx="25">
                  <c:v>0.17251215559157212</c:v>
                </c:pt>
                <c:pt idx="26">
                  <c:v>0.17551114174132781</c:v>
                </c:pt>
                <c:pt idx="27">
                  <c:v>0.16991130696714454</c:v>
                </c:pt>
                <c:pt idx="28">
                  <c:v>0.16685584562996594</c:v>
                </c:pt>
                <c:pt idx="29">
                  <c:v>0.18139695371420123</c:v>
                </c:pt>
                <c:pt idx="30">
                  <c:v>0.16671959352175295</c:v>
                </c:pt>
                <c:pt idx="31">
                  <c:v>0.1619269428781564</c:v>
                </c:pt>
                <c:pt idx="32">
                  <c:v>0.17044424297370808</c:v>
                </c:pt>
                <c:pt idx="33">
                  <c:v>0.1885484873106151</c:v>
                </c:pt>
                <c:pt idx="34">
                  <c:v>0.18400170648464165</c:v>
                </c:pt>
                <c:pt idx="35">
                  <c:v>0.1867177033492823</c:v>
                </c:pt>
                <c:pt idx="36">
                  <c:v>0.15092002018996925</c:v>
                </c:pt>
                <c:pt idx="37">
                  <c:v>0.13891682990100057</c:v>
                </c:pt>
                <c:pt idx="38">
                  <c:v>0.13205435651478817</c:v>
                </c:pt>
                <c:pt idx="39">
                  <c:v>0.13110424276482158</c:v>
                </c:pt>
                <c:pt idx="40">
                  <c:v>0.13415972921050223</c:v>
                </c:pt>
                <c:pt idx="41">
                  <c:v>0.12268412770925334</c:v>
                </c:pt>
                <c:pt idx="42">
                  <c:v>0.12946893439777854</c:v>
                </c:pt>
                <c:pt idx="43">
                  <c:v>0.13465698393077874</c:v>
                </c:pt>
                <c:pt idx="44">
                  <c:v>0.1520209077265435</c:v>
                </c:pt>
                <c:pt idx="45">
                  <c:v>0.17098201675925054</c:v>
                </c:pt>
                <c:pt idx="46">
                  <c:v>0.1779121432824882</c:v>
                </c:pt>
                <c:pt idx="47">
                  <c:v>0.17797305213825423</c:v>
                </c:pt>
                <c:pt idx="48">
                  <c:v>0.19519969998124884</c:v>
                </c:pt>
                <c:pt idx="49">
                  <c:v>0.22485192969048529</c:v>
                </c:pt>
                <c:pt idx="50">
                  <c:v>0.18717832957110608</c:v>
                </c:pt>
                <c:pt idx="51">
                  <c:v>0.17017403535868936</c:v>
                </c:pt>
                <c:pt idx="52">
                  <c:v>0.18587524683470785</c:v>
                </c:pt>
                <c:pt idx="53">
                  <c:v>0.17409405418083734</c:v>
                </c:pt>
                <c:pt idx="54">
                  <c:v>0.16918866709594332</c:v>
                </c:pt>
                <c:pt idx="55">
                  <c:v>0.16388502549837738</c:v>
                </c:pt>
                <c:pt idx="56">
                  <c:v>0.17452272343301234</c:v>
                </c:pt>
                <c:pt idx="57">
                  <c:v>0.16809585679226216</c:v>
                </c:pt>
                <c:pt idx="58">
                  <c:v>0.18187869428617073</c:v>
                </c:pt>
                <c:pt idx="59">
                  <c:v>0.18989330478919927</c:v>
                </c:pt>
                <c:pt idx="60">
                  <c:v>0.19817356799756983</c:v>
                </c:pt>
                <c:pt idx="61">
                  <c:v>0.19613014414038019</c:v>
                </c:pt>
                <c:pt idx="62">
                  <c:v>0.2017100956537183</c:v>
                </c:pt>
                <c:pt idx="63">
                  <c:v>0.21835377499597303</c:v>
                </c:pt>
                <c:pt idx="64">
                  <c:v>0.2085806799784134</c:v>
                </c:pt>
                <c:pt idx="65">
                  <c:v>0.1998825371965544</c:v>
                </c:pt>
                <c:pt idx="66">
                  <c:v>0.1973831585378271</c:v>
                </c:pt>
                <c:pt idx="67">
                  <c:v>0.19430203994446224</c:v>
                </c:pt>
                <c:pt idx="68">
                  <c:v>0.17686881148967132</c:v>
                </c:pt>
                <c:pt idx="69">
                  <c:v>0.16319170984455958</c:v>
                </c:pt>
                <c:pt idx="70">
                  <c:v>0.1533490937746257</c:v>
                </c:pt>
                <c:pt idx="71">
                  <c:v>0.16064874093043108</c:v>
                </c:pt>
                <c:pt idx="72">
                  <c:v>0.1608600759841565</c:v>
                </c:pt>
                <c:pt idx="73">
                  <c:v>0.16387831072696932</c:v>
                </c:pt>
                <c:pt idx="74">
                  <c:v>0.16418766646179062</c:v>
                </c:pt>
                <c:pt idx="75">
                  <c:v>0.16404559226662818</c:v>
                </c:pt>
                <c:pt idx="76">
                  <c:v>0.1593002315410342</c:v>
                </c:pt>
                <c:pt idx="77">
                  <c:v>0.15677497498551793</c:v>
                </c:pt>
                <c:pt idx="78">
                  <c:v>0.1476671759313668</c:v>
                </c:pt>
                <c:pt idx="79">
                  <c:v>0.1968398223691005</c:v>
                </c:pt>
                <c:pt idx="80">
                  <c:v>0.18245957359151302</c:v>
                </c:pt>
                <c:pt idx="81">
                  <c:v>0.1518782525036078</c:v>
                </c:pt>
                <c:pt idx="82">
                  <c:v>0.1534860108303249</c:v>
                </c:pt>
                <c:pt idx="83">
                  <c:v>0.1381531383503122</c:v>
                </c:pt>
                <c:pt idx="84">
                  <c:v>0.13925314517739465</c:v>
                </c:pt>
                <c:pt idx="85">
                  <c:v>0.14105925537493444</c:v>
                </c:pt>
                <c:pt idx="86">
                  <c:v>0.13826324124582087</c:v>
                </c:pt>
                <c:pt idx="87">
                  <c:v>0.1598108549190275</c:v>
                </c:pt>
                <c:pt idx="88">
                  <c:v>0.1421685470628741</c:v>
                </c:pt>
                <c:pt idx="89">
                  <c:v>0.13221375807940905</c:v>
                </c:pt>
                <c:pt idx="90">
                  <c:v>0.1263700456188163</c:v>
                </c:pt>
                <c:pt idx="91">
                  <c:v>0.1283997469955724</c:v>
                </c:pt>
                <c:pt idx="92">
                  <c:v>0.13316432357686103</c:v>
                </c:pt>
                <c:pt idx="93">
                  <c:v>0.12460783880517874</c:v>
                </c:pt>
                <c:pt idx="94">
                  <c:v>0.1268574297188755</c:v>
                </c:pt>
                <c:pt idx="95">
                  <c:v>0.1355782337987695</c:v>
                </c:pt>
                <c:pt idx="96">
                  <c:v>0.13646737847267768</c:v>
                </c:pt>
                <c:pt idx="97">
                  <c:v>0.14375402446877011</c:v>
                </c:pt>
                <c:pt idx="98">
                  <c:v>0.1603094530735948</c:v>
                </c:pt>
                <c:pt idx="99">
                  <c:v>0.1650910727889743</c:v>
                </c:pt>
                <c:pt idx="100">
                  <c:v>0.187766499377382</c:v>
                </c:pt>
                <c:pt idx="101">
                  <c:v>0.16697459082313562</c:v>
                </c:pt>
                <c:pt idx="102">
                  <c:v>0.13658866495333424</c:v>
                </c:pt>
                <c:pt idx="103">
                  <c:v>0.1561864579097194</c:v>
                </c:pt>
                <c:pt idx="104">
                  <c:v>0.1626277200318011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406553165457012</c:v>
                </c:pt>
                <c:pt idx="1">
                  <c:v>0.7000691527002108</c:v>
                </c:pt>
                <c:pt idx="2">
                  <c:v>0.7080767906803191</c:v>
                </c:pt>
                <c:pt idx="3">
                  <c:v>0.7062816356476201</c:v>
                </c:pt>
                <c:pt idx="4">
                  <c:v>0.697719970887983</c:v>
                </c:pt>
                <c:pt idx="5">
                  <c:v>0.7165672401977015</c:v>
                </c:pt>
                <c:pt idx="6">
                  <c:v>0.7189317375184802</c:v>
                </c:pt>
                <c:pt idx="7">
                  <c:v>0.7220178365044907</c:v>
                </c:pt>
                <c:pt idx="8">
                  <c:v>0.7612971462028065</c:v>
                </c:pt>
                <c:pt idx="9">
                  <c:v>0.737285759026272</c:v>
                </c:pt>
                <c:pt idx="10">
                  <c:v>0.7467592676074003</c:v>
                </c:pt>
                <c:pt idx="11">
                  <c:v>0.7469650511761464</c:v>
                </c:pt>
                <c:pt idx="12">
                  <c:v>0.747652141894353</c:v>
                </c:pt>
                <c:pt idx="13">
                  <c:v>0.7154206307584342</c:v>
                </c:pt>
                <c:pt idx="14">
                  <c:v>0.7245068713071081</c:v>
                </c:pt>
                <c:pt idx="15">
                  <c:v>0.722046995275514</c:v>
                </c:pt>
                <c:pt idx="16">
                  <c:v>0.7478264942830942</c:v>
                </c:pt>
                <c:pt idx="17">
                  <c:v>0.7277436666682209</c:v>
                </c:pt>
                <c:pt idx="18">
                  <c:v>0.719298663874982</c:v>
                </c:pt>
                <c:pt idx="19">
                  <c:v>0.7222273010043909</c:v>
                </c:pt>
                <c:pt idx="20">
                  <c:v>0.6915659177238961</c:v>
                </c:pt>
                <c:pt idx="21">
                  <c:v>0.6608746985346053</c:v>
                </c:pt>
                <c:pt idx="22">
                  <c:v>0.6400335975219413</c:v>
                </c:pt>
                <c:pt idx="23">
                  <c:v>0.6160035900428614</c:v>
                </c:pt>
                <c:pt idx="24">
                  <c:v>0.6121346015793071</c:v>
                </c:pt>
                <c:pt idx="25">
                  <c:v>0.629879513211204</c:v>
                </c:pt>
                <c:pt idx="26">
                  <c:v>0.6586988105788596</c:v>
                </c:pt>
                <c:pt idx="27">
                  <c:v>0.7168379668283635</c:v>
                </c:pt>
                <c:pt idx="28">
                  <c:v>0.7146229195805557</c:v>
                </c:pt>
                <c:pt idx="29">
                  <c:v>0.6779075452296964</c:v>
                </c:pt>
                <c:pt idx="30">
                  <c:v>0.660261837633672</c:v>
                </c:pt>
                <c:pt idx="31">
                  <c:v>0.6249225066090218</c:v>
                </c:pt>
                <c:pt idx="32">
                  <c:v>0.6356135468005638</c:v>
                </c:pt>
                <c:pt idx="33">
                  <c:v>0.6833413146197502</c:v>
                </c:pt>
                <c:pt idx="34">
                  <c:v>0.7249615753197349</c:v>
                </c:pt>
                <c:pt idx="35">
                  <c:v>0.6862485022480769</c:v>
                </c:pt>
                <c:pt idx="36">
                  <c:v>0.6137251251574859</c:v>
                </c:pt>
                <c:pt idx="37">
                  <c:v>0.6563508828008834</c:v>
                </c:pt>
                <c:pt idx="38">
                  <c:v>0.6397323673103354</c:v>
                </c:pt>
                <c:pt idx="39">
                  <c:v>0.6913566982577719</c:v>
                </c:pt>
                <c:pt idx="40">
                  <c:v>0.6931783638601462</c:v>
                </c:pt>
                <c:pt idx="41">
                  <c:v>0.7245823769802221</c:v>
                </c:pt>
                <c:pt idx="42">
                  <c:v>0.694565355676246</c:v>
                </c:pt>
                <c:pt idx="43">
                  <c:v>0.7402897108886266</c:v>
                </c:pt>
                <c:pt idx="44">
                  <c:v>0.7936351766566307</c:v>
                </c:pt>
                <c:pt idx="45">
                  <c:v>0.798291169417721</c:v>
                </c:pt>
                <c:pt idx="46">
                  <c:v>0.7646728018813379</c:v>
                </c:pt>
                <c:pt idx="47">
                  <c:v>0.778910198519289</c:v>
                </c:pt>
                <c:pt idx="48">
                  <c:v>0.8109837088658614</c:v>
                </c:pt>
                <c:pt idx="49">
                  <c:v>0.8207948925629216</c:v>
                </c:pt>
                <c:pt idx="50">
                  <c:v>0.7626416665563202</c:v>
                </c:pt>
                <c:pt idx="51">
                  <c:v>0.7391568020273612</c:v>
                </c:pt>
              </c:numCache>
            </c:numRef>
          </c:xVal>
          <c:yVal>
            <c:numRef>
              <c:f>Sheet1!$B$109:$B$160</c:f>
              <c:numCache>
                <c:formatCode>General</c:formatCode>
                <c:ptCount val="52"/>
                <c:pt idx="0">
                  <c:v>0.16040167543765438</c:v>
                </c:pt>
                <c:pt idx="1">
                  <c:v>0.15992835209825998</c:v>
                </c:pt>
                <c:pt idx="2">
                  <c:v>0.16559407829471168</c:v>
                </c:pt>
                <c:pt idx="3">
                  <c:v>0.17334733498962682</c:v>
                </c:pt>
                <c:pt idx="4">
                  <c:v>0.16208893375126177</c:v>
                </c:pt>
                <c:pt idx="5">
                  <c:v>0.1579523313849521</c:v>
                </c:pt>
                <c:pt idx="6">
                  <c:v>0.1637794880794204</c:v>
                </c:pt>
                <c:pt idx="7">
                  <c:v>0.1598297346469397</c:v>
                </c:pt>
                <c:pt idx="8">
                  <c:v>0.1574814925596351</c:v>
                </c:pt>
                <c:pt idx="9">
                  <c:v>0.17102553542009885</c:v>
                </c:pt>
                <c:pt idx="10">
                  <c:v>0.17266281945589448</c:v>
                </c:pt>
                <c:pt idx="11">
                  <c:v>0.18469012799329207</c:v>
                </c:pt>
                <c:pt idx="12">
                  <c:v>0.18230292144921842</c:v>
                </c:pt>
                <c:pt idx="13">
                  <c:v>0.175229949030406</c:v>
                </c:pt>
                <c:pt idx="14">
                  <c:v>0.17554748046435348</c:v>
                </c:pt>
                <c:pt idx="15">
                  <c:v>0.16581571462837955</c:v>
                </c:pt>
                <c:pt idx="16">
                  <c:v>0.15111955059735738</c:v>
                </c:pt>
                <c:pt idx="17">
                  <c:v>0.14014261572070402</c:v>
                </c:pt>
                <c:pt idx="18">
                  <c:v>0.1380020080321285</c:v>
                </c:pt>
                <c:pt idx="19">
                  <c:v>0.14464501721410628</c:v>
                </c:pt>
                <c:pt idx="20">
                  <c:v>0.13492798353909466</c:v>
                </c:pt>
                <c:pt idx="21">
                  <c:v>0.1413894631334962</c:v>
                </c:pt>
                <c:pt idx="22">
                  <c:v>0.14566416661501272</c:v>
                </c:pt>
                <c:pt idx="23">
                  <c:v>0.1564376461664876</c:v>
                </c:pt>
                <c:pt idx="24">
                  <c:v>0.15555555555555556</c:v>
                </c:pt>
                <c:pt idx="25">
                  <c:v>0.1654601226993865</c:v>
                </c:pt>
                <c:pt idx="26">
                  <c:v>0.1456434666511871</c:v>
                </c:pt>
                <c:pt idx="27">
                  <c:v>0.13291741567093157</c:v>
                </c:pt>
                <c:pt idx="28">
                  <c:v>0.13304128374839294</c:v>
                </c:pt>
                <c:pt idx="29">
                  <c:v>0.13296987087517934</c:v>
                </c:pt>
                <c:pt idx="30">
                  <c:v>0.14351190476190476</c:v>
                </c:pt>
                <c:pt idx="31">
                  <c:v>0.13922744566969755</c:v>
                </c:pt>
                <c:pt idx="32">
                  <c:v>0.13890773405698778</c:v>
                </c:pt>
                <c:pt idx="33">
                  <c:v>0.1622480436329144</c:v>
                </c:pt>
                <c:pt idx="34">
                  <c:v>0.18219346201048756</c:v>
                </c:pt>
                <c:pt idx="35">
                  <c:v>0.1784835607246701</c:v>
                </c:pt>
                <c:pt idx="36">
                  <c:v>0.14671599078662664</c:v>
                </c:pt>
                <c:pt idx="37">
                  <c:v>0.13493900531748515</c:v>
                </c:pt>
                <c:pt idx="38">
                  <c:v>0.13711087792934593</c:v>
                </c:pt>
                <c:pt idx="39">
                  <c:v>0.15427748340964043</c:v>
                </c:pt>
                <c:pt idx="40">
                  <c:v>0.1372841717669304</c:v>
                </c:pt>
                <c:pt idx="41">
                  <c:v>0.13758057685973746</c:v>
                </c:pt>
                <c:pt idx="42">
                  <c:v>0.1349878293999365</c:v>
                </c:pt>
                <c:pt idx="43">
                  <c:v>0.13301232665639445</c:v>
                </c:pt>
                <c:pt idx="44">
                  <c:v>0.12827739075364156</c:v>
                </c:pt>
                <c:pt idx="45">
                  <c:v>0.1462760865403025</c:v>
                </c:pt>
                <c:pt idx="46">
                  <c:v>0.13967025089605734</c:v>
                </c:pt>
                <c:pt idx="47">
                  <c:v>0.1424847491333208</c:v>
                </c:pt>
                <c:pt idx="48">
                  <c:v>0.1344111373077355</c:v>
                </c:pt>
                <c:pt idx="49">
                  <c:v>0.14949840959138733</c:v>
                </c:pt>
                <c:pt idx="50">
                  <c:v>0.18617374229805675</c:v>
                </c:pt>
                <c:pt idx="51">
                  <c:v>0.1664974858950449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9280042606894452</c:v>
                </c:pt>
              </c:numCache>
            </c:numRef>
          </c:xVal>
          <c:yVal>
            <c:numRef>
              <c:f>Sheet1!$B$163:$B$164</c:f>
              <c:numCache>
                <c:formatCode>General</c:formatCode>
                <c:ptCount val="2"/>
                <c:pt idx="0">
                  <c:v>0.19915106140886207</c:v>
                </c:pt>
                <c:pt idx="1">
                  <c:v>0.1991510614088620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9280042606894452</c:v>
                </c:pt>
                <c:pt idx="1">
                  <c:v>1.9280042606894452</c:v>
                </c:pt>
              </c:numCache>
            </c:numRef>
          </c:xVal>
          <c:yVal>
            <c:numRef>
              <c:f>Sheet1!$B$167:$B$168</c:f>
              <c:numCache>
                <c:formatCode>General</c:formatCode>
                <c:ptCount val="2"/>
                <c:pt idx="0">
                  <c:v>0.1991510614088620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9526852758160123</c:v>
                </c:pt>
              </c:numCache>
            </c:numRef>
          </c:xVal>
          <c:yVal>
            <c:numRef>
              <c:f>Sheet1!$B$171:$B$172</c:f>
              <c:numCache>
                <c:formatCode>General</c:formatCode>
                <c:ptCount val="2"/>
                <c:pt idx="0">
                  <c:v>0.16226704680471798</c:v>
                </c:pt>
                <c:pt idx="1">
                  <c:v>0.1622670468047179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9526852758160123</c:v>
                </c:pt>
                <c:pt idx="1">
                  <c:v>0.9526852758160123</c:v>
                </c:pt>
              </c:numCache>
            </c:numRef>
          </c:xVal>
          <c:yVal>
            <c:numRef>
              <c:f>Sheet1!$B$175:$B$176</c:f>
              <c:numCache>
                <c:formatCode>General</c:formatCode>
                <c:ptCount val="2"/>
                <c:pt idx="0">
                  <c:v>0.1622670468047179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071434219312198</c:v>
                </c:pt>
              </c:numCache>
            </c:numRef>
          </c:xVal>
          <c:yVal>
            <c:numRef>
              <c:f>Sheet1!$B$179:$B$180</c:f>
              <c:numCache>
                <c:formatCode>General</c:formatCode>
                <c:ptCount val="2"/>
                <c:pt idx="0">
                  <c:v>0.14541781850062968</c:v>
                </c:pt>
                <c:pt idx="1">
                  <c:v>0.1454178185006296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071434219312198</c:v>
                </c:pt>
                <c:pt idx="1">
                  <c:v>0.5071434219312198</c:v>
                </c:pt>
              </c:numCache>
            </c:numRef>
          </c:xVal>
          <c:yVal>
            <c:numRef>
              <c:f>Sheet1!$B$183:$B$184</c:f>
              <c:numCache>
                <c:formatCode>General</c:formatCode>
                <c:ptCount val="2"/>
                <c:pt idx="0">
                  <c:v>0.1454178185006296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406553165457012</c:v>
                </c:pt>
                <c:pt idx="1">
                  <c:v>0.7000691527002108</c:v>
                </c:pt>
                <c:pt idx="2">
                  <c:v>0.7080767906803191</c:v>
                </c:pt>
                <c:pt idx="3">
                  <c:v>0.7062816356476201</c:v>
                </c:pt>
                <c:pt idx="4">
                  <c:v>0.697719970887983</c:v>
                </c:pt>
                <c:pt idx="5">
                  <c:v>0.7165672401977015</c:v>
                </c:pt>
                <c:pt idx="6">
                  <c:v>0.7189317375184802</c:v>
                </c:pt>
                <c:pt idx="7">
                  <c:v>0.7220178365044907</c:v>
                </c:pt>
                <c:pt idx="8">
                  <c:v>0.7612971462028065</c:v>
                </c:pt>
                <c:pt idx="9">
                  <c:v>0.737285759026272</c:v>
                </c:pt>
                <c:pt idx="10">
                  <c:v>0.7467592676074003</c:v>
                </c:pt>
                <c:pt idx="11">
                  <c:v>0.7469650511761464</c:v>
                </c:pt>
                <c:pt idx="12">
                  <c:v>0.747652141894353</c:v>
                </c:pt>
                <c:pt idx="13">
                  <c:v>0.7154206307584342</c:v>
                </c:pt>
                <c:pt idx="14">
                  <c:v>0.7245068713071081</c:v>
                </c:pt>
                <c:pt idx="15">
                  <c:v>0.722046995275514</c:v>
                </c:pt>
                <c:pt idx="16">
                  <c:v>0.7478264942830942</c:v>
                </c:pt>
                <c:pt idx="17">
                  <c:v>0.7277436666682209</c:v>
                </c:pt>
                <c:pt idx="18">
                  <c:v>0.719298663874982</c:v>
                </c:pt>
                <c:pt idx="19">
                  <c:v>0.7222273010043909</c:v>
                </c:pt>
                <c:pt idx="20">
                  <c:v>0.6915659177238961</c:v>
                </c:pt>
                <c:pt idx="21">
                  <c:v>0.6608746985346053</c:v>
                </c:pt>
                <c:pt idx="22">
                  <c:v>0.6400335975219413</c:v>
                </c:pt>
                <c:pt idx="23">
                  <c:v>0.6160035900428614</c:v>
                </c:pt>
                <c:pt idx="24">
                  <c:v>0.6121346015793071</c:v>
                </c:pt>
                <c:pt idx="25">
                  <c:v>0.629879513211204</c:v>
                </c:pt>
                <c:pt idx="26">
                  <c:v>0.6586988105788596</c:v>
                </c:pt>
                <c:pt idx="27">
                  <c:v>0.7168379668283635</c:v>
                </c:pt>
                <c:pt idx="28">
                  <c:v>0.7146229195805557</c:v>
                </c:pt>
                <c:pt idx="29">
                  <c:v>0.6779075452296964</c:v>
                </c:pt>
                <c:pt idx="30">
                  <c:v>0.660261837633672</c:v>
                </c:pt>
                <c:pt idx="31">
                  <c:v>0.6249225066090218</c:v>
                </c:pt>
                <c:pt idx="32">
                  <c:v>0.6356135468005638</c:v>
                </c:pt>
                <c:pt idx="33">
                  <c:v>0.6833413146197502</c:v>
                </c:pt>
                <c:pt idx="34">
                  <c:v>0.7249615753197349</c:v>
                </c:pt>
                <c:pt idx="35">
                  <c:v>0.6862485022480769</c:v>
                </c:pt>
                <c:pt idx="36">
                  <c:v>0.6137251251574859</c:v>
                </c:pt>
                <c:pt idx="37">
                  <c:v>0.6563508828008834</c:v>
                </c:pt>
                <c:pt idx="38">
                  <c:v>0.6397323673103354</c:v>
                </c:pt>
                <c:pt idx="39">
                  <c:v>0.6913566982577719</c:v>
                </c:pt>
                <c:pt idx="40">
                  <c:v>0.6931783638601462</c:v>
                </c:pt>
                <c:pt idx="41">
                  <c:v>0.7245823769802221</c:v>
                </c:pt>
                <c:pt idx="42">
                  <c:v>0.694565355676246</c:v>
                </c:pt>
                <c:pt idx="43">
                  <c:v>0.7402897108886266</c:v>
                </c:pt>
                <c:pt idx="44">
                  <c:v>0.7936351766566307</c:v>
                </c:pt>
                <c:pt idx="45">
                  <c:v>0.798291169417721</c:v>
                </c:pt>
                <c:pt idx="46">
                  <c:v>0.7646728018813379</c:v>
                </c:pt>
                <c:pt idx="47">
                  <c:v>0.778910198519289</c:v>
                </c:pt>
                <c:pt idx="48">
                  <c:v>0.8109837088658614</c:v>
                </c:pt>
                <c:pt idx="49">
                  <c:v>0.8207948925629216</c:v>
                </c:pt>
                <c:pt idx="50">
                  <c:v>0.7626416665563202</c:v>
                </c:pt>
                <c:pt idx="51">
                  <c:v>0.7391568020273612</c:v>
                </c:pt>
                <c:pt idx="52">
                  <c:v>0.9526852758160123</c:v>
                </c:pt>
                <c:pt idx="53">
                  <c:v>1.9280042606894452</c:v>
                </c:pt>
                <c:pt idx="54">
                  <c:v>0.5071434219312198</c:v>
                </c:pt>
              </c:numCache>
            </c:numRef>
          </c:xVal>
          <c:yVal>
            <c:numRef>
              <c:f>Sheet1!$B$187:$B$241</c:f>
              <c:numCache>
                <c:formatCode>General</c:formatCode>
                <c:ptCount val="55"/>
                <c:pt idx="0">
                  <c:v>0.15424862797402425</c:v>
                </c:pt>
                <c:pt idx="1">
                  <c:v>0.15271376534628867</c:v>
                </c:pt>
                <c:pt idx="2">
                  <c:v>0.15301659328338796</c:v>
                </c:pt>
                <c:pt idx="3">
                  <c:v>0.1529487052124392</c:v>
                </c:pt>
                <c:pt idx="4">
                  <c:v>0.15262492543071862</c:v>
                </c:pt>
                <c:pt idx="5">
                  <c:v>0.15333767989079725</c:v>
                </c:pt>
                <c:pt idx="6">
                  <c:v>0.1534270989988672</c:v>
                </c:pt>
                <c:pt idx="7">
                  <c:v>0.15354380719570868</c:v>
                </c:pt>
                <c:pt idx="8">
                  <c:v>0.1550292480156076</c:v>
                </c:pt>
                <c:pt idx="9">
                  <c:v>0.15412120011638622</c:v>
                </c:pt>
                <c:pt idx="10">
                  <c:v>0.15447946344795066</c:v>
                </c:pt>
                <c:pt idx="11">
                  <c:v>0.1544872456446193</c:v>
                </c:pt>
                <c:pt idx="12">
                  <c:v>0.15451322961958314</c:v>
                </c:pt>
                <c:pt idx="13">
                  <c:v>0.15329431811894711</c:v>
                </c:pt>
                <c:pt idx="14">
                  <c:v>0.153637935985811</c:v>
                </c:pt>
                <c:pt idx="15">
                  <c:v>0.15354490990421013</c:v>
                </c:pt>
                <c:pt idx="16">
                  <c:v>0.15451982317118249</c:v>
                </c:pt>
                <c:pt idx="17">
                  <c:v>0.1537603431256509</c:v>
                </c:pt>
                <c:pt idx="18">
                  <c:v>0.1534409751945547</c:v>
                </c:pt>
                <c:pt idx="19">
                  <c:v>0.1535517285955719</c:v>
                </c:pt>
                <c:pt idx="20">
                  <c:v>0.1523921952262427</c:v>
                </c:pt>
                <c:pt idx="21">
                  <c:v>0.15123153354083144</c:v>
                </c:pt>
                <c:pt idx="22">
                  <c:v>0.15044337757745982</c:v>
                </c:pt>
                <c:pt idx="23">
                  <c:v>0.14953462550706811</c:v>
                </c:pt>
                <c:pt idx="24">
                  <c:v>0.14938831047659476</c:v>
                </c:pt>
                <c:pt idx="25">
                  <c:v>0.15005937665077065</c:v>
                </c:pt>
                <c:pt idx="26">
                  <c:v>0.15114924714593764</c:v>
                </c:pt>
                <c:pt idx="27">
                  <c:v>0.1533479180643117</c:v>
                </c:pt>
                <c:pt idx="28">
                  <c:v>0.15326415076735128</c:v>
                </c:pt>
                <c:pt idx="29">
                  <c:v>0.15187567128037663</c:v>
                </c:pt>
                <c:pt idx="30">
                  <c:v>0.15120835674352623</c:v>
                </c:pt>
                <c:pt idx="31">
                  <c:v>0.1498719156182845</c:v>
                </c:pt>
                <c:pt idx="32">
                  <c:v>0.1502762228128271</c:v>
                </c:pt>
                <c:pt idx="33">
                  <c:v>0.15208116223528131</c:v>
                </c:pt>
                <c:pt idx="34">
                  <c:v>0.1536551317030096</c:v>
                </c:pt>
                <c:pt idx="35">
                  <c:v>0.1521911044722348</c:v>
                </c:pt>
                <c:pt idx="36">
                  <c:v>0.1494484599208234</c:v>
                </c:pt>
                <c:pt idx="37">
                  <c:v>0.15106045465466508</c:v>
                </c:pt>
                <c:pt idx="38">
                  <c:v>0.15043198583824793</c:v>
                </c:pt>
                <c:pt idx="39">
                  <c:v>0.15238428309291638</c:v>
                </c:pt>
                <c:pt idx="40">
                  <c:v>0.15245317372431383</c:v>
                </c:pt>
                <c:pt idx="41">
                  <c:v>0.15364079141300255</c:v>
                </c:pt>
                <c:pt idx="42">
                  <c:v>0.15250562612931595</c:v>
                </c:pt>
                <c:pt idx="43">
                  <c:v>0.15423480172373688</c:v>
                </c:pt>
                <c:pt idx="44">
                  <c:v>0.15625218779841404</c:v>
                </c:pt>
                <c:pt idx="45">
                  <c:v>0.15642826527425557</c:v>
                </c:pt>
                <c:pt idx="46">
                  <c:v>0.1551569064896828</c:v>
                </c:pt>
                <c:pt idx="47">
                  <c:v>0.15569532761514396</c:v>
                </c:pt>
                <c:pt idx="48">
                  <c:v>0.15690826393892796</c:v>
                </c:pt>
                <c:pt idx="49">
                  <c:v>0.15727929726072193</c:v>
                </c:pt>
                <c:pt idx="50">
                  <c:v>0.15508009426091166</c:v>
                </c:pt>
                <c:pt idx="51">
                  <c:v>0.1541919580719346</c:v>
                </c:pt>
                <c:pt idx="52">
                  <c:v>0.16226704680471798</c:v>
                </c:pt>
                <c:pt idx="53">
                  <c:v>0.19915106140886207</c:v>
                </c:pt>
                <c:pt idx="54">
                  <c:v>0.1454178185006296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982231562858233"/>
          <c:min val="0.0981473021674026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83.6837</c:v>
                </c:pt>
                <c:pt idx="1">
                  <c:v>966.575</c:v>
                </c:pt>
                <c:pt idx="2">
                  <c:v>1004.1658</c:v>
                </c:pt>
                <c:pt idx="3">
                  <c:v>1025.9111</c:v>
                </c:pt>
                <c:pt idx="4">
                  <c:v>1038.8074</c:v>
                </c:pt>
                <c:pt idx="5">
                  <c:v>1044.8688</c:v>
                </c:pt>
                <c:pt idx="6">
                  <c:v>1014.7606</c:v>
                </c:pt>
                <c:pt idx="7">
                  <c:v>1035.9</c:v>
                </c:pt>
                <c:pt idx="8">
                  <c:v>1020.9862</c:v>
                </c:pt>
                <c:pt idx="9">
                  <c:v>983.7098</c:v>
                </c:pt>
                <c:pt idx="10">
                  <c:v>966.7723</c:v>
                </c:pt>
                <c:pt idx="11">
                  <c:v>986.2632</c:v>
                </c:pt>
                <c:pt idx="12">
                  <c:v>979.6116</c:v>
                </c:pt>
                <c:pt idx="13">
                  <c:v>969.0491</c:v>
                </c:pt>
                <c:pt idx="14">
                  <c:v>1017.9757</c:v>
                </c:pt>
                <c:pt idx="15">
                  <c:v>1022.9123</c:v>
                </c:pt>
                <c:pt idx="16">
                  <c:v>1027.0247</c:v>
                </c:pt>
                <c:pt idx="17">
                  <c:v>1046.7785</c:v>
                </c:pt>
                <c:pt idx="18">
                  <c:v>1082.9885</c:v>
                </c:pt>
                <c:pt idx="19">
                  <c:v>1112.702</c:v>
                </c:pt>
                <c:pt idx="20">
                  <c:v>1113.5595</c:v>
                </c:pt>
                <c:pt idx="21">
                  <c:v>1123.0637</c:v>
                </c:pt>
                <c:pt idx="22">
                  <c:v>1109.7099</c:v>
                </c:pt>
                <c:pt idx="23">
                  <c:v>1096.2532</c:v>
                </c:pt>
                <c:pt idx="24">
                  <c:v>1087.7789</c:v>
                </c:pt>
                <c:pt idx="25">
                  <c:v>1074.5479</c:v>
                </c:pt>
                <c:pt idx="26">
                  <c:v>1076.6063</c:v>
                </c:pt>
                <c:pt idx="27">
                  <c:v>1096.6786</c:v>
                </c:pt>
                <c:pt idx="28">
                  <c:v>1093.1422</c:v>
                </c:pt>
                <c:pt idx="29">
                  <c:v>999.1981</c:v>
                </c:pt>
                <c:pt idx="30">
                  <c:v>1041.2221</c:v>
                </c:pt>
                <c:pt idx="31">
                  <c:v>1043.179</c:v>
                </c:pt>
                <c:pt idx="32">
                  <c:v>1025.8911</c:v>
                </c:pt>
                <c:pt idx="33">
                  <c:v>959.0862</c:v>
                </c:pt>
                <c:pt idx="34">
                  <c:v>1036.0601</c:v>
                </c:pt>
                <c:pt idx="35">
                  <c:v>1102.8764</c:v>
                </c:pt>
                <c:pt idx="36">
                  <c:v>1176.0392</c:v>
                </c:pt>
                <c:pt idx="37">
                  <c:v>1175.9714</c:v>
                </c:pt>
                <c:pt idx="38">
                  <c:v>1225.3918</c:v>
                </c:pt>
                <c:pt idx="39">
                  <c:v>1244.9366</c:v>
                </c:pt>
                <c:pt idx="40">
                  <c:v>1278.2891</c:v>
                </c:pt>
                <c:pt idx="41">
                  <c:v>1300.506</c:v>
                </c:pt>
                <c:pt idx="42">
                  <c:v>1332.0198</c:v>
                </c:pt>
                <c:pt idx="43">
                  <c:v>1333.9435</c:v>
                </c:pt>
                <c:pt idx="44">
                  <c:v>1180.0243</c:v>
                </c:pt>
                <c:pt idx="45">
                  <c:v>1118.8867</c:v>
                </c:pt>
                <c:pt idx="46">
                  <c:v>1103.3498</c:v>
                </c:pt>
                <c:pt idx="47">
                  <c:v>1088.7106</c:v>
                </c:pt>
                <c:pt idx="48">
                  <c:v>1073.229</c:v>
                </c:pt>
                <c:pt idx="49">
                  <c:v>1047.2799</c:v>
                </c:pt>
                <c:pt idx="50">
                  <c:v>1065.2069</c:v>
                </c:pt>
                <c:pt idx="51">
                  <c:v>1086.4912</c:v>
                </c:pt>
                <c:pt idx="52">
                  <c:v>1088.2768</c:v>
                </c:pt>
                <c:pt idx="53">
                  <c:v>1179.5224</c:v>
                </c:pt>
                <c:pt idx="54">
                  <c:v>1186.0514</c:v>
                </c:pt>
                <c:pt idx="55">
                  <c:v>1197.8008</c:v>
                </c:pt>
                <c:pt idx="56">
                  <c:v>1224.728</c:v>
                </c:pt>
                <c:pt idx="57">
                  <c:v>1202.3301</c:v>
                </c:pt>
                <c:pt idx="58">
                  <c:v>1182.6987</c:v>
                </c:pt>
                <c:pt idx="59">
                  <c:v>1163.5995</c:v>
                </c:pt>
                <c:pt idx="60">
                  <c:v>1185.6169</c:v>
                </c:pt>
                <c:pt idx="61">
                  <c:v>1178.3637</c:v>
                </c:pt>
                <c:pt idx="62">
                  <c:v>1141.1633</c:v>
                </c:pt>
                <c:pt idx="63">
                  <c:v>1159.5331</c:v>
                </c:pt>
                <c:pt idx="64">
                  <c:v>1153.9833</c:v>
                </c:pt>
                <c:pt idx="65">
                  <c:v>1143.3808</c:v>
                </c:pt>
                <c:pt idx="66">
                  <c:v>1144.6878</c:v>
                </c:pt>
                <c:pt idx="67">
                  <c:v>1138.0805</c:v>
                </c:pt>
                <c:pt idx="68">
                  <c:v>1123.0104</c:v>
                </c:pt>
                <c:pt idx="69">
                  <c:v>1134.919</c:v>
                </c:pt>
                <c:pt idx="70">
                  <c:v>1121.3528</c:v>
                </c:pt>
                <c:pt idx="71">
                  <c:v>1158.9137</c:v>
                </c:pt>
                <c:pt idx="72">
                  <c:v>1204.4621</c:v>
                </c:pt>
                <c:pt idx="73">
                  <c:v>1202.6384</c:v>
                </c:pt>
                <c:pt idx="74">
                  <c:v>1150.7609</c:v>
                </c:pt>
                <c:pt idx="75">
                  <c:v>1145.2316</c:v>
                </c:pt>
                <c:pt idx="76">
                  <c:v>1153.8427</c:v>
                </c:pt>
                <c:pt idx="77">
                  <c:v>1128.7978</c:v>
                </c:pt>
                <c:pt idx="78">
                  <c:v>1203.9642</c:v>
                </c:pt>
                <c:pt idx="79">
                  <c:v>844.4785</c:v>
                </c:pt>
                <c:pt idx="80">
                  <c:v>854.282</c:v>
                </c:pt>
                <c:pt idx="81">
                  <c:v>1057.283</c:v>
                </c:pt>
                <c:pt idx="82">
                  <c:v>1067.2955</c:v>
                </c:pt>
                <c:pt idx="83">
                  <c:v>1074.5343</c:v>
                </c:pt>
                <c:pt idx="84">
                  <c:v>1080.6549</c:v>
                </c:pt>
                <c:pt idx="85">
                  <c:v>1106.9405</c:v>
                </c:pt>
                <c:pt idx="86">
                  <c:v>1214.7725</c:v>
                </c:pt>
                <c:pt idx="87">
                  <c:v>1247.265</c:v>
                </c:pt>
                <c:pt idx="88">
                  <c:v>1251.8316</c:v>
                </c:pt>
                <c:pt idx="89">
                  <c:v>1205.0642</c:v>
                </c:pt>
                <c:pt idx="90">
                  <c:v>1248.6367</c:v>
                </c:pt>
                <c:pt idx="91">
                  <c:v>1282.5477</c:v>
                </c:pt>
                <c:pt idx="92">
                  <c:v>1271.3538</c:v>
                </c:pt>
                <c:pt idx="93">
                  <c:v>1307.995</c:v>
                </c:pt>
                <c:pt idx="94">
                  <c:v>1301.7432</c:v>
                </c:pt>
                <c:pt idx="95">
                  <c:v>1299.1079</c:v>
                </c:pt>
                <c:pt idx="96">
                  <c:v>1213.9025</c:v>
                </c:pt>
                <c:pt idx="97">
                  <c:v>1238.7399</c:v>
                </c:pt>
                <c:pt idx="98">
                  <c:v>1218.5024</c:v>
                </c:pt>
                <c:pt idx="99">
                  <c:v>1181.5526</c:v>
                </c:pt>
                <c:pt idx="100">
                  <c:v>1169.6844</c:v>
                </c:pt>
                <c:pt idx="101">
                  <c:v>1229.0463</c:v>
                </c:pt>
                <c:pt idx="102">
                  <c:v>1274.6168</c:v>
                </c:pt>
                <c:pt idx="103">
                  <c:v>1129.6337</c:v>
                </c:pt>
                <c:pt idx="104">
                  <c:v>1199.132</c:v>
                </c:pt>
              </c:numCache>
            </c:numRef>
          </c:xVal>
          <c:yVal>
            <c:numRef>
              <c:f>Sheet1!$B$2:$B$106</c:f>
              <c:numCache>
                <c:formatCode>General</c:formatCode>
                <c:ptCount val="105"/>
                <c:pt idx="0">
                  <c:v>0.2142778451030076</c:v>
                </c:pt>
                <c:pt idx="1">
                  <c:v>0.2205680119581465</c:v>
                </c:pt>
                <c:pt idx="2">
                  <c:v>0.20282753182381436</c:v>
                </c:pt>
                <c:pt idx="3">
                  <c:v>0.20211971936109868</c:v>
                </c:pt>
                <c:pt idx="4">
                  <c:v>0.19169137371170408</c:v>
                </c:pt>
                <c:pt idx="5">
                  <c:v>0.1788611996522747</c:v>
                </c:pt>
                <c:pt idx="6">
                  <c:v>0.1940596137699412</c:v>
                </c:pt>
                <c:pt idx="7">
                  <c:v>0.18765172357986729</c:v>
                </c:pt>
                <c:pt idx="8">
                  <c:v>0.2003025337199042</c:v>
                </c:pt>
                <c:pt idx="9">
                  <c:v>0.19964681025511652</c:v>
                </c:pt>
                <c:pt idx="10">
                  <c:v>0.21146317592366037</c:v>
                </c:pt>
                <c:pt idx="11">
                  <c:v>0.20691998764287922</c:v>
                </c:pt>
                <c:pt idx="12">
                  <c:v>0.2121600091043587</c:v>
                </c:pt>
                <c:pt idx="13">
                  <c:v>0.21832690755850445</c:v>
                </c:pt>
                <c:pt idx="14">
                  <c:v>0.21323685246298707</c:v>
                </c:pt>
                <c:pt idx="15">
                  <c:v>0.21025421613719827</c:v>
                </c:pt>
                <c:pt idx="16">
                  <c:v>0.19590357520970764</c:v>
                </c:pt>
                <c:pt idx="17">
                  <c:v>0.19084721475909008</c:v>
                </c:pt>
                <c:pt idx="18">
                  <c:v>0.17428241089830593</c:v>
                </c:pt>
                <c:pt idx="19">
                  <c:v>0.15911344415281423</c:v>
                </c:pt>
                <c:pt idx="20">
                  <c:v>0.17342784616121462</c:v>
                </c:pt>
                <c:pt idx="21">
                  <c:v>0.1697351229362157</c:v>
                </c:pt>
                <c:pt idx="22">
                  <c:v>0.16864132036545829</c:v>
                </c:pt>
                <c:pt idx="23">
                  <c:v>0.16985230234578627</c:v>
                </c:pt>
                <c:pt idx="24">
                  <c:v>0.17376209447922594</c:v>
                </c:pt>
                <c:pt idx="25">
                  <c:v>0.17251215559157212</c:v>
                </c:pt>
                <c:pt idx="26">
                  <c:v>0.17551114174132781</c:v>
                </c:pt>
                <c:pt idx="27">
                  <c:v>0.16991130696714454</c:v>
                </c:pt>
                <c:pt idx="28">
                  <c:v>0.16685584562996594</c:v>
                </c:pt>
                <c:pt idx="29">
                  <c:v>0.18139695371420123</c:v>
                </c:pt>
                <c:pt idx="30">
                  <c:v>0.16671959352175295</c:v>
                </c:pt>
                <c:pt idx="31">
                  <c:v>0.1619269428781564</c:v>
                </c:pt>
                <c:pt idx="32">
                  <c:v>0.17044424297370808</c:v>
                </c:pt>
                <c:pt idx="33">
                  <c:v>0.1885484873106151</c:v>
                </c:pt>
                <c:pt idx="34">
                  <c:v>0.18400170648464165</c:v>
                </c:pt>
                <c:pt idx="35">
                  <c:v>0.1867177033492823</c:v>
                </c:pt>
                <c:pt idx="36">
                  <c:v>0.15092002018996925</c:v>
                </c:pt>
                <c:pt idx="37">
                  <c:v>0.13891682990100057</c:v>
                </c:pt>
                <c:pt idx="38">
                  <c:v>0.13205435651478817</c:v>
                </c:pt>
                <c:pt idx="39">
                  <c:v>0.13110424276482158</c:v>
                </c:pt>
                <c:pt idx="40">
                  <c:v>0.13415972921050223</c:v>
                </c:pt>
                <c:pt idx="41">
                  <c:v>0.12268412770925334</c:v>
                </c:pt>
                <c:pt idx="42">
                  <c:v>0.12946893439777854</c:v>
                </c:pt>
                <c:pt idx="43">
                  <c:v>0.13465698393077874</c:v>
                </c:pt>
                <c:pt idx="44">
                  <c:v>0.1520209077265435</c:v>
                </c:pt>
                <c:pt idx="45">
                  <c:v>0.17098201675925054</c:v>
                </c:pt>
                <c:pt idx="46">
                  <c:v>0.1779121432824882</c:v>
                </c:pt>
                <c:pt idx="47">
                  <c:v>0.17797305213825423</c:v>
                </c:pt>
                <c:pt idx="48">
                  <c:v>0.19519969998124884</c:v>
                </c:pt>
                <c:pt idx="49">
                  <c:v>0.22485192969048529</c:v>
                </c:pt>
                <c:pt idx="50">
                  <c:v>0.18717832957110608</c:v>
                </c:pt>
                <c:pt idx="51">
                  <c:v>0.17017403535868936</c:v>
                </c:pt>
                <c:pt idx="52">
                  <c:v>0.18587524683470785</c:v>
                </c:pt>
                <c:pt idx="53">
                  <c:v>0.17409405418083734</c:v>
                </c:pt>
                <c:pt idx="54">
                  <c:v>0.16918866709594332</c:v>
                </c:pt>
                <c:pt idx="55">
                  <c:v>0.16388502549837738</c:v>
                </c:pt>
                <c:pt idx="56">
                  <c:v>0.17452272343301234</c:v>
                </c:pt>
                <c:pt idx="57">
                  <c:v>0.16809585679226216</c:v>
                </c:pt>
                <c:pt idx="58">
                  <c:v>0.18187869428617073</c:v>
                </c:pt>
                <c:pt idx="59">
                  <c:v>0.18989330478919927</c:v>
                </c:pt>
                <c:pt idx="60">
                  <c:v>0.19817356799756983</c:v>
                </c:pt>
                <c:pt idx="61">
                  <c:v>0.19613014414038019</c:v>
                </c:pt>
                <c:pt idx="62">
                  <c:v>0.2017100956537183</c:v>
                </c:pt>
                <c:pt idx="63">
                  <c:v>0.21835377499597303</c:v>
                </c:pt>
                <c:pt idx="64">
                  <c:v>0.2085806799784134</c:v>
                </c:pt>
                <c:pt idx="65">
                  <c:v>0.1998825371965544</c:v>
                </c:pt>
                <c:pt idx="66">
                  <c:v>0.1973831585378271</c:v>
                </c:pt>
                <c:pt idx="67">
                  <c:v>0.19430203994446224</c:v>
                </c:pt>
                <c:pt idx="68">
                  <c:v>0.17686881148967132</c:v>
                </c:pt>
                <c:pt idx="69">
                  <c:v>0.16319170984455958</c:v>
                </c:pt>
                <c:pt idx="70">
                  <c:v>0.1533490937746257</c:v>
                </c:pt>
                <c:pt idx="71">
                  <c:v>0.16064874093043108</c:v>
                </c:pt>
                <c:pt idx="72">
                  <c:v>0.1608600759841565</c:v>
                </c:pt>
                <c:pt idx="73">
                  <c:v>0.16387831072696932</c:v>
                </c:pt>
                <c:pt idx="74">
                  <c:v>0.16418766646179062</c:v>
                </c:pt>
                <c:pt idx="75">
                  <c:v>0.16404559226662818</c:v>
                </c:pt>
                <c:pt idx="76">
                  <c:v>0.1593002315410342</c:v>
                </c:pt>
                <c:pt idx="77">
                  <c:v>0.15677497498551793</c:v>
                </c:pt>
                <c:pt idx="78">
                  <c:v>0.1476671759313668</c:v>
                </c:pt>
                <c:pt idx="79">
                  <c:v>0.1968398223691005</c:v>
                </c:pt>
                <c:pt idx="80">
                  <c:v>0.18245957359151302</c:v>
                </c:pt>
                <c:pt idx="81">
                  <c:v>0.1518782525036078</c:v>
                </c:pt>
                <c:pt idx="82">
                  <c:v>0.1534860108303249</c:v>
                </c:pt>
                <c:pt idx="83">
                  <c:v>0.1381531383503122</c:v>
                </c:pt>
                <c:pt idx="84">
                  <c:v>0.13925314517739465</c:v>
                </c:pt>
                <c:pt idx="85">
                  <c:v>0.14105925537493444</c:v>
                </c:pt>
                <c:pt idx="86">
                  <c:v>0.13826324124582087</c:v>
                </c:pt>
                <c:pt idx="87">
                  <c:v>0.1598108549190275</c:v>
                </c:pt>
                <c:pt idx="88">
                  <c:v>0.1421685470628741</c:v>
                </c:pt>
                <c:pt idx="89">
                  <c:v>0.13221375807940905</c:v>
                </c:pt>
                <c:pt idx="90">
                  <c:v>0.1263700456188163</c:v>
                </c:pt>
                <c:pt idx="91">
                  <c:v>0.1283997469955724</c:v>
                </c:pt>
                <c:pt idx="92">
                  <c:v>0.13316432357686103</c:v>
                </c:pt>
                <c:pt idx="93">
                  <c:v>0.12460783880517874</c:v>
                </c:pt>
                <c:pt idx="94">
                  <c:v>0.1268574297188755</c:v>
                </c:pt>
                <c:pt idx="95">
                  <c:v>0.1355782337987695</c:v>
                </c:pt>
                <c:pt idx="96">
                  <c:v>0.13646737847267768</c:v>
                </c:pt>
                <c:pt idx="97">
                  <c:v>0.14375402446877011</c:v>
                </c:pt>
                <c:pt idx="98">
                  <c:v>0.1603094530735948</c:v>
                </c:pt>
                <c:pt idx="99">
                  <c:v>0.1650910727889743</c:v>
                </c:pt>
                <c:pt idx="100">
                  <c:v>0.187766499377382</c:v>
                </c:pt>
                <c:pt idx="101">
                  <c:v>0.16697459082313562</c:v>
                </c:pt>
                <c:pt idx="102">
                  <c:v>0.13658866495333424</c:v>
                </c:pt>
                <c:pt idx="103">
                  <c:v>0.1561864579097194</c:v>
                </c:pt>
                <c:pt idx="104">
                  <c:v>0.1626277200318011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89.1485</c:v>
                </c:pt>
                <c:pt idx="1">
                  <c:v>1277.3865</c:v>
                </c:pt>
                <c:pt idx="2">
                  <c:v>1273.6823</c:v>
                </c:pt>
                <c:pt idx="3">
                  <c:v>1298.6464</c:v>
                </c:pt>
                <c:pt idx="4">
                  <c:v>1291.9987</c:v>
                </c:pt>
                <c:pt idx="5">
                  <c:v>1302.7866</c:v>
                </c:pt>
                <c:pt idx="6">
                  <c:v>1217.0758</c:v>
                </c:pt>
                <c:pt idx="7">
                  <c:v>1261.2448</c:v>
                </c:pt>
                <c:pt idx="8">
                  <c:v>1350.3314</c:v>
                </c:pt>
                <c:pt idx="9">
                  <c:v>1283.2539</c:v>
                </c:pt>
                <c:pt idx="10">
                  <c:v>1300.3694</c:v>
                </c:pt>
                <c:pt idx="11">
                  <c:v>1194.7889</c:v>
                </c:pt>
                <c:pt idx="12">
                  <c:v>1226.0023</c:v>
                </c:pt>
                <c:pt idx="13">
                  <c:v>1263.4925</c:v>
                </c:pt>
                <c:pt idx="14">
                  <c:v>1281.2528</c:v>
                </c:pt>
                <c:pt idx="15">
                  <c:v>1293.7433</c:v>
                </c:pt>
                <c:pt idx="16">
                  <c:v>1344.2262</c:v>
                </c:pt>
                <c:pt idx="17">
                  <c:v>1311.0765</c:v>
                </c:pt>
                <c:pt idx="18">
                  <c:v>1291.311</c:v>
                </c:pt>
                <c:pt idx="19">
                  <c:v>1369.1164</c:v>
                </c:pt>
                <c:pt idx="20">
                  <c:v>1362.5536</c:v>
                </c:pt>
                <c:pt idx="21">
                  <c:v>1304.7745</c:v>
                </c:pt>
                <c:pt idx="22">
                  <c:v>1272.8464</c:v>
                </c:pt>
                <c:pt idx="23">
                  <c:v>1213.0493</c:v>
                </c:pt>
                <c:pt idx="24">
                  <c:v>1213.6513</c:v>
                </c:pt>
                <c:pt idx="25">
                  <c:v>1173.9889</c:v>
                </c:pt>
                <c:pt idx="26">
                  <c:v>1237.3615</c:v>
                </c:pt>
                <c:pt idx="27">
                  <c:v>1304.4165</c:v>
                </c:pt>
                <c:pt idx="28">
                  <c:v>1313.4517</c:v>
                </c:pt>
                <c:pt idx="29">
                  <c:v>1320.4635</c:v>
                </c:pt>
                <c:pt idx="30">
                  <c:v>1289.4538</c:v>
                </c:pt>
                <c:pt idx="31">
                  <c:v>1206.2033</c:v>
                </c:pt>
                <c:pt idx="32">
                  <c:v>1235.4929</c:v>
                </c:pt>
                <c:pt idx="33">
                  <c:v>1281.1298</c:v>
                </c:pt>
                <c:pt idx="34">
                  <c:v>1329.4689</c:v>
                </c:pt>
                <c:pt idx="35">
                  <c:v>1320.2048</c:v>
                </c:pt>
                <c:pt idx="36">
                  <c:v>1301.1641</c:v>
                </c:pt>
                <c:pt idx="37">
                  <c:v>1379.0232</c:v>
                </c:pt>
                <c:pt idx="38">
                  <c:v>1345.6929</c:v>
                </c:pt>
                <c:pt idx="39">
                  <c:v>1335.854</c:v>
                </c:pt>
                <c:pt idx="40">
                  <c:v>1359.9946</c:v>
                </c:pt>
                <c:pt idx="41">
                  <c:v>1422.396</c:v>
                </c:pt>
                <c:pt idx="42">
                  <c:v>1414.5484</c:v>
                </c:pt>
                <c:pt idx="43">
                  <c:v>1403.9832</c:v>
                </c:pt>
                <c:pt idx="44">
                  <c:v>1350.7285</c:v>
                </c:pt>
                <c:pt idx="45">
                  <c:v>1302.4134</c:v>
                </c:pt>
                <c:pt idx="46">
                  <c:v>1290.6627</c:v>
                </c:pt>
                <c:pt idx="47">
                  <c:v>1274.9266</c:v>
                </c:pt>
                <c:pt idx="48">
                  <c:v>1247.5038</c:v>
                </c:pt>
                <c:pt idx="49">
                  <c:v>1246.6658</c:v>
                </c:pt>
                <c:pt idx="50">
                  <c:v>1140.37</c:v>
                </c:pt>
                <c:pt idx="51">
                  <c:v>1134.4892</c:v>
                </c:pt>
              </c:numCache>
            </c:numRef>
          </c:xVal>
          <c:yVal>
            <c:numRef>
              <c:f>Sheet1!$B$109:$B$160</c:f>
              <c:numCache>
                <c:formatCode>General</c:formatCode>
                <c:ptCount val="52"/>
                <c:pt idx="0">
                  <c:v>0.16040167543765438</c:v>
                </c:pt>
                <c:pt idx="1">
                  <c:v>0.15992835209825998</c:v>
                </c:pt>
                <c:pt idx="2">
                  <c:v>0.16559407829471168</c:v>
                </c:pt>
                <c:pt idx="3">
                  <c:v>0.17334733498962682</c:v>
                </c:pt>
                <c:pt idx="4">
                  <c:v>0.16208893375126177</c:v>
                </c:pt>
                <c:pt idx="5">
                  <c:v>0.1579523313849521</c:v>
                </c:pt>
                <c:pt idx="6">
                  <c:v>0.1637794880794204</c:v>
                </c:pt>
                <c:pt idx="7">
                  <c:v>0.1598297346469397</c:v>
                </c:pt>
                <c:pt idx="8">
                  <c:v>0.1574814925596351</c:v>
                </c:pt>
                <c:pt idx="9">
                  <c:v>0.17102553542009885</c:v>
                </c:pt>
                <c:pt idx="10">
                  <c:v>0.17266281945589448</c:v>
                </c:pt>
                <c:pt idx="11">
                  <c:v>0.18469012799329207</c:v>
                </c:pt>
                <c:pt idx="12">
                  <c:v>0.18230292144921842</c:v>
                </c:pt>
                <c:pt idx="13">
                  <c:v>0.175229949030406</c:v>
                </c:pt>
                <c:pt idx="14">
                  <c:v>0.17554748046435348</c:v>
                </c:pt>
                <c:pt idx="15">
                  <c:v>0.16581571462837955</c:v>
                </c:pt>
                <c:pt idx="16">
                  <c:v>0.15111955059735738</c:v>
                </c:pt>
                <c:pt idx="17">
                  <c:v>0.14014261572070402</c:v>
                </c:pt>
                <c:pt idx="18">
                  <c:v>0.1380020080321285</c:v>
                </c:pt>
                <c:pt idx="19">
                  <c:v>0.14464501721410628</c:v>
                </c:pt>
                <c:pt idx="20">
                  <c:v>0.13492798353909466</c:v>
                </c:pt>
                <c:pt idx="21">
                  <c:v>0.1413894631334962</c:v>
                </c:pt>
                <c:pt idx="22">
                  <c:v>0.14566416661501272</c:v>
                </c:pt>
                <c:pt idx="23">
                  <c:v>0.1564376461664876</c:v>
                </c:pt>
                <c:pt idx="24">
                  <c:v>0.15555555555555556</c:v>
                </c:pt>
                <c:pt idx="25">
                  <c:v>0.1654601226993865</c:v>
                </c:pt>
                <c:pt idx="26">
                  <c:v>0.1456434666511871</c:v>
                </c:pt>
                <c:pt idx="27">
                  <c:v>0.13291741567093157</c:v>
                </c:pt>
                <c:pt idx="28">
                  <c:v>0.13304128374839294</c:v>
                </c:pt>
                <c:pt idx="29">
                  <c:v>0.13296987087517934</c:v>
                </c:pt>
                <c:pt idx="30">
                  <c:v>0.14351190476190476</c:v>
                </c:pt>
                <c:pt idx="31">
                  <c:v>0.13922744566969755</c:v>
                </c:pt>
                <c:pt idx="32">
                  <c:v>0.13890773405698778</c:v>
                </c:pt>
                <c:pt idx="33">
                  <c:v>0.1622480436329144</c:v>
                </c:pt>
                <c:pt idx="34">
                  <c:v>0.18219346201048756</c:v>
                </c:pt>
                <c:pt idx="35">
                  <c:v>0.1784835607246701</c:v>
                </c:pt>
                <c:pt idx="36">
                  <c:v>0.14671599078662664</c:v>
                </c:pt>
                <c:pt idx="37">
                  <c:v>0.13493900531748515</c:v>
                </c:pt>
                <c:pt idx="38">
                  <c:v>0.13711087792934593</c:v>
                </c:pt>
                <c:pt idx="39">
                  <c:v>0.15427748340964043</c:v>
                </c:pt>
                <c:pt idx="40">
                  <c:v>0.1372841717669304</c:v>
                </c:pt>
                <c:pt idx="41">
                  <c:v>0.13758057685973746</c:v>
                </c:pt>
                <c:pt idx="42">
                  <c:v>0.1349878293999365</c:v>
                </c:pt>
                <c:pt idx="43">
                  <c:v>0.13301232665639445</c:v>
                </c:pt>
                <c:pt idx="44">
                  <c:v>0.12827739075364156</c:v>
                </c:pt>
                <c:pt idx="45">
                  <c:v>0.1462760865403025</c:v>
                </c:pt>
                <c:pt idx="46">
                  <c:v>0.13967025089605734</c:v>
                </c:pt>
                <c:pt idx="47">
                  <c:v>0.1424847491333208</c:v>
                </c:pt>
                <c:pt idx="48">
                  <c:v>0.1344111373077355</c:v>
                </c:pt>
                <c:pt idx="49">
                  <c:v>0.14949840959138733</c:v>
                </c:pt>
                <c:pt idx="50">
                  <c:v>0.18617374229805675</c:v>
                </c:pt>
                <c:pt idx="51">
                  <c:v>0.1664974858950449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7.477139109905</c:v>
                </c:pt>
              </c:numCache>
            </c:numRef>
          </c:xVal>
          <c:yVal>
            <c:numRef>
              <c:f>Sheet1!$B$163:$B$164</c:f>
              <c:numCache>
                <c:formatCode>General</c:formatCode>
                <c:ptCount val="2"/>
                <c:pt idx="0">
                  <c:v>0.19915106140886207</c:v>
                </c:pt>
                <c:pt idx="1">
                  <c:v>0.1991510614088620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7.477139109905</c:v>
                </c:pt>
                <c:pt idx="1">
                  <c:v>927.477139109905</c:v>
                </c:pt>
              </c:numCache>
            </c:numRef>
          </c:xVal>
          <c:yVal>
            <c:numRef>
              <c:f>Sheet1!$B$167:$B$168</c:f>
              <c:numCache>
                <c:formatCode>General</c:formatCode>
                <c:ptCount val="2"/>
                <c:pt idx="0">
                  <c:v>0.1991510614088620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17.1489016871951</c:v>
                </c:pt>
              </c:numCache>
            </c:numRef>
          </c:xVal>
          <c:yVal>
            <c:numRef>
              <c:f>Sheet1!$B$171:$B$172</c:f>
              <c:numCache>
                <c:formatCode>General</c:formatCode>
                <c:ptCount val="2"/>
                <c:pt idx="0">
                  <c:v>0.16226704680471798</c:v>
                </c:pt>
                <c:pt idx="1">
                  <c:v>0.1622670468047179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17.1489016871951</c:v>
                </c:pt>
                <c:pt idx="1">
                  <c:v>1217.1489016871951</c:v>
                </c:pt>
              </c:numCache>
            </c:numRef>
          </c:xVal>
          <c:yVal>
            <c:numRef>
              <c:f>Sheet1!$B$175:$B$176</c:f>
              <c:numCache>
                <c:formatCode>General</c:formatCode>
                <c:ptCount val="2"/>
                <c:pt idx="0">
                  <c:v>0.1622670468047179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49.4757569195986</c:v>
                </c:pt>
              </c:numCache>
            </c:numRef>
          </c:xVal>
          <c:yVal>
            <c:numRef>
              <c:f>Sheet1!$B$179:$B$180</c:f>
              <c:numCache>
                <c:formatCode>General</c:formatCode>
                <c:ptCount val="2"/>
                <c:pt idx="0">
                  <c:v>0.14541781850062968</c:v>
                </c:pt>
                <c:pt idx="1">
                  <c:v>0.1454178185006296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49.4757569195986</c:v>
                </c:pt>
                <c:pt idx="1">
                  <c:v>1349.4757569195986</c:v>
                </c:pt>
              </c:numCache>
            </c:numRef>
          </c:xVal>
          <c:yVal>
            <c:numRef>
              <c:f>Sheet1!$B$183:$B$184</c:f>
              <c:numCache>
                <c:formatCode>General</c:formatCode>
                <c:ptCount val="2"/>
                <c:pt idx="0">
                  <c:v>0.1454178185006296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89.1485</c:v>
                </c:pt>
                <c:pt idx="1">
                  <c:v>1277.3865</c:v>
                </c:pt>
                <c:pt idx="2">
                  <c:v>1273.6823</c:v>
                </c:pt>
                <c:pt idx="3">
                  <c:v>1298.6464</c:v>
                </c:pt>
                <c:pt idx="4">
                  <c:v>1291.9987</c:v>
                </c:pt>
                <c:pt idx="5">
                  <c:v>1302.7866</c:v>
                </c:pt>
                <c:pt idx="6">
                  <c:v>1217.0758</c:v>
                </c:pt>
                <c:pt idx="7">
                  <c:v>1261.2448</c:v>
                </c:pt>
                <c:pt idx="8">
                  <c:v>1350.3314</c:v>
                </c:pt>
                <c:pt idx="9">
                  <c:v>1283.2539</c:v>
                </c:pt>
                <c:pt idx="10">
                  <c:v>1300.3694</c:v>
                </c:pt>
                <c:pt idx="11">
                  <c:v>1194.7889</c:v>
                </c:pt>
                <c:pt idx="12">
                  <c:v>1226.0023</c:v>
                </c:pt>
                <c:pt idx="13">
                  <c:v>1263.4925</c:v>
                </c:pt>
                <c:pt idx="14">
                  <c:v>1281.2528</c:v>
                </c:pt>
                <c:pt idx="15">
                  <c:v>1293.7433</c:v>
                </c:pt>
                <c:pt idx="16">
                  <c:v>1344.2262</c:v>
                </c:pt>
                <c:pt idx="17">
                  <c:v>1311.0765</c:v>
                </c:pt>
                <c:pt idx="18">
                  <c:v>1291.311</c:v>
                </c:pt>
                <c:pt idx="19">
                  <c:v>1369.1164</c:v>
                </c:pt>
                <c:pt idx="20">
                  <c:v>1362.5536</c:v>
                </c:pt>
                <c:pt idx="21">
                  <c:v>1304.7745</c:v>
                </c:pt>
                <c:pt idx="22">
                  <c:v>1272.8464</c:v>
                </c:pt>
                <c:pt idx="23">
                  <c:v>1213.0493</c:v>
                </c:pt>
                <c:pt idx="24">
                  <c:v>1213.6513</c:v>
                </c:pt>
                <c:pt idx="25">
                  <c:v>1173.9889</c:v>
                </c:pt>
                <c:pt idx="26">
                  <c:v>1237.3615</c:v>
                </c:pt>
                <c:pt idx="27">
                  <c:v>1304.4165</c:v>
                </c:pt>
                <c:pt idx="28">
                  <c:v>1313.4517</c:v>
                </c:pt>
                <c:pt idx="29">
                  <c:v>1320.4635</c:v>
                </c:pt>
                <c:pt idx="30">
                  <c:v>1289.4538</c:v>
                </c:pt>
                <c:pt idx="31">
                  <c:v>1206.2033</c:v>
                </c:pt>
                <c:pt idx="32">
                  <c:v>1235.4929</c:v>
                </c:pt>
                <c:pt idx="33">
                  <c:v>1281.1298</c:v>
                </c:pt>
                <c:pt idx="34">
                  <c:v>1329.4689</c:v>
                </c:pt>
                <c:pt idx="35">
                  <c:v>1320.2048</c:v>
                </c:pt>
                <c:pt idx="36">
                  <c:v>1301.1641</c:v>
                </c:pt>
                <c:pt idx="37">
                  <c:v>1379.0232</c:v>
                </c:pt>
                <c:pt idx="38">
                  <c:v>1345.6929</c:v>
                </c:pt>
                <c:pt idx="39">
                  <c:v>1335.854</c:v>
                </c:pt>
                <c:pt idx="40">
                  <c:v>1359.9946</c:v>
                </c:pt>
                <c:pt idx="41">
                  <c:v>1422.396</c:v>
                </c:pt>
                <c:pt idx="42">
                  <c:v>1414.5484</c:v>
                </c:pt>
                <c:pt idx="43">
                  <c:v>1403.9832</c:v>
                </c:pt>
                <c:pt idx="44">
                  <c:v>1350.7285</c:v>
                </c:pt>
                <c:pt idx="45">
                  <c:v>1302.4134</c:v>
                </c:pt>
                <c:pt idx="46">
                  <c:v>1290.6627</c:v>
                </c:pt>
                <c:pt idx="47">
                  <c:v>1274.9266</c:v>
                </c:pt>
                <c:pt idx="48">
                  <c:v>1247.5038</c:v>
                </c:pt>
                <c:pt idx="49">
                  <c:v>1246.6658</c:v>
                </c:pt>
                <c:pt idx="50">
                  <c:v>1140.37</c:v>
                </c:pt>
                <c:pt idx="51">
                  <c:v>1134.4892</c:v>
                </c:pt>
                <c:pt idx="52">
                  <c:v>1217.1489016871951</c:v>
                </c:pt>
                <c:pt idx="53">
                  <c:v>927.477139109905</c:v>
                </c:pt>
                <c:pt idx="54">
                  <c:v>1349.4757569195986</c:v>
                </c:pt>
              </c:numCache>
            </c:numRef>
          </c:xVal>
          <c:yVal>
            <c:numRef>
              <c:f>Sheet1!$B$187:$B$241</c:f>
              <c:numCache>
                <c:formatCode>General</c:formatCode>
                <c:ptCount val="55"/>
                <c:pt idx="0">
                  <c:v>0.15309931084027986</c:v>
                </c:pt>
                <c:pt idx="1">
                  <c:v>0.15459697072923154</c:v>
                </c:pt>
                <c:pt idx="2">
                  <c:v>0.1550686279100388</c:v>
                </c:pt>
                <c:pt idx="3">
                  <c:v>0.15188993965686937</c:v>
                </c:pt>
                <c:pt idx="4">
                  <c:v>0.15273639380104417</c:v>
                </c:pt>
                <c:pt idx="5">
                  <c:v>0.15136276643188745</c:v>
                </c:pt>
                <c:pt idx="6">
                  <c:v>0.1622763548700748</c:v>
                </c:pt>
                <c:pt idx="7">
                  <c:v>0.15665229946834833</c:v>
                </c:pt>
                <c:pt idx="8">
                  <c:v>0.1453088691450119</c:v>
                </c:pt>
                <c:pt idx="9">
                  <c:v>0.15384987247787676</c:v>
                </c:pt>
                <c:pt idx="10">
                  <c:v>0.15167054941807803</c:v>
                </c:pt>
                <c:pt idx="11">
                  <c:v>0.16511415423915127</c:v>
                </c:pt>
                <c:pt idx="12">
                  <c:v>0.16113974026382355</c:v>
                </c:pt>
                <c:pt idx="13">
                  <c:v>0.1563660989809825</c:v>
                </c:pt>
                <c:pt idx="14">
                  <c:v>0.15410467329438596</c:v>
                </c:pt>
                <c:pt idx="15">
                  <c:v>0.15251425322611942</c:v>
                </c:pt>
                <c:pt idx="16">
                  <c:v>0.14608624655990968</c:v>
                </c:pt>
                <c:pt idx="17">
                  <c:v>0.15030721034334632</c:v>
                </c:pt>
                <c:pt idx="18">
                  <c:v>0.15282395890099593</c:v>
                </c:pt>
                <c:pt idx="19">
                  <c:v>0.14291696802156711</c:v>
                </c:pt>
                <c:pt idx="20">
                  <c:v>0.14375261181677307</c:v>
                </c:pt>
                <c:pt idx="21">
                  <c:v>0.15110964637634866</c:v>
                </c:pt>
                <c:pt idx="22">
                  <c:v>0.15517506337179487</c:v>
                </c:pt>
                <c:pt idx="23">
                  <c:v>0.16278905063124333</c:v>
                </c:pt>
                <c:pt idx="24">
                  <c:v>0.16271239774456173</c:v>
                </c:pt>
                <c:pt idx="25">
                  <c:v>0.16776262607133924</c:v>
                </c:pt>
                <c:pt idx="26">
                  <c:v>0.1596933690505452</c:v>
                </c:pt>
                <c:pt idx="27">
                  <c:v>0.15115523065115266</c:v>
                </c:pt>
                <c:pt idx="28">
                  <c:v>0.15000477523297068</c:v>
                </c:pt>
                <c:pt idx="29">
                  <c:v>0.14911196009869493</c:v>
                </c:pt>
                <c:pt idx="30">
                  <c:v>0.15306043687631993</c:v>
                </c:pt>
                <c:pt idx="31">
                  <c:v>0.1636607543890875</c:v>
                </c:pt>
                <c:pt idx="32">
                  <c:v>0.15993129859216187</c:v>
                </c:pt>
                <c:pt idx="33">
                  <c:v>0.15412033493070132</c:v>
                </c:pt>
                <c:pt idx="34">
                  <c:v>0.14796529912573408</c:v>
                </c:pt>
                <c:pt idx="35">
                  <c:v>0.1491449004671078</c:v>
                </c:pt>
                <c:pt idx="36">
                  <c:v>0.15156935996783574</c:v>
                </c:pt>
                <c:pt idx="37">
                  <c:v>0.14165553144718634</c:v>
                </c:pt>
                <c:pt idx="38">
                  <c:v>0.14589949109662748</c:v>
                </c:pt>
                <c:pt idx="39">
                  <c:v>0.14715228193844065</c:v>
                </c:pt>
                <c:pt idx="40">
                  <c:v>0.1440784502503581</c:v>
                </c:pt>
                <c:pt idx="41">
                  <c:v>0.136132856491267</c:v>
                </c:pt>
                <c:pt idx="42">
                  <c:v>0.13713209435426116</c:v>
                </c:pt>
                <c:pt idx="43">
                  <c:v>0.1384773652485608</c:v>
                </c:pt>
                <c:pt idx="44">
                  <c:v>0.1452583062524849</c:v>
                </c:pt>
                <c:pt idx="45">
                  <c:v>0.15141028612841498</c:v>
                </c:pt>
                <c:pt idx="46">
                  <c:v>0.15290650718411164</c:v>
                </c:pt>
                <c:pt idx="47">
                  <c:v>0.15491019072250076</c:v>
                </c:pt>
                <c:pt idx="48">
                  <c:v>0.1584019461724875</c:v>
                </c:pt>
                <c:pt idx="49">
                  <c:v>0.1585086490280343</c:v>
                </c:pt>
                <c:pt idx="50">
                  <c:v>0.17204333326745197</c:v>
                </c:pt>
                <c:pt idx="51">
                  <c:v>0.17279213774585248</c:v>
                </c:pt>
                <c:pt idx="52">
                  <c:v>0.16226704680471798</c:v>
                </c:pt>
                <c:pt idx="53">
                  <c:v>0.19915106140886207</c:v>
                </c:pt>
                <c:pt idx="54">
                  <c:v>0.1454178185006296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7.0"/>
          <c:min val="67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982231562858233"/>
          <c:min val="0.0981473021674026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685633814487627</c:v>
                </c:pt>
                <c:pt idx="1">
                  <c:v>0.18833908880727535</c:v>
                </c:pt>
                <c:pt idx="2">
                  <c:v>0.1919998240929554</c:v>
                </c:pt>
                <c:pt idx="3">
                  <c:v>0.1954611921612889</c:v>
                </c:pt>
                <c:pt idx="4">
                  <c:v>0.19166380916560877</c:v>
                </c:pt>
                <c:pt idx="5">
                  <c:v>0.19119388363317213</c:v>
                </c:pt>
                <c:pt idx="6">
                  <c:v>0.19358605866812467</c:v>
                </c:pt>
                <c:pt idx="7">
                  <c:v>0.19072534973356542</c:v>
                </c:pt>
                <c:pt idx="8">
                  <c:v>0.187625185454658</c:v>
                </c:pt>
                <c:pt idx="9">
                  <c:v>0.1845432766368832</c:v>
                </c:pt>
                <c:pt idx="10">
                  <c:v>0.18877801648644793</c:v>
                </c:pt>
                <c:pt idx="11">
                  <c:v>0.1978350069098405</c:v>
                </c:pt>
                <c:pt idx="12">
                  <c:v>0.20005643419802938</c:v>
                </c:pt>
                <c:pt idx="13">
                  <c:v>0.1932755908049678</c:v>
                </c:pt>
                <c:pt idx="14">
                  <c:v>0.20024407148325346</c:v>
                </c:pt>
                <c:pt idx="15">
                  <c:v>0.19918022618415637</c:v>
                </c:pt>
                <c:pt idx="16">
                  <c:v>0.18820736412231578</c:v>
                </c:pt>
                <c:pt idx="17">
                  <c:v>0.18743815873072034</c:v>
                </c:pt>
                <c:pt idx="18">
                  <c:v>0.17898259001498576</c:v>
                </c:pt>
                <c:pt idx="19">
                  <c:v>0.1825379554653795</c:v>
                </c:pt>
                <c:pt idx="20">
                  <c:v>0.18961874212404828</c:v>
                </c:pt>
                <c:pt idx="21">
                  <c:v>0.18094896856640327</c:v>
                </c:pt>
                <c:pt idx="22">
                  <c:v>0.17099268496214035</c:v>
                </c:pt>
                <c:pt idx="23">
                  <c:v>0.16660814944533367</c:v>
                </c:pt>
                <c:pt idx="24">
                  <c:v>0.16914565172331164</c:v>
                </c:pt>
                <c:pt idx="25">
                  <c:v>0.1593237578067756</c:v>
                </c:pt>
                <c:pt idx="26">
                  <c:v>0.16462988456539945</c:v>
                </c:pt>
                <c:pt idx="27">
                  <c:v>0.16473377963985342</c:v>
                </c:pt>
                <c:pt idx="28">
                  <c:v>0.16129296991057182</c:v>
                </c:pt>
                <c:pt idx="29">
                  <c:v>0.15220951759149</c:v>
                </c:pt>
                <c:pt idx="30">
                  <c:v>0.1491635058914466</c:v>
                </c:pt>
                <c:pt idx="31">
                  <c:v>0.1421724471746562</c:v>
                </c:pt>
                <c:pt idx="32">
                  <c:v>0.14290080963852106</c:v>
                </c:pt>
                <c:pt idx="33">
                  <c:v>0.13925192285410876</c:v>
                </c:pt>
                <c:pt idx="34">
                  <c:v>0.15977541998989772</c:v>
                </c:pt>
                <c:pt idx="35">
                  <c:v>0.17481573379075624</c:v>
                </c:pt>
                <c:pt idx="36">
                  <c:v>0.1679433577924113</c:v>
                </c:pt>
                <c:pt idx="37">
                  <c:v>0.15479214437087835</c:v>
                </c:pt>
                <c:pt idx="38">
                  <c:v>0.1658424069749014</c:v>
                </c:pt>
                <c:pt idx="39">
                  <c:v>0.1674640603824638</c:v>
                </c:pt>
                <c:pt idx="40">
                  <c:v>0.18698293103209696</c:v>
                </c:pt>
                <c:pt idx="41">
                  <c:v>0.18157917697303505</c:v>
                </c:pt>
                <c:pt idx="42">
                  <c:v>0.18341577304557735</c:v>
                </c:pt>
                <c:pt idx="43">
                  <c:v>0.1936763756312916</c:v>
                </c:pt>
                <c:pt idx="44">
                  <c:v>0.18726540234547626</c:v>
                </c:pt>
                <c:pt idx="45">
                  <c:v>0.1875054998384759</c:v>
                </c:pt>
                <c:pt idx="46">
                  <c:v>0.18571643348436845</c:v>
                </c:pt>
                <c:pt idx="47">
                  <c:v>0.17921948050528508</c:v>
                </c:pt>
                <c:pt idx="48">
                  <c:v>0.20195257193349836</c:v>
                </c:pt>
                <c:pt idx="49">
                  <c:v>0.21518056632141097</c:v>
                </c:pt>
                <c:pt idx="50">
                  <c:v>0.18908434775872596</c:v>
                </c:pt>
                <c:pt idx="51">
                  <c:v>0.18003679806310982</c:v>
                </c:pt>
                <c:pt idx="52">
                  <c:v>0.196428711634645</c:v>
                </c:pt>
                <c:pt idx="53">
                  <c:v>0.19623831193868924</c:v>
                </c:pt>
                <c:pt idx="54">
                  <c:v>0.191570476127622</c:v>
                </c:pt>
                <c:pt idx="55">
                  <c:v>0.1888611925244003</c:v>
                </c:pt>
                <c:pt idx="56">
                  <c:v>0.19593995520793758</c:v>
                </c:pt>
                <c:pt idx="57">
                  <c:v>0.1911420447283126</c:v>
                </c:pt>
                <c:pt idx="58">
                  <c:v>0.20224428992707585</c:v>
                </c:pt>
                <c:pt idx="59">
                  <c:v>0.22486193334154891</c:v>
                </c:pt>
                <c:pt idx="60">
                  <c:v>0.22754435866636571</c:v>
                </c:pt>
                <c:pt idx="61">
                  <c:v>0.21331897235813996</c:v>
                </c:pt>
                <c:pt idx="62">
                  <c:v>0.21457483849348952</c:v>
                </c:pt>
                <c:pt idx="63">
                  <c:v>0.21815532558202586</c:v>
                </c:pt>
                <c:pt idx="64">
                  <c:v>0.22323691164712303</c:v>
                </c:pt>
                <c:pt idx="65">
                  <c:v>0.21196790439845978</c:v>
                </c:pt>
                <c:pt idx="66">
                  <c:v>0.20800141850229678</c:v>
                </c:pt>
                <c:pt idx="67">
                  <c:v>0.2099516383490903</c:v>
                </c:pt>
                <c:pt idx="68">
                  <c:v>0.19240629253555305</c:v>
                </c:pt>
                <c:pt idx="69">
                  <c:v>0.181485437192842</c:v>
                </c:pt>
                <c:pt idx="70">
                  <c:v>0.17528718396820397</c:v>
                </c:pt>
                <c:pt idx="71">
                  <c:v>0.18035366579393272</c:v>
                </c:pt>
                <c:pt idx="72">
                  <c:v>0.1959403907963325</c:v>
                </c:pt>
                <c:pt idx="73">
                  <c:v>0.19313685853321366</c:v>
                </c:pt>
                <c:pt idx="74">
                  <c:v>0.18385689006016517</c:v>
                </c:pt>
                <c:pt idx="75">
                  <c:v>0.17780459367197687</c:v>
                </c:pt>
                <c:pt idx="76">
                  <c:v>0.17414102398648745</c:v>
                </c:pt>
                <c:pt idx="77">
                  <c:v>0.1731510570280591</c:v>
                </c:pt>
                <c:pt idx="78">
                  <c:v>0.17652731273234504</c:v>
                </c:pt>
                <c:pt idx="79">
                  <c:v>0.11754621942455563</c:v>
                </c:pt>
                <c:pt idx="80">
                  <c:v>0.11741659305010246</c:v>
                </c:pt>
                <c:pt idx="81">
                  <c:v>0.15381954115706364</c:v>
                </c:pt>
                <c:pt idx="82">
                  <c:v>0.1485452710845717</c:v>
                </c:pt>
                <c:pt idx="83">
                  <c:v>0.14102445530107788</c:v>
                </c:pt>
                <c:pt idx="84">
                  <c:v>0.13721213927744147</c:v>
                </c:pt>
                <c:pt idx="85">
                  <c:v>0.14501337312633827</c:v>
                </c:pt>
                <c:pt idx="86">
                  <c:v>0.16738921615896438</c:v>
                </c:pt>
                <c:pt idx="87">
                  <c:v>0.1881867858088064</c:v>
                </c:pt>
                <c:pt idx="88">
                  <c:v>0.16712797031995388</c:v>
                </c:pt>
                <c:pt idx="89">
                  <c:v>0.15404763525508708</c:v>
                </c:pt>
                <c:pt idx="90">
                  <c:v>0.16214935048601237</c:v>
                </c:pt>
                <c:pt idx="91">
                  <c:v>0.17309402861577178</c:v>
                </c:pt>
                <c:pt idx="92">
                  <c:v>0.18073424869160154</c:v>
                </c:pt>
                <c:pt idx="93">
                  <c:v>0.18166634817063718</c:v>
                </c:pt>
                <c:pt idx="94">
                  <c:v>0.17713292423431093</c:v>
                </c:pt>
                <c:pt idx="95">
                  <c:v>0.18989037730700567</c:v>
                </c:pt>
                <c:pt idx="96">
                  <c:v>0.19067818541279857</c:v>
                </c:pt>
                <c:pt idx="97">
                  <c:v>0.205329514164943</c:v>
                </c:pt>
                <c:pt idx="98">
                  <c:v>0.2152937791351674</c:v>
                </c:pt>
                <c:pt idx="99">
                  <c:v>0.21894049893901504</c:v>
                </c:pt>
                <c:pt idx="100">
                  <c:v>0.23576717357587385</c:v>
                </c:pt>
                <c:pt idx="101">
                  <c:v>0.2232530651636434</c:v>
                </c:pt>
                <c:pt idx="102">
                  <c:v>0.22838736545351024</c:v>
                </c:pt>
                <c:pt idx="103">
                  <c:v>0.19771152239613896</c:v>
                </c:pt>
                <c:pt idx="104">
                  <c:v>0.2094814822682527</c:v>
                </c:pt>
              </c:numCache>
            </c:numRef>
          </c:xVal>
          <c:yVal>
            <c:numRef>
              <c:f>Sheet1!$B$2:$B$106</c:f>
              <c:numCache>
                <c:formatCode>General</c:formatCode>
                <c:ptCount val="105"/>
                <c:pt idx="0">
                  <c:v>0.2142778451030076</c:v>
                </c:pt>
                <c:pt idx="1">
                  <c:v>0.2205680119581465</c:v>
                </c:pt>
                <c:pt idx="2">
                  <c:v>0.20282753182381436</c:v>
                </c:pt>
                <c:pt idx="3">
                  <c:v>0.20211971936109868</c:v>
                </c:pt>
                <c:pt idx="4">
                  <c:v>0.19169137371170408</c:v>
                </c:pt>
                <c:pt idx="5">
                  <c:v>0.1788611996522747</c:v>
                </c:pt>
                <c:pt idx="6">
                  <c:v>0.1940596137699412</c:v>
                </c:pt>
                <c:pt idx="7">
                  <c:v>0.18765172357986729</c:v>
                </c:pt>
                <c:pt idx="8">
                  <c:v>0.2003025337199042</c:v>
                </c:pt>
                <c:pt idx="9">
                  <c:v>0.19964681025511652</c:v>
                </c:pt>
                <c:pt idx="10">
                  <c:v>0.21146317592366037</c:v>
                </c:pt>
                <c:pt idx="11">
                  <c:v>0.20691998764287922</c:v>
                </c:pt>
                <c:pt idx="12">
                  <c:v>0.2121600091043587</c:v>
                </c:pt>
                <c:pt idx="13">
                  <c:v>0.21832690755850445</c:v>
                </c:pt>
                <c:pt idx="14">
                  <c:v>0.21323685246298707</c:v>
                </c:pt>
                <c:pt idx="15">
                  <c:v>0.21025421613719827</c:v>
                </c:pt>
                <c:pt idx="16">
                  <c:v>0.19590357520970764</c:v>
                </c:pt>
                <c:pt idx="17">
                  <c:v>0.19084721475909008</c:v>
                </c:pt>
                <c:pt idx="18">
                  <c:v>0.17428241089830593</c:v>
                </c:pt>
                <c:pt idx="19">
                  <c:v>0.15911344415281423</c:v>
                </c:pt>
                <c:pt idx="20">
                  <c:v>0.17342784616121462</c:v>
                </c:pt>
                <c:pt idx="21">
                  <c:v>0.1697351229362157</c:v>
                </c:pt>
                <c:pt idx="22">
                  <c:v>0.16864132036545829</c:v>
                </c:pt>
                <c:pt idx="23">
                  <c:v>0.16985230234578627</c:v>
                </c:pt>
                <c:pt idx="24">
                  <c:v>0.17376209447922594</c:v>
                </c:pt>
                <c:pt idx="25">
                  <c:v>0.17251215559157212</c:v>
                </c:pt>
                <c:pt idx="26">
                  <c:v>0.17551114174132781</c:v>
                </c:pt>
                <c:pt idx="27">
                  <c:v>0.16991130696714454</c:v>
                </c:pt>
                <c:pt idx="28">
                  <c:v>0.16685584562996594</c:v>
                </c:pt>
                <c:pt idx="29">
                  <c:v>0.18139695371420123</c:v>
                </c:pt>
                <c:pt idx="30">
                  <c:v>0.16671959352175295</c:v>
                </c:pt>
                <c:pt idx="31">
                  <c:v>0.1619269428781564</c:v>
                </c:pt>
                <c:pt idx="32">
                  <c:v>0.17044424297370808</c:v>
                </c:pt>
                <c:pt idx="33">
                  <c:v>0.1885484873106151</c:v>
                </c:pt>
                <c:pt idx="34">
                  <c:v>0.18400170648464165</c:v>
                </c:pt>
                <c:pt idx="35">
                  <c:v>0.1867177033492823</c:v>
                </c:pt>
                <c:pt idx="36">
                  <c:v>0.15092002018996925</c:v>
                </c:pt>
                <c:pt idx="37">
                  <c:v>0.13891682990100057</c:v>
                </c:pt>
                <c:pt idx="38">
                  <c:v>0.13205435651478817</c:v>
                </c:pt>
                <c:pt idx="39">
                  <c:v>0.13110424276482158</c:v>
                </c:pt>
                <c:pt idx="40">
                  <c:v>0.13415972921050223</c:v>
                </c:pt>
                <c:pt idx="41">
                  <c:v>0.12268412770925334</c:v>
                </c:pt>
                <c:pt idx="42">
                  <c:v>0.12946893439777854</c:v>
                </c:pt>
                <c:pt idx="43">
                  <c:v>0.13465698393077874</c:v>
                </c:pt>
                <c:pt idx="44">
                  <c:v>0.1520209077265435</c:v>
                </c:pt>
                <c:pt idx="45">
                  <c:v>0.17098201675925054</c:v>
                </c:pt>
                <c:pt idx="46">
                  <c:v>0.1779121432824882</c:v>
                </c:pt>
                <c:pt idx="47">
                  <c:v>0.17797305213825423</c:v>
                </c:pt>
                <c:pt idx="48">
                  <c:v>0.19519969998124884</c:v>
                </c:pt>
                <c:pt idx="49">
                  <c:v>0.22485192969048529</c:v>
                </c:pt>
                <c:pt idx="50">
                  <c:v>0.18717832957110608</c:v>
                </c:pt>
                <c:pt idx="51">
                  <c:v>0.17017403535868936</c:v>
                </c:pt>
                <c:pt idx="52">
                  <c:v>0.18587524683470785</c:v>
                </c:pt>
                <c:pt idx="53">
                  <c:v>0.17409405418083734</c:v>
                </c:pt>
                <c:pt idx="54">
                  <c:v>0.16918866709594332</c:v>
                </c:pt>
                <c:pt idx="55">
                  <c:v>0.16388502549837738</c:v>
                </c:pt>
                <c:pt idx="56">
                  <c:v>0.17452272343301234</c:v>
                </c:pt>
                <c:pt idx="57">
                  <c:v>0.16809585679226216</c:v>
                </c:pt>
                <c:pt idx="58">
                  <c:v>0.18187869428617073</c:v>
                </c:pt>
                <c:pt idx="59">
                  <c:v>0.18989330478919927</c:v>
                </c:pt>
                <c:pt idx="60">
                  <c:v>0.19817356799756983</c:v>
                </c:pt>
                <c:pt idx="61">
                  <c:v>0.19613014414038019</c:v>
                </c:pt>
                <c:pt idx="62">
                  <c:v>0.2017100956537183</c:v>
                </c:pt>
                <c:pt idx="63">
                  <c:v>0.21835377499597303</c:v>
                </c:pt>
                <c:pt idx="64">
                  <c:v>0.2085806799784134</c:v>
                </c:pt>
                <c:pt idx="65">
                  <c:v>0.1998825371965544</c:v>
                </c:pt>
                <c:pt idx="66">
                  <c:v>0.1973831585378271</c:v>
                </c:pt>
                <c:pt idx="67">
                  <c:v>0.19430203994446224</c:v>
                </c:pt>
                <c:pt idx="68">
                  <c:v>0.17686881148967132</c:v>
                </c:pt>
                <c:pt idx="69">
                  <c:v>0.16319170984455958</c:v>
                </c:pt>
                <c:pt idx="70">
                  <c:v>0.1533490937746257</c:v>
                </c:pt>
                <c:pt idx="71">
                  <c:v>0.16064874093043108</c:v>
                </c:pt>
                <c:pt idx="72">
                  <c:v>0.1608600759841565</c:v>
                </c:pt>
                <c:pt idx="73">
                  <c:v>0.16387831072696932</c:v>
                </c:pt>
                <c:pt idx="74">
                  <c:v>0.16418766646179062</c:v>
                </c:pt>
                <c:pt idx="75">
                  <c:v>0.16404559226662818</c:v>
                </c:pt>
                <c:pt idx="76">
                  <c:v>0.1593002315410342</c:v>
                </c:pt>
                <c:pt idx="77">
                  <c:v>0.15677497498551793</c:v>
                </c:pt>
                <c:pt idx="78">
                  <c:v>0.1476671759313668</c:v>
                </c:pt>
                <c:pt idx="79">
                  <c:v>0.1968398223691005</c:v>
                </c:pt>
                <c:pt idx="80">
                  <c:v>0.18245957359151302</c:v>
                </c:pt>
                <c:pt idx="81">
                  <c:v>0.1518782525036078</c:v>
                </c:pt>
                <c:pt idx="82">
                  <c:v>0.1534860108303249</c:v>
                </c:pt>
                <c:pt idx="83">
                  <c:v>0.1381531383503122</c:v>
                </c:pt>
                <c:pt idx="84">
                  <c:v>0.13925314517739465</c:v>
                </c:pt>
                <c:pt idx="85">
                  <c:v>0.14105925537493444</c:v>
                </c:pt>
                <c:pt idx="86">
                  <c:v>0.13826324124582087</c:v>
                </c:pt>
                <c:pt idx="87">
                  <c:v>0.1598108549190275</c:v>
                </c:pt>
                <c:pt idx="88">
                  <c:v>0.1421685470628741</c:v>
                </c:pt>
                <c:pt idx="89">
                  <c:v>0.13221375807940905</c:v>
                </c:pt>
                <c:pt idx="90">
                  <c:v>0.1263700456188163</c:v>
                </c:pt>
                <c:pt idx="91">
                  <c:v>0.1283997469955724</c:v>
                </c:pt>
                <c:pt idx="92">
                  <c:v>0.13316432357686103</c:v>
                </c:pt>
                <c:pt idx="93">
                  <c:v>0.12460783880517874</c:v>
                </c:pt>
                <c:pt idx="94">
                  <c:v>0.1268574297188755</c:v>
                </c:pt>
                <c:pt idx="95">
                  <c:v>0.1355782337987695</c:v>
                </c:pt>
                <c:pt idx="96">
                  <c:v>0.13646737847267768</c:v>
                </c:pt>
                <c:pt idx="97">
                  <c:v>0.14375402446877011</c:v>
                </c:pt>
                <c:pt idx="98">
                  <c:v>0.1603094530735948</c:v>
                </c:pt>
                <c:pt idx="99">
                  <c:v>0.1650910727889743</c:v>
                </c:pt>
                <c:pt idx="100">
                  <c:v>0.187766499377382</c:v>
                </c:pt>
                <c:pt idx="101">
                  <c:v>0.16697459082313562</c:v>
                </c:pt>
                <c:pt idx="102">
                  <c:v>0.13658866495333424</c:v>
                </c:pt>
                <c:pt idx="103">
                  <c:v>0.1561864579097194</c:v>
                </c:pt>
                <c:pt idx="104">
                  <c:v>0.1626277200318011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2976338149354553</c:v>
                </c:pt>
                <c:pt idx="1">
                  <c:v>0.2262818900919849</c:v>
                </c:pt>
                <c:pt idx="2">
                  <c:v>0.22344291351574214</c:v>
                </c:pt>
                <c:pt idx="3">
                  <c:v>0.2301320560993918</c:v>
                </c:pt>
                <c:pt idx="4">
                  <c:v>0.21935096835400703</c:v>
                </c:pt>
                <c:pt idx="5">
                  <c:v>0.22611297045102813</c:v>
                </c:pt>
                <c:pt idx="6">
                  <c:v>0.2099079161831425</c:v>
                </c:pt>
                <c:pt idx="7">
                  <c:v>0.2050070394303022</c:v>
                </c:pt>
                <c:pt idx="8">
                  <c:v>0.22646216729132523</c:v>
                </c:pt>
                <c:pt idx="9">
                  <c:v>0.21886716371804216</c:v>
                </c:pt>
                <c:pt idx="10">
                  <c:v>0.2263336603563854</c:v>
                </c:pt>
                <c:pt idx="11">
                  <c:v>0.21319433223990222</c:v>
                </c:pt>
                <c:pt idx="12">
                  <c:v>0.21830108196116554</c:v>
                </c:pt>
                <c:pt idx="13">
                  <c:v>0.21357406735995343</c:v>
                </c:pt>
                <c:pt idx="14">
                  <c:v>0.21565093349341427</c:v>
                </c:pt>
                <c:pt idx="15">
                  <c:v>0.20750602957502723</c:v>
                </c:pt>
                <c:pt idx="16">
                  <c:v>0.20743685039037632</c:v>
                </c:pt>
                <c:pt idx="17">
                  <c:v>0.20076294655951663</c:v>
                </c:pt>
                <c:pt idx="18">
                  <c:v>0.18003578405543455</c:v>
                </c:pt>
                <c:pt idx="19">
                  <c:v>0.208560473929758</c:v>
                </c:pt>
                <c:pt idx="20">
                  <c:v>0.19369158873522663</c:v>
                </c:pt>
                <c:pt idx="21">
                  <c:v>0.1791058828839323</c:v>
                </c:pt>
                <c:pt idx="22">
                  <c:v>0.17814058961993812</c:v>
                </c:pt>
                <c:pt idx="23">
                  <c:v>0.16006420094949442</c:v>
                </c:pt>
                <c:pt idx="24">
                  <c:v>0.15894385330930139</c:v>
                </c:pt>
                <c:pt idx="25">
                  <c:v>0.15224116546149052</c:v>
                </c:pt>
                <c:pt idx="26">
                  <c:v>0.16375321175842875</c:v>
                </c:pt>
                <c:pt idx="27">
                  <c:v>0.17140623753915477</c:v>
                </c:pt>
                <c:pt idx="28">
                  <c:v>0.17776819931137092</c:v>
                </c:pt>
                <c:pt idx="29">
                  <c:v>0.16930539289315938</c:v>
                </c:pt>
                <c:pt idx="30">
                  <c:v>0.16072465421927304</c:v>
                </c:pt>
                <c:pt idx="31">
                  <c:v>0.15229173946967114</c:v>
                </c:pt>
                <c:pt idx="32">
                  <c:v>0.15182858084819467</c:v>
                </c:pt>
                <c:pt idx="33">
                  <c:v>0.1691421454108041</c:v>
                </c:pt>
                <c:pt idx="34">
                  <c:v>0.18995273002534954</c:v>
                </c:pt>
                <c:pt idx="35">
                  <c:v>0.17837159218035942</c:v>
                </c:pt>
                <c:pt idx="36">
                  <c:v>0.15844703254628617</c:v>
                </c:pt>
                <c:pt idx="37">
                  <c:v>0.16891952608274494</c:v>
                </c:pt>
                <c:pt idx="38">
                  <c:v>0.1666219742991709</c:v>
                </c:pt>
                <c:pt idx="39">
                  <c:v>0.17858426476342412</c:v>
                </c:pt>
                <c:pt idx="40">
                  <c:v>0.18035460322406618</c:v>
                </c:pt>
                <c:pt idx="41">
                  <c:v>0.19184424189096697</c:v>
                </c:pt>
                <c:pt idx="42">
                  <c:v>0.18761777520042616</c:v>
                </c:pt>
                <c:pt idx="43">
                  <c:v>0.19462645724664726</c:v>
                </c:pt>
                <c:pt idx="44">
                  <c:v>0.19744277894401902</c:v>
                </c:pt>
                <c:pt idx="45">
                  <c:v>0.20244821162534457</c:v>
                </c:pt>
                <c:pt idx="46">
                  <c:v>0.18747314627755335</c:v>
                </c:pt>
                <c:pt idx="47">
                  <c:v>0.18731967056169047</c:v>
                </c:pt>
                <c:pt idx="48">
                  <c:v>0.18975821667307508</c:v>
                </c:pt>
                <c:pt idx="49">
                  <c:v>0.20985354305437678</c:v>
                </c:pt>
                <c:pt idx="50">
                  <c:v>0.21148895180395325</c:v>
                </c:pt>
                <c:pt idx="51">
                  <c:v>0.18752383534109993</c:v>
                </c:pt>
              </c:numCache>
            </c:numRef>
          </c:xVal>
          <c:yVal>
            <c:numRef>
              <c:f>Sheet1!$B$109:$B$160</c:f>
              <c:numCache>
                <c:formatCode>General</c:formatCode>
                <c:ptCount val="52"/>
                <c:pt idx="0">
                  <c:v>0.16040167543765438</c:v>
                </c:pt>
                <c:pt idx="1">
                  <c:v>0.15992835209825998</c:v>
                </c:pt>
                <c:pt idx="2">
                  <c:v>0.16559407829471168</c:v>
                </c:pt>
                <c:pt idx="3">
                  <c:v>0.17334733498962682</c:v>
                </c:pt>
                <c:pt idx="4">
                  <c:v>0.16208893375126177</c:v>
                </c:pt>
                <c:pt idx="5">
                  <c:v>0.1579523313849521</c:v>
                </c:pt>
                <c:pt idx="6">
                  <c:v>0.1637794880794204</c:v>
                </c:pt>
                <c:pt idx="7">
                  <c:v>0.1598297346469397</c:v>
                </c:pt>
                <c:pt idx="8">
                  <c:v>0.1574814925596351</c:v>
                </c:pt>
                <c:pt idx="9">
                  <c:v>0.17102553542009885</c:v>
                </c:pt>
                <c:pt idx="10">
                  <c:v>0.17266281945589448</c:v>
                </c:pt>
                <c:pt idx="11">
                  <c:v>0.18469012799329207</c:v>
                </c:pt>
                <c:pt idx="12">
                  <c:v>0.18230292144921842</c:v>
                </c:pt>
                <c:pt idx="13">
                  <c:v>0.175229949030406</c:v>
                </c:pt>
                <c:pt idx="14">
                  <c:v>0.17554748046435348</c:v>
                </c:pt>
                <c:pt idx="15">
                  <c:v>0.16581571462837955</c:v>
                </c:pt>
                <c:pt idx="16">
                  <c:v>0.15111955059735738</c:v>
                </c:pt>
                <c:pt idx="17">
                  <c:v>0.14014261572070402</c:v>
                </c:pt>
                <c:pt idx="18">
                  <c:v>0.1380020080321285</c:v>
                </c:pt>
                <c:pt idx="19">
                  <c:v>0.14464501721410628</c:v>
                </c:pt>
                <c:pt idx="20">
                  <c:v>0.13492798353909466</c:v>
                </c:pt>
                <c:pt idx="21">
                  <c:v>0.1413894631334962</c:v>
                </c:pt>
                <c:pt idx="22">
                  <c:v>0.14566416661501272</c:v>
                </c:pt>
                <c:pt idx="23">
                  <c:v>0.1564376461664876</c:v>
                </c:pt>
                <c:pt idx="24">
                  <c:v>0.15555555555555556</c:v>
                </c:pt>
                <c:pt idx="25">
                  <c:v>0.1654601226993865</c:v>
                </c:pt>
                <c:pt idx="26">
                  <c:v>0.1456434666511871</c:v>
                </c:pt>
                <c:pt idx="27">
                  <c:v>0.13291741567093157</c:v>
                </c:pt>
                <c:pt idx="28">
                  <c:v>0.13304128374839294</c:v>
                </c:pt>
                <c:pt idx="29">
                  <c:v>0.13296987087517934</c:v>
                </c:pt>
                <c:pt idx="30">
                  <c:v>0.14351190476190476</c:v>
                </c:pt>
                <c:pt idx="31">
                  <c:v>0.13922744566969755</c:v>
                </c:pt>
                <c:pt idx="32">
                  <c:v>0.13890773405698778</c:v>
                </c:pt>
                <c:pt idx="33">
                  <c:v>0.1622480436329144</c:v>
                </c:pt>
                <c:pt idx="34">
                  <c:v>0.18219346201048756</c:v>
                </c:pt>
                <c:pt idx="35">
                  <c:v>0.1784835607246701</c:v>
                </c:pt>
                <c:pt idx="36">
                  <c:v>0.14671599078662664</c:v>
                </c:pt>
                <c:pt idx="37">
                  <c:v>0.13493900531748515</c:v>
                </c:pt>
                <c:pt idx="38">
                  <c:v>0.13711087792934593</c:v>
                </c:pt>
                <c:pt idx="39">
                  <c:v>0.15427748340964043</c:v>
                </c:pt>
                <c:pt idx="40">
                  <c:v>0.1372841717669304</c:v>
                </c:pt>
                <c:pt idx="41">
                  <c:v>0.13758057685973746</c:v>
                </c:pt>
                <c:pt idx="42">
                  <c:v>0.1349878293999365</c:v>
                </c:pt>
                <c:pt idx="43">
                  <c:v>0.13301232665639445</c:v>
                </c:pt>
                <c:pt idx="44">
                  <c:v>0.12827739075364156</c:v>
                </c:pt>
                <c:pt idx="45">
                  <c:v>0.1462760865403025</c:v>
                </c:pt>
                <c:pt idx="46">
                  <c:v>0.13967025089605734</c:v>
                </c:pt>
                <c:pt idx="47">
                  <c:v>0.1424847491333208</c:v>
                </c:pt>
                <c:pt idx="48">
                  <c:v>0.1344111373077355</c:v>
                </c:pt>
                <c:pt idx="49">
                  <c:v>0.14949840959138733</c:v>
                </c:pt>
                <c:pt idx="50">
                  <c:v>0.18617374229805675</c:v>
                </c:pt>
                <c:pt idx="51">
                  <c:v>0.1664974858950449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269316612215466</c:v>
                </c:pt>
              </c:numCache>
            </c:numRef>
          </c:xVal>
          <c:yVal>
            <c:numRef>
              <c:f>Sheet1!$B$163:$B$164</c:f>
              <c:numCache>
                <c:formatCode>General</c:formatCode>
                <c:ptCount val="2"/>
                <c:pt idx="0">
                  <c:v>0.19915106140886207</c:v>
                </c:pt>
                <c:pt idx="1">
                  <c:v>0.1991510614088620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269316612215466</c:v>
                </c:pt>
                <c:pt idx="1">
                  <c:v>0.3269316612215466</c:v>
                </c:pt>
              </c:numCache>
            </c:numRef>
          </c:xVal>
          <c:yVal>
            <c:numRef>
              <c:f>Sheet1!$B$167:$B$168</c:f>
              <c:numCache>
                <c:formatCode>General</c:formatCode>
                <c:ptCount val="2"/>
                <c:pt idx="0">
                  <c:v>0.1991510614088620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194003935293851</c:v>
                </c:pt>
              </c:numCache>
            </c:numRef>
          </c:xVal>
          <c:yVal>
            <c:numRef>
              <c:f>Sheet1!$B$171:$B$172</c:f>
              <c:numCache>
                <c:formatCode>General</c:formatCode>
                <c:ptCount val="2"/>
                <c:pt idx="0">
                  <c:v>0.16226704680471798</c:v>
                </c:pt>
                <c:pt idx="1">
                  <c:v>0.1622670468047179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194003935293851</c:v>
                </c:pt>
                <c:pt idx="1">
                  <c:v>0.2194003935293851</c:v>
                </c:pt>
              </c:numCache>
            </c:numRef>
          </c:xVal>
          <c:yVal>
            <c:numRef>
              <c:f>Sheet1!$B$175:$B$176</c:f>
              <c:numCache>
                <c:formatCode>General</c:formatCode>
                <c:ptCount val="2"/>
                <c:pt idx="0">
                  <c:v>0.1622670468047179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7027833079791393</c:v>
                </c:pt>
              </c:numCache>
            </c:numRef>
          </c:xVal>
          <c:yVal>
            <c:numRef>
              <c:f>Sheet1!$B$179:$B$180</c:f>
              <c:numCache>
                <c:formatCode>General</c:formatCode>
                <c:ptCount val="2"/>
                <c:pt idx="0">
                  <c:v>0.14541781850062968</c:v>
                </c:pt>
                <c:pt idx="1">
                  <c:v>0.1454178185006296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7027833079791393</c:v>
                </c:pt>
                <c:pt idx="1">
                  <c:v>0.17027833079791393</c:v>
                </c:pt>
              </c:numCache>
            </c:numRef>
          </c:xVal>
          <c:yVal>
            <c:numRef>
              <c:f>Sheet1!$B$183:$B$184</c:f>
              <c:numCache>
                <c:formatCode>General</c:formatCode>
                <c:ptCount val="2"/>
                <c:pt idx="0">
                  <c:v>0.1454178185006296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2976338149354553</c:v>
                </c:pt>
                <c:pt idx="1">
                  <c:v>0.2262818900919849</c:v>
                </c:pt>
                <c:pt idx="2">
                  <c:v>0.22344291351574214</c:v>
                </c:pt>
                <c:pt idx="3">
                  <c:v>0.2301320560993918</c:v>
                </c:pt>
                <c:pt idx="4">
                  <c:v>0.21935096835400703</c:v>
                </c:pt>
                <c:pt idx="5">
                  <c:v>0.22611297045102813</c:v>
                </c:pt>
                <c:pt idx="6">
                  <c:v>0.2099079161831425</c:v>
                </c:pt>
                <c:pt idx="7">
                  <c:v>0.2050070394303022</c:v>
                </c:pt>
                <c:pt idx="8">
                  <c:v>0.22646216729132523</c:v>
                </c:pt>
                <c:pt idx="9">
                  <c:v>0.21886716371804216</c:v>
                </c:pt>
                <c:pt idx="10">
                  <c:v>0.2263336603563854</c:v>
                </c:pt>
                <c:pt idx="11">
                  <c:v>0.21319433223990222</c:v>
                </c:pt>
                <c:pt idx="12">
                  <c:v>0.21830108196116554</c:v>
                </c:pt>
                <c:pt idx="13">
                  <c:v>0.21357406735995343</c:v>
                </c:pt>
                <c:pt idx="14">
                  <c:v>0.21565093349341427</c:v>
                </c:pt>
                <c:pt idx="15">
                  <c:v>0.20750602957502723</c:v>
                </c:pt>
                <c:pt idx="16">
                  <c:v>0.20743685039037632</c:v>
                </c:pt>
                <c:pt idx="17">
                  <c:v>0.20076294655951663</c:v>
                </c:pt>
                <c:pt idx="18">
                  <c:v>0.18003578405543455</c:v>
                </c:pt>
                <c:pt idx="19">
                  <c:v>0.208560473929758</c:v>
                </c:pt>
                <c:pt idx="20">
                  <c:v>0.19369158873522663</c:v>
                </c:pt>
                <c:pt idx="21">
                  <c:v>0.1791058828839323</c:v>
                </c:pt>
                <c:pt idx="22">
                  <c:v>0.17814058961993812</c:v>
                </c:pt>
                <c:pt idx="23">
                  <c:v>0.16006420094949442</c:v>
                </c:pt>
                <c:pt idx="24">
                  <c:v>0.15894385330930139</c:v>
                </c:pt>
                <c:pt idx="25">
                  <c:v>0.15224116546149052</c:v>
                </c:pt>
                <c:pt idx="26">
                  <c:v>0.16375321175842875</c:v>
                </c:pt>
                <c:pt idx="27">
                  <c:v>0.17140623753915477</c:v>
                </c:pt>
                <c:pt idx="28">
                  <c:v>0.17776819931137092</c:v>
                </c:pt>
                <c:pt idx="29">
                  <c:v>0.16930539289315938</c:v>
                </c:pt>
                <c:pt idx="30">
                  <c:v>0.16072465421927304</c:v>
                </c:pt>
                <c:pt idx="31">
                  <c:v>0.15229173946967114</c:v>
                </c:pt>
                <c:pt idx="32">
                  <c:v>0.15182858084819467</c:v>
                </c:pt>
                <c:pt idx="33">
                  <c:v>0.1691421454108041</c:v>
                </c:pt>
                <c:pt idx="34">
                  <c:v>0.18995273002534954</c:v>
                </c:pt>
                <c:pt idx="35">
                  <c:v>0.17837159218035942</c:v>
                </c:pt>
                <c:pt idx="36">
                  <c:v>0.15844703254628617</c:v>
                </c:pt>
                <c:pt idx="37">
                  <c:v>0.16891952608274494</c:v>
                </c:pt>
                <c:pt idx="38">
                  <c:v>0.1666219742991709</c:v>
                </c:pt>
                <c:pt idx="39">
                  <c:v>0.17858426476342412</c:v>
                </c:pt>
                <c:pt idx="40">
                  <c:v>0.18035460322406618</c:v>
                </c:pt>
                <c:pt idx="41">
                  <c:v>0.19184424189096697</c:v>
                </c:pt>
                <c:pt idx="42">
                  <c:v>0.18761777520042616</c:v>
                </c:pt>
                <c:pt idx="43">
                  <c:v>0.19462645724664726</c:v>
                </c:pt>
                <c:pt idx="44">
                  <c:v>0.19744277894401902</c:v>
                </c:pt>
                <c:pt idx="45">
                  <c:v>0.20244821162534457</c:v>
                </c:pt>
                <c:pt idx="46">
                  <c:v>0.18747314627755335</c:v>
                </c:pt>
                <c:pt idx="47">
                  <c:v>0.18731967056169047</c:v>
                </c:pt>
                <c:pt idx="48">
                  <c:v>0.18975821667307508</c:v>
                </c:pt>
                <c:pt idx="49">
                  <c:v>0.20985354305437678</c:v>
                </c:pt>
                <c:pt idx="50">
                  <c:v>0.21148895180395325</c:v>
                </c:pt>
                <c:pt idx="51">
                  <c:v>0.18752383534109993</c:v>
                </c:pt>
                <c:pt idx="52">
                  <c:v>0.2194003935293851</c:v>
                </c:pt>
                <c:pt idx="53">
                  <c:v>0.3269316612215466</c:v>
                </c:pt>
                <c:pt idx="54">
                  <c:v>0.17027833079791393</c:v>
                </c:pt>
              </c:numCache>
            </c:numRef>
          </c:xVal>
          <c:yVal>
            <c:numRef>
              <c:f>Sheet1!$B$187:$B$241</c:f>
              <c:numCache>
                <c:formatCode>General</c:formatCode>
                <c:ptCount val="55"/>
                <c:pt idx="0">
                  <c:v>0.1658216277895428</c:v>
                </c:pt>
                <c:pt idx="1">
                  <c:v>0.1646274506682707</c:v>
                </c:pt>
                <c:pt idx="2">
                  <c:v>0.16365366085116623</c:v>
                </c:pt>
                <c:pt idx="3">
                  <c:v>0.1659480858871553</c:v>
                </c:pt>
                <c:pt idx="4">
                  <c:v>0.16225009360654985</c:v>
                </c:pt>
                <c:pt idx="5">
                  <c:v>0.16456950999075715</c:v>
                </c:pt>
                <c:pt idx="6">
                  <c:v>0.15901105735548507</c:v>
                </c:pt>
                <c:pt idx="7">
                  <c:v>0.1573300206337535</c:v>
                </c:pt>
                <c:pt idx="8">
                  <c:v>0.16468928707172775</c:v>
                </c:pt>
                <c:pt idx="9">
                  <c:v>0.16208414506301025</c:v>
                </c:pt>
                <c:pt idx="10">
                  <c:v>0.16464520824919754</c:v>
                </c:pt>
                <c:pt idx="11">
                  <c:v>0.16013832220071905</c:v>
                </c:pt>
                <c:pt idx="12">
                  <c:v>0.16188997486269652</c:v>
                </c:pt>
                <c:pt idx="13">
                  <c:v>0.1602685741359401</c:v>
                </c:pt>
                <c:pt idx="14">
                  <c:v>0.1609809544736919</c:v>
                </c:pt>
                <c:pt idx="15">
                  <c:v>0.15818719260774639</c:v>
                </c:pt>
                <c:pt idx="16">
                  <c:v>0.15816346363931025</c:v>
                </c:pt>
                <c:pt idx="17">
                  <c:v>0.15587426560745232</c:v>
                </c:pt>
                <c:pt idx="18">
                  <c:v>0.1487646966336016</c:v>
                </c:pt>
                <c:pt idx="19">
                  <c:v>0.15854887476600465</c:v>
                </c:pt>
                <c:pt idx="20">
                  <c:v>0.15344873793666441</c:v>
                </c:pt>
                <c:pt idx="21">
                  <c:v>0.148445733701924</c:v>
                </c:pt>
                <c:pt idx="22">
                  <c:v>0.1481146310225771</c:v>
                </c:pt>
                <c:pt idx="23">
                  <c:v>0.14191429694282337</c:v>
                </c:pt>
                <c:pt idx="24">
                  <c:v>0.1415300094736112</c:v>
                </c:pt>
                <c:pt idx="25">
                  <c:v>0.13923093831252883</c:v>
                </c:pt>
                <c:pt idx="26">
                  <c:v>0.14317965474499403</c:v>
                </c:pt>
                <c:pt idx="27">
                  <c:v>0.14580469879702063</c:v>
                </c:pt>
                <c:pt idx="28">
                  <c:v>0.14798689841164056</c:v>
                </c:pt>
                <c:pt idx="29">
                  <c:v>0.1450840936533543</c:v>
                </c:pt>
                <c:pt idx="30">
                  <c:v>0.14214083726519366</c:v>
                </c:pt>
                <c:pt idx="31">
                  <c:v>0.1392482855687861</c:v>
                </c:pt>
                <c:pt idx="32">
                  <c:v>0.13908941875985498</c:v>
                </c:pt>
                <c:pt idx="33">
                  <c:v>0.14502809856790141</c:v>
                </c:pt>
                <c:pt idx="34">
                  <c:v>0.15216628193835213</c:v>
                </c:pt>
                <c:pt idx="35">
                  <c:v>0.14819386659744788</c:v>
                </c:pt>
                <c:pt idx="36">
                  <c:v>0.1413595963028937</c:v>
                </c:pt>
                <c:pt idx="37">
                  <c:v>0.14495173850330323</c:v>
                </c:pt>
                <c:pt idx="38">
                  <c:v>0.14416366136669098</c:v>
                </c:pt>
                <c:pt idx="39">
                  <c:v>0.14826681485545706</c:v>
                </c:pt>
                <c:pt idx="40">
                  <c:v>0.14887405395007586</c:v>
                </c:pt>
                <c:pt idx="41">
                  <c:v>0.15281508440086072</c:v>
                </c:pt>
                <c:pt idx="42">
                  <c:v>0.15136537528384264</c:v>
                </c:pt>
                <c:pt idx="43">
                  <c:v>0.15376940470241768</c:v>
                </c:pt>
                <c:pt idx="44">
                  <c:v>0.1547354237296759</c:v>
                </c:pt>
                <c:pt idx="45">
                  <c:v>0.15645232390281066</c:v>
                </c:pt>
                <c:pt idx="46">
                  <c:v>0.15131576650104012</c:v>
                </c:pt>
                <c:pt idx="47">
                  <c:v>0.15126312320326485</c:v>
                </c:pt>
                <c:pt idx="48">
                  <c:v>0.15209956242987827</c:v>
                </c:pt>
                <c:pt idx="49">
                  <c:v>0.15899240697296368</c:v>
                </c:pt>
                <c:pt idx="50">
                  <c:v>0.15955336418566768</c:v>
                </c:pt>
                <c:pt idx="51">
                  <c:v>0.15133315322213295</c:v>
                </c:pt>
                <c:pt idx="52">
                  <c:v>0.16226704680471798</c:v>
                </c:pt>
                <c:pt idx="53">
                  <c:v>0.19915106140886207</c:v>
                </c:pt>
                <c:pt idx="54">
                  <c:v>0.1454178185006296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982231562858233"/>
          <c:min val="0.0981473021674026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83.6837</c:v>
                </c:pt>
                <c:pt idx="1">
                  <c:v>966.575</c:v>
                </c:pt>
                <c:pt idx="2">
                  <c:v>1004.1658</c:v>
                </c:pt>
                <c:pt idx="3">
                  <c:v>1025.9111</c:v>
                </c:pt>
                <c:pt idx="4">
                  <c:v>1038.8074</c:v>
                </c:pt>
                <c:pt idx="5">
                  <c:v>1044.8688</c:v>
                </c:pt>
                <c:pt idx="6">
                  <c:v>1014.7606</c:v>
                </c:pt>
                <c:pt idx="7">
                  <c:v>1035.9</c:v>
                </c:pt>
                <c:pt idx="8">
                  <c:v>1020.9862</c:v>
                </c:pt>
                <c:pt idx="9">
                  <c:v>983.7098</c:v>
                </c:pt>
                <c:pt idx="10">
                  <c:v>966.7723</c:v>
                </c:pt>
                <c:pt idx="11">
                  <c:v>986.2632</c:v>
                </c:pt>
                <c:pt idx="12">
                  <c:v>979.6116</c:v>
                </c:pt>
                <c:pt idx="13">
                  <c:v>969.0491</c:v>
                </c:pt>
                <c:pt idx="14">
                  <c:v>1017.9757</c:v>
                </c:pt>
                <c:pt idx="15">
                  <c:v>1022.9123</c:v>
                </c:pt>
                <c:pt idx="16">
                  <c:v>1027.0247</c:v>
                </c:pt>
                <c:pt idx="17">
                  <c:v>1046.7785</c:v>
                </c:pt>
                <c:pt idx="18">
                  <c:v>1082.9885</c:v>
                </c:pt>
                <c:pt idx="19">
                  <c:v>1112.702</c:v>
                </c:pt>
                <c:pt idx="20">
                  <c:v>1113.5595</c:v>
                </c:pt>
                <c:pt idx="21">
                  <c:v>1123.0637</c:v>
                </c:pt>
                <c:pt idx="22">
                  <c:v>1109.7099</c:v>
                </c:pt>
                <c:pt idx="23">
                  <c:v>1096.2532</c:v>
                </c:pt>
                <c:pt idx="24">
                  <c:v>1087.7789</c:v>
                </c:pt>
                <c:pt idx="25">
                  <c:v>1074.5479</c:v>
                </c:pt>
                <c:pt idx="26">
                  <c:v>1076.6063</c:v>
                </c:pt>
                <c:pt idx="27">
                  <c:v>1096.6786</c:v>
                </c:pt>
                <c:pt idx="28">
                  <c:v>1093.1422</c:v>
                </c:pt>
                <c:pt idx="29">
                  <c:v>999.1981</c:v>
                </c:pt>
                <c:pt idx="30">
                  <c:v>1041.2221</c:v>
                </c:pt>
                <c:pt idx="31">
                  <c:v>1043.179</c:v>
                </c:pt>
                <c:pt idx="32">
                  <c:v>1025.8911</c:v>
                </c:pt>
                <c:pt idx="33">
                  <c:v>959.0862</c:v>
                </c:pt>
                <c:pt idx="34">
                  <c:v>1036.0601</c:v>
                </c:pt>
                <c:pt idx="35">
                  <c:v>1102.8764</c:v>
                </c:pt>
                <c:pt idx="36">
                  <c:v>1176.0392</c:v>
                </c:pt>
                <c:pt idx="37">
                  <c:v>1175.9714</c:v>
                </c:pt>
                <c:pt idx="38">
                  <c:v>1225.3918</c:v>
                </c:pt>
                <c:pt idx="39">
                  <c:v>1244.9366</c:v>
                </c:pt>
                <c:pt idx="40">
                  <c:v>1278.2891</c:v>
                </c:pt>
                <c:pt idx="41">
                  <c:v>1300.506</c:v>
                </c:pt>
                <c:pt idx="42">
                  <c:v>1332.0198</c:v>
                </c:pt>
                <c:pt idx="43">
                  <c:v>1333.9435</c:v>
                </c:pt>
                <c:pt idx="44">
                  <c:v>1180.0243</c:v>
                </c:pt>
                <c:pt idx="45">
                  <c:v>1118.8867</c:v>
                </c:pt>
                <c:pt idx="46">
                  <c:v>1103.3498</c:v>
                </c:pt>
                <c:pt idx="47">
                  <c:v>1088.7106</c:v>
                </c:pt>
                <c:pt idx="48">
                  <c:v>1073.229</c:v>
                </c:pt>
                <c:pt idx="49">
                  <c:v>1047.2799</c:v>
                </c:pt>
                <c:pt idx="50">
                  <c:v>1065.2069</c:v>
                </c:pt>
                <c:pt idx="51">
                  <c:v>1086.4912</c:v>
                </c:pt>
                <c:pt idx="52">
                  <c:v>1088.2768</c:v>
                </c:pt>
                <c:pt idx="53">
                  <c:v>1179.5224</c:v>
                </c:pt>
                <c:pt idx="54">
                  <c:v>1186.0514</c:v>
                </c:pt>
                <c:pt idx="55">
                  <c:v>1197.8008</c:v>
                </c:pt>
                <c:pt idx="56">
                  <c:v>1224.728</c:v>
                </c:pt>
                <c:pt idx="57">
                  <c:v>1202.3301</c:v>
                </c:pt>
                <c:pt idx="58">
                  <c:v>1182.6987</c:v>
                </c:pt>
                <c:pt idx="59">
                  <c:v>1163.5995</c:v>
                </c:pt>
                <c:pt idx="60">
                  <c:v>1185.6169</c:v>
                </c:pt>
                <c:pt idx="61">
                  <c:v>1178.3637</c:v>
                </c:pt>
                <c:pt idx="62">
                  <c:v>1141.1633</c:v>
                </c:pt>
                <c:pt idx="63">
                  <c:v>1159.5331</c:v>
                </c:pt>
                <c:pt idx="64">
                  <c:v>1153.9833</c:v>
                </c:pt>
                <c:pt idx="65">
                  <c:v>1143.3808</c:v>
                </c:pt>
                <c:pt idx="66">
                  <c:v>1144.6878</c:v>
                </c:pt>
                <c:pt idx="67">
                  <c:v>1138.0805</c:v>
                </c:pt>
                <c:pt idx="68">
                  <c:v>1123.0104</c:v>
                </c:pt>
                <c:pt idx="69">
                  <c:v>1134.919</c:v>
                </c:pt>
                <c:pt idx="70">
                  <c:v>1121.3528</c:v>
                </c:pt>
                <c:pt idx="71">
                  <c:v>1158.9137</c:v>
                </c:pt>
                <c:pt idx="72">
                  <c:v>1204.4621</c:v>
                </c:pt>
                <c:pt idx="73">
                  <c:v>1202.6384</c:v>
                </c:pt>
                <c:pt idx="74">
                  <c:v>1150.7609</c:v>
                </c:pt>
                <c:pt idx="75">
                  <c:v>1145.2316</c:v>
                </c:pt>
                <c:pt idx="76">
                  <c:v>1153.8427</c:v>
                </c:pt>
                <c:pt idx="77">
                  <c:v>1128.7978</c:v>
                </c:pt>
                <c:pt idx="78">
                  <c:v>1203.9642</c:v>
                </c:pt>
                <c:pt idx="79">
                  <c:v>844.4785</c:v>
                </c:pt>
                <c:pt idx="80">
                  <c:v>854.282</c:v>
                </c:pt>
                <c:pt idx="81">
                  <c:v>1057.283</c:v>
                </c:pt>
                <c:pt idx="82">
                  <c:v>1067.2955</c:v>
                </c:pt>
                <c:pt idx="83">
                  <c:v>1074.5343</c:v>
                </c:pt>
                <c:pt idx="84">
                  <c:v>1080.6549</c:v>
                </c:pt>
                <c:pt idx="85">
                  <c:v>1106.9405</c:v>
                </c:pt>
                <c:pt idx="86">
                  <c:v>1214.7725</c:v>
                </c:pt>
                <c:pt idx="87">
                  <c:v>1247.265</c:v>
                </c:pt>
                <c:pt idx="88">
                  <c:v>1251.8316</c:v>
                </c:pt>
                <c:pt idx="89">
                  <c:v>1205.0642</c:v>
                </c:pt>
                <c:pt idx="90">
                  <c:v>1248.6367</c:v>
                </c:pt>
                <c:pt idx="91">
                  <c:v>1282.5477</c:v>
                </c:pt>
                <c:pt idx="92">
                  <c:v>1271.3538</c:v>
                </c:pt>
                <c:pt idx="93">
                  <c:v>1307.995</c:v>
                </c:pt>
                <c:pt idx="94">
                  <c:v>1301.7432</c:v>
                </c:pt>
                <c:pt idx="95">
                  <c:v>1299.1079</c:v>
                </c:pt>
                <c:pt idx="96">
                  <c:v>1213.9025</c:v>
                </c:pt>
                <c:pt idx="97">
                  <c:v>1238.7399</c:v>
                </c:pt>
                <c:pt idx="98">
                  <c:v>1218.5024</c:v>
                </c:pt>
                <c:pt idx="99">
                  <c:v>1181.5526</c:v>
                </c:pt>
                <c:pt idx="100">
                  <c:v>1169.6844</c:v>
                </c:pt>
                <c:pt idx="101">
                  <c:v>1229.0463</c:v>
                </c:pt>
                <c:pt idx="102">
                  <c:v>1274.6168</c:v>
                </c:pt>
                <c:pt idx="103">
                  <c:v>1129.6337</c:v>
                </c:pt>
                <c:pt idx="104">
                  <c:v>1199.132</c:v>
                </c:pt>
              </c:numCache>
            </c:numRef>
          </c:xVal>
          <c:yVal>
            <c:numRef>
              <c:f>Sheet1!$B$2:$B$106</c:f>
              <c:numCache>
                <c:formatCode>General</c:formatCode>
                <c:ptCount val="105"/>
                <c:pt idx="0">
                  <c:v>0.2142778451030076</c:v>
                </c:pt>
                <c:pt idx="1">
                  <c:v>0.2205680119581465</c:v>
                </c:pt>
                <c:pt idx="2">
                  <c:v>0.20282753182381436</c:v>
                </c:pt>
                <c:pt idx="3">
                  <c:v>0.20211971936109868</c:v>
                </c:pt>
                <c:pt idx="4">
                  <c:v>0.19169137371170408</c:v>
                </c:pt>
                <c:pt idx="5">
                  <c:v>0.1788611996522747</c:v>
                </c:pt>
                <c:pt idx="6">
                  <c:v>0.1940596137699412</c:v>
                </c:pt>
                <c:pt idx="7">
                  <c:v>0.18765172357986729</c:v>
                </c:pt>
                <c:pt idx="8">
                  <c:v>0.2003025337199042</c:v>
                </c:pt>
                <c:pt idx="9">
                  <c:v>0.19964681025511652</c:v>
                </c:pt>
                <c:pt idx="10">
                  <c:v>0.21146317592366037</c:v>
                </c:pt>
                <c:pt idx="11">
                  <c:v>0.20691998764287922</c:v>
                </c:pt>
                <c:pt idx="12">
                  <c:v>0.2121600091043587</c:v>
                </c:pt>
                <c:pt idx="13">
                  <c:v>0.21832690755850445</c:v>
                </c:pt>
                <c:pt idx="14">
                  <c:v>0.21323685246298707</c:v>
                </c:pt>
                <c:pt idx="15">
                  <c:v>0.21025421613719827</c:v>
                </c:pt>
                <c:pt idx="16">
                  <c:v>0.19590357520970764</c:v>
                </c:pt>
                <c:pt idx="17">
                  <c:v>0.19084721475909008</c:v>
                </c:pt>
                <c:pt idx="18">
                  <c:v>0.17428241089830593</c:v>
                </c:pt>
                <c:pt idx="19">
                  <c:v>0.15911344415281423</c:v>
                </c:pt>
                <c:pt idx="20">
                  <c:v>0.17342784616121462</c:v>
                </c:pt>
                <c:pt idx="21">
                  <c:v>0.1697351229362157</c:v>
                </c:pt>
                <c:pt idx="22">
                  <c:v>0.16864132036545829</c:v>
                </c:pt>
                <c:pt idx="23">
                  <c:v>0.16985230234578627</c:v>
                </c:pt>
                <c:pt idx="24">
                  <c:v>0.17376209447922594</c:v>
                </c:pt>
                <c:pt idx="25">
                  <c:v>0.17251215559157212</c:v>
                </c:pt>
                <c:pt idx="26">
                  <c:v>0.17551114174132781</c:v>
                </c:pt>
                <c:pt idx="27">
                  <c:v>0.16991130696714454</c:v>
                </c:pt>
                <c:pt idx="28">
                  <c:v>0.16685584562996594</c:v>
                </c:pt>
                <c:pt idx="29">
                  <c:v>0.18139695371420123</c:v>
                </c:pt>
                <c:pt idx="30">
                  <c:v>0.16671959352175295</c:v>
                </c:pt>
                <c:pt idx="31">
                  <c:v>0.1619269428781564</c:v>
                </c:pt>
                <c:pt idx="32">
                  <c:v>0.17044424297370808</c:v>
                </c:pt>
                <c:pt idx="33">
                  <c:v>0.1885484873106151</c:v>
                </c:pt>
                <c:pt idx="34">
                  <c:v>0.18400170648464165</c:v>
                </c:pt>
                <c:pt idx="35">
                  <c:v>0.1867177033492823</c:v>
                </c:pt>
                <c:pt idx="36">
                  <c:v>0.15092002018996925</c:v>
                </c:pt>
                <c:pt idx="37">
                  <c:v>0.13891682990100057</c:v>
                </c:pt>
                <c:pt idx="38">
                  <c:v>0.13205435651478817</c:v>
                </c:pt>
                <c:pt idx="39">
                  <c:v>0.13110424276482158</c:v>
                </c:pt>
                <c:pt idx="40">
                  <c:v>0.13415972921050223</c:v>
                </c:pt>
                <c:pt idx="41">
                  <c:v>0.12268412770925334</c:v>
                </c:pt>
                <c:pt idx="42">
                  <c:v>0.12946893439777854</c:v>
                </c:pt>
                <c:pt idx="43">
                  <c:v>0.13465698393077874</c:v>
                </c:pt>
                <c:pt idx="44">
                  <c:v>0.1520209077265435</c:v>
                </c:pt>
                <c:pt idx="45">
                  <c:v>0.17098201675925054</c:v>
                </c:pt>
                <c:pt idx="46">
                  <c:v>0.1779121432824882</c:v>
                </c:pt>
                <c:pt idx="47">
                  <c:v>0.17797305213825423</c:v>
                </c:pt>
                <c:pt idx="48">
                  <c:v>0.19519969998124884</c:v>
                </c:pt>
                <c:pt idx="49">
                  <c:v>0.22485192969048529</c:v>
                </c:pt>
                <c:pt idx="50">
                  <c:v>0.18717832957110608</c:v>
                </c:pt>
                <c:pt idx="51">
                  <c:v>0.17017403535868936</c:v>
                </c:pt>
                <c:pt idx="52">
                  <c:v>0.18587524683470785</c:v>
                </c:pt>
                <c:pt idx="53">
                  <c:v>0.17409405418083734</c:v>
                </c:pt>
                <c:pt idx="54">
                  <c:v>0.16918866709594332</c:v>
                </c:pt>
                <c:pt idx="55">
                  <c:v>0.16388502549837738</c:v>
                </c:pt>
                <c:pt idx="56">
                  <c:v>0.17452272343301234</c:v>
                </c:pt>
                <c:pt idx="57">
                  <c:v>0.16809585679226216</c:v>
                </c:pt>
                <c:pt idx="58">
                  <c:v>0.18187869428617073</c:v>
                </c:pt>
                <c:pt idx="59">
                  <c:v>0.18989330478919927</c:v>
                </c:pt>
                <c:pt idx="60">
                  <c:v>0.19817356799756983</c:v>
                </c:pt>
                <c:pt idx="61">
                  <c:v>0.19613014414038019</c:v>
                </c:pt>
                <c:pt idx="62">
                  <c:v>0.2017100956537183</c:v>
                </c:pt>
                <c:pt idx="63">
                  <c:v>0.21835377499597303</c:v>
                </c:pt>
                <c:pt idx="64">
                  <c:v>0.2085806799784134</c:v>
                </c:pt>
                <c:pt idx="65">
                  <c:v>0.1998825371965544</c:v>
                </c:pt>
                <c:pt idx="66">
                  <c:v>0.1973831585378271</c:v>
                </c:pt>
                <c:pt idx="67">
                  <c:v>0.19430203994446224</c:v>
                </c:pt>
                <c:pt idx="68">
                  <c:v>0.17686881148967132</c:v>
                </c:pt>
                <c:pt idx="69">
                  <c:v>0.16319170984455958</c:v>
                </c:pt>
                <c:pt idx="70">
                  <c:v>0.1533490937746257</c:v>
                </c:pt>
                <c:pt idx="71">
                  <c:v>0.16064874093043108</c:v>
                </c:pt>
                <c:pt idx="72">
                  <c:v>0.1608600759841565</c:v>
                </c:pt>
                <c:pt idx="73">
                  <c:v>0.16387831072696932</c:v>
                </c:pt>
                <c:pt idx="74">
                  <c:v>0.16418766646179062</c:v>
                </c:pt>
                <c:pt idx="75">
                  <c:v>0.16404559226662818</c:v>
                </c:pt>
                <c:pt idx="76">
                  <c:v>0.1593002315410342</c:v>
                </c:pt>
                <c:pt idx="77">
                  <c:v>0.15677497498551793</c:v>
                </c:pt>
                <c:pt idx="78">
                  <c:v>0.1476671759313668</c:v>
                </c:pt>
                <c:pt idx="79">
                  <c:v>0.1968398223691005</c:v>
                </c:pt>
                <c:pt idx="80">
                  <c:v>0.18245957359151302</c:v>
                </c:pt>
                <c:pt idx="81">
                  <c:v>0.1518782525036078</c:v>
                </c:pt>
                <c:pt idx="82">
                  <c:v>0.1534860108303249</c:v>
                </c:pt>
                <c:pt idx="83">
                  <c:v>0.1381531383503122</c:v>
                </c:pt>
                <c:pt idx="84">
                  <c:v>0.13925314517739465</c:v>
                </c:pt>
                <c:pt idx="85">
                  <c:v>0.14105925537493444</c:v>
                </c:pt>
                <c:pt idx="86">
                  <c:v>0.13826324124582087</c:v>
                </c:pt>
                <c:pt idx="87">
                  <c:v>0.1598108549190275</c:v>
                </c:pt>
                <c:pt idx="88">
                  <c:v>0.1421685470628741</c:v>
                </c:pt>
                <c:pt idx="89">
                  <c:v>0.13221375807940905</c:v>
                </c:pt>
                <c:pt idx="90">
                  <c:v>0.1263700456188163</c:v>
                </c:pt>
                <c:pt idx="91">
                  <c:v>0.1283997469955724</c:v>
                </c:pt>
                <c:pt idx="92">
                  <c:v>0.13316432357686103</c:v>
                </c:pt>
                <c:pt idx="93">
                  <c:v>0.12460783880517874</c:v>
                </c:pt>
                <c:pt idx="94">
                  <c:v>0.1268574297188755</c:v>
                </c:pt>
                <c:pt idx="95">
                  <c:v>0.1355782337987695</c:v>
                </c:pt>
                <c:pt idx="96">
                  <c:v>0.13646737847267768</c:v>
                </c:pt>
                <c:pt idx="97">
                  <c:v>0.14375402446877011</c:v>
                </c:pt>
                <c:pt idx="98">
                  <c:v>0.1603094530735948</c:v>
                </c:pt>
                <c:pt idx="99">
                  <c:v>0.1650910727889743</c:v>
                </c:pt>
                <c:pt idx="100">
                  <c:v>0.187766499377382</c:v>
                </c:pt>
                <c:pt idx="101">
                  <c:v>0.16697459082313562</c:v>
                </c:pt>
                <c:pt idx="102">
                  <c:v>0.13658866495333424</c:v>
                </c:pt>
                <c:pt idx="103">
                  <c:v>0.1561864579097194</c:v>
                </c:pt>
                <c:pt idx="104">
                  <c:v>0.1626277200318011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89.1485</c:v>
                </c:pt>
                <c:pt idx="1">
                  <c:v>1277.3865</c:v>
                </c:pt>
                <c:pt idx="2">
                  <c:v>1273.6823</c:v>
                </c:pt>
                <c:pt idx="3">
                  <c:v>1298.6464</c:v>
                </c:pt>
                <c:pt idx="4">
                  <c:v>1291.9987</c:v>
                </c:pt>
                <c:pt idx="5">
                  <c:v>1302.7866</c:v>
                </c:pt>
                <c:pt idx="6">
                  <c:v>1217.0758</c:v>
                </c:pt>
                <c:pt idx="7">
                  <c:v>1261.2448</c:v>
                </c:pt>
                <c:pt idx="8">
                  <c:v>1350.3314</c:v>
                </c:pt>
                <c:pt idx="9">
                  <c:v>1283.2539</c:v>
                </c:pt>
                <c:pt idx="10">
                  <c:v>1300.3694</c:v>
                </c:pt>
                <c:pt idx="11">
                  <c:v>1194.7889</c:v>
                </c:pt>
                <c:pt idx="12">
                  <c:v>1226.0023</c:v>
                </c:pt>
                <c:pt idx="13">
                  <c:v>1263.4925</c:v>
                </c:pt>
                <c:pt idx="14">
                  <c:v>1281.2528</c:v>
                </c:pt>
                <c:pt idx="15">
                  <c:v>1293.7433</c:v>
                </c:pt>
                <c:pt idx="16">
                  <c:v>1344.2262</c:v>
                </c:pt>
                <c:pt idx="17">
                  <c:v>1311.0765</c:v>
                </c:pt>
                <c:pt idx="18">
                  <c:v>1291.311</c:v>
                </c:pt>
                <c:pt idx="19">
                  <c:v>1369.1164</c:v>
                </c:pt>
                <c:pt idx="20">
                  <c:v>1362.5536</c:v>
                </c:pt>
                <c:pt idx="21">
                  <c:v>1304.7745</c:v>
                </c:pt>
                <c:pt idx="22">
                  <c:v>1272.8464</c:v>
                </c:pt>
                <c:pt idx="23">
                  <c:v>1213.0493</c:v>
                </c:pt>
                <c:pt idx="24">
                  <c:v>1213.6513</c:v>
                </c:pt>
                <c:pt idx="25">
                  <c:v>1173.9889</c:v>
                </c:pt>
                <c:pt idx="26">
                  <c:v>1237.3615</c:v>
                </c:pt>
                <c:pt idx="27">
                  <c:v>1304.4165</c:v>
                </c:pt>
                <c:pt idx="28">
                  <c:v>1313.4517</c:v>
                </c:pt>
                <c:pt idx="29">
                  <c:v>1320.4635</c:v>
                </c:pt>
                <c:pt idx="30">
                  <c:v>1289.4538</c:v>
                </c:pt>
                <c:pt idx="31">
                  <c:v>1206.2033</c:v>
                </c:pt>
                <c:pt idx="32">
                  <c:v>1235.4929</c:v>
                </c:pt>
                <c:pt idx="33">
                  <c:v>1281.1298</c:v>
                </c:pt>
                <c:pt idx="34">
                  <c:v>1329.4689</c:v>
                </c:pt>
                <c:pt idx="35">
                  <c:v>1320.2048</c:v>
                </c:pt>
                <c:pt idx="36">
                  <c:v>1301.1641</c:v>
                </c:pt>
                <c:pt idx="37">
                  <c:v>1379.0232</c:v>
                </c:pt>
                <c:pt idx="38">
                  <c:v>1345.6929</c:v>
                </c:pt>
                <c:pt idx="39">
                  <c:v>1335.854</c:v>
                </c:pt>
                <c:pt idx="40">
                  <c:v>1359.9946</c:v>
                </c:pt>
                <c:pt idx="41">
                  <c:v>1422.396</c:v>
                </c:pt>
                <c:pt idx="42">
                  <c:v>1414.5484</c:v>
                </c:pt>
                <c:pt idx="43">
                  <c:v>1403.9832</c:v>
                </c:pt>
                <c:pt idx="44">
                  <c:v>1350.7285</c:v>
                </c:pt>
                <c:pt idx="45">
                  <c:v>1302.4134</c:v>
                </c:pt>
                <c:pt idx="46">
                  <c:v>1290.6627</c:v>
                </c:pt>
                <c:pt idx="47">
                  <c:v>1274.9266</c:v>
                </c:pt>
                <c:pt idx="48">
                  <c:v>1247.5038</c:v>
                </c:pt>
                <c:pt idx="49">
                  <c:v>1246.6658</c:v>
                </c:pt>
                <c:pt idx="50">
                  <c:v>1140.37</c:v>
                </c:pt>
                <c:pt idx="51">
                  <c:v>1134.4892</c:v>
                </c:pt>
              </c:numCache>
            </c:numRef>
          </c:xVal>
          <c:yVal>
            <c:numRef>
              <c:f>Sheet1!$B$109:$B$160</c:f>
              <c:numCache>
                <c:formatCode>General</c:formatCode>
                <c:ptCount val="52"/>
                <c:pt idx="0">
                  <c:v>0.16040167543765438</c:v>
                </c:pt>
                <c:pt idx="1">
                  <c:v>0.15992835209825998</c:v>
                </c:pt>
                <c:pt idx="2">
                  <c:v>0.16559407829471168</c:v>
                </c:pt>
                <c:pt idx="3">
                  <c:v>0.17334733498962682</c:v>
                </c:pt>
                <c:pt idx="4">
                  <c:v>0.16208893375126177</c:v>
                </c:pt>
                <c:pt idx="5">
                  <c:v>0.1579523313849521</c:v>
                </c:pt>
                <c:pt idx="6">
                  <c:v>0.1637794880794204</c:v>
                </c:pt>
                <c:pt idx="7">
                  <c:v>0.1598297346469397</c:v>
                </c:pt>
                <c:pt idx="8">
                  <c:v>0.1574814925596351</c:v>
                </c:pt>
                <c:pt idx="9">
                  <c:v>0.17102553542009885</c:v>
                </c:pt>
                <c:pt idx="10">
                  <c:v>0.17266281945589448</c:v>
                </c:pt>
                <c:pt idx="11">
                  <c:v>0.18469012799329207</c:v>
                </c:pt>
                <c:pt idx="12">
                  <c:v>0.18230292144921842</c:v>
                </c:pt>
                <c:pt idx="13">
                  <c:v>0.175229949030406</c:v>
                </c:pt>
                <c:pt idx="14">
                  <c:v>0.17554748046435348</c:v>
                </c:pt>
                <c:pt idx="15">
                  <c:v>0.16581571462837955</c:v>
                </c:pt>
                <c:pt idx="16">
                  <c:v>0.15111955059735738</c:v>
                </c:pt>
                <c:pt idx="17">
                  <c:v>0.14014261572070402</c:v>
                </c:pt>
                <c:pt idx="18">
                  <c:v>0.1380020080321285</c:v>
                </c:pt>
                <c:pt idx="19">
                  <c:v>0.14464501721410628</c:v>
                </c:pt>
                <c:pt idx="20">
                  <c:v>0.13492798353909466</c:v>
                </c:pt>
                <c:pt idx="21">
                  <c:v>0.1413894631334962</c:v>
                </c:pt>
                <c:pt idx="22">
                  <c:v>0.14566416661501272</c:v>
                </c:pt>
                <c:pt idx="23">
                  <c:v>0.1564376461664876</c:v>
                </c:pt>
                <c:pt idx="24">
                  <c:v>0.15555555555555556</c:v>
                </c:pt>
                <c:pt idx="25">
                  <c:v>0.1654601226993865</c:v>
                </c:pt>
                <c:pt idx="26">
                  <c:v>0.1456434666511871</c:v>
                </c:pt>
                <c:pt idx="27">
                  <c:v>0.13291741567093157</c:v>
                </c:pt>
                <c:pt idx="28">
                  <c:v>0.13304128374839294</c:v>
                </c:pt>
                <c:pt idx="29">
                  <c:v>0.13296987087517934</c:v>
                </c:pt>
                <c:pt idx="30">
                  <c:v>0.14351190476190476</c:v>
                </c:pt>
                <c:pt idx="31">
                  <c:v>0.13922744566969755</c:v>
                </c:pt>
                <c:pt idx="32">
                  <c:v>0.13890773405698778</c:v>
                </c:pt>
                <c:pt idx="33">
                  <c:v>0.1622480436329144</c:v>
                </c:pt>
                <c:pt idx="34">
                  <c:v>0.18219346201048756</c:v>
                </c:pt>
                <c:pt idx="35">
                  <c:v>0.1784835607246701</c:v>
                </c:pt>
                <c:pt idx="36">
                  <c:v>0.14671599078662664</c:v>
                </c:pt>
                <c:pt idx="37">
                  <c:v>0.13493900531748515</c:v>
                </c:pt>
                <c:pt idx="38">
                  <c:v>0.13711087792934593</c:v>
                </c:pt>
                <c:pt idx="39">
                  <c:v>0.15427748340964043</c:v>
                </c:pt>
                <c:pt idx="40">
                  <c:v>0.1372841717669304</c:v>
                </c:pt>
                <c:pt idx="41">
                  <c:v>0.13758057685973746</c:v>
                </c:pt>
                <c:pt idx="42">
                  <c:v>0.1349878293999365</c:v>
                </c:pt>
                <c:pt idx="43">
                  <c:v>0.13301232665639445</c:v>
                </c:pt>
                <c:pt idx="44">
                  <c:v>0.12827739075364156</c:v>
                </c:pt>
                <c:pt idx="45">
                  <c:v>0.1462760865403025</c:v>
                </c:pt>
                <c:pt idx="46">
                  <c:v>0.13967025089605734</c:v>
                </c:pt>
                <c:pt idx="47">
                  <c:v>0.1424847491333208</c:v>
                </c:pt>
                <c:pt idx="48">
                  <c:v>0.1344111373077355</c:v>
                </c:pt>
                <c:pt idx="49">
                  <c:v>0.14949840959138733</c:v>
                </c:pt>
                <c:pt idx="50">
                  <c:v>0.18617374229805675</c:v>
                </c:pt>
                <c:pt idx="51">
                  <c:v>0.1664974858950449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7.477139109905</c:v>
                </c:pt>
              </c:numCache>
            </c:numRef>
          </c:xVal>
          <c:yVal>
            <c:numRef>
              <c:f>Sheet1!$B$163:$B$164</c:f>
              <c:numCache>
                <c:formatCode>General</c:formatCode>
                <c:ptCount val="2"/>
                <c:pt idx="0">
                  <c:v>0.19915106140886207</c:v>
                </c:pt>
                <c:pt idx="1">
                  <c:v>0.1991510614088620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7.477139109905</c:v>
                </c:pt>
                <c:pt idx="1">
                  <c:v>927.477139109905</c:v>
                </c:pt>
              </c:numCache>
            </c:numRef>
          </c:xVal>
          <c:yVal>
            <c:numRef>
              <c:f>Sheet1!$B$167:$B$168</c:f>
              <c:numCache>
                <c:formatCode>General</c:formatCode>
                <c:ptCount val="2"/>
                <c:pt idx="0">
                  <c:v>0.1991510614088620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17.1489016871951</c:v>
                </c:pt>
              </c:numCache>
            </c:numRef>
          </c:xVal>
          <c:yVal>
            <c:numRef>
              <c:f>Sheet1!$B$171:$B$172</c:f>
              <c:numCache>
                <c:formatCode>General</c:formatCode>
                <c:ptCount val="2"/>
                <c:pt idx="0">
                  <c:v>0.16226704680471798</c:v>
                </c:pt>
                <c:pt idx="1">
                  <c:v>0.1622670468047179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17.1489016871951</c:v>
                </c:pt>
                <c:pt idx="1">
                  <c:v>1217.1489016871951</c:v>
                </c:pt>
              </c:numCache>
            </c:numRef>
          </c:xVal>
          <c:yVal>
            <c:numRef>
              <c:f>Sheet1!$B$175:$B$176</c:f>
              <c:numCache>
                <c:formatCode>General</c:formatCode>
                <c:ptCount val="2"/>
                <c:pt idx="0">
                  <c:v>0.1622670468047179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49.4757569195986</c:v>
                </c:pt>
              </c:numCache>
            </c:numRef>
          </c:xVal>
          <c:yVal>
            <c:numRef>
              <c:f>Sheet1!$B$179:$B$180</c:f>
              <c:numCache>
                <c:formatCode>General</c:formatCode>
                <c:ptCount val="2"/>
                <c:pt idx="0">
                  <c:v>0.14541781850062968</c:v>
                </c:pt>
                <c:pt idx="1">
                  <c:v>0.1454178185006296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49.4757569195986</c:v>
                </c:pt>
                <c:pt idx="1">
                  <c:v>1349.4757569195986</c:v>
                </c:pt>
              </c:numCache>
            </c:numRef>
          </c:xVal>
          <c:yVal>
            <c:numRef>
              <c:f>Sheet1!$B$183:$B$184</c:f>
              <c:numCache>
                <c:formatCode>General</c:formatCode>
                <c:ptCount val="2"/>
                <c:pt idx="0">
                  <c:v>0.1454178185006296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89.1485</c:v>
                </c:pt>
                <c:pt idx="1">
                  <c:v>1277.3865</c:v>
                </c:pt>
                <c:pt idx="2">
                  <c:v>1273.6823</c:v>
                </c:pt>
                <c:pt idx="3">
                  <c:v>1298.6464</c:v>
                </c:pt>
                <c:pt idx="4">
                  <c:v>1291.9987</c:v>
                </c:pt>
                <c:pt idx="5">
                  <c:v>1302.7866</c:v>
                </c:pt>
                <c:pt idx="6">
                  <c:v>1217.0758</c:v>
                </c:pt>
                <c:pt idx="7">
                  <c:v>1261.2448</c:v>
                </c:pt>
                <c:pt idx="8">
                  <c:v>1350.3314</c:v>
                </c:pt>
                <c:pt idx="9">
                  <c:v>1283.2539</c:v>
                </c:pt>
                <c:pt idx="10">
                  <c:v>1300.3694</c:v>
                </c:pt>
                <c:pt idx="11">
                  <c:v>1194.7889</c:v>
                </c:pt>
                <c:pt idx="12">
                  <c:v>1226.0023</c:v>
                </c:pt>
                <c:pt idx="13">
                  <c:v>1263.4925</c:v>
                </c:pt>
                <c:pt idx="14">
                  <c:v>1281.2528</c:v>
                </c:pt>
                <c:pt idx="15">
                  <c:v>1293.7433</c:v>
                </c:pt>
                <c:pt idx="16">
                  <c:v>1344.2262</c:v>
                </c:pt>
                <c:pt idx="17">
                  <c:v>1311.0765</c:v>
                </c:pt>
                <c:pt idx="18">
                  <c:v>1291.311</c:v>
                </c:pt>
                <c:pt idx="19">
                  <c:v>1369.1164</c:v>
                </c:pt>
                <c:pt idx="20">
                  <c:v>1362.5536</c:v>
                </c:pt>
                <c:pt idx="21">
                  <c:v>1304.7745</c:v>
                </c:pt>
                <c:pt idx="22">
                  <c:v>1272.8464</c:v>
                </c:pt>
                <c:pt idx="23">
                  <c:v>1213.0493</c:v>
                </c:pt>
                <c:pt idx="24">
                  <c:v>1213.6513</c:v>
                </c:pt>
                <c:pt idx="25">
                  <c:v>1173.9889</c:v>
                </c:pt>
                <c:pt idx="26">
                  <c:v>1237.3615</c:v>
                </c:pt>
                <c:pt idx="27">
                  <c:v>1304.4165</c:v>
                </c:pt>
                <c:pt idx="28">
                  <c:v>1313.4517</c:v>
                </c:pt>
                <c:pt idx="29">
                  <c:v>1320.4635</c:v>
                </c:pt>
                <c:pt idx="30">
                  <c:v>1289.4538</c:v>
                </c:pt>
                <c:pt idx="31">
                  <c:v>1206.2033</c:v>
                </c:pt>
                <c:pt idx="32">
                  <c:v>1235.4929</c:v>
                </c:pt>
                <c:pt idx="33">
                  <c:v>1281.1298</c:v>
                </c:pt>
                <c:pt idx="34">
                  <c:v>1329.4689</c:v>
                </c:pt>
                <c:pt idx="35">
                  <c:v>1320.2048</c:v>
                </c:pt>
                <c:pt idx="36">
                  <c:v>1301.1641</c:v>
                </c:pt>
                <c:pt idx="37">
                  <c:v>1379.0232</c:v>
                </c:pt>
                <c:pt idx="38">
                  <c:v>1345.6929</c:v>
                </c:pt>
                <c:pt idx="39">
                  <c:v>1335.854</c:v>
                </c:pt>
                <c:pt idx="40">
                  <c:v>1359.9946</c:v>
                </c:pt>
                <c:pt idx="41">
                  <c:v>1422.396</c:v>
                </c:pt>
                <c:pt idx="42">
                  <c:v>1414.5484</c:v>
                </c:pt>
                <c:pt idx="43">
                  <c:v>1403.9832</c:v>
                </c:pt>
                <c:pt idx="44">
                  <c:v>1350.7285</c:v>
                </c:pt>
                <c:pt idx="45">
                  <c:v>1302.4134</c:v>
                </c:pt>
                <c:pt idx="46">
                  <c:v>1290.6627</c:v>
                </c:pt>
                <c:pt idx="47">
                  <c:v>1274.9266</c:v>
                </c:pt>
                <c:pt idx="48">
                  <c:v>1247.5038</c:v>
                </c:pt>
                <c:pt idx="49">
                  <c:v>1246.6658</c:v>
                </c:pt>
                <c:pt idx="50">
                  <c:v>1140.37</c:v>
                </c:pt>
                <c:pt idx="51">
                  <c:v>1134.4892</c:v>
                </c:pt>
                <c:pt idx="52">
                  <c:v>1217.1489016871951</c:v>
                </c:pt>
                <c:pt idx="53">
                  <c:v>927.477139109905</c:v>
                </c:pt>
                <c:pt idx="54">
                  <c:v>1349.4757569195986</c:v>
                </c:pt>
              </c:numCache>
            </c:numRef>
          </c:xVal>
          <c:yVal>
            <c:numRef>
              <c:f>Sheet1!$B$187:$B$241</c:f>
              <c:numCache>
                <c:formatCode>General</c:formatCode>
                <c:ptCount val="55"/>
                <c:pt idx="0">
                  <c:v>0.15309931084027986</c:v>
                </c:pt>
                <c:pt idx="1">
                  <c:v>0.15459697072923154</c:v>
                </c:pt>
                <c:pt idx="2">
                  <c:v>0.1550686279100388</c:v>
                </c:pt>
                <c:pt idx="3">
                  <c:v>0.15188993965686937</c:v>
                </c:pt>
                <c:pt idx="4">
                  <c:v>0.15273639380104417</c:v>
                </c:pt>
                <c:pt idx="5">
                  <c:v>0.15136276643188745</c:v>
                </c:pt>
                <c:pt idx="6">
                  <c:v>0.1622763548700748</c:v>
                </c:pt>
                <c:pt idx="7">
                  <c:v>0.15665229946834833</c:v>
                </c:pt>
                <c:pt idx="8">
                  <c:v>0.1453088691450119</c:v>
                </c:pt>
                <c:pt idx="9">
                  <c:v>0.15384987247787676</c:v>
                </c:pt>
                <c:pt idx="10">
                  <c:v>0.15167054941807803</c:v>
                </c:pt>
                <c:pt idx="11">
                  <c:v>0.16511415423915127</c:v>
                </c:pt>
                <c:pt idx="12">
                  <c:v>0.16113974026382355</c:v>
                </c:pt>
                <c:pt idx="13">
                  <c:v>0.1563660989809825</c:v>
                </c:pt>
                <c:pt idx="14">
                  <c:v>0.15410467329438596</c:v>
                </c:pt>
                <c:pt idx="15">
                  <c:v>0.15251425322611942</c:v>
                </c:pt>
                <c:pt idx="16">
                  <c:v>0.14608624655990968</c:v>
                </c:pt>
                <c:pt idx="17">
                  <c:v>0.15030721034334632</c:v>
                </c:pt>
                <c:pt idx="18">
                  <c:v>0.15282395890099593</c:v>
                </c:pt>
                <c:pt idx="19">
                  <c:v>0.14291696802156711</c:v>
                </c:pt>
                <c:pt idx="20">
                  <c:v>0.14375261181677307</c:v>
                </c:pt>
                <c:pt idx="21">
                  <c:v>0.15110964637634866</c:v>
                </c:pt>
                <c:pt idx="22">
                  <c:v>0.15517506337179487</c:v>
                </c:pt>
                <c:pt idx="23">
                  <c:v>0.16278905063124333</c:v>
                </c:pt>
                <c:pt idx="24">
                  <c:v>0.16271239774456173</c:v>
                </c:pt>
                <c:pt idx="25">
                  <c:v>0.16776262607133924</c:v>
                </c:pt>
                <c:pt idx="26">
                  <c:v>0.1596933690505452</c:v>
                </c:pt>
                <c:pt idx="27">
                  <c:v>0.15115523065115266</c:v>
                </c:pt>
                <c:pt idx="28">
                  <c:v>0.15000477523297068</c:v>
                </c:pt>
                <c:pt idx="29">
                  <c:v>0.14911196009869493</c:v>
                </c:pt>
                <c:pt idx="30">
                  <c:v>0.15306043687631993</c:v>
                </c:pt>
                <c:pt idx="31">
                  <c:v>0.1636607543890875</c:v>
                </c:pt>
                <c:pt idx="32">
                  <c:v>0.15993129859216187</c:v>
                </c:pt>
                <c:pt idx="33">
                  <c:v>0.15412033493070132</c:v>
                </c:pt>
                <c:pt idx="34">
                  <c:v>0.14796529912573408</c:v>
                </c:pt>
                <c:pt idx="35">
                  <c:v>0.1491449004671078</c:v>
                </c:pt>
                <c:pt idx="36">
                  <c:v>0.15156935996783574</c:v>
                </c:pt>
                <c:pt idx="37">
                  <c:v>0.14165553144718634</c:v>
                </c:pt>
                <c:pt idx="38">
                  <c:v>0.14589949109662748</c:v>
                </c:pt>
                <c:pt idx="39">
                  <c:v>0.14715228193844065</c:v>
                </c:pt>
                <c:pt idx="40">
                  <c:v>0.1440784502503581</c:v>
                </c:pt>
                <c:pt idx="41">
                  <c:v>0.136132856491267</c:v>
                </c:pt>
                <c:pt idx="42">
                  <c:v>0.13713209435426116</c:v>
                </c:pt>
                <c:pt idx="43">
                  <c:v>0.1384773652485608</c:v>
                </c:pt>
                <c:pt idx="44">
                  <c:v>0.1452583062524849</c:v>
                </c:pt>
                <c:pt idx="45">
                  <c:v>0.15141028612841498</c:v>
                </c:pt>
                <c:pt idx="46">
                  <c:v>0.15290650718411164</c:v>
                </c:pt>
                <c:pt idx="47">
                  <c:v>0.15491019072250076</c:v>
                </c:pt>
                <c:pt idx="48">
                  <c:v>0.1584019461724875</c:v>
                </c:pt>
                <c:pt idx="49">
                  <c:v>0.1585086490280343</c:v>
                </c:pt>
                <c:pt idx="50">
                  <c:v>0.17204333326745197</c:v>
                </c:pt>
                <c:pt idx="51">
                  <c:v>0.17279213774585248</c:v>
                </c:pt>
                <c:pt idx="52">
                  <c:v>0.16226704680471798</c:v>
                </c:pt>
                <c:pt idx="53">
                  <c:v>0.19915106140886207</c:v>
                </c:pt>
                <c:pt idx="54">
                  <c:v>0.1454178185006296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7.0"/>
          <c:min val="67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982231562858233"/>
          <c:min val="0.0981473021674026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0325156835271826</c:v>
                </c:pt>
                <c:pt idx="1">
                  <c:v>0.11817917301440711</c:v>
                </c:pt>
                <c:pt idx="2">
                  <c:v>0.12252604898932029</c:v>
                </c:pt>
                <c:pt idx="3">
                  <c:v>0.11835822728682431</c:v>
                </c:pt>
                <c:pt idx="4">
                  <c:v>0.11616564364729474</c:v>
                </c:pt>
                <c:pt idx="5">
                  <c:v>0.11736696684968813</c:v>
                </c:pt>
                <c:pt idx="6">
                  <c:v>0.12105525919512305</c:v>
                </c:pt>
                <c:pt idx="7">
                  <c:v>0.12467638780622323</c:v>
                </c:pt>
                <c:pt idx="8">
                  <c:v>0.1171146989605695</c:v>
                </c:pt>
                <c:pt idx="9">
                  <c:v>0.11630142546388963</c:v>
                </c:pt>
                <c:pt idx="10">
                  <c:v>0.11469445183384872</c:v>
                </c:pt>
                <c:pt idx="11">
                  <c:v>0.11532844083016282</c:v>
                </c:pt>
                <c:pt idx="12">
                  <c:v>0.11235450201200033</c:v>
                </c:pt>
                <c:pt idx="13">
                  <c:v>0.1078085779350608</c:v>
                </c:pt>
                <c:pt idx="14">
                  <c:v>0.11016289758798313</c:v>
                </c:pt>
                <c:pt idx="15">
                  <c:v>0.10804007935616872</c:v>
                </c:pt>
                <c:pt idx="16">
                  <c:v>0.10319703974905656</c:v>
                </c:pt>
                <c:pt idx="17">
                  <c:v>0.09687614474777896</c:v>
                </c:pt>
                <c:pt idx="18">
                  <c:v>0.10403957388473292</c:v>
                </c:pt>
                <c:pt idx="19">
                  <c:v>0.10452466224771846</c:v>
                </c:pt>
                <c:pt idx="20">
                  <c:v>0.10517828154595898</c:v>
                </c:pt>
                <c:pt idx="21">
                  <c:v>0.10526146735441713</c:v>
                </c:pt>
                <c:pt idx="22">
                  <c:v>0.10033318874645437</c:v>
                </c:pt>
                <c:pt idx="23">
                  <c:v>0.10032274315668195</c:v>
                </c:pt>
                <c:pt idx="24">
                  <c:v>0.09615525334943319</c:v>
                </c:pt>
                <c:pt idx="25">
                  <c:v>0.1002400925387969</c:v>
                </c:pt>
                <c:pt idx="26">
                  <c:v>0.10496292537351266</c:v>
                </c:pt>
                <c:pt idx="27">
                  <c:v>0.10512217127462933</c:v>
                </c:pt>
                <c:pt idx="28">
                  <c:v>0.10579574754870814</c:v>
                </c:pt>
                <c:pt idx="29">
                  <c:v>0.09922145368921201</c:v>
                </c:pt>
                <c:pt idx="30">
                  <c:v>0.10103394775328343</c:v>
                </c:pt>
                <c:pt idx="31">
                  <c:v>0.10011762618287562</c:v>
                </c:pt>
                <c:pt idx="32">
                  <c:v>0.09688442704797172</c:v>
                </c:pt>
                <c:pt idx="33">
                  <c:v>0.09404092122443139</c:v>
                </c:pt>
                <c:pt idx="34">
                  <c:v>0.10244838626354416</c:v>
                </c:pt>
                <c:pt idx="35">
                  <c:v>0.11134919197566771</c:v>
                </c:pt>
                <c:pt idx="36">
                  <c:v>0.11288983142356694</c:v>
                </c:pt>
                <c:pt idx="37">
                  <c:v>0.11266543695483056</c:v>
                </c:pt>
                <c:pt idx="38">
                  <c:v>0.11864456880809929</c:v>
                </c:pt>
                <c:pt idx="39">
                  <c:v>0.12431760886138703</c:v>
                </c:pt>
                <c:pt idx="40">
                  <c:v>0.13022019155907008</c:v>
                </c:pt>
                <c:pt idx="41">
                  <c:v>0.13008021926592686</c:v>
                </c:pt>
                <c:pt idx="42">
                  <c:v>0.1307915274625771</c:v>
                </c:pt>
                <c:pt idx="43">
                  <c:v>0.13044051412245586</c:v>
                </c:pt>
                <c:pt idx="44">
                  <c:v>0.12382230102848044</c:v>
                </c:pt>
                <c:pt idx="45">
                  <c:v>0.1202787386747955</c:v>
                </c:pt>
                <c:pt idx="46">
                  <c:v>0.11697712480024376</c:v>
                </c:pt>
                <c:pt idx="47">
                  <c:v>0.1126378639061475</c:v>
                </c:pt>
                <c:pt idx="48">
                  <c:v>0.11804263628367388</c:v>
                </c:pt>
                <c:pt idx="49">
                  <c:v>0.12761830619510603</c:v>
                </c:pt>
                <c:pt idx="50">
                  <c:v>0.11454265137142915</c:v>
                </c:pt>
                <c:pt idx="51">
                  <c:v>0.114526805139427</c:v>
                </c:pt>
                <c:pt idx="52">
                  <c:v>0.11697304537695376</c:v>
                </c:pt>
                <c:pt idx="53">
                  <c:v>0.1294835787971159</c:v>
                </c:pt>
                <c:pt idx="54">
                  <c:v>0.12554241552488882</c:v>
                </c:pt>
                <c:pt idx="55">
                  <c:v>0.1223388971279375</c:v>
                </c:pt>
                <c:pt idx="56">
                  <c:v>0.1248798134474671</c:v>
                </c:pt>
                <c:pt idx="57">
                  <c:v>0.12241548093616755</c:v>
                </c:pt>
                <c:pt idx="58">
                  <c:v>0.12237496132902478</c:v>
                </c:pt>
                <c:pt idx="59">
                  <c:v>0.12334735175104289</c:v>
                </c:pt>
                <c:pt idx="60">
                  <c:v>0.12327323495279574</c:v>
                </c:pt>
                <c:pt idx="61">
                  <c:v>0.1233145820814479</c:v>
                </c:pt>
                <c:pt idx="62">
                  <c:v>0.11519557429646875</c:v>
                </c:pt>
                <c:pt idx="63">
                  <c:v>0.11952596499901352</c:v>
                </c:pt>
                <c:pt idx="64">
                  <c:v>0.12375796653838587</c:v>
                </c:pt>
                <c:pt idx="65">
                  <c:v>0.1182001456489257</c:v>
                </c:pt>
                <c:pt idx="66">
                  <c:v>0.11855598698113583</c:v>
                </c:pt>
                <c:pt idx="67">
                  <c:v>0.11685232774061316</c:v>
                </c:pt>
                <c:pt idx="68">
                  <c:v>0.11385880146948071</c:v>
                </c:pt>
                <c:pt idx="69">
                  <c:v>0.10893762635806803</c:v>
                </c:pt>
                <c:pt idx="70">
                  <c:v>0.10557774987924753</c:v>
                </c:pt>
                <c:pt idx="71">
                  <c:v>0.10862618158281126</c:v>
                </c:pt>
                <c:pt idx="72">
                  <c:v>0.11367337202741268</c:v>
                </c:pt>
                <c:pt idx="73">
                  <c:v>0.11312471886098616</c:v>
                </c:pt>
                <c:pt idx="74">
                  <c:v>0.10676605450749999</c:v>
                </c:pt>
                <c:pt idx="75">
                  <c:v>0.10353907066321275</c:v>
                </c:pt>
                <c:pt idx="76">
                  <c:v>0.1056722891866392</c:v>
                </c:pt>
                <c:pt idx="77">
                  <c:v>0.10287419748878747</c:v>
                </c:pt>
                <c:pt idx="78">
                  <c:v>0.10913267508782631</c:v>
                </c:pt>
                <c:pt idx="79">
                  <c:v>0.07486457367471527</c:v>
                </c:pt>
                <c:pt idx="80">
                  <c:v>0.0751548598383796</c:v>
                </c:pt>
                <c:pt idx="81">
                  <c:v>0.0970716314865479</c:v>
                </c:pt>
                <c:pt idx="82">
                  <c:v>0.09772974484581701</c:v>
                </c:pt>
                <c:pt idx="83">
                  <c:v>0.09446399412103704</c:v>
                </c:pt>
                <c:pt idx="84">
                  <c:v>0.09530842996308118</c:v>
                </c:pt>
                <c:pt idx="85">
                  <c:v>0.09551773147293678</c:v>
                </c:pt>
                <c:pt idx="86">
                  <c:v>0.10926312809158444</c:v>
                </c:pt>
                <c:pt idx="87">
                  <c:v>0.10906745149398751</c:v>
                </c:pt>
                <c:pt idx="88">
                  <c:v>0.10949842110813855</c:v>
                </c:pt>
                <c:pt idx="89">
                  <c:v>0.10363944983989719</c:v>
                </c:pt>
                <c:pt idx="90">
                  <c:v>0.10801064113157707</c:v>
                </c:pt>
                <c:pt idx="91">
                  <c:v>0.11574030548781403</c:v>
                </c:pt>
                <c:pt idx="92">
                  <c:v>0.11353348798345812</c:v>
                </c:pt>
                <c:pt idx="93">
                  <c:v>0.11684015143184669</c:v>
                </c:pt>
                <c:pt idx="94">
                  <c:v>0.11447109001801163</c:v>
                </c:pt>
                <c:pt idx="95">
                  <c:v>0.11426031574794417</c:v>
                </c:pt>
                <c:pt idx="96">
                  <c:v>0.11217627061381427</c:v>
                </c:pt>
                <c:pt idx="97">
                  <c:v>0.11415556383595238</c:v>
                </c:pt>
                <c:pt idx="98">
                  <c:v>0.11645107332365379</c:v>
                </c:pt>
                <c:pt idx="99">
                  <c:v>0.11385152327472009</c:v>
                </c:pt>
                <c:pt idx="100">
                  <c:v>0.11749336746770282</c:v>
                </c:pt>
                <c:pt idx="101">
                  <c:v>0.120275301261154</c:v>
                </c:pt>
                <c:pt idx="102">
                  <c:v>0.12103348279844031</c:v>
                </c:pt>
                <c:pt idx="103">
                  <c:v>0.10780241559530715</c:v>
                </c:pt>
                <c:pt idx="104">
                  <c:v>0.11309971466262783</c:v>
                </c:pt>
              </c:numCache>
            </c:numRef>
          </c:xVal>
          <c:yVal>
            <c:numRef>
              <c:f>Sheet1!$B$2:$B$106</c:f>
              <c:numCache>
                <c:formatCode>General</c:formatCode>
                <c:ptCount val="105"/>
                <c:pt idx="0">
                  <c:v>0.2142778451030076</c:v>
                </c:pt>
                <c:pt idx="1">
                  <c:v>0.2205680119581465</c:v>
                </c:pt>
                <c:pt idx="2">
                  <c:v>0.20282753182381436</c:v>
                </c:pt>
                <c:pt idx="3">
                  <c:v>0.20211971936109868</c:v>
                </c:pt>
                <c:pt idx="4">
                  <c:v>0.19169137371170408</c:v>
                </c:pt>
                <c:pt idx="5">
                  <c:v>0.1788611996522747</c:v>
                </c:pt>
                <c:pt idx="6">
                  <c:v>0.1940596137699412</c:v>
                </c:pt>
                <c:pt idx="7">
                  <c:v>0.18765172357986729</c:v>
                </c:pt>
                <c:pt idx="8">
                  <c:v>0.2003025337199042</c:v>
                </c:pt>
                <c:pt idx="9">
                  <c:v>0.19964681025511652</c:v>
                </c:pt>
                <c:pt idx="10">
                  <c:v>0.21146317592366037</c:v>
                </c:pt>
                <c:pt idx="11">
                  <c:v>0.20691998764287922</c:v>
                </c:pt>
                <c:pt idx="12">
                  <c:v>0.2121600091043587</c:v>
                </c:pt>
                <c:pt idx="13">
                  <c:v>0.21832690755850445</c:v>
                </c:pt>
                <c:pt idx="14">
                  <c:v>0.21323685246298707</c:v>
                </c:pt>
                <c:pt idx="15">
                  <c:v>0.21025421613719827</c:v>
                </c:pt>
                <c:pt idx="16">
                  <c:v>0.19590357520970764</c:v>
                </c:pt>
                <c:pt idx="17">
                  <c:v>0.19084721475909008</c:v>
                </c:pt>
                <c:pt idx="18">
                  <c:v>0.17428241089830593</c:v>
                </c:pt>
                <c:pt idx="19">
                  <c:v>0.15911344415281423</c:v>
                </c:pt>
                <c:pt idx="20">
                  <c:v>0.17342784616121462</c:v>
                </c:pt>
                <c:pt idx="21">
                  <c:v>0.1697351229362157</c:v>
                </c:pt>
                <c:pt idx="22">
                  <c:v>0.16864132036545829</c:v>
                </c:pt>
                <c:pt idx="23">
                  <c:v>0.16985230234578627</c:v>
                </c:pt>
                <c:pt idx="24">
                  <c:v>0.17376209447922594</c:v>
                </c:pt>
                <c:pt idx="25">
                  <c:v>0.17251215559157212</c:v>
                </c:pt>
                <c:pt idx="26">
                  <c:v>0.17551114174132781</c:v>
                </c:pt>
                <c:pt idx="27">
                  <c:v>0.16991130696714454</c:v>
                </c:pt>
                <c:pt idx="28">
                  <c:v>0.16685584562996594</c:v>
                </c:pt>
                <c:pt idx="29">
                  <c:v>0.18139695371420123</c:v>
                </c:pt>
                <c:pt idx="30">
                  <c:v>0.16671959352175295</c:v>
                </c:pt>
                <c:pt idx="31">
                  <c:v>0.1619269428781564</c:v>
                </c:pt>
                <c:pt idx="32">
                  <c:v>0.17044424297370808</c:v>
                </c:pt>
                <c:pt idx="33">
                  <c:v>0.1885484873106151</c:v>
                </c:pt>
                <c:pt idx="34">
                  <c:v>0.18400170648464165</c:v>
                </c:pt>
                <c:pt idx="35">
                  <c:v>0.1867177033492823</c:v>
                </c:pt>
                <c:pt idx="36">
                  <c:v>0.15092002018996925</c:v>
                </c:pt>
                <c:pt idx="37">
                  <c:v>0.13891682990100057</c:v>
                </c:pt>
                <c:pt idx="38">
                  <c:v>0.13205435651478817</c:v>
                </c:pt>
                <c:pt idx="39">
                  <c:v>0.13110424276482158</c:v>
                </c:pt>
                <c:pt idx="40">
                  <c:v>0.13415972921050223</c:v>
                </c:pt>
                <c:pt idx="41">
                  <c:v>0.12268412770925334</c:v>
                </c:pt>
                <c:pt idx="42">
                  <c:v>0.12946893439777854</c:v>
                </c:pt>
                <c:pt idx="43">
                  <c:v>0.13465698393077874</c:v>
                </c:pt>
                <c:pt idx="44">
                  <c:v>0.1520209077265435</c:v>
                </c:pt>
                <c:pt idx="45">
                  <c:v>0.17098201675925054</c:v>
                </c:pt>
                <c:pt idx="46">
                  <c:v>0.1779121432824882</c:v>
                </c:pt>
                <c:pt idx="47">
                  <c:v>0.17797305213825423</c:v>
                </c:pt>
                <c:pt idx="48">
                  <c:v>0.19519969998124884</c:v>
                </c:pt>
                <c:pt idx="49">
                  <c:v>0.22485192969048529</c:v>
                </c:pt>
                <c:pt idx="50">
                  <c:v>0.18717832957110608</c:v>
                </c:pt>
                <c:pt idx="51">
                  <c:v>0.17017403535868936</c:v>
                </c:pt>
                <c:pt idx="52">
                  <c:v>0.18587524683470785</c:v>
                </c:pt>
                <c:pt idx="53">
                  <c:v>0.17409405418083734</c:v>
                </c:pt>
                <c:pt idx="54">
                  <c:v>0.16918866709594332</c:v>
                </c:pt>
                <c:pt idx="55">
                  <c:v>0.16388502549837738</c:v>
                </c:pt>
                <c:pt idx="56">
                  <c:v>0.17452272343301234</c:v>
                </c:pt>
                <c:pt idx="57">
                  <c:v>0.16809585679226216</c:v>
                </c:pt>
                <c:pt idx="58">
                  <c:v>0.18187869428617073</c:v>
                </c:pt>
                <c:pt idx="59">
                  <c:v>0.18989330478919927</c:v>
                </c:pt>
                <c:pt idx="60">
                  <c:v>0.19817356799756983</c:v>
                </c:pt>
                <c:pt idx="61">
                  <c:v>0.19613014414038019</c:v>
                </c:pt>
                <c:pt idx="62">
                  <c:v>0.2017100956537183</c:v>
                </c:pt>
                <c:pt idx="63">
                  <c:v>0.21835377499597303</c:v>
                </c:pt>
                <c:pt idx="64">
                  <c:v>0.2085806799784134</c:v>
                </c:pt>
                <c:pt idx="65">
                  <c:v>0.1998825371965544</c:v>
                </c:pt>
                <c:pt idx="66">
                  <c:v>0.1973831585378271</c:v>
                </c:pt>
                <c:pt idx="67">
                  <c:v>0.19430203994446224</c:v>
                </c:pt>
                <c:pt idx="68">
                  <c:v>0.17686881148967132</c:v>
                </c:pt>
                <c:pt idx="69">
                  <c:v>0.16319170984455958</c:v>
                </c:pt>
                <c:pt idx="70">
                  <c:v>0.1533490937746257</c:v>
                </c:pt>
                <c:pt idx="71">
                  <c:v>0.16064874093043108</c:v>
                </c:pt>
                <c:pt idx="72">
                  <c:v>0.1608600759841565</c:v>
                </c:pt>
                <c:pt idx="73">
                  <c:v>0.16387831072696932</c:v>
                </c:pt>
                <c:pt idx="74">
                  <c:v>0.16418766646179062</c:v>
                </c:pt>
                <c:pt idx="75">
                  <c:v>0.16404559226662818</c:v>
                </c:pt>
                <c:pt idx="76">
                  <c:v>0.1593002315410342</c:v>
                </c:pt>
                <c:pt idx="77">
                  <c:v>0.15677497498551793</c:v>
                </c:pt>
                <c:pt idx="78">
                  <c:v>0.1476671759313668</c:v>
                </c:pt>
                <c:pt idx="79">
                  <c:v>0.1968398223691005</c:v>
                </c:pt>
                <c:pt idx="80">
                  <c:v>0.18245957359151302</c:v>
                </c:pt>
                <c:pt idx="81">
                  <c:v>0.1518782525036078</c:v>
                </c:pt>
                <c:pt idx="82">
                  <c:v>0.1534860108303249</c:v>
                </c:pt>
                <c:pt idx="83">
                  <c:v>0.1381531383503122</c:v>
                </c:pt>
                <c:pt idx="84">
                  <c:v>0.13925314517739465</c:v>
                </c:pt>
                <c:pt idx="85">
                  <c:v>0.14105925537493444</c:v>
                </c:pt>
                <c:pt idx="86">
                  <c:v>0.13826324124582087</c:v>
                </c:pt>
                <c:pt idx="87">
                  <c:v>0.1598108549190275</c:v>
                </c:pt>
                <c:pt idx="88">
                  <c:v>0.1421685470628741</c:v>
                </c:pt>
                <c:pt idx="89">
                  <c:v>0.13221375807940905</c:v>
                </c:pt>
                <c:pt idx="90">
                  <c:v>0.1263700456188163</c:v>
                </c:pt>
                <c:pt idx="91">
                  <c:v>0.1283997469955724</c:v>
                </c:pt>
                <c:pt idx="92">
                  <c:v>0.13316432357686103</c:v>
                </c:pt>
                <c:pt idx="93">
                  <c:v>0.12460783880517874</c:v>
                </c:pt>
                <c:pt idx="94">
                  <c:v>0.1268574297188755</c:v>
                </c:pt>
                <c:pt idx="95">
                  <c:v>0.1355782337987695</c:v>
                </c:pt>
                <c:pt idx="96">
                  <c:v>0.13646737847267768</c:v>
                </c:pt>
                <c:pt idx="97">
                  <c:v>0.14375402446877011</c:v>
                </c:pt>
                <c:pt idx="98">
                  <c:v>0.1603094530735948</c:v>
                </c:pt>
                <c:pt idx="99">
                  <c:v>0.1650910727889743</c:v>
                </c:pt>
                <c:pt idx="100">
                  <c:v>0.187766499377382</c:v>
                </c:pt>
                <c:pt idx="101">
                  <c:v>0.16697459082313562</c:v>
                </c:pt>
                <c:pt idx="102">
                  <c:v>0.13658866495333424</c:v>
                </c:pt>
                <c:pt idx="103">
                  <c:v>0.1561864579097194</c:v>
                </c:pt>
                <c:pt idx="104">
                  <c:v>0.1626277200318011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2366497857355344</c:v>
                </c:pt>
                <c:pt idx="1">
                  <c:v>0.12678727002256815</c:v>
                </c:pt>
                <c:pt idx="2">
                  <c:v>0.12378969159940904</c:v>
                </c:pt>
                <c:pt idx="3">
                  <c:v>0.1250459408977506</c:v>
                </c:pt>
                <c:pt idx="4">
                  <c:v>0.1241544444404939</c:v>
                </c:pt>
                <c:pt idx="5">
                  <c:v>0.12436589257234727</c:v>
                </c:pt>
                <c:pt idx="6">
                  <c:v>0.1169769243891626</c:v>
                </c:pt>
                <c:pt idx="7">
                  <c:v>0.11883762762389381</c:v>
                </c:pt>
                <c:pt idx="8">
                  <c:v>0.13131741524751026</c:v>
                </c:pt>
                <c:pt idx="9">
                  <c:v>0.12584828794479352</c:v>
                </c:pt>
                <c:pt idx="10">
                  <c:v>0.12796620368853254</c:v>
                </c:pt>
                <c:pt idx="11">
                  <c:v>0.11635521102354913</c:v>
                </c:pt>
                <c:pt idx="12">
                  <c:v>0.11849931588037574</c:v>
                </c:pt>
                <c:pt idx="13">
                  <c:v>0.12058580905135723</c:v>
                </c:pt>
                <c:pt idx="14">
                  <c:v>0.12051037520815094</c:v>
                </c:pt>
                <c:pt idx="15">
                  <c:v>0.11830039775291448</c:v>
                </c:pt>
                <c:pt idx="16">
                  <c:v>0.12138670947814141</c:v>
                </c:pt>
                <c:pt idx="17">
                  <c:v>0.11740268932644553</c:v>
                </c:pt>
                <c:pt idx="18">
                  <c:v>0.11457581268677859</c:v>
                </c:pt>
                <c:pt idx="19">
                  <c:v>0.12364420617830353</c:v>
                </c:pt>
                <c:pt idx="20">
                  <c:v>0.12057036165261174</c:v>
                </c:pt>
                <c:pt idx="21">
                  <c:v>0.11807121614353919</c:v>
                </c:pt>
                <c:pt idx="22">
                  <c:v>0.11725659779228835</c:v>
                </c:pt>
                <c:pt idx="23">
                  <c:v>0.11274201080355438</c:v>
                </c:pt>
                <c:pt idx="24">
                  <c:v>0.11122286691673341</c:v>
                </c:pt>
                <c:pt idx="25">
                  <c:v>0.1065382333398128</c:v>
                </c:pt>
                <c:pt idx="26">
                  <c:v>0.11078298070498667</c:v>
                </c:pt>
                <c:pt idx="27">
                  <c:v>0.1156502368273041</c:v>
                </c:pt>
                <c:pt idx="28">
                  <c:v>0.11949429573663155</c:v>
                </c:pt>
                <c:pt idx="29">
                  <c:v>0.12011414479344003</c:v>
                </c:pt>
                <c:pt idx="30">
                  <c:v>0.11678534003910797</c:v>
                </c:pt>
                <c:pt idx="31">
                  <c:v>0.1064044844524525</c:v>
                </c:pt>
                <c:pt idx="32">
                  <c:v>0.11284336490125199</c:v>
                </c:pt>
                <c:pt idx="33">
                  <c:v>0.1193344702523672</c:v>
                </c:pt>
                <c:pt idx="34">
                  <c:v>0.12150734858813429</c:v>
                </c:pt>
                <c:pt idx="35">
                  <c:v>0.11790061403741826</c:v>
                </c:pt>
                <c:pt idx="36">
                  <c:v>0.11703525438919724</c:v>
                </c:pt>
                <c:pt idx="37">
                  <c:v>0.12409684394368996</c:v>
                </c:pt>
                <c:pt idx="38">
                  <c:v>0.12006651882623415</c:v>
                </c:pt>
                <c:pt idx="39">
                  <c:v>0.12229344569789499</c:v>
                </c:pt>
                <c:pt idx="40">
                  <c:v>0.12352328686598923</c:v>
                </c:pt>
                <c:pt idx="41">
                  <c:v>0.13007279735148947</c:v>
                </c:pt>
                <c:pt idx="42">
                  <c:v>0.12932880800696853</c:v>
                </c:pt>
                <c:pt idx="43">
                  <c:v>0.13070152789959433</c:v>
                </c:pt>
                <c:pt idx="44">
                  <c:v>0.13015454531237244</c:v>
                </c:pt>
                <c:pt idx="45">
                  <c:v>0.12966304282898272</c:v>
                </c:pt>
                <c:pt idx="46">
                  <c:v>0.12832380259381052</c:v>
                </c:pt>
                <c:pt idx="47">
                  <c:v>0.12293307116129679</c:v>
                </c:pt>
                <c:pt idx="48">
                  <c:v>0.12103392794299309</c:v>
                </c:pt>
                <c:pt idx="49">
                  <c:v>0.12627932354807006</c:v>
                </c:pt>
                <c:pt idx="50">
                  <c:v>0.12042756458401652</c:v>
                </c:pt>
                <c:pt idx="51">
                  <c:v>0.11293220659398368</c:v>
                </c:pt>
              </c:numCache>
            </c:numRef>
          </c:xVal>
          <c:yVal>
            <c:numRef>
              <c:f>Sheet1!$B$109:$B$160</c:f>
              <c:numCache>
                <c:formatCode>General</c:formatCode>
                <c:ptCount val="52"/>
                <c:pt idx="0">
                  <c:v>0.16040167543765438</c:v>
                </c:pt>
                <c:pt idx="1">
                  <c:v>0.15992835209825998</c:v>
                </c:pt>
                <c:pt idx="2">
                  <c:v>0.16559407829471168</c:v>
                </c:pt>
                <c:pt idx="3">
                  <c:v>0.17334733498962682</c:v>
                </c:pt>
                <c:pt idx="4">
                  <c:v>0.16208893375126177</c:v>
                </c:pt>
                <c:pt idx="5">
                  <c:v>0.1579523313849521</c:v>
                </c:pt>
                <c:pt idx="6">
                  <c:v>0.1637794880794204</c:v>
                </c:pt>
                <c:pt idx="7">
                  <c:v>0.1598297346469397</c:v>
                </c:pt>
                <c:pt idx="8">
                  <c:v>0.1574814925596351</c:v>
                </c:pt>
                <c:pt idx="9">
                  <c:v>0.17102553542009885</c:v>
                </c:pt>
                <c:pt idx="10">
                  <c:v>0.17266281945589448</c:v>
                </c:pt>
                <c:pt idx="11">
                  <c:v>0.18469012799329207</c:v>
                </c:pt>
                <c:pt idx="12">
                  <c:v>0.18230292144921842</c:v>
                </c:pt>
                <c:pt idx="13">
                  <c:v>0.175229949030406</c:v>
                </c:pt>
                <c:pt idx="14">
                  <c:v>0.17554748046435348</c:v>
                </c:pt>
                <c:pt idx="15">
                  <c:v>0.16581571462837955</c:v>
                </c:pt>
                <c:pt idx="16">
                  <c:v>0.15111955059735738</c:v>
                </c:pt>
                <c:pt idx="17">
                  <c:v>0.14014261572070402</c:v>
                </c:pt>
                <c:pt idx="18">
                  <c:v>0.1380020080321285</c:v>
                </c:pt>
                <c:pt idx="19">
                  <c:v>0.14464501721410628</c:v>
                </c:pt>
                <c:pt idx="20">
                  <c:v>0.13492798353909466</c:v>
                </c:pt>
                <c:pt idx="21">
                  <c:v>0.1413894631334962</c:v>
                </c:pt>
                <c:pt idx="22">
                  <c:v>0.14566416661501272</c:v>
                </c:pt>
                <c:pt idx="23">
                  <c:v>0.1564376461664876</c:v>
                </c:pt>
                <c:pt idx="24">
                  <c:v>0.15555555555555556</c:v>
                </c:pt>
                <c:pt idx="25">
                  <c:v>0.1654601226993865</c:v>
                </c:pt>
                <c:pt idx="26">
                  <c:v>0.1456434666511871</c:v>
                </c:pt>
                <c:pt idx="27">
                  <c:v>0.13291741567093157</c:v>
                </c:pt>
                <c:pt idx="28">
                  <c:v>0.13304128374839294</c:v>
                </c:pt>
                <c:pt idx="29">
                  <c:v>0.13296987087517934</c:v>
                </c:pt>
                <c:pt idx="30">
                  <c:v>0.14351190476190476</c:v>
                </c:pt>
                <c:pt idx="31">
                  <c:v>0.13922744566969755</c:v>
                </c:pt>
                <c:pt idx="32">
                  <c:v>0.13890773405698778</c:v>
                </c:pt>
                <c:pt idx="33">
                  <c:v>0.1622480436329144</c:v>
                </c:pt>
                <c:pt idx="34">
                  <c:v>0.18219346201048756</c:v>
                </c:pt>
                <c:pt idx="35">
                  <c:v>0.1784835607246701</c:v>
                </c:pt>
                <c:pt idx="36">
                  <c:v>0.14671599078662664</c:v>
                </c:pt>
                <c:pt idx="37">
                  <c:v>0.13493900531748515</c:v>
                </c:pt>
                <c:pt idx="38">
                  <c:v>0.13711087792934593</c:v>
                </c:pt>
                <c:pt idx="39">
                  <c:v>0.15427748340964043</c:v>
                </c:pt>
                <c:pt idx="40">
                  <c:v>0.1372841717669304</c:v>
                </c:pt>
                <c:pt idx="41">
                  <c:v>0.13758057685973746</c:v>
                </c:pt>
                <c:pt idx="42">
                  <c:v>0.1349878293999365</c:v>
                </c:pt>
                <c:pt idx="43">
                  <c:v>0.13301232665639445</c:v>
                </c:pt>
                <c:pt idx="44">
                  <c:v>0.12827739075364156</c:v>
                </c:pt>
                <c:pt idx="45">
                  <c:v>0.1462760865403025</c:v>
                </c:pt>
                <c:pt idx="46">
                  <c:v>0.13967025089605734</c:v>
                </c:pt>
                <c:pt idx="47">
                  <c:v>0.1424847491333208</c:v>
                </c:pt>
                <c:pt idx="48">
                  <c:v>0.1344111373077355</c:v>
                </c:pt>
                <c:pt idx="49">
                  <c:v>0.14949840959138733</c:v>
                </c:pt>
                <c:pt idx="50">
                  <c:v>0.18617374229805675</c:v>
                </c:pt>
                <c:pt idx="51">
                  <c:v>0.1664974858950449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5874528176557836</c:v>
                </c:pt>
              </c:numCache>
            </c:numRef>
          </c:xVal>
          <c:yVal>
            <c:numRef>
              <c:f>Sheet1!$B$163:$B$164</c:f>
              <c:numCache>
                <c:formatCode>General</c:formatCode>
                <c:ptCount val="2"/>
                <c:pt idx="0">
                  <c:v>0.19915106140886207</c:v>
                </c:pt>
                <c:pt idx="1">
                  <c:v>0.1991510614088620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5874528176557836</c:v>
                </c:pt>
                <c:pt idx="1">
                  <c:v>-0.05874528176557836</c:v>
                </c:pt>
              </c:numCache>
            </c:numRef>
          </c:xVal>
          <c:yVal>
            <c:numRef>
              <c:f>Sheet1!$B$167:$B$168</c:f>
              <c:numCache>
                <c:formatCode>General</c:formatCode>
                <c:ptCount val="2"/>
                <c:pt idx="0">
                  <c:v>0.1991510614088620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486440143287559</c:v>
                </c:pt>
              </c:numCache>
            </c:numRef>
          </c:xVal>
          <c:yVal>
            <c:numRef>
              <c:f>Sheet1!$B$171:$B$172</c:f>
              <c:numCache>
                <c:formatCode>General</c:formatCode>
                <c:ptCount val="2"/>
                <c:pt idx="0">
                  <c:v>0.16226704680471798</c:v>
                </c:pt>
                <c:pt idx="1">
                  <c:v>0.1622670468047179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486440143287559</c:v>
                </c:pt>
                <c:pt idx="1">
                  <c:v>0.08486440143287559</c:v>
                </c:pt>
              </c:numCache>
            </c:numRef>
          </c:xVal>
          <c:yVal>
            <c:numRef>
              <c:f>Sheet1!$B$175:$B$176</c:f>
              <c:numCache>
                <c:formatCode>General</c:formatCode>
                <c:ptCount val="2"/>
                <c:pt idx="0">
                  <c:v>0.1622670468047179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504676814678173</c:v>
                </c:pt>
              </c:numCache>
            </c:numRef>
          </c:xVal>
          <c:yVal>
            <c:numRef>
              <c:f>Sheet1!$B$179:$B$180</c:f>
              <c:numCache>
                <c:formatCode>General</c:formatCode>
                <c:ptCount val="2"/>
                <c:pt idx="0">
                  <c:v>0.14541781850062968</c:v>
                </c:pt>
                <c:pt idx="1">
                  <c:v>0.1454178185006296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504676814678173</c:v>
                </c:pt>
                <c:pt idx="1">
                  <c:v>0.1504676814678173</c:v>
                </c:pt>
              </c:numCache>
            </c:numRef>
          </c:xVal>
          <c:yVal>
            <c:numRef>
              <c:f>Sheet1!$B$183:$B$184</c:f>
              <c:numCache>
                <c:formatCode>General</c:formatCode>
                <c:ptCount val="2"/>
                <c:pt idx="0">
                  <c:v>0.1454178185006296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2366497857355344</c:v>
                </c:pt>
                <c:pt idx="1">
                  <c:v>0.12678727002256815</c:v>
                </c:pt>
                <c:pt idx="2">
                  <c:v>0.12378969159940904</c:v>
                </c:pt>
                <c:pt idx="3">
                  <c:v>0.1250459408977506</c:v>
                </c:pt>
                <c:pt idx="4">
                  <c:v>0.1241544444404939</c:v>
                </c:pt>
                <c:pt idx="5">
                  <c:v>0.12436589257234727</c:v>
                </c:pt>
                <c:pt idx="6">
                  <c:v>0.1169769243891626</c:v>
                </c:pt>
                <c:pt idx="7">
                  <c:v>0.11883762762389381</c:v>
                </c:pt>
                <c:pt idx="8">
                  <c:v>0.13131741524751026</c:v>
                </c:pt>
                <c:pt idx="9">
                  <c:v>0.12584828794479352</c:v>
                </c:pt>
                <c:pt idx="10">
                  <c:v>0.12796620368853254</c:v>
                </c:pt>
                <c:pt idx="11">
                  <c:v>0.11635521102354913</c:v>
                </c:pt>
                <c:pt idx="12">
                  <c:v>0.11849931588037574</c:v>
                </c:pt>
                <c:pt idx="13">
                  <c:v>0.12058580905135723</c:v>
                </c:pt>
                <c:pt idx="14">
                  <c:v>0.12051037520815094</c:v>
                </c:pt>
                <c:pt idx="15">
                  <c:v>0.11830039775291448</c:v>
                </c:pt>
                <c:pt idx="16">
                  <c:v>0.12138670947814141</c:v>
                </c:pt>
                <c:pt idx="17">
                  <c:v>0.11740268932644553</c:v>
                </c:pt>
                <c:pt idx="18">
                  <c:v>0.11457581268677859</c:v>
                </c:pt>
                <c:pt idx="19">
                  <c:v>0.12364420617830353</c:v>
                </c:pt>
                <c:pt idx="20">
                  <c:v>0.12057036165261174</c:v>
                </c:pt>
                <c:pt idx="21">
                  <c:v>0.11807121614353919</c:v>
                </c:pt>
                <c:pt idx="22">
                  <c:v>0.11725659779228835</c:v>
                </c:pt>
                <c:pt idx="23">
                  <c:v>0.11274201080355438</c:v>
                </c:pt>
                <c:pt idx="24">
                  <c:v>0.11122286691673341</c:v>
                </c:pt>
                <c:pt idx="25">
                  <c:v>0.1065382333398128</c:v>
                </c:pt>
                <c:pt idx="26">
                  <c:v>0.11078298070498667</c:v>
                </c:pt>
                <c:pt idx="27">
                  <c:v>0.1156502368273041</c:v>
                </c:pt>
                <c:pt idx="28">
                  <c:v>0.11949429573663155</c:v>
                </c:pt>
                <c:pt idx="29">
                  <c:v>0.12011414479344003</c:v>
                </c:pt>
                <c:pt idx="30">
                  <c:v>0.11678534003910797</c:v>
                </c:pt>
                <c:pt idx="31">
                  <c:v>0.1064044844524525</c:v>
                </c:pt>
                <c:pt idx="32">
                  <c:v>0.11284336490125199</c:v>
                </c:pt>
                <c:pt idx="33">
                  <c:v>0.1193344702523672</c:v>
                </c:pt>
                <c:pt idx="34">
                  <c:v>0.12150734858813429</c:v>
                </c:pt>
                <c:pt idx="35">
                  <c:v>0.11790061403741826</c:v>
                </c:pt>
                <c:pt idx="36">
                  <c:v>0.11703525438919724</c:v>
                </c:pt>
                <c:pt idx="37">
                  <c:v>0.12409684394368996</c:v>
                </c:pt>
                <c:pt idx="38">
                  <c:v>0.12006651882623415</c:v>
                </c:pt>
                <c:pt idx="39">
                  <c:v>0.12229344569789499</c:v>
                </c:pt>
                <c:pt idx="40">
                  <c:v>0.12352328686598923</c:v>
                </c:pt>
                <c:pt idx="41">
                  <c:v>0.13007279735148947</c:v>
                </c:pt>
                <c:pt idx="42">
                  <c:v>0.12932880800696853</c:v>
                </c:pt>
                <c:pt idx="43">
                  <c:v>0.13070152789959433</c:v>
                </c:pt>
                <c:pt idx="44">
                  <c:v>0.13015454531237244</c:v>
                </c:pt>
                <c:pt idx="45">
                  <c:v>0.12966304282898272</c:v>
                </c:pt>
                <c:pt idx="46">
                  <c:v>0.12832380259381052</c:v>
                </c:pt>
                <c:pt idx="47">
                  <c:v>0.12293307116129679</c:v>
                </c:pt>
                <c:pt idx="48">
                  <c:v>0.12103392794299309</c:v>
                </c:pt>
                <c:pt idx="49">
                  <c:v>0.12627932354807006</c:v>
                </c:pt>
                <c:pt idx="50">
                  <c:v>0.12042756458401652</c:v>
                </c:pt>
                <c:pt idx="51">
                  <c:v>0.11293220659398368</c:v>
                </c:pt>
                <c:pt idx="52">
                  <c:v>0.08486440143287559</c:v>
                </c:pt>
                <c:pt idx="53">
                  <c:v>-0.05874528176557836</c:v>
                </c:pt>
                <c:pt idx="54">
                  <c:v>0.1504676814678173</c:v>
                </c:pt>
              </c:numCache>
            </c:numRef>
          </c:xVal>
          <c:yVal>
            <c:numRef>
              <c:f>Sheet1!$B$187:$B$241</c:f>
              <c:numCache>
                <c:formatCode>General</c:formatCode>
                <c:ptCount val="55"/>
                <c:pt idx="0">
                  <c:v>0.15230169473351873</c:v>
                </c:pt>
                <c:pt idx="1">
                  <c:v>0.15149978053916244</c:v>
                </c:pt>
                <c:pt idx="2">
                  <c:v>0.15226966404474807</c:v>
                </c:pt>
                <c:pt idx="3">
                  <c:v>0.15194701506708513</c:v>
                </c:pt>
                <c:pt idx="4">
                  <c:v>0.15217598269389593</c:v>
                </c:pt>
                <c:pt idx="5">
                  <c:v>0.1521216753811187</c:v>
                </c:pt>
                <c:pt idx="6">
                  <c:v>0.15401942213682684</c:v>
                </c:pt>
                <c:pt idx="7">
                  <c:v>0.15354152814141314</c:v>
                </c:pt>
                <c:pt idx="8">
                  <c:v>0.150336280008319</c:v>
                </c:pt>
                <c:pt idx="9">
                  <c:v>0.1517409441424677</c:v>
                </c:pt>
                <c:pt idx="10">
                  <c:v>0.15119698893358066</c:v>
                </c:pt>
                <c:pt idx="11">
                  <c:v>0.15417909998268065</c:v>
                </c:pt>
                <c:pt idx="12">
                  <c:v>0.1536284184889911</c:v>
                </c:pt>
                <c:pt idx="13">
                  <c:v>0.1530925337013088</c:v>
                </c:pt>
                <c:pt idx="14">
                  <c:v>0.15311190776378494</c:v>
                </c:pt>
                <c:pt idx="15">
                  <c:v>0.15367950765620395</c:v>
                </c:pt>
                <c:pt idx="16">
                  <c:v>0.15288683431962327</c:v>
                </c:pt>
                <c:pt idx="17">
                  <c:v>0.15391007073506255</c:v>
                </c:pt>
                <c:pt idx="18">
                  <c:v>0.15463611202238647</c:v>
                </c:pt>
                <c:pt idx="19">
                  <c:v>0.15230702981477995</c:v>
                </c:pt>
                <c:pt idx="20">
                  <c:v>0.1530965011362911</c:v>
                </c:pt>
                <c:pt idx="21">
                  <c:v>0.15373836954935022</c:v>
                </c:pt>
                <c:pt idx="22">
                  <c:v>0.1539475921762313</c:v>
                </c:pt>
                <c:pt idx="23">
                  <c:v>0.15510709680513599</c:v>
                </c:pt>
                <c:pt idx="24">
                  <c:v>0.15549726635400876</c:v>
                </c:pt>
                <c:pt idx="25">
                  <c:v>0.15670044492399018</c:v>
                </c:pt>
                <c:pt idx="26">
                  <c:v>0.15561024459542586</c:v>
                </c:pt>
                <c:pt idx="27">
                  <c:v>0.15436016213650433</c:v>
                </c:pt>
                <c:pt idx="28">
                  <c:v>0.15337287268781935</c:v>
                </c:pt>
                <c:pt idx="29">
                  <c:v>0.15321367366199812</c:v>
                </c:pt>
                <c:pt idx="30">
                  <c:v>0.15406862773221539</c:v>
                </c:pt>
                <c:pt idx="31">
                  <c:v>0.15673479633961074</c:v>
                </c:pt>
                <c:pt idx="32">
                  <c:v>0.15508106551019538</c:v>
                </c:pt>
                <c:pt idx="33">
                  <c:v>0.1534139214901315</c:v>
                </c:pt>
                <c:pt idx="34">
                  <c:v>0.15285584995564652</c:v>
                </c:pt>
                <c:pt idx="35">
                  <c:v>0.15378218616695927</c:v>
                </c:pt>
                <c:pt idx="36">
                  <c:v>0.15400444094248658</c:v>
                </c:pt>
                <c:pt idx="37">
                  <c:v>0.1521907765261641</c:v>
                </c:pt>
                <c:pt idx="38">
                  <c:v>0.15322590568445535</c:v>
                </c:pt>
                <c:pt idx="39">
                  <c:v>0.1526539525861173</c:v>
                </c:pt>
                <c:pt idx="40">
                  <c:v>0.15233808614456212</c:v>
                </c:pt>
                <c:pt idx="41">
                  <c:v>0.1506559416330158</c:v>
                </c:pt>
                <c:pt idx="42">
                  <c:v>0.15084702424832047</c:v>
                </c:pt>
                <c:pt idx="43">
                  <c:v>0.15049446152804039</c:v>
                </c:pt>
                <c:pt idx="44">
                  <c:v>0.15063494588317558</c:v>
                </c:pt>
                <c:pt idx="45">
                  <c:v>0.15076118099749072</c:v>
                </c:pt>
                <c:pt idx="46">
                  <c:v>0.1511051449649085</c:v>
                </c:pt>
                <c:pt idx="47">
                  <c:v>0.15248967428393145</c:v>
                </c:pt>
                <c:pt idx="48">
                  <c:v>0.15297744101831295</c:v>
                </c:pt>
                <c:pt idx="49">
                  <c:v>0.15163023904840947</c:v>
                </c:pt>
                <c:pt idx="50">
                  <c:v>0.1531331764429013</c:v>
                </c:pt>
                <c:pt idx="51">
                  <c:v>0.15505824784066785</c:v>
                </c:pt>
                <c:pt idx="52">
                  <c:v>0.16226704680471798</c:v>
                </c:pt>
                <c:pt idx="53">
                  <c:v>0.19915106140886207</c:v>
                </c:pt>
                <c:pt idx="54">
                  <c:v>0.1454178185006296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982231562858233"/>
          <c:min val="0.0981473021674026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5.339</c:v>
                </c:pt>
                <c:pt idx="1">
                  <c:v>908.2997</c:v>
                </c:pt>
                <c:pt idx="2">
                  <c:v>940.9637</c:v>
                </c:pt>
                <c:pt idx="3">
                  <c:v>955.9334</c:v>
                </c:pt>
                <c:pt idx="4">
                  <c:v>942.4441</c:v>
                </c:pt>
                <c:pt idx="5">
                  <c:v>940.2147</c:v>
                </c:pt>
                <c:pt idx="6">
                  <c:v>909.8198</c:v>
                </c:pt>
                <c:pt idx="7">
                  <c:v>924.4938</c:v>
                </c:pt>
                <c:pt idx="8">
                  <c:v>923.6388</c:v>
                </c:pt>
                <c:pt idx="9">
                  <c:v>897.1056</c:v>
                </c:pt>
                <c:pt idx="10">
                  <c:v>879.3296</c:v>
                </c:pt>
                <c:pt idx="11">
                  <c:v>894.5324</c:v>
                </c:pt>
                <c:pt idx="12">
                  <c:v>888.5455</c:v>
                </c:pt>
                <c:pt idx="13">
                  <c:v>871.4541</c:v>
                </c:pt>
                <c:pt idx="14">
                  <c:v>924.2327</c:v>
                </c:pt>
                <c:pt idx="15">
                  <c:v>926.4744</c:v>
                </c:pt>
                <c:pt idx="16">
                  <c:v>967.2882</c:v>
                </c:pt>
                <c:pt idx="17">
                  <c:v>949.7834</c:v>
                </c:pt>
                <c:pt idx="18">
                  <c:v>1007.0661</c:v>
                </c:pt>
                <c:pt idx="19">
                  <c:v>1009.8445</c:v>
                </c:pt>
                <c:pt idx="20">
                  <c:v>1021.2071</c:v>
                </c:pt>
                <c:pt idx="21">
                  <c:v>1026.5957</c:v>
                </c:pt>
                <c:pt idx="22">
                  <c:v>1010.5776</c:v>
                </c:pt>
                <c:pt idx="23">
                  <c:v>995.7251</c:v>
                </c:pt>
                <c:pt idx="24">
                  <c:v>1003.6206</c:v>
                </c:pt>
                <c:pt idx="25">
                  <c:v>975.6425</c:v>
                </c:pt>
                <c:pt idx="26">
                  <c:v>996.5869</c:v>
                </c:pt>
                <c:pt idx="27">
                  <c:v>1051.6926</c:v>
                </c:pt>
                <c:pt idx="28">
                  <c:v>1017.9765</c:v>
                </c:pt>
                <c:pt idx="29">
                  <c:v>955.151</c:v>
                </c:pt>
                <c:pt idx="30">
                  <c:v>975.1197</c:v>
                </c:pt>
                <c:pt idx="31">
                  <c:v>979.0429</c:v>
                </c:pt>
                <c:pt idx="32">
                  <c:v>964.5436</c:v>
                </c:pt>
                <c:pt idx="33">
                  <c:v>917.2174</c:v>
                </c:pt>
                <c:pt idx="34">
                  <c:v>975.4718</c:v>
                </c:pt>
                <c:pt idx="35">
                  <c:v>1007.2858</c:v>
                </c:pt>
                <c:pt idx="36">
                  <c:v>1086.5904</c:v>
                </c:pt>
                <c:pt idx="37">
                  <c:v>1090.6655</c:v>
                </c:pt>
                <c:pt idx="38">
                  <c:v>1115.782</c:v>
                </c:pt>
                <c:pt idx="39">
                  <c:v>1139.0051</c:v>
                </c:pt>
                <c:pt idx="40">
                  <c:v>1161.8093</c:v>
                </c:pt>
                <c:pt idx="41">
                  <c:v>1164.516</c:v>
                </c:pt>
                <c:pt idx="42">
                  <c:v>1188.0815</c:v>
                </c:pt>
                <c:pt idx="43">
                  <c:v>1207.3765</c:v>
                </c:pt>
                <c:pt idx="44">
                  <c:v>1068.4104</c:v>
                </c:pt>
                <c:pt idx="45">
                  <c:v>1044.4211</c:v>
                </c:pt>
                <c:pt idx="46">
                  <c:v>1022.3771</c:v>
                </c:pt>
                <c:pt idx="47">
                  <c:v>998.029</c:v>
                </c:pt>
                <c:pt idx="48">
                  <c:v>992.409</c:v>
                </c:pt>
                <c:pt idx="49">
                  <c:v>950.193</c:v>
                </c:pt>
                <c:pt idx="50">
                  <c:v>957.3793</c:v>
                </c:pt>
                <c:pt idx="51">
                  <c:v>985.9719</c:v>
                </c:pt>
                <c:pt idx="52">
                  <c:v>989.7834</c:v>
                </c:pt>
                <c:pt idx="53">
                  <c:v>1077.0405</c:v>
                </c:pt>
                <c:pt idx="54">
                  <c:v>1079.7286</c:v>
                </c:pt>
                <c:pt idx="55">
                  <c:v>1113.3342</c:v>
                </c:pt>
                <c:pt idx="56">
                  <c:v>1089.9423</c:v>
                </c:pt>
                <c:pt idx="57">
                  <c:v>1092.6085</c:v>
                </c:pt>
                <c:pt idx="58">
                  <c:v>1065.2985</c:v>
                </c:pt>
                <c:pt idx="59">
                  <c:v>1076.2585</c:v>
                </c:pt>
                <c:pt idx="60">
                  <c:v>1099.4991</c:v>
                </c:pt>
                <c:pt idx="61">
                  <c:v>1074.6468</c:v>
                </c:pt>
                <c:pt idx="62">
                  <c:v>1024.3388</c:v>
                </c:pt>
                <c:pt idx="63">
                  <c:v>1051.3767</c:v>
                </c:pt>
                <c:pt idx="64">
                  <c:v>1058.04</c:v>
                </c:pt>
                <c:pt idx="65">
                  <c:v>1027.6052</c:v>
                </c:pt>
                <c:pt idx="66">
                  <c:v>1040.2006</c:v>
                </c:pt>
                <c:pt idx="67">
                  <c:v>1026.6074</c:v>
                </c:pt>
                <c:pt idx="68">
                  <c:v>1024.3861</c:v>
                </c:pt>
                <c:pt idx="69">
                  <c:v>1042.0443</c:v>
                </c:pt>
                <c:pt idx="70">
                  <c:v>1039.7038</c:v>
                </c:pt>
                <c:pt idx="71">
                  <c:v>1056.9024</c:v>
                </c:pt>
                <c:pt idx="72">
                  <c:v>1076.037</c:v>
                </c:pt>
                <c:pt idx="73">
                  <c:v>1112.2362</c:v>
                </c:pt>
                <c:pt idx="74">
                  <c:v>1082.1863</c:v>
                </c:pt>
                <c:pt idx="75">
                  <c:v>1094.3358</c:v>
                </c:pt>
                <c:pt idx="76">
                  <c:v>1069.793</c:v>
                </c:pt>
                <c:pt idx="77">
                  <c:v>1033.0136</c:v>
                </c:pt>
                <c:pt idx="78">
                  <c:v>1099.6623</c:v>
                </c:pt>
                <c:pt idx="79">
                  <c:v>835.6999</c:v>
                </c:pt>
                <c:pt idx="80">
                  <c:v>829.1711</c:v>
                </c:pt>
                <c:pt idx="81">
                  <c:v>1000.7921</c:v>
                </c:pt>
                <c:pt idx="82">
                  <c:v>1004.7331</c:v>
                </c:pt>
                <c:pt idx="83">
                  <c:v>1035.0474</c:v>
                </c:pt>
                <c:pt idx="84">
                  <c:v>1034.8995</c:v>
                </c:pt>
                <c:pt idx="85">
                  <c:v>1059.6931</c:v>
                </c:pt>
                <c:pt idx="86">
                  <c:v>1143.2755</c:v>
                </c:pt>
                <c:pt idx="87">
                  <c:v>1164.9097</c:v>
                </c:pt>
                <c:pt idx="88">
                  <c:v>1166.1309</c:v>
                </c:pt>
                <c:pt idx="89">
                  <c:v>1119.1226</c:v>
                </c:pt>
                <c:pt idx="90">
                  <c:v>1152.0588</c:v>
                </c:pt>
                <c:pt idx="91">
                  <c:v>1172.9296</c:v>
                </c:pt>
                <c:pt idx="92">
                  <c:v>1168.2515</c:v>
                </c:pt>
                <c:pt idx="93">
                  <c:v>1196.6421</c:v>
                </c:pt>
                <c:pt idx="94">
                  <c:v>1182.9458</c:v>
                </c:pt>
                <c:pt idx="95">
                  <c:v>1191.1058</c:v>
                </c:pt>
                <c:pt idx="96">
                  <c:v>1134.5103</c:v>
                </c:pt>
                <c:pt idx="97">
                  <c:v>1151.7349</c:v>
                </c:pt>
                <c:pt idx="98">
                  <c:v>1135.9488</c:v>
                </c:pt>
                <c:pt idx="99">
                  <c:v>1087.9181</c:v>
                </c:pt>
                <c:pt idx="100">
                  <c:v>1075.9064</c:v>
                </c:pt>
                <c:pt idx="101">
                  <c:v>1118.8907</c:v>
                </c:pt>
                <c:pt idx="102">
                  <c:v>1146.2543</c:v>
                </c:pt>
                <c:pt idx="103">
                  <c:v>1027.8397</c:v>
                </c:pt>
                <c:pt idx="104">
                  <c:v>1112.0425</c:v>
                </c:pt>
              </c:numCache>
            </c:numRef>
          </c:xVal>
          <c:yVal>
            <c:numRef>
              <c:f>Sheet1!$B$2:$B$106</c:f>
              <c:numCache>
                <c:formatCode>General</c:formatCode>
                <c:ptCount val="105"/>
                <c:pt idx="0">
                  <c:v>0.22194230725584985</c:v>
                </c:pt>
                <c:pt idx="1">
                  <c:v>0.22026857992494867</c:v>
                </c:pt>
                <c:pt idx="2">
                  <c:v>0.20593717638936831</c:v>
                </c:pt>
                <c:pt idx="3">
                  <c:v>0.2040204890306369</c:v>
                </c:pt>
                <c:pt idx="4">
                  <c:v>0.19666111126804328</c:v>
                </c:pt>
                <c:pt idx="5">
                  <c:v>0.18637910155123696</c:v>
                </c:pt>
                <c:pt idx="6">
                  <c:v>0.20510359622875854</c:v>
                </c:pt>
                <c:pt idx="7">
                  <c:v>0.19365059045668384</c:v>
                </c:pt>
                <c:pt idx="8">
                  <c:v>0.2037377553408445</c:v>
                </c:pt>
                <c:pt idx="9">
                  <c:v>0.20627696516889404</c:v>
                </c:pt>
                <c:pt idx="10">
                  <c:v>0.21713827011840256</c:v>
                </c:pt>
                <c:pt idx="11">
                  <c:v>0.21172901921132456</c:v>
                </c:pt>
                <c:pt idx="12">
                  <c:v>0.2256641278097715</c:v>
                </c:pt>
                <c:pt idx="13">
                  <c:v>0.23085775851514484</c:v>
                </c:pt>
                <c:pt idx="14">
                  <c:v>0.22159297175633486</c:v>
                </c:pt>
                <c:pt idx="15">
                  <c:v>0.21491924999277728</c:v>
                </c:pt>
                <c:pt idx="16">
                  <c:v>0.2051609941635517</c:v>
                </c:pt>
                <c:pt idx="17">
                  <c:v>0.19201745288079825</c:v>
                </c:pt>
                <c:pt idx="18">
                  <c:v>0.18351630992812573</c:v>
                </c:pt>
                <c:pt idx="19">
                  <c:v>0.15794605134871628</c:v>
                </c:pt>
                <c:pt idx="20">
                  <c:v>0.17411278281842196</c:v>
                </c:pt>
                <c:pt idx="21">
                  <c:v>0.16995708154506436</c:v>
                </c:pt>
                <c:pt idx="22">
                  <c:v>0.16563987678521422</c:v>
                </c:pt>
                <c:pt idx="23">
                  <c:v>0.16956735496558506</c:v>
                </c:pt>
                <c:pt idx="24">
                  <c:v>0.18010355029585798</c:v>
                </c:pt>
                <c:pt idx="25">
                  <c:v>0.17641213389121338</c:v>
                </c:pt>
                <c:pt idx="26">
                  <c:v>0.17198937013380577</c:v>
                </c:pt>
                <c:pt idx="27">
                  <c:v>0.1726867436993904</c:v>
                </c:pt>
                <c:pt idx="28">
                  <c:v>0.163946587537092</c:v>
                </c:pt>
                <c:pt idx="29">
                  <c:v>0.17798194975201237</c:v>
                </c:pt>
                <c:pt idx="30">
                  <c:v>0.16221154850161845</c:v>
                </c:pt>
                <c:pt idx="31">
                  <c:v>0.15749670084255404</c:v>
                </c:pt>
                <c:pt idx="32">
                  <c:v>0.16348269653930786</c:v>
                </c:pt>
                <c:pt idx="33">
                  <c:v>0.18088082487411078</c:v>
                </c:pt>
                <c:pt idx="34">
                  <c:v>0.18054500054282924</c:v>
                </c:pt>
                <c:pt idx="35">
                  <c:v>0.19449394155381325</c:v>
                </c:pt>
                <c:pt idx="36">
                  <c:v>0.16721767225185966</c:v>
                </c:pt>
                <c:pt idx="37">
                  <c:v>0.13747257569109259</c:v>
                </c:pt>
                <c:pt idx="38">
                  <c:v>0.13328411361070094</c:v>
                </c:pt>
                <c:pt idx="39">
                  <c:v>0.13529929985626188</c:v>
                </c:pt>
                <c:pt idx="40">
                  <c:v>0.14140245313584818</c:v>
                </c:pt>
                <c:pt idx="41">
                  <c:v>0.1320315745741587</c:v>
                </c:pt>
                <c:pt idx="42">
                  <c:v>0.13478445830969937</c:v>
                </c:pt>
                <c:pt idx="43">
                  <c:v>0.14850637407242975</c:v>
                </c:pt>
                <c:pt idx="44">
                  <c:v>0.160577483329377</c:v>
                </c:pt>
                <c:pt idx="45">
                  <c:v>0.17985482748334494</c:v>
                </c:pt>
                <c:pt idx="46">
                  <c:v>0.1890920904278698</c:v>
                </c:pt>
                <c:pt idx="47">
                  <c:v>0.1872183925751916</c:v>
                </c:pt>
                <c:pt idx="48">
                  <c:v>0.20402986156410813</c:v>
                </c:pt>
                <c:pt idx="49">
                  <c:v>0.2373207055109464</c:v>
                </c:pt>
                <c:pt idx="50">
                  <c:v>0.19963127804987058</c:v>
                </c:pt>
                <c:pt idx="51">
                  <c:v>0.18215747110931246</c:v>
                </c:pt>
                <c:pt idx="52">
                  <c:v>0.19546332988463117</c:v>
                </c:pt>
                <c:pt idx="53">
                  <c:v>0.18087203153542927</c:v>
                </c:pt>
                <c:pt idx="54">
                  <c:v>0.1730390224674813</c:v>
                </c:pt>
                <c:pt idx="55">
                  <c:v>0.1718077183480027</c:v>
                </c:pt>
                <c:pt idx="56">
                  <c:v>0.18865047380459646</c:v>
                </c:pt>
                <c:pt idx="57">
                  <c:v>0.1838357464989319</c:v>
                </c:pt>
                <c:pt idx="58">
                  <c:v>0.19846960029818675</c:v>
                </c:pt>
                <c:pt idx="59">
                  <c:v>0.20095489936829733</c:v>
                </c:pt>
                <c:pt idx="60">
                  <c:v>0.20754898811435915</c:v>
                </c:pt>
                <c:pt idx="61">
                  <c:v>0.20793681621026736</c:v>
                </c:pt>
                <c:pt idx="62">
                  <c:v>0.215126935636785</c:v>
                </c:pt>
                <c:pt idx="63">
                  <c:v>0.22940080302768331</c:v>
                </c:pt>
                <c:pt idx="64">
                  <c:v>0.21880271394834502</c:v>
                </c:pt>
                <c:pt idx="65">
                  <c:v>0.21689451132421955</c:v>
                </c:pt>
                <c:pt idx="66">
                  <c:v>0.2178862817026121</c:v>
                </c:pt>
                <c:pt idx="67">
                  <c:v>0.21287441455179174</c:v>
                </c:pt>
                <c:pt idx="68">
                  <c:v>0.19509166798753105</c:v>
                </c:pt>
                <c:pt idx="69">
                  <c:v>0.1761484219894571</c:v>
                </c:pt>
                <c:pt idx="70">
                  <c:v>0.1632560695697152</c:v>
                </c:pt>
                <c:pt idx="71">
                  <c:v>0.1733943061477101</c:v>
                </c:pt>
                <c:pt idx="72">
                  <c:v>0.1759865159627206</c:v>
                </c:pt>
                <c:pt idx="73">
                  <c:v>0.17940107322139517</c:v>
                </c:pt>
                <c:pt idx="74">
                  <c:v>0.1715601227812625</c:v>
                </c:pt>
                <c:pt idx="75">
                  <c:v>0.16595561470116246</c:v>
                </c:pt>
                <c:pt idx="76">
                  <c:v>0.1590899603423085</c:v>
                </c:pt>
                <c:pt idx="77">
                  <c:v>0.16565724071676205</c:v>
                </c:pt>
                <c:pt idx="78">
                  <c:v>0.15544116232079283</c:v>
                </c:pt>
                <c:pt idx="79">
                  <c:v>0.18983507236620667</c:v>
                </c:pt>
                <c:pt idx="80">
                  <c:v>0.18471825886962817</c:v>
                </c:pt>
                <c:pt idx="81">
                  <c:v>0.16555171917709682</c:v>
                </c:pt>
                <c:pt idx="82">
                  <c:v>0.15227773695811903</c:v>
                </c:pt>
                <c:pt idx="83">
                  <c:v>0.14037588427832332</c:v>
                </c:pt>
                <c:pt idx="84">
                  <c:v>0.13738054466110589</c:v>
                </c:pt>
                <c:pt idx="85">
                  <c:v>0.1408924507766894</c:v>
                </c:pt>
                <c:pt idx="86">
                  <c:v>0.14388276219376805</c:v>
                </c:pt>
                <c:pt idx="87">
                  <c:v>0.16424116424116425</c:v>
                </c:pt>
                <c:pt idx="88">
                  <c:v>0.15143294683876612</c:v>
                </c:pt>
                <c:pt idx="89">
                  <c:v>0.13790962071271615</c:v>
                </c:pt>
                <c:pt idx="90">
                  <c:v>0.13506044905008635</c:v>
                </c:pt>
                <c:pt idx="91">
                  <c:v>0.13018990876931671</c:v>
                </c:pt>
                <c:pt idx="92">
                  <c:v>0.14122937388056858</c:v>
                </c:pt>
                <c:pt idx="93">
                  <c:v>0.13123975562509313</c:v>
                </c:pt>
                <c:pt idx="94">
                  <c:v>0.13373245077785742</c:v>
                </c:pt>
                <c:pt idx="95">
                  <c:v>0.14385922108024032</c:v>
                </c:pt>
                <c:pt idx="96">
                  <c:v>0.13698139399502945</c:v>
                </c:pt>
                <c:pt idx="97">
                  <c:v>0.14533199314137055</c:v>
                </c:pt>
                <c:pt idx="98">
                  <c:v>0.16315129011740842</c:v>
                </c:pt>
                <c:pt idx="99">
                  <c:v>0.17124577715327813</c:v>
                </c:pt>
                <c:pt idx="100">
                  <c:v>0.19575939007580978</c:v>
                </c:pt>
                <c:pt idx="101">
                  <c:v>0.17001159575417002</c:v>
                </c:pt>
                <c:pt idx="102">
                  <c:v>0.14514833816640643</c:v>
                </c:pt>
                <c:pt idx="103">
                  <c:v>0.16519679377366073</c:v>
                </c:pt>
                <c:pt idx="104">
                  <c:v>0.1671687835916222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63.7059</c:v>
                </c:pt>
                <c:pt idx="1">
                  <c:v>1164.446</c:v>
                </c:pt>
                <c:pt idx="2">
                  <c:v>1157.818</c:v>
                </c:pt>
                <c:pt idx="3">
                  <c:v>1177.4242</c:v>
                </c:pt>
                <c:pt idx="4">
                  <c:v>1168.3079</c:v>
                </c:pt>
                <c:pt idx="5">
                  <c:v>1183.8174</c:v>
                </c:pt>
                <c:pt idx="6">
                  <c:v>1119.6582</c:v>
                </c:pt>
                <c:pt idx="7">
                  <c:v>1136.6996</c:v>
                </c:pt>
                <c:pt idx="8">
                  <c:v>1204.0604</c:v>
                </c:pt>
                <c:pt idx="9">
                  <c:v>1142.6138</c:v>
                </c:pt>
                <c:pt idx="10">
                  <c:v>1161.5193</c:v>
                </c:pt>
                <c:pt idx="11">
                  <c:v>1093.1648</c:v>
                </c:pt>
                <c:pt idx="12">
                  <c:v>1114.1858</c:v>
                </c:pt>
                <c:pt idx="13">
                  <c:v>1133.4451</c:v>
                </c:pt>
                <c:pt idx="14">
                  <c:v>1157.0852</c:v>
                </c:pt>
                <c:pt idx="15">
                  <c:v>1166.4876</c:v>
                </c:pt>
                <c:pt idx="16">
                  <c:v>1180.1941</c:v>
                </c:pt>
                <c:pt idx="17">
                  <c:v>1159.8544</c:v>
                </c:pt>
                <c:pt idx="18">
                  <c:v>1130.6592</c:v>
                </c:pt>
                <c:pt idx="19">
                  <c:v>1198.172</c:v>
                </c:pt>
                <c:pt idx="20">
                  <c:v>1161.5629</c:v>
                </c:pt>
                <c:pt idx="21">
                  <c:v>1185.0671</c:v>
                </c:pt>
                <c:pt idx="22">
                  <c:v>1170.6061</c:v>
                </c:pt>
                <c:pt idx="23">
                  <c:v>1128.4268</c:v>
                </c:pt>
                <c:pt idx="24">
                  <c:v>1133.2159</c:v>
                </c:pt>
                <c:pt idx="25">
                  <c:v>1100.9002</c:v>
                </c:pt>
                <c:pt idx="26">
                  <c:v>1163.4706</c:v>
                </c:pt>
                <c:pt idx="27">
                  <c:v>1205.6455</c:v>
                </c:pt>
                <c:pt idx="28">
                  <c:v>1221.575</c:v>
                </c:pt>
                <c:pt idx="29">
                  <c:v>1221.8864</c:v>
                </c:pt>
                <c:pt idx="30">
                  <c:v>1221.5524</c:v>
                </c:pt>
                <c:pt idx="31">
                  <c:v>1131.664</c:v>
                </c:pt>
                <c:pt idx="32">
                  <c:v>1155.5517</c:v>
                </c:pt>
                <c:pt idx="33">
                  <c:v>1201.6145</c:v>
                </c:pt>
                <c:pt idx="34">
                  <c:v>1253.8698</c:v>
                </c:pt>
                <c:pt idx="35">
                  <c:v>1239.0244</c:v>
                </c:pt>
                <c:pt idx="36">
                  <c:v>1201.2271</c:v>
                </c:pt>
                <c:pt idx="37">
                  <c:v>1258.9395</c:v>
                </c:pt>
                <c:pt idx="38">
                  <c:v>1219.6602</c:v>
                </c:pt>
                <c:pt idx="39">
                  <c:v>1230.2412</c:v>
                </c:pt>
                <c:pt idx="40">
                  <c:v>1244.8039</c:v>
                </c:pt>
                <c:pt idx="41">
                  <c:v>1276.2091</c:v>
                </c:pt>
                <c:pt idx="42">
                  <c:v>1265.5872</c:v>
                </c:pt>
                <c:pt idx="43">
                  <c:v>1274.7125</c:v>
                </c:pt>
                <c:pt idx="44">
                  <c:v>1199.8527</c:v>
                </c:pt>
                <c:pt idx="45">
                  <c:v>1172.4964</c:v>
                </c:pt>
                <c:pt idx="46">
                  <c:v>1159.8599</c:v>
                </c:pt>
                <c:pt idx="47">
                  <c:v>1144.4188</c:v>
                </c:pt>
                <c:pt idx="48">
                  <c:v>1111.6808</c:v>
                </c:pt>
                <c:pt idx="49">
                  <c:v>1124.798</c:v>
                </c:pt>
                <c:pt idx="50">
                  <c:v>1042.0603</c:v>
                </c:pt>
                <c:pt idx="51">
                  <c:v>1015.9456</c:v>
                </c:pt>
              </c:numCache>
            </c:numRef>
          </c:xVal>
          <c:yVal>
            <c:numRef>
              <c:f>Sheet1!$B$109:$B$160</c:f>
              <c:numCache>
                <c:formatCode>General</c:formatCode>
                <c:ptCount val="52"/>
                <c:pt idx="0">
                  <c:v>0.16762589928057553</c:v>
                </c:pt>
                <c:pt idx="1">
                  <c:v>0.1615433092920664</c:v>
                </c:pt>
                <c:pt idx="2">
                  <c:v>0.16950079973061705</c:v>
                </c:pt>
                <c:pt idx="3">
                  <c:v>0.1768236380424746</c:v>
                </c:pt>
                <c:pt idx="4">
                  <c:v>0.165415823707281</c:v>
                </c:pt>
                <c:pt idx="5">
                  <c:v>0.16068098549834361</c:v>
                </c:pt>
                <c:pt idx="6">
                  <c:v>0.16907997798382657</c:v>
                </c:pt>
                <c:pt idx="7">
                  <c:v>0.16591660020508145</c:v>
                </c:pt>
                <c:pt idx="8">
                  <c:v>0.1669268719165678</c:v>
                </c:pt>
                <c:pt idx="9">
                  <c:v>0.1827140688114132</c:v>
                </c:pt>
                <c:pt idx="10">
                  <c:v>0.17981281576985728</c:v>
                </c:pt>
                <c:pt idx="11">
                  <c:v>0.2001124695394997</c:v>
                </c:pt>
                <c:pt idx="12">
                  <c:v>0.19026330031294855</c:v>
                </c:pt>
                <c:pt idx="13">
                  <c:v>0.18480108806528392</c:v>
                </c:pt>
                <c:pt idx="14">
                  <c:v>0.18698388253100023</c:v>
                </c:pt>
                <c:pt idx="15">
                  <c:v>0.17095786309760108</c:v>
                </c:pt>
                <c:pt idx="16">
                  <c:v>0.16961976822143474</c:v>
                </c:pt>
                <c:pt idx="17">
                  <c:v>0.14999830663460562</c:v>
                </c:pt>
                <c:pt idx="18">
                  <c:v>0.1481346309813463</c:v>
                </c:pt>
                <c:pt idx="19">
                  <c:v>0.15853748797276293</c:v>
                </c:pt>
                <c:pt idx="20">
                  <c:v>0.15641689593785402</c:v>
                </c:pt>
                <c:pt idx="21">
                  <c:v>0.1529496749337828</c:v>
                </c:pt>
                <c:pt idx="22">
                  <c:v>0.1511989127269197</c:v>
                </c:pt>
                <c:pt idx="23">
                  <c:v>0.15308917520543777</c:v>
                </c:pt>
                <c:pt idx="24">
                  <c:v>0.1520007631039252</c:v>
                </c:pt>
                <c:pt idx="25">
                  <c:v>0.1582287970413314</c:v>
                </c:pt>
                <c:pt idx="26">
                  <c:v>0.14265774654666216</c:v>
                </c:pt>
                <c:pt idx="27">
                  <c:v>0.1304051172707889</c:v>
                </c:pt>
                <c:pt idx="28">
                  <c:v>0.13956879902250602</c:v>
                </c:pt>
                <c:pt idx="29">
                  <c:v>0.12897674418604652</c:v>
                </c:pt>
                <c:pt idx="30">
                  <c:v>0.1453814872192099</c:v>
                </c:pt>
                <c:pt idx="31">
                  <c:v>0.13441646357974546</c:v>
                </c:pt>
                <c:pt idx="32">
                  <c:v>0.13719262788123768</c:v>
                </c:pt>
                <c:pt idx="33">
                  <c:v>0.15654888150786345</c:v>
                </c:pt>
                <c:pt idx="34">
                  <c:v>0.1764300266415922</c:v>
                </c:pt>
                <c:pt idx="35">
                  <c:v>0.16952813266464106</c:v>
                </c:pt>
                <c:pt idx="36">
                  <c:v>0.14872787908127588</c:v>
                </c:pt>
                <c:pt idx="37">
                  <c:v>0.13693289800691974</c:v>
                </c:pt>
                <c:pt idx="38">
                  <c:v>0.13522654069143225</c:v>
                </c:pt>
                <c:pt idx="39">
                  <c:v>0.15436158332299293</c:v>
                </c:pt>
                <c:pt idx="40">
                  <c:v>0.13784655587766934</c:v>
                </c:pt>
                <c:pt idx="41">
                  <c:v>0.1416366561949276</c:v>
                </c:pt>
                <c:pt idx="42">
                  <c:v>0.1381288239292998</c:v>
                </c:pt>
                <c:pt idx="43">
                  <c:v>0.13578618981764384</c:v>
                </c:pt>
                <c:pt idx="44">
                  <c:v>0.14003581068441165</c:v>
                </c:pt>
                <c:pt idx="45">
                  <c:v>0.15592435353145503</c:v>
                </c:pt>
                <c:pt idx="46">
                  <c:v>0.14998784933171325</c:v>
                </c:pt>
                <c:pt idx="47">
                  <c:v>0.15445870803871764</c:v>
                </c:pt>
                <c:pt idx="48">
                  <c:v>0.1474729938271605</c:v>
                </c:pt>
                <c:pt idx="49">
                  <c:v>0.15903343635852768</c:v>
                </c:pt>
                <c:pt idx="50">
                  <c:v>0.19861179620886477</c:v>
                </c:pt>
                <c:pt idx="51">
                  <c:v>0.1820915006823980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17.853661181524</c:v>
                </c:pt>
              </c:numCache>
            </c:numRef>
          </c:xVal>
          <c:yVal>
            <c:numRef>
              <c:f>Sheet1!$B$163:$B$164</c:f>
              <c:numCache>
                <c:formatCode>General</c:formatCode>
                <c:ptCount val="2"/>
                <c:pt idx="0">
                  <c:v>0.20418896749404122</c:v>
                </c:pt>
                <c:pt idx="1">
                  <c:v>0.204188967494041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17.853661181524</c:v>
                </c:pt>
                <c:pt idx="1">
                  <c:v>917.853661181524</c:v>
                </c:pt>
              </c:numCache>
            </c:numRef>
          </c:xVal>
          <c:yVal>
            <c:numRef>
              <c:f>Sheet1!$B$167:$B$168</c:f>
              <c:numCache>
                <c:formatCode>General</c:formatCode>
                <c:ptCount val="2"/>
                <c:pt idx="0">
                  <c:v>0.204188967494041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6.953172780567</c:v>
                </c:pt>
              </c:numCache>
            </c:numRef>
          </c:xVal>
          <c:yVal>
            <c:numRef>
              <c:f>Sheet1!$B$171:$B$172</c:f>
              <c:numCache>
                <c:formatCode>General</c:formatCode>
                <c:ptCount val="2"/>
                <c:pt idx="0">
                  <c:v>0.17180243176923776</c:v>
                </c:pt>
                <c:pt idx="1">
                  <c:v>0.1718024317692377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6.953172780567</c:v>
                </c:pt>
                <c:pt idx="1">
                  <c:v>1096.953172780567</c:v>
                </c:pt>
              </c:numCache>
            </c:numRef>
          </c:xVal>
          <c:yVal>
            <c:numRef>
              <c:f>Sheet1!$B$175:$B$176</c:f>
              <c:numCache>
                <c:formatCode>General</c:formatCode>
                <c:ptCount val="2"/>
                <c:pt idx="0">
                  <c:v>0.171802431769237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98.219371822527</c:v>
                </c:pt>
              </c:numCache>
            </c:numRef>
          </c:xVal>
          <c:yVal>
            <c:numRef>
              <c:f>Sheet1!$B$179:$B$180</c:f>
              <c:numCache>
                <c:formatCode>General</c:formatCode>
                <c:ptCount val="2"/>
                <c:pt idx="0">
                  <c:v>0.15349048136967555</c:v>
                </c:pt>
                <c:pt idx="1">
                  <c:v>0.1534904813696755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98.219371822527</c:v>
                </c:pt>
                <c:pt idx="1">
                  <c:v>1198.219371822527</c:v>
                </c:pt>
              </c:numCache>
            </c:numRef>
          </c:xVal>
          <c:yVal>
            <c:numRef>
              <c:f>Sheet1!$B$183:$B$184</c:f>
              <c:numCache>
                <c:formatCode>General</c:formatCode>
                <c:ptCount val="2"/>
                <c:pt idx="0">
                  <c:v>0.153490481369675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63.7059</c:v>
                </c:pt>
                <c:pt idx="1">
                  <c:v>1164.446</c:v>
                </c:pt>
                <c:pt idx="2">
                  <c:v>1157.818</c:v>
                </c:pt>
                <c:pt idx="3">
                  <c:v>1177.4242</c:v>
                </c:pt>
                <c:pt idx="4">
                  <c:v>1168.3079</c:v>
                </c:pt>
                <c:pt idx="5">
                  <c:v>1183.8174</c:v>
                </c:pt>
                <c:pt idx="6">
                  <c:v>1119.6582</c:v>
                </c:pt>
                <c:pt idx="7">
                  <c:v>1136.6996</c:v>
                </c:pt>
                <c:pt idx="8">
                  <c:v>1204.0604</c:v>
                </c:pt>
                <c:pt idx="9">
                  <c:v>1142.6138</c:v>
                </c:pt>
                <c:pt idx="10">
                  <c:v>1161.5193</c:v>
                </c:pt>
                <c:pt idx="11">
                  <c:v>1093.1648</c:v>
                </c:pt>
                <c:pt idx="12">
                  <c:v>1114.1858</c:v>
                </c:pt>
                <c:pt idx="13">
                  <c:v>1133.4451</c:v>
                </c:pt>
                <c:pt idx="14">
                  <c:v>1157.0852</c:v>
                </c:pt>
                <c:pt idx="15">
                  <c:v>1166.4876</c:v>
                </c:pt>
                <c:pt idx="16">
                  <c:v>1180.1941</c:v>
                </c:pt>
                <c:pt idx="17">
                  <c:v>1159.8544</c:v>
                </c:pt>
                <c:pt idx="18">
                  <c:v>1130.6592</c:v>
                </c:pt>
                <c:pt idx="19">
                  <c:v>1198.172</c:v>
                </c:pt>
                <c:pt idx="20">
                  <c:v>1161.5629</c:v>
                </c:pt>
                <c:pt idx="21">
                  <c:v>1185.0671</c:v>
                </c:pt>
                <c:pt idx="22">
                  <c:v>1170.6061</c:v>
                </c:pt>
                <c:pt idx="23">
                  <c:v>1128.4268</c:v>
                </c:pt>
                <c:pt idx="24">
                  <c:v>1133.2159</c:v>
                </c:pt>
                <c:pt idx="25">
                  <c:v>1100.9002</c:v>
                </c:pt>
                <c:pt idx="26">
                  <c:v>1163.4706</c:v>
                </c:pt>
                <c:pt idx="27">
                  <c:v>1205.6455</c:v>
                </c:pt>
                <c:pt idx="28">
                  <c:v>1221.575</c:v>
                </c:pt>
                <c:pt idx="29">
                  <c:v>1221.8864</c:v>
                </c:pt>
                <c:pt idx="30">
                  <c:v>1221.5524</c:v>
                </c:pt>
                <c:pt idx="31">
                  <c:v>1131.664</c:v>
                </c:pt>
                <c:pt idx="32">
                  <c:v>1155.5517</c:v>
                </c:pt>
                <c:pt idx="33">
                  <c:v>1201.6145</c:v>
                </c:pt>
                <c:pt idx="34">
                  <c:v>1253.8698</c:v>
                </c:pt>
                <c:pt idx="35">
                  <c:v>1239.0244</c:v>
                </c:pt>
                <c:pt idx="36">
                  <c:v>1201.2271</c:v>
                </c:pt>
                <c:pt idx="37">
                  <c:v>1258.9395</c:v>
                </c:pt>
                <c:pt idx="38">
                  <c:v>1219.6602</c:v>
                </c:pt>
                <c:pt idx="39">
                  <c:v>1230.2412</c:v>
                </c:pt>
                <c:pt idx="40">
                  <c:v>1244.8039</c:v>
                </c:pt>
                <c:pt idx="41">
                  <c:v>1276.2091</c:v>
                </c:pt>
                <c:pt idx="42">
                  <c:v>1265.5872</c:v>
                </c:pt>
                <c:pt idx="43">
                  <c:v>1274.7125</c:v>
                </c:pt>
                <c:pt idx="44">
                  <c:v>1199.8527</c:v>
                </c:pt>
                <c:pt idx="45">
                  <c:v>1172.4964</c:v>
                </c:pt>
                <c:pt idx="46">
                  <c:v>1159.8599</c:v>
                </c:pt>
                <c:pt idx="47">
                  <c:v>1144.4188</c:v>
                </c:pt>
                <c:pt idx="48">
                  <c:v>1111.6808</c:v>
                </c:pt>
                <c:pt idx="49">
                  <c:v>1124.798</c:v>
                </c:pt>
                <c:pt idx="50">
                  <c:v>1042.0603</c:v>
                </c:pt>
                <c:pt idx="51">
                  <c:v>1015.9456</c:v>
                </c:pt>
                <c:pt idx="52">
                  <c:v>1096.953172780567</c:v>
                </c:pt>
                <c:pt idx="53">
                  <c:v>917.853661181524</c:v>
                </c:pt>
                <c:pt idx="54">
                  <c:v>1198.219371822527</c:v>
                </c:pt>
              </c:numCache>
            </c:numRef>
          </c:xVal>
          <c:yVal>
            <c:numRef>
              <c:f>Sheet1!$B$187:$B$241</c:f>
              <c:numCache>
                <c:formatCode>General</c:formatCode>
                <c:ptCount val="55"/>
                <c:pt idx="0">
                  <c:v>0.15973154689904265</c:v>
                </c:pt>
                <c:pt idx="1">
                  <c:v>0.1595977147357055</c:v>
                </c:pt>
                <c:pt idx="2">
                  <c:v>0.16079625490405927</c:v>
                </c:pt>
                <c:pt idx="3">
                  <c:v>0.1572508689280819</c:v>
                </c:pt>
                <c:pt idx="4">
                  <c:v>0.15889936798311563</c:v>
                </c:pt>
                <c:pt idx="5">
                  <c:v>0.15609478760576456</c:v>
                </c:pt>
                <c:pt idx="6">
                  <c:v>0.16769668536820329</c:v>
                </c:pt>
                <c:pt idx="7">
                  <c:v>0.16461509176153702</c:v>
                </c:pt>
                <c:pt idx="8">
                  <c:v>0.152434249188748</c:v>
                </c:pt>
                <c:pt idx="9">
                  <c:v>0.16354562793177269</c:v>
                </c:pt>
                <c:pt idx="10">
                  <c:v>0.16012694942350286</c:v>
                </c:pt>
                <c:pt idx="11">
                  <c:v>0.17248748260662577</c:v>
                </c:pt>
                <c:pt idx="12">
                  <c:v>0.16868625857539993</c:v>
                </c:pt>
                <c:pt idx="13">
                  <c:v>0.16520360247033417</c:v>
                </c:pt>
                <c:pt idx="14">
                  <c:v>0.16092876700957673</c:v>
                </c:pt>
                <c:pt idx="15">
                  <c:v>0.15922853253780098</c:v>
                </c:pt>
                <c:pt idx="16">
                  <c:v>0.1567499883589324</c:v>
                </c:pt>
                <c:pt idx="17">
                  <c:v>0.16042801302131401</c:v>
                </c:pt>
                <c:pt idx="18">
                  <c:v>0.16570737631689672</c:v>
                </c:pt>
                <c:pt idx="19">
                  <c:v>0.1534990476086838</c:v>
                </c:pt>
                <c:pt idx="20">
                  <c:v>0.16011906524255232</c:v>
                </c:pt>
                <c:pt idx="21">
                  <c:v>0.15586880455682192</c:v>
                </c:pt>
                <c:pt idx="22">
                  <c:v>0.15848378484869943</c:v>
                </c:pt>
                <c:pt idx="23">
                  <c:v>0.1661110608479518</c:v>
                </c:pt>
                <c:pt idx="24">
                  <c:v>0.16524504866927603</c:v>
                </c:pt>
                <c:pt idx="25">
                  <c:v>0.17108869147532163</c:v>
                </c:pt>
                <c:pt idx="26">
                  <c:v>0.1597740961599982</c:v>
                </c:pt>
                <c:pt idx="27">
                  <c:v>0.15214761581203443</c:v>
                </c:pt>
                <c:pt idx="28">
                  <c:v>0.1492670869025909</c:v>
                </c:pt>
                <c:pt idx="29">
                  <c:v>0.14921077649093953</c:v>
                </c:pt>
                <c:pt idx="30">
                  <c:v>0.14927117365693685</c:v>
                </c:pt>
                <c:pt idx="31">
                  <c:v>0.16552567849535751</c:v>
                </c:pt>
                <c:pt idx="32">
                  <c:v>0.16120606956663322</c:v>
                </c:pt>
                <c:pt idx="33">
                  <c:v>0.1528765408902834</c:v>
                </c:pt>
                <c:pt idx="34">
                  <c:v>0.14342722344016612</c:v>
                </c:pt>
                <c:pt idx="35">
                  <c:v>0.146111714721892</c:v>
                </c:pt>
                <c:pt idx="36">
                  <c:v>0.15294659436964672</c:v>
                </c:pt>
                <c:pt idx="37">
                  <c:v>0.14251047040885906</c:v>
                </c:pt>
                <c:pt idx="38">
                  <c:v>0.14961333987699704</c:v>
                </c:pt>
                <c:pt idx="39">
                  <c:v>0.14769997935778292</c:v>
                </c:pt>
                <c:pt idx="40">
                  <c:v>0.1450666086713487</c:v>
                </c:pt>
                <c:pt idx="41">
                  <c:v>0.1393876114330892</c:v>
                </c:pt>
                <c:pt idx="42">
                  <c:v>0.14130836789269047</c:v>
                </c:pt>
                <c:pt idx="43">
                  <c:v>0.13965824136911187</c:v>
                </c:pt>
                <c:pt idx="44">
                  <c:v>0.1531951268994273</c:v>
                </c:pt>
                <c:pt idx="45">
                  <c:v>0.15814196220533203</c:v>
                </c:pt>
                <c:pt idx="46">
                  <c:v>0.16042701845720328</c:v>
                </c:pt>
                <c:pt idx="47">
                  <c:v>0.1632192300736136</c:v>
                </c:pt>
                <c:pt idx="48">
                  <c:v>0.16913923732037972</c:v>
                </c:pt>
                <c:pt idx="49">
                  <c:v>0.16676725616523033</c:v>
                </c:pt>
                <c:pt idx="50">
                  <c:v>0.1817287010788098</c:v>
                </c:pt>
                <c:pt idx="51">
                  <c:v>0.18645101805746228</c:v>
                </c:pt>
                <c:pt idx="52">
                  <c:v>0.17180243176923776</c:v>
                </c:pt>
                <c:pt idx="53">
                  <c:v>0.20418896749404122</c:v>
                </c:pt>
                <c:pt idx="54">
                  <c:v>0.153490481369675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31.0"/>
          <c:min val="65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478484661313563"/>
          <c:min val="0.1031813953488372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83.6837</c:v>
                </c:pt>
                <c:pt idx="1">
                  <c:v>966.575</c:v>
                </c:pt>
                <c:pt idx="2">
                  <c:v>1004.1658</c:v>
                </c:pt>
                <c:pt idx="3">
                  <c:v>1025.9111</c:v>
                </c:pt>
                <c:pt idx="4">
                  <c:v>1038.8074</c:v>
                </c:pt>
                <c:pt idx="5">
                  <c:v>1044.8688</c:v>
                </c:pt>
                <c:pt idx="6">
                  <c:v>1014.7606</c:v>
                </c:pt>
                <c:pt idx="7">
                  <c:v>1035.9</c:v>
                </c:pt>
                <c:pt idx="8">
                  <c:v>1020.9862</c:v>
                </c:pt>
                <c:pt idx="9">
                  <c:v>983.7098</c:v>
                </c:pt>
                <c:pt idx="10">
                  <c:v>966.7723</c:v>
                </c:pt>
                <c:pt idx="11">
                  <c:v>986.2632</c:v>
                </c:pt>
                <c:pt idx="12">
                  <c:v>979.6116</c:v>
                </c:pt>
                <c:pt idx="13">
                  <c:v>969.0491</c:v>
                </c:pt>
                <c:pt idx="14">
                  <c:v>1017.9757</c:v>
                </c:pt>
                <c:pt idx="15">
                  <c:v>1022.9123</c:v>
                </c:pt>
                <c:pt idx="16">
                  <c:v>1027.0247</c:v>
                </c:pt>
                <c:pt idx="17">
                  <c:v>1046.7785</c:v>
                </c:pt>
                <c:pt idx="18">
                  <c:v>1082.9885</c:v>
                </c:pt>
                <c:pt idx="19">
                  <c:v>1112.702</c:v>
                </c:pt>
                <c:pt idx="20">
                  <c:v>1113.5595</c:v>
                </c:pt>
                <c:pt idx="21">
                  <c:v>1123.0637</c:v>
                </c:pt>
                <c:pt idx="22">
                  <c:v>1109.7099</c:v>
                </c:pt>
                <c:pt idx="23">
                  <c:v>1096.2532</c:v>
                </c:pt>
                <c:pt idx="24">
                  <c:v>1087.7789</c:v>
                </c:pt>
                <c:pt idx="25">
                  <c:v>1074.5479</c:v>
                </c:pt>
                <c:pt idx="26">
                  <c:v>1076.6063</c:v>
                </c:pt>
                <c:pt idx="27">
                  <c:v>1096.6786</c:v>
                </c:pt>
                <c:pt idx="28">
                  <c:v>1093.1422</c:v>
                </c:pt>
                <c:pt idx="29">
                  <c:v>999.1981</c:v>
                </c:pt>
                <c:pt idx="30">
                  <c:v>1041.2221</c:v>
                </c:pt>
                <c:pt idx="31">
                  <c:v>1043.179</c:v>
                </c:pt>
                <c:pt idx="32">
                  <c:v>1025.8911</c:v>
                </c:pt>
                <c:pt idx="33">
                  <c:v>959.0862</c:v>
                </c:pt>
                <c:pt idx="34">
                  <c:v>1036.0601</c:v>
                </c:pt>
                <c:pt idx="35">
                  <c:v>1102.8764</c:v>
                </c:pt>
                <c:pt idx="36">
                  <c:v>1176.0392</c:v>
                </c:pt>
                <c:pt idx="37">
                  <c:v>1175.9714</c:v>
                </c:pt>
                <c:pt idx="38">
                  <c:v>1225.3918</c:v>
                </c:pt>
                <c:pt idx="39">
                  <c:v>1244.9366</c:v>
                </c:pt>
                <c:pt idx="40">
                  <c:v>1278.2891</c:v>
                </c:pt>
                <c:pt idx="41">
                  <c:v>1300.506</c:v>
                </c:pt>
                <c:pt idx="42">
                  <c:v>1332.0198</c:v>
                </c:pt>
                <c:pt idx="43">
                  <c:v>1333.9435</c:v>
                </c:pt>
                <c:pt idx="44">
                  <c:v>1180.0243</c:v>
                </c:pt>
                <c:pt idx="45">
                  <c:v>1118.8867</c:v>
                </c:pt>
                <c:pt idx="46">
                  <c:v>1103.3498</c:v>
                </c:pt>
                <c:pt idx="47">
                  <c:v>1088.7106</c:v>
                </c:pt>
                <c:pt idx="48">
                  <c:v>1073.229</c:v>
                </c:pt>
                <c:pt idx="49">
                  <c:v>1047.2799</c:v>
                </c:pt>
                <c:pt idx="50">
                  <c:v>1065.2069</c:v>
                </c:pt>
                <c:pt idx="51">
                  <c:v>1086.4912</c:v>
                </c:pt>
                <c:pt idx="52">
                  <c:v>1088.2768</c:v>
                </c:pt>
                <c:pt idx="53">
                  <c:v>1179.5224</c:v>
                </c:pt>
                <c:pt idx="54">
                  <c:v>1186.0514</c:v>
                </c:pt>
                <c:pt idx="55">
                  <c:v>1197.8008</c:v>
                </c:pt>
                <c:pt idx="56">
                  <c:v>1224.728</c:v>
                </c:pt>
                <c:pt idx="57">
                  <c:v>1202.3301</c:v>
                </c:pt>
                <c:pt idx="58">
                  <c:v>1182.6987</c:v>
                </c:pt>
                <c:pt idx="59">
                  <c:v>1163.5995</c:v>
                </c:pt>
                <c:pt idx="60">
                  <c:v>1185.6169</c:v>
                </c:pt>
                <c:pt idx="61">
                  <c:v>1178.3637</c:v>
                </c:pt>
                <c:pt idx="62">
                  <c:v>1141.1633</c:v>
                </c:pt>
                <c:pt idx="63">
                  <c:v>1159.5331</c:v>
                </c:pt>
                <c:pt idx="64">
                  <c:v>1153.9833</c:v>
                </c:pt>
                <c:pt idx="65">
                  <c:v>1143.3808</c:v>
                </c:pt>
                <c:pt idx="66">
                  <c:v>1144.6878</c:v>
                </c:pt>
                <c:pt idx="67">
                  <c:v>1138.0805</c:v>
                </c:pt>
                <c:pt idx="68">
                  <c:v>1123.0104</c:v>
                </c:pt>
                <c:pt idx="69">
                  <c:v>1134.919</c:v>
                </c:pt>
                <c:pt idx="70">
                  <c:v>1121.3528</c:v>
                </c:pt>
                <c:pt idx="71">
                  <c:v>1158.9137</c:v>
                </c:pt>
                <c:pt idx="72">
                  <c:v>1204.4621</c:v>
                </c:pt>
                <c:pt idx="73">
                  <c:v>1202.6384</c:v>
                </c:pt>
                <c:pt idx="74">
                  <c:v>1150.7609</c:v>
                </c:pt>
                <c:pt idx="75">
                  <c:v>1145.2316</c:v>
                </c:pt>
                <c:pt idx="76">
                  <c:v>1153.8427</c:v>
                </c:pt>
                <c:pt idx="77">
                  <c:v>1128.7978</c:v>
                </c:pt>
                <c:pt idx="78">
                  <c:v>1203.9642</c:v>
                </c:pt>
                <c:pt idx="79">
                  <c:v>844.4785</c:v>
                </c:pt>
                <c:pt idx="80">
                  <c:v>854.282</c:v>
                </c:pt>
                <c:pt idx="81">
                  <c:v>1057.283</c:v>
                </c:pt>
                <c:pt idx="82">
                  <c:v>1067.2955</c:v>
                </c:pt>
                <c:pt idx="83">
                  <c:v>1074.5343</c:v>
                </c:pt>
                <c:pt idx="84">
                  <c:v>1080.6549</c:v>
                </c:pt>
                <c:pt idx="85">
                  <c:v>1106.9405</c:v>
                </c:pt>
                <c:pt idx="86">
                  <c:v>1214.7725</c:v>
                </c:pt>
                <c:pt idx="87">
                  <c:v>1247.265</c:v>
                </c:pt>
                <c:pt idx="88">
                  <c:v>1251.8316</c:v>
                </c:pt>
                <c:pt idx="89">
                  <c:v>1205.0642</c:v>
                </c:pt>
                <c:pt idx="90">
                  <c:v>1248.6367</c:v>
                </c:pt>
                <c:pt idx="91">
                  <c:v>1282.5477</c:v>
                </c:pt>
                <c:pt idx="92">
                  <c:v>1271.3538</c:v>
                </c:pt>
                <c:pt idx="93">
                  <c:v>1307.995</c:v>
                </c:pt>
                <c:pt idx="94">
                  <c:v>1301.7432</c:v>
                </c:pt>
                <c:pt idx="95">
                  <c:v>1299.1079</c:v>
                </c:pt>
                <c:pt idx="96">
                  <c:v>1213.9025</c:v>
                </c:pt>
                <c:pt idx="97">
                  <c:v>1238.7399</c:v>
                </c:pt>
                <c:pt idx="98">
                  <c:v>1218.5024</c:v>
                </c:pt>
                <c:pt idx="99">
                  <c:v>1181.5526</c:v>
                </c:pt>
                <c:pt idx="100">
                  <c:v>1169.6844</c:v>
                </c:pt>
                <c:pt idx="101">
                  <c:v>1229.0463</c:v>
                </c:pt>
                <c:pt idx="102">
                  <c:v>1274.6168</c:v>
                </c:pt>
                <c:pt idx="103">
                  <c:v>1129.6337</c:v>
                </c:pt>
                <c:pt idx="104">
                  <c:v>1199.132</c:v>
                </c:pt>
              </c:numCache>
            </c:numRef>
          </c:xVal>
          <c:yVal>
            <c:numRef>
              <c:f>Sheet1!$B$2:$B$106</c:f>
              <c:numCache>
                <c:formatCode>General</c:formatCode>
                <c:ptCount val="105"/>
                <c:pt idx="0">
                  <c:v>0.2142778451030076</c:v>
                </c:pt>
                <c:pt idx="1">
                  <c:v>0.2205680119581465</c:v>
                </c:pt>
                <c:pt idx="2">
                  <c:v>0.20282753182381436</c:v>
                </c:pt>
                <c:pt idx="3">
                  <c:v>0.20211971936109868</c:v>
                </c:pt>
                <c:pt idx="4">
                  <c:v>0.19169137371170408</c:v>
                </c:pt>
                <c:pt idx="5">
                  <c:v>0.1788611996522747</c:v>
                </c:pt>
                <c:pt idx="6">
                  <c:v>0.1940596137699412</c:v>
                </c:pt>
                <c:pt idx="7">
                  <c:v>0.18765172357986729</c:v>
                </c:pt>
                <c:pt idx="8">
                  <c:v>0.2003025337199042</c:v>
                </c:pt>
                <c:pt idx="9">
                  <c:v>0.19964681025511652</c:v>
                </c:pt>
                <c:pt idx="10">
                  <c:v>0.21146317592366037</c:v>
                </c:pt>
                <c:pt idx="11">
                  <c:v>0.20691998764287922</c:v>
                </c:pt>
                <c:pt idx="12">
                  <c:v>0.2121600091043587</c:v>
                </c:pt>
                <c:pt idx="13">
                  <c:v>0.21832690755850445</c:v>
                </c:pt>
                <c:pt idx="14">
                  <c:v>0.21323685246298707</c:v>
                </c:pt>
                <c:pt idx="15">
                  <c:v>0.21025421613719827</c:v>
                </c:pt>
                <c:pt idx="16">
                  <c:v>0.19590357520970764</c:v>
                </c:pt>
                <c:pt idx="17">
                  <c:v>0.19084721475909008</c:v>
                </c:pt>
                <c:pt idx="18">
                  <c:v>0.17428241089830593</c:v>
                </c:pt>
                <c:pt idx="19">
                  <c:v>0.15911344415281423</c:v>
                </c:pt>
                <c:pt idx="20">
                  <c:v>0.17342784616121462</c:v>
                </c:pt>
                <c:pt idx="21">
                  <c:v>0.1697351229362157</c:v>
                </c:pt>
                <c:pt idx="22">
                  <c:v>0.16864132036545829</c:v>
                </c:pt>
                <c:pt idx="23">
                  <c:v>0.16985230234578627</c:v>
                </c:pt>
                <c:pt idx="24">
                  <c:v>0.17376209447922594</c:v>
                </c:pt>
                <c:pt idx="25">
                  <c:v>0.17251215559157212</c:v>
                </c:pt>
                <c:pt idx="26">
                  <c:v>0.17551114174132781</c:v>
                </c:pt>
                <c:pt idx="27">
                  <c:v>0.16991130696714454</c:v>
                </c:pt>
                <c:pt idx="28">
                  <c:v>0.16685584562996594</c:v>
                </c:pt>
                <c:pt idx="29">
                  <c:v>0.18139695371420123</c:v>
                </c:pt>
                <c:pt idx="30">
                  <c:v>0.16671959352175295</c:v>
                </c:pt>
                <c:pt idx="31">
                  <c:v>0.1619269428781564</c:v>
                </c:pt>
                <c:pt idx="32">
                  <c:v>0.17044424297370808</c:v>
                </c:pt>
                <c:pt idx="33">
                  <c:v>0.1885484873106151</c:v>
                </c:pt>
                <c:pt idx="34">
                  <c:v>0.18400170648464165</c:v>
                </c:pt>
                <c:pt idx="35">
                  <c:v>0.1867177033492823</c:v>
                </c:pt>
                <c:pt idx="36">
                  <c:v>0.15092002018996925</c:v>
                </c:pt>
                <c:pt idx="37">
                  <c:v>0.13891682990100057</c:v>
                </c:pt>
                <c:pt idx="38">
                  <c:v>0.13205435651478817</c:v>
                </c:pt>
                <c:pt idx="39">
                  <c:v>0.13110424276482158</c:v>
                </c:pt>
                <c:pt idx="40">
                  <c:v>0.13415972921050223</c:v>
                </c:pt>
                <c:pt idx="41">
                  <c:v>0.12268412770925334</c:v>
                </c:pt>
                <c:pt idx="42">
                  <c:v>0.12946893439777854</c:v>
                </c:pt>
                <c:pt idx="43">
                  <c:v>0.13465698393077874</c:v>
                </c:pt>
                <c:pt idx="44">
                  <c:v>0.1520209077265435</c:v>
                </c:pt>
                <c:pt idx="45">
                  <c:v>0.17098201675925054</c:v>
                </c:pt>
                <c:pt idx="46">
                  <c:v>0.1779121432824882</c:v>
                </c:pt>
                <c:pt idx="47">
                  <c:v>0.17797305213825423</c:v>
                </c:pt>
                <c:pt idx="48">
                  <c:v>0.19519969998124884</c:v>
                </c:pt>
                <c:pt idx="49">
                  <c:v>0.22485192969048529</c:v>
                </c:pt>
                <c:pt idx="50">
                  <c:v>0.18717832957110608</c:v>
                </c:pt>
                <c:pt idx="51">
                  <c:v>0.17017403535868936</c:v>
                </c:pt>
                <c:pt idx="52">
                  <c:v>0.18587524683470785</c:v>
                </c:pt>
                <c:pt idx="53">
                  <c:v>0.17409405418083734</c:v>
                </c:pt>
                <c:pt idx="54">
                  <c:v>0.16918866709594332</c:v>
                </c:pt>
                <c:pt idx="55">
                  <c:v>0.16388502549837738</c:v>
                </c:pt>
                <c:pt idx="56">
                  <c:v>0.17452272343301234</c:v>
                </c:pt>
                <c:pt idx="57">
                  <c:v>0.16809585679226216</c:v>
                </c:pt>
                <c:pt idx="58">
                  <c:v>0.18187869428617073</c:v>
                </c:pt>
                <c:pt idx="59">
                  <c:v>0.18989330478919927</c:v>
                </c:pt>
                <c:pt idx="60">
                  <c:v>0.19817356799756983</c:v>
                </c:pt>
                <c:pt idx="61">
                  <c:v>0.19613014414038019</c:v>
                </c:pt>
                <c:pt idx="62">
                  <c:v>0.2017100956537183</c:v>
                </c:pt>
                <c:pt idx="63">
                  <c:v>0.21835377499597303</c:v>
                </c:pt>
                <c:pt idx="64">
                  <c:v>0.2085806799784134</c:v>
                </c:pt>
                <c:pt idx="65">
                  <c:v>0.1998825371965544</c:v>
                </c:pt>
                <c:pt idx="66">
                  <c:v>0.1973831585378271</c:v>
                </c:pt>
                <c:pt idx="67">
                  <c:v>0.19430203994446224</c:v>
                </c:pt>
                <c:pt idx="68">
                  <c:v>0.17686881148967132</c:v>
                </c:pt>
                <c:pt idx="69">
                  <c:v>0.16319170984455958</c:v>
                </c:pt>
                <c:pt idx="70">
                  <c:v>0.1533490937746257</c:v>
                </c:pt>
                <c:pt idx="71">
                  <c:v>0.16064874093043108</c:v>
                </c:pt>
                <c:pt idx="72">
                  <c:v>0.1608600759841565</c:v>
                </c:pt>
                <c:pt idx="73">
                  <c:v>0.16387831072696932</c:v>
                </c:pt>
                <c:pt idx="74">
                  <c:v>0.16418766646179062</c:v>
                </c:pt>
                <c:pt idx="75">
                  <c:v>0.16404559226662818</c:v>
                </c:pt>
                <c:pt idx="76">
                  <c:v>0.1593002315410342</c:v>
                </c:pt>
                <c:pt idx="77">
                  <c:v>0.15677497498551793</c:v>
                </c:pt>
                <c:pt idx="78">
                  <c:v>0.1476671759313668</c:v>
                </c:pt>
                <c:pt idx="79">
                  <c:v>0.1968398223691005</c:v>
                </c:pt>
                <c:pt idx="80">
                  <c:v>0.18245957359151302</c:v>
                </c:pt>
                <c:pt idx="81">
                  <c:v>0.1518782525036078</c:v>
                </c:pt>
                <c:pt idx="82">
                  <c:v>0.1534860108303249</c:v>
                </c:pt>
                <c:pt idx="83">
                  <c:v>0.1381531383503122</c:v>
                </c:pt>
                <c:pt idx="84">
                  <c:v>0.13925314517739465</c:v>
                </c:pt>
                <c:pt idx="85">
                  <c:v>0.14105925537493444</c:v>
                </c:pt>
                <c:pt idx="86">
                  <c:v>0.13826324124582087</c:v>
                </c:pt>
                <c:pt idx="87">
                  <c:v>0.1598108549190275</c:v>
                </c:pt>
                <c:pt idx="88">
                  <c:v>0.1421685470628741</c:v>
                </c:pt>
                <c:pt idx="89">
                  <c:v>0.13221375807940905</c:v>
                </c:pt>
                <c:pt idx="90">
                  <c:v>0.1263700456188163</c:v>
                </c:pt>
                <c:pt idx="91">
                  <c:v>0.1283997469955724</c:v>
                </c:pt>
                <c:pt idx="92">
                  <c:v>0.13316432357686103</c:v>
                </c:pt>
                <c:pt idx="93">
                  <c:v>0.12460783880517874</c:v>
                </c:pt>
                <c:pt idx="94">
                  <c:v>0.1268574297188755</c:v>
                </c:pt>
                <c:pt idx="95">
                  <c:v>0.1355782337987695</c:v>
                </c:pt>
                <c:pt idx="96">
                  <c:v>0.13646737847267768</c:v>
                </c:pt>
                <c:pt idx="97">
                  <c:v>0.14375402446877011</c:v>
                </c:pt>
                <c:pt idx="98">
                  <c:v>0.1603094530735948</c:v>
                </c:pt>
                <c:pt idx="99">
                  <c:v>0.1650910727889743</c:v>
                </c:pt>
                <c:pt idx="100">
                  <c:v>0.187766499377382</c:v>
                </c:pt>
                <c:pt idx="101">
                  <c:v>0.16697459082313562</c:v>
                </c:pt>
                <c:pt idx="102">
                  <c:v>0.13658866495333424</c:v>
                </c:pt>
                <c:pt idx="103">
                  <c:v>0.1561864579097194</c:v>
                </c:pt>
                <c:pt idx="104">
                  <c:v>0.1626277200318011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89.1485</c:v>
                </c:pt>
                <c:pt idx="1">
                  <c:v>1277.3865</c:v>
                </c:pt>
                <c:pt idx="2">
                  <c:v>1273.6823</c:v>
                </c:pt>
                <c:pt idx="3">
                  <c:v>1298.6464</c:v>
                </c:pt>
                <c:pt idx="4">
                  <c:v>1291.9987</c:v>
                </c:pt>
                <c:pt idx="5">
                  <c:v>1302.7866</c:v>
                </c:pt>
                <c:pt idx="6">
                  <c:v>1217.0758</c:v>
                </c:pt>
                <c:pt idx="7">
                  <c:v>1261.2448</c:v>
                </c:pt>
                <c:pt idx="8">
                  <c:v>1350.3314</c:v>
                </c:pt>
                <c:pt idx="9">
                  <c:v>1283.2539</c:v>
                </c:pt>
                <c:pt idx="10">
                  <c:v>1300.3694</c:v>
                </c:pt>
                <c:pt idx="11">
                  <c:v>1194.7889</c:v>
                </c:pt>
                <c:pt idx="12">
                  <c:v>1226.0023</c:v>
                </c:pt>
                <c:pt idx="13">
                  <c:v>1263.4925</c:v>
                </c:pt>
                <c:pt idx="14">
                  <c:v>1281.2528</c:v>
                </c:pt>
                <c:pt idx="15">
                  <c:v>1293.7433</c:v>
                </c:pt>
                <c:pt idx="16">
                  <c:v>1344.2262</c:v>
                </c:pt>
                <c:pt idx="17">
                  <c:v>1311.0765</c:v>
                </c:pt>
                <c:pt idx="18">
                  <c:v>1291.311</c:v>
                </c:pt>
                <c:pt idx="19">
                  <c:v>1369.1164</c:v>
                </c:pt>
                <c:pt idx="20">
                  <c:v>1362.5536</c:v>
                </c:pt>
                <c:pt idx="21">
                  <c:v>1304.7745</c:v>
                </c:pt>
                <c:pt idx="22">
                  <c:v>1272.8464</c:v>
                </c:pt>
                <c:pt idx="23">
                  <c:v>1213.0493</c:v>
                </c:pt>
                <c:pt idx="24">
                  <c:v>1213.6513</c:v>
                </c:pt>
                <c:pt idx="25">
                  <c:v>1173.9889</c:v>
                </c:pt>
                <c:pt idx="26">
                  <c:v>1237.3615</c:v>
                </c:pt>
                <c:pt idx="27">
                  <c:v>1304.4165</c:v>
                </c:pt>
                <c:pt idx="28">
                  <c:v>1313.4517</c:v>
                </c:pt>
                <c:pt idx="29">
                  <c:v>1320.4635</c:v>
                </c:pt>
                <c:pt idx="30">
                  <c:v>1289.4538</c:v>
                </c:pt>
                <c:pt idx="31">
                  <c:v>1206.2033</c:v>
                </c:pt>
                <c:pt idx="32">
                  <c:v>1235.4929</c:v>
                </c:pt>
                <c:pt idx="33">
                  <c:v>1281.1298</c:v>
                </c:pt>
                <c:pt idx="34">
                  <c:v>1329.4689</c:v>
                </c:pt>
                <c:pt idx="35">
                  <c:v>1320.2048</c:v>
                </c:pt>
                <c:pt idx="36">
                  <c:v>1301.1641</c:v>
                </c:pt>
                <c:pt idx="37">
                  <c:v>1379.0232</c:v>
                </c:pt>
                <c:pt idx="38">
                  <c:v>1345.6929</c:v>
                </c:pt>
                <c:pt idx="39">
                  <c:v>1335.854</c:v>
                </c:pt>
                <c:pt idx="40">
                  <c:v>1359.9946</c:v>
                </c:pt>
                <c:pt idx="41">
                  <c:v>1422.396</c:v>
                </c:pt>
                <c:pt idx="42">
                  <c:v>1414.5484</c:v>
                </c:pt>
                <c:pt idx="43">
                  <c:v>1403.9832</c:v>
                </c:pt>
                <c:pt idx="44">
                  <c:v>1350.7285</c:v>
                </c:pt>
                <c:pt idx="45">
                  <c:v>1302.4134</c:v>
                </c:pt>
                <c:pt idx="46">
                  <c:v>1290.6627</c:v>
                </c:pt>
                <c:pt idx="47">
                  <c:v>1274.9266</c:v>
                </c:pt>
                <c:pt idx="48">
                  <c:v>1247.5038</c:v>
                </c:pt>
                <c:pt idx="49">
                  <c:v>1246.6658</c:v>
                </c:pt>
                <c:pt idx="50">
                  <c:v>1140.37</c:v>
                </c:pt>
                <c:pt idx="51">
                  <c:v>1134.4892</c:v>
                </c:pt>
              </c:numCache>
            </c:numRef>
          </c:xVal>
          <c:yVal>
            <c:numRef>
              <c:f>Sheet1!$B$109:$B$160</c:f>
              <c:numCache>
                <c:formatCode>General</c:formatCode>
                <c:ptCount val="52"/>
                <c:pt idx="0">
                  <c:v>0.16040167543765438</c:v>
                </c:pt>
                <c:pt idx="1">
                  <c:v>0.15992835209825998</c:v>
                </c:pt>
                <c:pt idx="2">
                  <c:v>0.16559407829471168</c:v>
                </c:pt>
                <c:pt idx="3">
                  <c:v>0.17334733498962682</c:v>
                </c:pt>
                <c:pt idx="4">
                  <c:v>0.16208893375126177</c:v>
                </c:pt>
                <c:pt idx="5">
                  <c:v>0.1579523313849521</c:v>
                </c:pt>
                <c:pt idx="6">
                  <c:v>0.1637794880794204</c:v>
                </c:pt>
                <c:pt idx="7">
                  <c:v>0.1598297346469397</c:v>
                </c:pt>
                <c:pt idx="8">
                  <c:v>0.1574814925596351</c:v>
                </c:pt>
                <c:pt idx="9">
                  <c:v>0.17102553542009885</c:v>
                </c:pt>
                <c:pt idx="10">
                  <c:v>0.17266281945589448</c:v>
                </c:pt>
                <c:pt idx="11">
                  <c:v>0.18469012799329207</c:v>
                </c:pt>
                <c:pt idx="12">
                  <c:v>0.18230292144921842</c:v>
                </c:pt>
                <c:pt idx="13">
                  <c:v>0.175229949030406</c:v>
                </c:pt>
                <c:pt idx="14">
                  <c:v>0.17554748046435348</c:v>
                </c:pt>
                <c:pt idx="15">
                  <c:v>0.16581571462837955</c:v>
                </c:pt>
                <c:pt idx="16">
                  <c:v>0.15111955059735738</c:v>
                </c:pt>
                <c:pt idx="17">
                  <c:v>0.14014261572070402</c:v>
                </c:pt>
                <c:pt idx="18">
                  <c:v>0.1380020080321285</c:v>
                </c:pt>
                <c:pt idx="19">
                  <c:v>0.14464501721410628</c:v>
                </c:pt>
                <c:pt idx="20">
                  <c:v>0.13492798353909466</c:v>
                </c:pt>
                <c:pt idx="21">
                  <c:v>0.1413894631334962</c:v>
                </c:pt>
                <c:pt idx="22">
                  <c:v>0.14566416661501272</c:v>
                </c:pt>
                <c:pt idx="23">
                  <c:v>0.1564376461664876</c:v>
                </c:pt>
                <c:pt idx="24">
                  <c:v>0.15555555555555556</c:v>
                </c:pt>
                <c:pt idx="25">
                  <c:v>0.1654601226993865</c:v>
                </c:pt>
                <c:pt idx="26">
                  <c:v>0.1456434666511871</c:v>
                </c:pt>
                <c:pt idx="27">
                  <c:v>0.13291741567093157</c:v>
                </c:pt>
                <c:pt idx="28">
                  <c:v>0.13304128374839294</c:v>
                </c:pt>
                <c:pt idx="29">
                  <c:v>0.13296987087517934</c:v>
                </c:pt>
                <c:pt idx="30">
                  <c:v>0.14351190476190476</c:v>
                </c:pt>
                <c:pt idx="31">
                  <c:v>0.13922744566969755</c:v>
                </c:pt>
                <c:pt idx="32">
                  <c:v>0.13890773405698778</c:v>
                </c:pt>
                <c:pt idx="33">
                  <c:v>0.1622480436329144</c:v>
                </c:pt>
                <c:pt idx="34">
                  <c:v>0.18219346201048756</c:v>
                </c:pt>
                <c:pt idx="35">
                  <c:v>0.1784835607246701</c:v>
                </c:pt>
                <c:pt idx="36">
                  <c:v>0.14671599078662664</c:v>
                </c:pt>
                <c:pt idx="37">
                  <c:v>0.13493900531748515</c:v>
                </c:pt>
                <c:pt idx="38">
                  <c:v>0.13711087792934593</c:v>
                </c:pt>
                <c:pt idx="39">
                  <c:v>0.15427748340964043</c:v>
                </c:pt>
                <c:pt idx="40">
                  <c:v>0.1372841717669304</c:v>
                </c:pt>
                <c:pt idx="41">
                  <c:v>0.13758057685973746</c:v>
                </c:pt>
                <c:pt idx="42">
                  <c:v>0.1349878293999365</c:v>
                </c:pt>
                <c:pt idx="43">
                  <c:v>0.13301232665639445</c:v>
                </c:pt>
                <c:pt idx="44">
                  <c:v>0.12827739075364156</c:v>
                </c:pt>
                <c:pt idx="45">
                  <c:v>0.1462760865403025</c:v>
                </c:pt>
                <c:pt idx="46">
                  <c:v>0.13967025089605734</c:v>
                </c:pt>
                <c:pt idx="47">
                  <c:v>0.1424847491333208</c:v>
                </c:pt>
                <c:pt idx="48">
                  <c:v>0.1344111373077355</c:v>
                </c:pt>
                <c:pt idx="49">
                  <c:v>0.14949840959138733</c:v>
                </c:pt>
                <c:pt idx="50">
                  <c:v>0.18617374229805675</c:v>
                </c:pt>
                <c:pt idx="51">
                  <c:v>0.1664974858950449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7.477139109905</c:v>
                </c:pt>
              </c:numCache>
            </c:numRef>
          </c:xVal>
          <c:yVal>
            <c:numRef>
              <c:f>Sheet1!$B$163:$B$164</c:f>
              <c:numCache>
                <c:formatCode>General</c:formatCode>
                <c:ptCount val="2"/>
                <c:pt idx="0">
                  <c:v>0.19915106140886207</c:v>
                </c:pt>
                <c:pt idx="1">
                  <c:v>0.1991510614088620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7.477139109905</c:v>
                </c:pt>
                <c:pt idx="1">
                  <c:v>927.477139109905</c:v>
                </c:pt>
              </c:numCache>
            </c:numRef>
          </c:xVal>
          <c:yVal>
            <c:numRef>
              <c:f>Sheet1!$B$167:$B$168</c:f>
              <c:numCache>
                <c:formatCode>General</c:formatCode>
                <c:ptCount val="2"/>
                <c:pt idx="0">
                  <c:v>0.1991510614088620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17.1489016871951</c:v>
                </c:pt>
              </c:numCache>
            </c:numRef>
          </c:xVal>
          <c:yVal>
            <c:numRef>
              <c:f>Sheet1!$B$171:$B$172</c:f>
              <c:numCache>
                <c:formatCode>General</c:formatCode>
                <c:ptCount val="2"/>
                <c:pt idx="0">
                  <c:v>0.16226704680471798</c:v>
                </c:pt>
                <c:pt idx="1">
                  <c:v>0.1622670468047179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17.1489016871951</c:v>
                </c:pt>
                <c:pt idx="1">
                  <c:v>1217.1489016871951</c:v>
                </c:pt>
              </c:numCache>
            </c:numRef>
          </c:xVal>
          <c:yVal>
            <c:numRef>
              <c:f>Sheet1!$B$175:$B$176</c:f>
              <c:numCache>
                <c:formatCode>General</c:formatCode>
                <c:ptCount val="2"/>
                <c:pt idx="0">
                  <c:v>0.1622670468047179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49.4757569195986</c:v>
                </c:pt>
              </c:numCache>
            </c:numRef>
          </c:xVal>
          <c:yVal>
            <c:numRef>
              <c:f>Sheet1!$B$179:$B$180</c:f>
              <c:numCache>
                <c:formatCode>General</c:formatCode>
                <c:ptCount val="2"/>
                <c:pt idx="0">
                  <c:v>0.14541781850062968</c:v>
                </c:pt>
                <c:pt idx="1">
                  <c:v>0.1454178185006296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49.4757569195986</c:v>
                </c:pt>
                <c:pt idx="1">
                  <c:v>1349.4757569195986</c:v>
                </c:pt>
              </c:numCache>
            </c:numRef>
          </c:xVal>
          <c:yVal>
            <c:numRef>
              <c:f>Sheet1!$B$183:$B$184</c:f>
              <c:numCache>
                <c:formatCode>General</c:formatCode>
                <c:ptCount val="2"/>
                <c:pt idx="0">
                  <c:v>0.1454178185006296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89.1485</c:v>
                </c:pt>
                <c:pt idx="1">
                  <c:v>1277.3865</c:v>
                </c:pt>
                <c:pt idx="2">
                  <c:v>1273.6823</c:v>
                </c:pt>
                <c:pt idx="3">
                  <c:v>1298.6464</c:v>
                </c:pt>
                <c:pt idx="4">
                  <c:v>1291.9987</c:v>
                </c:pt>
                <c:pt idx="5">
                  <c:v>1302.7866</c:v>
                </c:pt>
                <c:pt idx="6">
                  <c:v>1217.0758</c:v>
                </c:pt>
                <c:pt idx="7">
                  <c:v>1261.2448</c:v>
                </c:pt>
                <c:pt idx="8">
                  <c:v>1350.3314</c:v>
                </c:pt>
                <c:pt idx="9">
                  <c:v>1283.2539</c:v>
                </c:pt>
                <c:pt idx="10">
                  <c:v>1300.3694</c:v>
                </c:pt>
                <c:pt idx="11">
                  <c:v>1194.7889</c:v>
                </c:pt>
                <c:pt idx="12">
                  <c:v>1226.0023</c:v>
                </c:pt>
                <c:pt idx="13">
                  <c:v>1263.4925</c:v>
                </c:pt>
                <c:pt idx="14">
                  <c:v>1281.2528</c:v>
                </c:pt>
                <c:pt idx="15">
                  <c:v>1293.7433</c:v>
                </c:pt>
                <c:pt idx="16">
                  <c:v>1344.2262</c:v>
                </c:pt>
                <c:pt idx="17">
                  <c:v>1311.0765</c:v>
                </c:pt>
                <c:pt idx="18">
                  <c:v>1291.311</c:v>
                </c:pt>
                <c:pt idx="19">
                  <c:v>1369.1164</c:v>
                </c:pt>
                <c:pt idx="20">
                  <c:v>1362.5536</c:v>
                </c:pt>
                <c:pt idx="21">
                  <c:v>1304.7745</c:v>
                </c:pt>
                <c:pt idx="22">
                  <c:v>1272.8464</c:v>
                </c:pt>
                <c:pt idx="23">
                  <c:v>1213.0493</c:v>
                </c:pt>
                <c:pt idx="24">
                  <c:v>1213.6513</c:v>
                </c:pt>
                <c:pt idx="25">
                  <c:v>1173.9889</c:v>
                </c:pt>
                <c:pt idx="26">
                  <c:v>1237.3615</c:v>
                </c:pt>
                <c:pt idx="27">
                  <c:v>1304.4165</c:v>
                </c:pt>
                <c:pt idx="28">
                  <c:v>1313.4517</c:v>
                </c:pt>
                <c:pt idx="29">
                  <c:v>1320.4635</c:v>
                </c:pt>
                <c:pt idx="30">
                  <c:v>1289.4538</c:v>
                </c:pt>
                <c:pt idx="31">
                  <c:v>1206.2033</c:v>
                </c:pt>
                <c:pt idx="32">
                  <c:v>1235.4929</c:v>
                </c:pt>
                <c:pt idx="33">
                  <c:v>1281.1298</c:v>
                </c:pt>
                <c:pt idx="34">
                  <c:v>1329.4689</c:v>
                </c:pt>
                <c:pt idx="35">
                  <c:v>1320.2048</c:v>
                </c:pt>
                <c:pt idx="36">
                  <c:v>1301.1641</c:v>
                </c:pt>
                <c:pt idx="37">
                  <c:v>1379.0232</c:v>
                </c:pt>
                <c:pt idx="38">
                  <c:v>1345.6929</c:v>
                </c:pt>
                <c:pt idx="39">
                  <c:v>1335.854</c:v>
                </c:pt>
                <c:pt idx="40">
                  <c:v>1359.9946</c:v>
                </c:pt>
                <c:pt idx="41">
                  <c:v>1422.396</c:v>
                </c:pt>
                <c:pt idx="42">
                  <c:v>1414.5484</c:v>
                </c:pt>
                <c:pt idx="43">
                  <c:v>1403.9832</c:v>
                </c:pt>
                <c:pt idx="44">
                  <c:v>1350.7285</c:v>
                </c:pt>
                <c:pt idx="45">
                  <c:v>1302.4134</c:v>
                </c:pt>
                <c:pt idx="46">
                  <c:v>1290.6627</c:v>
                </c:pt>
                <c:pt idx="47">
                  <c:v>1274.9266</c:v>
                </c:pt>
                <c:pt idx="48">
                  <c:v>1247.5038</c:v>
                </c:pt>
                <c:pt idx="49">
                  <c:v>1246.6658</c:v>
                </c:pt>
                <c:pt idx="50">
                  <c:v>1140.37</c:v>
                </c:pt>
                <c:pt idx="51">
                  <c:v>1134.4892</c:v>
                </c:pt>
                <c:pt idx="52">
                  <c:v>1217.1489016871951</c:v>
                </c:pt>
                <c:pt idx="53">
                  <c:v>927.477139109905</c:v>
                </c:pt>
                <c:pt idx="54">
                  <c:v>1349.4757569195986</c:v>
                </c:pt>
              </c:numCache>
            </c:numRef>
          </c:xVal>
          <c:yVal>
            <c:numRef>
              <c:f>Sheet1!$B$187:$B$241</c:f>
              <c:numCache>
                <c:formatCode>General</c:formatCode>
                <c:ptCount val="55"/>
                <c:pt idx="0">
                  <c:v>0.15309931084027986</c:v>
                </c:pt>
                <c:pt idx="1">
                  <c:v>0.15459697072923154</c:v>
                </c:pt>
                <c:pt idx="2">
                  <c:v>0.1550686279100388</c:v>
                </c:pt>
                <c:pt idx="3">
                  <c:v>0.15188993965686937</c:v>
                </c:pt>
                <c:pt idx="4">
                  <c:v>0.15273639380104417</c:v>
                </c:pt>
                <c:pt idx="5">
                  <c:v>0.15136276643188745</c:v>
                </c:pt>
                <c:pt idx="6">
                  <c:v>0.1622763548700748</c:v>
                </c:pt>
                <c:pt idx="7">
                  <c:v>0.15665229946834833</c:v>
                </c:pt>
                <c:pt idx="8">
                  <c:v>0.1453088691450119</c:v>
                </c:pt>
                <c:pt idx="9">
                  <c:v>0.15384987247787676</c:v>
                </c:pt>
                <c:pt idx="10">
                  <c:v>0.15167054941807803</c:v>
                </c:pt>
                <c:pt idx="11">
                  <c:v>0.16511415423915127</c:v>
                </c:pt>
                <c:pt idx="12">
                  <c:v>0.16113974026382355</c:v>
                </c:pt>
                <c:pt idx="13">
                  <c:v>0.1563660989809825</c:v>
                </c:pt>
                <c:pt idx="14">
                  <c:v>0.15410467329438596</c:v>
                </c:pt>
                <c:pt idx="15">
                  <c:v>0.15251425322611942</c:v>
                </c:pt>
                <c:pt idx="16">
                  <c:v>0.14608624655990968</c:v>
                </c:pt>
                <c:pt idx="17">
                  <c:v>0.15030721034334632</c:v>
                </c:pt>
                <c:pt idx="18">
                  <c:v>0.15282395890099593</c:v>
                </c:pt>
                <c:pt idx="19">
                  <c:v>0.14291696802156711</c:v>
                </c:pt>
                <c:pt idx="20">
                  <c:v>0.14375261181677307</c:v>
                </c:pt>
                <c:pt idx="21">
                  <c:v>0.15110964637634866</c:v>
                </c:pt>
                <c:pt idx="22">
                  <c:v>0.15517506337179487</c:v>
                </c:pt>
                <c:pt idx="23">
                  <c:v>0.16278905063124333</c:v>
                </c:pt>
                <c:pt idx="24">
                  <c:v>0.16271239774456173</c:v>
                </c:pt>
                <c:pt idx="25">
                  <c:v>0.16776262607133924</c:v>
                </c:pt>
                <c:pt idx="26">
                  <c:v>0.1596933690505452</c:v>
                </c:pt>
                <c:pt idx="27">
                  <c:v>0.15115523065115266</c:v>
                </c:pt>
                <c:pt idx="28">
                  <c:v>0.15000477523297068</c:v>
                </c:pt>
                <c:pt idx="29">
                  <c:v>0.14911196009869493</c:v>
                </c:pt>
                <c:pt idx="30">
                  <c:v>0.15306043687631993</c:v>
                </c:pt>
                <c:pt idx="31">
                  <c:v>0.1636607543890875</c:v>
                </c:pt>
                <c:pt idx="32">
                  <c:v>0.15993129859216187</c:v>
                </c:pt>
                <c:pt idx="33">
                  <c:v>0.15412033493070132</c:v>
                </c:pt>
                <c:pt idx="34">
                  <c:v>0.14796529912573408</c:v>
                </c:pt>
                <c:pt idx="35">
                  <c:v>0.1491449004671078</c:v>
                </c:pt>
                <c:pt idx="36">
                  <c:v>0.15156935996783574</c:v>
                </c:pt>
                <c:pt idx="37">
                  <c:v>0.14165553144718634</c:v>
                </c:pt>
                <c:pt idx="38">
                  <c:v>0.14589949109662748</c:v>
                </c:pt>
                <c:pt idx="39">
                  <c:v>0.14715228193844065</c:v>
                </c:pt>
                <c:pt idx="40">
                  <c:v>0.1440784502503581</c:v>
                </c:pt>
                <c:pt idx="41">
                  <c:v>0.136132856491267</c:v>
                </c:pt>
                <c:pt idx="42">
                  <c:v>0.13713209435426116</c:v>
                </c:pt>
                <c:pt idx="43">
                  <c:v>0.1384773652485608</c:v>
                </c:pt>
                <c:pt idx="44">
                  <c:v>0.1452583062524849</c:v>
                </c:pt>
                <c:pt idx="45">
                  <c:v>0.15141028612841498</c:v>
                </c:pt>
                <c:pt idx="46">
                  <c:v>0.15290650718411164</c:v>
                </c:pt>
                <c:pt idx="47">
                  <c:v>0.15491019072250076</c:v>
                </c:pt>
                <c:pt idx="48">
                  <c:v>0.1584019461724875</c:v>
                </c:pt>
                <c:pt idx="49">
                  <c:v>0.1585086490280343</c:v>
                </c:pt>
                <c:pt idx="50">
                  <c:v>0.17204333326745197</c:v>
                </c:pt>
                <c:pt idx="51">
                  <c:v>0.17279213774585248</c:v>
                </c:pt>
                <c:pt idx="52">
                  <c:v>0.16226704680471798</c:v>
                </c:pt>
                <c:pt idx="53">
                  <c:v>0.19915106140886207</c:v>
                </c:pt>
                <c:pt idx="54">
                  <c:v>0.1454178185006296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7.0"/>
          <c:min val="67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982231562858233"/>
          <c:min val="0.0981473021674026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3408172584492064</c:v>
                </c:pt>
                <c:pt idx="1">
                  <c:v>4.482446509231825</c:v>
                </c:pt>
                <c:pt idx="2">
                  <c:v>4.34390013043331</c:v>
                </c:pt>
                <c:pt idx="3">
                  <c:v>3.4167589112539436</c:v>
                </c:pt>
                <c:pt idx="4">
                  <c:v>3.9770783356225206</c:v>
                </c:pt>
                <c:pt idx="5">
                  <c:v>5.1580924497231795</c:v>
                </c:pt>
                <c:pt idx="6">
                  <c:v>3.879786765076575</c:v>
                </c:pt>
                <c:pt idx="7">
                  <c:v>2.7302765131106894</c:v>
                </c:pt>
                <c:pt idx="8">
                  <c:v>4.573606467934039</c:v>
                </c:pt>
                <c:pt idx="9">
                  <c:v>4.109281051697929</c:v>
                </c:pt>
                <c:pt idx="10">
                  <c:v>3.8406907399078642</c:v>
                </c:pt>
                <c:pt idx="11">
                  <c:v>3.2023143607560223</c:v>
                </c:pt>
                <c:pt idx="12">
                  <c:v>5.199350946977791</c:v>
                </c:pt>
                <c:pt idx="13">
                  <c:v>3.8682621099825614</c:v>
                </c:pt>
                <c:pt idx="14">
                  <c:v>0.0</c:v>
                </c:pt>
                <c:pt idx="15">
                  <c:v>2.7058721318602563</c:v>
                </c:pt>
                <c:pt idx="16">
                  <c:v>1.5477361332577098</c:v>
                </c:pt>
                <c:pt idx="17">
                  <c:v>4.572478474432167</c:v>
                </c:pt>
                <c:pt idx="18">
                  <c:v>0.0</c:v>
                </c:pt>
                <c:pt idx="19">
                  <c:v>2.5968462676559283</c:v>
                </c:pt>
                <c:pt idx="20">
                  <c:v>3.4839121762903074</c:v>
                </c:pt>
                <c:pt idx="21">
                  <c:v>4.141004469116508</c:v>
                </c:pt>
                <c:pt idx="22">
                  <c:v>3.243872200848143</c:v>
                </c:pt>
                <c:pt idx="23">
                  <c:v>3.82141398355814</c:v>
                </c:pt>
                <c:pt idx="24">
                  <c:v>3.6192595143436757</c:v>
                </c:pt>
                <c:pt idx="25">
                  <c:v>2.582334043129464</c:v>
                </c:pt>
                <c:pt idx="26">
                  <c:v>3.6272034822059944</c:v>
                </c:pt>
                <c:pt idx="27">
                  <c:v>8.864454474025619</c:v>
                </c:pt>
                <c:pt idx="28">
                  <c:v>1.893046333913251</c:v>
                </c:pt>
                <c:pt idx="29">
                  <c:v>4.007740645206835</c:v>
                </c:pt>
                <c:pt idx="30">
                  <c:v>2.182060798329189</c:v>
                </c:pt>
                <c:pt idx="31">
                  <c:v>2.8548905531292768</c:v>
                </c:pt>
                <c:pt idx="32">
                  <c:v>4.800769853683428</c:v>
                </c:pt>
                <c:pt idx="33">
                  <c:v>2.1894262591821305</c:v>
                </c:pt>
                <c:pt idx="34">
                  <c:v>2.1036788759756564</c:v>
                </c:pt>
                <c:pt idx="35">
                  <c:v>2.3303055179811905</c:v>
                </c:pt>
                <c:pt idx="36">
                  <c:v>3.9700487153914485</c:v>
                </c:pt>
                <c:pt idx="37">
                  <c:v>2.6707491252771107</c:v>
                </c:pt>
                <c:pt idx="38">
                  <c:v>4.524375538166293</c:v>
                </c:pt>
                <c:pt idx="39">
                  <c:v>3.346465255555643</c:v>
                </c:pt>
                <c:pt idx="40">
                  <c:v>5.039914541836572</c:v>
                </c:pt>
                <c:pt idx="41">
                  <c:v>3.0071865313814103</c:v>
                </c:pt>
                <c:pt idx="42">
                  <c:v>6.118831325634317</c:v>
                </c:pt>
                <c:pt idx="43">
                  <c:v>4.192970461855118</c:v>
                </c:pt>
                <c:pt idx="44">
                  <c:v>2.768268575512283</c:v>
                </c:pt>
                <c:pt idx="45">
                  <c:v>2.778038329996824</c:v>
                </c:pt>
                <c:pt idx="46">
                  <c:v>2.6204184257516894</c:v>
                </c:pt>
                <c:pt idx="47">
                  <c:v>2.2302543201766345</c:v>
                </c:pt>
                <c:pt idx="48">
                  <c:v>2.9064506380437938</c:v>
                </c:pt>
                <c:pt idx="49">
                  <c:v>2.337598323758725</c:v>
                </c:pt>
                <c:pt idx="50">
                  <c:v>2.78683500582411</c:v>
                </c:pt>
                <c:pt idx="51">
                  <c:v>2.5948665578408527</c:v>
                </c:pt>
                <c:pt idx="52">
                  <c:v>3.0715642649860415</c:v>
                </c:pt>
                <c:pt idx="53">
                  <c:v>2.280765715450383</c:v>
                </c:pt>
                <c:pt idx="54">
                  <c:v>2.307670388135358</c:v>
                </c:pt>
                <c:pt idx="55">
                  <c:v>2.7472064115372747</c:v>
                </c:pt>
                <c:pt idx="56">
                  <c:v>5.667565625993665</c:v>
                </c:pt>
                <c:pt idx="57">
                  <c:v>2.241526279376317</c:v>
                </c:pt>
                <c:pt idx="58">
                  <c:v>2.36524291800278</c:v>
                </c:pt>
                <c:pt idx="59">
                  <c:v>1.974011134273813</c:v>
                </c:pt>
                <c:pt idx="60">
                  <c:v>1.7106807581505796</c:v>
                </c:pt>
                <c:pt idx="61">
                  <c:v>1.7204209987978634</c:v>
                </c:pt>
                <c:pt idx="62">
                  <c:v>1.797612953669747</c:v>
                </c:pt>
                <c:pt idx="63">
                  <c:v>1.4673622432963906</c:v>
                </c:pt>
                <c:pt idx="64">
                  <c:v>1.6427825506863625</c:v>
                </c:pt>
                <c:pt idx="65">
                  <c:v>1.6011628612093503</c:v>
                </c:pt>
                <c:pt idx="66">
                  <c:v>1.497650467779395</c:v>
                </c:pt>
                <c:pt idx="67">
                  <c:v>2.0148039563377123</c:v>
                </c:pt>
                <c:pt idx="68">
                  <c:v>1.500743554232715</c:v>
                </c:pt>
                <c:pt idx="69">
                  <c:v>1.3439255227319495</c:v>
                </c:pt>
                <c:pt idx="70">
                  <c:v>1.412933040965117</c:v>
                </c:pt>
                <c:pt idx="71">
                  <c:v>1.0514432980705353</c:v>
                </c:pt>
                <c:pt idx="72">
                  <c:v>1.6903177617864964</c:v>
                </c:pt>
                <c:pt idx="73">
                  <c:v>1.1252229607206456</c:v>
                </c:pt>
                <c:pt idx="74">
                  <c:v>1.3902806196464563</c:v>
                </c:pt>
                <c:pt idx="75">
                  <c:v>2.141913591101363</c:v>
                </c:pt>
                <c:pt idx="76">
                  <c:v>2.10998741508279</c:v>
                </c:pt>
                <c:pt idx="77">
                  <c:v>2.4746935654858877</c:v>
                </c:pt>
                <c:pt idx="78">
                  <c:v>1.668063506090901</c:v>
                </c:pt>
                <c:pt idx="79">
                  <c:v>2.600526043477827</c:v>
                </c:pt>
                <c:pt idx="80">
                  <c:v>2.4518417953857474</c:v>
                </c:pt>
                <c:pt idx="81">
                  <c:v>2.0013223066148202</c:v>
                </c:pt>
                <c:pt idx="82">
                  <c:v>2.361327544209205</c:v>
                </c:pt>
                <c:pt idx="83">
                  <c:v>2.370170906994968</c:v>
                </c:pt>
                <c:pt idx="84">
                  <c:v>2.346520379079813</c:v>
                </c:pt>
                <c:pt idx="85">
                  <c:v>2.041354363788908</c:v>
                </c:pt>
                <c:pt idx="86">
                  <c:v>2.788564213888024</c:v>
                </c:pt>
                <c:pt idx="87">
                  <c:v>2.906586225531799</c:v>
                </c:pt>
                <c:pt idx="88">
                  <c:v>2.315852982722186</c:v>
                </c:pt>
                <c:pt idx="89">
                  <c:v>2.108694987256829</c:v>
                </c:pt>
                <c:pt idx="90">
                  <c:v>2.205248665553015</c:v>
                </c:pt>
                <c:pt idx="91">
                  <c:v>2.138368010226092</c:v>
                </c:pt>
                <c:pt idx="92">
                  <c:v>2.4154935441067953</c:v>
                </c:pt>
                <c:pt idx="93">
                  <c:v>2.4287851013669943</c:v>
                </c:pt>
                <c:pt idx="94">
                  <c:v>2.861791432690578</c:v>
                </c:pt>
                <c:pt idx="95">
                  <c:v>2.601694570019396</c:v>
                </c:pt>
                <c:pt idx="96">
                  <c:v>2.0943551627961274</c:v>
                </c:pt>
                <c:pt idx="97">
                  <c:v>2.326873533924647</c:v>
                </c:pt>
                <c:pt idx="98">
                  <c:v>2.286306381208606</c:v>
                </c:pt>
                <c:pt idx="99">
                  <c:v>2.3867318570958993</c:v>
                </c:pt>
                <c:pt idx="100">
                  <c:v>2.698058129657536</c:v>
                </c:pt>
                <c:pt idx="101">
                  <c:v>2.3515265919855954</c:v>
                </c:pt>
                <c:pt idx="102">
                  <c:v>2.3389993427445064</c:v>
                </c:pt>
                <c:pt idx="103">
                  <c:v>2.4887030745146625</c:v>
                </c:pt>
                <c:pt idx="104">
                  <c:v>2.6823641785553853</c:v>
                </c:pt>
              </c:numCache>
            </c:numRef>
          </c:xVal>
          <c:yVal>
            <c:numRef>
              <c:f>Sheet1!$B$2:$B$106</c:f>
              <c:numCache>
                <c:formatCode>General</c:formatCode>
                <c:ptCount val="105"/>
                <c:pt idx="0">
                  <c:v>0.0003580478131541258</c:v>
                </c:pt>
                <c:pt idx="1">
                  <c:v>8.968609865470852e-05</c:v>
                </c:pt>
                <c:pt idx="2">
                  <c:v>8.448800270361608e-05</c:v>
                </c:pt>
                <c:pt idx="3">
                  <c:v>8.956560680698612e-05</c:v>
                </c:pt>
                <c:pt idx="4">
                  <c:v>7.059155724975294e-05</c:v>
                </c:pt>
                <c:pt idx="5">
                  <c:v>0.00010866415531729933</c:v>
                </c:pt>
                <c:pt idx="6">
                  <c:v>0.00020990764063811922</c:v>
                </c:pt>
                <c:pt idx="7">
                  <c:v>0.0002427577277876679</c:v>
                </c:pt>
                <c:pt idx="8">
                  <c:v>0.00012605571662674902</c:v>
                </c:pt>
                <c:pt idx="9">
                  <c:v>0.0001576739932515531</c:v>
                </c:pt>
                <c:pt idx="10">
                  <c:v>0.00012233912405187178</c:v>
                </c:pt>
                <c:pt idx="11">
                  <c:v>0.00021624961383997528</c:v>
                </c:pt>
                <c:pt idx="12">
                  <c:v>0.0001422556048708319</c:v>
                </c:pt>
                <c:pt idx="13">
                  <c:v>0.00017932394871335067</c:v>
                </c:pt>
                <c:pt idx="14">
                  <c:v>0.0</c:v>
                </c:pt>
                <c:pt idx="15">
                  <c:v>0.00017827218597354442</c:v>
                </c:pt>
                <c:pt idx="16">
                  <c:v>0.00016287971333170455</c:v>
                </c:pt>
                <c:pt idx="17">
                  <c:v>8.955758552749418e-05</c:v>
                </c:pt>
                <c:pt idx="18">
                  <c:v>0.0</c:v>
                </c:pt>
                <c:pt idx="19">
                  <c:v>0.00017497812773403323</c:v>
                </c:pt>
                <c:pt idx="20">
                  <c:v>0.0001436850423870875</c:v>
                </c:pt>
                <c:pt idx="21">
                  <c:v>5.938947618482005e-05</c:v>
                </c:pt>
                <c:pt idx="22">
                  <c:v>0.0002357795461243737</c:v>
                </c:pt>
                <c:pt idx="23">
                  <c:v>0.00018617351371478217</c:v>
                </c:pt>
                <c:pt idx="24">
                  <c:v>0.00022766078542970974</c:v>
                </c:pt>
                <c:pt idx="25">
                  <c:v>0.00038897893030794163</c:v>
                </c:pt>
                <c:pt idx="26">
                  <c:v>0.0002871582816448426</c:v>
                </c:pt>
                <c:pt idx="27">
                  <c:v>5.5781781670106545e-05</c:v>
                </c:pt>
                <c:pt idx="28">
                  <c:v>0.00028376844494892167</c:v>
                </c:pt>
                <c:pt idx="29">
                  <c:v>0.00019717060186326217</c:v>
                </c:pt>
                <c:pt idx="30">
                  <c:v>0.0002540489044140997</c:v>
                </c:pt>
                <c:pt idx="31">
                  <c:v>0.00024515812699190976</c:v>
                </c:pt>
                <c:pt idx="32">
                  <c:v>0.00012088244182532487</c:v>
                </c:pt>
                <c:pt idx="33">
                  <c:v>0.0004301486402523539</c:v>
                </c:pt>
                <c:pt idx="34">
                  <c:v>0.0005119453924914676</c:v>
                </c:pt>
                <c:pt idx="35">
                  <c:v>0.0005358851674641148</c:v>
                </c:pt>
                <c:pt idx="36">
                  <c:v>0.0001835451750562107</c:v>
                </c:pt>
                <c:pt idx="37">
                  <c:v>0.0002117634602149399</c:v>
                </c:pt>
                <c:pt idx="38">
                  <c:v>0.00010658140154543032</c:v>
                </c:pt>
                <c:pt idx="39">
                  <c:v>0.00022478224220286598</c:v>
                </c:pt>
                <c:pt idx="40">
                  <c:v>9.148293843198243e-05</c:v>
                </c:pt>
                <c:pt idx="41">
                  <c:v>0.00015227653418608191</c:v>
                </c:pt>
                <c:pt idx="42">
                  <c:v>4.338771259979174e-05</c:v>
                </c:pt>
                <c:pt idx="43">
                  <c:v>0.00011588380716934487</c:v>
                </c:pt>
                <c:pt idx="44">
                  <c:v>0.0001552553951249806</c:v>
                </c:pt>
                <c:pt idx="45">
                  <c:v>0.00011769136616137841</c:v>
                </c:pt>
                <c:pt idx="46">
                  <c:v>0.00025193532133205076</c:v>
                </c:pt>
                <c:pt idx="47">
                  <c:v>0.00032806092560046864</c:v>
                </c:pt>
                <c:pt idx="48">
                  <c:v>0.00017046519952951605</c:v>
                </c:pt>
                <c:pt idx="49">
                  <c:v>0.00019105846388995032</c:v>
                </c:pt>
                <c:pt idx="50">
                  <c:v>0.0002257336343115124</c:v>
                </c:pt>
                <c:pt idx="51">
                  <c:v>0.0002758088093333701</c:v>
                </c:pt>
                <c:pt idx="52">
                  <c:v>9.292600766639563e-05</c:v>
                </c:pt>
                <c:pt idx="53">
                  <c:v>0.00014659317462178961</c:v>
                </c:pt>
                <c:pt idx="54">
                  <c:v>0.00028976175144880876</c:v>
                </c:pt>
                <c:pt idx="55">
                  <c:v>0.00016557387906483874</c:v>
                </c:pt>
                <c:pt idx="56">
                  <c:v>6.75789829363068e-05</c:v>
                </c:pt>
                <c:pt idx="57">
                  <c:v>0.00011549011115923199</c:v>
                </c:pt>
                <c:pt idx="58">
                  <c:v>0.0001065019436604718</c:v>
                </c:pt>
                <c:pt idx="59">
                  <c:v>0.00017264597216946927</c:v>
                </c:pt>
                <c:pt idx="60">
                  <c:v>0.0002658009151145792</c:v>
                </c:pt>
                <c:pt idx="61">
                  <c:v>0.00036557342803425946</c:v>
                </c:pt>
                <c:pt idx="62">
                  <c:v>0.0003044680689112729</c:v>
                </c:pt>
                <c:pt idx="63">
                  <c:v>0.0004142025450445268</c:v>
                </c:pt>
                <c:pt idx="64">
                  <c:v>0.0004272351142291779</c:v>
                </c:pt>
                <c:pt idx="65">
                  <c:v>0.00036707126076742367</c:v>
                </c:pt>
                <c:pt idx="66">
                  <c:v>0.0002800122187149985</c:v>
                </c:pt>
                <c:pt idx="67">
                  <c:v>0.00024030759371996156</c:v>
                </c:pt>
                <c:pt idx="68">
                  <c:v>0.00041124924867925723</c:v>
                </c:pt>
                <c:pt idx="69">
                  <c:v>0.00045595854922279795</c:v>
                </c:pt>
                <c:pt idx="70">
                  <c:v>0.0003940110323089047</c:v>
                </c:pt>
                <c:pt idx="71">
                  <c:v>0.0004268032437046522</c:v>
                </c:pt>
                <c:pt idx="72">
                  <c:v>0.00044458814970495513</c:v>
                </c:pt>
                <c:pt idx="73">
                  <c:v>0.0008129733430319627</c:v>
                </c:pt>
                <c:pt idx="74">
                  <c:v>0.0008604794099569761</c:v>
                </c:pt>
                <c:pt idx="75">
                  <c:v>0.0008656759486365604</c:v>
                </c:pt>
                <c:pt idx="76">
                  <c:v>0.001183431952662722</c:v>
                </c:pt>
                <c:pt idx="77">
                  <c:v>0.0012112275527937227</c:v>
                </c:pt>
                <c:pt idx="78">
                  <c:v>0.002056645904336585</c:v>
                </c:pt>
                <c:pt idx="79">
                  <c:v>0.001290922234844573</c:v>
                </c:pt>
                <c:pt idx="80">
                  <c:v>0.0012359666289010196</c:v>
                </c:pt>
                <c:pt idx="81">
                  <c:v>0.0017492456378186906</c:v>
                </c:pt>
                <c:pt idx="82">
                  <c:v>0.0014101985559566788</c:v>
                </c:pt>
                <c:pt idx="83">
                  <c:v>0.001380216891225764</c:v>
                </c:pt>
                <c:pt idx="84">
                  <c:v>0.0013312920189043466</c:v>
                </c:pt>
                <c:pt idx="85">
                  <c:v>0.0012235623142807202</c:v>
                </c:pt>
                <c:pt idx="86">
                  <c:v>0.0011437620974837233</c:v>
                </c:pt>
                <c:pt idx="87">
                  <c:v>0.001046156421308114</c:v>
                </c:pt>
                <c:pt idx="88">
                  <c:v>0.0015890672175433022</c:v>
                </c:pt>
                <c:pt idx="89">
                  <c:v>0.0019621421975992612</c:v>
                </c:pt>
                <c:pt idx="90">
                  <c:v>0.001836601694413176</c:v>
                </c:pt>
                <c:pt idx="91">
                  <c:v>0.00184003220056351</c:v>
                </c:pt>
                <c:pt idx="92">
                  <c:v>0.0015671813781977413</c:v>
                </c:pt>
                <c:pt idx="93">
                  <c:v>0.001546551190844417</c:v>
                </c:pt>
                <c:pt idx="94">
                  <c:v>0.0014558232931726907</c:v>
                </c:pt>
                <c:pt idx="95">
                  <c:v>0.0017315698338429798</c:v>
                </c:pt>
                <c:pt idx="96">
                  <c:v>0.002308560035677746</c:v>
                </c:pt>
                <c:pt idx="97">
                  <c:v>0.0026446509060803975</c:v>
                </c:pt>
                <c:pt idx="98">
                  <c:v>0.002492373337586984</c:v>
                </c:pt>
                <c:pt idx="99">
                  <c:v>0.0023547337073204517</c:v>
                </c:pt>
                <c:pt idx="100">
                  <c:v>0.001811252405569601</c:v>
                </c:pt>
                <c:pt idx="101">
                  <c:v>0.0024561479774816877</c:v>
                </c:pt>
                <c:pt idx="102">
                  <c:v>0.002028946300554579</c:v>
                </c:pt>
                <c:pt idx="103">
                  <c:v>0.001982513216754778</c:v>
                </c:pt>
                <c:pt idx="104">
                  <c:v>0.0014722770236447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2.488243551812782</c:v>
                </c:pt>
                <c:pt idx="1">
                  <c:v>2.045814184535225</c:v>
                </c:pt>
                <c:pt idx="2">
                  <c:v>2.423612868464111</c:v>
                </c:pt>
                <c:pt idx="3">
                  <c:v>2.064499548324395</c:v>
                </c:pt>
                <c:pt idx="4">
                  <c:v>2.4091117567607485</c:v>
                </c:pt>
                <c:pt idx="5">
                  <c:v>2.6098210543569254</c:v>
                </c:pt>
                <c:pt idx="6">
                  <c:v>2.681026428812942</c:v>
                </c:pt>
                <c:pt idx="7">
                  <c:v>2.5792781715347424</c:v>
                </c:pt>
                <c:pt idx="8">
                  <c:v>2.3874462465845174</c:v>
                </c:pt>
                <c:pt idx="9">
                  <c:v>2.3544417331715644</c:v>
                </c:pt>
                <c:pt idx="10">
                  <c:v>2.3791332151338653</c:v>
                </c:pt>
                <c:pt idx="11">
                  <c:v>2.554547054452745</c:v>
                </c:pt>
                <c:pt idx="12">
                  <c:v>2.293513837118615</c:v>
                </c:pt>
                <c:pt idx="13">
                  <c:v>1.948210146814131</c:v>
                </c:pt>
                <c:pt idx="14">
                  <c:v>1.97128041247012</c:v>
                </c:pt>
                <c:pt idx="15">
                  <c:v>2.085803123567758</c:v>
                </c:pt>
                <c:pt idx="16">
                  <c:v>2.181290315474043</c:v>
                </c:pt>
                <c:pt idx="17">
                  <c:v>1.6781120022629232</c:v>
                </c:pt>
                <c:pt idx="18">
                  <c:v>2.3777905659433562</c:v>
                </c:pt>
                <c:pt idx="19">
                  <c:v>2.42885170399765</c:v>
                </c:pt>
                <c:pt idx="20">
                  <c:v>2.2526424645881424</c:v>
                </c:pt>
                <c:pt idx="21">
                  <c:v>1.82705531464212</c:v>
                </c:pt>
                <c:pt idx="22">
                  <c:v>1.9929814587597912</c:v>
                </c:pt>
                <c:pt idx="23">
                  <c:v>1.6322839083245158</c:v>
                </c:pt>
                <c:pt idx="24">
                  <c:v>2.0927982755238776</c:v>
                </c:pt>
                <c:pt idx="25">
                  <c:v>2.0769528501754104</c:v>
                </c:pt>
                <c:pt idx="26">
                  <c:v>2.0725305106176566</c:v>
                </c:pt>
                <c:pt idx="27">
                  <c:v>2.0036381649509907</c:v>
                </c:pt>
                <c:pt idx="28">
                  <c:v>2.034890931256732</c:v>
                </c:pt>
                <c:pt idx="29">
                  <c:v>1.9146051606900916</c:v>
                </c:pt>
                <c:pt idx="30">
                  <c:v>1.866424935780259</c:v>
                </c:pt>
                <c:pt idx="31">
                  <c:v>2.057747147574875</c:v>
                </c:pt>
                <c:pt idx="32">
                  <c:v>2.2935919188385516</c:v>
                </c:pt>
                <c:pt idx="33">
                  <c:v>2.3172730435242714</c:v>
                </c:pt>
                <c:pt idx="34">
                  <c:v>2.4293940160997036</c:v>
                </c:pt>
                <c:pt idx="35">
                  <c:v>2.1580171617640693</c:v>
                </c:pt>
                <c:pt idx="36">
                  <c:v>1.9502711393740195</c:v>
                </c:pt>
                <c:pt idx="37">
                  <c:v>1.9913984736267276</c:v>
                </c:pt>
                <c:pt idx="38">
                  <c:v>1.7448050529283037</c:v>
                </c:pt>
                <c:pt idx="39">
                  <c:v>1.7248603692403526</c:v>
                </c:pt>
                <c:pt idx="40">
                  <c:v>1.6419309232785102</c:v>
                </c:pt>
                <c:pt idx="41">
                  <c:v>1.7990244090299399</c:v>
                </c:pt>
                <c:pt idx="42">
                  <c:v>1.6511773498816726</c:v>
                </c:pt>
                <c:pt idx="43">
                  <c:v>1.9012668438356515</c:v>
                </c:pt>
                <c:pt idx="44">
                  <c:v>2.425517673418877</c:v>
                </c:pt>
                <c:pt idx="45">
                  <c:v>2.5892439462367705</c:v>
                </c:pt>
                <c:pt idx="46">
                  <c:v>2.6417096011423205</c:v>
                </c:pt>
                <c:pt idx="47">
                  <c:v>2.476081437030924</c:v>
                </c:pt>
                <c:pt idx="48">
                  <c:v>2.441467047183181</c:v>
                </c:pt>
                <c:pt idx="49">
                  <c:v>2.5175126368484406</c:v>
                </c:pt>
                <c:pt idx="50">
                  <c:v>2.6966783821245577</c:v>
                </c:pt>
                <c:pt idx="51">
                  <c:v>2.8498894088409337</c:v>
                </c:pt>
              </c:numCache>
            </c:numRef>
          </c:xVal>
          <c:yVal>
            <c:numRef>
              <c:f>Sheet1!$B$109:$B$160</c:f>
              <c:numCache>
                <c:formatCode>General</c:formatCode>
                <c:ptCount val="52"/>
                <c:pt idx="0">
                  <c:v>0.001584147782193105</c:v>
                </c:pt>
                <c:pt idx="1">
                  <c:v>0.0019049243716592744</c:v>
                </c:pt>
                <c:pt idx="2">
                  <c:v>0.0017297077302673416</c:v>
                </c:pt>
                <c:pt idx="3">
                  <c:v>0.00184412058499603</c:v>
                </c:pt>
                <c:pt idx="4">
                  <c:v>0.0018328640493013866</c:v>
                </c:pt>
                <c:pt idx="5">
                  <c:v>0.0016014092401313155</c:v>
                </c:pt>
                <c:pt idx="6">
                  <c:v>0.0017298001955426308</c:v>
                </c:pt>
                <c:pt idx="7">
                  <c:v>0.0019910061446568946</c:v>
                </c:pt>
                <c:pt idx="8">
                  <c:v>0.0023928811784939804</c:v>
                </c:pt>
                <c:pt idx="9">
                  <c:v>0.0025054914881933003</c:v>
                </c:pt>
                <c:pt idx="10">
                  <c:v>0.002407254740313273</c:v>
                </c:pt>
                <c:pt idx="11">
                  <c:v>0.0024414905423068385</c:v>
                </c:pt>
                <c:pt idx="12">
                  <c:v>0.0025257486038222994</c:v>
                </c:pt>
                <c:pt idx="13">
                  <c:v>0.0036323158943113248</c:v>
                </c:pt>
                <c:pt idx="14">
                  <c:v>0.0036016335980962795</c:v>
                </c:pt>
                <c:pt idx="15">
                  <c:v>0.003392385978137957</c:v>
                </c:pt>
                <c:pt idx="16">
                  <c:v>0.003323047709470686</c:v>
                </c:pt>
                <c:pt idx="17">
                  <c:v>0.00420427847162112</c:v>
                </c:pt>
                <c:pt idx="18">
                  <c:v>0.0023092369477911647</c:v>
                </c:pt>
                <c:pt idx="19">
                  <c:v>0.0020470829068577278</c:v>
                </c:pt>
                <c:pt idx="20">
                  <c:v>0.0024176954732510287</c:v>
                </c:pt>
                <c:pt idx="21">
                  <c:v>0.0034454676439265803</c:v>
                </c:pt>
                <c:pt idx="22">
                  <c:v>0.002851298580549185</c:v>
                </c:pt>
                <c:pt idx="23">
                  <c:v>0.0028443208393906833</c:v>
                </c:pt>
                <c:pt idx="24">
                  <c:v>0.0025663458734324876</c:v>
                </c:pt>
                <c:pt idx="25">
                  <c:v>0.0027607361963190185</c:v>
                </c:pt>
                <c:pt idx="26">
                  <c:v>0.0029604690311719976</c:v>
                </c:pt>
                <c:pt idx="27">
                  <c:v>0.003013640689436396</c:v>
                </c:pt>
                <c:pt idx="28">
                  <c:v>0.0024760725679729536</c:v>
                </c:pt>
                <c:pt idx="29">
                  <c:v>0.002812051649928264</c:v>
                </c:pt>
                <c:pt idx="30">
                  <c:v>0.0027380952380952383</c:v>
                </c:pt>
                <c:pt idx="31">
                  <c:v>0.002772941252337654</c:v>
                </c:pt>
                <c:pt idx="32">
                  <c:v>0.0023744911804613297</c:v>
                </c:pt>
                <c:pt idx="33">
                  <c:v>0.0023239269622954708</c:v>
                </c:pt>
                <c:pt idx="34">
                  <c:v>0.002157015880099669</c:v>
                </c:pt>
                <c:pt idx="35">
                  <c:v>0.0026392305971818385</c:v>
                </c:pt>
                <c:pt idx="36">
                  <c:v>0.003280519299225239</c:v>
                </c:pt>
                <c:pt idx="37">
                  <c:v>0.003253049734125743</c:v>
                </c:pt>
                <c:pt idx="38">
                  <c:v>0.003777544596012592</c:v>
                </c:pt>
                <c:pt idx="39">
                  <c:v>0.0035495653068573487</c:v>
                </c:pt>
                <c:pt idx="40">
                  <c:v>0.0033338309200378166</c:v>
                </c:pt>
                <c:pt idx="41">
                  <c:v>0.002729026490377829</c:v>
                </c:pt>
                <c:pt idx="42">
                  <c:v>0.003122023494549688</c:v>
                </c:pt>
                <c:pt idx="43">
                  <c:v>0.0022727272727272726</c:v>
                </c:pt>
                <c:pt idx="44">
                  <c:v>0.0016782773907536416</c:v>
                </c:pt>
                <c:pt idx="45">
                  <c:v>0.0014120237411449359</c:v>
                </c:pt>
                <c:pt idx="46">
                  <c:v>0.0014623655913978495</c:v>
                </c:pt>
                <c:pt idx="47">
                  <c:v>0.0014511837897395932</c:v>
                </c:pt>
                <c:pt idx="48">
                  <c:v>0.0016167059616032334</c:v>
                </c:pt>
                <c:pt idx="49">
                  <c:v>0.0014272897806051708</c:v>
                </c:pt>
                <c:pt idx="50">
                  <c:v>0.0012052271650077866</c:v>
                </c:pt>
                <c:pt idx="51">
                  <c:v>0.001440003777059087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9527810298954502</c:v>
                </c:pt>
              </c:numCache>
            </c:numRef>
          </c:xVal>
          <c:yVal>
            <c:numRef>
              <c:f>Sheet1!$B$163:$B$164</c:f>
              <c:numCache>
                <c:formatCode>General</c:formatCode>
                <c:ptCount val="2"/>
                <c:pt idx="0">
                  <c:v>0.002942548461392275</c:v>
                </c:pt>
                <c:pt idx="1">
                  <c:v>0.00294254846139227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9527810298954502</c:v>
                </c:pt>
                <c:pt idx="1">
                  <c:v>1.9527810298954502</c:v>
                </c:pt>
              </c:numCache>
            </c:numRef>
          </c:xVal>
          <c:yVal>
            <c:numRef>
              <c:f>Sheet1!$B$167:$B$168</c:f>
              <c:numCache>
                <c:formatCode>General</c:formatCode>
                <c:ptCount val="2"/>
                <c:pt idx="0">
                  <c:v>0.00294254846139227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9527810298954502</c:v>
                </c:pt>
              </c:numCache>
            </c:numRef>
          </c:xVal>
          <c:yVal>
            <c:numRef>
              <c:f>Sheet1!$B$171:$B$172</c:f>
              <c:numCache>
                <c:formatCode>General</c:formatCode>
                <c:ptCount val="2"/>
                <c:pt idx="0">
                  <c:v>0.002942548461392275</c:v>
                </c:pt>
                <c:pt idx="1">
                  <c:v>0.00294254846139227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9527810298954502</c:v>
                </c:pt>
                <c:pt idx="1">
                  <c:v>1.9527810298954502</c:v>
                </c:pt>
              </c:numCache>
            </c:numRef>
          </c:xVal>
          <c:yVal>
            <c:numRef>
              <c:f>Sheet1!$B$175:$B$176</c:f>
              <c:numCache>
                <c:formatCode>General</c:formatCode>
                <c:ptCount val="2"/>
                <c:pt idx="0">
                  <c:v>0.00294254846139227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4172321518891984</c:v>
                </c:pt>
              </c:numCache>
            </c:numRef>
          </c:xVal>
          <c:yVal>
            <c:numRef>
              <c:f>Sheet1!$B$179:$B$180</c:f>
              <c:numCache>
                <c:formatCode>General</c:formatCode>
                <c:ptCount val="2"/>
                <c:pt idx="0">
                  <c:v>0.0020538654370662506</c:v>
                </c:pt>
                <c:pt idx="1">
                  <c:v>0.002053865437066250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4172321518891984</c:v>
                </c:pt>
                <c:pt idx="1">
                  <c:v>2.4172321518891984</c:v>
                </c:pt>
              </c:numCache>
            </c:numRef>
          </c:xVal>
          <c:yVal>
            <c:numRef>
              <c:f>Sheet1!$B$183:$B$184</c:f>
              <c:numCache>
                <c:formatCode>General</c:formatCode>
                <c:ptCount val="2"/>
                <c:pt idx="0">
                  <c:v>0.00205386543706625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2.488243551812782</c:v>
                </c:pt>
                <c:pt idx="1">
                  <c:v>2.045814184535225</c:v>
                </c:pt>
                <c:pt idx="2">
                  <c:v>2.423612868464111</c:v>
                </c:pt>
                <c:pt idx="3">
                  <c:v>2.064499548324395</c:v>
                </c:pt>
                <c:pt idx="4">
                  <c:v>2.4091117567607485</c:v>
                </c:pt>
                <c:pt idx="5">
                  <c:v>2.6098210543569254</c:v>
                </c:pt>
                <c:pt idx="6">
                  <c:v>2.681026428812942</c:v>
                </c:pt>
                <c:pt idx="7">
                  <c:v>2.5792781715347424</c:v>
                </c:pt>
                <c:pt idx="8">
                  <c:v>2.3874462465845174</c:v>
                </c:pt>
                <c:pt idx="9">
                  <c:v>2.3544417331715644</c:v>
                </c:pt>
                <c:pt idx="10">
                  <c:v>2.3791332151338653</c:v>
                </c:pt>
                <c:pt idx="11">
                  <c:v>2.554547054452745</c:v>
                </c:pt>
                <c:pt idx="12">
                  <c:v>2.293513837118615</c:v>
                </c:pt>
                <c:pt idx="13">
                  <c:v>1.948210146814131</c:v>
                </c:pt>
                <c:pt idx="14">
                  <c:v>1.97128041247012</c:v>
                </c:pt>
                <c:pt idx="15">
                  <c:v>2.085803123567758</c:v>
                </c:pt>
                <c:pt idx="16">
                  <c:v>2.181290315474043</c:v>
                </c:pt>
                <c:pt idx="17">
                  <c:v>1.6781120022629232</c:v>
                </c:pt>
                <c:pt idx="18">
                  <c:v>2.3777905659433562</c:v>
                </c:pt>
                <c:pt idx="19">
                  <c:v>2.42885170399765</c:v>
                </c:pt>
                <c:pt idx="20">
                  <c:v>2.2526424645881424</c:v>
                </c:pt>
                <c:pt idx="21">
                  <c:v>1.82705531464212</c:v>
                </c:pt>
                <c:pt idx="22">
                  <c:v>1.9929814587597912</c:v>
                </c:pt>
                <c:pt idx="23">
                  <c:v>1.6322839083245158</c:v>
                </c:pt>
                <c:pt idx="24">
                  <c:v>2.0927982755238776</c:v>
                </c:pt>
                <c:pt idx="25">
                  <c:v>2.0769528501754104</c:v>
                </c:pt>
                <c:pt idx="26">
                  <c:v>2.0725305106176566</c:v>
                </c:pt>
                <c:pt idx="27">
                  <c:v>2.0036381649509907</c:v>
                </c:pt>
                <c:pt idx="28">
                  <c:v>2.034890931256732</c:v>
                </c:pt>
                <c:pt idx="29">
                  <c:v>1.9146051606900916</c:v>
                </c:pt>
                <c:pt idx="30">
                  <c:v>1.866424935780259</c:v>
                </c:pt>
                <c:pt idx="31">
                  <c:v>2.057747147574875</c:v>
                </c:pt>
                <c:pt idx="32">
                  <c:v>2.2935919188385516</c:v>
                </c:pt>
                <c:pt idx="33">
                  <c:v>2.3172730435242714</c:v>
                </c:pt>
                <c:pt idx="34">
                  <c:v>2.4293940160997036</c:v>
                </c:pt>
                <c:pt idx="35">
                  <c:v>2.1580171617640693</c:v>
                </c:pt>
                <c:pt idx="36">
                  <c:v>1.9502711393740195</c:v>
                </c:pt>
                <c:pt idx="37">
                  <c:v>1.9913984736267276</c:v>
                </c:pt>
                <c:pt idx="38">
                  <c:v>1.7448050529283037</c:v>
                </c:pt>
                <c:pt idx="39">
                  <c:v>1.7248603692403526</c:v>
                </c:pt>
                <c:pt idx="40">
                  <c:v>1.6419309232785102</c:v>
                </c:pt>
                <c:pt idx="41">
                  <c:v>1.7990244090299399</c:v>
                </c:pt>
                <c:pt idx="42">
                  <c:v>1.6511773498816726</c:v>
                </c:pt>
                <c:pt idx="43">
                  <c:v>1.9012668438356515</c:v>
                </c:pt>
                <c:pt idx="44">
                  <c:v>2.425517673418877</c:v>
                </c:pt>
                <c:pt idx="45">
                  <c:v>2.5892439462367705</c:v>
                </c:pt>
                <c:pt idx="46">
                  <c:v>2.6417096011423205</c:v>
                </c:pt>
                <c:pt idx="47">
                  <c:v>2.476081437030924</c:v>
                </c:pt>
                <c:pt idx="48">
                  <c:v>2.441467047183181</c:v>
                </c:pt>
                <c:pt idx="49">
                  <c:v>2.5175126368484406</c:v>
                </c:pt>
                <c:pt idx="50">
                  <c:v>2.6966783821245577</c:v>
                </c:pt>
                <c:pt idx="51">
                  <c:v>2.8498894088409337</c:v>
                </c:pt>
                <c:pt idx="52">
                  <c:v>1.9527810298954502</c:v>
                </c:pt>
                <c:pt idx="53">
                  <c:v>1.9527810298954502</c:v>
                </c:pt>
                <c:pt idx="54">
                  <c:v>2.4172321518891984</c:v>
                </c:pt>
              </c:numCache>
            </c:numRef>
          </c:xVal>
          <c:yVal>
            <c:numRef>
              <c:f>Sheet1!$B$187:$B$241</c:f>
              <c:numCache>
                <c:formatCode>General</c:formatCode>
                <c:ptCount val="55"/>
                <c:pt idx="0">
                  <c:v>0.0019179918808246007</c:v>
                </c:pt>
                <c:pt idx="1">
                  <c:v>0.0027645383731122464</c:v>
                </c:pt>
                <c:pt idx="2">
                  <c:v>0.0020416565430951923</c:v>
                </c:pt>
                <c:pt idx="3">
                  <c:v>0.002728785707618599</c:v>
                </c:pt>
                <c:pt idx="4">
                  <c:v>0.002069403040400042</c:v>
                </c:pt>
                <c:pt idx="5">
                  <c:v>0.001685364899136765</c:v>
                </c:pt>
                <c:pt idx="6">
                  <c:v>0.0015491201910861037</c:v>
                </c:pt>
                <c:pt idx="7">
                  <c:v>0.0017438057989273316</c:v>
                </c:pt>
                <c:pt idx="8">
                  <c:v>0.0021108579324117752</c:v>
                </c:pt>
                <c:pt idx="9">
                  <c:v>0.0021740089280866803</c:v>
                </c:pt>
                <c:pt idx="10">
                  <c:v>0.002126764127016645</c:v>
                </c:pt>
                <c:pt idx="11">
                  <c:v>0.0017911264380271906</c:v>
                </c:pt>
                <c:pt idx="12">
                  <c:v>0.002290588659227659</c:v>
                </c:pt>
                <c:pt idx="13">
                  <c:v>0.002951294411198813</c:v>
                </c:pt>
                <c:pt idx="14">
                  <c:v>0.0029071516532544256</c:v>
                </c:pt>
                <c:pt idx="15">
                  <c:v>0.002688023343658837</c:v>
                </c:pt>
                <c:pt idx="16">
                  <c:v>0.002505317688597853</c:v>
                </c:pt>
                <c:pt idx="17">
                  <c:v>0.0034681015080020934</c:v>
                </c:pt>
                <c:pt idx="18">
                  <c:v>0.0021293331584749152</c:v>
                </c:pt>
                <c:pt idx="19">
                  <c:v>0.0020316325298343216</c:v>
                </c:pt>
                <c:pt idx="20">
                  <c:v>0.0023687921412061663</c:v>
                </c:pt>
                <c:pt idx="21">
                  <c:v>0.0031831126533512864</c:v>
                </c:pt>
                <c:pt idx="22">
                  <c:v>0.002865628766271275</c:v>
                </c:pt>
                <c:pt idx="23">
                  <c:v>0.003555789204708377</c:v>
                </c:pt>
                <c:pt idx="24">
                  <c:v>0.0026746387860560926</c:v>
                </c:pt>
                <c:pt idx="25">
                  <c:v>0.0027049574995946894</c:v>
                </c:pt>
                <c:pt idx="26">
                  <c:v>0.0027134192255044267</c:v>
                </c:pt>
                <c:pt idx="27">
                  <c:v>0.002845238173076677</c:v>
                </c:pt>
                <c:pt idx="28">
                  <c:v>0.002785438978793506</c:v>
                </c:pt>
                <c:pt idx="29">
                  <c:v>0.0030155943542648296</c:v>
                </c:pt>
                <c:pt idx="30">
                  <c:v>0.003107782629753923</c:v>
                </c:pt>
                <c:pt idx="31">
                  <c:v>0.00274170578388795</c:v>
                </c:pt>
                <c:pt idx="32">
                  <c:v>0.0022904392572868897</c:v>
                </c:pt>
                <c:pt idx="33">
                  <c:v>0.002245127678719037</c:v>
                </c:pt>
                <c:pt idx="34">
                  <c:v>0.002030594867233975</c:v>
                </c:pt>
                <c:pt idx="35">
                  <c:v>0.0025498486535265206</c:v>
                </c:pt>
                <c:pt idx="36">
                  <c:v>0.002947350898061472</c:v>
                </c:pt>
                <c:pt idx="37">
                  <c:v>0.0028686576576850264</c:v>
                </c:pt>
                <c:pt idx="38">
                  <c:v>0.003340490702127806</c:v>
                </c:pt>
                <c:pt idx="39">
                  <c:v>0.0033786529564096956</c:v>
                </c:pt>
                <c:pt idx="40">
                  <c:v>0.003537330559612996</c:v>
                </c:pt>
                <c:pt idx="41">
                  <c:v>0.0032367471237926453</c:v>
                </c:pt>
                <c:pt idx="42">
                  <c:v>0.0035196384022065648</c:v>
                </c:pt>
                <c:pt idx="43">
                  <c:v>0.0030411159542789255</c:v>
                </c:pt>
                <c:pt idx="44">
                  <c:v>0.0020380118800772933</c:v>
                </c:pt>
                <c:pt idx="45">
                  <c:v>0.0017247372373875676</c:v>
                </c:pt>
                <c:pt idx="46">
                  <c:v>0.00162434919940725</c:v>
                </c:pt>
                <c:pt idx="47">
                  <c:v>0.0019412629301013146</c:v>
                </c:pt>
                <c:pt idx="48">
                  <c:v>0.0020074942711368225</c:v>
                </c:pt>
                <c:pt idx="49">
                  <c:v>0.001861988271882743</c:v>
                </c:pt>
                <c:pt idx="50">
                  <c:v>0.0015191716678790409</c:v>
                </c:pt>
                <c:pt idx="51">
                  <c:v>0.0012260169479637838</c:v>
                </c:pt>
                <c:pt idx="52">
                  <c:v>0.002942548461392275</c:v>
                </c:pt>
                <c:pt idx="53">
                  <c:v>0.002942548461392275</c:v>
                </c:pt>
                <c:pt idx="54">
                  <c:v>0.00205386543706625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4513416594534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856.3077</c:v>
                </c:pt>
                <c:pt idx="1">
                  <c:v>6230.0</c:v>
                </c:pt>
                <c:pt idx="2">
                  <c:v>6349.3333</c:v>
                </c:pt>
                <c:pt idx="3">
                  <c:v>5043.3333</c:v>
                </c:pt>
                <c:pt idx="4">
                  <c:v>5971.5</c:v>
                </c:pt>
                <c:pt idx="5">
                  <c:v>7694.0</c:v>
                </c:pt>
                <c:pt idx="6">
                  <c:v>5895.0</c:v>
                </c:pt>
                <c:pt idx="7">
                  <c:v>4277.0</c:v>
                </c:pt>
                <c:pt idx="8">
                  <c:v>7050.6667</c:v>
                </c:pt>
                <c:pt idx="9">
                  <c:v>5817.6</c:v>
                </c:pt>
                <c:pt idx="10">
                  <c:v>5290.25</c:v>
                </c:pt>
                <c:pt idx="11">
                  <c:v>4469.2857</c:v>
                </c:pt>
                <c:pt idx="12">
                  <c:v>7055.8</c:v>
                </c:pt>
                <c:pt idx="13">
                  <c:v>5252.6667</c:v>
                </c:pt>
                <c:pt idx="14">
                  <c:v>0.0</c:v>
                </c:pt>
                <c:pt idx="15">
                  <c:v>3753.0</c:v>
                </c:pt>
                <c:pt idx="16">
                  <c:v>2170.25</c:v>
                </c:pt>
                <c:pt idx="17">
                  <c:v>6580.0</c:v>
                </c:pt>
                <c:pt idx="18">
                  <c:v>0.0</c:v>
                </c:pt>
                <c:pt idx="19">
                  <c:v>3807.0</c:v>
                </c:pt>
                <c:pt idx="20">
                  <c:v>5072.3333</c:v>
                </c:pt>
                <c:pt idx="21">
                  <c:v>6718.0</c:v>
                </c:pt>
                <c:pt idx="22">
                  <c:v>5462.25</c:v>
                </c:pt>
                <c:pt idx="23">
                  <c:v>6538.6667</c:v>
                </c:pt>
                <c:pt idx="24">
                  <c:v>6316.5</c:v>
                </c:pt>
                <c:pt idx="25">
                  <c:v>4606.0</c:v>
                </c:pt>
                <c:pt idx="26">
                  <c:v>6402.0</c:v>
                </c:pt>
                <c:pt idx="27">
                  <c:v>15524.0</c:v>
                </c:pt>
                <c:pt idx="28">
                  <c:v>3345.4</c:v>
                </c:pt>
                <c:pt idx="29">
                  <c:v>7017.0</c:v>
                </c:pt>
                <c:pt idx="30">
                  <c:v>3873.25</c:v>
                </c:pt>
                <c:pt idx="31">
                  <c:v>5011.5</c:v>
                </c:pt>
                <c:pt idx="32">
                  <c:v>8655.5</c:v>
                </c:pt>
                <c:pt idx="33">
                  <c:v>3845.7778</c:v>
                </c:pt>
                <c:pt idx="34">
                  <c:v>3505.4167</c:v>
                </c:pt>
                <c:pt idx="35">
                  <c:v>3707.5</c:v>
                </c:pt>
                <c:pt idx="36">
                  <c:v>6482.5</c:v>
                </c:pt>
                <c:pt idx="37">
                  <c:v>4574.0</c:v>
                </c:pt>
                <c:pt idx="38">
                  <c:v>7663.0</c:v>
                </c:pt>
                <c:pt idx="39">
                  <c:v>5600.75</c:v>
                </c:pt>
                <c:pt idx="40">
                  <c:v>8541.5</c:v>
                </c:pt>
                <c:pt idx="41">
                  <c:v>5335.6667</c:v>
                </c:pt>
                <c:pt idx="42">
                  <c:v>10645.0</c:v>
                </c:pt>
                <c:pt idx="43">
                  <c:v>7240.0</c:v>
                </c:pt>
                <c:pt idx="44">
                  <c:v>4505.0</c:v>
                </c:pt>
                <c:pt idx="45">
                  <c:v>4392.2</c:v>
                </c:pt>
                <c:pt idx="46">
                  <c:v>4084.1818</c:v>
                </c:pt>
                <c:pt idx="47">
                  <c:v>3419.4286</c:v>
                </c:pt>
                <c:pt idx="48">
                  <c:v>4401.9</c:v>
                </c:pt>
                <c:pt idx="49">
                  <c:v>3402.25</c:v>
                </c:pt>
                <c:pt idx="50">
                  <c:v>4337.6</c:v>
                </c:pt>
                <c:pt idx="51">
                  <c:v>4108.2</c:v>
                </c:pt>
                <c:pt idx="52">
                  <c:v>4801.75</c:v>
                </c:pt>
                <c:pt idx="53">
                  <c:v>3999.4</c:v>
                </c:pt>
                <c:pt idx="54">
                  <c:v>4201.4444</c:v>
                </c:pt>
                <c:pt idx="55">
                  <c:v>4984.2</c:v>
                </c:pt>
                <c:pt idx="56">
                  <c:v>10395.0</c:v>
                </c:pt>
                <c:pt idx="57">
                  <c:v>4042.75</c:v>
                </c:pt>
                <c:pt idx="58">
                  <c:v>4289.0</c:v>
                </c:pt>
                <c:pt idx="59">
                  <c:v>3433.0</c:v>
                </c:pt>
                <c:pt idx="60">
                  <c:v>3007.3571</c:v>
                </c:pt>
                <c:pt idx="61">
                  <c:v>2989.9286</c:v>
                </c:pt>
                <c:pt idx="62">
                  <c:v>3040.0833</c:v>
                </c:pt>
                <c:pt idx="63">
                  <c:v>2470.9444</c:v>
                </c:pt>
                <c:pt idx="64">
                  <c:v>2609.3158</c:v>
                </c:pt>
                <c:pt idx="65">
                  <c:v>2489.9333</c:v>
                </c:pt>
                <c:pt idx="66">
                  <c:v>2358.7273</c:v>
                </c:pt>
                <c:pt idx="67">
                  <c:v>3155.3333</c:v>
                </c:pt>
                <c:pt idx="68">
                  <c:v>2346.9231</c:v>
                </c:pt>
                <c:pt idx="69">
                  <c:v>2135.0</c:v>
                </c:pt>
                <c:pt idx="70">
                  <c:v>2302.5</c:v>
                </c:pt>
                <c:pt idx="71">
                  <c:v>1857.8</c:v>
                </c:pt>
                <c:pt idx="72">
                  <c:v>2952.3636</c:v>
                </c:pt>
                <c:pt idx="73">
                  <c:v>2025.9474</c:v>
                </c:pt>
                <c:pt idx="74">
                  <c:v>2531.4762</c:v>
                </c:pt>
                <c:pt idx="75">
                  <c:v>3962.4444</c:v>
                </c:pt>
                <c:pt idx="76">
                  <c:v>3882.0</c:v>
                </c:pt>
                <c:pt idx="77">
                  <c:v>4467.6957</c:v>
                </c:pt>
                <c:pt idx="78">
                  <c:v>3018.5429</c:v>
                </c:pt>
                <c:pt idx="79">
                  <c:v>4773.4</c:v>
                </c:pt>
                <c:pt idx="80">
                  <c:v>4299.5</c:v>
                </c:pt>
                <c:pt idx="81">
                  <c:v>3470.475</c:v>
                </c:pt>
                <c:pt idx="82">
                  <c:v>4188.0</c:v>
                </c:pt>
                <c:pt idx="83">
                  <c:v>4291.4286</c:v>
                </c:pt>
                <c:pt idx="84">
                  <c:v>4199.35</c:v>
                </c:pt>
                <c:pt idx="85">
                  <c:v>3644.0476</c:v>
                </c:pt>
                <c:pt idx="86">
                  <c:v>4846.4231</c:v>
                </c:pt>
                <c:pt idx="87">
                  <c:v>4906.68</c:v>
                </c:pt>
                <c:pt idx="88">
                  <c:v>4199.0333</c:v>
                </c:pt>
                <c:pt idx="89">
                  <c:v>3929.7353</c:v>
                </c:pt>
                <c:pt idx="90">
                  <c:v>4177.2903</c:v>
                </c:pt>
                <c:pt idx="91">
                  <c:v>3942.625</c:v>
                </c:pt>
                <c:pt idx="92">
                  <c:v>4270.3235</c:v>
                </c:pt>
                <c:pt idx="93">
                  <c:v>4332.2286</c:v>
                </c:pt>
                <c:pt idx="94">
                  <c:v>5011.5517</c:v>
                </c:pt>
                <c:pt idx="95">
                  <c:v>4381.1064</c:v>
                </c:pt>
                <c:pt idx="96">
                  <c:v>3358.3295</c:v>
                </c:pt>
                <c:pt idx="97">
                  <c:v>3539.0348</c:v>
                </c:pt>
                <c:pt idx="98">
                  <c:v>3390.072</c:v>
                </c:pt>
                <c:pt idx="99">
                  <c:v>3491.0956</c:v>
                </c:pt>
                <c:pt idx="100">
                  <c:v>3928.0486</c:v>
                </c:pt>
                <c:pt idx="101">
                  <c:v>3765.3274</c:v>
                </c:pt>
                <c:pt idx="102">
                  <c:v>3902.8667</c:v>
                </c:pt>
                <c:pt idx="103">
                  <c:v>3989.4744</c:v>
                </c:pt>
                <c:pt idx="104">
                  <c:v>4479.7</c:v>
                </c:pt>
              </c:numCache>
            </c:numRef>
          </c:xVal>
          <c:yVal>
            <c:numRef>
              <c:f>Sheet1!$B$2:$B$106</c:f>
              <c:numCache>
                <c:formatCode>General</c:formatCode>
                <c:ptCount val="105"/>
                <c:pt idx="0">
                  <c:v>0.0003580478131541258</c:v>
                </c:pt>
                <c:pt idx="1">
                  <c:v>8.968609865470852e-05</c:v>
                </c:pt>
                <c:pt idx="2">
                  <c:v>8.448800270361608e-05</c:v>
                </c:pt>
                <c:pt idx="3">
                  <c:v>8.956560680698612e-05</c:v>
                </c:pt>
                <c:pt idx="4">
                  <c:v>7.059155724975294e-05</c:v>
                </c:pt>
                <c:pt idx="5">
                  <c:v>0.00010866415531729933</c:v>
                </c:pt>
                <c:pt idx="6">
                  <c:v>0.00020990764063811922</c:v>
                </c:pt>
                <c:pt idx="7">
                  <c:v>0.0002427577277876679</c:v>
                </c:pt>
                <c:pt idx="8">
                  <c:v>0.00012605571662674902</c:v>
                </c:pt>
                <c:pt idx="9">
                  <c:v>0.0001576739932515531</c:v>
                </c:pt>
                <c:pt idx="10">
                  <c:v>0.00012233912405187178</c:v>
                </c:pt>
                <c:pt idx="11">
                  <c:v>0.00021624961383997528</c:v>
                </c:pt>
                <c:pt idx="12">
                  <c:v>0.0001422556048708319</c:v>
                </c:pt>
                <c:pt idx="13">
                  <c:v>0.00017932394871335067</c:v>
                </c:pt>
                <c:pt idx="14">
                  <c:v>0.0</c:v>
                </c:pt>
                <c:pt idx="15">
                  <c:v>0.00017827218597354442</c:v>
                </c:pt>
                <c:pt idx="16">
                  <c:v>0.00016287971333170455</c:v>
                </c:pt>
                <c:pt idx="17">
                  <c:v>8.955758552749418e-05</c:v>
                </c:pt>
                <c:pt idx="18">
                  <c:v>0.0</c:v>
                </c:pt>
                <c:pt idx="19">
                  <c:v>0.00017497812773403323</c:v>
                </c:pt>
                <c:pt idx="20">
                  <c:v>0.0001436850423870875</c:v>
                </c:pt>
                <c:pt idx="21">
                  <c:v>5.938947618482005e-05</c:v>
                </c:pt>
                <c:pt idx="22">
                  <c:v>0.0002357795461243737</c:v>
                </c:pt>
                <c:pt idx="23">
                  <c:v>0.00018617351371478217</c:v>
                </c:pt>
                <c:pt idx="24">
                  <c:v>0.00022766078542970974</c:v>
                </c:pt>
                <c:pt idx="25">
                  <c:v>0.00038897893030794163</c:v>
                </c:pt>
                <c:pt idx="26">
                  <c:v>0.0002871582816448426</c:v>
                </c:pt>
                <c:pt idx="27">
                  <c:v>5.5781781670106545e-05</c:v>
                </c:pt>
                <c:pt idx="28">
                  <c:v>0.00028376844494892167</c:v>
                </c:pt>
                <c:pt idx="29">
                  <c:v>0.00019717060186326217</c:v>
                </c:pt>
                <c:pt idx="30">
                  <c:v>0.0002540489044140997</c:v>
                </c:pt>
                <c:pt idx="31">
                  <c:v>0.00024515812699190976</c:v>
                </c:pt>
                <c:pt idx="32">
                  <c:v>0.00012088244182532487</c:v>
                </c:pt>
                <c:pt idx="33">
                  <c:v>0.0004301486402523539</c:v>
                </c:pt>
                <c:pt idx="34">
                  <c:v>0.0005119453924914676</c:v>
                </c:pt>
                <c:pt idx="35">
                  <c:v>0.0005358851674641148</c:v>
                </c:pt>
                <c:pt idx="36">
                  <c:v>0.0001835451750562107</c:v>
                </c:pt>
                <c:pt idx="37">
                  <c:v>0.0002117634602149399</c:v>
                </c:pt>
                <c:pt idx="38">
                  <c:v>0.00010658140154543032</c:v>
                </c:pt>
                <c:pt idx="39">
                  <c:v>0.00022478224220286598</c:v>
                </c:pt>
                <c:pt idx="40">
                  <c:v>9.148293843198243e-05</c:v>
                </c:pt>
                <c:pt idx="41">
                  <c:v>0.00015227653418608191</c:v>
                </c:pt>
                <c:pt idx="42">
                  <c:v>4.338771259979174e-05</c:v>
                </c:pt>
                <c:pt idx="43">
                  <c:v>0.00011588380716934487</c:v>
                </c:pt>
                <c:pt idx="44">
                  <c:v>0.0001552553951249806</c:v>
                </c:pt>
                <c:pt idx="45">
                  <c:v>0.00011769136616137841</c:v>
                </c:pt>
                <c:pt idx="46">
                  <c:v>0.00025193532133205076</c:v>
                </c:pt>
                <c:pt idx="47">
                  <c:v>0.00032806092560046864</c:v>
                </c:pt>
                <c:pt idx="48">
                  <c:v>0.00017046519952951605</c:v>
                </c:pt>
                <c:pt idx="49">
                  <c:v>0.00019105846388995032</c:v>
                </c:pt>
                <c:pt idx="50">
                  <c:v>0.0002257336343115124</c:v>
                </c:pt>
                <c:pt idx="51">
                  <c:v>0.0002758088093333701</c:v>
                </c:pt>
                <c:pt idx="52">
                  <c:v>9.292600766639563e-05</c:v>
                </c:pt>
                <c:pt idx="53">
                  <c:v>0.00014659317462178961</c:v>
                </c:pt>
                <c:pt idx="54">
                  <c:v>0.00028976175144880876</c:v>
                </c:pt>
                <c:pt idx="55">
                  <c:v>0.00016557387906483874</c:v>
                </c:pt>
                <c:pt idx="56">
                  <c:v>6.75789829363068e-05</c:v>
                </c:pt>
                <c:pt idx="57">
                  <c:v>0.00011549011115923199</c:v>
                </c:pt>
                <c:pt idx="58">
                  <c:v>0.0001065019436604718</c:v>
                </c:pt>
                <c:pt idx="59">
                  <c:v>0.00017264597216946927</c:v>
                </c:pt>
                <c:pt idx="60">
                  <c:v>0.0002658009151145792</c:v>
                </c:pt>
                <c:pt idx="61">
                  <c:v>0.00036557342803425946</c:v>
                </c:pt>
                <c:pt idx="62">
                  <c:v>0.0003044680689112729</c:v>
                </c:pt>
                <c:pt idx="63">
                  <c:v>0.0004142025450445268</c:v>
                </c:pt>
                <c:pt idx="64">
                  <c:v>0.0004272351142291779</c:v>
                </c:pt>
                <c:pt idx="65">
                  <c:v>0.00036707126076742367</c:v>
                </c:pt>
                <c:pt idx="66">
                  <c:v>0.0002800122187149985</c:v>
                </c:pt>
                <c:pt idx="67">
                  <c:v>0.00024030759371996156</c:v>
                </c:pt>
                <c:pt idx="68">
                  <c:v>0.00041124924867925723</c:v>
                </c:pt>
                <c:pt idx="69">
                  <c:v>0.00045595854922279795</c:v>
                </c:pt>
                <c:pt idx="70">
                  <c:v>0.0003940110323089047</c:v>
                </c:pt>
                <c:pt idx="71">
                  <c:v>0.0004268032437046522</c:v>
                </c:pt>
                <c:pt idx="72">
                  <c:v>0.00044458814970495513</c:v>
                </c:pt>
                <c:pt idx="73">
                  <c:v>0.0008129733430319627</c:v>
                </c:pt>
                <c:pt idx="74">
                  <c:v>0.0008604794099569761</c:v>
                </c:pt>
                <c:pt idx="75">
                  <c:v>0.0008656759486365604</c:v>
                </c:pt>
                <c:pt idx="76">
                  <c:v>0.001183431952662722</c:v>
                </c:pt>
                <c:pt idx="77">
                  <c:v>0.0012112275527937227</c:v>
                </c:pt>
                <c:pt idx="78">
                  <c:v>0.002056645904336585</c:v>
                </c:pt>
                <c:pt idx="79">
                  <c:v>0.001290922234844573</c:v>
                </c:pt>
                <c:pt idx="80">
                  <c:v>0.0012359666289010196</c:v>
                </c:pt>
                <c:pt idx="81">
                  <c:v>0.0017492456378186906</c:v>
                </c:pt>
                <c:pt idx="82">
                  <c:v>0.0014101985559566788</c:v>
                </c:pt>
                <c:pt idx="83">
                  <c:v>0.001380216891225764</c:v>
                </c:pt>
                <c:pt idx="84">
                  <c:v>0.0013312920189043466</c:v>
                </c:pt>
                <c:pt idx="85">
                  <c:v>0.0012235623142807202</c:v>
                </c:pt>
                <c:pt idx="86">
                  <c:v>0.0011437620974837233</c:v>
                </c:pt>
                <c:pt idx="87">
                  <c:v>0.001046156421308114</c:v>
                </c:pt>
                <c:pt idx="88">
                  <c:v>0.0015890672175433022</c:v>
                </c:pt>
                <c:pt idx="89">
                  <c:v>0.0019621421975992612</c:v>
                </c:pt>
                <c:pt idx="90">
                  <c:v>0.001836601694413176</c:v>
                </c:pt>
                <c:pt idx="91">
                  <c:v>0.00184003220056351</c:v>
                </c:pt>
                <c:pt idx="92">
                  <c:v>0.0015671813781977413</c:v>
                </c:pt>
                <c:pt idx="93">
                  <c:v>0.001546551190844417</c:v>
                </c:pt>
                <c:pt idx="94">
                  <c:v>0.0014558232931726907</c:v>
                </c:pt>
                <c:pt idx="95">
                  <c:v>0.0017315698338429798</c:v>
                </c:pt>
                <c:pt idx="96">
                  <c:v>0.002308560035677746</c:v>
                </c:pt>
                <c:pt idx="97">
                  <c:v>0.0026446509060803975</c:v>
                </c:pt>
                <c:pt idx="98">
                  <c:v>0.002492373337586984</c:v>
                </c:pt>
                <c:pt idx="99">
                  <c:v>0.0023547337073204517</c:v>
                </c:pt>
                <c:pt idx="100">
                  <c:v>0.001811252405569601</c:v>
                </c:pt>
                <c:pt idx="101">
                  <c:v>0.0024561479774816877</c:v>
                </c:pt>
                <c:pt idx="102">
                  <c:v>0.002028946300554579</c:v>
                </c:pt>
                <c:pt idx="103">
                  <c:v>0.001982513216754778</c:v>
                </c:pt>
                <c:pt idx="104">
                  <c:v>0.0014722770236447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numCache>
            </c:numRef>
          </c:xVal>
          <c:yVal>
            <c:numRef>
              <c:f>Sheet1!$B$109:$B$160</c:f>
              <c:numCache>
                <c:formatCode>General</c:formatCode>
                <c:ptCount val="52"/>
                <c:pt idx="0">
                  <c:v>0.001584147782193105</c:v>
                </c:pt>
                <c:pt idx="1">
                  <c:v>0.0019049243716592744</c:v>
                </c:pt>
                <c:pt idx="2">
                  <c:v>0.0017297077302673416</c:v>
                </c:pt>
                <c:pt idx="3">
                  <c:v>0.00184412058499603</c:v>
                </c:pt>
                <c:pt idx="4">
                  <c:v>0.0018328640493013866</c:v>
                </c:pt>
                <c:pt idx="5">
                  <c:v>0.0016014092401313155</c:v>
                </c:pt>
                <c:pt idx="6">
                  <c:v>0.0017298001955426308</c:v>
                </c:pt>
                <c:pt idx="7">
                  <c:v>0.0019910061446568946</c:v>
                </c:pt>
                <c:pt idx="8">
                  <c:v>0.0023928811784939804</c:v>
                </c:pt>
                <c:pt idx="9">
                  <c:v>0.0025054914881933003</c:v>
                </c:pt>
                <c:pt idx="10">
                  <c:v>0.002407254740313273</c:v>
                </c:pt>
                <c:pt idx="11">
                  <c:v>0.0024414905423068385</c:v>
                </c:pt>
                <c:pt idx="12">
                  <c:v>0.0025257486038222994</c:v>
                </c:pt>
                <c:pt idx="13">
                  <c:v>0.0036323158943113248</c:v>
                </c:pt>
                <c:pt idx="14">
                  <c:v>0.0036016335980962795</c:v>
                </c:pt>
                <c:pt idx="15">
                  <c:v>0.003392385978137957</c:v>
                </c:pt>
                <c:pt idx="16">
                  <c:v>0.003323047709470686</c:v>
                </c:pt>
                <c:pt idx="17">
                  <c:v>0.00420427847162112</c:v>
                </c:pt>
                <c:pt idx="18">
                  <c:v>0.0023092369477911647</c:v>
                </c:pt>
                <c:pt idx="19">
                  <c:v>0.0020470829068577278</c:v>
                </c:pt>
                <c:pt idx="20">
                  <c:v>0.0024176954732510287</c:v>
                </c:pt>
                <c:pt idx="21">
                  <c:v>0.0034454676439265803</c:v>
                </c:pt>
                <c:pt idx="22">
                  <c:v>0.002851298580549185</c:v>
                </c:pt>
                <c:pt idx="23">
                  <c:v>0.0028443208393906833</c:v>
                </c:pt>
                <c:pt idx="24">
                  <c:v>0.0025663458734324876</c:v>
                </c:pt>
                <c:pt idx="25">
                  <c:v>0.0027607361963190185</c:v>
                </c:pt>
                <c:pt idx="26">
                  <c:v>0.0029604690311719976</c:v>
                </c:pt>
                <c:pt idx="27">
                  <c:v>0.003013640689436396</c:v>
                </c:pt>
                <c:pt idx="28">
                  <c:v>0.0024760725679729536</c:v>
                </c:pt>
                <c:pt idx="29">
                  <c:v>0.002812051649928264</c:v>
                </c:pt>
                <c:pt idx="30">
                  <c:v>0.0027380952380952383</c:v>
                </c:pt>
                <c:pt idx="31">
                  <c:v>0.002772941252337654</c:v>
                </c:pt>
                <c:pt idx="32">
                  <c:v>0.0023744911804613297</c:v>
                </c:pt>
                <c:pt idx="33">
                  <c:v>0.0023239269622954708</c:v>
                </c:pt>
                <c:pt idx="34">
                  <c:v>0.002157015880099669</c:v>
                </c:pt>
                <c:pt idx="35">
                  <c:v>0.0026392305971818385</c:v>
                </c:pt>
                <c:pt idx="36">
                  <c:v>0.003280519299225239</c:v>
                </c:pt>
                <c:pt idx="37">
                  <c:v>0.003253049734125743</c:v>
                </c:pt>
                <c:pt idx="38">
                  <c:v>0.003777544596012592</c:v>
                </c:pt>
                <c:pt idx="39">
                  <c:v>0.0035495653068573487</c:v>
                </c:pt>
                <c:pt idx="40">
                  <c:v>0.0033338309200378166</c:v>
                </c:pt>
                <c:pt idx="41">
                  <c:v>0.002729026490377829</c:v>
                </c:pt>
                <c:pt idx="42">
                  <c:v>0.003122023494549688</c:v>
                </c:pt>
                <c:pt idx="43">
                  <c:v>0.0022727272727272726</c:v>
                </c:pt>
                <c:pt idx="44">
                  <c:v>0.0016782773907536416</c:v>
                </c:pt>
                <c:pt idx="45">
                  <c:v>0.0014120237411449359</c:v>
                </c:pt>
                <c:pt idx="46">
                  <c:v>0.0014623655913978495</c:v>
                </c:pt>
                <c:pt idx="47">
                  <c:v>0.0014511837897395932</c:v>
                </c:pt>
                <c:pt idx="48">
                  <c:v>0.0016167059616032334</c:v>
                </c:pt>
                <c:pt idx="49">
                  <c:v>0.0014272897806051708</c:v>
                </c:pt>
                <c:pt idx="50">
                  <c:v>0.0012052271650077866</c:v>
                </c:pt>
                <c:pt idx="51">
                  <c:v>0.001440003777059087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79.4277806492564</c:v>
                </c:pt>
              </c:numCache>
            </c:numRef>
          </c:xVal>
          <c:yVal>
            <c:numRef>
              <c:f>Sheet1!$B$163:$B$164</c:f>
              <c:numCache>
                <c:formatCode>General</c:formatCode>
                <c:ptCount val="2"/>
                <c:pt idx="0">
                  <c:v>0.002942548461392275</c:v>
                </c:pt>
                <c:pt idx="1">
                  <c:v>0.00294254846139227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79.4277806492564</c:v>
                </c:pt>
                <c:pt idx="1">
                  <c:v>3579.4277806492564</c:v>
                </c:pt>
              </c:numCache>
            </c:numRef>
          </c:xVal>
          <c:yVal>
            <c:numRef>
              <c:f>Sheet1!$B$167:$B$168</c:f>
              <c:numCache>
                <c:formatCode>General</c:formatCode>
                <c:ptCount val="2"/>
                <c:pt idx="0">
                  <c:v>0.00294254846139227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79.4277806492564</c:v>
                </c:pt>
              </c:numCache>
            </c:numRef>
          </c:xVal>
          <c:yVal>
            <c:numRef>
              <c:f>Sheet1!$B$171:$B$172</c:f>
              <c:numCache>
                <c:formatCode>General</c:formatCode>
                <c:ptCount val="2"/>
                <c:pt idx="0">
                  <c:v>0.002942548461392275</c:v>
                </c:pt>
                <c:pt idx="1">
                  <c:v>0.00294254846139227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79.4277806492564</c:v>
                </c:pt>
                <c:pt idx="1">
                  <c:v>3579.4277806492564</c:v>
                </c:pt>
              </c:numCache>
            </c:numRef>
          </c:xVal>
          <c:yVal>
            <c:numRef>
              <c:f>Sheet1!$B$175:$B$176</c:f>
              <c:numCache>
                <c:formatCode>General</c:formatCode>
                <c:ptCount val="2"/>
                <c:pt idx="0">
                  <c:v>0.00294254846139227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336.503185027092</c:v>
                </c:pt>
              </c:numCache>
            </c:numRef>
          </c:xVal>
          <c:yVal>
            <c:numRef>
              <c:f>Sheet1!$B$179:$B$180</c:f>
              <c:numCache>
                <c:formatCode>General</c:formatCode>
                <c:ptCount val="2"/>
                <c:pt idx="0">
                  <c:v>0.0020538654370662506</c:v>
                </c:pt>
                <c:pt idx="1">
                  <c:v>0.002053865437066250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336.503185027092</c:v>
                </c:pt>
                <c:pt idx="1">
                  <c:v>4336.503185027092</c:v>
                </c:pt>
              </c:numCache>
            </c:numRef>
          </c:xVal>
          <c:yVal>
            <c:numRef>
              <c:f>Sheet1!$B$183:$B$184</c:f>
              <c:numCache>
                <c:formatCode>General</c:formatCode>
                <c:ptCount val="2"/>
                <c:pt idx="0">
                  <c:v>0.00205386543706625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pt idx="52">
                  <c:v>3579.4277806492564</c:v>
                </c:pt>
                <c:pt idx="53">
                  <c:v>3579.4277806492564</c:v>
                </c:pt>
                <c:pt idx="54">
                  <c:v>4336.503185027092</c:v>
                </c:pt>
              </c:numCache>
            </c:numRef>
          </c:xVal>
          <c:yVal>
            <c:numRef>
              <c:f>Sheet1!$B$187:$B$241</c:f>
              <c:numCache>
                <c:formatCode>General</c:formatCode>
                <c:ptCount val="55"/>
                <c:pt idx="0">
                  <c:v>0.002060424702545946</c:v>
                </c:pt>
                <c:pt idx="1">
                  <c:v>0.0027623849036312216</c:v>
                </c:pt>
                <c:pt idx="2">
                  <c:v>0.0020267846507090086</c:v>
                </c:pt>
                <c:pt idx="3">
                  <c:v>0.0026883116885970558</c:v>
                </c:pt>
                <c:pt idx="4">
                  <c:v>0.001907658402701612</c:v>
                </c:pt>
                <c:pt idx="5">
                  <c:v>0.0015744741973607417</c:v>
                </c:pt>
                <c:pt idx="6">
                  <c:v>0.0018165244078065896</c:v>
                </c:pt>
                <c:pt idx="7">
                  <c:v>0.0018554097497047771</c:v>
                </c:pt>
                <c:pt idx="8">
                  <c:v>0.0021733987541250055</c:v>
                </c:pt>
                <c:pt idx="9">
                  <c:v>0.002333909677497843</c:v>
                </c:pt>
                <c:pt idx="10">
                  <c:v>0.002281119181401026</c:v>
                </c:pt>
                <c:pt idx="11">
                  <c:v>0.0023478441776182656</c:v>
                </c:pt>
                <c:pt idx="12">
                  <c:v>0.0027295166495374373</c:v>
                </c:pt>
                <c:pt idx="13">
                  <c:v>0.003105390367310344</c:v>
                </c:pt>
                <c:pt idx="14">
                  <c:v>0.0030520917172317617</c:v>
                </c:pt>
                <c:pt idx="15">
                  <c:v>0.002757252419293342</c:v>
                </c:pt>
                <c:pt idx="16">
                  <c:v>0.0025417241138943605</c:v>
                </c:pt>
                <c:pt idx="17">
                  <c:v>0.0035954392065494483</c:v>
                </c:pt>
                <c:pt idx="18">
                  <c:v>0.0021334603631692033</c:v>
                </c:pt>
                <c:pt idx="19">
                  <c:v>0.0017394676515955897</c:v>
                </c:pt>
                <c:pt idx="20">
                  <c:v>0.0019344250527362312</c:v>
                </c:pt>
                <c:pt idx="21">
                  <c:v>0.0029099697701401254</c:v>
                </c:pt>
                <c:pt idx="22">
                  <c:v>0.0024917358011776964</c:v>
                </c:pt>
                <c:pt idx="23">
                  <c:v>0.0033711098244374213</c:v>
                </c:pt>
                <c:pt idx="24">
                  <c:v>0.0022736167204191566</c:v>
                </c:pt>
                <c:pt idx="25">
                  <c:v>0.002600185885453173</c:v>
                </c:pt>
                <c:pt idx="26">
                  <c:v>0.0025741896245574606</c:v>
                </c:pt>
                <c:pt idx="27">
                  <c:v>0.0028644240778318356</c:v>
                </c:pt>
                <c:pt idx="28">
                  <c:v>0.0027539951393580247</c:v>
                </c:pt>
                <c:pt idx="29">
                  <c:v>0.0027665439250513894</c:v>
                </c:pt>
                <c:pt idx="30">
                  <c:v>0.002865551900298178</c:v>
                </c:pt>
                <c:pt idx="31">
                  <c:v>0.0024819783995652664</c:v>
                </c:pt>
                <c:pt idx="32">
                  <c:v>0.0019109685052961572</c:v>
                </c:pt>
                <c:pt idx="33">
                  <c:v>0.0020445622927474207</c:v>
                </c:pt>
                <c:pt idx="34">
                  <c:v>0.0019146076343658424</c:v>
                </c:pt>
                <c:pt idx="35">
                  <c:v>0.0022709195954390207</c:v>
                </c:pt>
                <c:pt idx="36">
                  <c:v>0.0022906470979050363</c:v>
                </c:pt>
                <c:pt idx="37">
                  <c:v>0.002232856761036843</c:v>
                </c:pt>
                <c:pt idx="38">
                  <c:v>0.0028359489082304384</c:v>
                </c:pt>
                <c:pt idx="39">
                  <c:v>0.0032320356273995007</c:v>
                </c:pt>
                <c:pt idx="40">
                  <c:v>0.0033627936597360806</c:v>
                </c:pt>
                <c:pt idx="41">
                  <c:v>0.0029987066727594214</c:v>
                </c:pt>
                <c:pt idx="42">
                  <c:v>0.003196857966644307</c:v>
                </c:pt>
                <c:pt idx="43">
                  <c:v>0.0029115758137480035</c:v>
                </c:pt>
                <c:pt idx="44">
                  <c:v>0.0022984812851868514</c:v>
                </c:pt>
                <c:pt idx="45">
                  <c:v>0.0021855080552936014</c:v>
                </c:pt>
                <c:pt idx="46">
                  <c:v>0.0019102583339887704</c:v>
                </c:pt>
                <c:pt idx="47">
                  <c:v>0.002386804058157807</c:v>
                </c:pt>
                <c:pt idx="48">
                  <c:v>0.0027357379849575177</c:v>
                </c:pt>
                <c:pt idx="49">
                  <c:v>0.002655779151848581</c:v>
                </c:pt>
                <c:pt idx="50">
                  <c:v>0.0024109332141253725</c:v>
                </c:pt>
                <c:pt idx="51">
                  <c:v>0.0020096964030653546</c:v>
                </c:pt>
                <c:pt idx="52">
                  <c:v>0.0029425484613922748</c:v>
                </c:pt>
                <c:pt idx="53">
                  <c:v>0.0029425484613922748</c:v>
                </c:pt>
                <c:pt idx="54">
                  <c:v>0.00205386543706625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2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4513416594534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355938169040582</c:v>
                </c:pt>
                <c:pt idx="1">
                  <c:v>1.2139280689748084</c:v>
                </c:pt>
                <c:pt idx="2">
                  <c:v>1.214013539106335</c:v>
                </c:pt>
                <c:pt idx="3">
                  <c:v>0.960878519868561</c:v>
                </c:pt>
                <c:pt idx="4">
                  <c:v>1.1017638461493755</c:v>
                </c:pt>
                <c:pt idx="5">
                  <c:v>1.4078760325445898</c:v>
                </c:pt>
                <c:pt idx="6">
                  <c:v>1.1245901898916797</c:v>
                </c:pt>
                <c:pt idx="7">
                  <c:v>0.7874624199347999</c:v>
                </c:pt>
                <c:pt idx="8">
                  <c:v>1.295691016358969</c:v>
                </c:pt>
                <c:pt idx="9">
                  <c:v>1.091377727621227</c:v>
                </c:pt>
                <c:pt idx="10">
                  <c:v>1.0330073603861336</c:v>
                </c:pt>
                <c:pt idx="11">
                  <c:v>0.8964961557336332</c:v>
                </c:pt>
                <c:pt idx="12">
                  <c:v>1.4409365797775933</c:v>
                </c:pt>
                <c:pt idx="13">
                  <c:v>1.0476375859015612</c:v>
                </c:pt>
                <c:pt idx="14">
                  <c:v>0.0</c:v>
                </c:pt>
                <c:pt idx="15">
                  <c:v>0.7307795486173535</c:v>
                </c:pt>
                <c:pt idx="16">
                  <c:v>0.3977090638486649</c:v>
                </c:pt>
                <c:pt idx="17">
                  <c:v>1.178227375178359</c:v>
                </c:pt>
                <c:pt idx="18">
                  <c:v>0.0</c:v>
                </c:pt>
                <c:pt idx="19">
                  <c:v>0.6245355867579098</c:v>
                </c:pt>
                <c:pt idx="20">
                  <c:v>0.8637252522024399</c:v>
                </c:pt>
                <c:pt idx="21">
                  <c:v>1.0824098141798166</c:v>
                </c:pt>
                <c:pt idx="22">
                  <c:v>0.8416657303268639</c:v>
                </c:pt>
                <c:pt idx="23">
                  <c:v>0.9937441083198905</c:v>
                </c:pt>
                <c:pt idx="24">
                  <c:v>0.9821927131610091</c:v>
                </c:pt>
                <c:pt idx="25">
                  <c:v>0.6829339375731956</c:v>
                </c:pt>
                <c:pt idx="26">
                  <c:v>0.978965589359534</c:v>
                </c:pt>
                <c:pt idx="27">
                  <c:v>2.331883922171076</c:v>
                </c:pt>
                <c:pt idx="28">
                  <c:v>0.49361327514281944</c:v>
                </c:pt>
                <c:pt idx="29">
                  <c:v>1.0689113449469985</c:v>
                </c:pt>
                <c:pt idx="30">
                  <c:v>0.5548744587672944</c:v>
                </c:pt>
                <c:pt idx="31">
                  <c:v>0.6830057152375475</c:v>
                </c:pt>
                <c:pt idx="32">
                  <c:v>1.205662041347487</c:v>
                </c:pt>
                <c:pt idx="33">
                  <c:v>0.5583772902994998</c:v>
                </c:pt>
                <c:pt idx="34">
                  <c:v>0.5405858458231345</c:v>
                </c:pt>
                <c:pt idx="35">
                  <c:v>0.5876717763017041</c:v>
                </c:pt>
                <c:pt idx="36">
                  <c:v>0.9257283404237769</c:v>
                </c:pt>
                <c:pt idx="37">
                  <c:v>0.6020718432033275</c:v>
                </c:pt>
                <c:pt idx="38">
                  <c:v>1.0370971673293956</c:v>
                </c:pt>
                <c:pt idx="39">
                  <c:v>0.753391245937411</c:v>
                </c:pt>
                <c:pt idx="40">
                  <c:v>1.2494158836296547</c:v>
                </c:pt>
                <c:pt idx="41">
                  <c:v>0.7449761615774397</c:v>
                </c:pt>
                <c:pt idx="42">
                  <c:v>1.465789700776348</c:v>
                </c:pt>
                <c:pt idx="43">
                  <c:v>1.05118167266496</c:v>
                </c:pt>
                <c:pt idx="44">
                  <c:v>0.7149264956377344</c:v>
                </c:pt>
                <c:pt idx="45">
                  <c:v>0.736054558866911</c:v>
                </c:pt>
                <c:pt idx="46">
                  <c:v>0.6874516835891648</c:v>
                </c:pt>
                <c:pt idx="47">
                  <c:v>0.5628935892760796</c:v>
                </c:pt>
                <c:pt idx="48">
                  <c:v>0.8283181188675169</c:v>
                </c:pt>
                <c:pt idx="49">
                  <c:v>0.699047200053224</c:v>
                </c:pt>
                <c:pt idx="50">
                  <c:v>0.7699652216280705</c:v>
                </c:pt>
                <c:pt idx="51">
                  <c:v>0.6807484255766341</c:v>
                </c:pt>
                <c:pt idx="52">
                  <c:v>0.866692707307237</c:v>
                </c:pt>
                <c:pt idx="53">
                  <c:v>0.6653841459624622</c:v>
                </c:pt>
                <c:pt idx="54">
                  <c:v>0.678615365347346</c:v>
                </c:pt>
                <c:pt idx="55">
                  <c:v>0.7858752104524525</c:v>
                </c:pt>
                <c:pt idx="56">
                  <c:v>1.6630597441934136</c:v>
                </c:pt>
                <c:pt idx="57">
                  <c:v>0.6427016185699633</c:v>
                </c:pt>
                <c:pt idx="58">
                  <c:v>0.7334291984063468</c:v>
                </c:pt>
                <c:pt idx="59">
                  <c:v>0.6634164221981338</c:v>
                </c:pt>
                <c:pt idx="60">
                  <c:v>0.5771739105610265</c:v>
                </c:pt>
                <c:pt idx="61">
                  <c:v>0.5412662460462861</c:v>
                </c:pt>
                <c:pt idx="62">
                  <c:v>0.5716319330495948</c:v>
                </c:pt>
                <c:pt idx="63">
                  <c:v>0.4648851163257724</c:v>
                </c:pt>
                <c:pt idx="64">
                  <c:v>0.5047695237045823</c:v>
                </c:pt>
                <c:pt idx="65">
                  <c:v>0.46160119506374564</c:v>
                </c:pt>
                <c:pt idx="66">
                  <c:v>0.42860474642963137</c:v>
                </c:pt>
                <c:pt idx="67">
                  <c:v>0.5820918607009272</c:v>
                </c:pt>
                <c:pt idx="68">
                  <c:v>0.40210025885516915</c:v>
                </c:pt>
                <c:pt idx="69">
                  <c:v>0.34140886566064854</c:v>
                </c:pt>
                <c:pt idx="70">
                  <c:v>0.3599212853321361</c:v>
                </c:pt>
                <c:pt idx="71">
                  <c:v>0.28911647201337615</c:v>
                </c:pt>
                <c:pt idx="72">
                  <c:v>0.48028682476340856</c:v>
                </c:pt>
                <c:pt idx="73">
                  <c:v>0.32535558185197816</c:v>
                </c:pt>
                <c:pt idx="74">
                  <c:v>0.4044535588525164</c:v>
                </c:pt>
                <c:pt idx="75">
                  <c:v>0.6151950544237516</c:v>
                </c:pt>
                <c:pt idx="76">
                  <c:v>0.5858818148397041</c:v>
                </c:pt>
                <c:pt idx="77">
                  <c:v>0.6853186929800134</c:v>
                </c:pt>
                <c:pt idx="78">
                  <c:v>0.4425839792448145</c:v>
                </c:pt>
                <c:pt idx="79">
                  <c:v>0.6644279561897357</c:v>
                </c:pt>
                <c:pt idx="80">
                  <c:v>0.5909437888412907</c:v>
                </c:pt>
                <c:pt idx="81">
                  <c:v>0.5049044315448753</c:v>
                </c:pt>
                <c:pt idx="82">
                  <c:v>0.5828822432983052</c:v>
                </c:pt>
                <c:pt idx="83">
                  <c:v>0.5632173684715948</c:v>
                </c:pt>
                <c:pt idx="84">
                  <c:v>0.5331968578264198</c:v>
                </c:pt>
                <c:pt idx="85">
                  <c:v>0.47738395542392525</c:v>
                </c:pt>
                <c:pt idx="86">
                  <c:v>0.6678114329092059</c:v>
                </c:pt>
                <c:pt idx="87">
                  <c:v>0.7403176856500857</c:v>
                </c:pt>
                <c:pt idx="88">
                  <c:v>0.5605992952525707</c:v>
                </c:pt>
                <c:pt idx="89">
                  <c:v>0.5023520158871536</c:v>
                </c:pt>
                <c:pt idx="90">
                  <c:v>0.5424675639731874</c:v>
                </c:pt>
                <c:pt idx="91">
                  <c:v>0.5321009460866502</c:v>
                </c:pt>
                <c:pt idx="92">
                  <c:v>0.6070644610828161</c:v>
                </c:pt>
                <c:pt idx="93">
                  <c:v>0.6016996618506891</c:v>
                </c:pt>
                <c:pt idx="94">
                  <c:v>0.6819400382290702</c:v>
                </c:pt>
                <c:pt idx="95">
                  <c:v>0.6403855656009306</c:v>
                </c:pt>
                <c:pt idx="96">
                  <c:v>0.5275219180109367</c:v>
                </c:pt>
                <c:pt idx="97">
                  <c:v>0.5866189472841119</c:v>
                </c:pt>
                <c:pt idx="98">
                  <c:v>0.5989823347252456</c:v>
                </c:pt>
                <c:pt idx="99">
                  <c:v>0.6468964754576311</c:v>
                </c:pt>
                <c:pt idx="100">
                  <c:v>0.7917562344942517</c:v>
                </c:pt>
                <c:pt idx="101">
                  <c:v>0.6839619332442171</c:v>
                </c:pt>
                <c:pt idx="102">
                  <c:v>0.6993203316708484</c:v>
                </c:pt>
                <c:pt idx="103">
                  <c:v>0.6982485182448284</c:v>
                </c:pt>
                <c:pt idx="104">
                  <c:v>0.7825778947747967</c:v>
                </c:pt>
              </c:numCache>
            </c:numRef>
          </c:xVal>
          <c:yVal>
            <c:numRef>
              <c:f>Sheet1!$B$2:$B$106</c:f>
              <c:numCache>
                <c:formatCode>General</c:formatCode>
                <c:ptCount val="105"/>
                <c:pt idx="0">
                  <c:v>0.0003580478131541258</c:v>
                </c:pt>
                <c:pt idx="1">
                  <c:v>8.968609865470852e-05</c:v>
                </c:pt>
                <c:pt idx="2">
                  <c:v>8.448800270361608e-05</c:v>
                </c:pt>
                <c:pt idx="3">
                  <c:v>8.956560680698612e-05</c:v>
                </c:pt>
                <c:pt idx="4">
                  <c:v>7.059155724975294e-05</c:v>
                </c:pt>
                <c:pt idx="5">
                  <c:v>0.00010866415531729933</c:v>
                </c:pt>
                <c:pt idx="6">
                  <c:v>0.00020990764063811922</c:v>
                </c:pt>
                <c:pt idx="7">
                  <c:v>0.0002427577277876679</c:v>
                </c:pt>
                <c:pt idx="8">
                  <c:v>0.00012605571662674902</c:v>
                </c:pt>
                <c:pt idx="9">
                  <c:v>0.0001576739932515531</c:v>
                </c:pt>
                <c:pt idx="10">
                  <c:v>0.00012233912405187178</c:v>
                </c:pt>
                <c:pt idx="11">
                  <c:v>0.00021624961383997528</c:v>
                </c:pt>
                <c:pt idx="12">
                  <c:v>0.0001422556048708319</c:v>
                </c:pt>
                <c:pt idx="13">
                  <c:v>0.00017932394871335067</c:v>
                </c:pt>
                <c:pt idx="14">
                  <c:v>0.0</c:v>
                </c:pt>
                <c:pt idx="15">
                  <c:v>0.00017827218597354442</c:v>
                </c:pt>
                <c:pt idx="16">
                  <c:v>0.00016287971333170455</c:v>
                </c:pt>
                <c:pt idx="17">
                  <c:v>8.955758552749418e-05</c:v>
                </c:pt>
                <c:pt idx="18">
                  <c:v>0.0</c:v>
                </c:pt>
                <c:pt idx="19">
                  <c:v>0.00017497812773403323</c:v>
                </c:pt>
                <c:pt idx="20">
                  <c:v>0.0001436850423870875</c:v>
                </c:pt>
                <c:pt idx="21">
                  <c:v>5.938947618482005e-05</c:v>
                </c:pt>
                <c:pt idx="22">
                  <c:v>0.0002357795461243737</c:v>
                </c:pt>
                <c:pt idx="23">
                  <c:v>0.00018617351371478217</c:v>
                </c:pt>
                <c:pt idx="24">
                  <c:v>0.00022766078542970974</c:v>
                </c:pt>
                <c:pt idx="25">
                  <c:v>0.00038897893030794163</c:v>
                </c:pt>
                <c:pt idx="26">
                  <c:v>0.0002871582816448426</c:v>
                </c:pt>
                <c:pt idx="27">
                  <c:v>5.5781781670106545e-05</c:v>
                </c:pt>
                <c:pt idx="28">
                  <c:v>0.00028376844494892167</c:v>
                </c:pt>
                <c:pt idx="29">
                  <c:v>0.00019717060186326217</c:v>
                </c:pt>
                <c:pt idx="30">
                  <c:v>0.0002540489044140997</c:v>
                </c:pt>
                <c:pt idx="31">
                  <c:v>0.00024515812699190976</c:v>
                </c:pt>
                <c:pt idx="32">
                  <c:v>0.00012088244182532487</c:v>
                </c:pt>
                <c:pt idx="33">
                  <c:v>0.0004301486402523539</c:v>
                </c:pt>
                <c:pt idx="34">
                  <c:v>0.0005119453924914676</c:v>
                </c:pt>
                <c:pt idx="35">
                  <c:v>0.0005358851674641148</c:v>
                </c:pt>
                <c:pt idx="36">
                  <c:v>0.0001835451750562107</c:v>
                </c:pt>
                <c:pt idx="37">
                  <c:v>0.0002117634602149399</c:v>
                </c:pt>
                <c:pt idx="38">
                  <c:v>0.00010658140154543032</c:v>
                </c:pt>
                <c:pt idx="39">
                  <c:v>0.00022478224220286598</c:v>
                </c:pt>
                <c:pt idx="40">
                  <c:v>9.148293843198243e-05</c:v>
                </c:pt>
                <c:pt idx="41">
                  <c:v>0.00015227653418608191</c:v>
                </c:pt>
                <c:pt idx="42">
                  <c:v>4.338771259979174e-05</c:v>
                </c:pt>
                <c:pt idx="43">
                  <c:v>0.00011588380716934487</c:v>
                </c:pt>
                <c:pt idx="44">
                  <c:v>0.0001552553951249806</c:v>
                </c:pt>
                <c:pt idx="45">
                  <c:v>0.00011769136616137841</c:v>
                </c:pt>
                <c:pt idx="46">
                  <c:v>0.00025193532133205076</c:v>
                </c:pt>
                <c:pt idx="47">
                  <c:v>0.00032806092560046864</c:v>
                </c:pt>
                <c:pt idx="48">
                  <c:v>0.00017046519952951605</c:v>
                </c:pt>
                <c:pt idx="49">
                  <c:v>0.00019105846388995032</c:v>
                </c:pt>
                <c:pt idx="50">
                  <c:v>0.0002257336343115124</c:v>
                </c:pt>
                <c:pt idx="51">
                  <c:v>0.0002758088093333701</c:v>
                </c:pt>
                <c:pt idx="52">
                  <c:v>9.292600766639563e-05</c:v>
                </c:pt>
                <c:pt idx="53">
                  <c:v>0.00014659317462178961</c:v>
                </c:pt>
                <c:pt idx="54">
                  <c:v>0.00028976175144880876</c:v>
                </c:pt>
                <c:pt idx="55">
                  <c:v>0.00016557387906483874</c:v>
                </c:pt>
                <c:pt idx="56">
                  <c:v>6.75789829363068e-05</c:v>
                </c:pt>
                <c:pt idx="57">
                  <c:v>0.00011549011115923199</c:v>
                </c:pt>
                <c:pt idx="58">
                  <c:v>0.0001065019436604718</c:v>
                </c:pt>
                <c:pt idx="59">
                  <c:v>0.00017264597216946927</c:v>
                </c:pt>
                <c:pt idx="60">
                  <c:v>0.0002658009151145792</c:v>
                </c:pt>
                <c:pt idx="61">
                  <c:v>0.00036557342803425946</c:v>
                </c:pt>
                <c:pt idx="62">
                  <c:v>0.0003044680689112729</c:v>
                </c:pt>
                <c:pt idx="63">
                  <c:v>0.0004142025450445268</c:v>
                </c:pt>
                <c:pt idx="64">
                  <c:v>0.0004272351142291779</c:v>
                </c:pt>
                <c:pt idx="65">
                  <c:v>0.00036707126076742367</c:v>
                </c:pt>
                <c:pt idx="66">
                  <c:v>0.0002800122187149985</c:v>
                </c:pt>
                <c:pt idx="67">
                  <c:v>0.00024030759371996156</c:v>
                </c:pt>
                <c:pt idx="68">
                  <c:v>0.00041124924867925723</c:v>
                </c:pt>
                <c:pt idx="69">
                  <c:v>0.00045595854922279795</c:v>
                </c:pt>
                <c:pt idx="70">
                  <c:v>0.0003940110323089047</c:v>
                </c:pt>
                <c:pt idx="71">
                  <c:v>0.0004268032437046522</c:v>
                </c:pt>
                <c:pt idx="72">
                  <c:v>0.00044458814970495513</c:v>
                </c:pt>
                <c:pt idx="73">
                  <c:v>0.0008129733430319627</c:v>
                </c:pt>
                <c:pt idx="74">
                  <c:v>0.0008604794099569761</c:v>
                </c:pt>
                <c:pt idx="75">
                  <c:v>0.0008656759486365604</c:v>
                </c:pt>
                <c:pt idx="76">
                  <c:v>0.001183431952662722</c:v>
                </c:pt>
                <c:pt idx="77">
                  <c:v>0.0012112275527937227</c:v>
                </c:pt>
                <c:pt idx="78">
                  <c:v>0.002056645904336585</c:v>
                </c:pt>
                <c:pt idx="79">
                  <c:v>0.001290922234844573</c:v>
                </c:pt>
                <c:pt idx="80">
                  <c:v>0.0012359666289010196</c:v>
                </c:pt>
                <c:pt idx="81">
                  <c:v>0.0017492456378186906</c:v>
                </c:pt>
                <c:pt idx="82">
                  <c:v>0.0014101985559566788</c:v>
                </c:pt>
                <c:pt idx="83">
                  <c:v>0.001380216891225764</c:v>
                </c:pt>
                <c:pt idx="84">
                  <c:v>0.0013312920189043466</c:v>
                </c:pt>
                <c:pt idx="85">
                  <c:v>0.0012235623142807202</c:v>
                </c:pt>
                <c:pt idx="86">
                  <c:v>0.0011437620974837233</c:v>
                </c:pt>
                <c:pt idx="87">
                  <c:v>0.001046156421308114</c:v>
                </c:pt>
                <c:pt idx="88">
                  <c:v>0.0015890672175433022</c:v>
                </c:pt>
                <c:pt idx="89">
                  <c:v>0.0019621421975992612</c:v>
                </c:pt>
                <c:pt idx="90">
                  <c:v>0.001836601694413176</c:v>
                </c:pt>
                <c:pt idx="91">
                  <c:v>0.00184003220056351</c:v>
                </c:pt>
                <c:pt idx="92">
                  <c:v>0.0015671813781977413</c:v>
                </c:pt>
                <c:pt idx="93">
                  <c:v>0.001546551190844417</c:v>
                </c:pt>
                <c:pt idx="94">
                  <c:v>0.0014558232931726907</c:v>
                </c:pt>
                <c:pt idx="95">
                  <c:v>0.0017315698338429798</c:v>
                </c:pt>
                <c:pt idx="96">
                  <c:v>0.002308560035677746</c:v>
                </c:pt>
                <c:pt idx="97">
                  <c:v>0.0026446509060803975</c:v>
                </c:pt>
                <c:pt idx="98">
                  <c:v>0.002492373337586984</c:v>
                </c:pt>
                <c:pt idx="99">
                  <c:v>0.0023547337073204517</c:v>
                </c:pt>
                <c:pt idx="100">
                  <c:v>0.001811252405569601</c:v>
                </c:pt>
                <c:pt idx="101">
                  <c:v>0.0024561479774816877</c:v>
                </c:pt>
                <c:pt idx="102">
                  <c:v>0.002028946300554579</c:v>
                </c:pt>
                <c:pt idx="103">
                  <c:v>0.001982513216754778</c:v>
                </c:pt>
                <c:pt idx="104">
                  <c:v>0.0014722770236447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718938076491056</c:v>
                </c:pt>
                <c:pt idx="1">
                  <c:v>0.6612642460649361</c:v>
                </c:pt>
                <c:pt idx="2">
                  <c:v>0.7648028119147305</c:v>
                </c:pt>
                <c:pt idx="3">
                  <c:v>0.6726884884052126</c:v>
                </c:pt>
                <c:pt idx="4">
                  <c:v>0.7573826445672042</c:v>
                </c:pt>
                <c:pt idx="5">
                  <c:v>0.8235296812947596</c:v>
                </c:pt>
                <c:pt idx="6">
                  <c:v>0.7827845698488042</c:v>
                </c:pt>
                <c:pt idx="7">
                  <c:v>0.7323505806636011</c:v>
                </c:pt>
                <c:pt idx="8">
                  <c:v>0.7101908288896149</c:v>
                </c:pt>
                <c:pt idx="9">
                  <c:v>0.6989284384920412</c:v>
                </c:pt>
                <c:pt idx="10">
                  <c:v>0.721086369348953</c:v>
                </c:pt>
                <c:pt idx="11">
                  <c:v>0.7291036609971637</c:v>
                </c:pt>
                <c:pt idx="12">
                  <c:v>0.6696651077161577</c:v>
                </c:pt>
                <c:pt idx="13">
                  <c:v>0.5815979400620894</c:v>
                </c:pt>
                <c:pt idx="14">
                  <c:v>0.5867555960642734</c:v>
                </c:pt>
                <c:pt idx="15">
                  <c:v>0.5994301305576156</c:v>
                </c:pt>
                <c:pt idx="16">
                  <c:v>0.6050601259624225</c:v>
                </c:pt>
                <c:pt idx="17">
                  <c:v>0.46294145268706133</c:v>
                </c:pt>
                <c:pt idx="18">
                  <c:v>0.5951455360045427</c:v>
                </c:pt>
                <c:pt idx="19">
                  <c:v>0.7013892465521328</c:v>
                </c:pt>
                <c:pt idx="20">
                  <c:v>0.6309129565761962</c:v>
                </c:pt>
                <c:pt idx="21">
                  <c:v>0.49515642818881894</c:v>
                </c:pt>
                <c:pt idx="22">
                  <c:v>0.5547066490566577</c:v>
                </c:pt>
                <c:pt idx="23">
                  <c:v>0.42413749486509045</c:v>
                </c:pt>
                <c:pt idx="24">
                  <c:v>0.5434056843913441</c:v>
                </c:pt>
                <c:pt idx="25">
                  <c:v>0.5019971532448385</c:v>
                </c:pt>
                <c:pt idx="26">
                  <c:v>0.5152332479281841</c:v>
                </c:pt>
                <c:pt idx="27">
                  <c:v>0.4790986180093562</c:v>
                </c:pt>
                <c:pt idx="28">
                  <c:v>0.5061954867846511</c:v>
                </c:pt>
                <c:pt idx="29">
                  <c:v>0.4781669436295672</c:v>
                </c:pt>
                <c:pt idx="30">
                  <c:v>0.45433566705084494</c:v>
                </c:pt>
                <c:pt idx="31">
                  <c:v>0.5014668045697296</c:v>
                </c:pt>
                <c:pt idx="32">
                  <c:v>0.5478687605621625</c:v>
                </c:pt>
                <c:pt idx="33">
                  <c:v>0.5735765212768106</c:v>
                </c:pt>
                <c:pt idx="34">
                  <c:v>0.6365441167855845</c:v>
                </c:pt>
                <c:pt idx="35">
                  <c:v>0.5609177372852707</c:v>
                </c:pt>
                <c:pt idx="36">
                  <c:v>0.50350663844043</c:v>
                </c:pt>
                <c:pt idx="37">
                  <c:v>0.512509536014409</c:v>
                </c:pt>
                <c:pt idx="38">
                  <c:v>0.4544445107700062</c:v>
                </c:pt>
                <c:pt idx="39">
                  <c:v>0.44554847249849994</c:v>
                </c:pt>
                <c:pt idx="40">
                  <c:v>0.42720577506219837</c:v>
                </c:pt>
                <c:pt idx="41">
                  <c:v>0.4763191665412451</c:v>
                </c:pt>
                <c:pt idx="42">
                  <c:v>0.44602026046132925</c:v>
                </c:pt>
                <c:pt idx="43">
                  <c:v>0.49985407692896844</c:v>
                </c:pt>
                <c:pt idx="44">
                  <c:v>0.6034270706537154</c:v>
                </c:pt>
                <c:pt idx="45">
                  <c:v>0.6566373604755394</c:v>
                </c:pt>
                <c:pt idx="46">
                  <c:v>0.6476621232758639</c:v>
                </c:pt>
                <c:pt idx="47">
                  <c:v>0.5954714162817111</c:v>
                </c:pt>
                <c:pt idx="48">
                  <c:v>0.5712672497299053</c:v>
                </c:pt>
                <c:pt idx="49">
                  <c:v>0.6436552557937756</c:v>
                </c:pt>
                <c:pt idx="50">
                  <c:v>0.7478186799878787</c:v>
                </c:pt>
                <c:pt idx="51">
                  <c:v>0.723015997117279</c:v>
                </c:pt>
              </c:numCache>
            </c:numRef>
          </c:xVal>
          <c:yVal>
            <c:numRef>
              <c:f>Sheet1!$B$109:$B$160</c:f>
              <c:numCache>
                <c:formatCode>General</c:formatCode>
                <c:ptCount val="52"/>
                <c:pt idx="0">
                  <c:v>0.001584147782193105</c:v>
                </c:pt>
                <c:pt idx="1">
                  <c:v>0.0019049243716592744</c:v>
                </c:pt>
                <c:pt idx="2">
                  <c:v>0.0017297077302673416</c:v>
                </c:pt>
                <c:pt idx="3">
                  <c:v>0.00184412058499603</c:v>
                </c:pt>
                <c:pt idx="4">
                  <c:v>0.0018328640493013866</c:v>
                </c:pt>
                <c:pt idx="5">
                  <c:v>0.0016014092401313155</c:v>
                </c:pt>
                <c:pt idx="6">
                  <c:v>0.0017298001955426308</c:v>
                </c:pt>
                <c:pt idx="7">
                  <c:v>0.0019910061446568946</c:v>
                </c:pt>
                <c:pt idx="8">
                  <c:v>0.0023928811784939804</c:v>
                </c:pt>
                <c:pt idx="9">
                  <c:v>0.0025054914881933003</c:v>
                </c:pt>
                <c:pt idx="10">
                  <c:v>0.002407254740313273</c:v>
                </c:pt>
                <c:pt idx="11">
                  <c:v>0.0024414905423068385</c:v>
                </c:pt>
                <c:pt idx="12">
                  <c:v>0.0025257486038222994</c:v>
                </c:pt>
                <c:pt idx="13">
                  <c:v>0.0036323158943113248</c:v>
                </c:pt>
                <c:pt idx="14">
                  <c:v>0.0036016335980962795</c:v>
                </c:pt>
                <c:pt idx="15">
                  <c:v>0.003392385978137957</c:v>
                </c:pt>
                <c:pt idx="16">
                  <c:v>0.003323047709470686</c:v>
                </c:pt>
                <c:pt idx="17">
                  <c:v>0.00420427847162112</c:v>
                </c:pt>
                <c:pt idx="18">
                  <c:v>0.0023092369477911647</c:v>
                </c:pt>
                <c:pt idx="19">
                  <c:v>0.0020470829068577278</c:v>
                </c:pt>
                <c:pt idx="20">
                  <c:v>0.0024176954732510287</c:v>
                </c:pt>
                <c:pt idx="21">
                  <c:v>0.0034454676439265803</c:v>
                </c:pt>
                <c:pt idx="22">
                  <c:v>0.002851298580549185</c:v>
                </c:pt>
                <c:pt idx="23">
                  <c:v>0.0028443208393906833</c:v>
                </c:pt>
                <c:pt idx="24">
                  <c:v>0.0025663458734324876</c:v>
                </c:pt>
                <c:pt idx="25">
                  <c:v>0.0027607361963190185</c:v>
                </c:pt>
                <c:pt idx="26">
                  <c:v>0.0029604690311719976</c:v>
                </c:pt>
                <c:pt idx="27">
                  <c:v>0.003013640689436396</c:v>
                </c:pt>
                <c:pt idx="28">
                  <c:v>0.0024760725679729536</c:v>
                </c:pt>
                <c:pt idx="29">
                  <c:v>0.002812051649928264</c:v>
                </c:pt>
                <c:pt idx="30">
                  <c:v>0.0027380952380952383</c:v>
                </c:pt>
                <c:pt idx="31">
                  <c:v>0.002772941252337654</c:v>
                </c:pt>
                <c:pt idx="32">
                  <c:v>0.0023744911804613297</c:v>
                </c:pt>
                <c:pt idx="33">
                  <c:v>0.0023239269622954708</c:v>
                </c:pt>
                <c:pt idx="34">
                  <c:v>0.002157015880099669</c:v>
                </c:pt>
                <c:pt idx="35">
                  <c:v>0.0026392305971818385</c:v>
                </c:pt>
                <c:pt idx="36">
                  <c:v>0.003280519299225239</c:v>
                </c:pt>
                <c:pt idx="37">
                  <c:v>0.003253049734125743</c:v>
                </c:pt>
                <c:pt idx="38">
                  <c:v>0.003777544596012592</c:v>
                </c:pt>
                <c:pt idx="39">
                  <c:v>0.0035495653068573487</c:v>
                </c:pt>
                <c:pt idx="40">
                  <c:v>0.0033338309200378166</c:v>
                </c:pt>
                <c:pt idx="41">
                  <c:v>0.002729026490377829</c:v>
                </c:pt>
                <c:pt idx="42">
                  <c:v>0.003122023494549688</c:v>
                </c:pt>
                <c:pt idx="43">
                  <c:v>0.0022727272727272726</c:v>
                </c:pt>
                <c:pt idx="44">
                  <c:v>0.0016782773907536416</c:v>
                </c:pt>
                <c:pt idx="45">
                  <c:v>0.0014120237411449359</c:v>
                </c:pt>
                <c:pt idx="46">
                  <c:v>0.0014623655913978495</c:v>
                </c:pt>
                <c:pt idx="47">
                  <c:v>0.0014511837897395932</c:v>
                </c:pt>
                <c:pt idx="48">
                  <c:v>0.0016167059616032334</c:v>
                </c:pt>
                <c:pt idx="49">
                  <c:v>0.0014272897806051708</c:v>
                </c:pt>
                <c:pt idx="50">
                  <c:v>0.0012052271650077866</c:v>
                </c:pt>
                <c:pt idx="51">
                  <c:v>0.001440003777059087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976875346843491</c:v>
                </c:pt>
              </c:numCache>
            </c:numRef>
          </c:xVal>
          <c:yVal>
            <c:numRef>
              <c:f>Sheet1!$B$163:$B$164</c:f>
              <c:numCache>
                <c:formatCode>General</c:formatCode>
                <c:ptCount val="2"/>
                <c:pt idx="0">
                  <c:v>0.002942548461392275</c:v>
                </c:pt>
                <c:pt idx="1">
                  <c:v>0.00294254846139227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976875346843491</c:v>
                </c:pt>
                <c:pt idx="1">
                  <c:v>0.4976875346843491</c:v>
                </c:pt>
              </c:numCache>
            </c:numRef>
          </c:xVal>
          <c:yVal>
            <c:numRef>
              <c:f>Sheet1!$B$167:$B$168</c:f>
              <c:numCache>
                <c:formatCode>General</c:formatCode>
                <c:ptCount val="2"/>
                <c:pt idx="0">
                  <c:v>0.00294254846139227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976875346843491</c:v>
                </c:pt>
              </c:numCache>
            </c:numRef>
          </c:xVal>
          <c:yVal>
            <c:numRef>
              <c:f>Sheet1!$B$171:$B$172</c:f>
              <c:numCache>
                <c:formatCode>General</c:formatCode>
                <c:ptCount val="2"/>
                <c:pt idx="0">
                  <c:v>0.002942548461392275</c:v>
                </c:pt>
                <c:pt idx="1">
                  <c:v>0.00294254846139227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976875346843491</c:v>
                </c:pt>
                <c:pt idx="1">
                  <c:v>0.4976875346843491</c:v>
                </c:pt>
              </c:numCache>
            </c:numRef>
          </c:xVal>
          <c:yVal>
            <c:numRef>
              <c:f>Sheet1!$B$175:$B$176</c:f>
              <c:numCache>
                <c:formatCode>General</c:formatCode>
                <c:ptCount val="2"/>
                <c:pt idx="0">
                  <c:v>0.00294254846139227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879837017755637</c:v>
                </c:pt>
              </c:numCache>
            </c:numRef>
          </c:xVal>
          <c:yVal>
            <c:numRef>
              <c:f>Sheet1!$B$179:$B$180</c:f>
              <c:numCache>
                <c:formatCode>General</c:formatCode>
                <c:ptCount val="2"/>
                <c:pt idx="0">
                  <c:v>0.0020538654370662506</c:v>
                </c:pt>
                <c:pt idx="1">
                  <c:v>0.002053865437066250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879837017755637</c:v>
                </c:pt>
                <c:pt idx="1">
                  <c:v>0.6879837017755637</c:v>
                </c:pt>
              </c:numCache>
            </c:numRef>
          </c:xVal>
          <c:yVal>
            <c:numRef>
              <c:f>Sheet1!$B$183:$B$184</c:f>
              <c:numCache>
                <c:formatCode>General</c:formatCode>
                <c:ptCount val="2"/>
                <c:pt idx="0">
                  <c:v>0.00205386543706625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718938076491056</c:v>
                </c:pt>
                <c:pt idx="1">
                  <c:v>0.6612642460649361</c:v>
                </c:pt>
                <c:pt idx="2">
                  <c:v>0.7648028119147305</c:v>
                </c:pt>
                <c:pt idx="3">
                  <c:v>0.6726884884052126</c:v>
                </c:pt>
                <c:pt idx="4">
                  <c:v>0.7573826445672042</c:v>
                </c:pt>
                <c:pt idx="5">
                  <c:v>0.8235296812947596</c:v>
                </c:pt>
                <c:pt idx="6">
                  <c:v>0.7827845698488042</c:v>
                </c:pt>
                <c:pt idx="7">
                  <c:v>0.7323505806636011</c:v>
                </c:pt>
                <c:pt idx="8">
                  <c:v>0.7101908288896149</c:v>
                </c:pt>
                <c:pt idx="9">
                  <c:v>0.6989284384920412</c:v>
                </c:pt>
                <c:pt idx="10">
                  <c:v>0.721086369348953</c:v>
                </c:pt>
                <c:pt idx="11">
                  <c:v>0.7291036609971637</c:v>
                </c:pt>
                <c:pt idx="12">
                  <c:v>0.6696651077161577</c:v>
                </c:pt>
                <c:pt idx="13">
                  <c:v>0.5815979400620894</c:v>
                </c:pt>
                <c:pt idx="14">
                  <c:v>0.5867555960642734</c:v>
                </c:pt>
                <c:pt idx="15">
                  <c:v>0.5994301305576156</c:v>
                </c:pt>
                <c:pt idx="16">
                  <c:v>0.6050601259624225</c:v>
                </c:pt>
                <c:pt idx="17">
                  <c:v>0.46294145268706133</c:v>
                </c:pt>
                <c:pt idx="18">
                  <c:v>0.5951455360045427</c:v>
                </c:pt>
                <c:pt idx="19">
                  <c:v>0.7013892465521328</c:v>
                </c:pt>
                <c:pt idx="20">
                  <c:v>0.6309129565761962</c:v>
                </c:pt>
                <c:pt idx="21">
                  <c:v>0.49515642818881894</c:v>
                </c:pt>
                <c:pt idx="22">
                  <c:v>0.5547066490566577</c:v>
                </c:pt>
                <c:pt idx="23">
                  <c:v>0.42413749486509045</c:v>
                </c:pt>
                <c:pt idx="24">
                  <c:v>0.5434056843913441</c:v>
                </c:pt>
                <c:pt idx="25">
                  <c:v>0.5019971532448385</c:v>
                </c:pt>
                <c:pt idx="26">
                  <c:v>0.5152332479281841</c:v>
                </c:pt>
                <c:pt idx="27">
                  <c:v>0.4790986180093562</c:v>
                </c:pt>
                <c:pt idx="28">
                  <c:v>0.5061954867846511</c:v>
                </c:pt>
                <c:pt idx="29">
                  <c:v>0.4781669436295672</c:v>
                </c:pt>
                <c:pt idx="30">
                  <c:v>0.45433566705084494</c:v>
                </c:pt>
                <c:pt idx="31">
                  <c:v>0.5014668045697296</c:v>
                </c:pt>
                <c:pt idx="32">
                  <c:v>0.5478687605621625</c:v>
                </c:pt>
                <c:pt idx="33">
                  <c:v>0.5735765212768106</c:v>
                </c:pt>
                <c:pt idx="34">
                  <c:v>0.6365441167855845</c:v>
                </c:pt>
                <c:pt idx="35">
                  <c:v>0.5609177372852707</c:v>
                </c:pt>
                <c:pt idx="36">
                  <c:v>0.50350663844043</c:v>
                </c:pt>
                <c:pt idx="37">
                  <c:v>0.512509536014409</c:v>
                </c:pt>
                <c:pt idx="38">
                  <c:v>0.4544445107700062</c:v>
                </c:pt>
                <c:pt idx="39">
                  <c:v>0.44554847249849994</c:v>
                </c:pt>
                <c:pt idx="40">
                  <c:v>0.42720577506219837</c:v>
                </c:pt>
                <c:pt idx="41">
                  <c:v>0.4763191665412451</c:v>
                </c:pt>
                <c:pt idx="42">
                  <c:v>0.44602026046132925</c:v>
                </c:pt>
                <c:pt idx="43">
                  <c:v>0.49985407692896844</c:v>
                </c:pt>
                <c:pt idx="44">
                  <c:v>0.6034270706537154</c:v>
                </c:pt>
                <c:pt idx="45">
                  <c:v>0.6566373604755394</c:v>
                </c:pt>
                <c:pt idx="46">
                  <c:v>0.6476621232758639</c:v>
                </c:pt>
                <c:pt idx="47">
                  <c:v>0.5954714162817111</c:v>
                </c:pt>
                <c:pt idx="48">
                  <c:v>0.5712672497299053</c:v>
                </c:pt>
                <c:pt idx="49">
                  <c:v>0.6436552557937756</c:v>
                </c:pt>
                <c:pt idx="50">
                  <c:v>0.7478186799878787</c:v>
                </c:pt>
                <c:pt idx="51">
                  <c:v>0.723015997117279</c:v>
                </c:pt>
                <c:pt idx="52">
                  <c:v>0.4976875346843491</c:v>
                </c:pt>
                <c:pt idx="53">
                  <c:v>0.4976875346843491</c:v>
                </c:pt>
                <c:pt idx="54">
                  <c:v>0.6879837017755637</c:v>
                </c:pt>
              </c:numCache>
            </c:numRef>
          </c:xVal>
          <c:yVal>
            <c:numRef>
              <c:f>Sheet1!$B$187:$B$241</c:f>
              <c:numCache>
                <c:formatCode>General</c:formatCode>
                <c:ptCount val="55"/>
                <c:pt idx="0">
                  <c:v>0.001662005276144182</c:v>
                </c:pt>
                <c:pt idx="1">
                  <c:v>0.0021786452845651448</c:v>
                </c:pt>
                <c:pt idx="2">
                  <c:v>0.0016951202233921048</c:v>
                </c:pt>
                <c:pt idx="3">
                  <c:v>0.002125294077398035</c:v>
                </c:pt>
                <c:pt idx="4">
                  <c:v>0.0017297724019419971</c:v>
                </c:pt>
                <c:pt idx="5">
                  <c:v>0.0014208657668384546</c:v>
                </c:pt>
                <c:pt idx="6">
                  <c:v>0.0016111454210205396</c:v>
                </c:pt>
                <c:pt idx="7">
                  <c:v>0.0018466721303759034</c:v>
                </c:pt>
                <c:pt idx="8">
                  <c:v>0.0019501581623114841</c:v>
                </c:pt>
                <c:pt idx="9">
                  <c:v>0.0020027535209708037</c:v>
                </c:pt>
                <c:pt idx="10">
                  <c:v>0.0018992759927172333</c:v>
                </c:pt>
                <c:pt idx="11">
                  <c:v>0.0018618352439215913</c:v>
                </c:pt>
                <c:pt idx="12">
                  <c:v>0.0021394132640086107</c:v>
                </c:pt>
                <c:pt idx="13">
                  <c:v>0.00255068690178572</c:v>
                </c:pt>
                <c:pt idx="14">
                  <c:v>0.0025266006503151</c:v>
                </c:pt>
                <c:pt idx="15">
                  <c:v>0.0024674105792924454</c:v>
                </c:pt>
                <c:pt idx="16">
                  <c:v>0.002441118503000193</c:v>
                </c:pt>
                <c:pt idx="17">
                  <c:v>0.003104812650444643</c:v>
                </c:pt>
                <c:pt idx="18">
                  <c:v>0.002487419634144352</c:v>
                </c:pt>
                <c:pt idx="19">
                  <c:v>0.0019912615483128372</c:v>
                </c:pt>
                <c:pt idx="20">
                  <c:v>0.0023203857943575423</c:v>
                </c:pt>
                <c:pt idx="21">
                  <c:v>0.002954368727715668</c:v>
                </c:pt>
                <c:pt idx="22">
                  <c:v>0.002676269220042731</c:v>
                </c:pt>
                <c:pt idx="23">
                  <c:v>0.0032860271179778705</c:v>
                </c:pt>
                <c:pt idx="24">
                  <c:v>0.0027290447205169923</c:v>
                </c:pt>
                <c:pt idx="25">
                  <c:v>0.0029224225444357266</c:v>
                </c:pt>
                <c:pt idx="26">
                  <c:v>0.002860609987550001</c:v>
                </c:pt>
                <c:pt idx="27">
                  <c:v>0.0030293586948414797</c:v>
                </c:pt>
                <c:pt idx="28">
                  <c:v>0.0029028163284813</c:v>
                </c:pt>
                <c:pt idx="29">
                  <c:v>0.003033709613823054</c:v>
                </c:pt>
                <c:pt idx="30">
                  <c:v>0.003145001665929271</c:v>
                </c:pt>
                <c:pt idx="31">
                  <c:v>0.002924899272536704</c:v>
                </c:pt>
                <c:pt idx="32">
                  <c:v>0.0027082021565814863</c:v>
                </c:pt>
                <c:pt idx="33">
                  <c:v>0.002588146924309822</c:v>
                </c:pt>
                <c:pt idx="34">
                  <c:v>0.00229408827842836</c:v>
                </c:pt>
                <c:pt idx="35">
                  <c:v>0.002647263440495349</c:v>
                </c:pt>
                <c:pt idx="36">
                  <c:v>0.002915373249175089</c:v>
                </c:pt>
                <c:pt idx="37">
                  <c:v>0.002873329721099686</c:v>
                </c:pt>
                <c:pt idx="38">
                  <c:v>0.003144493365804252</c:v>
                </c:pt>
                <c:pt idx="39">
                  <c:v>0.003186037860979779</c:v>
                </c:pt>
                <c:pt idx="40">
                  <c:v>0.003271698250682616</c:v>
                </c:pt>
                <c:pt idx="41">
                  <c:v>0.003042338732087655</c:v>
                </c:pt>
                <c:pt idx="42">
                  <c:v>0.0031838346113817625</c:v>
                </c:pt>
                <c:pt idx="43">
                  <c:v>0.002932430709975057</c:v>
                </c:pt>
                <c:pt idx="44">
                  <c:v>0.0024487448706397366</c:v>
                </c:pt>
                <c:pt idx="45">
                  <c:v>0.0022002528384199977</c:v>
                </c:pt>
                <c:pt idx="46">
                  <c:v>0.002242167192558449</c:v>
                </c:pt>
                <c:pt idx="47">
                  <c:v>0.0024858977733801077</c:v>
                </c:pt>
                <c:pt idx="48">
                  <c:v>0.002598931221511721</c:v>
                </c:pt>
                <c:pt idx="49">
                  <c:v>0.0022608792620997607</c:v>
                </c:pt>
                <c:pt idx="50">
                  <c:v>0.0017744361127083204</c:v>
                </c:pt>
                <c:pt idx="51">
                  <c:v>0.0018902646318096983</c:v>
                </c:pt>
                <c:pt idx="52">
                  <c:v>0.002942548461392275</c:v>
                </c:pt>
                <c:pt idx="53">
                  <c:v>0.002942548461392275</c:v>
                </c:pt>
                <c:pt idx="54">
                  <c:v>0.00205386543706625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4513416594534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856.3077</c:v>
                </c:pt>
                <c:pt idx="1">
                  <c:v>6230.0</c:v>
                </c:pt>
                <c:pt idx="2">
                  <c:v>6349.3333</c:v>
                </c:pt>
                <c:pt idx="3">
                  <c:v>5043.3333</c:v>
                </c:pt>
                <c:pt idx="4">
                  <c:v>5971.5</c:v>
                </c:pt>
                <c:pt idx="5">
                  <c:v>7694.0</c:v>
                </c:pt>
                <c:pt idx="6">
                  <c:v>5895.0</c:v>
                </c:pt>
                <c:pt idx="7">
                  <c:v>4277.0</c:v>
                </c:pt>
                <c:pt idx="8">
                  <c:v>7050.6667</c:v>
                </c:pt>
                <c:pt idx="9">
                  <c:v>5817.6</c:v>
                </c:pt>
                <c:pt idx="10">
                  <c:v>5290.25</c:v>
                </c:pt>
                <c:pt idx="11">
                  <c:v>4469.2857</c:v>
                </c:pt>
                <c:pt idx="12">
                  <c:v>7055.8</c:v>
                </c:pt>
                <c:pt idx="13">
                  <c:v>5252.6667</c:v>
                </c:pt>
                <c:pt idx="14">
                  <c:v>0.0</c:v>
                </c:pt>
                <c:pt idx="15">
                  <c:v>3753.0</c:v>
                </c:pt>
                <c:pt idx="16">
                  <c:v>2170.25</c:v>
                </c:pt>
                <c:pt idx="17">
                  <c:v>6580.0</c:v>
                </c:pt>
                <c:pt idx="18">
                  <c:v>0.0</c:v>
                </c:pt>
                <c:pt idx="19">
                  <c:v>3807.0</c:v>
                </c:pt>
                <c:pt idx="20">
                  <c:v>5072.3333</c:v>
                </c:pt>
                <c:pt idx="21">
                  <c:v>6718.0</c:v>
                </c:pt>
                <c:pt idx="22">
                  <c:v>5462.25</c:v>
                </c:pt>
                <c:pt idx="23">
                  <c:v>6538.6667</c:v>
                </c:pt>
                <c:pt idx="24">
                  <c:v>6316.5</c:v>
                </c:pt>
                <c:pt idx="25">
                  <c:v>4606.0</c:v>
                </c:pt>
                <c:pt idx="26">
                  <c:v>6402.0</c:v>
                </c:pt>
                <c:pt idx="27">
                  <c:v>15524.0</c:v>
                </c:pt>
                <c:pt idx="28">
                  <c:v>3345.4</c:v>
                </c:pt>
                <c:pt idx="29">
                  <c:v>7017.0</c:v>
                </c:pt>
                <c:pt idx="30">
                  <c:v>3873.25</c:v>
                </c:pt>
                <c:pt idx="31">
                  <c:v>5011.5</c:v>
                </c:pt>
                <c:pt idx="32">
                  <c:v>8655.5</c:v>
                </c:pt>
                <c:pt idx="33">
                  <c:v>3845.7778</c:v>
                </c:pt>
                <c:pt idx="34">
                  <c:v>3505.4167</c:v>
                </c:pt>
                <c:pt idx="35">
                  <c:v>3707.5</c:v>
                </c:pt>
                <c:pt idx="36">
                  <c:v>6482.5</c:v>
                </c:pt>
                <c:pt idx="37">
                  <c:v>4574.0</c:v>
                </c:pt>
                <c:pt idx="38">
                  <c:v>7663.0</c:v>
                </c:pt>
                <c:pt idx="39">
                  <c:v>5600.75</c:v>
                </c:pt>
                <c:pt idx="40">
                  <c:v>8541.5</c:v>
                </c:pt>
                <c:pt idx="41">
                  <c:v>5335.6667</c:v>
                </c:pt>
                <c:pt idx="42">
                  <c:v>10645.0</c:v>
                </c:pt>
                <c:pt idx="43">
                  <c:v>7240.0</c:v>
                </c:pt>
                <c:pt idx="44">
                  <c:v>4505.0</c:v>
                </c:pt>
                <c:pt idx="45">
                  <c:v>4392.2</c:v>
                </c:pt>
                <c:pt idx="46">
                  <c:v>4084.1818</c:v>
                </c:pt>
                <c:pt idx="47">
                  <c:v>3419.4286</c:v>
                </c:pt>
                <c:pt idx="48">
                  <c:v>4401.9</c:v>
                </c:pt>
                <c:pt idx="49">
                  <c:v>3402.25</c:v>
                </c:pt>
                <c:pt idx="50">
                  <c:v>4337.6</c:v>
                </c:pt>
                <c:pt idx="51">
                  <c:v>4108.2</c:v>
                </c:pt>
                <c:pt idx="52">
                  <c:v>4801.75</c:v>
                </c:pt>
                <c:pt idx="53">
                  <c:v>3999.4</c:v>
                </c:pt>
                <c:pt idx="54">
                  <c:v>4201.4444</c:v>
                </c:pt>
                <c:pt idx="55">
                  <c:v>4984.2</c:v>
                </c:pt>
                <c:pt idx="56">
                  <c:v>10395.0</c:v>
                </c:pt>
                <c:pt idx="57">
                  <c:v>4042.75</c:v>
                </c:pt>
                <c:pt idx="58">
                  <c:v>4289.0</c:v>
                </c:pt>
                <c:pt idx="59">
                  <c:v>3433.0</c:v>
                </c:pt>
                <c:pt idx="60">
                  <c:v>3007.3571</c:v>
                </c:pt>
                <c:pt idx="61">
                  <c:v>2989.9286</c:v>
                </c:pt>
                <c:pt idx="62">
                  <c:v>3040.0833</c:v>
                </c:pt>
                <c:pt idx="63">
                  <c:v>2470.9444</c:v>
                </c:pt>
                <c:pt idx="64">
                  <c:v>2609.3158</c:v>
                </c:pt>
                <c:pt idx="65">
                  <c:v>2489.9333</c:v>
                </c:pt>
                <c:pt idx="66">
                  <c:v>2358.7273</c:v>
                </c:pt>
                <c:pt idx="67">
                  <c:v>3155.3333</c:v>
                </c:pt>
                <c:pt idx="68">
                  <c:v>2346.9231</c:v>
                </c:pt>
                <c:pt idx="69">
                  <c:v>2135.0</c:v>
                </c:pt>
                <c:pt idx="70">
                  <c:v>2302.5</c:v>
                </c:pt>
                <c:pt idx="71">
                  <c:v>1857.8</c:v>
                </c:pt>
                <c:pt idx="72">
                  <c:v>2952.3636</c:v>
                </c:pt>
                <c:pt idx="73">
                  <c:v>2025.9474</c:v>
                </c:pt>
                <c:pt idx="74">
                  <c:v>2531.4762</c:v>
                </c:pt>
                <c:pt idx="75">
                  <c:v>3962.4444</c:v>
                </c:pt>
                <c:pt idx="76">
                  <c:v>3882.0</c:v>
                </c:pt>
                <c:pt idx="77">
                  <c:v>4467.6957</c:v>
                </c:pt>
                <c:pt idx="78">
                  <c:v>3018.5429</c:v>
                </c:pt>
                <c:pt idx="79">
                  <c:v>4773.4</c:v>
                </c:pt>
                <c:pt idx="80">
                  <c:v>4299.5</c:v>
                </c:pt>
                <c:pt idx="81">
                  <c:v>3470.475</c:v>
                </c:pt>
                <c:pt idx="82">
                  <c:v>4188.0</c:v>
                </c:pt>
                <c:pt idx="83">
                  <c:v>4291.4286</c:v>
                </c:pt>
                <c:pt idx="84">
                  <c:v>4199.35</c:v>
                </c:pt>
                <c:pt idx="85">
                  <c:v>3644.0476</c:v>
                </c:pt>
                <c:pt idx="86">
                  <c:v>4846.4231</c:v>
                </c:pt>
                <c:pt idx="87">
                  <c:v>4906.68</c:v>
                </c:pt>
                <c:pt idx="88">
                  <c:v>4199.0333</c:v>
                </c:pt>
                <c:pt idx="89">
                  <c:v>3929.7353</c:v>
                </c:pt>
                <c:pt idx="90">
                  <c:v>4177.2903</c:v>
                </c:pt>
                <c:pt idx="91">
                  <c:v>3942.625</c:v>
                </c:pt>
                <c:pt idx="92">
                  <c:v>4270.3235</c:v>
                </c:pt>
                <c:pt idx="93">
                  <c:v>4332.2286</c:v>
                </c:pt>
                <c:pt idx="94">
                  <c:v>5011.5517</c:v>
                </c:pt>
                <c:pt idx="95">
                  <c:v>4381.1064</c:v>
                </c:pt>
                <c:pt idx="96">
                  <c:v>3358.3295</c:v>
                </c:pt>
                <c:pt idx="97">
                  <c:v>3539.0348</c:v>
                </c:pt>
                <c:pt idx="98">
                  <c:v>3390.072</c:v>
                </c:pt>
                <c:pt idx="99">
                  <c:v>3491.0956</c:v>
                </c:pt>
                <c:pt idx="100">
                  <c:v>3928.0486</c:v>
                </c:pt>
                <c:pt idx="101">
                  <c:v>3765.3274</c:v>
                </c:pt>
                <c:pt idx="102">
                  <c:v>3902.8667</c:v>
                </c:pt>
                <c:pt idx="103">
                  <c:v>3989.4744</c:v>
                </c:pt>
                <c:pt idx="104">
                  <c:v>4479.7</c:v>
                </c:pt>
              </c:numCache>
            </c:numRef>
          </c:xVal>
          <c:yVal>
            <c:numRef>
              <c:f>Sheet1!$B$2:$B$106</c:f>
              <c:numCache>
                <c:formatCode>General</c:formatCode>
                <c:ptCount val="105"/>
                <c:pt idx="0">
                  <c:v>0.0003580478131541258</c:v>
                </c:pt>
                <c:pt idx="1">
                  <c:v>8.968609865470852e-05</c:v>
                </c:pt>
                <c:pt idx="2">
                  <c:v>8.448800270361608e-05</c:v>
                </c:pt>
                <c:pt idx="3">
                  <c:v>8.956560680698612e-05</c:v>
                </c:pt>
                <c:pt idx="4">
                  <c:v>7.059155724975294e-05</c:v>
                </c:pt>
                <c:pt idx="5">
                  <c:v>0.00010866415531729933</c:v>
                </c:pt>
                <c:pt idx="6">
                  <c:v>0.00020990764063811922</c:v>
                </c:pt>
                <c:pt idx="7">
                  <c:v>0.0002427577277876679</c:v>
                </c:pt>
                <c:pt idx="8">
                  <c:v>0.00012605571662674902</c:v>
                </c:pt>
                <c:pt idx="9">
                  <c:v>0.0001576739932515531</c:v>
                </c:pt>
                <c:pt idx="10">
                  <c:v>0.00012233912405187178</c:v>
                </c:pt>
                <c:pt idx="11">
                  <c:v>0.00021624961383997528</c:v>
                </c:pt>
                <c:pt idx="12">
                  <c:v>0.0001422556048708319</c:v>
                </c:pt>
                <c:pt idx="13">
                  <c:v>0.00017932394871335067</c:v>
                </c:pt>
                <c:pt idx="14">
                  <c:v>0.0</c:v>
                </c:pt>
                <c:pt idx="15">
                  <c:v>0.00017827218597354442</c:v>
                </c:pt>
                <c:pt idx="16">
                  <c:v>0.00016287971333170455</c:v>
                </c:pt>
                <c:pt idx="17">
                  <c:v>8.955758552749418e-05</c:v>
                </c:pt>
                <c:pt idx="18">
                  <c:v>0.0</c:v>
                </c:pt>
                <c:pt idx="19">
                  <c:v>0.00017497812773403323</c:v>
                </c:pt>
                <c:pt idx="20">
                  <c:v>0.0001436850423870875</c:v>
                </c:pt>
                <c:pt idx="21">
                  <c:v>5.938947618482005e-05</c:v>
                </c:pt>
                <c:pt idx="22">
                  <c:v>0.0002357795461243737</c:v>
                </c:pt>
                <c:pt idx="23">
                  <c:v>0.00018617351371478217</c:v>
                </c:pt>
                <c:pt idx="24">
                  <c:v>0.00022766078542970974</c:v>
                </c:pt>
                <c:pt idx="25">
                  <c:v>0.00038897893030794163</c:v>
                </c:pt>
                <c:pt idx="26">
                  <c:v>0.0002871582816448426</c:v>
                </c:pt>
                <c:pt idx="27">
                  <c:v>5.5781781670106545e-05</c:v>
                </c:pt>
                <c:pt idx="28">
                  <c:v>0.00028376844494892167</c:v>
                </c:pt>
                <c:pt idx="29">
                  <c:v>0.00019717060186326217</c:v>
                </c:pt>
                <c:pt idx="30">
                  <c:v>0.0002540489044140997</c:v>
                </c:pt>
                <c:pt idx="31">
                  <c:v>0.00024515812699190976</c:v>
                </c:pt>
                <c:pt idx="32">
                  <c:v>0.00012088244182532487</c:v>
                </c:pt>
                <c:pt idx="33">
                  <c:v>0.0004301486402523539</c:v>
                </c:pt>
                <c:pt idx="34">
                  <c:v>0.0005119453924914676</c:v>
                </c:pt>
                <c:pt idx="35">
                  <c:v>0.0005358851674641148</c:v>
                </c:pt>
                <c:pt idx="36">
                  <c:v>0.0001835451750562107</c:v>
                </c:pt>
                <c:pt idx="37">
                  <c:v>0.0002117634602149399</c:v>
                </c:pt>
                <c:pt idx="38">
                  <c:v>0.00010658140154543032</c:v>
                </c:pt>
                <c:pt idx="39">
                  <c:v>0.00022478224220286598</c:v>
                </c:pt>
                <c:pt idx="40">
                  <c:v>9.148293843198243e-05</c:v>
                </c:pt>
                <c:pt idx="41">
                  <c:v>0.00015227653418608191</c:v>
                </c:pt>
                <c:pt idx="42">
                  <c:v>4.338771259979174e-05</c:v>
                </c:pt>
                <c:pt idx="43">
                  <c:v>0.00011588380716934487</c:v>
                </c:pt>
                <c:pt idx="44">
                  <c:v>0.0001552553951249806</c:v>
                </c:pt>
                <c:pt idx="45">
                  <c:v>0.00011769136616137841</c:v>
                </c:pt>
                <c:pt idx="46">
                  <c:v>0.00025193532133205076</c:v>
                </c:pt>
                <c:pt idx="47">
                  <c:v>0.00032806092560046864</c:v>
                </c:pt>
                <c:pt idx="48">
                  <c:v>0.00017046519952951605</c:v>
                </c:pt>
                <c:pt idx="49">
                  <c:v>0.00019105846388995032</c:v>
                </c:pt>
                <c:pt idx="50">
                  <c:v>0.0002257336343115124</c:v>
                </c:pt>
                <c:pt idx="51">
                  <c:v>0.0002758088093333701</c:v>
                </c:pt>
                <c:pt idx="52">
                  <c:v>9.292600766639563e-05</c:v>
                </c:pt>
                <c:pt idx="53">
                  <c:v>0.00014659317462178961</c:v>
                </c:pt>
                <c:pt idx="54">
                  <c:v>0.00028976175144880876</c:v>
                </c:pt>
                <c:pt idx="55">
                  <c:v>0.00016557387906483874</c:v>
                </c:pt>
                <c:pt idx="56">
                  <c:v>6.75789829363068e-05</c:v>
                </c:pt>
                <c:pt idx="57">
                  <c:v>0.00011549011115923199</c:v>
                </c:pt>
                <c:pt idx="58">
                  <c:v>0.0001065019436604718</c:v>
                </c:pt>
                <c:pt idx="59">
                  <c:v>0.00017264597216946927</c:v>
                </c:pt>
                <c:pt idx="60">
                  <c:v>0.0002658009151145792</c:v>
                </c:pt>
                <c:pt idx="61">
                  <c:v>0.00036557342803425946</c:v>
                </c:pt>
                <c:pt idx="62">
                  <c:v>0.0003044680689112729</c:v>
                </c:pt>
                <c:pt idx="63">
                  <c:v>0.0004142025450445268</c:v>
                </c:pt>
                <c:pt idx="64">
                  <c:v>0.0004272351142291779</c:v>
                </c:pt>
                <c:pt idx="65">
                  <c:v>0.00036707126076742367</c:v>
                </c:pt>
                <c:pt idx="66">
                  <c:v>0.0002800122187149985</c:v>
                </c:pt>
                <c:pt idx="67">
                  <c:v>0.00024030759371996156</c:v>
                </c:pt>
                <c:pt idx="68">
                  <c:v>0.00041124924867925723</c:v>
                </c:pt>
                <c:pt idx="69">
                  <c:v>0.00045595854922279795</c:v>
                </c:pt>
                <c:pt idx="70">
                  <c:v>0.0003940110323089047</c:v>
                </c:pt>
                <c:pt idx="71">
                  <c:v>0.0004268032437046522</c:v>
                </c:pt>
                <c:pt idx="72">
                  <c:v>0.00044458814970495513</c:v>
                </c:pt>
                <c:pt idx="73">
                  <c:v>0.0008129733430319627</c:v>
                </c:pt>
                <c:pt idx="74">
                  <c:v>0.0008604794099569761</c:v>
                </c:pt>
                <c:pt idx="75">
                  <c:v>0.0008656759486365604</c:v>
                </c:pt>
                <c:pt idx="76">
                  <c:v>0.001183431952662722</c:v>
                </c:pt>
                <c:pt idx="77">
                  <c:v>0.0012112275527937227</c:v>
                </c:pt>
                <c:pt idx="78">
                  <c:v>0.002056645904336585</c:v>
                </c:pt>
                <c:pt idx="79">
                  <c:v>0.001290922234844573</c:v>
                </c:pt>
                <c:pt idx="80">
                  <c:v>0.0012359666289010196</c:v>
                </c:pt>
                <c:pt idx="81">
                  <c:v>0.0017492456378186906</c:v>
                </c:pt>
                <c:pt idx="82">
                  <c:v>0.0014101985559566788</c:v>
                </c:pt>
                <c:pt idx="83">
                  <c:v>0.001380216891225764</c:v>
                </c:pt>
                <c:pt idx="84">
                  <c:v>0.0013312920189043466</c:v>
                </c:pt>
                <c:pt idx="85">
                  <c:v>0.0012235623142807202</c:v>
                </c:pt>
                <c:pt idx="86">
                  <c:v>0.0011437620974837233</c:v>
                </c:pt>
                <c:pt idx="87">
                  <c:v>0.001046156421308114</c:v>
                </c:pt>
                <c:pt idx="88">
                  <c:v>0.0015890672175433022</c:v>
                </c:pt>
                <c:pt idx="89">
                  <c:v>0.0019621421975992612</c:v>
                </c:pt>
                <c:pt idx="90">
                  <c:v>0.001836601694413176</c:v>
                </c:pt>
                <c:pt idx="91">
                  <c:v>0.00184003220056351</c:v>
                </c:pt>
                <c:pt idx="92">
                  <c:v>0.0015671813781977413</c:v>
                </c:pt>
                <c:pt idx="93">
                  <c:v>0.001546551190844417</c:v>
                </c:pt>
                <c:pt idx="94">
                  <c:v>0.0014558232931726907</c:v>
                </c:pt>
                <c:pt idx="95">
                  <c:v>0.0017315698338429798</c:v>
                </c:pt>
                <c:pt idx="96">
                  <c:v>0.002308560035677746</c:v>
                </c:pt>
                <c:pt idx="97">
                  <c:v>0.0026446509060803975</c:v>
                </c:pt>
                <c:pt idx="98">
                  <c:v>0.002492373337586984</c:v>
                </c:pt>
                <c:pt idx="99">
                  <c:v>0.0023547337073204517</c:v>
                </c:pt>
                <c:pt idx="100">
                  <c:v>0.001811252405569601</c:v>
                </c:pt>
                <c:pt idx="101">
                  <c:v>0.0024561479774816877</c:v>
                </c:pt>
                <c:pt idx="102">
                  <c:v>0.002028946300554579</c:v>
                </c:pt>
                <c:pt idx="103">
                  <c:v>0.001982513216754778</c:v>
                </c:pt>
                <c:pt idx="104">
                  <c:v>0.0014722770236447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numCache>
            </c:numRef>
          </c:xVal>
          <c:yVal>
            <c:numRef>
              <c:f>Sheet1!$B$109:$B$160</c:f>
              <c:numCache>
                <c:formatCode>General</c:formatCode>
                <c:ptCount val="52"/>
                <c:pt idx="0">
                  <c:v>0.001584147782193105</c:v>
                </c:pt>
                <c:pt idx="1">
                  <c:v>0.0019049243716592744</c:v>
                </c:pt>
                <c:pt idx="2">
                  <c:v>0.0017297077302673416</c:v>
                </c:pt>
                <c:pt idx="3">
                  <c:v>0.00184412058499603</c:v>
                </c:pt>
                <c:pt idx="4">
                  <c:v>0.0018328640493013866</c:v>
                </c:pt>
                <c:pt idx="5">
                  <c:v>0.0016014092401313155</c:v>
                </c:pt>
                <c:pt idx="6">
                  <c:v>0.0017298001955426308</c:v>
                </c:pt>
                <c:pt idx="7">
                  <c:v>0.0019910061446568946</c:v>
                </c:pt>
                <c:pt idx="8">
                  <c:v>0.0023928811784939804</c:v>
                </c:pt>
                <c:pt idx="9">
                  <c:v>0.0025054914881933003</c:v>
                </c:pt>
                <c:pt idx="10">
                  <c:v>0.002407254740313273</c:v>
                </c:pt>
                <c:pt idx="11">
                  <c:v>0.0024414905423068385</c:v>
                </c:pt>
                <c:pt idx="12">
                  <c:v>0.0025257486038222994</c:v>
                </c:pt>
                <c:pt idx="13">
                  <c:v>0.0036323158943113248</c:v>
                </c:pt>
                <c:pt idx="14">
                  <c:v>0.0036016335980962795</c:v>
                </c:pt>
                <c:pt idx="15">
                  <c:v>0.003392385978137957</c:v>
                </c:pt>
                <c:pt idx="16">
                  <c:v>0.003323047709470686</c:v>
                </c:pt>
                <c:pt idx="17">
                  <c:v>0.00420427847162112</c:v>
                </c:pt>
                <c:pt idx="18">
                  <c:v>0.0023092369477911647</c:v>
                </c:pt>
                <c:pt idx="19">
                  <c:v>0.0020470829068577278</c:v>
                </c:pt>
                <c:pt idx="20">
                  <c:v>0.0024176954732510287</c:v>
                </c:pt>
                <c:pt idx="21">
                  <c:v>0.0034454676439265803</c:v>
                </c:pt>
                <c:pt idx="22">
                  <c:v>0.002851298580549185</c:v>
                </c:pt>
                <c:pt idx="23">
                  <c:v>0.0028443208393906833</c:v>
                </c:pt>
                <c:pt idx="24">
                  <c:v>0.0025663458734324876</c:v>
                </c:pt>
                <c:pt idx="25">
                  <c:v>0.0027607361963190185</c:v>
                </c:pt>
                <c:pt idx="26">
                  <c:v>0.0029604690311719976</c:v>
                </c:pt>
                <c:pt idx="27">
                  <c:v>0.003013640689436396</c:v>
                </c:pt>
                <c:pt idx="28">
                  <c:v>0.0024760725679729536</c:v>
                </c:pt>
                <c:pt idx="29">
                  <c:v>0.002812051649928264</c:v>
                </c:pt>
                <c:pt idx="30">
                  <c:v>0.0027380952380952383</c:v>
                </c:pt>
                <c:pt idx="31">
                  <c:v>0.002772941252337654</c:v>
                </c:pt>
                <c:pt idx="32">
                  <c:v>0.0023744911804613297</c:v>
                </c:pt>
                <c:pt idx="33">
                  <c:v>0.0023239269622954708</c:v>
                </c:pt>
                <c:pt idx="34">
                  <c:v>0.002157015880099669</c:v>
                </c:pt>
                <c:pt idx="35">
                  <c:v>0.0026392305971818385</c:v>
                </c:pt>
                <c:pt idx="36">
                  <c:v>0.003280519299225239</c:v>
                </c:pt>
                <c:pt idx="37">
                  <c:v>0.003253049734125743</c:v>
                </c:pt>
                <c:pt idx="38">
                  <c:v>0.003777544596012592</c:v>
                </c:pt>
                <c:pt idx="39">
                  <c:v>0.0035495653068573487</c:v>
                </c:pt>
                <c:pt idx="40">
                  <c:v>0.0033338309200378166</c:v>
                </c:pt>
                <c:pt idx="41">
                  <c:v>0.002729026490377829</c:v>
                </c:pt>
                <c:pt idx="42">
                  <c:v>0.003122023494549688</c:v>
                </c:pt>
                <c:pt idx="43">
                  <c:v>0.0022727272727272726</c:v>
                </c:pt>
                <c:pt idx="44">
                  <c:v>0.0016782773907536416</c:v>
                </c:pt>
                <c:pt idx="45">
                  <c:v>0.0014120237411449359</c:v>
                </c:pt>
                <c:pt idx="46">
                  <c:v>0.0014623655913978495</c:v>
                </c:pt>
                <c:pt idx="47">
                  <c:v>0.0014511837897395932</c:v>
                </c:pt>
                <c:pt idx="48">
                  <c:v>0.0016167059616032334</c:v>
                </c:pt>
                <c:pt idx="49">
                  <c:v>0.0014272897806051708</c:v>
                </c:pt>
                <c:pt idx="50">
                  <c:v>0.0012052271650077866</c:v>
                </c:pt>
                <c:pt idx="51">
                  <c:v>0.001440003777059087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79.4277806492564</c:v>
                </c:pt>
              </c:numCache>
            </c:numRef>
          </c:xVal>
          <c:yVal>
            <c:numRef>
              <c:f>Sheet1!$B$163:$B$164</c:f>
              <c:numCache>
                <c:formatCode>General</c:formatCode>
                <c:ptCount val="2"/>
                <c:pt idx="0">
                  <c:v>0.002942548461392275</c:v>
                </c:pt>
                <c:pt idx="1">
                  <c:v>0.00294254846139227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79.4277806492564</c:v>
                </c:pt>
                <c:pt idx="1">
                  <c:v>3579.4277806492564</c:v>
                </c:pt>
              </c:numCache>
            </c:numRef>
          </c:xVal>
          <c:yVal>
            <c:numRef>
              <c:f>Sheet1!$B$167:$B$168</c:f>
              <c:numCache>
                <c:formatCode>General</c:formatCode>
                <c:ptCount val="2"/>
                <c:pt idx="0">
                  <c:v>0.00294254846139227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79.4277806492564</c:v>
                </c:pt>
              </c:numCache>
            </c:numRef>
          </c:xVal>
          <c:yVal>
            <c:numRef>
              <c:f>Sheet1!$B$171:$B$172</c:f>
              <c:numCache>
                <c:formatCode>General</c:formatCode>
                <c:ptCount val="2"/>
                <c:pt idx="0">
                  <c:v>0.002942548461392275</c:v>
                </c:pt>
                <c:pt idx="1">
                  <c:v>0.00294254846139227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79.4277806492564</c:v>
                </c:pt>
                <c:pt idx="1">
                  <c:v>3579.4277806492564</c:v>
                </c:pt>
              </c:numCache>
            </c:numRef>
          </c:xVal>
          <c:yVal>
            <c:numRef>
              <c:f>Sheet1!$B$175:$B$176</c:f>
              <c:numCache>
                <c:formatCode>General</c:formatCode>
                <c:ptCount val="2"/>
                <c:pt idx="0">
                  <c:v>0.00294254846139227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336.503185027092</c:v>
                </c:pt>
              </c:numCache>
            </c:numRef>
          </c:xVal>
          <c:yVal>
            <c:numRef>
              <c:f>Sheet1!$B$179:$B$180</c:f>
              <c:numCache>
                <c:formatCode>General</c:formatCode>
                <c:ptCount val="2"/>
                <c:pt idx="0">
                  <c:v>0.0020538654370662506</c:v>
                </c:pt>
                <c:pt idx="1">
                  <c:v>0.002053865437066250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336.503185027092</c:v>
                </c:pt>
                <c:pt idx="1">
                  <c:v>4336.503185027092</c:v>
                </c:pt>
              </c:numCache>
            </c:numRef>
          </c:xVal>
          <c:yVal>
            <c:numRef>
              <c:f>Sheet1!$B$183:$B$184</c:f>
              <c:numCache>
                <c:formatCode>General</c:formatCode>
                <c:ptCount val="2"/>
                <c:pt idx="0">
                  <c:v>0.00205386543706625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pt idx="52">
                  <c:v>3579.4277806492564</c:v>
                </c:pt>
                <c:pt idx="53">
                  <c:v>3579.4277806492564</c:v>
                </c:pt>
                <c:pt idx="54">
                  <c:v>4336.503185027092</c:v>
                </c:pt>
              </c:numCache>
            </c:numRef>
          </c:xVal>
          <c:yVal>
            <c:numRef>
              <c:f>Sheet1!$B$187:$B$241</c:f>
              <c:numCache>
                <c:formatCode>General</c:formatCode>
                <c:ptCount val="55"/>
                <c:pt idx="0">
                  <c:v>0.002060424702545946</c:v>
                </c:pt>
                <c:pt idx="1">
                  <c:v>0.0027623849036312216</c:v>
                </c:pt>
                <c:pt idx="2">
                  <c:v>0.0020267846507090086</c:v>
                </c:pt>
                <c:pt idx="3">
                  <c:v>0.0026883116885970558</c:v>
                </c:pt>
                <c:pt idx="4">
                  <c:v>0.001907658402701612</c:v>
                </c:pt>
                <c:pt idx="5">
                  <c:v>0.0015744741973607417</c:v>
                </c:pt>
                <c:pt idx="6">
                  <c:v>0.0018165244078065896</c:v>
                </c:pt>
                <c:pt idx="7">
                  <c:v>0.0018554097497047771</c:v>
                </c:pt>
                <c:pt idx="8">
                  <c:v>0.0021733987541250055</c:v>
                </c:pt>
                <c:pt idx="9">
                  <c:v>0.002333909677497843</c:v>
                </c:pt>
                <c:pt idx="10">
                  <c:v>0.002281119181401026</c:v>
                </c:pt>
                <c:pt idx="11">
                  <c:v>0.0023478441776182656</c:v>
                </c:pt>
                <c:pt idx="12">
                  <c:v>0.0027295166495374373</c:v>
                </c:pt>
                <c:pt idx="13">
                  <c:v>0.003105390367310344</c:v>
                </c:pt>
                <c:pt idx="14">
                  <c:v>0.0030520917172317617</c:v>
                </c:pt>
                <c:pt idx="15">
                  <c:v>0.002757252419293342</c:v>
                </c:pt>
                <c:pt idx="16">
                  <c:v>0.0025417241138943605</c:v>
                </c:pt>
                <c:pt idx="17">
                  <c:v>0.0035954392065494483</c:v>
                </c:pt>
                <c:pt idx="18">
                  <c:v>0.0021334603631692033</c:v>
                </c:pt>
                <c:pt idx="19">
                  <c:v>0.0017394676515955897</c:v>
                </c:pt>
                <c:pt idx="20">
                  <c:v>0.0019344250527362312</c:v>
                </c:pt>
                <c:pt idx="21">
                  <c:v>0.0029099697701401254</c:v>
                </c:pt>
                <c:pt idx="22">
                  <c:v>0.0024917358011776964</c:v>
                </c:pt>
                <c:pt idx="23">
                  <c:v>0.0033711098244374213</c:v>
                </c:pt>
                <c:pt idx="24">
                  <c:v>0.0022736167204191566</c:v>
                </c:pt>
                <c:pt idx="25">
                  <c:v>0.002600185885453173</c:v>
                </c:pt>
                <c:pt idx="26">
                  <c:v>0.0025741896245574606</c:v>
                </c:pt>
                <c:pt idx="27">
                  <c:v>0.0028644240778318356</c:v>
                </c:pt>
                <c:pt idx="28">
                  <c:v>0.0027539951393580247</c:v>
                </c:pt>
                <c:pt idx="29">
                  <c:v>0.0027665439250513894</c:v>
                </c:pt>
                <c:pt idx="30">
                  <c:v>0.002865551900298178</c:v>
                </c:pt>
                <c:pt idx="31">
                  <c:v>0.0024819783995652664</c:v>
                </c:pt>
                <c:pt idx="32">
                  <c:v>0.0019109685052961572</c:v>
                </c:pt>
                <c:pt idx="33">
                  <c:v>0.0020445622927474207</c:v>
                </c:pt>
                <c:pt idx="34">
                  <c:v>0.0019146076343658424</c:v>
                </c:pt>
                <c:pt idx="35">
                  <c:v>0.0022709195954390207</c:v>
                </c:pt>
                <c:pt idx="36">
                  <c:v>0.0022906470979050363</c:v>
                </c:pt>
                <c:pt idx="37">
                  <c:v>0.002232856761036843</c:v>
                </c:pt>
                <c:pt idx="38">
                  <c:v>0.0028359489082304384</c:v>
                </c:pt>
                <c:pt idx="39">
                  <c:v>0.0032320356273995007</c:v>
                </c:pt>
                <c:pt idx="40">
                  <c:v>0.0033627936597360806</c:v>
                </c:pt>
                <c:pt idx="41">
                  <c:v>0.0029987066727594214</c:v>
                </c:pt>
                <c:pt idx="42">
                  <c:v>0.003196857966644307</c:v>
                </c:pt>
                <c:pt idx="43">
                  <c:v>0.0029115758137480035</c:v>
                </c:pt>
                <c:pt idx="44">
                  <c:v>0.0022984812851868514</c:v>
                </c:pt>
                <c:pt idx="45">
                  <c:v>0.0021855080552936014</c:v>
                </c:pt>
                <c:pt idx="46">
                  <c:v>0.0019102583339887704</c:v>
                </c:pt>
                <c:pt idx="47">
                  <c:v>0.002386804058157807</c:v>
                </c:pt>
                <c:pt idx="48">
                  <c:v>0.0027357379849575177</c:v>
                </c:pt>
                <c:pt idx="49">
                  <c:v>0.002655779151848581</c:v>
                </c:pt>
                <c:pt idx="50">
                  <c:v>0.0024109332141253725</c:v>
                </c:pt>
                <c:pt idx="51">
                  <c:v>0.0020096964030653546</c:v>
                </c:pt>
                <c:pt idx="52">
                  <c:v>0.0029425484613922748</c:v>
                </c:pt>
                <c:pt idx="53">
                  <c:v>0.0029425484613922748</c:v>
                </c:pt>
                <c:pt idx="54">
                  <c:v>0.00205386543706625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2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4513416594534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5057956605475885</c:v>
                </c:pt>
                <c:pt idx="1">
                  <c:v>0.761716626107396</c:v>
                </c:pt>
                <c:pt idx="2">
                  <c:v>0.7747313471194923</c:v>
                </c:pt>
                <c:pt idx="3">
                  <c:v>0.5818437767215987</c:v>
                </c:pt>
                <c:pt idx="4">
                  <c:v>0.6677687712272945</c:v>
                </c:pt>
                <c:pt idx="5">
                  <c:v>0.8642438581202736</c:v>
                </c:pt>
                <c:pt idx="6">
                  <c:v>0.7032405012130452</c:v>
                </c:pt>
                <c:pt idx="7">
                  <c:v>0.5147609910678798</c:v>
                </c:pt>
                <c:pt idx="8">
                  <c:v>0.8087638285824156</c:v>
                </c:pt>
                <c:pt idx="9">
                  <c:v>0.6877995652566685</c:v>
                </c:pt>
                <c:pt idx="10">
                  <c:v>0.6276165792234822</c:v>
                </c:pt>
                <c:pt idx="11">
                  <c:v>0.5226148064791861</c:v>
                </c:pt>
                <c:pt idx="12">
                  <c:v>0.809250212325244</c:v>
                </c:pt>
                <c:pt idx="13">
                  <c:v>0.5843692825202031</c:v>
                </c:pt>
                <c:pt idx="14">
                  <c:v>0.0</c:v>
                </c:pt>
                <c:pt idx="15">
                  <c:v>0.3963921616972454</c:v>
                </c:pt>
                <c:pt idx="16">
                  <c:v>0.21807009657644066</c:v>
                </c:pt>
                <c:pt idx="17">
                  <c:v>0.608958850836529</c:v>
                </c:pt>
                <c:pt idx="18">
                  <c:v>0.0</c:v>
                </c:pt>
                <c:pt idx="19">
                  <c:v>0.3576208087853389</c:v>
                </c:pt>
                <c:pt idx="20">
                  <c:v>0.4790936630888095</c:v>
                </c:pt>
                <c:pt idx="21">
                  <c:v>0.629658440288805</c:v>
                </c:pt>
                <c:pt idx="22">
                  <c:v>0.4938632702387537</c:v>
                </c:pt>
                <c:pt idx="23">
                  <c:v>0.5983809031811711</c:v>
                </c:pt>
                <c:pt idx="24">
                  <c:v>0.5583530419478578</c:v>
                </c:pt>
                <c:pt idx="25">
                  <c:v>0.4296745321764609</c:v>
                </c:pt>
                <c:pt idx="26">
                  <c:v>0.6241581980722462</c:v>
                </c:pt>
                <c:pt idx="27">
                  <c:v>1.488053643854586</c:v>
                </c:pt>
                <c:pt idx="28">
                  <c:v>0.3237722355329876</c:v>
                </c:pt>
                <c:pt idx="29">
                  <c:v>0.6967957010098405</c:v>
                </c:pt>
                <c:pt idx="30">
                  <c:v>0.3758369498067752</c:v>
                </c:pt>
                <c:pt idx="31">
                  <c:v>0.4809716104479491</c:v>
                </c:pt>
                <c:pt idx="32">
                  <c:v>0.817419274144906</c:v>
                </c:pt>
                <c:pt idx="33">
                  <c:v>0.37708861532620014</c:v>
                </c:pt>
                <c:pt idx="34">
                  <c:v>0.3466249536067245</c:v>
                </c:pt>
                <c:pt idx="35">
                  <c:v>0.3743185811662921</c:v>
                </c:pt>
                <c:pt idx="36">
                  <c:v>0.6222652545963372</c:v>
                </c:pt>
                <c:pt idx="37">
                  <c:v>0.43821789257068244</c:v>
                </c:pt>
                <c:pt idx="38">
                  <c:v>0.7419450095687475</c:v>
                </c:pt>
                <c:pt idx="39">
                  <c:v>0.5592829770049441</c:v>
                </c:pt>
                <c:pt idx="40">
                  <c:v>0.8701284914357771</c:v>
                </c:pt>
                <c:pt idx="41">
                  <c:v>0.5336881908010453</c:v>
                </c:pt>
                <c:pt idx="42">
                  <c:v>1.0452365721884416</c:v>
                </c:pt>
                <c:pt idx="43">
                  <c:v>0.7079680078253542</c:v>
                </c:pt>
                <c:pt idx="44">
                  <c:v>0.4727186263310886</c:v>
                </c:pt>
                <c:pt idx="45">
                  <c:v>0.4721552915120331</c:v>
                </c:pt>
                <c:pt idx="46">
                  <c:v>0.43300487671768667</c:v>
                </c:pt>
                <c:pt idx="47">
                  <c:v>0.3537736596700615</c:v>
                </c:pt>
                <c:pt idx="48">
                  <c:v>0.48415751033293364</c:v>
                </c:pt>
                <c:pt idx="49">
                  <c:v>0.414587716476082</c:v>
                </c:pt>
                <c:pt idx="50">
                  <c:v>0.46642601037292486</c:v>
                </c:pt>
                <c:pt idx="51">
                  <c:v>0.4330444838152338</c:v>
                </c:pt>
                <c:pt idx="52">
                  <c:v>0.5161143935428815</c:v>
                </c:pt>
                <c:pt idx="53">
                  <c:v>0.4390392459195224</c:v>
                </c:pt>
                <c:pt idx="54">
                  <c:v>0.44471890397795344</c:v>
                </c:pt>
                <c:pt idx="55">
                  <c:v>0.5090675603698596</c:v>
                </c:pt>
                <c:pt idx="56">
                  <c:v>1.0599297646386956</c:v>
                </c:pt>
                <c:pt idx="57">
                  <c:v>0.4116134043011078</c:v>
                </c:pt>
                <c:pt idx="58">
                  <c:v>0.44378691643119866</c:v>
                </c:pt>
                <c:pt idx="59">
                  <c:v>0.36391512591860875</c:v>
                </c:pt>
                <c:pt idx="60">
                  <c:v>0.31268670206645877</c:v>
                </c:pt>
                <c:pt idx="61">
                  <c:v>0.31289303613338443</c:v>
                </c:pt>
                <c:pt idx="62">
                  <c:v>0.30688345975777864</c:v>
                </c:pt>
                <c:pt idx="63">
                  <c:v>0.2547077042206975</c:v>
                </c:pt>
                <c:pt idx="64">
                  <c:v>0.27983387408161065</c:v>
                </c:pt>
                <c:pt idx="65">
                  <c:v>0.2574037264891192</c:v>
                </c:pt>
                <c:pt idx="66">
                  <c:v>0.24429477021669113</c:v>
                </c:pt>
                <c:pt idx="67">
                  <c:v>0.3239736037147376</c:v>
                </c:pt>
                <c:pt idx="68">
                  <c:v>0.237947797551152</c:v>
                </c:pt>
                <c:pt idx="69">
                  <c:v>0.20493253903976866</c:v>
                </c:pt>
                <c:pt idx="70">
                  <c:v>0.2167852696287622</c:v>
                </c:pt>
                <c:pt idx="71">
                  <c:v>0.17413351843588246</c:v>
                </c:pt>
                <c:pt idx="72">
                  <c:v>0.27863485772029806</c:v>
                </c:pt>
                <c:pt idx="73">
                  <c:v>0.19056827892086753</c:v>
                </c:pt>
                <c:pt idx="74">
                  <c:v>0.23486697015308647</c:v>
                </c:pt>
                <c:pt idx="75">
                  <c:v>0.3582400369764959</c:v>
                </c:pt>
                <c:pt idx="76">
                  <c:v>0.35552491394410474</c:v>
                </c:pt>
                <c:pt idx="77">
                  <c:v>0.40716823665106944</c:v>
                </c:pt>
                <c:pt idx="78">
                  <c:v>0.27361416688666074</c:v>
                </c:pt>
                <c:pt idx="79">
                  <c:v>0.4231706976304143</c:v>
                </c:pt>
                <c:pt idx="80">
                  <c:v>0.37824549724226086</c:v>
                </c:pt>
                <c:pt idx="81">
                  <c:v>0.31863244777725297</c:v>
                </c:pt>
                <c:pt idx="82">
                  <c:v>0.383485334112513</c:v>
                </c:pt>
                <c:pt idx="83">
                  <c:v>0.3772662129456921</c:v>
                </c:pt>
                <c:pt idx="84">
                  <c:v>0.37036194937483286</c:v>
                </c:pt>
                <c:pt idx="85">
                  <c:v>0.31444432662044597</c:v>
                </c:pt>
                <c:pt idx="86">
                  <c:v>0.4359131837124348</c:v>
                </c:pt>
                <c:pt idx="87">
                  <c:v>0.4290660628627586</c:v>
                </c:pt>
                <c:pt idx="88">
                  <c:v>0.3672918278548782</c:v>
                </c:pt>
                <c:pt idx="89">
                  <c:v>0.33797004716298373</c:v>
                </c:pt>
                <c:pt idx="90">
                  <c:v>0.3613475428807418</c:v>
                </c:pt>
                <c:pt idx="91">
                  <c:v>0.3557923201795089</c:v>
                </c:pt>
                <c:pt idx="92">
                  <c:v>0.38134524140544424</c:v>
                </c:pt>
                <c:pt idx="93">
                  <c:v>0.38698790565818464</c:v>
                </c:pt>
                <c:pt idx="94">
                  <c:v>0.44069966010240674</c:v>
                </c:pt>
                <c:pt idx="95">
                  <c:v>0.38533104185521383</c:v>
                </c:pt>
                <c:pt idx="96">
                  <c:v>0.3103419581081311</c:v>
                </c:pt>
                <c:pt idx="97">
                  <c:v>0.32613829023272517</c:v>
                </c:pt>
                <c:pt idx="98">
                  <c:v>0.3239858395391471</c:v>
                </c:pt>
                <c:pt idx="99">
                  <c:v>0.3363934470269651</c:v>
                </c:pt>
                <c:pt idx="100">
                  <c:v>0.3945676779059339</c:v>
                </c:pt>
                <c:pt idx="101">
                  <c:v>0.3684774832175791</c:v>
                </c:pt>
                <c:pt idx="102">
                  <c:v>0.37060358030668944</c:v>
                </c:pt>
                <c:pt idx="103">
                  <c:v>0.3807207391879674</c:v>
                </c:pt>
                <c:pt idx="104">
                  <c:v>0.42251627992095436</c:v>
                </c:pt>
              </c:numCache>
            </c:numRef>
          </c:xVal>
          <c:yVal>
            <c:numRef>
              <c:f>Sheet1!$B$2:$B$106</c:f>
              <c:numCache>
                <c:formatCode>General</c:formatCode>
                <c:ptCount val="105"/>
                <c:pt idx="0">
                  <c:v>0.0003580478131541258</c:v>
                </c:pt>
                <c:pt idx="1">
                  <c:v>8.968609865470852e-05</c:v>
                </c:pt>
                <c:pt idx="2">
                  <c:v>8.448800270361608e-05</c:v>
                </c:pt>
                <c:pt idx="3">
                  <c:v>8.956560680698612e-05</c:v>
                </c:pt>
                <c:pt idx="4">
                  <c:v>7.059155724975294e-05</c:v>
                </c:pt>
                <c:pt idx="5">
                  <c:v>0.00010866415531729933</c:v>
                </c:pt>
                <c:pt idx="6">
                  <c:v>0.00020990764063811922</c:v>
                </c:pt>
                <c:pt idx="7">
                  <c:v>0.0002427577277876679</c:v>
                </c:pt>
                <c:pt idx="8">
                  <c:v>0.00012605571662674902</c:v>
                </c:pt>
                <c:pt idx="9">
                  <c:v>0.0001576739932515531</c:v>
                </c:pt>
                <c:pt idx="10">
                  <c:v>0.00012233912405187178</c:v>
                </c:pt>
                <c:pt idx="11">
                  <c:v>0.00021624961383997528</c:v>
                </c:pt>
                <c:pt idx="12">
                  <c:v>0.0001422556048708319</c:v>
                </c:pt>
                <c:pt idx="13">
                  <c:v>0.00017932394871335067</c:v>
                </c:pt>
                <c:pt idx="14">
                  <c:v>0.0</c:v>
                </c:pt>
                <c:pt idx="15">
                  <c:v>0.00017827218597354442</c:v>
                </c:pt>
                <c:pt idx="16">
                  <c:v>0.00016287971333170455</c:v>
                </c:pt>
                <c:pt idx="17">
                  <c:v>8.955758552749418e-05</c:v>
                </c:pt>
                <c:pt idx="18">
                  <c:v>0.0</c:v>
                </c:pt>
                <c:pt idx="19">
                  <c:v>0.00017497812773403323</c:v>
                </c:pt>
                <c:pt idx="20">
                  <c:v>0.0001436850423870875</c:v>
                </c:pt>
                <c:pt idx="21">
                  <c:v>5.938947618482005e-05</c:v>
                </c:pt>
                <c:pt idx="22">
                  <c:v>0.0002357795461243737</c:v>
                </c:pt>
                <c:pt idx="23">
                  <c:v>0.00018617351371478217</c:v>
                </c:pt>
                <c:pt idx="24">
                  <c:v>0.00022766078542970974</c:v>
                </c:pt>
                <c:pt idx="25">
                  <c:v>0.00038897893030794163</c:v>
                </c:pt>
                <c:pt idx="26">
                  <c:v>0.0002871582816448426</c:v>
                </c:pt>
                <c:pt idx="27">
                  <c:v>5.5781781670106545e-05</c:v>
                </c:pt>
                <c:pt idx="28">
                  <c:v>0.00028376844494892167</c:v>
                </c:pt>
                <c:pt idx="29">
                  <c:v>0.00019717060186326217</c:v>
                </c:pt>
                <c:pt idx="30">
                  <c:v>0.0002540489044140997</c:v>
                </c:pt>
                <c:pt idx="31">
                  <c:v>0.00024515812699190976</c:v>
                </c:pt>
                <c:pt idx="32">
                  <c:v>0.00012088244182532487</c:v>
                </c:pt>
                <c:pt idx="33">
                  <c:v>0.0004301486402523539</c:v>
                </c:pt>
                <c:pt idx="34">
                  <c:v>0.0005119453924914676</c:v>
                </c:pt>
                <c:pt idx="35">
                  <c:v>0.0005358851674641148</c:v>
                </c:pt>
                <c:pt idx="36">
                  <c:v>0.0001835451750562107</c:v>
                </c:pt>
                <c:pt idx="37">
                  <c:v>0.0002117634602149399</c:v>
                </c:pt>
                <c:pt idx="38">
                  <c:v>0.00010658140154543032</c:v>
                </c:pt>
                <c:pt idx="39">
                  <c:v>0.00022478224220286598</c:v>
                </c:pt>
                <c:pt idx="40">
                  <c:v>9.148293843198243e-05</c:v>
                </c:pt>
                <c:pt idx="41">
                  <c:v>0.00015227653418608191</c:v>
                </c:pt>
                <c:pt idx="42">
                  <c:v>4.338771259979174e-05</c:v>
                </c:pt>
                <c:pt idx="43">
                  <c:v>0.00011588380716934487</c:v>
                </c:pt>
                <c:pt idx="44">
                  <c:v>0.0001552553951249806</c:v>
                </c:pt>
                <c:pt idx="45">
                  <c:v>0.00011769136616137841</c:v>
                </c:pt>
                <c:pt idx="46">
                  <c:v>0.00025193532133205076</c:v>
                </c:pt>
                <c:pt idx="47">
                  <c:v>0.00032806092560046864</c:v>
                </c:pt>
                <c:pt idx="48">
                  <c:v>0.00017046519952951605</c:v>
                </c:pt>
                <c:pt idx="49">
                  <c:v>0.00019105846388995032</c:v>
                </c:pt>
                <c:pt idx="50">
                  <c:v>0.0002257336343115124</c:v>
                </c:pt>
                <c:pt idx="51">
                  <c:v>0.0002758088093333701</c:v>
                </c:pt>
                <c:pt idx="52">
                  <c:v>9.292600766639563e-05</c:v>
                </c:pt>
                <c:pt idx="53">
                  <c:v>0.00014659317462178961</c:v>
                </c:pt>
                <c:pt idx="54">
                  <c:v>0.00028976175144880876</c:v>
                </c:pt>
                <c:pt idx="55">
                  <c:v>0.00016557387906483874</c:v>
                </c:pt>
                <c:pt idx="56">
                  <c:v>6.75789829363068e-05</c:v>
                </c:pt>
                <c:pt idx="57">
                  <c:v>0.00011549011115923199</c:v>
                </c:pt>
                <c:pt idx="58">
                  <c:v>0.0001065019436604718</c:v>
                </c:pt>
                <c:pt idx="59">
                  <c:v>0.00017264597216946927</c:v>
                </c:pt>
                <c:pt idx="60">
                  <c:v>0.0002658009151145792</c:v>
                </c:pt>
                <c:pt idx="61">
                  <c:v>0.00036557342803425946</c:v>
                </c:pt>
                <c:pt idx="62">
                  <c:v>0.0003044680689112729</c:v>
                </c:pt>
                <c:pt idx="63">
                  <c:v>0.0004142025450445268</c:v>
                </c:pt>
                <c:pt idx="64">
                  <c:v>0.0004272351142291779</c:v>
                </c:pt>
                <c:pt idx="65">
                  <c:v>0.00036707126076742367</c:v>
                </c:pt>
                <c:pt idx="66">
                  <c:v>0.0002800122187149985</c:v>
                </c:pt>
                <c:pt idx="67">
                  <c:v>0.00024030759371996156</c:v>
                </c:pt>
                <c:pt idx="68">
                  <c:v>0.00041124924867925723</c:v>
                </c:pt>
                <c:pt idx="69">
                  <c:v>0.00045595854922279795</c:v>
                </c:pt>
                <c:pt idx="70">
                  <c:v>0.0003940110323089047</c:v>
                </c:pt>
                <c:pt idx="71">
                  <c:v>0.0004268032437046522</c:v>
                </c:pt>
                <c:pt idx="72">
                  <c:v>0.00044458814970495513</c:v>
                </c:pt>
                <c:pt idx="73">
                  <c:v>0.0008129733430319627</c:v>
                </c:pt>
                <c:pt idx="74">
                  <c:v>0.0008604794099569761</c:v>
                </c:pt>
                <c:pt idx="75">
                  <c:v>0.0008656759486365604</c:v>
                </c:pt>
                <c:pt idx="76">
                  <c:v>0.001183431952662722</c:v>
                </c:pt>
                <c:pt idx="77">
                  <c:v>0.0012112275527937227</c:v>
                </c:pt>
                <c:pt idx="78">
                  <c:v>0.002056645904336585</c:v>
                </c:pt>
                <c:pt idx="79">
                  <c:v>0.001290922234844573</c:v>
                </c:pt>
                <c:pt idx="80">
                  <c:v>0.0012359666289010196</c:v>
                </c:pt>
                <c:pt idx="81">
                  <c:v>0.0017492456378186906</c:v>
                </c:pt>
                <c:pt idx="82">
                  <c:v>0.0014101985559566788</c:v>
                </c:pt>
                <c:pt idx="83">
                  <c:v>0.001380216891225764</c:v>
                </c:pt>
                <c:pt idx="84">
                  <c:v>0.0013312920189043466</c:v>
                </c:pt>
                <c:pt idx="85">
                  <c:v>0.0012235623142807202</c:v>
                </c:pt>
                <c:pt idx="86">
                  <c:v>0.0011437620974837233</c:v>
                </c:pt>
                <c:pt idx="87">
                  <c:v>0.001046156421308114</c:v>
                </c:pt>
                <c:pt idx="88">
                  <c:v>0.0015890672175433022</c:v>
                </c:pt>
                <c:pt idx="89">
                  <c:v>0.0019621421975992612</c:v>
                </c:pt>
                <c:pt idx="90">
                  <c:v>0.001836601694413176</c:v>
                </c:pt>
                <c:pt idx="91">
                  <c:v>0.00184003220056351</c:v>
                </c:pt>
                <c:pt idx="92">
                  <c:v>0.0015671813781977413</c:v>
                </c:pt>
                <c:pt idx="93">
                  <c:v>0.001546551190844417</c:v>
                </c:pt>
                <c:pt idx="94">
                  <c:v>0.0014558232931726907</c:v>
                </c:pt>
                <c:pt idx="95">
                  <c:v>0.0017315698338429798</c:v>
                </c:pt>
                <c:pt idx="96">
                  <c:v>0.002308560035677746</c:v>
                </c:pt>
                <c:pt idx="97">
                  <c:v>0.0026446509060803975</c:v>
                </c:pt>
                <c:pt idx="98">
                  <c:v>0.002492373337586984</c:v>
                </c:pt>
                <c:pt idx="99">
                  <c:v>0.0023547337073204517</c:v>
                </c:pt>
                <c:pt idx="100">
                  <c:v>0.001811252405569601</c:v>
                </c:pt>
                <c:pt idx="101">
                  <c:v>0.0024561479774816877</c:v>
                </c:pt>
                <c:pt idx="102">
                  <c:v>0.002028946300554579</c:v>
                </c:pt>
                <c:pt idx="103">
                  <c:v>0.001982513216754778</c:v>
                </c:pt>
                <c:pt idx="104">
                  <c:v>0.0014722770236447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154545017725846</c:v>
                </c:pt>
                <c:pt idx="1">
                  <c:v>0.37051081943863734</c:v>
                </c:pt>
                <c:pt idx="2">
                  <c:v>0.4237086902047366</c:v>
                </c:pt>
                <c:pt idx="3">
                  <c:v>0.36551607103091316</c:v>
                </c:pt>
                <c:pt idx="4">
                  <c:v>0.42868477933206955</c:v>
                </c:pt>
                <c:pt idx="5">
                  <c:v>0.4529550147864052</c:v>
                </c:pt>
                <c:pt idx="6">
                  <c:v>0.4362280999460489</c:v>
                </c:pt>
                <c:pt idx="7">
                  <c:v>0.4245259374355872</c:v>
                </c:pt>
                <c:pt idx="8">
                  <c:v>0.4118145873888908</c:v>
                </c:pt>
                <c:pt idx="9">
                  <c:v>0.4018827945039089</c:v>
                </c:pt>
                <c:pt idx="10">
                  <c:v>0.40769316005333295</c:v>
                </c:pt>
                <c:pt idx="11">
                  <c:v>0.39792338493269375</c:v>
                </c:pt>
                <c:pt idx="12">
                  <c:v>0.3635110573910924</c:v>
                </c:pt>
                <c:pt idx="13">
                  <c:v>0.3283753454336288</c:v>
                </c:pt>
                <c:pt idx="14">
                  <c:v>0.3278916343728568</c:v>
                </c:pt>
                <c:pt idx="15">
                  <c:v>0.34173861364547814</c:v>
                </c:pt>
                <c:pt idx="16">
                  <c:v>0.3540656232910855</c:v>
                </c:pt>
                <c:pt idx="17">
                  <c:v>0.27072013276135143</c:v>
                </c:pt>
                <c:pt idx="18">
                  <c:v>0.3787540561027183</c:v>
                </c:pt>
                <c:pt idx="19">
                  <c:v>0.4158156863468991</c:v>
                </c:pt>
                <c:pt idx="20">
                  <c:v>0.3927346759992567</c:v>
                </c:pt>
                <c:pt idx="21">
                  <c:v>0.32641988479759587</c:v>
                </c:pt>
                <c:pt idx="22">
                  <c:v>0.3651218095769944</c:v>
                </c:pt>
                <c:pt idx="23">
                  <c:v>0.298743340138628</c:v>
                </c:pt>
                <c:pt idx="24">
                  <c:v>0.3802546424946777</c:v>
                </c:pt>
                <c:pt idx="25">
                  <c:v>0.35129716516685916</c:v>
                </c:pt>
                <c:pt idx="26">
                  <c:v>0.34856766686200674</c:v>
                </c:pt>
                <c:pt idx="27">
                  <c:v>0.32325468099583704</c:v>
                </c:pt>
                <c:pt idx="28">
                  <c:v>0.3402603695863852</c:v>
                </c:pt>
                <c:pt idx="29">
                  <c:v>0.33923676334871844</c:v>
                </c:pt>
                <c:pt idx="30">
                  <c:v>0.3301282284672994</c:v>
                </c:pt>
                <c:pt idx="31">
                  <c:v>0.3503690810550307</c:v>
                </c:pt>
                <c:pt idx="32">
                  <c:v>0.4071918088197547</c:v>
                </c:pt>
                <c:pt idx="33">
                  <c:v>0.40467412867160946</c:v>
                </c:pt>
                <c:pt idx="34">
                  <c:v>0.4071791328277845</c:v>
                </c:pt>
                <c:pt idx="35">
                  <c:v>0.37075716397453656</c:v>
                </c:pt>
                <c:pt idx="36">
                  <c:v>0.37190994725200033</c:v>
                </c:pt>
                <c:pt idx="37">
                  <c:v>0.3765154768388251</c:v>
                </c:pt>
                <c:pt idx="38">
                  <c:v>0.3274692346993588</c:v>
                </c:pt>
                <c:pt idx="39">
                  <c:v>0.3051089523450276</c:v>
                </c:pt>
                <c:pt idx="40">
                  <c:v>0.2925894907060165</c:v>
                </c:pt>
                <c:pt idx="41">
                  <c:v>0.3229503570889659</c:v>
                </c:pt>
                <c:pt idx="42">
                  <c:v>0.30745097883609446</c:v>
                </c:pt>
                <c:pt idx="43">
                  <c:v>0.3356773406128625</c:v>
                </c:pt>
                <c:pt idx="44">
                  <c:v>0.39777993619295277</c:v>
                </c:pt>
                <c:pt idx="45">
                  <c:v>0.42055989287776513</c:v>
                </c:pt>
                <c:pt idx="46">
                  <c:v>0.44331931321884027</c:v>
                </c:pt>
                <c:pt idx="47">
                  <c:v>0.3907925407554547</c:v>
                </c:pt>
                <c:pt idx="48">
                  <c:v>0.36437272837109197</c:v>
                </c:pt>
                <c:pt idx="49">
                  <c:v>0.3873194091306659</c:v>
                </c:pt>
                <c:pt idx="50">
                  <c:v>0.42582830740423966</c:v>
                </c:pt>
                <c:pt idx="51">
                  <c:v>0.4354208722783514</c:v>
                </c:pt>
              </c:numCache>
            </c:numRef>
          </c:xVal>
          <c:yVal>
            <c:numRef>
              <c:f>Sheet1!$B$109:$B$160</c:f>
              <c:numCache>
                <c:formatCode>General</c:formatCode>
                <c:ptCount val="52"/>
                <c:pt idx="0">
                  <c:v>0.001584147782193105</c:v>
                </c:pt>
                <c:pt idx="1">
                  <c:v>0.0019049243716592744</c:v>
                </c:pt>
                <c:pt idx="2">
                  <c:v>0.0017297077302673416</c:v>
                </c:pt>
                <c:pt idx="3">
                  <c:v>0.00184412058499603</c:v>
                </c:pt>
                <c:pt idx="4">
                  <c:v>0.0018328640493013866</c:v>
                </c:pt>
                <c:pt idx="5">
                  <c:v>0.0016014092401313155</c:v>
                </c:pt>
                <c:pt idx="6">
                  <c:v>0.0017298001955426308</c:v>
                </c:pt>
                <c:pt idx="7">
                  <c:v>0.0019910061446568946</c:v>
                </c:pt>
                <c:pt idx="8">
                  <c:v>0.0023928811784939804</c:v>
                </c:pt>
                <c:pt idx="9">
                  <c:v>0.0025054914881933003</c:v>
                </c:pt>
                <c:pt idx="10">
                  <c:v>0.002407254740313273</c:v>
                </c:pt>
                <c:pt idx="11">
                  <c:v>0.0024414905423068385</c:v>
                </c:pt>
                <c:pt idx="12">
                  <c:v>0.0025257486038222994</c:v>
                </c:pt>
                <c:pt idx="13">
                  <c:v>0.0036323158943113248</c:v>
                </c:pt>
                <c:pt idx="14">
                  <c:v>0.0036016335980962795</c:v>
                </c:pt>
                <c:pt idx="15">
                  <c:v>0.003392385978137957</c:v>
                </c:pt>
                <c:pt idx="16">
                  <c:v>0.003323047709470686</c:v>
                </c:pt>
                <c:pt idx="17">
                  <c:v>0.00420427847162112</c:v>
                </c:pt>
                <c:pt idx="18">
                  <c:v>0.0023092369477911647</c:v>
                </c:pt>
                <c:pt idx="19">
                  <c:v>0.0020470829068577278</c:v>
                </c:pt>
                <c:pt idx="20">
                  <c:v>0.0024176954732510287</c:v>
                </c:pt>
                <c:pt idx="21">
                  <c:v>0.0034454676439265803</c:v>
                </c:pt>
                <c:pt idx="22">
                  <c:v>0.002851298580549185</c:v>
                </c:pt>
                <c:pt idx="23">
                  <c:v>0.0028443208393906833</c:v>
                </c:pt>
                <c:pt idx="24">
                  <c:v>0.0025663458734324876</c:v>
                </c:pt>
                <c:pt idx="25">
                  <c:v>0.0027607361963190185</c:v>
                </c:pt>
                <c:pt idx="26">
                  <c:v>0.0029604690311719976</c:v>
                </c:pt>
                <c:pt idx="27">
                  <c:v>0.003013640689436396</c:v>
                </c:pt>
                <c:pt idx="28">
                  <c:v>0.0024760725679729536</c:v>
                </c:pt>
                <c:pt idx="29">
                  <c:v>0.002812051649928264</c:v>
                </c:pt>
                <c:pt idx="30">
                  <c:v>0.0027380952380952383</c:v>
                </c:pt>
                <c:pt idx="31">
                  <c:v>0.002772941252337654</c:v>
                </c:pt>
                <c:pt idx="32">
                  <c:v>0.0023744911804613297</c:v>
                </c:pt>
                <c:pt idx="33">
                  <c:v>0.0023239269622954708</c:v>
                </c:pt>
                <c:pt idx="34">
                  <c:v>0.002157015880099669</c:v>
                </c:pt>
                <c:pt idx="35">
                  <c:v>0.0026392305971818385</c:v>
                </c:pt>
                <c:pt idx="36">
                  <c:v>0.003280519299225239</c:v>
                </c:pt>
                <c:pt idx="37">
                  <c:v>0.003253049734125743</c:v>
                </c:pt>
                <c:pt idx="38">
                  <c:v>0.003777544596012592</c:v>
                </c:pt>
                <c:pt idx="39">
                  <c:v>0.0035495653068573487</c:v>
                </c:pt>
                <c:pt idx="40">
                  <c:v>0.0033338309200378166</c:v>
                </c:pt>
                <c:pt idx="41">
                  <c:v>0.002729026490377829</c:v>
                </c:pt>
                <c:pt idx="42">
                  <c:v>0.003122023494549688</c:v>
                </c:pt>
                <c:pt idx="43">
                  <c:v>0.0022727272727272726</c:v>
                </c:pt>
                <c:pt idx="44">
                  <c:v>0.0016782773907536416</c:v>
                </c:pt>
                <c:pt idx="45">
                  <c:v>0.0014120237411449359</c:v>
                </c:pt>
                <c:pt idx="46">
                  <c:v>0.0014623655913978495</c:v>
                </c:pt>
                <c:pt idx="47">
                  <c:v>0.0014511837897395932</c:v>
                </c:pt>
                <c:pt idx="48">
                  <c:v>0.0016167059616032334</c:v>
                </c:pt>
                <c:pt idx="49">
                  <c:v>0.0014272897806051708</c:v>
                </c:pt>
                <c:pt idx="50">
                  <c:v>0.0012052271650077866</c:v>
                </c:pt>
                <c:pt idx="51">
                  <c:v>0.001440003777059087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378247462414588</c:v>
                </c:pt>
              </c:numCache>
            </c:numRef>
          </c:xVal>
          <c:yVal>
            <c:numRef>
              <c:f>Sheet1!$B$163:$B$164</c:f>
              <c:numCache>
                <c:formatCode>General</c:formatCode>
                <c:ptCount val="2"/>
                <c:pt idx="0">
                  <c:v>0.002942548461392275</c:v>
                </c:pt>
                <c:pt idx="1">
                  <c:v>0.00294254846139227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378247462414588</c:v>
                </c:pt>
                <c:pt idx="1">
                  <c:v>0.3378247462414588</c:v>
                </c:pt>
              </c:numCache>
            </c:numRef>
          </c:xVal>
          <c:yVal>
            <c:numRef>
              <c:f>Sheet1!$B$167:$B$168</c:f>
              <c:numCache>
                <c:formatCode>General</c:formatCode>
                <c:ptCount val="2"/>
                <c:pt idx="0">
                  <c:v>0.00294254846139227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378247462414588</c:v>
                </c:pt>
              </c:numCache>
            </c:numRef>
          </c:xVal>
          <c:yVal>
            <c:numRef>
              <c:f>Sheet1!$B$171:$B$172</c:f>
              <c:numCache>
                <c:formatCode>General</c:formatCode>
                <c:ptCount val="2"/>
                <c:pt idx="0">
                  <c:v>0.002942548461392275</c:v>
                </c:pt>
                <c:pt idx="1">
                  <c:v>0.00294254846139227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378247462414588</c:v>
                </c:pt>
                <c:pt idx="1">
                  <c:v>0.3378247462414588</c:v>
                </c:pt>
              </c:numCache>
            </c:numRef>
          </c:xVal>
          <c:yVal>
            <c:numRef>
              <c:f>Sheet1!$B$175:$B$176</c:f>
              <c:numCache>
                <c:formatCode>General</c:formatCode>
                <c:ptCount val="2"/>
                <c:pt idx="0">
                  <c:v>0.00294254846139227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04611956408479</c:v>
                </c:pt>
              </c:numCache>
            </c:numRef>
          </c:xVal>
          <c:yVal>
            <c:numRef>
              <c:f>Sheet1!$B$179:$B$180</c:f>
              <c:numCache>
                <c:formatCode>General</c:formatCode>
                <c:ptCount val="2"/>
                <c:pt idx="0">
                  <c:v>0.0020538654370662506</c:v>
                </c:pt>
                <c:pt idx="1">
                  <c:v>0.002053865437066250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04611956408479</c:v>
                </c:pt>
                <c:pt idx="1">
                  <c:v>0.404611956408479</c:v>
                </c:pt>
              </c:numCache>
            </c:numRef>
          </c:xVal>
          <c:yVal>
            <c:numRef>
              <c:f>Sheet1!$B$183:$B$184</c:f>
              <c:numCache>
                <c:formatCode>General</c:formatCode>
                <c:ptCount val="2"/>
                <c:pt idx="0">
                  <c:v>0.00205386543706625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154545017725846</c:v>
                </c:pt>
                <c:pt idx="1">
                  <c:v>0.37051081943863734</c:v>
                </c:pt>
                <c:pt idx="2">
                  <c:v>0.4237086902047366</c:v>
                </c:pt>
                <c:pt idx="3">
                  <c:v>0.36551607103091316</c:v>
                </c:pt>
                <c:pt idx="4">
                  <c:v>0.42868477933206955</c:v>
                </c:pt>
                <c:pt idx="5">
                  <c:v>0.4529550147864052</c:v>
                </c:pt>
                <c:pt idx="6">
                  <c:v>0.4362280999460489</c:v>
                </c:pt>
                <c:pt idx="7">
                  <c:v>0.4245259374355872</c:v>
                </c:pt>
                <c:pt idx="8">
                  <c:v>0.4118145873888908</c:v>
                </c:pt>
                <c:pt idx="9">
                  <c:v>0.4018827945039089</c:v>
                </c:pt>
                <c:pt idx="10">
                  <c:v>0.40769316005333295</c:v>
                </c:pt>
                <c:pt idx="11">
                  <c:v>0.39792338493269375</c:v>
                </c:pt>
                <c:pt idx="12">
                  <c:v>0.3635110573910924</c:v>
                </c:pt>
                <c:pt idx="13">
                  <c:v>0.3283753454336288</c:v>
                </c:pt>
                <c:pt idx="14">
                  <c:v>0.3278916343728568</c:v>
                </c:pt>
                <c:pt idx="15">
                  <c:v>0.34173861364547814</c:v>
                </c:pt>
                <c:pt idx="16">
                  <c:v>0.3540656232910855</c:v>
                </c:pt>
                <c:pt idx="17">
                  <c:v>0.27072013276135143</c:v>
                </c:pt>
                <c:pt idx="18">
                  <c:v>0.3787540561027183</c:v>
                </c:pt>
                <c:pt idx="19">
                  <c:v>0.4158156863468991</c:v>
                </c:pt>
                <c:pt idx="20">
                  <c:v>0.3927346759992567</c:v>
                </c:pt>
                <c:pt idx="21">
                  <c:v>0.32641988479759587</c:v>
                </c:pt>
                <c:pt idx="22">
                  <c:v>0.3651218095769944</c:v>
                </c:pt>
                <c:pt idx="23">
                  <c:v>0.298743340138628</c:v>
                </c:pt>
                <c:pt idx="24">
                  <c:v>0.3802546424946777</c:v>
                </c:pt>
                <c:pt idx="25">
                  <c:v>0.35129716516685916</c:v>
                </c:pt>
                <c:pt idx="26">
                  <c:v>0.34856766686200674</c:v>
                </c:pt>
                <c:pt idx="27">
                  <c:v>0.32325468099583704</c:v>
                </c:pt>
                <c:pt idx="28">
                  <c:v>0.3402603695863852</c:v>
                </c:pt>
                <c:pt idx="29">
                  <c:v>0.33923676334871844</c:v>
                </c:pt>
                <c:pt idx="30">
                  <c:v>0.3301282284672994</c:v>
                </c:pt>
                <c:pt idx="31">
                  <c:v>0.3503690810550307</c:v>
                </c:pt>
                <c:pt idx="32">
                  <c:v>0.4071918088197547</c:v>
                </c:pt>
                <c:pt idx="33">
                  <c:v>0.40467412867160946</c:v>
                </c:pt>
                <c:pt idx="34">
                  <c:v>0.4071791328277845</c:v>
                </c:pt>
                <c:pt idx="35">
                  <c:v>0.37075716397453656</c:v>
                </c:pt>
                <c:pt idx="36">
                  <c:v>0.37190994725200033</c:v>
                </c:pt>
                <c:pt idx="37">
                  <c:v>0.3765154768388251</c:v>
                </c:pt>
                <c:pt idx="38">
                  <c:v>0.3274692346993588</c:v>
                </c:pt>
                <c:pt idx="39">
                  <c:v>0.3051089523450276</c:v>
                </c:pt>
                <c:pt idx="40">
                  <c:v>0.2925894907060165</c:v>
                </c:pt>
                <c:pt idx="41">
                  <c:v>0.3229503570889659</c:v>
                </c:pt>
                <c:pt idx="42">
                  <c:v>0.30745097883609446</c:v>
                </c:pt>
                <c:pt idx="43">
                  <c:v>0.3356773406128625</c:v>
                </c:pt>
                <c:pt idx="44">
                  <c:v>0.39777993619295277</c:v>
                </c:pt>
                <c:pt idx="45">
                  <c:v>0.42055989287776513</c:v>
                </c:pt>
                <c:pt idx="46">
                  <c:v>0.44331931321884027</c:v>
                </c:pt>
                <c:pt idx="47">
                  <c:v>0.3907925407554547</c:v>
                </c:pt>
                <c:pt idx="48">
                  <c:v>0.36437272837109197</c:v>
                </c:pt>
                <c:pt idx="49">
                  <c:v>0.3873194091306659</c:v>
                </c:pt>
                <c:pt idx="50">
                  <c:v>0.42582830740423966</c:v>
                </c:pt>
                <c:pt idx="51">
                  <c:v>0.4354208722783514</c:v>
                </c:pt>
                <c:pt idx="52">
                  <c:v>0.3378247462414588</c:v>
                </c:pt>
                <c:pt idx="53">
                  <c:v>0.3378247462414588</c:v>
                </c:pt>
                <c:pt idx="54">
                  <c:v>0.404611956408479</c:v>
                </c:pt>
              </c:numCache>
            </c:numRef>
          </c:xVal>
          <c:yVal>
            <c:numRef>
              <c:f>Sheet1!$B$187:$B$241</c:f>
              <c:numCache>
                <c:formatCode>General</c:formatCode>
                <c:ptCount val="55"/>
                <c:pt idx="0">
                  <c:v>0.001909592514429283</c:v>
                </c:pt>
                <c:pt idx="1">
                  <c:v>0.0025076214999341035</c:v>
                </c:pt>
                <c:pt idx="2">
                  <c:v>0.0017997607499208148</c:v>
                </c:pt>
                <c:pt idx="3">
                  <c:v>0.002574082550030725</c:v>
                </c:pt>
                <c:pt idx="4">
                  <c:v>0.001733547983675073</c:v>
                </c:pt>
                <c:pt idx="5">
                  <c:v>0.0014106037224800713</c:v>
                </c:pt>
                <c:pt idx="6">
                  <c:v>0.001633175158400179</c:v>
                </c:pt>
                <c:pt idx="7">
                  <c:v>0.0017888863064619825</c:v>
                </c:pt>
                <c:pt idx="8">
                  <c:v>0.0019580258913393144</c:v>
                </c:pt>
                <c:pt idx="9">
                  <c:v>0.0020901801723151626</c:v>
                </c:pt>
                <c:pt idx="10">
                  <c:v>0.002012866369028741</c:v>
                </c:pt>
                <c:pt idx="11">
                  <c:v>0.0021428648115371556</c:v>
                </c:pt>
                <c:pt idx="12">
                  <c:v>0.0026007616339570466</c:v>
                </c:pt>
                <c:pt idx="13">
                  <c:v>0.003068283943784349</c:v>
                </c:pt>
                <c:pt idx="14">
                  <c:v>0.0030747202930091755</c:v>
                </c:pt>
                <c:pt idx="15">
                  <c:v>0.0028904698147065285</c:v>
                </c:pt>
                <c:pt idx="16">
                  <c:v>0.0027264443345980044</c:v>
                </c:pt>
                <c:pt idx="17">
                  <c:v>0.0038354549131604694</c:v>
                </c:pt>
                <c:pt idx="18">
                  <c:v>0.002397935461685899</c:v>
                </c:pt>
                <c:pt idx="19">
                  <c:v>0.0019047865253927739</c:v>
                </c:pt>
                <c:pt idx="20">
                  <c:v>0.0022119067364174266</c:v>
                </c:pt>
                <c:pt idx="21">
                  <c:v>0.0030943036662377113</c:v>
                </c:pt>
                <c:pt idx="22">
                  <c:v>0.0025793286661713374</c:v>
                </c:pt>
                <c:pt idx="23">
                  <c:v>0.0034625729104375723</c:v>
                </c:pt>
                <c:pt idx="24">
                  <c:v>0.0023779683804178824</c:v>
                </c:pt>
                <c:pt idx="25">
                  <c:v>0.002763281952645004</c:v>
                </c:pt>
                <c:pt idx="26">
                  <c:v>0.002799601164098558</c:v>
                </c:pt>
                <c:pt idx="27">
                  <c:v>0.003136420455966177</c:v>
                </c:pt>
                <c:pt idx="28">
                  <c:v>0.0029101396047432945</c:v>
                </c:pt>
                <c:pt idx="29">
                  <c:v>0.002923759899478377</c:v>
                </c:pt>
                <c:pt idx="30">
                  <c:v>0.003044959756537172</c:v>
                </c:pt>
                <c:pt idx="31">
                  <c:v>0.0027756312122302765</c:v>
                </c:pt>
                <c:pt idx="32">
                  <c:v>0.00201953744166962</c:v>
                </c:pt>
                <c:pt idx="33">
                  <c:v>0.0020530381613844285</c:v>
                </c:pt>
                <c:pt idx="34">
                  <c:v>0.002019706110773364</c:v>
                </c:pt>
                <c:pt idx="35">
                  <c:v>0.00250434359378049</c:v>
                </c:pt>
                <c:pt idx="36">
                  <c:v>0.0024890044453590035</c:v>
                </c:pt>
                <c:pt idx="37">
                  <c:v>0.0024277224131913615</c:v>
                </c:pt>
                <c:pt idx="38">
                  <c:v>0.003080340821526234</c:v>
                </c:pt>
                <c:pt idx="39">
                  <c:v>0.003377870891995376</c:v>
                </c:pt>
                <c:pt idx="40">
                  <c:v>0.003544457174076432</c:v>
                </c:pt>
                <c:pt idx="41">
                  <c:v>0.003140469846399714</c:v>
                </c:pt>
                <c:pt idx="42">
                  <c:v>0.003346707452469634</c:v>
                </c:pt>
                <c:pt idx="43">
                  <c:v>0.0029711222395708108</c:v>
                </c:pt>
                <c:pt idx="44">
                  <c:v>0.0021447735671140085</c:v>
                </c:pt>
                <c:pt idx="45">
                  <c:v>0.0018416592320482277</c:v>
                </c:pt>
                <c:pt idx="46">
                  <c:v>0.0015388181573868778</c:v>
                </c:pt>
                <c:pt idx="47">
                  <c:v>0.0022377491487265483</c:v>
                </c:pt>
                <c:pt idx="48">
                  <c:v>0.0025892960798402477</c:v>
                </c:pt>
                <c:pt idx="49">
                  <c:v>0.0022839632832663947</c:v>
                </c:pt>
                <c:pt idx="50">
                  <c:v>0.0017715567297415438</c:v>
                </c:pt>
                <c:pt idx="51">
                  <c:v>0.001643916279690543</c:v>
                </c:pt>
                <c:pt idx="52">
                  <c:v>0.0029425484613922748</c:v>
                </c:pt>
                <c:pt idx="53">
                  <c:v>0.0029425484613922748</c:v>
                </c:pt>
                <c:pt idx="54">
                  <c:v>0.00205386543706625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4513416594534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856.3077</c:v>
                </c:pt>
                <c:pt idx="1">
                  <c:v>6230.0</c:v>
                </c:pt>
                <c:pt idx="2">
                  <c:v>6349.3333</c:v>
                </c:pt>
                <c:pt idx="3">
                  <c:v>5043.3333</c:v>
                </c:pt>
                <c:pt idx="4">
                  <c:v>5971.5</c:v>
                </c:pt>
                <c:pt idx="5">
                  <c:v>7694.0</c:v>
                </c:pt>
                <c:pt idx="6">
                  <c:v>5895.0</c:v>
                </c:pt>
                <c:pt idx="7">
                  <c:v>4277.0</c:v>
                </c:pt>
                <c:pt idx="8">
                  <c:v>7050.6667</c:v>
                </c:pt>
                <c:pt idx="9">
                  <c:v>5817.6</c:v>
                </c:pt>
                <c:pt idx="10">
                  <c:v>5290.25</c:v>
                </c:pt>
                <c:pt idx="11">
                  <c:v>4469.2857</c:v>
                </c:pt>
                <c:pt idx="12">
                  <c:v>7055.8</c:v>
                </c:pt>
                <c:pt idx="13">
                  <c:v>5252.6667</c:v>
                </c:pt>
                <c:pt idx="14">
                  <c:v>0.0</c:v>
                </c:pt>
                <c:pt idx="15">
                  <c:v>3753.0</c:v>
                </c:pt>
                <c:pt idx="16">
                  <c:v>2170.25</c:v>
                </c:pt>
                <c:pt idx="17">
                  <c:v>6580.0</c:v>
                </c:pt>
                <c:pt idx="18">
                  <c:v>0.0</c:v>
                </c:pt>
                <c:pt idx="19">
                  <c:v>3807.0</c:v>
                </c:pt>
                <c:pt idx="20">
                  <c:v>5072.3333</c:v>
                </c:pt>
                <c:pt idx="21">
                  <c:v>6718.0</c:v>
                </c:pt>
                <c:pt idx="22">
                  <c:v>5462.25</c:v>
                </c:pt>
                <c:pt idx="23">
                  <c:v>6538.6667</c:v>
                </c:pt>
                <c:pt idx="24">
                  <c:v>6316.5</c:v>
                </c:pt>
                <c:pt idx="25">
                  <c:v>4606.0</c:v>
                </c:pt>
                <c:pt idx="26">
                  <c:v>6402.0</c:v>
                </c:pt>
                <c:pt idx="27">
                  <c:v>15524.0</c:v>
                </c:pt>
                <c:pt idx="28">
                  <c:v>3345.4</c:v>
                </c:pt>
                <c:pt idx="29">
                  <c:v>7017.0</c:v>
                </c:pt>
                <c:pt idx="30">
                  <c:v>3873.25</c:v>
                </c:pt>
                <c:pt idx="31">
                  <c:v>5011.5</c:v>
                </c:pt>
                <c:pt idx="32">
                  <c:v>8655.5</c:v>
                </c:pt>
                <c:pt idx="33">
                  <c:v>3845.7778</c:v>
                </c:pt>
                <c:pt idx="34">
                  <c:v>3505.4167</c:v>
                </c:pt>
                <c:pt idx="35">
                  <c:v>3707.5</c:v>
                </c:pt>
                <c:pt idx="36">
                  <c:v>6482.5</c:v>
                </c:pt>
                <c:pt idx="37">
                  <c:v>4574.0</c:v>
                </c:pt>
                <c:pt idx="38">
                  <c:v>7663.0</c:v>
                </c:pt>
                <c:pt idx="39">
                  <c:v>5600.75</c:v>
                </c:pt>
                <c:pt idx="40">
                  <c:v>8541.5</c:v>
                </c:pt>
                <c:pt idx="41">
                  <c:v>5335.6667</c:v>
                </c:pt>
                <c:pt idx="42">
                  <c:v>10645.0</c:v>
                </c:pt>
                <c:pt idx="43">
                  <c:v>7240.0</c:v>
                </c:pt>
                <c:pt idx="44">
                  <c:v>4505.0</c:v>
                </c:pt>
                <c:pt idx="45">
                  <c:v>4392.2</c:v>
                </c:pt>
                <c:pt idx="46">
                  <c:v>4084.1818</c:v>
                </c:pt>
                <c:pt idx="47">
                  <c:v>3419.4286</c:v>
                </c:pt>
                <c:pt idx="48">
                  <c:v>4401.9</c:v>
                </c:pt>
                <c:pt idx="49">
                  <c:v>3402.25</c:v>
                </c:pt>
                <c:pt idx="50">
                  <c:v>4337.6</c:v>
                </c:pt>
                <c:pt idx="51">
                  <c:v>4108.2</c:v>
                </c:pt>
                <c:pt idx="52">
                  <c:v>4801.75</c:v>
                </c:pt>
                <c:pt idx="53">
                  <c:v>3999.4</c:v>
                </c:pt>
                <c:pt idx="54">
                  <c:v>4201.4444</c:v>
                </c:pt>
                <c:pt idx="55">
                  <c:v>4984.2</c:v>
                </c:pt>
                <c:pt idx="56">
                  <c:v>10395.0</c:v>
                </c:pt>
                <c:pt idx="57">
                  <c:v>4042.75</c:v>
                </c:pt>
                <c:pt idx="58">
                  <c:v>4289.0</c:v>
                </c:pt>
                <c:pt idx="59">
                  <c:v>3433.0</c:v>
                </c:pt>
                <c:pt idx="60">
                  <c:v>3007.3571</c:v>
                </c:pt>
                <c:pt idx="61">
                  <c:v>2989.9286</c:v>
                </c:pt>
                <c:pt idx="62">
                  <c:v>3040.0833</c:v>
                </c:pt>
                <c:pt idx="63">
                  <c:v>2470.9444</c:v>
                </c:pt>
                <c:pt idx="64">
                  <c:v>2609.3158</c:v>
                </c:pt>
                <c:pt idx="65">
                  <c:v>2489.9333</c:v>
                </c:pt>
                <c:pt idx="66">
                  <c:v>2358.7273</c:v>
                </c:pt>
                <c:pt idx="67">
                  <c:v>3155.3333</c:v>
                </c:pt>
                <c:pt idx="68">
                  <c:v>2346.9231</c:v>
                </c:pt>
                <c:pt idx="69">
                  <c:v>2135.0</c:v>
                </c:pt>
                <c:pt idx="70">
                  <c:v>2302.5</c:v>
                </c:pt>
                <c:pt idx="71">
                  <c:v>1857.8</c:v>
                </c:pt>
                <c:pt idx="72">
                  <c:v>2952.3636</c:v>
                </c:pt>
                <c:pt idx="73">
                  <c:v>2025.9474</c:v>
                </c:pt>
                <c:pt idx="74">
                  <c:v>2531.4762</c:v>
                </c:pt>
                <c:pt idx="75">
                  <c:v>3962.4444</c:v>
                </c:pt>
                <c:pt idx="76">
                  <c:v>3882.0</c:v>
                </c:pt>
                <c:pt idx="77">
                  <c:v>4467.6957</c:v>
                </c:pt>
                <c:pt idx="78">
                  <c:v>3018.5429</c:v>
                </c:pt>
                <c:pt idx="79">
                  <c:v>4773.4</c:v>
                </c:pt>
                <c:pt idx="80">
                  <c:v>4299.5</c:v>
                </c:pt>
                <c:pt idx="81">
                  <c:v>3470.475</c:v>
                </c:pt>
                <c:pt idx="82">
                  <c:v>4188.0</c:v>
                </c:pt>
                <c:pt idx="83">
                  <c:v>4291.4286</c:v>
                </c:pt>
                <c:pt idx="84">
                  <c:v>4199.35</c:v>
                </c:pt>
                <c:pt idx="85">
                  <c:v>3644.0476</c:v>
                </c:pt>
                <c:pt idx="86">
                  <c:v>4846.4231</c:v>
                </c:pt>
                <c:pt idx="87">
                  <c:v>4906.68</c:v>
                </c:pt>
                <c:pt idx="88">
                  <c:v>4199.0333</c:v>
                </c:pt>
                <c:pt idx="89">
                  <c:v>3929.7353</c:v>
                </c:pt>
                <c:pt idx="90">
                  <c:v>4177.2903</c:v>
                </c:pt>
                <c:pt idx="91">
                  <c:v>3942.625</c:v>
                </c:pt>
                <c:pt idx="92">
                  <c:v>4270.3235</c:v>
                </c:pt>
                <c:pt idx="93">
                  <c:v>4332.2286</c:v>
                </c:pt>
                <c:pt idx="94">
                  <c:v>5011.5517</c:v>
                </c:pt>
                <c:pt idx="95">
                  <c:v>4381.1064</c:v>
                </c:pt>
                <c:pt idx="96">
                  <c:v>3358.3295</c:v>
                </c:pt>
                <c:pt idx="97">
                  <c:v>3539.0348</c:v>
                </c:pt>
                <c:pt idx="98">
                  <c:v>3390.072</c:v>
                </c:pt>
                <c:pt idx="99">
                  <c:v>3491.0956</c:v>
                </c:pt>
                <c:pt idx="100">
                  <c:v>3928.0486</c:v>
                </c:pt>
                <c:pt idx="101">
                  <c:v>3765.3274</c:v>
                </c:pt>
                <c:pt idx="102">
                  <c:v>3902.8667</c:v>
                </c:pt>
                <c:pt idx="103">
                  <c:v>3989.4744</c:v>
                </c:pt>
                <c:pt idx="104">
                  <c:v>4479.7</c:v>
                </c:pt>
              </c:numCache>
            </c:numRef>
          </c:xVal>
          <c:yVal>
            <c:numRef>
              <c:f>Sheet1!$B$2:$B$106</c:f>
              <c:numCache>
                <c:formatCode>General</c:formatCode>
                <c:ptCount val="105"/>
                <c:pt idx="0">
                  <c:v>0.0003580478131541258</c:v>
                </c:pt>
                <c:pt idx="1">
                  <c:v>8.968609865470852e-05</c:v>
                </c:pt>
                <c:pt idx="2">
                  <c:v>8.448800270361608e-05</c:v>
                </c:pt>
                <c:pt idx="3">
                  <c:v>8.956560680698612e-05</c:v>
                </c:pt>
                <c:pt idx="4">
                  <c:v>7.059155724975294e-05</c:v>
                </c:pt>
                <c:pt idx="5">
                  <c:v>0.00010866415531729933</c:v>
                </c:pt>
                <c:pt idx="6">
                  <c:v>0.00020990764063811922</c:v>
                </c:pt>
                <c:pt idx="7">
                  <c:v>0.0002427577277876679</c:v>
                </c:pt>
                <c:pt idx="8">
                  <c:v>0.00012605571662674902</c:v>
                </c:pt>
                <c:pt idx="9">
                  <c:v>0.0001576739932515531</c:v>
                </c:pt>
                <c:pt idx="10">
                  <c:v>0.00012233912405187178</c:v>
                </c:pt>
                <c:pt idx="11">
                  <c:v>0.00021624961383997528</c:v>
                </c:pt>
                <c:pt idx="12">
                  <c:v>0.0001422556048708319</c:v>
                </c:pt>
                <c:pt idx="13">
                  <c:v>0.00017932394871335067</c:v>
                </c:pt>
                <c:pt idx="14">
                  <c:v>0.0</c:v>
                </c:pt>
                <c:pt idx="15">
                  <c:v>0.00017827218597354442</c:v>
                </c:pt>
                <c:pt idx="16">
                  <c:v>0.00016287971333170455</c:v>
                </c:pt>
                <c:pt idx="17">
                  <c:v>8.955758552749418e-05</c:v>
                </c:pt>
                <c:pt idx="18">
                  <c:v>0.0</c:v>
                </c:pt>
                <c:pt idx="19">
                  <c:v>0.00017497812773403323</c:v>
                </c:pt>
                <c:pt idx="20">
                  <c:v>0.0001436850423870875</c:v>
                </c:pt>
                <c:pt idx="21">
                  <c:v>5.938947618482005e-05</c:v>
                </c:pt>
                <c:pt idx="22">
                  <c:v>0.0002357795461243737</c:v>
                </c:pt>
                <c:pt idx="23">
                  <c:v>0.00018617351371478217</c:v>
                </c:pt>
                <c:pt idx="24">
                  <c:v>0.00022766078542970974</c:v>
                </c:pt>
                <c:pt idx="25">
                  <c:v>0.00038897893030794163</c:v>
                </c:pt>
                <c:pt idx="26">
                  <c:v>0.0002871582816448426</c:v>
                </c:pt>
                <c:pt idx="27">
                  <c:v>5.5781781670106545e-05</c:v>
                </c:pt>
                <c:pt idx="28">
                  <c:v>0.00028376844494892167</c:v>
                </c:pt>
                <c:pt idx="29">
                  <c:v>0.00019717060186326217</c:v>
                </c:pt>
                <c:pt idx="30">
                  <c:v>0.0002540489044140997</c:v>
                </c:pt>
                <c:pt idx="31">
                  <c:v>0.00024515812699190976</c:v>
                </c:pt>
                <c:pt idx="32">
                  <c:v>0.00012088244182532487</c:v>
                </c:pt>
                <c:pt idx="33">
                  <c:v>0.0004301486402523539</c:v>
                </c:pt>
                <c:pt idx="34">
                  <c:v>0.0005119453924914676</c:v>
                </c:pt>
                <c:pt idx="35">
                  <c:v>0.0005358851674641148</c:v>
                </c:pt>
                <c:pt idx="36">
                  <c:v>0.0001835451750562107</c:v>
                </c:pt>
                <c:pt idx="37">
                  <c:v>0.0002117634602149399</c:v>
                </c:pt>
                <c:pt idx="38">
                  <c:v>0.00010658140154543032</c:v>
                </c:pt>
                <c:pt idx="39">
                  <c:v>0.00022478224220286598</c:v>
                </c:pt>
                <c:pt idx="40">
                  <c:v>9.148293843198243e-05</c:v>
                </c:pt>
                <c:pt idx="41">
                  <c:v>0.00015227653418608191</c:v>
                </c:pt>
                <c:pt idx="42">
                  <c:v>4.338771259979174e-05</c:v>
                </c:pt>
                <c:pt idx="43">
                  <c:v>0.00011588380716934487</c:v>
                </c:pt>
                <c:pt idx="44">
                  <c:v>0.0001552553951249806</c:v>
                </c:pt>
                <c:pt idx="45">
                  <c:v>0.00011769136616137841</c:v>
                </c:pt>
                <c:pt idx="46">
                  <c:v>0.00025193532133205076</c:v>
                </c:pt>
                <c:pt idx="47">
                  <c:v>0.00032806092560046864</c:v>
                </c:pt>
                <c:pt idx="48">
                  <c:v>0.00017046519952951605</c:v>
                </c:pt>
                <c:pt idx="49">
                  <c:v>0.00019105846388995032</c:v>
                </c:pt>
                <c:pt idx="50">
                  <c:v>0.0002257336343115124</c:v>
                </c:pt>
                <c:pt idx="51">
                  <c:v>0.0002758088093333701</c:v>
                </c:pt>
                <c:pt idx="52">
                  <c:v>9.292600766639563e-05</c:v>
                </c:pt>
                <c:pt idx="53">
                  <c:v>0.00014659317462178961</c:v>
                </c:pt>
                <c:pt idx="54">
                  <c:v>0.00028976175144880876</c:v>
                </c:pt>
                <c:pt idx="55">
                  <c:v>0.00016557387906483874</c:v>
                </c:pt>
                <c:pt idx="56">
                  <c:v>6.75789829363068e-05</c:v>
                </c:pt>
                <c:pt idx="57">
                  <c:v>0.00011549011115923199</c:v>
                </c:pt>
                <c:pt idx="58">
                  <c:v>0.0001065019436604718</c:v>
                </c:pt>
                <c:pt idx="59">
                  <c:v>0.00017264597216946927</c:v>
                </c:pt>
                <c:pt idx="60">
                  <c:v>0.0002658009151145792</c:v>
                </c:pt>
                <c:pt idx="61">
                  <c:v>0.00036557342803425946</c:v>
                </c:pt>
                <c:pt idx="62">
                  <c:v>0.0003044680689112729</c:v>
                </c:pt>
                <c:pt idx="63">
                  <c:v>0.0004142025450445268</c:v>
                </c:pt>
                <c:pt idx="64">
                  <c:v>0.0004272351142291779</c:v>
                </c:pt>
                <c:pt idx="65">
                  <c:v>0.00036707126076742367</c:v>
                </c:pt>
                <c:pt idx="66">
                  <c:v>0.0002800122187149985</c:v>
                </c:pt>
                <c:pt idx="67">
                  <c:v>0.00024030759371996156</c:v>
                </c:pt>
                <c:pt idx="68">
                  <c:v>0.00041124924867925723</c:v>
                </c:pt>
                <c:pt idx="69">
                  <c:v>0.00045595854922279795</c:v>
                </c:pt>
                <c:pt idx="70">
                  <c:v>0.0003940110323089047</c:v>
                </c:pt>
                <c:pt idx="71">
                  <c:v>0.0004268032437046522</c:v>
                </c:pt>
                <c:pt idx="72">
                  <c:v>0.00044458814970495513</c:v>
                </c:pt>
                <c:pt idx="73">
                  <c:v>0.0008129733430319627</c:v>
                </c:pt>
                <c:pt idx="74">
                  <c:v>0.0008604794099569761</c:v>
                </c:pt>
                <c:pt idx="75">
                  <c:v>0.0008656759486365604</c:v>
                </c:pt>
                <c:pt idx="76">
                  <c:v>0.001183431952662722</c:v>
                </c:pt>
                <c:pt idx="77">
                  <c:v>0.0012112275527937227</c:v>
                </c:pt>
                <c:pt idx="78">
                  <c:v>0.002056645904336585</c:v>
                </c:pt>
                <c:pt idx="79">
                  <c:v>0.001290922234844573</c:v>
                </c:pt>
                <c:pt idx="80">
                  <c:v>0.0012359666289010196</c:v>
                </c:pt>
                <c:pt idx="81">
                  <c:v>0.0017492456378186906</c:v>
                </c:pt>
                <c:pt idx="82">
                  <c:v>0.0014101985559566788</c:v>
                </c:pt>
                <c:pt idx="83">
                  <c:v>0.001380216891225764</c:v>
                </c:pt>
                <c:pt idx="84">
                  <c:v>0.0013312920189043466</c:v>
                </c:pt>
                <c:pt idx="85">
                  <c:v>0.0012235623142807202</c:v>
                </c:pt>
                <c:pt idx="86">
                  <c:v>0.0011437620974837233</c:v>
                </c:pt>
                <c:pt idx="87">
                  <c:v>0.001046156421308114</c:v>
                </c:pt>
                <c:pt idx="88">
                  <c:v>0.0015890672175433022</c:v>
                </c:pt>
                <c:pt idx="89">
                  <c:v>0.0019621421975992612</c:v>
                </c:pt>
                <c:pt idx="90">
                  <c:v>0.001836601694413176</c:v>
                </c:pt>
                <c:pt idx="91">
                  <c:v>0.00184003220056351</c:v>
                </c:pt>
                <c:pt idx="92">
                  <c:v>0.0015671813781977413</c:v>
                </c:pt>
                <c:pt idx="93">
                  <c:v>0.001546551190844417</c:v>
                </c:pt>
                <c:pt idx="94">
                  <c:v>0.0014558232931726907</c:v>
                </c:pt>
                <c:pt idx="95">
                  <c:v>0.0017315698338429798</c:v>
                </c:pt>
                <c:pt idx="96">
                  <c:v>0.002308560035677746</c:v>
                </c:pt>
                <c:pt idx="97">
                  <c:v>0.0026446509060803975</c:v>
                </c:pt>
                <c:pt idx="98">
                  <c:v>0.002492373337586984</c:v>
                </c:pt>
                <c:pt idx="99">
                  <c:v>0.0023547337073204517</c:v>
                </c:pt>
                <c:pt idx="100">
                  <c:v>0.001811252405569601</c:v>
                </c:pt>
                <c:pt idx="101">
                  <c:v>0.0024561479774816877</c:v>
                </c:pt>
                <c:pt idx="102">
                  <c:v>0.002028946300554579</c:v>
                </c:pt>
                <c:pt idx="103">
                  <c:v>0.001982513216754778</c:v>
                </c:pt>
                <c:pt idx="104">
                  <c:v>0.0014722770236447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numCache>
            </c:numRef>
          </c:xVal>
          <c:yVal>
            <c:numRef>
              <c:f>Sheet1!$B$109:$B$160</c:f>
              <c:numCache>
                <c:formatCode>General</c:formatCode>
                <c:ptCount val="52"/>
                <c:pt idx="0">
                  <c:v>0.001584147782193105</c:v>
                </c:pt>
                <c:pt idx="1">
                  <c:v>0.0019049243716592744</c:v>
                </c:pt>
                <c:pt idx="2">
                  <c:v>0.0017297077302673416</c:v>
                </c:pt>
                <c:pt idx="3">
                  <c:v>0.00184412058499603</c:v>
                </c:pt>
                <c:pt idx="4">
                  <c:v>0.0018328640493013866</c:v>
                </c:pt>
                <c:pt idx="5">
                  <c:v>0.0016014092401313155</c:v>
                </c:pt>
                <c:pt idx="6">
                  <c:v>0.0017298001955426308</c:v>
                </c:pt>
                <c:pt idx="7">
                  <c:v>0.0019910061446568946</c:v>
                </c:pt>
                <c:pt idx="8">
                  <c:v>0.0023928811784939804</c:v>
                </c:pt>
                <c:pt idx="9">
                  <c:v>0.0025054914881933003</c:v>
                </c:pt>
                <c:pt idx="10">
                  <c:v>0.002407254740313273</c:v>
                </c:pt>
                <c:pt idx="11">
                  <c:v>0.0024414905423068385</c:v>
                </c:pt>
                <c:pt idx="12">
                  <c:v>0.0025257486038222994</c:v>
                </c:pt>
                <c:pt idx="13">
                  <c:v>0.0036323158943113248</c:v>
                </c:pt>
                <c:pt idx="14">
                  <c:v>0.0036016335980962795</c:v>
                </c:pt>
                <c:pt idx="15">
                  <c:v>0.003392385978137957</c:v>
                </c:pt>
                <c:pt idx="16">
                  <c:v>0.003323047709470686</c:v>
                </c:pt>
                <c:pt idx="17">
                  <c:v>0.00420427847162112</c:v>
                </c:pt>
                <c:pt idx="18">
                  <c:v>0.0023092369477911647</c:v>
                </c:pt>
                <c:pt idx="19">
                  <c:v>0.0020470829068577278</c:v>
                </c:pt>
                <c:pt idx="20">
                  <c:v>0.0024176954732510287</c:v>
                </c:pt>
                <c:pt idx="21">
                  <c:v>0.0034454676439265803</c:v>
                </c:pt>
                <c:pt idx="22">
                  <c:v>0.002851298580549185</c:v>
                </c:pt>
                <c:pt idx="23">
                  <c:v>0.0028443208393906833</c:v>
                </c:pt>
                <c:pt idx="24">
                  <c:v>0.0025663458734324876</c:v>
                </c:pt>
                <c:pt idx="25">
                  <c:v>0.0027607361963190185</c:v>
                </c:pt>
                <c:pt idx="26">
                  <c:v>0.0029604690311719976</c:v>
                </c:pt>
                <c:pt idx="27">
                  <c:v>0.003013640689436396</c:v>
                </c:pt>
                <c:pt idx="28">
                  <c:v>0.0024760725679729536</c:v>
                </c:pt>
                <c:pt idx="29">
                  <c:v>0.002812051649928264</c:v>
                </c:pt>
                <c:pt idx="30">
                  <c:v>0.0027380952380952383</c:v>
                </c:pt>
                <c:pt idx="31">
                  <c:v>0.002772941252337654</c:v>
                </c:pt>
                <c:pt idx="32">
                  <c:v>0.0023744911804613297</c:v>
                </c:pt>
                <c:pt idx="33">
                  <c:v>0.0023239269622954708</c:v>
                </c:pt>
                <c:pt idx="34">
                  <c:v>0.002157015880099669</c:v>
                </c:pt>
                <c:pt idx="35">
                  <c:v>0.0026392305971818385</c:v>
                </c:pt>
                <c:pt idx="36">
                  <c:v>0.003280519299225239</c:v>
                </c:pt>
                <c:pt idx="37">
                  <c:v>0.003253049734125743</c:v>
                </c:pt>
                <c:pt idx="38">
                  <c:v>0.003777544596012592</c:v>
                </c:pt>
                <c:pt idx="39">
                  <c:v>0.0035495653068573487</c:v>
                </c:pt>
                <c:pt idx="40">
                  <c:v>0.0033338309200378166</c:v>
                </c:pt>
                <c:pt idx="41">
                  <c:v>0.002729026490377829</c:v>
                </c:pt>
                <c:pt idx="42">
                  <c:v>0.003122023494549688</c:v>
                </c:pt>
                <c:pt idx="43">
                  <c:v>0.0022727272727272726</c:v>
                </c:pt>
                <c:pt idx="44">
                  <c:v>0.0016782773907536416</c:v>
                </c:pt>
                <c:pt idx="45">
                  <c:v>0.0014120237411449359</c:v>
                </c:pt>
                <c:pt idx="46">
                  <c:v>0.0014623655913978495</c:v>
                </c:pt>
                <c:pt idx="47">
                  <c:v>0.0014511837897395932</c:v>
                </c:pt>
                <c:pt idx="48">
                  <c:v>0.0016167059616032334</c:v>
                </c:pt>
                <c:pt idx="49">
                  <c:v>0.0014272897806051708</c:v>
                </c:pt>
                <c:pt idx="50">
                  <c:v>0.0012052271650077866</c:v>
                </c:pt>
                <c:pt idx="51">
                  <c:v>0.001440003777059087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79.4277806492564</c:v>
                </c:pt>
              </c:numCache>
            </c:numRef>
          </c:xVal>
          <c:yVal>
            <c:numRef>
              <c:f>Sheet1!$B$163:$B$164</c:f>
              <c:numCache>
                <c:formatCode>General</c:formatCode>
                <c:ptCount val="2"/>
                <c:pt idx="0">
                  <c:v>0.002942548461392275</c:v>
                </c:pt>
                <c:pt idx="1">
                  <c:v>0.00294254846139227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79.4277806492564</c:v>
                </c:pt>
                <c:pt idx="1">
                  <c:v>3579.4277806492564</c:v>
                </c:pt>
              </c:numCache>
            </c:numRef>
          </c:xVal>
          <c:yVal>
            <c:numRef>
              <c:f>Sheet1!$B$167:$B$168</c:f>
              <c:numCache>
                <c:formatCode>General</c:formatCode>
                <c:ptCount val="2"/>
                <c:pt idx="0">
                  <c:v>0.00294254846139227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79.4277806492564</c:v>
                </c:pt>
              </c:numCache>
            </c:numRef>
          </c:xVal>
          <c:yVal>
            <c:numRef>
              <c:f>Sheet1!$B$171:$B$172</c:f>
              <c:numCache>
                <c:formatCode>General</c:formatCode>
                <c:ptCount val="2"/>
                <c:pt idx="0">
                  <c:v>0.002942548461392275</c:v>
                </c:pt>
                <c:pt idx="1">
                  <c:v>0.00294254846139227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79.4277806492564</c:v>
                </c:pt>
                <c:pt idx="1">
                  <c:v>3579.4277806492564</c:v>
                </c:pt>
              </c:numCache>
            </c:numRef>
          </c:xVal>
          <c:yVal>
            <c:numRef>
              <c:f>Sheet1!$B$175:$B$176</c:f>
              <c:numCache>
                <c:formatCode>General</c:formatCode>
                <c:ptCount val="2"/>
                <c:pt idx="0">
                  <c:v>0.00294254846139227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336.503185027092</c:v>
                </c:pt>
              </c:numCache>
            </c:numRef>
          </c:xVal>
          <c:yVal>
            <c:numRef>
              <c:f>Sheet1!$B$179:$B$180</c:f>
              <c:numCache>
                <c:formatCode>General</c:formatCode>
                <c:ptCount val="2"/>
                <c:pt idx="0">
                  <c:v>0.0020538654370662506</c:v>
                </c:pt>
                <c:pt idx="1">
                  <c:v>0.002053865437066250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336.503185027092</c:v>
                </c:pt>
                <c:pt idx="1">
                  <c:v>4336.503185027092</c:v>
                </c:pt>
              </c:numCache>
            </c:numRef>
          </c:xVal>
          <c:yVal>
            <c:numRef>
              <c:f>Sheet1!$B$183:$B$184</c:f>
              <c:numCache>
                <c:formatCode>General</c:formatCode>
                <c:ptCount val="2"/>
                <c:pt idx="0">
                  <c:v>0.00205386543706625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pt idx="52">
                  <c:v>3579.4277806492564</c:v>
                </c:pt>
                <c:pt idx="53">
                  <c:v>3579.4277806492564</c:v>
                </c:pt>
                <c:pt idx="54">
                  <c:v>4336.503185027092</c:v>
                </c:pt>
              </c:numCache>
            </c:numRef>
          </c:xVal>
          <c:yVal>
            <c:numRef>
              <c:f>Sheet1!$B$187:$B$241</c:f>
              <c:numCache>
                <c:formatCode>General</c:formatCode>
                <c:ptCount val="55"/>
                <c:pt idx="0">
                  <c:v>0.002060424702545946</c:v>
                </c:pt>
                <c:pt idx="1">
                  <c:v>0.0027623849036312216</c:v>
                </c:pt>
                <c:pt idx="2">
                  <c:v>0.0020267846507090086</c:v>
                </c:pt>
                <c:pt idx="3">
                  <c:v>0.0026883116885970558</c:v>
                </c:pt>
                <c:pt idx="4">
                  <c:v>0.001907658402701612</c:v>
                </c:pt>
                <c:pt idx="5">
                  <c:v>0.0015744741973607417</c:v>
                </c:pt>
                <c:pt idx="6">
                  <c:v>0.0018165244078065896</c:v>
                </c:pt>
                <c:pt idx="7">
                  <c:v>0.0018554097497047771</c:v>
                </c:pt>
                <c:pt idx="8">
                  <c:v>0.0021733987541250055</c:v>
                </c:pt>
                <c:pt idx="9">
                  <c:v>0.002333909677497843</c:v>
                </c:pt>
                <c:pt idx="10">
                  <c:v>0.002281119181401026</c:v>
                </c:pt>
                <c:pt idx="11">
                  <c:v>0.0023478441776182656</c:v>
                </c:pt>
                <c:pt idx="12">
                  <c:v>0.0027295166495374373</c:v>
                </c:pt>
                <c:pt idx="13">
                  <c:v>0.003105390367310344</c:v>
                </c:pt>
                <c:pt idx="14">
                  <c:v>0.0030520917172317617</c:v>
                </c:pt>
                <c:pt idx="15">
                  <c:v>0.002757252419293342</c:v>
                </c:pt>
                <c:pt idx="16">
                  <c:v>0.0025417241138943605</c:v>
                </c:pt>
                <c:pt idx="17">
                  <c:v>0.0035954392065494483</c:v>
                </c:pt>
                <c:pt idx="18">
                  <c:v>0.0021334603631692033</c:v>
                </c:pt>
                <c:pt idx="19">
                  <c:v>0.0017394676515955897</c:v>
                </c:pt>
                <c:pt idx="20">
                  <c:v>0.0019344250527362312</c:v>
                </c:pt>
                <c:pt idx="21">
                  <c:v>0.0029099697701401254</c:v>
                </c:pt>
                <c:pt idx="22">
                  <c:v>0.0024917358011776964</c:v>
                </c:pt>
                <c:pt idx="23">
                  <c:v>0.0033711098244374213</c:v>
                </c:pt>
                <c:pt idx="24">
                  <c:v>0.0022736167204191566</c:v>
                </c:pt>
                <c:pt idx="25">
                  <c:v>0.002600185885453173</c:v>
                </c:pt>
                <c:pt idx="26">
                  <c:v>0.0025741896245574606</c:v>
                </c:pt>
                <c:pt idx="27">
                  <c:v>0.0028644240778318356</c:v>
                </c:pt>
                <c:pt idx="28">
                  <c:v>0.0027539951393580247</c:v>
                </c:pt>
                <c:pt idx="29">
                  <c:v>0.0027665439250513894</c:v>
                </c:pt>
                <c:pt idx="30">
                  <c:v>0.002865551900298178</c:v>
                </c:pt>
                <c:pt idx="31">
                  <c:v>0.0024819783995652664</c:v>
                </c:pt>
                <c:pt idx="32">
                  <c:v>0.0019109685052961572</c:v>
                </c:pt>
                <c:pt idx="33">
                  <c:v>0.0020445622927474207</c:v>
                </c:pt>
                <c:pt idx="34">
                  <c:v>0.0019146076343658424</c:v>
                </c:pt>
                <c:pt idx="35">
                  <c:v>0.0022709195954390207</c:v>
                </c:pt>
                <c:pt idx="36">
                  <c:v>0.0022906470979050363</c:v>
                </c:pt>
                <c:pt idx="37">
                  <c:v>0.002232856761036843</c:v>
                </c:pt>
                <c:pt idx="38">
                  <c:v>0.0028359489082304384</c:v>
                </c:pt>
                <c:pt idx="39">
                  <c:v>0.0032320356273995007</c:v>
                </c:pt>
                <c:pt idx="40">
                  <c:v>0.0033627936597360806</c:v>
                </c:pt>
                <c:pt idx="41">
                  <c:v>0.0029987066727594214</c:v>
                </c:pt>
                <c:pt idx="42">
                  <c:v>0.003196857966644307</c:v>
                </c:pt>
                <c:pt idx="43">
                  <c:v>0.0029115758137480035</c:v>
                </c:pt>
                <c:pt idx="44">
                  <c:v>0.0022984812851868514</c:v>
                </c:pt>
                <c:pt idx="45">
                  <c:v>0.0021855080552936014</c:v>
                </c:pt>
                <c:pt idx="46">
                  <c:v>0.0019102583339887704</c:v>
                </c:pt>
                <c:pt idx="47">
                  <c:v>0.002386804058157807</c:v>
                </c:pt>
                <c:pt idx="48">
                  <c:v>0.0027357379849575177</c:v>
                </c:pt>
                <c:pt idx="49">
                  <c:v>0.002655779151848581</c:v>
                </c:pt>
                <c:pt idx="50">
                  <c:v>0.0024109332141253725</c:v>
                </c:pt>
                <c:pt idx="51">
                  <c:v>0.0020096964030653546</c:v>
                </c:pt>
                <c:pt idx="52">
                  <c:v>0.0029425484613922748</c:v>
                </c:pt>
                <c:pt idx="53">
                  <c:v>0.0029425484613922748</c:v>
                </c:pt>
                <c:pt idx="54">
                  <c:v>0.00205386543706625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2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4513416594534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6935067422897954</c:v>
                </c:pt>
                <c:pt idx="1">
                  <c:v>0.17906442728734268</c:v>
                </c:pt>
                <c:pt idx="2">
                  <c:v>0.17796182429900806</c:v>
                </c:pt>
                <c:pt idx="3">
                  <c:v>0.18158560859647938</c:v>
                </c:pt>
                <c:pt idx="4">
                  <c:v>0.16746916602668435</c:v>
                </c:pt>
                <c:pt idx="5">
                  <c:v>0.16085023179439042</c:v>
                </c:pt>
                <c:pt idx="6">
                  <c:v>0.1664880966042551</c:v>
                </c:pt>
                <c:pt idx="7">
                  <c:v>0.16045886005003054</c:v>
                </c:pt>
                <c:pt idx="8">
                  <c:v>0.16368228087866943</c:v>
                </c:pt>
                <c:pt idx="9">
                  <c:v>0.1601152806545914</c:v>
                </c:pt>
                <c:pt idx="10">
                  <c:v>0.15779786496731205</c:v>
                </c:pt>
                <c:pt idx="11">
                  <c:v>0.16137613990951974</c:v>
                </c:pt>
                <c:pt idx="12">
                  <c:v>0.17371422806997236</c:v>
                </c:pt>
                <c:pt idx="13">
                  <c:v>0.1683261247693534</c:v>
                </c:pt>
                <c:pt idx="14">
                  <c:v>0.18961508290028223</c:v>
                </c:pt>
                <c:pt idx="15">
                  <c:v>0.18703311748169235</c:v>
                </c:pt>
                <c:pt idx="16">
                  <c:v>0.1787968309851708</c:v>
                </c:pt>
                <c:pt idx="17">
                  <c:v>0.1771780814802415</c:v>
                </c:pt>
                <c:pt idx="18">
                  <c:v>0.16925097182496163</c:v>
                </c:pt>
                <c:pt idx="19">
                  <c:v>0.16728602528210143</c:v>
                </c:pt>
                <c:pt idx="20">
                  <c:v>0.180919666851326</c:v>
                </c:pt>
                <c:pt idx="21">
                  <c:v>0.17158298121720633</c:v>
                </c:pt>
                <c:pt idx="22">
                  <c:v>0.16537193472384135</c:v>
                </c:pt>
                <c:pt idx="23">
                  <c:v>0.1643552543726299</c:v>
                </c:pt>
                <c:pt idx="24">
                  <c:v>0.16244142031680978</c:v>
                </c:pt>
                <c:pt idx="25">
                  <c:v>0.15516528439973903</c:v>
                </c:pt>
                <c:pt idx="26">
                  <c:v>0.16252400246621634</c:v>
                </c:pt>
                <c:pt idx="27">
                  <c:v>0.15473221079229646</c:v>
                </c:pt>
                <c:pt idx="28">
                  <c:v>0.1530875448688368</c:v>
                </c:pt>
                <c:pt idx="29">
                  <c:v>0.16069341977660043</c:v>
                </c:pt>
                <c:pt idx="30">
                  <c:v>0.14830033782441673</c:v>
                </c:pt>
                <c:pt idx="31">
                  <c:v>0.14500785226697338</c:v>
                </c:pt>
                <c:pt idx="32">
                  <c:v>0.14688498513504852</c:v>
                </c:pt>
                <c:pt idx="33">
                  <c:v>0.14901305109620425</c:v>
                </c:pt>
                <c:pt idx="34">
                  <c:v>0.15668026656022818</c:v>
                </c:pt>
                <c:pt idx="35">
                  <c:v>0.16899272569457507</c:v>
                </c:pt>
                <c:pt idx="36">
                  <c:v>0.15422837755384988</c:v>
                </c:pt>
                <c:pt idx="37">
                  <c:v>0.1429565081255113</c:v>
                </c:pt>
                <c:pt idx="38">
                  <c:v>0.1442020557738456</c:v>
                </c:pt>
                <c:pt idx="39">
                  <c:v>0.1502718327521765</c:v>
                </c:pt>
                <c:pt idx="40">
                  <c:v>0.16497188956962391</c:v>
                </c:pt>
                <c:pt idx="41">
                  <c:v>0.15769099918199897</c:v>
                </c:pt>
                <c:pt idx="42">
                  <c:v>0.1618378046962045</c:v>
                </c:pt>
                <c:pt idx="43">
                  <c:v>0.17259079758736157</c:v>
                </c:pt>
                <c:pt idx="44">
                  <c:v>0.18734432782892857</c:v>
                </c:pt>
                <c:pt idx="45">
                  <c:v>0.1962803923657752</c:v>
                </c:pt>
                <c:pt idx="46">
                  <c:v>0.1878973809685733</c:v>
                </c:pt>
                <c:pt idx="47">
                  <c:v>0.18695744136492654</c:v>
                </c:pt>
                <c:pt idx="48">
                  <c:v>0.1997304822871898</c:v>
                </c:pt>
                <c:pt idx="49">
                  <c:v>0.20190479560829988</c:v>
                </c:pt>
                <c:pt idx="50">
                  <c:v>0.1825020733781855</c:v>
                </c:pt>
                <c:pt idx="51">
                  <c:v>0.16746073577522097</c:v>
                </c:pt>
                <c:pt idx="52">
                  <c:v>0.17729051366318685</c:v>
                </c:pt>
                <c:pt idx="53">
                  <c:v>0.197952118967841</c:v>
                </c:pt>
                <c:pt idx="54">
                  <c:v>0.18869421707491743</c:v>
                </c:pt>
                <c:pt idx="55">
                  <c:v>0.18960999722720667</c:v>
                </c:pt>
                <c:pt idx="56">
                  <c:v>0.19040484733037705</c:v>
                </c:pt>
                <c:pt idx="57">
                  <c:v>0.1914155114521097</c:v>
                </c:pt>
                <c:pt idx="58">
                  <c:v>0.2051646144762297</c:v>
                </c:pt>
                <c:pt idx="59">
                  <c:v>0.23223891414083733</c:v>
                </c:pt>
                <c:pt idx="60">
                  <c:v>0.2342587572264182</c:v>
                </c:pt>
                <c:pt idx="61">
                  <c:v>0.2090932269926801</c:v>
                </c:pt>
                <c:pt idx="62">
                  <c:v>0.18857979402814434</c:v>
                </c:pt>
                <c:pt idx="63">
                  <c:v>0.19453922315349492</c:v>
                </c:pt>
                <c:pt idx="64">
                  <c:v>0.20314216551764097</c:v>
                </c:pt>
                <c:pt idx="65">
                  <c:v>0.19887095029264978</c:v>
                </c:pt>
                <c:pt idx="66">
                  <c:v>0.2184772583098317</c:v>
                </c:pt>
                <c:pt idx="67">
                  <c:v>0.21866727755630103</c:v>
                </c:pt>
                <c:pt idx="68">
                  <c:v>0.20601303371271207</c:v>
                </c:pt>
                <c:pt idx="69">
                  <c:v>0.2017934295861343</c:v>
                </c:pt>
                <c:pt idx="70">
                  <c:v>0.1965982390982255</c:v>
                </c:pt>
                <c:pt idx="71">
                  <c:v>0.19387371004600934</c:v>
                </c:pt>
                <c:pt idx="72">
                  <c:v>0.20546200974057835</c:v>
                </c:pt>
                <c:pt idx="73">
                  <c:v>0.19977466805659796</c:v>
                </c:pt>
                <c:pt idx="74">
                  <c:v>0.20126953999395528</c:v>
                </c:pt>
                <c:pt idx="75">
                  <c:v>0.19279048888497802</c:v>
                </c:pt>
                <c:pt idx="76">
                  <c:v>0.18411659508943984</c:v>
                </c:pt>
                <c:pt idx="77">
                  <c:v>0.18155760322196327</c:v>
                </c:pt>
                <c:pt idx="78">
                  <c:v>0.17693212854870138</c:v>
                </c:pt>
                <c:pt idx="79">
                  <c:v>0.16906274253861298</c:v>
                </c:pt>
                <c:pt idx="80">
                  <c:v>0.16948009844143597</c:v>
                </c:pt>
                <c:pt idx="81">
                  <c:v>0.18462490647097005</c:v>
                </c:pt>
                <c:pt idx="82">
                  <c:v>0.17504869065706638</c:v>
                </c:pt>
                <c:pt idx="83">
                  <c:v>0.16733370547792636</c:v>
                </c:pt>
                <c:pt idx="84">
                  <c:v>0.1667089704494037</c:v>
                </c:pt>
                <c:pt idx="85">
                  <c:v>0.16798823158775436</c:v>
                </c:pt>
                <c:pt idx="86">
                  <c:v>0.17738047245685418</c:v>
                </c:pt>
                <c:pt idx="87">
                  <c:v>0.19737822309166184</c:v>
                </c:pt>
                <c:pt idx="88">
                  <c:v>0.17851185615494378</c:v>
                </c:pt>
                <c:pt idx="89">
                  <c:v>0.17319095599185658</c:v>
                </c:pt>
                <c:pt idx="90">
                  <c:v>0.17325313171656448</c:v>
                </c:pt>
                <c:pt idx="91">
                  <c:v>0.1782779315821854</c:v>
                </c:pt>
                <c:pt idx="92">
                  <c:v>0.185636544986134</c:v>
                </c:pt>
                <c:pt idx="93">
                  <c:v>0.18526786471704929</c:v>
                </c:pt>
                <c:pt idx="94">
                  <c:v>0.1807153506686778</c:v>
                </c:pt>
                <c:pt idx="95">
                  <c:v>0.1959990510373539</c:v>
                </c:pt>
                <c:pt idx="96">
                  <c:v>0.19219980825904906</c:v>
                </c:pt>
                <c:pt idx="97">
                  <c:v>0.20792965824417442</c:v>
                </c:pt>
                <c:pt idx="98">
                  <c:v>0.21429752484114026</c:v>
                </c:pt>
                <c:pt idx="99">
                  <c:v>0.2212786334279383</c:v>
                </c:pt>
                <c:pt idx="100">
                  <c:v>0.22409683778087433</c:v>
                </c:pt>
                <c:pt idx="101">
                  <c:v>0.23246062066077214</c:v>
                </c:pt>
                <c:pt idx="102">
                  <c:v>0.2292315521426852</c:v>
                </c:pt>
                <c:pt idx="103">
                  <c:v>0.21017994422443817</c:v>
                </c:pt>
                <c:pt idx="104">
                  <c:v>0.20754276681420136</c:v>
                </c:pt>
              </c:numCache>
            </c:numRef>
          </c:xVal>
          <c:yVal>
            <c:numRef>
              <c:f>Sheet1!$B$2:$B$106</c:f>
              <c:numCache>
                <c:formatCode>General</c:formatCode>
                <c:ptCount val="105"/>
                <c:pt idx="0">
                  <c:v>0.17871326449563146</c:v>
                </c:pt>
                <c:pt idx="1">
                  <c:v>0.17244395844723892</c:v>
                </c:pt>
                <c:pt idx="2">
                  <c:v>0.17025336584331602</c:v>
                </c:pt>
                <c:pt idx="3">
                  <c:v>0.17527895135954935</c:v>
                </c:pt>
                <c:pt idx="4">
                  <c:v>0.21203293223559214</c:v>
                </c:pt>
                <c:pt idx="5">
                  <c:v>0.21191523390643743</c:v>
                </c:pt>
                <c:pt idx="6">
                  <c:v>0.2379850938062195</c:v>
                </c:pt>
                <c:pt idx="7">
                  <c:v>0.22453605326533504</c:v>
                </c:pt>
                <c:pt idx="8">
                  <c:v>0.23006896551724138</c:v>
                </c:pt>
                <c:pt idx="9">
                  <c:v>0.22907280056912496</c:v>
                </c:pt>
                <c:pt idx="10">
                  <c:v>0.21959048146098506</c:v>
                </c:pt>
                <c:pt idx="11">
                  <c:v>0.2169830788278993</c:v>
                </c:pt>
                <c:pt idx="12">
                  <c:v>0.19853345554537122</c:v>
                </c:pt>
                <c:pt idx="13">
                  <c:v>0.18983121483642426</c:v>
                </c:pt>
                <c:pt idx="14">
                  <c:v>0.16496579567118985</c:v>
                </c:pt>
                <c:pt idx="15">
                  <c:v>0.15082936865115082</c:v>
                </c:pt>
                <c:pt idx="16">
                  <c:v>0.14701200983938648</c:v>
                </c:pt>
                <c:pt idx="17">
                  <c:v>0.147643475472908</c:v>
                </c:pt>
                <c:pt idx="18">
                  <c:v>0.13295118343195267</c:v>
                </c:pt>
                <c:pt idx="19">
                  <c:v>0.12522982635342186</c:v>
                </c:pt>
                <c:pt idx="20">
                  <c:v>0.16063919259882253</c:v>
                </c:pt>
                <c:pt idx="21">
                  <c:v>0.1484842633713072</c:v>
                </c:pt>
                <c:pt idx="22">
                  <c:v>0.12748835239305378</c:v>
                </c:pt>
                <c:pt idx="23">
                  <c:v>0.1453639514731369</c:v>
                </c:pt>
                <c:pt idx="24">
                  <c:v>0.1491442542787286</c:v>
                </c:pt>
                <c:pt idx="25">
                  <c:v>0.13845099383139137</c:v>
                </c:pt>
                <c:pt idx="26">
                  <c:v>0.14704225352112676</c:v>
                </c:pt>
                <c:pt idx="27">
                  <c:v>0.1636990235496841</c:v>
                </c:pt>
                <c:pt idx="28">
                  <c:v>0.17227456258411844</c:v>
                </c:pt>
                <c:pt idx="29">
                  <c:v>0.1650602409638554</c:v>
                </c:pt>
                <c:pt idx="30">
                  <c:v>0.17488692655610596</c:v>
                </c:pt>
                <c:pt idx="31">
                  <c:v>0.1566265060240964</c:v>
                </c:pt>
                <c:pt idx="32">
                  <c:v>0.16640952171038131</c:v>
                </c:pt>
                <c:pt idx="33">
                  <c:v>0.16251189343482397</c:v>
                </c:pt>
                <c:pt idx="34">
                  <c:v>0.17239574245332404</c:v>
                </c:pt>
                <c:pt idx="35">
                  <c:v>0.22559293987865417</c:v>
                </c:pt>
                <c:pt idx="36">
                  <c:v>0.18735215265730956</c:v>
                </c:pt>
                <c:pt idx="37">
                  <c:v>0.17413793103448275</c:v>
                </c:pt>
                <c:pt idx="38">
                  <c:v>0.16989128431914502</c:v>
                </c:pt>
                <c:pt idx="39">
                  <c:v>0.1693499082942735</c:v>
                </c:pt>
                <c:pt idx="40">
                  <c:v>0.16853556485355647</c:v>
                </c:pt>
                <c:pt idx="41">
                  <c:v>0.1634011090573013</c:v>
                </c:pt>
                <c:pt idx="42">
                  <c:v>0.17408335944844877</c:v>
                </c:pt>
                <c:pt idx="43">
                  <c:v>0.1715578716401536</c:v>
                </c:pt>
                <c:pt idx="44">
                  <c:v>0.16095854098186832</c:v>
                </c:pt>
                <c:pt idx="45">
                  <c:v>0.1548496315475005</c:v>
                </c:pt>
                <c:pt idx="46">
                  <c:v>0.1563079324812177</c:v>
                </c:pt>
                <c:pt idx="47">
                  <c:v>0.15777888944472235</c:v>
                </c:pt>
                <c:pt idx="48">
                  <c:v>0.15445402298850575</c:v>
                </c:pt>
                <c:pt idx="49">
                  <c:v>0.17856437598736177</c:v>
                </c:pt>
                <c:pt idx="50">
                  <c:v>0.15999038615606473</c:v>
                </c:pt>
                <c:pt idx="51">
                  <c:v>0.1646090534979424</c:v>
                </c:pt>
                <c:pt idx="52">
                  <c:v>0.16628440366972477</c:v>
                </c:pt>
                <c:pt idx="53">
                  <c:v>0.15564566437928884</c:v>
                </c:pt>
                <c:pt idx="54">
                  <c:v>0.1579898362507058</c:v>
                </c:pt>
                <c:pt idx="55">
                  <c:v>0.15723419370116032</c:v>
                </c:pt>
                <c:pt idx="56">
                  <c:v>0.1649002849002849</c:v>
                </c:pt>
                <c:pt idx="57">
                  <c:v>0.14748238177918496</c:v>
                </c:pt>
                <c:pt idx="58">
                  <c:v>0.14757606773983437</c:v>
                </c:pt>
                <c:pt idx="59">
                  <c:v>0.1363914373088685</c:v>
                </c:pt>
                <c:pt idx="60">
                  <c:v>0.13633191651335405</c:v>
                </c:pt>
                <c:pt idx="61">
                  <c:v>0.14007287518006947</c:v>
                </c:pt>
                <c:pt idx="62">
                  <c:v>0.16141627473600142</c:v>
                </c:pt>
                <c:pt idx="63">
                  <c:v>0.1601366742596811</c:v>
                </c:pt>
                <c:pt idx="64">
                  <c:v>0.15851528384279476</c:v>
                </c:pt>
                <c:pt idx="65">
                  <c:v>0.16333200478278198</c:v>
                </c:pt>
                <c:pt idx="66">
                  <c:v>0.1540864133263925</c:v>
                </c:pt>
                <c:pt idx="67">
                  <c:v>0.14832707103238504</c:v>
                </c:pt>
                <c:pt idx="68">
                  <c:v>0.13880673125956144</c:v>
                </c:pt>
                <c:pt idx="69">
                  <c:v>0.12687079500205958</c:v>
                </c:pt>
                <c:pt idx="70">
                  <c:v>0.12676238520243177</c:v>
                </c:pt>
                <c:pt idx="71">
                  <c:v>0.12544192745842608</c:v>
                </c:pt>
                <c:pt idx="72">
                  <c:v>0.1374246987951807</c:v>
                </c:pt>
                <c:pt idx="73">
                  <c:v>0.13767193071828834</c:v>
                </c:pt>
                <c:pt idx="74">
                  <c:v>0.1292578681517938</c:v>
                </c:pt>
                <c:pt idx="75">
                  <c:v>0.13484009840098402</c:v>
                </c:pt>
                <c:pt idx="76">
                  <c:v>0.13730818414322252</c:v>
                </c:pt>
                <c:pt idx="77">
                  <c:v>0.1371135671952587</c:v>
                </c:pt>
                <c:pt idx="78">
                  <c:v>0.14234234234234233</c:v>
                </c:pt>
                <c:pt idx="79">
                  <c:v>0.14733944954128442</c:v>
                </c:pt>
                <c:pt idx="80">
                  <c:v>0.14644351464435146</c:v>
                </c:pt>
                <c:pt idx="81">
                  <c:v>0.13844343092540826</c:v>
                </c:pt>
                <c:pt idx="82">
                  <c:v>0.13989637305699482</c:v>
                </c:pt>
                <c:pt idx="83">
                  <c:v>0.12342569269521411</c:v>
                </c:pt>
                <c:pt idx="84">
                  <c:v>0.12353616532721011</c:v>
                </c:pt>
                <c:pt idx="85">
                  <c:v>0.11733112993183227</c:v>
                </c:pt>
                <c:pt idx="86">
                  <c:v>0.12542061792597126</c:v>
                </c:pt>
                <c:pt idx="87">
                  <c:v>0.15615700722686693</c:v>
                </c:pt>
                <c:pt idx="88">
                  <c:v>0.16099179325999652</c:v>
                </c:pt>
                <c:pt idx="89">
                  <c:v>0.12866817155756208</c:v>
                </c:pt>
                <c:pt idx="90">
                  <c:v>0.12739222888072685</c:v>
                </c:pt>
                <c:pt idx="91">
                  <c:v>0.12940528634361234</c:v>
                </c:pt>
                <c:pt idx="92">
                  <c:v>0.1431384428960921</c:v>
                </c:pt>
                <c:pt idx="93">
                  <c:v>0.12367733956300674</c:v>
                </c:pt>
                <c:pt idx="94">
                  <c:v>0.12312166747455162</c:v>
                </c:pt>
                <c:pt idx="95">
                  <c:v>0.1336003770028275</c:v>
                </c:pt>
                <c:pt idx="96">
                  <c:v>0.13879582655307743</c:v>
                </c:pt>
                <c:pt idx="97">
                  <c:v>0.13529557259460798</c:v>
                </c:pt>
                <c:pt idx="98">
                  <c:v>0.1486593914865939</c:v>
                </c:pt>
                <c:pt idx="99">
                  <c:v>0.14808979913351714</c:v>
                </c:pt>
                <c:pt idx="100">
                  <c:v>0.1637249736564805</c:v>
                </c:pt>
                <c:pt idx="101">
                  <c:v>0.1358774212200058</c:v>
                </c:pt>
                <c:pt idx="102">
                  <c:v>0.12760005738057667</c:v>
                </c:pt>
                <c:pt idx="103">
                  <c:v>0.14489073561095722</c:v>
                </c:pt>
                <c:pt idx="104">
                  <c:v>0.1486293905608181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247545169430075</c:v>
                </c:pt>
                <c:pt idx="1">
                  <c:v>0.2194223963374357</c:v>
                </c:pt>
                <c:pt idx="2">
                  <c:v>0.2238278615836536</c:v>
                </c:pt>
                <c:pt idx="3">
                  <c:v>0.23091904424003606</c:v>
                </c:pt>
                <c:pt idx="4">
                  <c:v>0.22295818031390288</c:v>
                </c:pt>
                <c:pt idx="5">
                  <c:v>0.22479648293560087</c:v>
                </c:pt>
                <c:pt idx="6">
                  <c:v>0.22007947946140455</c:v>
                </c:pt>
                <c:pt idx="7">
                  <c:v>0.21287529393408935</c:v>
                </c:pt>
                <c:pt idx="8">
                  <c:v>0.20989683345774587</c:v>
                </c:pt>
                <c:pt idx="9">
                  <c:v>0.19225370829006547</c:v>
                </c:pt>
                <c:pt idx="10">
                  <c:v>0.20451481544107558</c:v>
                </c:pt>
                <c:pt idx="11">
                  <c:v>0.23332582594518017</c:v>
                </c:pt>
                <c:pt idx="12">
                  <c:v>0.22938917949009685</c:v>
                </c:pt>
                <c:pt idx="13">
                  <c:v>0.19888225438737775</c:v>
                </c:pt>
                <c:pt idx="14">
                  <c:v>0.2181779209908584</c:v>
                </c:pt>
                <c:pt idx="15">
                  <c:v>0.1941989013315618</c:v>
                </c:pt>
                <c:pt idx="16">
                  <c:v>0.20452897491877925</c:v>
                </c:pt>
                <c:pt idx="17">
                  <c:v>0.20358711676289581</c:v>
                </c:pt>
                <c:pt idx="18">
                  <c:v>0.19397223180532727</c:v>
                </c:pt>
                <c:pt idx="19">
                  <c:v>0.2089192002483098</c:v>
                </c:pt>
                <c:pt idx="20">
                  <c:v>0.18458682564327442</c:v>
                </c:pt>
                <c:pt idx="21">
                  <c:v>0.1786244611957522</c:v>
                </c:pt>
                <c:pt idx="22">
                  <c:v>0.18098772091404036</c:v>
                </c:pt>
                <c:pt idx="23">
                  <c:v>0.1515822426191175</c:v>
                </c:pt>
                <c:pt idx="24">
                  <c:v>0.1489583275621169</c:v>
                </c:pt>
                <c:pt idx="25">
                  <c:v>0.15468075874156662</c:v>
                </c:pt>
                <c:pt idx="26">
                  <c:v>0.16189757540496927</c:v>
                </c:pt>
                <c:pt idx="27">
                  <c:v>0.16874288422311398</c:v>
                </c:pt>
                <c:pt idx="28">
                  <c:v>0.1771114018642612</c:v>
                </c:pt>
                <c:pt idx="29">
                  <c:v>0.16896894463077222</c:v>
                </c:pt>
                <c:pt idx="30">
                  <c:v>0.16604430513167234</c:v>
                </c:pt>
                <c:pt idx="31">
                  <c:v>0.16783915997400828</c:v>
                </c:pt>
                <c:pt idx="32">
                  <c:v>0.16068218918180524</c:v>
                </c:pt>
                <c:pt idx="33">
                  <c:v>0.17153149873324797</c:v>
                </c:pt>
                <c:pt idx="34">
                  <c:v>0.1885081734768436</c:v>
                </c:pt>
                <c:pt idx="35">
                  <c:v>0.18575187889872605</c:v>
                </c:pt>
                <c:pt idx="36">
                  <c:v>0.16477853613614704</c:v>
                </c:pt>
                <c:pt idx="37">
                  <c:v>0.165396883003536</c:v>
                </c:pt>
                <c:pt idx="38">
                  <c:v>0.1666805455239409</c:v>
                </c:pt>
                <c:pt idx="39">
                  <c:v>0.18451101911823348</c:v>
                </c:pt>
                <c:pt idx="40">
                  <c:v>0.17942509091574987</c:v>
                </c:pt>
                <c:pt idx="41">
                  <c:v>0.18437748598898004</c:v>
                </c:pt>
                <c:pt idx="42">
                  <c:v>0.17828138592368323</c:v>
                </c:pt>
                <c:pt idx="43">
                  <c:v>0.1820491630049145</c:v>
                </c:pt>
                <c:pt idx="44">
                  <c:v>0.18662720238886132</c:v>
                </c:pt>
                <c:pt idx="45">
                  <c:v>0.19909517013442726</c:v>
                </c:pt>
                <c:pt idx="46">
                  <c:v>0.1872427813288848</c:v>
                </c:pt>
                <c:pt idx="47">
                  <c:v>0.18739737303248666</c:v>
                </c:pt>
                <c:pt idx="48">
                  <c:v>0.18409588186057413</c:v>
                </c:pt>
                <c:pt idx="49">
                  <c:v>0.19571738748450007</c:v>
                </c:pt>
                <c:pt idx="50">
                  <c:v>0.2080958743016358</c:v>
                </c:pt>
                <c:pt idx="51">
                  <c:v>0.1920978523566094</c:v>
                </c:pt>
              </c:numCache>
            </c:numRef>
          </c:xVal>
          <c:yVal>
            <c:numRef>
              <c:f>Sheet1!$B$109:$B$160</c:f>
              <c:numCache>
                <c:formatCode>General</c:formatCode>
                <c:ptCount val="52"/>
                <c:pt idx="0">
                  <c:v>0.16759550924804134</c:v>
                </c:pt>
                <c:pt idx="1">
                  <c:v>0.15955711956055274</c:v>
                </c:pt>
                <c:pt idx="2">
                  <c:v>0.1663496592169916</c:v>
                </c:pt>
                <c:pt idx="3">
                  <c:v>0.16841864716636198</c:v>
                </c:pt>
                <c:pt idx="4">
                  <c:v>0.15833942643594118</c:v>
                </c:pt>
                <c:pt idx="5">
                  <c:v>0.14581855442579017</c:v>
                </c:pt>
                <c:pt idx="6">
                  <c:v>0.12964761988872206</c:v>
                </c:pt>
                <c:pt idx="7">
                  <c:v>0.12263473053892215</c:v>
                </c:pt>
                <c:pt idx="8">
                  <c:v>0.13044006807682956</c:v>
                </c:pt>
                <c:pt idx="9">
                  <c:v>0.13955033780042086</c:v>
                </c:pt>
                <c:pt idx="10">
                  <c:v>0.14554038797085087</c:v>
                </c:pt>
                <c:pt idx="11">
                  <c:v>0.1365592342144551</c:v>
                </c:pt>
                <c:pt idx="12">
                  <c:v>0.14403628117913833</c:v>
                </c:pt>
                <c:pt idx="13">
                  <c:v>0.15101714488762547</c:v>
                </c:pt>
                <c:pt idx="14">
                  <c:v>0.1358304583538689</c:v>
                </c:pt>
                <c:pt idx="15">
                  <c:v>0.14728050519454064</c:v>
                </c:pt>
                <c:pt idx="16">
                  <c:v>0.1274432267540391</c:v>
                </c:pt>
                <c:pt idx="17">
                  <c:v>0.11591355599214145</c:v>
                </c:pt>
                <c:pt idx="18">
                  <c:v>0.12824850069198832</c:v>
                </c:pt>
                <c:pt idx="19">
                  <c:v>0.14616755793226383</c:v>
                </c:pt>
                <c:pt idx="20">
                  <c:v>0.13756316676024705</c:v>
                </c:pt>
                <c:pt idx="21">
                  <c:v>0.13103324991061852</c:v>
                </c:pt>
                <c:pt idx="22">
                  <c:v>0.1367814020544242</c:v>
                </c:pt>
                <c:pt idx="23">
                  <c:v>0.15877437325905291</c:v>
                </c:pt>
                <c:pt idx="24">
                  <c:v>0.15927616563417019</c:v>
                </c:pt>
                <c:pt idx="25">
                  <c:v>0.14803418803418802</c:v>
                </c:pt>
                <c:pt idx="26">
                  <c:v>0.13899811933663875</c:v>
                </c:pt>
                <c:pt idx="27">
                  <c:v>0.12880451835582052</c:v>
                </c:pt>
                <c:pt idx="28">
                  <c:v>0.12376237623762376</c:v>
                </c:pt>
                <c:pt idx="29">
                  <c:v>0.12100611828687967</c:v>
                </c:pt>
                <c:pt idx="30">
                  <c:v>0.1306049822064057</c:v>
                </c:pt>
                <c:pt idx="31">
                  <c:v>0.11788372560852947</c:v>
                </c:pt>
                <c:pt idx="32">
                  <c:v>0.11280761631040058</c:v>
                </c:pt>
                <c:pt idx="33">
                  <c:v>0.13306959180003597</c:v>
                </c:pt>
                <c:pt idx="34">
                  <c:v>0.1514814814814815</c:v>
                </c:pt>
                <c:pt idx="35">
                  <c:v>0.16462418300653595</c:v>
                </c:pt>
                <c:pt idx="36">
                  <c:v>0.13451029844472467</c:v>
                </c:pt>
                <c:pt idx="37">
                  <c:v>0.13987820631112752</c:v>
                </c:pt>
                <c:pt idx="38">
                  <c:v>0.13057919867137222</c:v>
                </c:pt>
                <c:pt idx="39">
                  <c:v>0.15516976494085113</c:v>
                </c:pt>
                <c:pt idx="40">
                  <c:v>0.14730073276506656</c:v>
                </c:pt>
                <c:pt idx="41">
                  <c:v>0.15453005927180355</c:v>
                </c:pt>
                <c:pt idx="42">
                  <c:v>0.1465903819390753</c:v>
                </c:pt>
                <c:pt idx="43">
                  <c:v>0.15350039330261828</c:v>
                </c:pt>
                <c:pt idx="44">
                  <c:v>0.14648492204275979</c:v>
                </c:pt>
                <c:pt idx="45">
                  <c:v>0.14991050119331742</c:v>
                </c:pt>
                <c:pt idx="46">
                  <c:v>0.15446855461566752</c:v>
                </c:pt>
                <c:pt idx="47">
                  <c:v>0.1564245810055866</c:v>
                </c:pt>
                <c:pt idx="48">
                  <c:v>0.16450281425891183</c:v>
                </c:pt>
                <c:pt idx="49">
                  <c:v>0.17764407853071565</c:v>
                </c:pt>
                <c:pt idx="50">
                  <c:v>0.20582333428887342</c:v>
                </c:pt>
                <c:pt idx="51">
                  <c:v>0.1861741283544134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858567294235629</c:v>
                </c:pt>
              </c:numCache>
            </c:numRef>
          </c:xVal>
          <c:yVal>
            <c:numRef>
              <c:f>Sheet1!$B$163:$B$164</c:f>
              <c:numCache>
                <c:formatCode>General</c:formatCode>
                <c:ptCount val="2"/>
                <c:pt idx="0">
                  <c:v>0.20146975765295125</c:v>
                </c:pt>
                <c:pt idx="1">
                  <c:v>0.2014697576529512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858567294235629</c:v>
                </c:pt>
                <c:pt idx="1">
                  <c:v>0.4858567294235629</c:v>
                </c:pt>
              </c:numCache>
            </c:numRef>
          </c:xVal>
          <c:yVal>
            <c:numRef>
              <c:f>Sheet1!$B$167:$B$168</c:f>
              <c:numCache>
                <c:formatCode>General</c:formatCode>
                <c:ptCount val="2"/>
                <c:pt idx="0">
                  <c:v>0.201469757652951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9144210708520827</c:v>
                </c:pt>
              </c:numCache>
            </c:numRef>
          </c:xVal>
          <c:yVal>
            <c:numRef>
              <c:f>Sheet1!$B$171:$B$172</c:f>
              <c:numCache>
                <c:formatCode>General</c:formatCode>
                <c:ptCount val="2"/>
                <c:pt idx="0">
                  <c:v>0.18353608885822859</c:v>
                </c:pt>
                <c:pt idx="1">
                  <c:v>0.1835360888582285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9144210708520827</c:v>
                </c:pt>
                <c:pt idx="1">
                  <c:v>0.39144210708520827</c:v>
                </c:pt>
              </c:numCache>
            </c:numRef>
          </c:xVal>
          <c:yVal>
            <c:numRef>
              <c:f>Sheet1!$B$175:$B$176</c:f>
              <c:numCache>
                <c:formatCode>General</c:formatCode>
                <c:ptCount val="2"/>
                <c:pt idx="0">
                  <c:v>0.1835360888582285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750344941041781</c:v>
                </c:pt>
              </c:numCache>
            </c:numRef>
          </c:xVal>
          <c:yVal>
            <c:numRef>
              <c:f>Sheet1!$B$179:$B$180</c:f>
              <c:numCache>
                <c:formatCode>General</c:formatCode>
                <c:ptCount val="2"/>
                <c:pt idx="0">
                  <c:v>0.16142494203920466</c:v>
                </c:pt>
                <c:pt idx="1">
                  <c:v>0.1614249420392046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750344941041781</c:v>
                </c:pt>
                <c:pt idx="1">
                  <c:v>0.2750344941041781</c:v>
                </c:pt>
              </c:numCache>
            </c:numRef>
          </c:xVal>
          <c:yVal>
            <c:numRef>
              <c:f>Sheet1!$B$183:$B$184</c:f>
              <c:numCache>
                <c:formatCode>General</c:formatCode>
                <c:ptCount val="2"/>
                <c:pt idx="0">
                  <c:v>0.1614249420392046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247545169430075</c:v>
                </c:pt>
                <c:pt idx="1">
                  <c:v>0.2194223963374357</c:v>
                </c:pt>
                <c:pt idx="2">
                  <c:v>0.2238278615836536</c:v>
                </c:pt>
                <c:pt idx="3">
                  <c:v>0.23091904424003606</c:v>
                </c:pt>
                <c:pt idx="4">
                  <c:v>0.22295818031390288</c:v>
                </c:pt>
                <c:pt idx="5">
                  <c:v>0.22479648293560087</c:v>
                </c:pt>
                <c:pt idx="6">
                  <c:v>0.22007947946140455</c:v>
                </c:pt>
                <c:pt idx="7">
                  <c:v>0.21287529393408935</c:v>
                </c:pt>
                <c:pt idx="8">
                  <c:v>0.20989683345774587</c:v>
                </c:pt>
                <c:pt idx="9">
                  <c:v>0.19225370829006547</c:v>
                </c:pt>
                <c:pt idx="10">
                  <c:v>0.20451481544107558</c:v>
                </c:pt>
                <c:pt idx="11">
                  <c:v>0.23332582594518017</c:v>
                </c:pt>
                <c:pt idx="12">
                  <c:v>0.22938917949009685</c:v>
                </c:pt>
                <c:pt idx="13">
                  <c:v>0.19888225438737775</c:v>
                </c:pt>
                <c:pt idx="14">
                  <c:v>0.2181779209908584</c:v>
                </c:pt>
                <c:pt idx="15">
                  <c:v>0.1941989013315618</c:v>
                </c:pt>
                <c:pt idx="16">
                  <c:v>0.20452897491877925</c:v>
                </c:pt>
                <c:pt idx="17">
                  <c:v>0.20358711676289581</c:v>
                </c:pt>
                <c:pt idx="18">
                  <c:v>0.19397223180532727</c:v>
                </c:pt>
                <c:pt idx="19">
                  <c:v>0.2089192002483098</c:v>
                </c:pt>
                <c:pt idx="20">
                  <c:v>0.18458682564327442</c:v>
                </c:pt>
                <c:pt idx="21">
                  <c:v>0.1786244611957522</c:v>
                </c:pt>
                <c:pt idx="22">
                  <c:v>0.18098772091404036</c:v>
                </c:pt>
                <c:pt idx="23">
                  <c:v>0.1515822426191175</c:v>
                </c:pt>
                <c:pt idx="24">
                  <c:v>0.1489583275621169</c:v>
                </c:pt>
                <c:pt idx="25">
                  <c:v>0.15468075874156662</c:v>
                </c:pt>
                <c:pt idx="26">
                  <c:v>0.16189757540496927</c:v>
                </c:pt>
                <c:pt idx="27">
                  <c:v>0.16874288422311398</c:v>
                </c:pt>
                <c:pt idx="28">
                  <c:v>0.1771114018642612</c:v>
                </c:pt>
                <c:pt idx="29">
                  <c:v>0.16896894463077222</c:v>
                </c:pt>
                <c:pt idx="30">
                  <c:v>0.16604430513167234</c:v>
                </c:pt>
                <c:pt idx="31">
                  <c:v>0.16783915997400828</c:v>
                </c:pt>
                <c:pt idx="32">
                  <c:v>0.16068218918180524</c:v>
                </c:pt>
                <c:pt idx="33">
                  <c:v>0.17153149873324797</c:v>
                </c:pt>
                <c:pt idx="34">
                  <c:v>0.1885081734768436</c:v>
                </c:pt>
                <c:pt idx="35">
                  <c:v>0.18575187889872605</c:v>
                </c:pt>
                <c:pt idx="36">
                  <c:v>0.16477853613614704</c:v>
                </c:pt>
                <c:pt idx="37">
                  <c:v>0.165396883003536</c:v>
                </c:pt>
                <c:pt idx="38">
                  <c:v>0.1666805455239409</c:v>
                </c:pt>
                <c:pt idx="39">
                  <c:v>0.18451101911823348</c:v>
                </c:pt>
                <c:pt idx="40">
                  <c:v>0.17942509091574987</c:v>
                </c:pt>
                <c:pt idx="41">
                  <c:v>0.18437748598898004</c:v>
                </c:pt>
                <c:pt idx="42">
                  <c:v>0.17828138592368323</c:v>
                </c:pt>
                <c:pt idx="43">
                  <c:v>0.1820491630049145</c:v>
                </c:pt>
                <c:pt idx="44">
                  <c:v>0.18662720238886132</c:v>
                </c:pt>
                <c:pt idx="45">
                  <c:v>0.19909517013442726</c:v>
                </c:pt>
                <c:pt idx="46">
                  <c:v>0.1872427813288848</c:v>
                </c:pt>
                <c:pt idx="47">
                  <c:v>0.18739737303248666</c:v>
                </c:pt>
                <c:pt idx="48">
                  <c:v>0.18409588186057413</c:v>
                </c:pt>
                <c:pt idx="49">
                  <c:v>0.19571738748450007</c:v>
                </c:pt>
                <c:pt idx="50">
                  <c:v>0.2080958743016358</c:v>
                </c:pt>
                <c:pt idx="51">
                  <c:v>0.1920978523566094</c:v>
                </c:pt>
                <c:pt idx="52">
                  <c:v>0.39144210708520827</c:v>
                </c:pt>
                <c:pt idx="53">
                  <c:v>0.4858567294235629</c:v>
                </c:pt>
                <c:pt idx="54">
                  <c:v>0.2750344941041781</c:v>
                </c:pt>
              </c:numCache>
            </c:numRef>
          </c:xVal>
          <c:yVal>
            <c:numRef>
              <c:f>Sheet1!$B$187:$B$241</c:f>
              <c:numCache>
                <c:formatCode>General</c:formatCode>
                <c:ptCount val="55"/>
                <c:pt idx="0">
                  <c:v>0.15187446738726773</c:v>
                </c:pt>
                <c:pt idx="1">
                  <c:v>0.15086165303133936</c:v>
                </c:pt>
                <c:pt idx="2">
                  <c:v>0.15169845301693055</c:v>
                </c:pt>
                <c:pt idx="3">
                  <c:v>0.1530453939671014</c:v>
                </c:pt>
                <c:pt idx="4">
                  <c:v>0.15153326064034306</c:v>
                </c:pt>
                <c:pt idx="5">
                  <c:v>0.15188243865478088</c:v>
                </c:pt>
                <c:pt idx="6">
                  <c:v>0.15098646326543244</c:v>
                </c:pt>
                <c:pt idx="7">
                  <c:v>0.14961805788517685</c:v>
                </c:pt>
                <c:pt idx="8">
                  <c:v>0.1490523115804414</c:v>
                </c:pt>
                <c:pt idx="9">
                  <c:v>0.14570107259409976</c:v>
                </c:pt>
                <c:pt idx="10">
                  <c:v>0.14803001941670962</c:v>
                </c:pt>
                <c:pt idx="11">
                  <c:v>0.15350255224293044</c:v>
                </c:pt>
                <c:pt idx="12">
                  <c:v>0.15275480245652154</c:v>
                </c:pt>
                <c:pt idx="13">
                  <c:v>0.14696013763461585</c:v>
                </c:pt>
                <c:pt idx="14">
                  <c:v>0.15062527006293927</c:v>
                </c:pt>
                <c:pt idx="15">
                  <c:v>0.14607055400369517</c:v>
                </c:pt>
                <c:pt idx="16">
                  <c:v>0.14803270895120285</c:v>
                </c:pt>
                <c:pt idx="17">
                  <c:v>0.14785380687225697</c:v>
                </c:pt>
                <c:pt idx="18">
                  <c:v>0.14602749906041768</c:v>
                </c:pt>
                <c:pt idx="19">
                  <c:v>0.1488666141773642</c:v>
                </c:pt>
                <c:pt idx="20">
                  <c:v>0.14424477980098965</c:v>
                </c:pt>
                <c:pt idx="21">
                  <c:v>0.14311225322208648</c:v>
                </c:pt>
                <c:pt idx="22">
                  <c:v>0.14356114467569847</c:v>
                </c:pt>
                <c:pt idx="23">
                  <c:v>0.13797569514012026</c:v>
                </c:pt>
                <c:pt idx="24">
                  <c:v>0.137477293278075</c:v>
                </c:pt>
                <c:pt idx="25">
                  <c:v>0.13856424552054727</c:v>
                </c:pt>
                <c:pt idx="26">
                  <c:v>0.1399350501330985</c:v>
                </c:pt>
                <c:pt idx="27">
                  <c:v>0.1412352883599937</c:v>
                </c:pt>
                <c:pt idx="28">
                  <c:v>0.14282485383155052</c:v>
                </c:pt>
                <c:pt idx="29">
                  <c:v>0.14127822760370548</c:v>
                </c:pt>
                <c:pt idx="30">
                  <c:v>0.14072270437200884</c:v>
                </c:pt>
                <c:pt idx="31">
                  <c:v>0.14106362965963753</c:v>
                </c:pt>
                <c:pt idx="32">
                  <c:v>0.13970419252392668</c:v>
                </c:pt>
                <c:pt idx="33">
                  <c:v>0.14176497420507053</c:v>
                </c:pt>
                <c:pt idx="34">
                  <c:v>0.14498962367722856</c:v>
                </c:pt>
                <c:pt idx="35">
                  <c:v>0.14446607687017252</c:v>
                </c:pt>
                <c:pt idx="36">
                  <c:v>0.14048227676266006</c:v>
                </c:pt>
                <c:pt idx="37">
                  <c:v>0.14059972920429847</c:v>
                </c:pt>
                <c:pt idx="38">
                  <c:v>0.14084355561502793</c:v>
                </c:pt>
                <c:pt idx="39">
                  <c:v>0.1442303806636644</c:v>
                </c:pt>
                <c:pt idx="40">
                  <c:v>0.14326432954109344</c:v>
                </c:pt>
                <c:pt idx="41">
                  <c:v>0.14420501659553764</c:v>
                </c:pt>
                <c:pt idx="42">
                  <c:v>0.14304708748664674</c:v>
                </c:pt>
                <c:pt idx="43">
                  <c:v>0.1437627612307517</c:v>
                </c:pt>
                <c:pt idx="44">
                  <c:v>0.14463234096329222</c:v>
                </c:pt>
                <c:pt idx="45">
                  <c:v>0.14700058010416345</c:v>
                </c:pt>
                <c:pt idx="46">
                  <c:v>0.14474926764852353</c:v>
                </c:pt>
                <c:pt idx="47">
                  <c:v>0.14477863170614663</c:v>
                </c:pt>
                <c:pt idx="48">
                  <c:v>0.14415152705075124</c:v>
                </c:pt>
                <c:pt idx="49">
                  <c:v>0.14635898419662202</c:v>
                </c:pt>
                <c:pt idx="50">
                  <c:v>0.14871022680354365</c:v>
                </c:pt>
                <c:pt idx="51">
                  <c:v>0.14567146840122086</c:v>
                </c:pt>
                <c:pt idx="52">
                  <c:v>0.18353608885822859</c:v>
                </c:pt>
                <c:pt idx="53">
                  <c:v>0.20146975765295125</c:v>
                </c:pt>
                <c:pt idx="54">
                  <c:v>0.1614249420392046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558211256746335"/>
          <c:min val="0.0902460930483204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19.7617</c:v>
                </c:pt>
                <c:pt idx="1">
                  <c:v>968.4889</c:v>
                </c:pt>
                <c:pt idx="2">
                  <c:v>978.6737</c:v>
                </c:pt>
                <c:pt idx="3">
                  <c:v>988.5581</c:v>
                </c:pt>
                <c:pt idx="4">
                  <c:v>941.4731</c:v>
                </c:pt>
                <c:pt idx="5">
                  <c:v>914.0893</c:v>
                </c:pt>
                <c:pt idx="6">
                  <c:v>916.8947</c:v>
                </c:pt>
                <c:pt idx="7">
                  <c:v>911.1192</c:v>
                </c:pt>
                <c:pt idx="8">
                  <c:v>915.1229</c:v>
                </c:pt>
                <c:pt idx="9">
                  <c:v>871.9622</c:v>
                </c:pt>
                <c:pt idx="10">
                  <c:v>835.0343</c:v>
                </c:pt>
                <c:pt idx="11">
                  <c:v>828.98</c:v>
                </c:pt>
                <c:pt idx="12">
                  <c:v>865.837</c:v>
                </c:pt>
                <c:pt idx="13">
                  <c:v>852.9094</c:v>
                </c:pt>
                <c:pt idx="14">
                  <c:v>982.1822</c:v>
                </c:pt>
                <c:pt idx="15">
                  <c:v>1002.7042</c:v>
                </c:pt>
                <c:pt idx="16">
                  <c:v>1006.0217</c:v>
                </c:pt>
                <c:pt idx="17">
                  <c:v>1013.7644</c:v>
                </c:pt>
                <c:pt idx="18">
                  <c:v>1053.3199</c:v>
                </c:pt>
                <c:pt idx="19">
                  <c:v>1057.9869</c:v>
                </c:pt>
                <c:pt idx="20">
                  <c:v>1082.7853</c:v>
                </c:pt>
                <c:pt idx="21">
                  <c:v>1080.1899</c:v>
                </c:pt>
                <c:pt idx="22">
                  <c:v>1096.2342</c:v>
                </c:pt>
                <c:pt idx="23">
                  <c:v>1086.1013</c:v>
                </c:pt>
                <c:pt idx="24">
                  <c:v>1089.9863</c:v>
                </c:pt>
                <c:pt idx="25">
                  <c:v>1090.5347</c:v>
                </c:pt>
                <c:pt idx="26">
                  <c:v>1087.5632</c:v>
                </c:pt>
                <c:pt idx="27">
                  <c:v>1074.276</c:v>
                </c:pt>
                <c:pt idx="28">
                  <c:v>1078.8013</c:v>
                </c:pt>
                <c:pt idx="29">
                  <c:v>1110.4901</c:v>
                </c:pt>
                <c:pt idx="30">
                  <c:v>1106.4741</c:v>
                </c:pt>
                <c:pt idx="31">
                  <c:v>1110.3379</c:v>
                </c:pt>
                <c:pt idx="32">
                  <c:v>1109.2397</c:v>
                </c:pt>
                <c:pt idx="33">
                  <c:v>1106.1206</c:v>
                </c:pt>
                <c:pt idx="34">
                  <c:v>1101.2328</c:v>
                </c:pt>
                <c:pt idx="35">
                  <c:v>1107.0789</c:v>
                </c:pt>
                <c:pt idx="36">
                  <c:v>1107.3889</c:v>
                </c:pt>
                <c:pt idx="37">
                  <c:v>1123.1496</c:v>
                </c:pt>
                <c:pt idx="38">
                  <c:v>1124.7202</c:v>
                </c:pt>
                <c:pt idx="39">
                  <c:v>1181.6643</c:v>
                </c:pt>
                <c:pt idx="40">
                  <c:v>1208.5253</c:v>
                </c:pt>
                <c:pt idx="41">
                  <c:v>1220.8314</c:v>
                </c:pt>
                <c:pt idx="42">
                  <c:v>1223.18</c:v>
                </c:pt>
                <c:pt idx="43">
                  <c:v>1228.1207</c:v>
                </c:pt>
                <c:pt idx="44">
                  <c:v>1240.7688</c:v>
                </c:pt>
                <c:pt idx="45">
                  <c:v>1233.1846</c:v>
                </c:pt>
                <c:pt idx="46">
                  <c:v>1179.4713</c:v>
                </c:pt>
                <c:pt idx="47">
                  <c:v>1172.3183</c:v>
                </c:pt>
                <c:pt idx="48">
                  <c:v>1120.507</c:v>
                </c:pt>
                <c:pt idx="49">
                  <c:v>1024.6798</c:v>
                </c:pt>
                <c:pt idx="50">
                  <c:v>1060.5503</c:v>
                </c:pt>
                <c:pt idx="51">
                  <c:v>1034.3245</c:v>
                </c:pt>
                <c:pt idx="52">
                  <c:v>1014.3784</c:v>
                </c:pt>
                <c:pt idx="53">
                  <c:v>1243.0414</c:v>
                </c:pt>
                <c:pt idx="54">
                  <c:v>1235.1487</c:v>
                </c:pt>
                <c:pt idx="55">
                  <c:v>1235.805</c:v>
                </c:pt>
                <c:pt idx="56">
                  <c:v>1234.1824</c:v>
                </c:pt>
                <c:pt idx="57">
                  <c:v>1242.6704</c:v>
                </c:pt>
                <c:pt idx="58">
                  <c:v>1241.1324</c:v>
                </c:pt>
                <c:pt idx="59">
                  <c:v>1239.3448</c:v>
                </c:pt>
                <c:pt idx="60">
                  <c:v>1247.9935</c:v>
                </c:pt>
                <c:pt idx="61">
                  <c:v>1188.6951</c:v>
                </c:pt>
                <c:pt idx="62">
                  <c:v>1077.9522</c:v>
                </c:pt>
                <c:pt idx="63">
                  <c:v>1083.0403</c:v>
                </c:pt>
                <c:pt idx="64">
                  <c:v>1091.05</c:v>
                </c:pt>
                <c:pt idx="65">
                  <c:v>1090.8111</c:v>
                </c:pt>
                <c:pt idx="66">
                  <c:v>1220.491</c:v>
                </c:pt>
                <c:pt idx="67">
                  <c:v>1245.6622</c:v>
                </c:pt>
                <c:pt idx="68">
                  <c:v>1232.1381</c:v>
                </c:pt>
                <c:pt idx="69">
                  <c:v>1271.6872</c:v>
                </c:pt>
                <c:pt idx="70">
                  <c:v>1266.6255</c:v>
                </c:pt>
                <c:pt idx="71">
                  <c:v>1262.548</c:v>
                </c:pt>
                <c:pt idx="72">
                  <c:v>1277.5772</c:v>
                </c:pt>
                <c:pt idx="73">
                  <c:v>1261.3543</c:v>
                </c:pt>
                <c:pt idx="74">
                  <c:v>1281.0581</c:v>
                </c:pt>
                <c:pt idx="75">
                  <c:v>1265.0422</c:v>
                </c:pt>
                <c:pt idx="76">
                  <c:v>1211.6077</c:v>
                </c:pt>
                <c:pt idx="77">
                  <c:v>1199.1729</c:v>
                </c:pt>
                <c:pt idx="78">
                  <c:v>1213.7785</c:v>
                </c:pt>
                <c:pt idx="79">
                  <c:v>1242.1955</c:v>
                </c:pt>
                <c:pt idx="80">
                  <c:v>1264.2783</c:v>
                </c:pt>
                <c:pt idx="81">
                  <c:v>1316.6727</c:v>
                </c:pt>
                <c:pt idx="82">
                  <c:v>1334.0317</c:v>
                </c:pt>
                <c:pt idx="83">
                  <c:v>1334.2226</c:v>
                </c:pt>
                <c:pt idx="84">
                  <c:v>1345.6375</c:v>
                </c:pt>
                <c:pt idx="85">
                  <c:v>1346.6109</c:v>
                </c:pt>
                <c:pt idx="86">
                  <c:v>1349.528</c:v>
                </c:pt>
                <c:pt idx="87">
                  <c:v>1337.4574</c:v>
                </c:pt>
                <c:pt idx="88">
                  <c:v>1354.4523</c:v>
                </c:pt>
                <c:pt idx="89">
                  <c:v>1369.7822</c:v>
                </c:pt>
                <c:pt idx="90">
                  <c:v>1367.9924</c:v>
                </c:pt>
                <c:pt idx="91">
                  <c:v>1353.3447</c:v>
                </c:pt>
                <c:pt idx="92">
                  <c:v>1342.2688</c:v>
                </c:pt>
                <c:pt idx="93">
                  <c:v>1332.2189</c:v>
                </c:pt>
                <c:pt idx="94">
                  <c:v>1349.2415</c:v>
                </c:pt>
                <c:pt idx="95">
                  <c:v>1336.8942</c:v>
                </c:pt>
                <c:pt idx="96">
                  <c:v>1225.6862</c:v>
                </c:pt>
                <c:pt idx="97">
                  <c:v>1263.0433</c:v>
                </c:pt>
                <c:pt idx="98">
                  <c:v>1215.1682</c:v>
                </c:pt>
                <c:pt idx="99">
                  <c:v>1204.9229</c:v>
                </c:pt>
                <c:pt idx="100">
                  <c:v>1106.9971</c:v>
                </c:pt>
                <c:pt idx="101">
                  <c:v>1292.2309</c:v>
                </c:pt>
                <c:pt idx="102">
                  <c:v>1272.751</c:v>
                </c:pt>
                <c:pt idx="103">
                  <c:v>1200.6081</c:v>
                </c:pt>
                <c:pt idx="104">
                  <c:v>1187.5781</c:v>
                </c:pt>
              </c:numCache>
            </c:numRef>
          </c:xVal>
          <c:yVal>
            <c:numRef>
              <c:f>Sheet1!$B$2:$B$106</c:f>
              <c:numCache>
                <c:formatCode>General</c:formatCode>
                <c:ptCount val="105"/>
                <c:pt idx="0">
                  <c:v>0.17871326449563146</c:v>
                </c:pt>
                <c:pt idx="1">
                  <c:v>0.17244395844723892</c:v>
                </c:pt>
                <c:pt idx="2">
                  <c:v>0.17025336584331602</c:v>
                </c:pt>
                <c:pt idx="3">
                  <c:v>0.17527895135954935</c:v>
                </c:pt>
                <c:pt idx="4">
                  <c:v>0.21203293223559214</c:v>
                </c:pt>
                <c:pt idx="5">
                  <c:v>0.21191523390643743</c:v>
                </c:pt>
                <c:pt idx="6">
                  <c:v>0.2379850938062195</c:v>
                </c:pt>
                <c:pt idx="7">
                  <c:v>0.22453605326533504</c:v>
                </c:pt>
                <c:pt idx="8">
                  <c:v>0.23006896551724138</c:v>
                </c:pt>
                <c:pt idx="9">
                  <c:v>0.22907280056912496</c:v>
                </c:pt>
                <c:pt idx="10">
                  <c:v>0.21959048146098506</c:v>
                </c:pt>
                <c:pt idx="11">
                  <c:v>0.2169830788278993</c:v>
                </c:pt>
                <c:pt idx="12">
                  <c:v>0.19853345554537122</c:v>
                </c:pt>
                <c:pt idx="13">
                  <c:v>0.18983121483642426</c:v>
                </c:pt>
                <c:pt idx="14">
                  <c:v>0.16496579567118985</c:v>
                </c:pt>
                <c:pt idx="15">
                  <c:v>0.15082936865115082</c:v>
                </c:pt>
                <c:pt idx="16">
                  <c:v>0.14701200983938648</c:v>
                </c:pt>
                <c:pt idx="17">
                  <c:v>0.147643475472908</c:v>
                </c:pt>
                <c:pt idx="18">
                  <c:v>0.13295118343195267</c:v>
                </c:pt>
                <c:pt idx="19">
                  <c:v>0.12522982635342186</c:v>
                </c:pt>
                <c:pt idx="20">
                  <c:v>0.16063919259882253</c:v>
                </c:pt>
                <c:pt idx="21">
                  <c:v>0.1484842633713072</c:v>
                </c:pt>
                <c:pt idx="22">
                  <c:v>0.12748835239305378</c:v>
                </c:pt>
                <c:pt idx="23">
                  <c:v>0.1453639514731369</c:v>
                </c:pt>
                <c:pt idx="24">
                  <c:v>0.1491442542787286</c:v>
                </c:pt>
                <c:pt idx="25">
                  <c:v>0.13845099383139137</c:v>
                </c:pt>
                <c:pt idx="26">
                  <c:v>0.14704225352112676</c:v>
                </c:pt>
                <c:pt idx="27">
                  <c:v>0.1636990235496841</c:v>
                </c:pt>
                <c:pt idx="28">
                  <c:v>0.17227456258411844</c:v>
                </c:pt>
                <c:pt idx="29">
                  <c:v>0.1650602409638554</c:v>
                </c:pt>
                <c:pt idx="30">
                  <c:v>0.17488692655610596</c:v>
                </c:pt>
                <c:pt idx="31">
                  <c:v>0.1566265060240964</c:v>
                </c:pt>
                <c:pt idx="32">
                  <c:v>0.16640952171038131</c:v>
                </c:pt>
                <c:pt idx="33">
                  <c:v>0.16251189343482397</c:v>
                </c:pt>
                <c:pt idx="34">
                  <c:v>0.17239574245332404</c:v>
                </c:pt>
                <c:pt idx="35">
                  <c:v>0.22559293987865417</c:v>
                </c:pt>
                <c:pt idx="36">
                  <c:v>0.18735215265730956</c:v>
                </c:pt>
                <c:pt idx="37">
                  <c:v>0.17413793103448275</c:v>
                </c:pt>
                <c:pt idx="38">
                  <c:v>0.16989128431914502</c:v>
                </c:pt>
                <c:pt idx="39">
                  <c:v>0.1693499082942735</c:v>
                </c:pt>
                <c:pt idx="40">
                  <c:v>0.16853556485355647</c:v>
                </c:pt>
                <c:pt idx="41">
                  <c:v>0.1634011090573013</c:v>
                </c:pt>
                <c:pt idx="42">
                  <c:v>0.17408335944844877</c:v>
                </c:pt>
                <c:pt idx="43">
                  <c:v>0.1715578716401536</c:v>
                </c:pt>
                <c:pt idx="44">
                  <c:v>0.16095854098186832</c:v>
                </c:pt>
                <c:pt idx="45">
                  <c:v>0.1548496315475005</c:v>
                </c:pt>
                <c:pt idx="46">
                  <c:v>0.1563079324812177</c:v>
                </c:pt>
                <c:pt idx="47">
                  <c:v>0.15777888944472235</c:v>
                </c:pt>
                <c:pt idx="48">
                  <c:v>0.15445402298850575</c:v>
                </c:pt>
                <c:pt idx="49">
                  <c:v>0.17856437598736177</c:v>
                </c:pt>
                <c:pt idx="50">
                  <c:v>0.15999038615606473</c:v>
                </c:pt>
                <c:pt idx="51">
                  <c:v>0.1646090534979424</c:v>
                </c:pt>
                <c:pt idx="52">
                  <c:v>0.16628440366972477</c:v>
                </c:pt>
                <c:pt idx="53">
                  <c:v>0.15564566437928884</c:v>
                </c:pt>
                <c:pt idx="54">
                  <c:v>0.1579898362507058</c:v>
                </c:pt>
                <c:pt idx="55">
                  <c:v>0.15723419370116032</c:v>
                </c:pt>
                <c:pt idx="56">
                  <c:v>0.1649002849002849</c:v>
                </c:pt>
                <c:pt idx="57">
                  <c:v>0.14748238177918496</c:v>
                </c:pt>
                <c:pt idx="58">
                  <c:v>0.14757606773983437</c:v>
                </c:pt>
                <c:pt idx="59">
                  <c:v>0.1363914373088685</c:v>
                </c:pt>
                <c:pt idx="60">
                  <c:v>0.13633191651335405</c:v>
                </c:pt>
                <c:pt idx="61">
                  <c:v>0.14007287518006947</c:v>
                </c:pt>
                <c:pt idx="62">
                  <c:v>0.16141627473600142</c:v>
                </c:pt>
                <c:pt idx="63">
                  <c:v>0.1601366742596811</c:v>
                </c:pt>
                <c:pt idx="64">
                  <c:v>0.15851528384279476</c:v>
                </c:pt>
                <c:pt idx="65">
                  <c:v>0.16333200478278198</c:v>
                </c:pt>
                <c:pt idx="66">
                  <c:v>0.1540864133263925</c:v>
                </c:pt>
                <c:pt idx="67">
                  <c:v>0.14832707103238504</c:v>
                </c:pt>
                <c:pt idx="68">
                  <c:v>0.13880673125956144</c:v>
                </c:pt>
                <c:pt idx="69">
                  <c:v>0.12687079500205958</c:v>
                </c:pt>
                <c:pt idx="70">
                  <c:v>0.12676238520243177</c:v>
                </c:pt>
                <c:pt idx="71">
                  <c:v>0.12544192745842608</c:v>
                </c:pt>
                <c:pt idx="72">
                  <c:v>0.1374246987951807</c:v>
                </c:pt>
                <c:pt idx="73">
                  <c:v>0.13767193071828834</c:v>
                </c:pt>
                <c:pt idx="74">
                  <c:v>0.1292578681517938</c:v>
                </c:pt>
                <c:pt idx="75">
                  <c:v>0.13484009840098402</c:v>
                </c:pt>
                <c:pt idx="76">
                  <c:v>0.13730818414322252</c:v>
                </c:pt>
                <c:pt idx="77">
                  <c:v>0.1371135671952587</c:v>
                </c:pt>
                <c:pt idx="78">
                  <c:v>0.14234234234234233</c:v>
                </c:pt>
                <c:pt idx="79">
                  <c:v>0.14733944954128442</c:v>
                </c:pt>
                <c:pt idx="80">
                  <c:v>0.14644351464435146</c:v>
                </c:pt>
                <c:pt idx="81">
                  <c:v>0.13844343092540826</c:v>
                </c:pt>
                <c:pt idx="82">
                  <c:v>0.13989637305699482</c:v>
                </c:pt>
                <c:pt idx="83">
                  <c:v>0.12342569269521411</c:v>
                </c:pt>
                <c:pt idx="84">
                  <c:v>0.12353616532721011</c:v>
                </c:pt>
                <c:pt idx="85">
                  <c:v>0.11733112993183227</c:v>
                </c:pt>
                <c:pt idx="86">
                  <c:v>0.12542061792597126</c:v>
                </c:pt>
                <c:pt idx="87">
                  <c:v>0.15615700722686693</c:v>
                </c:pt>
                <c:pt idx="88">
                  <c:v>0.16099179325999652</c:v>
                </c:pt>
                <c:pt idx="89">
                  <c:v>0.12866817155756208</c:v>
                </c:pt>
                <c:pt idx="90">
                  <c:v>0.12739222888072685</c:v>
                </c:pt>
                <c:pt idx="91">
                  <c:v>0.12940528634361234</c:v>
                </c:pt>
                <c:pt idx="92">
                  <c:v>0.1431384428960921</c:v>
                </c:pt>
                <c:pt idx="93">
                  <c:v>0.12367733956300674</c:v>
                </c:pt>
                <c:pt idx="94">
                  <c:v>0.12312166747455162</c:v>
                </c:pt>
                <c:pt idx="95">
                  <c:v>0.1336003770028275</c:v>
                </c:pt>
                <c:pt idx="96">
                  <c:v>0.13879582655307743</c:v>
                </c:pt>
                <c:pt idx="97">
                  <c:v>0.13529557259460798</c:v>
                </c:pt>
                <c:pt idx="98">
                  <c:v>0.1486593914865939</c:v>
                </c:pt>
                <c:pt idx="99">
                  <c:v>0.14808979913351714</c:v>
                </c:pt>
                <c:pt idx="100">
                  <c:v>0.1637249736564805</c:v>
                </c:pt>
                <c:pt idx="101">
                  <c:v>0.1358774212200058</c:v>
                </c:pt>
                <c:pt idx="102">
                  <c:v>0.12760005738057667</c:v>
                </c:pt>
                <c:pt idx="103">
                  <c:v>0.14489073561095722</c:v>
                </c:pt>
                <c:pt idx="104">
                  <c:v>0.1486293905608181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72.3769</c:v>
                </c:pt>
                <c:pt idx="1">
                  <c:v>1273.1296</c:v>
                </c:pt>
                <c:pt idx="2">
                  <c:v>1302.415</c:v>
                </c:pt>
                <c:pt idx="3">
                  <c:v>1326.3668</c:v>
                </c:pt>
                <c:pt idx="4">
                  <c:v>1315.7537</c:v>
                </c:pt>
                <c:pt idx="5">
                  <c:v>1321.7919</c:v>
                </c:pt>
                <c:pt idx="6">
                  <c:v>1320.22</c:v>
                </c:pt>
                <c:pt idx="7">
                  <c:v>1314.166</c:v>
                </c:pt>
                <c:pt idx="8">
                  <c:v>1324.4045</c:v>
                </c:pt>
                <c:pt idx="9">
                  <c:v>1157.7675</c:v>
                </c:pt>
                <c:pt idx="10">
                  <c:v>1186.3984</c:v>
                </c:pt>
                <c:pt idx="11">
                  <c:v>1320.8785</c:v>
                </c:pt>
                <c:pt idx="12">
                  <c:v>1296.3715</c:v>
                </c:pt>
                <c:pt idx="13">
                  <c:v>1197.7465</c:v>
                </c:pt>
                <c:pt idx="14">
                  <c:v>1319.172</c:v>
                </c:pt>
                <c:pt idx="15">
                  <c:v>1225.4308</c:v>
                </c:pt>
                <c:pt idx="16">
                  <c:v>1331.1383</c:v>
                </c:pt>
                <c:pt idx="17">
                  <c:v>1342.6471</c:v>
                </c:pt>
                <c:pt idx="18">
                  <c:v>1392.0791</c:v>
                </c:pt>
                <c:pt idx="19">
                  <c:v>1367.4538</c:v>
                </c:pt>
                <c:pt idx="20">
                  <c:v>1286.4367</c:v>
                </c:pt>
                <c:pt idx="21">
                  <c:v>1299.704</c:v>
                </c:pt>
                <c:pt idx="22">
                  <c:v>1283.2793</c:v>
                </c:pt>
                <c:pt idx="23">
                  <c:v>1172.1436</c:v>
                </c:pt>
                <c:pt idx="24">
                  <c:v>1153.4094</c:v>
                </c:pt>
                <c:pt idx="25">
                  <c:v>1207.888</c:v>
                </c:pt>
                <c:pt idx="26">
                  <c:v>1251.1845</c:v>
                </c:pt>
                <c:pt idx="27">
                  <c:v>1313.6468</c:v>
                </c:pt>
                <c:pt idx="28">
                  <c:v>1359.968</c:v>
                </c:pt>
                <c:pt idx="29">
                  <c:v>1349.3132</c:v>
                </c:pt>
                <c:pt idx="30">
                  <c:v>1352.4305</c:v>
                </c:pt>
                <c:pt idx="31">
                  <c:v>1348.7713</c:v>
                </c:pt>
                <c:pt idx="32">
                  <c:v>1351.2404</c:v>
                </c:pt>
                <c:pt idx="33">
                  <c:v>1356.3797</c:v>
                </c:pt>
                <c:pt idx="34">
                  <c:v>1371.4882</c:v>
                </c:pt>
                <c:pt idx="35">
                  <c:v>1359.9545</c:v>
                </c:pt>
                <c:pt idx="36">
                  <c:v>1346.5016</c:v>
                </c:pt>
                <c:pt idx="37">
                  <c:v>1346.3364</c:v>
                </c:pt>
                <c:pt idx="38">
                  <c:v>1331.8728</c:v>
                </c:pt>
                <c:pt idx="39">
                  <c:v>1357.3931</c:v>
                </c:pt>
                <c:pt idx="40">
                  <c:v>1351.1635</c:v>
                </c:pt>
                <c:pt idx="41">
                  <c:v>1355.8128</c:v>
                </c:pt>
                <c:pt idx="42">
                  <c:v>1350.711</c:v>
                </c:pt>
                <c:pt idx="43">
                  <c:v>1332.7643</c:v>
                </c:pt>
                <c:pt idx="44">
                  <c:v>1290.1071</c:v>
                </c:pt>
                <c:pt idx="45">
                  <c:v>1292.298</c:v>
                </c:pt>
                <c:pt idx="46">
                  <c:v>1294.4256</c:v>
                </c:pt>
                <c:pt idx="47">
                  <c:v>1285.2908</c:v>
                </c:pt>
                <c:pt idx="48">
                  <c:v>1206.3983</c:v>
                </c:pt>
                <c:pt idx="49">
                  <c:v>1173.9947</c:v>
                </c:pt>
                <c:pt idx="50">
                  <c:v>1132.7079</c:v>
                </c:pt>
                <c:pt idx="51">
                  <c:v>1161.9306</c:v>
                </c:pt>
              </c:numCache>
            </c:numRef>
          </c:xVal>
          <c:yVal>
            <c:numRef>
              <c:f>Sheet1!$B$109:$B$160</c:f>
              <c:numCache>
                <c:formatCode>General</c:formatCode>
                <c:ptCount val="52"/>
                <c:pt idx="0">
                  <c:v>0.16759550924804134</c:v>
                </c:pt>
                <c:pt idx="1">
                  <c:v>0.15955711956055274</c:v>
                </c:pt>
                <c:pt idx="2">
                  <c:v>0.1663496592169916</c:v>
                </c:pt>
                <c:pt idx="3">
                  <c:v>0.16841864716636198</c:v>
                </c:pt>
                <c:pt idx="4">
                  <c:v>0.15833942643594118</c:v>
                </c:pt>
                <c:pt idx="5">
                  <c:v>0.14581855442579017</c:v>
                </c:pt>
                <c:pt idx="6">
                  <c:v>0.12964761988872206</c:v>
                </c:pt>
                <c:pt idx="7">
                  <c:v>0.12263473053892215</c:v>
                </c:pt>
                <c:pt idx="8">
                  <c:v>0.13044006807682956</c:v>
                </c:pt>
                <c:pt idx="9">
                  <c:v>0.13955033780042086</c:v>
                </c:pt>
                <c:pt idx="10">
                  <c:v>0.14554038797085087</c:v>
                </c:pt>
                <c:pt idx="11">
                  <c:v>0.1365592342144551</c:v>
                </c:pt>
                <c:pt idx="12">
                  <c:v>0.14403628117913833</c:v>
                </c:pt>
                <c:pt idx="13">
                  <c:v>0.15101714488762547</c:v>
                </c:pt>
                <c:pt idx="14">
                  <c:v>0.1358304583538689</c:v>
                </c:pt>
                <c:pt idx="15">
                  <c:v>0.14728050519454064</c:v>
                </c:pt>
                <c:pt idx="16">
                  <c:v>0.1274432267540391</c:v>
                </c:pt>
                <c:pt idx="17">
                  <c:v>0.11591355599214145</c:v>
                </c:pt>
                <c:pt idx="18">
                  <c:v>0.12824850069198832</c:v>
                </c:pt>
                <c:pt idx="19">
                  <c:v>0.14616755793226383</c:v>
                </c:pt>
                <c:pt idx="20">
                  <c:v>0.13756316676024705</c:v>
                </c:pt>
                <c:pt idx="21">
                  <c:v>0.13103324991061852</c:v>
                </c:pt>
                <c:pt idx="22">
                  <c:v>0.1367814020544242</c:v>
                </c:pt>
                <c:pt idx="23">
                  <c:v>0.15877437325905291</c:v>
                </c:pt>
                <c:pt idx="24">
                  <c:v>0.15927616563417019</c:v>
                </c:pt>
                <c:pt idx="25">
                  <c:v>0.14803418803418802</c:v>
                </c:pt>
                <c:pt idx="26">
                  <c:v>0.13899811933663875</c:v>
                </c:pt>
                <c:pt idx="27">
                  <c:v>0.12880451835582052</c:v>
                </c:pt>
                <c:pt idx="28">
                  <c:v>0.12376237623762376</c:v>
                </c:pt>
                <c:pt idx="29">
                  <c:v>0.12100611828687967</c:v>
                </c:pt>
                <c:pt idx="30">
                  <c:v>0.1306049822064057</c:v>
                </c:pt>
                <c:pt idx="31">
                  <c:v>0.11788372560852947</c:v>
                </c:pt>
                <c:pt idx="32">
                  <c:v>0.11280761631040058</c:v>
                </c:pt>
                <c:pt idx="33">
                  <c:v>0.13306959180003597</c:v>
                </c:pt>
                <c:pt idx="34">
                  <c:v>0.1514814814814815</c:v>
                </c:pt>
                <c:pt idx="35">
                  <c:v>0.16462418300653595</c:v>
                </c:pt>
                <c:pt idx="36">
                  <c:v>0.13451029844472467</c:v>
                </c:pt>
                <c:pt idx="37">
                  <c:v>0.13987820631112752</c:v>
                </c:pt>
                <c:pt idx="38">
                  <c:v>0.13057919867137222</c:v>
                </c:pt>
                <c:pt idx="39">
                  <c:v>0.15516976494085113</c:v>
                </c:pt>
                <c:pt idx="40">
                  <c:v>0.14730073276506656</c:v>
                </c:pt>
                <c:pt idx="41">
                  <c:v>0.15453005927180355</c:v>
                </c:pt>
                <c:pt idx="42">
                  <c:v>0.1465903819390753</c:v>
                </c:pt>
                <c:pt idx="43">
                  <c:v>0.15350039330261828</c:v>
                </c:pt>
                <c:pt idx="44">
                  <c:v>0.14648492204275979</c:v>
                </c:pt>
                <c:pt idx="45">
                  <c:v>0.14991050119331742</c:v>
                </c:pt>
                <c:pt idx="46">
                  <c:v>0.15446855461566752</c:v>
                </c:pt>
                <c:pt idx="47">
                  <c:v>0.1564245810055866</c:v>
                </c:pt>
                <c:pt idx="48">
                  <c:v>0.16450281425891183</c:v>
                </c:pt>
                <c:pt idx="49">
                  <c:v>0.17764407853071565</c:v>
                </c:pt>
                <c:pt idx="50">
                  <c:v>0.20582333428887342</c:v>
                </c:pt>
                <c:pt idx="51">
                  <c:v>0.1861741283544134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4.7185251775132</c:v>
                </c:pt>
              </c:numCache>
            </c:numRef>
          </c:xVal>
          <c:yVal>
            <c:numRef>
              <c:f>Sheet1!$B$163:$B$164</c:f>
              <c:numCache>
                <c:formatCode>General</c:formatCode>
                <c:ptCount val="2"/>
                <c:pt idx="0">
                  <c:v>0.20146975765295125</c:v>
                </c:pt>
                <c:pt idx="1">
                  <c:v>0.2014697576529512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4.7185251775132</c:v>
                </c:pt>
                <c:pt idx="1">
                  <c:v>924.7185251775132</c:v>
                </c:pt>
              </c:numCache>
            </c:numRef>
          </c:xVal>
          <c:yVal>
            <c:numRef>
              <c:f>Sheet1!$B$167:$B$168</c:f>
              <c:numCache>
                <c:formatCode>General</c:formatCode>
                <c:ptCount val="2"/>
                <c:pt idx="0">
                  <c:v>0.201469757652951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43.2643609022869</c:v>
                </c:pt>
              </c:numCache>
            </c:numRef>
          </c:xVal>
          <c:yVal>
            <c:numRef>
              <c:f>Sheet1!$B$171:$B$172</c:f>
              <c:numCache>
                <c:formatCode>General</c:formatCode>
                <c:ptCount val="2"/>
                <c:pt idx="0">
                  <c:v>0.18353608885822859</c:v>
                </c:pt>
                <c:pt idx="1">
                  <c:v>0.1835360888582285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43.2643609022869</c:v>
                </c:pt>
                <c:pt idx="1">
                  <c:v>1043.2643609022869</c:v>
                </c:pt>
              </c:numCache>
            </c:numRef>
          </c:xVal>
          <c:yVal>
            <c:numRef>
              <c:f>Sheet1!$B$175:$B$176</c:f>
              <c:numCache>
                <c:formatCode>General</c:formatCode>
                <c:ptCount val="2"/>
                <c:pt idx="0">
                  <c:v>0.1835360888582285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89.4243245158502</c:v>
                </c:pt>
              </c:numCache>
            </c:numRef>
          </c:xVal>
          <c:yVal>
            <c:numRef>
              <c:f>Sheet1!$B$179:$B$180</c:f>
              <c:numCache>
                <c:formatCode>General</c:formatCode>
                <c:ptCount val="2"/>
                <c:pt idx="0">
                  <c:v>0.16142494203920466</c:v>
                </c:pt>
                <c:pt idx="1">
                  <c:v>0.1614249420392046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89.4243245158502</c:v>
                </c:pt>
                <c:pt idx="1">
                  <c:v>1189.4243245158502</c:v>
                </c:pt>
              </c:numCache>
            </c:numRef>
          </c:xVal>
          <c:yVal>
            <c:numRef>
              <c:f>Sheet1!$B$183:$B$184</c:f>
              <c:numCache>
                <c:formatCode>General</c:formatCode>
                <c:ptCount val="2"/>
                <c:pt idx="0">
                  <c:v>0.1614249420392046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72.3769</c:v>
                </c:pt>
                <c:pt idx="1">
                  <c:v>1273.1296</c:v>
                </c:pt>
                <c:pt idx="2">
                  <c:v>1302.415</c:v>
                </c:pt>
                <c:pt idx="3">
                  <c:v>1326.3668</c:v>
                </c:pt>
                <c:pt idx="4">
                  <c:v>1315.7537</c:v>
                </c:pt>
                <c:pt idx="5">
                  <c:v>1321.7919</c:v>
                </c:pt>
                <c:pt idx="6">
                  <c:v>1320.22</c:v>
                </c:pt>
                <c:pt idx="7">
                  <c:v>1314.166</c:v>
                </c:pt>
                <c:pt idx="8">
                  <c:v>1324.4045</c:v>
                </c:pt>
                <c:pt idx="9">
                  <c:v>1157.7675</c:v>
                </c:pt>
                <c:pt idx="10">
                  <c:v>1186.3984</c:v>
                </c:pt>
                <c:pt idx="11">
                  <c:v>1320.8785</c:v>
                </c:pt>
                <c:pt idx="12">
                  <c:v>1296.3715</c:v>
                </c:pt>
                <c:pt idx="13">
                  <c:v>1197.7465</c:v>
                </c:pt>
                <c:pt idx="14">
                  <c:v>1319.172</c:v>
                </c:pt>
                <c:pt idx="15">
                  <c:v>1225.4308</c:v>
                </c:pt>
                <c:pt idx="16">
                  <c:v>1331.1383</c:v>
                </c:pt>
                <c:pt idx="17">
                  <c:v>1342.6471</c:v>
                </c:pt>
                <c:pt idx="18">
                  <c:v>1392.0791</c:v>
                </c:pt>
                <c:pt idx="19">
                  <c:v>1367.4538</c:v>
                </c:pt>
                <c:pt idx="20">
                  <c:v>1286.4367</c:v>
                </c:pt>
                <c:pt idx="21">
                  <c:v>1299.704</c:v>
                </c:pt>
                <c:pt idx="22">
                  <c:v>1283.2793</c:v>
                </c:pt>
                <c:pt idx="23">
                  <c:v>1172.1436</c:v>
                </c:pt>
                <c:pt idx="24">
                  <c:v>1153.4094</c:v>
                </c:pt>
                <c:pt idx="25">
                  <c:v>1207.888</c:v>
                </c:pt>
                <c:pt idx="26">
                  <c:v>1251.1845</c:v>
                </c:pt>
                <c:pt idx="27">
                  <c:v>1313.6468</c:v>
                </c:pt>
                <c:pt idx="28">
                  <c:v>1359.968</c:v>
                </c:pt>
                <c:pt idx="29">
                  <c:v>1349.3132</c:v>
                </c:pt>
                <c:pt idx="30">
                  <c:v>1352.4305</c:v>
                </c:pt>
                <c:pt idx="31">
                  <c:v>1348.7713</c:v>
                </c:pt>
                <c:pt idx="32">
                  <c:v>1351.2404</c:v>
                </c:pt>
                <c:pt idx="33">
                  <c:v>1356.3797</c:v>
                </c:pt>
                <c:pt idx="34">
                  <c:v>1371.4882</c:v>
                </c:pt>
                <c:pt idx="35">
                  <c:v>1359.9545</c:v>
                </c:pt>
                <c:pt idx="36">
                  <c:v>1346.5016</c:v>
                </c:pt>
                <c:pt idx="37">
                  <c:v>1346.3364</c:v>
                </c:pt>
                <c:pt idx="38">
                  <c:v>1331.8728</c:v>
                </c:pt>
                <c:pt idx="39">
                  <c:v>1357.3931</c:v>
                </c:pt>
                <c:pt idx="40">
                  <c:v>1351.1635</c:v>
                </c:pt>
                <c:pt idx="41">
                  <c:v>1355.8128</c:v>
                </c:pt>
                <c:pt idx="42">
                  <c:v>1350.711</c:v>
                </c:pt>
                <c:pt idx="43">
                  <c:v>1332.7643</c:v>
                </c:pt>
                <c:pt idx="44">
                  <c:v>1290.1071</c:v>
                </c:pt>
                <c:pt idx="45">
                  <c:v>1292.298</c:v>
                </c:pt>
                <c:pt idx="46">
                  <c:v>1294.4256</c:v>
                </c:pt>
                <c:pt idx="47">
                  <c:v>1285.2908</c:v>
                </c:pt>
                <c:pt idx="48">
                  <c:v>1206.3983</c:v>
                </c:pt>
                <c:pt idx="49">
                  <c:v>1173.9947</c:v>
                </c:pt>
                <c:pt idx="50">
                  <c:v>1132.7079</c:v>
                </c:pt>
                <c:pt idx="51">
                  <c:v>1161.9306</c:v>
                </c:pt>
                <c:pt idx="52">
                  <c:v>1043.2643609022869</c:v>
                </c:pt>
                <c:pt idx="53">
                  <c:v>924.7185251775132</c:v>
                </c:pt>
                <c:pt idx="54">
                  <c:v>1189.4243245158502</c:v>
                </c:pt>
              </c:numCache>
            </c:numRef>
          </c:xVal>
          <c:yVal>
            <c:numRef>
              <c:f>Sheet1!$B$187:$B$241</c:f>
              <c:numCache>
                <c:formatCode>General</c:formatCode>
                <c:ptCount val="55"/>
                <c:pt idx="0">
                  <c:v>0.14887583809720017</c:v>
                </c:pt>
                <c:pt idx="1">
                  <c:v>0.14876196929346483</c:v>
                </c:pt>
                <c:pt idx="2">
                  <c:v>0.1443316604520787</c:v>
                </c:pt>
                <c:pt idx="3">
                  <c:v>0.14070822108273043</c:v>
                </c:pt>
                <c:pt idx="4">
                  <c:v>0.14231377575381277</c:v>
                </c:pt>
                <c:pt idx="5">
                  <c:v>0.141400314068261</c:v>
                </c:pt>
                <c:pt idx="6">
                  <c:v>0.14163811182645364</c:v>
                </c:pt>
                <c:pt idx="7">
                  <c:v>0.14255396374330478</c:v>
                </c:pt>
                <c:pt idx="8">
                  <c:v>0.1410050787332816</c:v>
                </c:pt>
                <c:pt idx="9">
                  <c:v>0.16621400107690879</c:v>
                </c:pt>
                <c:pt idx="10">
                  <c:v>0.16188270529789117</c:v>
                </c:pt>
                <c:pt idx="11">
                  <c:v>0.1415384936422372</c:v>
                </c:pt>
                <c:pt idx="12">
                  <c:v>0.14524592392407898</c:v>
                </c:pt>
                <c:pt idx="13">
                  <c:v>0.1601659594872506</c:v>
                </c:pt>
                <c:pt idx="14">
                  <c:v>0.14179665375061287</c:v>
                </c:pt>
                <c:pt idx="15">
                  <c:v>0.15597786579354703</c:v>
                </c:pt>
                <c:pt idx="16">
                  <c:v>0.13998638635837377</c:v>
                </c:pt>
                <c:pt idx="17">
                  <c:v>0.13824532977749238</c:v>
                </c:pt>
                <c:pt idx="18">
                  <c:v>0.13076723398069948</c:v>
                </c:pt>
                <c:pt idx="19">
                  <c:v>0.13449256074119398</c:v>
                </c:pt>
                <c:pt idx="20">
                  <c:v>0.14674886505779758</c:v>
                </c:pt>
                <c:pt idx="21">
                  <c:v>0.14474178178451733</c:v>
                </c:pt>
                <c:pt idx="22">
                  <c:v>0.14722651798846587</c:v>
                </c:pt>
                <c:pt idx="23">
                  <c:v>0.16403917802738063</c:v>
                </c:pt>
                <c:pt idx="24">
                  <c:v>0.16687329645828122</c:v>
                </c:pt>
                <c:pt idx="25">
                  <c:v>0.1586317486820399</c:v>
                </c:pt>
                <c:pt idx="26">
                  <c:v>0.1520818341597498</c:v>
                </c:pt>
                <c:pt idx="27">
                  <c:v>0.14263250855916687</c:v>
                </c:pt>
                <c:pt idx="28">
                  <c:v>0.13562501602351376</c:v>
                </c:pt>
                <c:pt idx="29">
                  <c:v>0.13723687908986085</c:v>
                </c:pt>
                <c:pt idx="30">
                  <c:v>0.13676529250571814</c:v>
                </c:pt>
                <c:pt idx="31">
                  <c:v>0.13731885797220997</c:v>
                </c:pt>
                <c:pt idx="32">
                  <c:v>0.13694533138352533</c:v>
                </c:pt>
                <c:pt idx="33">
                  <c:v>0.13616785570525095</c:v>
                </c:pt>
                <c:pt idx="34">
                  <c:v>0.13388223484536574</c:v>
                </c:pt>
                <c:pt idx="35">
                  <c:v>0.13562705830975055</c:v>
                </c:pt>
                <c:pt idx="36">
                  <c:v>0.13766221923677505</c:v>
                </c:pt>
                <c:pt idx="37">
                  <c:v>0.13768721076909482</c:v>
                </c:pt>
                <c:pt idx="38">
                  <c:v>0.13987527085904652</c:v>
                </c:pt>
                <c:pt idx="39">
                  <c:v>0.13601454808507638</c:v>
                </c:pt>
                <c:pt idx="40">
                  <c:v>0.13695696485105185</c:v>
                </c:pt>
                <c:pt idx="41">
                  <c:v>0.1362536165991497</c:v>
                </c:pt>
                <c:pt idx="42">
                  <c:v>0.13702541926009962</c:v>
                </c:pt>
                <c:pt idx="43">
                  <c:v>0.1397404043271878</c:v>
                </c:pt>
                <c:pt idx="44">
                  <c:v>0.14619360525013153</c:v>
                </c:pt>
                <c:pt idx="45">
                  <c:v>0.14586216488597079</c:v>
                </c:pt>
                <c:pt idx="46">
                  <c:v>0.14554030057505363</c:v>
                </c:pt>
                <c:pt idx="47">
                  <c:v>0.14692221733918506</c:v>
                </c:pt>
                <c:pt idx="48">
                  <c:v>0.15885711118625745</c:v>
                </c:pt>
                <c:pt idx="49">
                  <c:v>0.1637591427642021</c:v>
                </c:pt>
                <c:pt idx="50">
                  <c:v>0.17000502894204292</c:v>
                </c:pt>
                <c:pt idx="51">
                  <c:v>0.1655842053856232</c:v>
                </c:pt>
                <c:pt idx="52">
                  <c:v>0.18353608885822859</c:v>
                </c:pt>
                <c:pt idx="53">
                  <c:v>0.20146975765295125</c:v>
                </c:pt>
                <c:pt idx="54">
                  <c:v>0.1614249420392046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70.0"/>
          <c:min val="66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558211256746335"/>
          <c:min val="0.0902460930483204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0482579092631746</c:v>
                </c:pt>
                <c:pt idx="1">
                  <c:v>0.11156470397893137</c:v>
                </c:pt>
                <c:pt idx="2">
                  <c:v>0.11033308183133171</c:v>
                </c:pt>
                <c:pt idx="3">
                  <c:v>0.11196787647501079</c:v>
                </c:pt>
                <c:pt idx="4">
                  <c:v>0.10298725614704905</c:v>
                </c:pt>
                <c:pt idx="5">
                  <c:v>0.09986325423927535</c:v>
                </c:pt>
                <c:pt idx="6">
                  <c:v>0.10374168752053715</c:v>
                </c:pt>
                <c:pt idx="7">
                  <c:v>0.1016425518630483</c:v>
                </c:pt>
                <c:pt idx="8">
                  <c:v>0.10229469049403733</c:v>
                </c:pt>
                <c:pt idx="9">
                  <c:v>0.1012156374120403</c:v>
                </c:pt>
                <c:pt idx="10">
                  <c:v>0.09274174291427768</c:v>
                </c:pt>
                <c:pt idx="11">
                  <c:v>0.09326212375264384</c:v>
                </c:pt>
                <c:pt idx="12">
                  <c:v>0.09444890621975648</c:v>
                </c:pt>
                <c:pt idx="13">
                  <c:v>0.09173191375324792</c:v>
                </c:pt>
                <c:pt idx="14">
                  <c:v>0.10079953584164247</c:v>
                </c:pt>
                <c:pt idx="15">
                  <c:v>0.09705975324565605</c:v>
                </c:pt>
                <c:pt idx="16">
                  <c:v>0.09619137049686131</c:v>
                </c:pt>
                <c:pt idx="17">
                  <c:v>0.0931945185725511</c:v>
                </c:pt>
                <c:pt idx="18">
                  <c:v>0.09690002591035476</c:v>
                </c:pt>
                <c:pt idx="19">
                  <c:v>0.10010227494698087</c:v>
                </c:pt>
                <c:pt idx="20">
                  <c:v>0.10264456388649598</c:v>
                </c:pt>
                <c:pt idx="21">
                  <c:v>0.0992283085045592</c:v>
                </c:pt>
                <c:pt idx="22">
                  <c:v>0.09764967974229201</c:v>
                </c:pt>
                <c:pt idx="23">
                  <c:v>0.09925910265016644</c:v>
                </c:pt>
                <c:pt idx="24">
                  <c:v>0.09505836124755743</c:v>
                </c:pt>
                <c:pt idx="25">
                  <c:v>0.09667471288501717</c:v>
                </c:pt>
                <c:pt idx="26">
                  <c:v>0.10583748411933933</c:v>
                </c:pt>
                <c:pt idx="27">
                  <c:v>0.10174436238827228</c:v>
                </c:pt>
                <c:pt idx="28">
                  <c:v>0.10293115969854183</c:v>
                </c:pt>
                <c:pt idx="29">
                  <c:v>0.10515698923187565</c:v>
                </c:pt>
                <c:pt idx="30">
                  <c:v>0.09985629562068497</c:v>
                </c:pt>
                <c:pt idx="31">
                  <c:v>0.102351845851564</c:v>
                </c:pt>
                <c:pt idx="32">
                  <c:v>0.09952477811802295</c:v>
                </c:pt>
                <c:pt idx="33">
                  <c:v>0.10650629863592344</c:v>
                </c:pt>
                <c:pt idx="34">
                  <c:v>0.10284091527780312</c:v>
                </c:pt>
                <c:pt idx="35">
                  <c:v>0.10898113298929447</c:v>
                </c:pt>
                <c:pt idx="36">
                  <c:v>0.10405094281491159</c:v>
                </c:pt>
                <c:pt idx="37">
                  <c:v>0.1067968145165596</c:v>
                </c:pt>
                <c:pt idx="38">
                  <c:v>0.10829250749276913</c:v>
                </c:pt>
                <c:pt idx="39">
                  <c:v>0.11245777317155736</c:v>
                </c:pt>
                <c:pt idx="40">
                  <c:v>0.11708989765830533</c:v>
                </c:pt>
                <c:pt idx="41">
                  <c:v>0.11914317144153079</c:v>
                </c:pt>
                <c:pt idx="42">
                  <c:v>0.11561196933881124</c:v>
                </c:pt>
                <c:pt idx="43">
                  <c:v>0.11888738232334439</c:v>
                </c:pt>
                <c:pt idx="44">
                  <c:v>0.12309799367547322</c:v>
                </c:pt>
                <c:pt idx="45">
                  <c:v>0.12810623717395855</c:v>
                </c:pt>
                <c:pt idx="46">
                  <c:v>0.1222945229643234</c:v>
                </c:pt>
                <c:pt idx="47">
                  <c:v>0.11745672439018989</c:v>
                </c:pt>
                <c:pt idx="48">
                  <c:v>0.1187950174510964</c:v>
                </c:pt>
                <c:pt idx="49">
                  <c:v>0.12064057676916118</c:v>
                </c:pt>
                <c:pt idx="50">
                  <c:v>0.11037720142507121</c:v>
                </c:pt>
                <c:pt idx="51">
                  <c:v>0.10713417242376203</c:v>
                </c:pt>
                <c:pt idx="52">
                  <c:v>0.10693657200055452</c:v>
                </c:pt>
                <c:pt idx="53">
                  <c:v>0.1281633129362492</c:v>
                </c:pt>
                <c:pt idx="54">
                  <c:v>0.12623352481624528</c:v>
                </c:pt>
                <c:pt idx="55">
                  <c:v>0.12449697326395502</c:v>
                </c:pt>
                <c:pt idx="56">
                  <c:v>0.12381541136210501</c:v>
                </c:pt>
                <c:pt idx="57">
                  <c:v>0.12344997768121842</c:v>
                </c:pt>
                <c:pt idx="58">
                  <c:v>0.12280598138074034</c:v>
                </c:pt>
                <c:pt idx="59">
                  <c:v>0.12502338240112704</c:v>
                </c:pt>
                <c:pt idx="60">
                  <c:v>0.1251190504441233</c:v>
                </c:pt>
                <c:pt idx="61">
                  <c:v>0.11662183635598064</c:v>
                </c:pt>
                <c:pt idx="62">
                  <c:v>0.10508603067080577</c:v>
                </c:pt>
                <c:pt idx="63">
                  <c:v>0.10712998075659064</c:v>
                </c:pt>
                <c:pt idx="64">
                  <c:v>0.11189819261317267</c:v>
                </c:pt>
                <c:pt idx="65">
                  <c:v>0.11117062980119767</c:v>
                </c:pt>
                <c:pt idx="66">
                  <c:v>0.1229284155615005</c:v>
                </c:pt>
                <c:pt idx="67">
                  <c:v>0.122539350520357</c:v>
                </c:pt>
                <c:pt idx="68">
                  <c:v>0.12099914688468058</c:v>
                </c:pt>
                <c:pt idx="69">
                  <c:v>0.12112312796116265</c:v>
                </c:pt>
                <c:pt idx="70">
                  <c:v>0.11845394398849782</c:v>
                </c:pt>
                <c:pt idx="71">
                  <c:v>0.11795484262362517</c:v>
                </c:pt>
                <c:pt idx="72">
                  <c:v>0.12051361980077883</c:v>
                </c:pt>
                <c:pt idx="73">
                  <c:v>0.11588081457003326</c:v>
                </c:pt>
                <c:pt idx="74">
                  <c:v>0.11850856564838567</c:v>
                </c:pt>
                <c:pt idx="75">
                  <c:v>0.11349594370056891</c:v>
                </c:pt>
                <c:pt idx="76">
                  <c:v>0.10811871051998899</c:v>
                </c:pt>
                <c:pt idx="77">
                  <c:v>0.10783751781344385</c:v>
                </c:pt>
                <c:pt idx="78">
                  <c:v>0.10686231062418239</c:v>
                </c:pt>
                <c:pt idx="79">
                  <c:v>0.10854393170770658</c:v>
                </c:pt>
                <c:pt idx="80">
                  <c:v>0.11043533565126608</c:v>
                </c:pt>
                <c:pt idx="81">
                  <c:v>0.11833994279856859</c:v>
                </c:pt>
                <c:pt idx="82">
                  <c:v>0.11570098019471786</c:v>
                </c:pt>
                <c:pt idx="83">
                  <c:v>0.11693062740474625</c:v>
                </c:pt>
                <c:pt idx="84">
                  <c:v>0.11805182578124053</c:v>
                </c:pt>
                <c:pt idx="85">
                  <c:v>0.11516377728453331</c:v>
                </c:pt>
                <c:pt idx="86">
                  <c:v>0.11653851538745826</c:v>
                </c:pt>
                <c:pt idx="87">
                  <c:v>0.11610317620576294</c:v>
                </c:pt>
                <c:pt idx="88">
                  <c:v>0.11766032069938402</c:v>
                </c:pt>
                <c:pt idx="89">
                  <c:v>0.11737315734580042</c:v>
                </c:pt>
                <c:pt idx="90">
                  <c:v>0.11880165322450625</c:v>
                </c:pt>
                <c:pt idx="91">
                  <c:v>0.12047963358308583</c:v>
                </c:pt>
                <c:pt idx="92">
                  <c:v>0.11632210068852533</c:v>
                </c:pt>
                <c:pt idx="93">
                  <c:v>0.11710512090650911</c:v>
                </c:pt>
                <c:pt idx="94">
                  <c:v>0.11773849527745457</c:v>
                </c:pt>
                <c:pt idx="95">
                  <c:v>0.1164650233606207</c:v>
                </c:pt>
                <c:pt idx="96">
                  <c:v>0.11036778576497244</c:v>
                </c:pt>
                <c:pt idx="97">
                  <c:v>0.11240552108091495</c:v>
                </c:pt>
                <c:pt idx="98">
                  <c:v>0.11053463478112602</c:v>
                </c:pt>
                <c:pt idx="99">
                  <c:v>0.111276805642651</c:v>
                </c:pt>
                <c:pt idx="100">
                  <c:v>0.10558072162313721</c:v>
                </c:pt>
                <c:pt idx="101">
                  <c:v>0.11776208255686443</c:v>
                </c:pt>
                <c:pt idx="102">
                  <c:v>0.11690574082377227</c:v>
                </c:pt>
                <c:pt idx="103">
                  <c:v>0.1094587134474091</c:v>
                </c:pt>
                <c:pt idx="104">
                  <c:v>0.10790709155295052</c:v>
                </c:pt>
              </c:numCache>
            </c:numRef>
          </c:xVal>
          <c:yVal>
            <c:numRef>
              <c:f>Sheet1!$B$2:$B$106</c:f>
              <c:numCache>
                <c:formatCode>General</c:formatCode>
                <c:ptCount val="105"/>
                <c:pt idx="0">
                  <c:v>0.17871326449563146</c:v>
                </c:pt>
                <c:pt idx="1">
                  <c:v>0.17244395844723892</c:v>
                </c:pt>
                <c:pt idx="2">
                  <c:v>0.17025336584331602</c:v>
                </c:pt>
                <c:pt idx="3">
                  <c:v>0.17527895135954935</c:v>
                </c:pt>
                <c:pt idx="4">
                  <c:v>0.21203293223559214</c:v>
                </c:pt>
                <c:pt idx="5">
                  <c:v>0.21191523390643743</c:v>
                </c:pt>
                <c:pt idx="6">
                  <c:v>0.2379850938062195</c:v>
                </c:pt>
                <c:pt idx="7">
                  <c:v>0.22453605326533504</c:v>
                </c:pt>
                <c:pt idx="8">
                  <c:v>0.23006896551724138</c:v>
                </c:pt>
                <c:pt idx="9">
                  <c:v>0.22907280056912496</c:v>
                </c:pt>
                <c:pt idx="10">
                  <c:v>0.21959048146098506</c:v>
                </c:pt>
                <c:pt idx="11">
                  <c:v>0.2169830788278993</c:v>
                </c:pt>
                <c:pt idx="12">
                  <c:v>0.19853345554537122</c:v>
                </c:pt>
                <c:pt idx="13">
                  <c:v>0.18983121483642426</c:v>
                </c:pt>
                <c:pt idx="14">
                  <c:v>0.16496579567118985</c:v>
                </c:pt>
                <c:pt idx="15">
                  <c:v>0.15082936865115082</c:v>
                </c:pt>
                <c:pt idx="16">
                  <c:v>0.14701200983938648</c:v>
                </c:pt>
                <c:pt idx="17">
                  <c:v>0.147643475472908</c:v>
                </c:pt>
                <c:pt idx="18">
                  <c:v>0.13295118343195267</c:v>
                </c:pt>
                <c:pt idx="19">
                  <c:v>0.12522982635342186</c:v>
                </c:pt>
                <c:pt idx="20">
                  <c:v>0.16063919259882253</c:v>
                </c:pt>
                <c:pt idx="21">
                  <c:v>0.1484842633713072</c:v>
                </c:pt>
                <c:pt idx="22">
                  <c:v>0.12748835239305378</c:v>
                </c:pt>
                <c:pt idx="23">
                  <c:v>0.1453639514731369</c:v>
                </c:pt>
                <c:pt idx="24">
                  <c:v>0.1491442542787286</c:v>
                </c:pt>
                <c:pt idx="25">
                  <c:v>0.13845099383139137</c:v>
                </c:pt>
                <c:pt idx="26">
                  <c:v>0.14704225352112676</c:v>
                </c:pt>
                <c:pt idx="27">
                  <c:v>0.1636990235496841</c:v>
                </c:pt>
                <c:pt idx="28">
                  <c:v>0.17227456258411844</c:v>
                </c:pt>
                <c:pt idx="29">
                  <c:v>0.1650602409638554</c:v>
                </c:pt>
                <c:pt idx="30">
                  <c:v>0.17488692655610596</c:v>
                </c:pt>
                <c:pt idx="31">
                  <c:v>0.1566265060240964</c:v>
                </c:pt>
                <c:pt idx="32">
                  <c:v>0.16640952171038131</c:v>
                </c:pt>
                <c:pt idx="33">
                  <c:v>0.16251189343482397</c:v>
                </c:pt>
                <c:pt idx="34">
                  <c:v>0.17239574245332404</c:v>
                </c:pt>
                <c:pt idx="35">
                  <c:v>0.22559293987865417</c:v>
                </c:pt>
                <c:pt idx="36">
                  <c:v>0.18735215265730956</c:v>
                </c:pt>
                <c:pt idx="37">
                  <c:v>0.17413793103448275</c:v>
                </c:pt>
                <c:pt idx="38">
                  <c:v>0.16989128431914502</c:v>
                </c:pt>
                <c:pt idx="39">
                  <c:v>0.1693499082942735</c:v>
                </c:pt>
                <c:pt idx="40">
                  <c:v>0.16853556485355647</c:v>
                </c:pt>
                <c:pt idx="41">
                  <c:v>0.1634011090573013</c:v>
                </c:pt>
                <c:pt idx="42">
                  <c:v>0.17408335944844877</c:v>
                </c:pt>
                <c:pt idx="43">
                  <c:v>0.1715578716401536</c:v>
                </c:pt>
                <c:pt idx="44">
                  <c:v>0.16095854098186832</c:v>
                </c:pt>
                <c:pt idx="45">
                  <c:v>0.1548496315475005</c:v>
                </c:pt>
                <c:pt idx="46">
                  <c:v>0.1563079324812177</c:v>
                </c:pt>
                <c:pt idx="47">
                  <c:v>0.15777888944472235</c:v>
                </c:pt>
                <c:pt idx="48">
                  <c:v>0.15445402298850575</c:v>
                </c:pt>
                <c:pt idx="49">
                  <c:v>0.17856437598736177</c:v>
                </c:pt>
                <c:pt idx="50">
                  <c:v>0.15999038615606473</c:v>
                </c:pt>
                <c:pt idx="51">
                  <c:v>0.1646090534979424</c:v>
                </c:pt>
                <c:pt idx="52">
                  <c:v>0.16628440366972477</c:v>
                </c:pt>
                <c:pt idx="53">
                  <c:v>0.15564566437928884</c:v>
                </c:pt>
                <c:pt idx="54">
                  <c:v>0.1579898362507058</c:v>
                </c:pt>
                <c:pt idx="55">
                  <c:v>0.15723419370116032</c:v>
                </c:pt>
                <c:pt idx="56">
                  <c:v>0.1649002849002849</c:v>
                </c:pt>
                <c:pt idx="57">
                  <c:v>0.14748238177918496</c:v>
                </c:pt>
                <c:pt idx="58">
                  <c:v>0.14757606773983437</c:v>
                </c:pt>
                <c:pt idx="59">
                  <c:v>0.1363914373088685</c:v>
                </c:pt>
                <c:pt idx="60">
                  <c:v>0.13633191651335405</c:v>
                </c:pt>
                <c:pt idx="61">
                  <c:v>0.14007287518006947</c:v>
                </c:pt>
                <c:pt idx="62">
                  <c:v>0.16141627473600142</c:v>
                </c:pt>
                <c:pt idx="63">
                  <c:v>0.1601366742596811</c:v>
                </c:pt>
                <c:pt idx="64">
                  <c:v>0.15851528384279476</c:v>
                </c:pt>
                <c:pt idx="65">
                  <c:v>0.16333200478278198</c:v>
                </c:pt>
                <c:pt idx="66">
                  <c:v>0.1540864133263925</c:v>
                </c:pt>
                <c:pt idx="67">
                  <c:v>0.14832707103238504</c:v>
                </c:pt>
                <c:pt idx="68">
                  <c:v>0.13880673125956144</c:v>
                </c:pt>
                <c:pt idx="69">
                  <c:v>0.12687079500205958</c:v>
                </c:pt>
                <c:pt idx="70">
                  <c:v>0.12676238520243177</c:v>
                </c:pt>
                <c:pt idx="71">
                  <c:v>0.12544192745842608</c:v>
                </c:pt>
                <c:pt idx="72">
                  <c:v>0.1374246987951807</c:v>
                </c:pt>
                <c:pt idx="73">
                  <c:v>0.13767193071828834</c:v>
                </c:pt>
                <c:pt idx="74">
                  <c:v>0.1292578681517938</c:v>
                </c:pt>
                <c:pt idx="75">
                  <c:v>0.13484009840098402</c:v>
                </c:pt>
                <c:pt idx="76">
                  <c:v>0.13730818414322252</c:v>
                </c:pt>
                <c:pt idx="77">
                  <c:v>0.1371135671952587</c:v>
                </c:pt>
                <c:pt idx="78">
                  <c:v>0.14234234234234233</c:v>
                </c:pt>
                <c:pt idx="79">
                  <c:v>0.14733944954128442</c:v>
                </c:pt>
                <c:pt idx="80">
                  <c:v>0.14644351464435146</c:v>
                </c:pt>
                <c:pt idx="81">
                  <c:v>0.13844343092540826</c:v>
                </c:pt>
                <c:pt idx="82">
                  <c:v>0.13989637305699482</c:v>
                </c:pt>
                <c:pt idx="83">
                  <c:v>0.12342569269521411</c:v>
                </c:pt>
                <c:pt idx="84">
                  <c:v>0.12353616532721011</c:v>
                </c:pt>
                <c:pt idx="85">
                  <c:v>0.11733112993183227</c:v>
                </c:pt>
                <c:pt idx="86">
                  <c:v>0.12542061792597126</c:v>
                </c:pt>
                <c:pt idx="87">
                  <c:v>0.15615700722686693</c:v>
                </c:pt>
                <c:pt idx="88">
                  <c:v>0.16099179325999652</c:v>
                </c:pt>
                <c:pt idx="89">
                  <c:v>0.12866817155756208</c:v>
                </c:pt>
                <c:pt idx="90">
                  <c:v>0.12739222888072685</c:v>
                </c:pt>
                <c:pt idx="91">
                  <c:v>0.12940528634361234</c:v>
                </c:pt>
                <c:pt idx="92">
                  <c:v>0.1431384428960921</c:v>
                </c:pt>
                <c:pt idx="93">
                  <c:v>0.12367733956300674</c:v>
                </c:pt>
                <c:pt idx="94">
                  <c:v>0.12312166747455162</c:v>
                </c:pt>
                <c:pt idx="95">
                  <c:v>0.1336003770028275</c:v>
                </c:pt>
                <c:pt idx="96">
                  <c:v>0.13879582655307743</c:v>
                </c:pt>
                <c:pt idx="97">
                  <c:v>0.13529557259460798</c:v>
                </c:pt>
                <c:pt idx="98">
                  <c:v>0.1486593914865939</c:v>
                </c:pt>
                <c:pt idx="99">
                  <c:v>0.14808979913351714</c:v>
                </c:pt>
                <c:pt idx="100">
                  <c:v>0.1637249736564805</c:v>
                </c:pt>
                <c:pt idx="101">
                  <c:v>0.1358774212200058</c:v>
                </c:pt>
                <c:pt idx="102">
                  <c:v>0.12760005738057667</c:v>
                </c:pt>
                <c:pt idx="103">
                  <c:v>0.14489073561095722</c:v>
                </c:pt>
                <c:pt idx="104">
                  <c:v>0.1486293905608181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815650369338175</c:v>
                </c:pt>
                <c:pt idx="1">
                  <c:v>0.11726565616926572</c:v>
                </c:pt>
                <c:pt idx="2">
                  <c:v>0.12263051669138503</c:v>
                </c:pt>
                <c:pt idx="3">
                  <c:v>0.12475355876099421</c:v>
                </c:pt>
                <c:pt idx="4">
                  <c:v>0.12494699323301522</c:v>
                </c:pt>
                <c:pt idx="5">
                  <c:v>0.12152626225927128</c:v>
                </c:pt>
                <c:pt idx="6">
                  <c:v>0.12245258857762083</c:v>
                </c:pt>
                <c:pt idx="7">
                  <c:v>0.12180822697662295</c:v>
                </c:pt>
                <c:pt idx="8">
                  <c:v>0.1226549861434788</c:v>
                </c:pt>
                <c:pt idx="9">
                  <c:v>0.10646936035149962</c:v>
                </c:pt>
                <c:pt idx="10">
                  <c:v>0.10992673277017982</c:v>
                </c:pt>
                <c:pt idx="11">
                  <c:v>0.12436949060623144</c:v>
                </c:pt>
                <c:pt idx="12">
                  <c:v>0.12299751184529366</c:v>
                </c:pt>
                <c:pt idx="13">
                  <c:v>0.11151583935017083</c:v>
                </c:pt>
                <c:pt idx="14">
                  <c:v>0.11991449529588322</c:v>
                </c:pt>
                <c:pt idx="15">
                  <c:v>0.10832861414984901</c:v>
                </c:pt>
                <c:pt idx="16">
                  <c:v>0.11775199014687199</c:v>
                </c:pt>
                <c:pt idx="17">
                  <c:v>0.11980892458620256</c:v>
                </c:pt>
                <c:pt idx="18">
                  <c:v>0.12245234752221769</c:v>
                </c:pt>
                <c:pt idx="19">
                  <c:v>0.12246868929562685</c:v>
                </c:pt>
                <c:pt idx="20">
                  <c:v>0.11272260227775001</c:v>
                </c:pt>
                <c:pt idx="21">
                  <c:v>0.11634812217823998</c:v>
                </c:pt>
                <c:pt idx="22">
                  <c:v>0.11645734120924237</c:v>
                </c:pt>
                <c:pt idx="23">
                  <c:v>0.10719926149123324</c:v>
                </c:pt>
                <c:pt idx="24">
                  <c:v>0.10213128021676378</c:v>
                </c:pt>
                <c:pt idx="25">
                  <c:v>0.10484165281248448</c:v>
                </c:pt>
                <c:pt idx="26">
                  <c:v>0.10948757465146433</c:v>
                </c:pt>
                <c:pt idx="27">
                  <c:v>0.11603319738488721</c:v>
                </c:pt>
                <c:pt idx="28">
                  <c:v>0.11788811203129283</c:v>
                </c:pt>
                <c:pt idx="29">
                  <c:v>0.11764997105253092</c:v>
                </c:pt>
                <c:pt idx="30">
                  <c:v>0.11847829745374995</c:v>
                </c:pt>
                <c:pt idx="31">
                  <c:v>0.11577524299069336</c:v>
                </c:pt>
                <c:pt idx="32">
                  <c:v>0.1157956868133283</c:v>
                </c:pt>
                <c:pt idx="33">
                  <c:v>0.11795991449221853</c:v>
                </c:pt>
                <c:pt idx="34">
                  <c:v>0.12033724480563301</c:v>
                </c:pt>
                <c:pt idx="35">
                  <c:v>0.12042369661670259</c:v>
                </c:pt>
                <c:pt idx="36">
                  <c:v>0.12132350897301389</c:v>
                </c:pt>
                <c:pt idx="37">
                  <c:v>0.1175951823107528</c:v>
                </c:pt>
                <c:pt idx="38">
                  <c:v>0.11902607957647977</c:v>
                </c:pt>
                <c:pt idx="39">
                  <c:v>0.121980760874455</c:v>
                </c:pt>
                <c:pt idx="40">
                  <c:v>0.1212498900492592</c:v>
                </c:pt>
                <c:pt idx="41">
                  <c:v>0.12028606058300446</c:v>
                </c:pt>
                <c:pt idx="42">
                  <c:v>0.11966804229603138</c:v>
                </c:pt>
                <c:pt idx="43">
                  <c:v>0.11966444286382029</c:v>
                </c:pt>
                <c:pt idx="44">
                  <c:v>0.11757810737400426</c:v>
                </c:pt>
                <c:pt idx="45">
                  <c:v>0.12017138886184417</c:v>
                </c:pt>
                <c:pt idx="46">
                  <c:v>0.12115692844057718</c:v>
                </c:pt>
                <c:pt idx="47">
                  <c:v>0.12025808713589294</c:v>
                </c:pt>
                <c:pt idx="48">
                  <c:v>0.11507425008569534</c:v>
                </c:pt>
                <c:pt idx="49">
                  <c:v>0.11415735655253884</c:v>
                </c:pt>
                <c:pt idx="50">
                  <c:v>0.11297916253670215</c:v>
                </c:pt>
                <c:pt idx="51">
                  <c:v>0.11090023642536538</c:v>
                </c:pt>
              </c:numCache>
            </c:numRef>
          </c:xVal>
          <c:yVal>
            <c:numRef>
              <c:f>Sheet1!$B$109:$B$160</c:f>
              <c:numCache>
                <c:formatCode>General</c:formatCode>
                <c:ptCount val="52"/>
                <c:pt idx="0">
                  <c:v>0.16759550924804134</c:v>
                </c:pt>
                <c:pt idx="1">
                  <c:v>0.15955711956055274</c:v>
                </c:pt>
                <c:pt idx="2">
                  <c:v>0.1663496592169916</c:v>
                </c:pt>
                <c:pt idx="3">
                  <c:v>0.16841864716636198</c:v>
                </c:pt>
                <c:pt idx="4">
                  <c:v>0.15833942643594118</c:v>
                </c:pt>
                <c:pt idx="5">
                  <c:v>0.14581855442579017</c:v>
                </c:pt>
                <c:pt idx="6">
                  <c:v>0.12964761988872206</c:v>
                </c:pt>
                <c:pt idx="7">
                  <c:v>0.12263473053892215</c:v>
                </c:pt>
                <c:pt idx="8">
                  <c:v>0.13044006807682956</c:v>
                </c:pt>
                <c:pt idx="9">
                  <c:v>0.13955033780042086</c:v>
                </c:pt>
                <c:pt idx="10">
                  <c:v>0.14554038797085087</c:v>
                </c:pt>
                <c:pt idx="11">
                  <c:v>0.1365592342144551</c:v>
                </c:pt>
                <c:pt idx="12">
                  <c:v>0.14403628117913833</c:v>
                </c:pt>
                <c:pt idx="13">
                  <c:v>0.15101714488762547</c:v>
                </c:pt>
                <c:pt idx="14">
                  <c:v>0.1358304583538689</c:v>
                </c:pt>
                <c:pt idx="15">
                  <c:v>0.14728050519454064</c:v>
                </c:pt>
                <c:pt idx="16">
                  <c:v>0.1274432267540391</c:v>
                </c:pt>
                <c:pt idx="17">
                  <c:v>0.11591355599214145</c:v>
                </c:pt>
                <c:pt idx="18">
                  <c:v>0.12824850069198832</c:v>
                </c:pt>
                <c:pt idx="19">
                  <c:v>0.14616755793226383</c:v>
                </c:pt>
                <c:pt idx="20">
                  <c:v>0.13756316676024705</c:v>
                </c:pt>
                <c:pt idx="21">
                  <c:v>0.13103324991061852</c:v>
                </c:pt>
                <c:pt idx="22">
                  <c:v>0.1367814020544242</c:v>
                </c:pt>
                <c:pt idx="23">
                  <c:v>0.15877437325905291</c:v>
                </c:pt>
                <c:pt idx="24">
                  <c:v>0.15927616563417019</c:v>
                </c:pt>
                <c:pt idx="25">
                  <c:v>0.14803418803418802</c:v>
                </c:pt>
                <c:pt idx="26">
                  <c:v>0.13899811933663875</c:v>
                </c:pt>
                <c:pt idx="27">
                  <c:v>0.12880451835582052</c:v>
                </c:pt>
                <c:pt idx="28">
                  <c:v>0.12376237623762376</c:v>
                </c:pt>
                <c:pt idx="29">
                  <c:v>0.12100611828687967</c:v>
                </c:pt>
                <c:pt idx="30">
                  <c:v>0.1306049822064057</c:v>
                </c:pt>
                <c:pt idx="31">
                  <c:v>0.11788372560852947</c:v>
                </c:pt>
                <c:pt idx="32">
                  <c:v>0.11280761631040058</c:v>
                </c:pt>
                <c:pt idx="33">
                  <c:v>0.13306959180003597</c:v>
                </c:pt>
                <c:pt idx="34">
                  <c:v>0.1514814814814815</c:v>
                </c:pt>
                <c:pt idx="35">
                  <c:v>0.16462418300653595</c:v>
                </c:pt>
                <c:pt idx="36">
                  <c:v>0.13451029844472467</c:v>
                </c:pt>
                <c:pt idx="37">
                  <c:v>0.13987820631112752</c:v>
                </c:pt>
                <c:pt idx="38">
                  <c:v>0.13057919867137222</c:v>
                </c:pt>
                <c:pt idx="39">
                  <c:v>0.15516976494085113</c:v>
                </c:pt>
                <c:pt idx="40">
                  <c:v>0.14730073276506656</c:v>
                </c:pt>
                <c:pt idx="41">
                  <c:v>0.15453005927180355</c:v>
                </c:pt>
                <c:pt idx="42">
                  <c:v>0.1465903819390753</c:v>
                </c:pt>
                <c:pt idx="43">
                  <c:v>0.15350039330261828</c:v>
                </c:pt>
                <c:pt idx="44">
                  <c:v>0.14648492204275979</c:v>
                </c:pt>
                <c:pt idx="45">
                  <c:v>0.14991050119331742</c:v>
                </c:pt>
                <c:pt idx="46">
                  <c:v>0.15446855461566752</c:v>
                </c:pt>
                <c:pt idx="47">
                  <c:v>0.1564245810055866</c:v>
                </c:pt>
                <c:pt idx="48">
                  <c:v>0.16450281425891183</c:v>
                </c:pt>
                <c:pt idx="49">
                  <c:v>0.17764407853071565</c:v>
                </c:pt>
                <c:pt idx="50">
                  <c:v>0.20582333428887342</c:v>
                </c:pt>
                <c:pt idx="51">
                  <c:v>0.1861741283544134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14712253954605882</c:v>
                </c:pt>
              </c:numCache>
            </c:numRef>
          </c:xVal>
          <c:yVal>
            <c:numRef>
              <c:f>Sheet1!$B$163:$B$164</c:f>
              <c:numCache>
                <c:formatCode>General</c:formatCode>
                <c:ptCount val="2"/>
                <c:pt idx="0">
                  <c:v>0.20146975765295125</c:v>
                </c:pt>
                <c:pt idx="1">
                  <c:v>0.2014697576529512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14712253954605882</c:v>
                </c:pt>
                <c:pt idx="1">
                  <c:v>0.014712253954605882</c:v>
                </c:pt>
              </c:numCache>
            </c:numRef>
          </c:xVal>
          <c:yVal>
            <c:numRef>
              <c:f>Sheet1!$B$167:$B$168</c:f>
              <c:numCache>
                <c:formatCode>General</c:formatCode>
                <c:ptCount val="2"/>
                <c:pt idx="0">
                  <c:v>0.201469757652951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4759691429490281</c:v>
                </c:pt>
              </c:numCache>
            </c:numRef>
          </c:xVal>
          <c:yVal>
            <c:numRef>
              <c:f>Sheet1!$B$171:$B$172</c:f>
              <c:numCache>
                <c:formatCode>General</c:formatCode>
                <c:ptCount val="2"/>
                <c:pt idx="0">
                  <c:v>0.18353608885822859</c:v>
                </c:pt>
                <c:pt idx="1">
                  <c:v>0.1835360888582285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4759691429490281</c:v>
                </c:pt>
                <c:pt idx="1">
                  <c:v>0.04759691429490281</c:v>
                </c:pt>
              </c:numCache>
            </c:numRef>
          </c:xVal>
          <c:yVal>
            <c:numRef>
              <c:f>Sheet1!$B$175:$B$176</c:f>
              <c:numCache>
                <c:formatCode>General</c:formatCode>
                <c:ptCount val="2"/>
                <c:pt idx="0">
                  <c:v>0.1835360888582285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8814174431272981</c:v>
                </c:pt>
              </c:numCache>
            </c:numRef>
          </c:xVal>
          <c:yVal>
            <c:numRef>
              <c:f>Sheet1!$B$179:$B$180</c:f>
              <c:numCache>
                <c:formatCode>General</c:formatCode>
                <c:ptCount val="2"/>
                <c:pt idx="0">
                  <c:v>0.16142494203920466</c:v>
                </c:pt>
                <c:pt idx="1">
                  <c:v>0.1614249420392046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8814174431272981</c:v>
                </c:pt>
                <c:pt idx="1">
                  <c:v>0.08814174431272981</c:v>
                </c:pt>
              </c:numCache>
            </c:numRef>
          </c:xVal>
          <c:yVal>
            <c:numRef>
              <c:f>Sheet1!$B$183:$B$184</c:f>
              <c:numCache>
                <c:formatCode>General</c:formatCode>
                <c:ptCount val="2"/>
                <c:pt idx="0">
                  <c:v>0.1614249420392046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815650369338175</c:v>
                </c:pt>
                <c:pt idx="1">
                  <c:v>0.11726565616926572</c:v>
                </c:pt>
                <c:pt idx="2">
                  <c:v>0.12263051669138503</c:v>
                </c:pt>
                <c:pt idx="3">
                  <c:v>0.12475355876099421</c:v>
                </c:pt>
                <c:pt idx="4">
                  <c:v>0.12494699323301522</c:v>
                </c:pt>
                <c:pt idx="5">
                  <c:v>0.12152626225927128</c:v>
                </c:pt>
                <c:pt idx="6">
                  <c:v>0.12245258857762083</c:v>
                </c:pt>
                <c:pt idx="7">
                  <c:v>0.12180822697662295</c:v>
                </c:pt>
                <c:pt idx="8">
                  <c:v>0.1226549861434788</c:v>
                </c:pt>
                <c:pt idx="9">
                  <c:v>0.10646936035149962</c:v>
                </c:pt>
                <c:pt idx="10">
                  <c:v>0.10992673277017982</c:v>
                </c:pt>
                <c:pt idx="11">
                  <c:v>0.12436949060623144</c:v>
                </c:pt>
                <c:pt idx="12">
                  <c:v>0.12299751184529366</c:v>
                </c:pt>
                <c:pt idx="13">
                  <c:v>0.11151583935017083</c:v>
                </c:pt>
                <c:pt idx="14">
                  <c:v>0.11991449529588322</c:v>
                </c:pt>
                <c:pt idx="15">
                  <c:v>0.10832861414984901</c:v>
                </c:pt>
                <c:pt idx="16">
                  <c:v>0.11775199014687199</c:v>
                </c:pt>
                <c:pt idx="17">
                  <c:v>0.11980892458620256</c:v>
                </c:pt>
                <c:pt idx="18">
                  <c:v>0.12245234752221769</c:v>
                </c:pt>
                <c:pt idx="19">
                  <c:v>0.12246868929562685</c:v>
                </c:pt>
                <c:pt idx="20">
                  <c:v>0.11272260227775001</c:v>
                </c:pt>
                <c:pt idx="21">
                  <c:v>0.11634812217823998</c:v>
                </c:pt>
                <c:pt idx="22">
                  <c:v>0.11645734120924237</c:v>
                </c:pt>
                <c:pt idx="23">
                  <c:v>0.10719926149123324</c:v>
                </c:pt>
                <c:pt idx="24">
                  <c:v>0.10213128021676378</c:v>
                </c:pt>
                <c:pt idx="25">
                  <c:v>0.10484165281248448</c:v>
                </c:pt>
                <c:pt idx="26">
                  <c:v>0.10948757465146433</c:v>
                </c:pt>
                <c:pt idx="27">
                  <c:v>0.11603319738488721</c:v>
                </c:pt>
                <c:pt idx="28">
                  <c:v>0.11788811203129283</c:v>
                </c:pt>
                <c:pt idx="29">
                  <c:v>0.11764997105253092</c:v>
                </c:pt>
                <c:pt idx="30">
                  <c:v>0.11847829745374995</c:v>
                </c:pt>
                <c:pt idx="31">
                  <c:v>0.11577524299069336</c:v>
                </c:pt>
                <c:pt idx="32">
                  <c:v>0.1157956868133283</c:v>
                </c:pt>
                <c:pt idx="33">
                  <c:v>0.11795991449221853</c:v>
                </c:pt>
                <c:pt idx="34">
                  <c:v>0.12033724480563301</c:v>
                </c:pt>
                <c:pt idx="35">
                  <c:v>0.12042369661670259</c:v>
                </c:pt>
                <c:pt idx="36">
                  <c:v>0.12132350897301389</c:v>
                </c:pt>
                <c:pt idx="37">
                  <c:v>0.1175951823107528</c:v>
                </c:pt>
                <c:pt idx="38">
                  <c:v>0.11902607957647977</c:v>
                </c:pt>
                <c:pt idx="39">
                  <c:v>0.121980760874455</c:v>
                </c:pt>
                <c:pt idx="40">
                  <c:v>0.1212498900492592</c:v>
                </c:pt>
                <c:pt idx="41">
                  <c:v>0.12028606058300446</c:v>
                </c:pt>
                <c:pt idx="42">
                  <c:v>0.11966804229603138</c:v>
                </c:pt>
                <c:pt idx="43">
                  <c:v>0.11966444286382029</c:v>
                </c:pt>
                <c:pt idx="44">
                  <c:v>0.11757810737400426</c:v>
                </c:pt>
                <c:pt idx="45">
                  <c:v>0.12017138886184417</c:v>
                </c:pt>
                <c:pt idx="46">
                  <c:v>0.12115692844057718</c:v>
                </c:pt>
                <c:pt idx="47">
                  <c:v>0.12025808713589294</c:v>
                </c:pt>
                <c:pt idx="48">
                  <c:v>0.11507425008569534</c:v>
                </c:pt>
                <c:pt idx="49">
                  <c:v>0.11415735655253884</c:v>
                </c:pt>
                <c:pt idx="50">
                  <c:v>0.11297916253670215</c:v>
                </c:pt>
                <c:pt idx="51">
                  <c:v>0.11090023642536538</c:v>
                </c:pt>
                <c:pt idx="52">
                  <c:v>0.04759691429490281</c:v>
                </c:pt>
                <c:pt idx="53">
                  <c:v>0.014712253954605882</c:v>
                </c:pt>
                <c:pt idx="54">
                  <c:v>0.08814174431272981</c:v>
                </c:pt>
              </c:numCache>
            </c:numRef>
          </c:xVal>
          <c:yVal>
            <c:numRef>
              <c:f>Sheet1!$B$187:$B$241</c:f>
              <c:numCache>
                <c:formatCode>General</c:formatCode>
                <c:ptCount val="55"/>
                <c:pt idx="0">
                  <c:v>0.145056375415261</c:v>
                </c:pt>
                <c:pt idx="1">
                  <c:v>0.14554219963478376</c:v>
                </c:pt>
                <c:pt idx="2">
                  <c:v>0.14261646980397652</c:v>
                </c:pt>
                <c:pt idx="3">
                  <c:v>0.1414586675667134</c:v>
                </c:pt>
                <c:pt idx="4">
                  <c:v>0.14135317796399868</c:v>
                </c:pt>
                <c:pt idx="5">
                  <c:v>0.14321867560588247</c:v>
                </c:pt>
                <c:pt idx="6">
                  <c:v>0.14271350300512553</c:v>
                </c:pt>
                <c:pt idx="7">
                  <c:v>0.14306490598197713</c:v>
                </c:pt>
                <c:pt idx="8">
                  <c:v>0.14260312537393233</c:v>
                </c:pt>
                <c:pt idx="9">
                  <c:v>0.15142996588816993</c:v>
                </c:pt>
                <c:pt idx="10">
                  <c:v>0.14954448581280966</c:v>
                </c:pt>
                <c:pt idx="11">
                  <c:v>0.1416681193600675</c:v>
                </c:pt>
                <c:pt idx="12">
                  <c:v>0.142416328781647</c:v>
                </c:pt>
                <c:pt idx="13">
                  <c:v>0.14867786560782154</c:v>
                </c:pt>
                <c:pt idx="14">
                  <c:v>0.1440976536642405</c:v>
                </c:pt>
                <c:pt idx="15">
                  <c:v>0.1504160207392803</c:v>
                </c:pt>
                <c:pt idx="16">
                  <c:v>0.14527697711499016</c:v>
                </c:pt>
                <c:pt idx="17">
                  <c:v>0.14415522671265407</c:v>
                </c:pt>
                <c:pt idx="18">
                  <c:v>0.14271363446483096</c:v>
                </c:pt>
                <c:pt idx="19">
                  <c:v>0.14270472246912214</c:v>
                </c:pt>
                <c:pt idx="20">
                  <c:v>0.14801975673781947</c:v>
                </c:pt>
                <c:pt idx="21">
                  <c:v>0.1460425773346803</c:v>
                </c:pt>
                <c:pt idx="22">
                  <c:v>0.14598301467209512</c:v>
                </c:pt>
                <c:pt idx="23">
                  <c:v>0.15103191387372256</c:v>
                </c:pt>
                <c:pt idx="24">
                  <c:v>0.15379574043278293</c:v>
                </c:pt>
                <c:pt idx="25">
                  <c:v>0.15231763714879112</c:v>
                </c:pt>
                <c:pt idx="26">
                  <c:v>0.14978398095030107</c:v>
                </c:pt>
                <c:pt idx="27">
                  <c:v>0.14621432175535518</c:v>
                </c:pt>
                <c:pt idx="28">
                  <c:v>0.14520274296552182</c:v>
                </c:pt>
                <c:pt idx="29">
                  <c:v>0.14533261328789623</c:v>
                </c:pt>
                <c:pt idx="30">
                  <c:v>0.14488088499939744</c:v>
                </c:pt>
                <c:pt idx="31">
                  <c:v>0.1463549973354507</c:v>
                </c:pt>
                <c:pt idx="32">
                  <c:v>0.14634384828479186</c:v>
                </c:pt>
                <c:pt idx="33">
                  <c:v>0.14516358545136288</c:v>
                </c:pt>
                <c:pt idx="34">
                  <c:v>0.14386710697126784</c:v>
                </c:pt>
                <c:pt idx="35">
                  <c:v>0.14381996042541995</c:v>
                </c:pt>
                <c:pt idx="36">
                  <c:v>0.14332924722940402</c:v>
                </c:pt>
                <c:pt idx="37">
                  <c:v>0.14536249236034401</c:v>
                </c:pt>
                <c:pt idx="38">
                  <c:v>0.1445821516976376</c:v>
                </c:pt>
                <c:pt idx="39">
                  <c:v>0.142970814519649</c:v>
                </c:pt>
                <c:pt idx="40">
                  <c:v>0.14336939535263163</c:v>
                </c:pt>
                <c:pt idx="41">
                  <c:v>0.1438950203170843</c:v>
                </c:pt>
                <c:pt idx="42">
                  <c:v>0.14423205695218907</c:v>
                </c:pt>
                <c:pt idx="43">
                  <c:v>0.1442340199046555</c:v>
                </c:pt>
                <c:pt idx="44">
                  <c:v>0.14537180418710977</c:v>
                </c:pt>
                <c:pt idx="45">
                  <c:v>0.14395755660744367</c:v>
                </c:pt>
                <c:pt idx="46">
                  <c:v>0.14342009202042372</c:v>
                </c:pt>
                <c:pt idx="47">
                  <c:v>0.1439102756528656</c:v>
                </c:pt>
                <c:pt idx="48">
                  <c:v>0.146737284227138</c:v>
                </c:pt>
                <c:pt idx="49">
                  <c:v>0.14723731265296008</c:v>
                </c:pt>
                <c:pt idx="50">
                  <c:v>0.14787984145019528</c:v>
                </c:pt>
                <c:pt idx="51">
                  <c:v>0.14901358502375223</c:v>
                </c:pt>
                <c:pt idx="52">
                  <c:v>0.18353608885822859</c:v>
                </c:pt>
                <c:pt idx="53">
                  <c:v>0.20146975765295125</c:v>
                </c:pt>
                <c:pt idx="54">
                  <c:v>0.1614249420392046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558211256746335"/>
          <c:min val="0.0902460930483204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820651282300954</c:v>
                </c:pt>
                <c:pt idx="1">
                  <c:v>2.849831004152835</c:v>
                </c:pt>
                <c:pt idx="2">
                  <c:v>2.2980926638730637</c:v>
                </c:pt>
                <c:pt idx="3">
                  <c:v>2.1656098523016025</c:v>
                </c:pt>
                <c:pt idx="4">
                  <c:v>2.850734314041304</c:v>
                </c:pt>
                <c:pt idx="5">
                  <c:v>2.770641228984065</c:v>
                </c:pt>
                <c:pt idx="6">
                  <c:v>2.271166565439938</c:v>
                </c:pt>
                <c:pt idx="7">
                  <c:v>2.2372464663166602</c:v>
                </c:pt>
                <c:pt idx="8">
                  <c:v>2.158246826759605</c:v>
                </c:pt>
                <c:pt idx="9">
                  <c:v>2.404044281603901</c:v>
                </c:pt>
                <c:pt idx="10">
                  <c:v>2.680966412290188</c:v>
                </c:pt>
                <c:pt idx="11">
                  <c:v>2.372679157101124</c:v>
                </c:pt>
                <c:pt idx="12">
                  <c:v>2.46946015303866</c:v>
                </c:pt>
                <c:pt idx="13">
                  <c:v>2.411876437573593</c:v>
                </c:pt>
                <c:pt idx="14">
                  <c:v>2.9714016690538405</c:v>
                </c:pt>
                <c:pt idx="15">
                  <c:v>2.3367130894501993</c:v>
                </c:pt>
                <c:pt idx="16">
                  <c:v>3.197919157752645</c:v>
                </c:pt>
                <c:pt idx="17">
                  <c:v>2.3695993256990695</c:v>
                </c:pt>
                <c:pt idx="18">
                  <c:v>3.1630094815382326</c:v>
                </c:pt>
                <c:pt idx="19">
                  <c:v>2.702845426200679</c:v>
                </c:pt>
                <c:pt idx="20">
                  <c:v>2.206576979506204</c:v>
                </c:pt>
                <c:pt idx="21">
                  <c:v>4.451638905310196</c:v>
                </c:pt>
                <c:pt idx="22">
                  <c:v>1.9602869196267037</c:v>
                </c:pt>
                <c:pt idx="23">
                  <c:v>2.4345217491634936</c:v>
                </c:pt>
                <c:pt idx="24">
                  <c:v>1.7131129515671748</c:v>
                </c:pt>
                <c:pt idx="25">
                  <c:v>1.6531695685024144</c:v>
                </c:pt>
                <c:pt idx="26">
                  <c:v>1.963794787492504</c:v>
                </c:pt>
                <c:pt idx="27">
                  <c:v>1.8888678771457568</c:v>
                </c:pt>
                <c:pt idx="28">
                  <c:v>1.985771937540453</c:v>
                </c:pt>
                <c:pt idx="29">
                  <c:v>1.8937532791382794</c:v>
                </c:pt>
                <c:pt idx="30">
                  <c:v>1.8591134131752114</c:v>
                </c:pt>
                <c:pt idx="31">
                  <c:v>1.9986522553193933</c:v>
                </c:pt>
                <c:pt idx="32">
                  <c:v>2.558596529718019</c:v>
                </c:pt>
                <c:pt idx="33">
                  <c:v>1.5925298001999435</c:v>
                </c:pt>
                <c:pt idx="34">
                  <c:v>1.8714875480846653</c:v>
                </c:pt>
                <c:pt idx="35">
                  <c:v>1.9614222390741338</c:v>
                </c:pt>
                <c:pt idx="36">
                  <c:v>1.8383043985892418</c:v>
                </c:pt>
                <c:pt idx="37">
                  <c:v>1.866881894685581</c:v>
                </c:pt>
                <c:pt idx="38">
                  <c:v>1.921314098135651</c:v>
                </c:pt>
                <c:pt idx="39">
                  <c:v>2.3359387112059955</c:v>
                </c:pt>
                <c:pt idx="40">
                  <c:v>2.6467392438877217</c:v>
                </c:pt>
                <c:pt idx="41">
                  <c:v>2.4082747073674766</c:v>
                </c:pt>
                <c:pt idx="42">
                  <c:v>2.1404566257845286</c:v>
                </c:pt>
                <c:pt idx="43">
                  <c:v>1.8776896938817111</c:v>
                </c:pt>
                <c:pt idx="44">
                  <c:v>1.8927782619280316</c:v>
                </c:pt>
                <c:pt idx="45">
                  <c:v>2.0050651466349567</c:v>
                </c:pt>
                <c:pt idx="46">
                  <c:v>1.9677528366195918</c:v>
                </c:pt>
                <c:pt idx="47">
                  <c:v>1.7670701733327425</c:v>
                </c:pt>
                <c:pt idx="48">
                  <c:v>2.4856053034917975</c:v>
                </c:pt>
                <c:pt idx="49">
                  <c:v>2.130324895688182</c:v>
                </c:pt>
                <c:pt idx="50">
                  <c:v>2.0405705459967916</c:v>
                </c:pt>
                <c:pt idx="51">
                  <c:v>1.7735721906715247</c:v>
                </c:pt>
                <c:pt idx="52">
                  <c:v>2.0943154099825962</c:v>
                </c:pt>
                <c:pt idx="53">
                  <c:v>1.9677938042437897</c:v>
                </c:pt>
                <c:pt idx="54">
                  <c:v>1.6741252518501617</c:v>
                </c:pt>
                <c:pt idx="55">
                  <c:v>1.7767164614832844</c:v>
                </c:pt>
                <c:pt idx="56">
                  <c:v>1.459514835317772</c:v>
                </c:pt>
                <c:pt idx="57">
                  <c:v>1.5444031910017977</c:v>
                </c:pt>
                <c:pt idx="58">
                  <c:v>1.379982222586479</c:v>
                </c:pt>
                <c:pt idx="59">
                  <c:v>1.5655185177963797</c:v>
                </c:pt>
                <c:pt idx="60">
                  <c:v>1.5111670117960865</c:v>
                </c:pt>
                <c:pt idx="61">
                  <c:v>1.5609501039385707</c:v>
                </c:pt>
                <c:pt idx="62">
                  <c:v>1.4355991128182404</c:v>
                </c:pt>
                <c:pt idx="63">
                  <c:v>1.5974940300545706</c:v>
                </c:pt>
                <c:pt idx="64">
                  <c:v>1.490471683730161</c:v>
                </c:pt>
                <c:pt idx="65">
                  <c:v>1.530859565456</c:v>
                </c:pt>
                <c:pt idx="66">
                  <c:v>1.4317689699459901</c:v>
                </c:pt>
                <c:pt idx="67">
                  <c:v>1.5460844083363732</c:v>
                </c:pt>
                <c:pt idx="68">
                  <c:v>1.2457651496407416</c:v>
                </c:pt>
                <c:pt idx="69">
                  <c:v>1.1492992367163857</c:v>
                </c:pt>
                <c:pt idx="70">
                  <c:v>1.3135394071257356</c:v>
                </c:pt>
                <c:pt idx="71">
                  <c:v>0.9894388622759718</c:v>
                </c:pt>
                <c:pt idx="72">
                  <c:v>1.1715628789448929</c:v>
                </c:pt>
                <c:pt idx="73">
                  <c:v>0.8866821052476436</c:v>
                </c:pt>
                <c:pt idx="74">
                  <c:v>1.0668977611045611</c:v>
                </c:pt>
                <c:pt idx="75">
                  <c:v>1.608153731895252</c:v>
                </c:pt>
                <c:pt idx="76">
                  <c:v>1.6452172004298786</c:v>
                </c:pt>
                <c:pt idx="77">
                  <c:v>1.953303132011525</c:v>
                </c:pt>
                <c:pt idx="78">
                  <c:v>1.6019338828501797</c:v>
                </c:pt>
                <c:pt idx="79">
                  <c:v>2.2288467551463684</c:v>
                </c:pt>
                <c:pt idx="80">
                  <c:v>1.9586134260252972</c:v>
                </c:pt>
                <c:pt idx="81">
                  <c:v>1.965697252249661</c:v>
                </c:pt>
                <c:pt idx="82">
                  <c:v>1.9391350696533458</c:v>
                </c:pt>
                <c:pt idx="83">
                  <c:v>2.2676001192764508</c:v>
                </c:pt>
                <c:pt idx="84">
                  <c:v>2.013579026364099</c:v>
                </c:pt>
                <c:pt idx="85">
                  <c:v>1.90739381507219</c:v>
                </c:pt>
                <c:pt idx="86">
                  <c:v>2.6490067838925047</c:v>
                </c:pt>
                <c:pt idx="87">
                  <c:v>2.6369428150855603</c:v>
                </c:pt>
                <c:pt idx="88">
                  <c:v>2.240260226900458</c:v>
                </c:pt>
                <c:pt idx="89">
                  <c:v>2.1536574253143614</c:v>
                </c:pt>
                <c:pt idx="90">
                  <c:v>2.4140852159049078</c:v>
                </c:pt>
                <c:pt idx="91">
                  <c:v>2.0409814323682514</c:v>
                </c:pt>
                <c:pt idx="92">
                  <c:v>2.3948060440410144</c:v>
                </c:pt>
                <c:pt idx="93">
                  <c:v>2.547074519256991</c:v>
                </c:pt>
                <c:pt idx="94">
                  <c:v>2.5038936764197426</c:v>
                </c:pt>
                <c:pt idx="95">
                  <c:v>2.5700496486629056</c:v>
                </c:pt>
                <c:pt idx="96">
                  <c:v>2.2141919739737266</c:v>
                </c:pt>
                <c:pt idx="97">
                  <c:v>2.3340738542005663</c:v>
                </c:pt>
                <c:pt idx="98">
                  <c:v>2.2826741376431277</c:v>
                </c:pt>
                <c:pt idx="99">
                  <c:v>2.4331342541919696</c:v>
                </c:pt>
                <c:pt idx="100">
                  <c:v>2.7234952780202457</c:v>
                </c:pt>
                <c:pt idx="101">
                  <c:v>2.3729213013889803</c:v>
                </c:pt>
                <c:pt idx="102">
                  <c:v>2.3547018323244777</c:v>
                </c:pt>
                <c:pt idx="103">
                  <c:v>2.495098783164512</c:v>
                </c:pt>
                <c:pt idx="104">
                  <c:v>2.6044871303053694</c:v>
                </c:pt>
              </c:numCache>
            </c:numRef>
          </c:xVal>
          <c:yVal>
            <c:numRef>
              <c:f>Sheet1!$B$2:$B$106</c:f>
              <c:numCache>
                <c:formatCode>General</c:formatCode>
                <c:ptCount val="105"/>
                <c:pt idx="0">
                  <c:v>0.00036313292934794946</c:v>
                </c:pt>
                <c:pt idx="1">
                  <c:v>0.0001180052394326308</c:v>
                </c:pt>
                <c:pt idx="2">
                  <c:v>0.0001380738695201933</c:v>
                </c:pt>
                <c:pt idx="3">
                  <c:v>0.00012080796366096453</c:v>
                </c:pt>
                <c:pt idx="4">
                  <c:v>8.474336883138894e-05</c:v>
                </c:pt>
                <c:pt idx="5">
                  <c:v>0.00017300040366760857</c:v>
                </c:pt>
                <c:pt idx="6">
                  <c:v>0.0003105064077231412</c:v>
                </c:pt>
                <c:pt idx="7">
                  <c:v>0.00025602457835952253</c:v>
                </c:pt>
                <c:pt idx="8">
                  <c:v>0.0002340276152586005</c:v>
                </c:pt>
                <c:pt idx="9">
                  <c:v>0.0002367673366305377</c:v>
                </c:pt>
                <c:pt idx="10">
                  <c:v>0.00015051173991571343</c:v>
                </c:pt>
                <c:pt idx="11">
                  <c:v>0.0002527805864509606</c:v>
                </c:pt>
                <c:pt idx="12">
                  <c:v>0.0002554337729890396</c:v>
                </c:pt>
                <c:pt idx="13">
                  <c:v>0.0002448639780601876</c:v>
                </c:pt>
                <c:pt idx="14">
                  <c:v>7.260582298700355e-05</c:v>
                </c:pt>
                <c:pt idx="15">
                  <c:v>0.0001733452748967151</c:v>
                </c:pt>
                <c:pt idx="16">
                  <c:v>6.55780706931602e-05</c:v>
                </c:pt>
                <c:pt idx="17">
                  <c:v>0.00014305639998569435</c:v>
                </c:pt>
                <c:pt idx="18">
                  <c:v>7.898270278808941e-05</c:v>
                </c:pt>
                <c:pt idx="19">
                  <c:v>0.00013928223222990855</c:v>
                </c:pt>
                <c:pt idx="20">
                  <c:v>0.0001914168676543777</c:v>
                </c:pt>
                <c:pt idx="21">
                  <c:v>4.51773209848656e-05</c:v>
                </c:pt>
                <c:pt idx="22">
                  <c:v>0.0003267058713712312</c:v>
                </c:pt>
                <c:pt idx="23">
                  <c:v>0.0002458210422812193</c:v>
                </c:pt>
                <c:pt idx="24">
                  <c:v>0.0004160502958579882</c:v>
                </c:pt>
                <c:pt idx="25">
                  <c:v>0.0005230125523012552</c:v>
                </c:pt>
                <c:pt idx="26">
                  <c:v>0.0004662222015012355</c:v>
                </c:pt>
                <c:pt idx="27">
                  <c:v>0.00022745882995177873</c:v>
                </c:pt>
                <c:pt idx="28">
                  <c:v>0.00023182492581602375</c:v>
                </c:pt>
                <c:pt idx="29">
                  <c:v>0.00036588340515489066</c:v>
                </c:pt>
                <c:pt idx="30">
                  <c:v>0.00026104207998329333</c:v>
                </c:pt>
                <c:pt idx="31">
                  <c:v>0.00030453761039488374</c:v>
                </c:pt>
                <c:pt idx="32">
                  <c:v>0.00020004000800160032</c:v>
                </c:pt>
                <c:pt idx="33">
                  <c:v>0.0005195428023339461</c:v>
                </c:pt>
                <c:pt idx="34">
                  <c:v>0.0005066406108638222</c:v>
                </c:pt>
                <c:pt idx="35">
                  <c:v>0.0005345687811831789</c:v>
                </c:pt>
                <c:pt idx="36">
                  <c:v>0.00033811706364114506</c:v>
                </c:pt>
                <c:pt idx="37">
                  <c:v>0.00026327336551118914</c:v>
                </c:pt>
                <c:pt idx="38">
                  <c:v>0.00021714583514288196</c:v>
                </c:pt>
                <c:pt idx="39">
                  <c:v>0.00027820280984837946</c:v>
                </c:pt>
                <c:pt idx="40">
                  <c:v>0.00015428527347064721</c:v>
                </c:pt>
                <c:pt idx="41">
                  <c:v>0.00016618196925633567</c:v>
                </c:pt>
                <c:pt idx="42">
                  <c:v>0.00010635280771412365</c:v>
                </c:pt>
                <c:pt idx="43">
                  <c:v>0.00022198262193188305</c:v>
                </c:pt>
                <c:pt idx="44">
                  <c:v>0.00019422085068732602</c:v>
                </c:pt>
                <c:pt idx="45">
                  <c:v>0.0001392065228199264</c:v>
                </c:pt>
                <c:pt idx="46">
                  <c:v>0.0002866479390013186</c:v>
                </c:pt>
                <c:pt idx="47">
                  <c:v>0.0003465937536103516</c:v>
                </c:pt>
                <c:pt idx="48">
                  <c:v>0.00017395085888236573</c:v>
                </c:pt>
                <c:pt idx="49">
                  <c:v>0.0001764757786993735</c:v>
                </c:pt>
                <c:pt idx="50">
                  <c:v>0.0002607124899905026</c:v>
                </c:pt>
                <c:pt idx="51">
                  <c:v>0.00033724537973829757</c:v>
                </c:pt>
                <c:pt idx="52">
                  <c:v>0.00011712573447595994</c:v>
                </c:pt>
                <c:pt idx="53">
                  <c:v>0.00014421690222094028</c:v>
                </c:pt>
                <c:pt idx="54">
                  <c:v>0.00034161082643542243</c:v>
                </c:pt>
                <c:pt idx="55">
                  <c:v>0.0002166553825321598</c:v>
                </c:pt>
                <c:pt idx="56">
                  <c:v>0.00021784119376974185</c:v>
                </c:pt>
                <c:pt idx="57">
                  <c:v>0.00014241633040588654</c:v>
                </c:pt>
                <c:pt idx="58">
                  <c:v>0.00015347848012453683</c:v>
                </c:pt>
                <c:pt idx="59">
                  <c:v>0.0001909798736594682</c:v>
                </c:pt>
                <c:pt idx="60">
                  <c:v>0.00033729521362030194</c:v>
                </c:pt>
                <c:pt idx="61">
                  <c:v>0.00034526661056084244</c:v>
                </c:pt>
                <c:pt idx="62">
                  <c:v>0.00037922679869377434</c:v>
                </c:pt>
                <c:pt idx="63">
                  <c:v>0.0003265902061360536</c:v>
                </c:pt>
                <c:pt idx="64">
                  <c:v>0.00044982569254413917</c:v>
                </c:pt>
                <c:pt idx="65">
                  <c:v>0.0003264639869414405</c:v>
                </c:pt>
                <c:pt idx="66">
                  <c:v>0.00035840026985432084</c:v>
                </c:pt>
                <c:pt idx="67">
                  <c:v>0.00026140943252369025</c:v>
                </c:pt>
                <c:pt idx="68">
                  <c:v>0.00042267659956675646</c:v>
                </c:pt>
                <c:pt idx="69">
                  <c:v>0.00044499212706236737</c:v>
                </c:pt>
                <c:pt idx="70">
                  <c:v>0.00035560728025086475</c:v>
                </c:pt>
                <c:pt idx="71">
                  <c:v>0.00037821482602118004</c:v>
                </c:pt>
                <c:pt idx="72">
                  <c:v>0.0005287857756626346</c:v>
                </c:pt>
                <c:pt idx="73">
                  <c:v>0.0008655011251514627</c:v>
                </c:pt>
                <c:pt idx="74">
                  <c:v>0.0009342052582410249</c:v>
                </c:pt>
                <c:pt idx="75">
                  <c:v>0.0009785118791342127</c:v>
                </c:pt>
                <c:pt idx="76">
                  <c:v>0.001377582968065122</c:v>
                </c:pt>
                <c:pt idx="77">
                  <c:v>0.0012530804895367778</c:v>
                </c:pt>
                <c:pt idx="78">
                  <c:v>0.0017800442605599924</c:v>
                </c:pt>
                <c:pt idx="79">
                  <c:v>0.0012622012790306295</c:v>
                </c:pt>
                <c:pt idx="80">
                  <c:v>0.001277737552706674</c:v>
                </c:pt>
                <c:pt idx="81">
                  <c:v>0.001474607970076248</c:v>
                </c:pt>
                <c:pt idx="82">
                  <c:v>0.0015154298310066127</c:v>
                </c:pt>
                <c:pt idx="83">
                  <c:v>0.0012142329215499947</c:v>
                </c:pt>
                <c:pt idx="84">
                  <c:v>0.0013257471137380545</c:v>
                </c:pt>
                <c:pt idx="85">
                  <c:v>0.0011378252696151183</c:v>
                </c:pt>
                <c:pt idx="86">
                  <c:v>0.0010361927318481238</c:v>
                </c:pt>
                <c:pt idx="87">
                  <c:v>0.0009866450544416647</c:v>
                </c:pt>
                <c:pt idx="88">
                  <c:v>0.001400131262305841</c:v>
                </c:pt>
                <c:pt idx="89">
                  <c:v>0.0016241520970669723</c:v>
                </c:pt>
                <c:pt idx="90">
                  <c:v>0.0014310387367382185</c:v>
                </c:pt>
                <c:pt idx="91">
                  <c:v>0.0016291193446285608</c:v>
                </c:pt>
                <c:pt idx="92">
                  <c:v>0.001333790632978926</c:v>
                </c:pt>
                <c:pt idx="93">
                  <c:v>0.001266577261212934</c:v>
                </c:pt>
                <c:pt idx="94">
                  <c:v>0.0014334499768118387</c:v>
                </c:pt>
                <c:pt idx="95">
                  <c:v>0.0014944036109670927</c:v>
                </c:pt>
                <c:pt idx="96">
                  <c:v>0.0018807514049660793</c:v>
                </c:pt>
                <c:pt idx="97">
                  <c:v>0.002286209818876998</c:v>
                </c:pt>
                <c:pt idx="98">
                  <c:v>0.002183143382668936</c:v>
                </c:pt>
                <c:pt idx="99">
                  <c:v>0.0020329456784956203</c:v>
                </c:pt>
                <c:pt idx="100">
                  <c:v>0.0015614231564438318</c:v>
                </c:pt>
                <c:pt idx="101">
                  <c:v>0.0020515565070020514</c:v>
                </c:pt>
                <c:pt idx="102">
                  <c:v>0.0016952933303591344</c:v>
                </c:pt>
                <c:pt idx="103">
                  <c:v>0.001670790770467187</c:v>
                </c:pt>
                <c:pt idx="104">
                  <c:v>0.001277385457087079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2.5845898847711917</c:v>
                </c:pt>
                <c:pt idx="1">
                  <c:v>2.2250384631085227</c:v>
                </c:pt>
                <c:pt idx="2">
                  <c:v>2.469046484520369</c:v>
                </c:pt>
                <c:pt idx="3">
                  <c:v>2.0546770302569675</c:v>
                </c:pt>
                <c:pt idx="4">
                  <c:v>2.4704486246533315</c:v>
                </c:pt>
                <c:pt idx="5">
                  <c:v>2.7694280651883996</c:v>
                </c:pt>
                <c:pt idx="6">
                  <c:v>2.663269305799429</c:v>
                </c:pt>
                <c:pt idx="7">
                  <c:v>2.5145525629377112</c:v>
                </c:pt>
                <c:pt idx="8">
                  <c:v>2.3879677290165615</c:v>
                </c:pt>
                <c:pt idx="9">
                  <c:v>2.397136543352384</c:v>
                </c:pt>
                <c:pt idx="10">
                  <c:v>2.4639584452088723</c:v>
                </c:pt>
                <c:pt idx="11">
                  <c:v>2.593193117940449</c:v>
                </c:pt>
                <c:pt idx="12">
                  <c:v>2.3911658479494067</c:v>
                </c:pt>
                <c:pt idx="13">
                  <c:v>1.9769385129336132</c:v>
                </c:pt>
                <c:pt idx="14">
                  <c:v>2.003084882648954</c:v>
                </c:pt>
                <c:pt idx="15">
                  <c:v>2.0986635667222697</c:v>
                </c:pt>
                <c:pt idx="16">
                  <c:v>2.176180492722074</c:v>
                </c:pt>
                <c:pt idx="17">
                  <c:v>1.6528676703526157</c:v>
                </c:pt>
                <c:pt idx="18">
                  <c:v>2.360060622765542</c:v>
                </c:pt>
                <c:pt idx="19">
                  <c:v>2.3973077195430608</c:v>
                </c:pt>
                <c:pt idx="20">
                  <c:v>2.2347681752108657</c:v>
                </c:pt>
                <c:pt idx="21">
                  <c:v>1.9404347677520415</c:v>
                </c:pt>
                <c:pt idx="22">
                  <c:v>2.0175007097440436</c:v>
                </c:pt>
                <c:pt idx="23">
                  <c:v>1.6586428701482363</c:v>
                </c:pt>
                <c:pt idx="24">
                  <c:v>2.122568022342366</c:v>
                </c:pt>
                <c:pt idx="25">
                  <c:v>2.0446382028735735</c:v>
                </c:pt>
                <c:pt idx="26">
                  <c:v>2.090032382071222</c:v>
                </c:pt>
                <c:pt idx="27">
                  <c:v>2.08911582014674</c:v>
                </c:pt>
                <c:pt idx="28">
                  <c:v>2.1154004372396082</c:v>
                </c:pt>
                <c:pt idx="29">
                  <c:v>1.8791702405667392</c:v>
                </c:pt>
                <c:pt idx="30">
                  <c:v>1.8910680767143422</c:v>
                </c:pt>
                <c:pt idx="31">
                  <c:v>2.068195850439173</c:v>
                </c:pt>
                <c:pt idx="32">
                  <c:v>2.349007776747542</c:v>
                </c:pt>
                <c:pt idx="33">
                  <c:v>2.3003116873383633</c:v>
                </c:pt>
                <c:pt idx="34">
                  <c:v>2.4429977162057495</c:v>
                </c:pt>
                <c:pt idx="35">
                  <c:v>2.194865475625357</c:v>
                </c:pt>
                <c:pt idx="36">
                  <c:v>2.117503389349648</c:v>
                </c:pt>
                <c:pt idx="37">
                  <c:v>2.1258534380582534</c:v>
                </c:pt>
                <c:pt idx="38">
                  <c:v>1.8322744071287722</c:v>
                </c:pt>
                <c:pt idx="39">
                  <c:v>1.774492903478931</c:v>
                </c:pt>
                <c:pt idx="40">
                  <c:v>1.6653422447630513</c:v>
                </c:pt>
                <c:pt idx="41">
                  <c:v>1.8667448304375263</c:v>
                </c:pt>
                <c:pt idx="42">
                  <c:v>1.673343544731541</c:v>
                </c:pt>
                <c:pt idx="43">
                  <c:v>1.9900190155066082</c:v>
                </c:pt>
                <c:pt idx="44">
                  <c:v>2.464856904920041</c:v>
                </c:pt>
                <c:pt idx="45">
                  <c:v>2.659245135463953</c:v>
                </c:pt>
                <c:pt idx="46">
                  <c:v>2.6354552710577</c:v>
                </c:pt>
                <c:pt idx="47">
                  <c:v>2.6135079753232224</c:v>
                </c:pt>
                <c:pt idx="48">
                  <c:v>2.587927859248621</c:v>
                </c:pt>
                <c:pt idx="49">
                  <c:v>2.574435450580947</c:v>
                </c:pt>
                <c:pt idx="50">
                  <c:v>2.7130870973136196</c:v>
                </c:pt>
                <c:pt idx="51">
                  <c:v>2.7923717683991005</c:v>
                </c:pt>
              </c:numCache>
            </c:numRef>
          </c:xVal>
          <c:yVal>
            <c:numRef>
              <c:f>Sheet1!$B$109:$B$160</c:f>
              <c:numCache>
                <c:formatCode>General</c:formatCode>
                <c:ptCount val="52"/>
                <c:pt idx="0">
                  <c:v>0.0012644429910616962</c:v>
                </c:pt>
                <c:pt idx="1">
                  <c:v>0.0014938262960110169</c:v>
                </c:pt>
                <c:pt idx="2">
                  <c:v>0.001452142436232006</c:v>
                </c:pt>
                <c:pt idx="3">
                  <c:v>0.0015529253756400572</c:v>
                </c:pt>
                <c:pt idx="4">
                  <c:v>0.0014792577606647958</c:v>
                </c:pt>
                <c:pt idx="5">
                  <c:v>0.001294398982031987</c:v>
                </c:pt>
                <c:pt idx="6">
                  <c:v>0.0015030272238452094</c:v>
                </c:pt>
                <c:pt idx="7">
                  <c:v>0.0017374957274695227</c:v>
                </c:pt>
                <c:pt idx="8">
                  <c:v>0.0020296009492287515</c:v>
                </c:pt>
                <c:pt idx="9">
                  <c:v>0.0020912710917581003</c:v>
                </c:pt>
                <c:pt idx="10">
                  <c:v>0.0019877971342591315</c:v>
                </c:pt>
                <c:pt idx="11">
                  <c:v>0.0020619415574948453</c:v>
                </c:pt>
                <c:pt idx="12">
                  <c:v>0.0020706369561636745</c:v>
                </c:pt>
                <c:pt idx="13">
                  <c:v>0.0030358964395006557</c:v>
                </c:pt>
                <c:pt idx="14">
                  <c:v>0.003000451395342662</c:v>
                </c:pt>
                <c:pt idx="15">
                  <c:v>0.0029206601259003004</c:v>
                </c:pt>
                <c:pt idx="16">
                  <c:v>0.002713660888165246</c:v>
                </c:pt>
                <c:pt idx="17">
                  <c:v>0.0035899346360957767</c:v>
                </c:pt>
                <c:pt idx="18">
                  <c:v>0.0019464720194647203</c:v>
                </c:pt>
                <c:pt idx="19">
                  <c:v>0.0017023166308933462</c:v>
                </c:pt>
                <c:pt idx="20">
                  <c:v>0.001982521443599288</c:v>
                </c:pt>
                <c:pt idx="21">
                  <c:v>0.002600529737539128</c:v>
                </c:pt>
                <c:pt idx="22">
                  <c:v>0.0022813319095233474</c:v>
                </c:pt>
                <c:pt idx="23">
                  <c:v>0.0023333671502485543</c:v>
                </c:pt>
                <c:pt idx="24">
                  <c:v>0.0021462297896694808</c:v>
                </c:pt>
                <c:pt idx="25">
                  <c:v>0.0024488979959018443</c:v>
                </c:pt>
                <c:pt idx="26">
                  <c:v>0.002502767483274775</c:v>
                </c:pt>
                <c:pt idx="27">
                  <c:v>0.0023880597014925373</c:v>
                </c:pt>
                <c:pt idx="28">
                  <c:v>0.0020101690906940994</c:v>
                </c:pt>
                <c:pt idx="29">
                  <c:v>0.002372093023255814</c:v>
                </c:pt>
                <c:pt idx="30">
                  <c:v>0.0022753679318357864</c:v>
                </c:pt>
                <c:pt idx="31">
                  <c:v>0.0023828865421066884</c:v>
                </c:pt>
                <c:pt idx="32">
                  <c:v>0.0020210769452865597</c:v>
                </c:pt>
                <c:pt idx="33">
                  <c:v>0.0020408979951178517</c:v>
                </c:pt>
                <c:pt idx="34">
                  <c:v>0.0018805829807240243</c:v>
                </c:pt>
                <c:pt idx="35">
                  <c:v>0.002233041695647399</c:v>
                </c:pt>
                <c:pt idx="36">
                  <c:v>0.0025818944650637405</c:v>
                </c:pt>
                <c:pt idx="37">
                  <c:v>0.0026314507090297746</c:v>
                </c:pt>
                <c:pt idx="38">
                  <c:v>0.00295254455658149</c:v>
                </c:pt>
                <c:pt idx="39">
                  <c:v>0.002895313727923233</c:v>
                </c:pt>
                <c:pt idx="40">
                  <c:v>0.00273569882814095</c:v>
                </c:pt>
                <c:pt idx="41">
                  <c:v>0.0022220519500421422</c:v>
                </c:pt>
                <c:pt idx="42">
                  <c:v>0.002549286199864038</c:v>
                </c:pt>
                <c:pt idx="43">
                  <c:v>0.001865371627054321</c:v>
                </c:pt>
                <c:pt idx="44">
                  <c:v>0.0014163927416553088</c:v>
                </c:pt>
                <c:pt idx="45">
                  <c:v>0.0011781673403887952</c:v>
                </c:pt>
                <c:pt idx="46">
                  <c:v>0.0012636695018226002</c:v>
                </c:pt>
                <c:pt idx="47">
                  <c:v>0.0013500835221161988</c:v>
                </c:pt>
                <c:pt idx="48">
                  <c:v>0.0014853395061728396</c:v>
                </c:pt>
                <c:pt idx="49">
                  <c:v>0.0013697667884237145</c:v>
                </c:pt>
                <c:pt idx="50">
                  <c:v>0.0011509642261527259</c:v>
                </c:pt>
                <c:pt idx="51">
                  <c:v>0.001246118242775481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9908114357628948</c:v>
                </c:pt>
              </c:numCache>
            </c:numRef>
          </c:xVal>
          <c:yVal>
            <c:numRef>
              <c:f>Sheet1!$B$163:$B$164</c:f>
              <c:numCache>
                <c:formatCode>General</c:formatCode>
                <c:ptCount val="2"/>
                <c:pt idx="0">
                  <c:v>0.002438776158167452</c:v>
                </c:pt>
                <c:pt idx="1">
                  <c:v>0.00243877615816745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9908114357628948</c:v>
                </c:pt>
                <c:pt idx="1">
                  <c:v>1.9908114357628948</c:v>
                </c:pt>
              </c:numCache>
            </c:numRef>
          </c:xVal>
          <c:yVal>
            <c:numRef>
              <c:f>Sheet1!$B$167:$B$168</c:f>
              <c:numCache>
                <c:formatCode>General</c:formatCode>
                <c:ptCount val="2"/>
                <c:pt idx="0">
                  <c:v>0.0024387761581674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9908114357628948</c:v>
                </c:pt>
              </c:numCache>
            </c:numRef>
          </c:xVal>
          <c:yVal>
            <c:numRef>
              <c:f>Sheet1!$B$171:$B$172</c:f>
              <c:numCache>
                <c:formatCode>General</c:formatCode>
                <c:ptCount val="2"/>
                <c:pt idx="0">
                  <c:v>0.002438776158167452</c:v>
                </c:pt>
                <c:pt idx="1">
                  <c:v>0.00243877615816745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9908114357628948</c:v>
                </c:pt>
                <c:pt idx="1">
                  <c:v>1.9908114357628948</c:v>
                </c:pt>
              </c:numCache>
            </c:numRef>
          </c:xVal>
          <c:yVal>
            <c:numRef>
              <c:f>Sheet1!$B$175:$B$176</c:f>
              <c:numCache>
                <c:formatCode>General</c:formatCode>
                <c:ptCount val="2"/>
                <c:pt idx="0">
                  <c:v>0.00243877615816745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4483296612352365</c:v>
                </c:pt>
              </c:numCache>
            </c:numRef>
          </c:xVal>
          <c:yVal>
            <c:numRef>
              <c:f>Sheet1!$B$179:$B$180</c:f>
              <c:numCache>
                <c:formatCode>General</c:formatCode>
                <c:ptCount val="2"/>
                <c:pt idx="0">
                  <c:v>0.0017483249386563344</c:v>
                </c:pt>
                <c:pt idx="1">
                  <c:v>0.001748324938656334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4483296612352365</c:v>
                </c:pt>
                <c:pt idx="1">
                  <c:v>2.4483296612352365</c:v>
                </c:pt>
              </c:numCache>
            </c:numRef>
          </c:xVal>
          <c:yVal>
            <c:numRef>
              <c:f>Sheet1!$B$183:$B$184</c:f>
              <c:numCache>
                <c:formatCode>General</c:formatCode>
                <c:ptCount val="2"/>
                <c:pt idx="0">
                  <c:v>0.001748324938656334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2.5845898847711917</c:v>
                </c:pt>
                <c:pt idx="1">
                  <c:v>2.2250384631085227</c:v>
                </c:pt>
                <c:pt idx="2">
                  <c:v>2.469046484520369</c:v>
                </c:pt>
                <c:pt idx="3">
                  <c:v>2.0546770302569675</c:v>
                </c:pt>
                <c:pt idx="4">
                  <c:v>2.4704486246533315</c:v>
                </c:pt>
                <c:pt idx="5">
                  <c:v>2.7694280651883996</c:v>
                </c:pt>
                <c:pt idx="6">
                  <c:v>2.663269305799429</c:v>
                </c:pt>
                <c:pt idx="7">
                  <c:v>2.5145525629377112</c:v>
                </c:pt>
                <c:pt idx="8">
                  <c:v>2.3879677290165615</c:v>
                </c:pt>
                <c:pt idx="9">
                  <c:v>2.397136543352384</c:v>
                </c:pt>
                <c:pt idx="10">
                  <c:v>2.4639584452088723</c:v>
                </c:pt>
                <c:pt idx="11">
                  <c:v>2.593193117940449</c:v>
                </c:pt>
                <c:pt idx="12">
                  <c:v>2.3911658479494067</c:v>
                </c:pt>
                <c:pt idx="13">
                  <c:v>1.9769385129336132</c:v>
                </c:pt>
                <c:pt idx="14">
                  <c:v>2.003084882648954</c:v>
                </c:pt>
                <c:pt idx="15">
                  <c:v>2.0986635667222697</c:v>
                </c:pt>
                <c:pt idx="16">
                  <c:v>2.176180492722074</c:v>
                </c:pt>
                <c:pt idx="17">
                  <c:v>1.6528676703526157</c:v>
                </c:pt>
                <c:pt idx="18">
                  <c:v>2.360060622765542</c:v>
                </c:pt>
                <c:pt idx="19">
                  <c:v>2.3973077195430608</c:v>
                </c:pt>
                <c:pt idx="20">
                  <c:v>2.2347681752108657</c:v>
                </c:pt>
                <c:pt idx="21">
                  <c:v>1.9404347677520415</c:v>
                </c:pt>
                <c:pt idx="22">
                  <c:v>2.0175007097440436</c:v>
                </c:pt>
                <c:pt idx="23">
                  <c:v>1.6586428701482363</c:v>
                </c:pt>
                <c:pt idx="24">
                  <c:v>2.122568022342366</c:v>
                </c:pt>
                <c:pt idx="25">
                  <c:v>2.0446382028735735</c:v>
                </c:pt>
                <c:pt idx="26">
                  <c:v>2.090032382071222</c:v>
                </c:pt>
                <c:pt idx="27">
                  <c:v>2.08911582014674</c:v>
                </c:pt>
                <c:pt idx="28">
                  <c:v>2.1154004372396082</c:v>
                </c:pt>
                <c:pt idx="29">
                  <c:v>1.8791702405667392</c:v>
                </c:pt>
                <c:pt idx="30">
                  <c:v>1.8910680767143422</c:v>
                </c:pt>
                <c:pt idx="31">
                  <c:v>2.068195850439173</c:v>
                </c:pt>
                <c:pt idx="32">
                  <c:v>2.349007776747542</c:v>
                </c:pt>
                <c:pt idx="33">
                  <c:v>2.3003116873383633</c:v>
                </c:pt>
                <c:pt idx="34">
                  <c:v>2.4429977162057495</c:v>
                </c:pt>
                <c:pt idx="35">
                  <c:v>2.194865475625357</c:v>
                </c:pt>
                <c:pt idx="36">
                  <c:v>2.117503389349648</c:v>
                </c:pt>
                <c:pt idx="37">
                  <c:v>2.1258534380582534</c:v>
                </c:pt>
                <c:pt idx="38">
                  <c:v>1.8322744071287722</c:v>
                </c:pt>
                <c:pt idx="39">
                  <c:v>1.774492903478931</c:v>
                </c:pt>
                <c:pt idx="40">
                  <c:v>1.6653422447630513</c:v>
                </c:pt>
                <c:pt idx="41">
                  <c:v>1.8667448304375263</c:v>
                </c:pt>
                <c:pt idx="42">
                  <c:v>1.673343544731541</c:v>
                </c:pt>
                <c:pt idx="43">
                  <c:v>1.9900190155066082</c:v>
                </c:pt>
                <c:pt idx="44">
                  <c:v>2.464856904920041</c:v>
                </c:pt>
                <c:pt idx="45">
                  <c:v>2.659245135463953</c:v>
                </c:pt>
                <c:pt idx="46">
                  <c:v>2.6354552710577</c:v>
                </c:pt>
                <c:pt idx="47">
                  <c:v>2.6135079753232224</c:v>
                </c:pt>
                <c:pt idx="48">
                  <c:v>2.587927859248621</c:v>
                </c:pt>
                <c:pt idx="49">
                  <c:v>2.574435450580947</c:v>
                </c:pt>
                <c:pt idx="50">
                  <c:v>2.7130870973136196</c:v>
                </c:pt>
                <c:pt idx="51">
                  <c:v>2.7923717683991005</c:v>
                </c:pt>
                <c:pt idx="52">
                  <c:v>1.9908114357628948</c:v>
                </c:pt>
                <c:pt idx="53">
                  <c:v>1.9908114357628948</c:v>
                </c:pt>
                <c:pt idx="54">
                  <c:v>2.4483296612352365</c:v>
                </c:pt>
              </c:numCache>
            </c:numRef>
          </c:xVal>
          <c:yVal>
            <c:numRef>
              <c:f>Sheet1!$B$187:$B$241</c:f>
              <c:numCache>
                <c:formatCode>General</c:formatCode>
                <c:ptCount val="55"/>
                <c:pt idx="0">
                  <c:v>0.0015426915184485854</c:v>
                </c:pt>
                <c:pt idx="1">
                  <c:v>0.002085298793399544</c:v>
                </c:pt>
                <c:pt idx="2">
                  <c:v>0.001717060706752024</c:v>
                </c:pt>
                <c:pt idx="3">
                  <c:v>0.002342395128629863</c:v>
                </c:pt>
                <c:pt idx="4">
                  <c:v>0.001714944705004268</c:v>
                </c:pt>
                <c:pt idx="5">
                  <c:v>0.0012637479923201548</c:v>
                </c:pt>
                <c:pt idx="6">
                  <c:v>0.0014239546044310276</c:v>
                </c:pt>
                <c:pt idx="7">
                  <c:v>0.001648386442888579</c:v>
                </c:pt>
                <c:pt idx="8">
                  <c:v>0.0018394185113099794</c:v>
                </c:pt>
                <c:pt idx="9">
                  <c:v>0.0018255816438647447</c:v>
                </c:pt>
                <c:pt idx="10">
                  <c:v>0.0017247391832628041</c:v>
                </c:pt>
                <c:pt idx="11">
                  <c:v>0.0015297081824791397</c:v>
                </c:pt>
                <c:pt idx="12">
                  <c:v>0.0018345921568733996</c:v>
                </c:pt>
                <c:pt idx="13">
                  <c:v>0.0024597121033437825</c:v>
                </c:pt>
                <c:pt idx="14">
                  <c:v>0.0024202540187240763</c:v>
                </c:pt>
                <c:pt idx="15">
                  <c:v>0.0022760140402848386</c:v>
                </c:pt>
                <c:pt idx="16">
                  <c:v>0.0021590314741060553</c:v>
                </c:pt>
                <c:pt idx="17">
                  <c:v>0.00294877482480595</c:v>
                </c:pt>
                <c:pt idx="18">
                  <c:v>0.0018815337637114547</c:v>
                </c:pt>
                <c:pt idx="19">
                  <c:v>0.0018253233179598436</c:v>
                </c:pt>
                <c:pt idx="20">
                  <c:v>0.002070615462304659</c:v>
                </c:pt>
                <c:pt idx="21">
                  <c:v>0.002514800740198235</c:v>
                </c:pt>
                <c:pt idx="22">
                  <c:v>0.00239849876430161</c:v>
                </c:pt>
                <c:pt idx="23">
                  <c:v>0.0029400593386902005</c:v>
                </c:pt>
                <c:pt idx="24">
                  <c:v>0.0022399392795086855</c:v>
                </c:pt>
                <c:pt idx="25">
                  <c:v>0.0023575449526662064</c:v>
                </c:pt>
                <c:pt idx="26">
                  <c:v>0.0022890395584748277</c:v>
                </c:pt>
                <c:pt idx="27">
                  <c:v>0.00229042276304086</c:v>
                </c:pt>
                <c:pt idx="28">
                  <c:v>0.002250756046141402</c:v>
                </c:pt>
                <c:pt idx="29">
                  <c:v>0.0026072564395623276</c:v>
                </c:pt>
                <c:pt idx="30">
                  <c:v>0.002589301142876223</c:v>
                </c:pt>
                <c:pt idx="31">
                  <c:v>0.002321993567858117</c:v>
                </c:pt>
                <c:pt idx="32">
                  <c:v>0.0018982138664643405</c:v>
                </c:pt>
                <c:pt idx="33">
                  <c:v>0.0019717022488851244</c:v>
                </c:pt>
                <c:pt idx="34">
                  <c:v>0.0017563714988653289</c:v>
                </c:pt>
                <c:pt idx="35">
                  <c:v>0.002130833538999105</c:v>
                </c:pt>
                <c:pt idx="36">
                  <c:v>0.0022475824330083914</c:v>
                </c:pt>
                <c:pt idx="37">
                  <c:v>0.002234981183499956</c:v>
                </c:pt>
                <c:pt idx="38">
                  <c:v>0.0026780280145171967</c:v>
                </c:pt>
                <c:pt idx="39">
                  <c:v>0.0027652274033918827</c:v>
                </c:pt>
                <c:pt idx="40">
                  <c:v>0.0029299491592148686</c:v>
                </c:pt>
                <c:pt idx="41">
                  <c:v>0.002626007910212013</c:v>
                </c:pt>
                <c:pt idx="42">
                  <c:v>0.0029178742144075564</c:v>
                </c:pt>
                <c:pt idx="43">
                  <c:v>0.0024399720177023447</c:v>
                </c:pt>
                <c:pt idx="44">
                  <c:v>0.001723383297160961</c:v>
                </c:pt>
                <c:pt idx="45">
                  <c:v>0.0014300275719347404</c:v>
                </c:pt>
                <c:pt idx="46">
                  <c:v>0.0014659294004888777</c:v>
                </c:pt>
                <c:pt idx="47">
                  <c:v>0.0014990505665128037</c:v>
                </c:pt>
                <c:pt idx="48">
                  <c:v>0.0015376541048105633</c:v>
                </c:pt>
                <c:pt idx="49">
                  <c:v>0.001558015807361582</c:v>
                </c:pt>
                <c:pt idx="50">
                  <c:v>0.0013487734357053175</c:v>
                </c:pt>
                <c:pt idx="51">
                  <c:v>0.001229123124981647</c:v>
                </c:pt>
                <c:pt idx="52">
                  <c:v>0.002438776158167452</c:v>
                </c:pt>
                <c:pt idx="53">
                  <c:v>0.002438776158167452</c:v>
                </c:pt>
                <c:pt idx="54">
                  <c:v>0.001748324938656334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307921563314932"/>
          <c:min val="3.614185678789248e-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19.7617</c:v>
                </c:pt>
                <c:pt idx="1">
                  <c:v>968.4889</c:v>
                </c:pt>
                <c:pt idx="2">
                  <c:v>978.6737</c:v>
                </c:pt>
                <c:pt idx="3">
                  <c:v>988.5581</c:v>
                </c:pt>
                <c:pt idx="4">
                  <c:v>941.4731</c:v>
                </c:pt>
                <c:pt idx="5">
                  <c:v>914.0893</c:v>
                </c:pt>
                <c:pt idx="6">
                  <c:v>916.8947</c:v>
                </c:pt>
                <c:pt idx="7">
                  <c:v>911.1192</c:v>
                </c:pt>
                <c:pt idx="8">
                  <c:v>915.1229</c:v>
                </c:pt>
                <c:pt idx="9">
                  <c:v>871.9622</c:v>
                </c:pt>
                <c:pt idx="10">
                  <c:v>835.0343</c:v>
                </c:pt>
                <c:pt idx="11">
                  <c:v>828.98</c:v>
                </c:pt>
                <c:pt idx="12">
                  <c:v>865.837</c:v>
                </c:pt>
                <c:pt idx="13">
                  <c:v>852.9094</c:v>
                </c:pt>
                <c:pt idx="14">
                  <c:v>982.1822</c:v>
                </c:pt>
                <c:pt idx="15">
                  <c:v>1002.7042</c:v>
                </c:pt>
                <c:pt idx="16">
                  <c:v>1006.0217</c:v>
                </c:pt>
                <c:pt idx="17">
                  <c:v>1013.7644</c:v>
                </c:pt>
                <c:pt idx="18">
                  <c:v>1053.3199</c:v>
                </c:pt>
                <c:pt idx="19">
                  <c:v>1057.9869</c:v>
                </c:pt>
                <c:pt idx="20">
                  <c:v>1082.7853</c:v>
                </c:pt>
                <c:pt idx="21">
                  <c:v>1080.1899</c:v>
                </c:pt>
                <c:pt idx="22">
                  <c:v>1096.2342</c:v>
                </c:pt>
                <c:pt idx="23">
                  <c:v>1086.1013</c:v>
                </c:pt>
                <c:pt idx="24">
                  <c:v>1089.9863</c:v>
                </c:pt>
                <c:pt idx="25">
                  <c:v>1090.5347</c:v>
                </c:pt>
                <c:pt idx="26">
                  <c:v>1087.5632</c:v>
                </c:pt>
                <c:pt idx="27">
                  <c:v>1074.276</c:v>
                </c:pt>
                <c:pt idx="28">
                  <c:v>1078.8013</c:v>
                </c:pt>
                <c:pt idx="29">
                  <c:v>1110.4901</c:v>
                </c:pt>
                <c:pt idx="30">
                  <c:v>1106.4741</c:v>
                </c:pt>
                <c:pt idx="31">
                  <c:v>1110.3379</c:v>
                </c:pt>
                <c:pt idx="32">
                  <c:v>1109.2397</c:v>
                </c:pt>
                <c:pt idx="33">
                  <c:v>1106.1206</c:v>
                </c:pt>
                <c:pt idx="34">
                  <c:v>1101.2328</c:v>
                </c:pt>
                <c:pt idx="35">
                  <c:v>1107.0789</c:v>
                </c:pt>
                <c:pt idx="36">
                  <c:v>1107.3889</c:v>
                </c:pt>
                <c:pt idx="37">
                  <c:v>1123.1496</c:v>
                </c:pt>
                <c:pt idx="38">
                  <c:v>1124.7202</c:v>
                </c:pt>
                <c:pt idx="39">
                  <c:v>1181.6643</c:v>
                </c:pt>
                <c:pt idx="40">
                  <c:v>1208.5253</c:v>
                </c:pt>
                <c:pt idx="41">
                  <c:v>1220.8314</c:v>
                </c:pt>
                <c:pt idx="42">
                  <c:v>1223.18</c:v>
                </c:pt>
                <c:pt idx="43">
                  <c:v>1228.1207</c:v>
                </c:pt>
                <c:pt idx="44">
                  <c:v>1240.7688</c:v>
                </c:pt>
                <c:pt idx="45">
                  <c:v>1233.1846</c:v>
                </c:pt>
                <c:pt idx="46">
                  <c:v>1179.4713</c:v>
                </c:pt>
                <c:pt idx="47">
                  <c:v>1172.3183</c:v>
                </c:pt>
                <c:pt idx="48">
                  <c:v>1120.507</c:v>
                </c:pt>
                <c:pt idx="49">
                  <c:v>1024.6798</c:v>
                </c:pt>
                <c:pt idx="50">
                  <c:v>1060.5503</c:v>
                </c:pt>
                <c:pt idx="51">
                  <c:v>1034.3245</c:v>
                </c:pt>
                <c:pt idx="52">
                  <c:v>1014.3784</c:v>
                </c:pt>
                <c:pt idx="53">
                  <c:v>1243.0414</c:v>
                </c:pt>
                <c:pt idx="54">
                  <c:v>1235.1487</c:v>
                </c:pt>
                <c:pt idx="55">
                  <c:v>1235.805</c:v>
                </c:pt>
                <c:pt idx="56">
                  <c:v>1234.1824</c:v>
                </c:pt>
                <c:pt idx="57">
                  <c:v>1242.6704</c:v>
                </c:pt>
                <c:pt idx="58">
                  <c:v>1241.1324</c:v>
                </c:pt>
                <c:pt idx="59">
                  <c:v>1239.3448</c:v>
                </c:pt>
                <c:pt idx="60">
                  <c:v>1247.9935</c:v>
                </c:pt>
                <c:pt idx="61">
                  <c:v>1188.6951</c:v>
                </c:pt>
                <c:pt idx="62">
                  <c:v>1077.9522</c:v>
                </c:pt>
                <c:pt idx="63">
                  <c:v>1083.0403</c:v>
                </c:pt>
                <c:pt idx="64">
                  <c:v>1091.05</c:v>
                </c:pt>
                <c:pt idx="65">
                  <c:v>1090.8111</c:v>
                </c:pt>
                <c:pt idx="66">
                  <c:v>1220.491</c:v>
                </c:pt>
                <c:pt idx="67">
                  <c:v>1245.6622</c:v>
                </c:pt>
                <c:pt idx="68">
                  <c:v>1232.1381</c:v>
                </c:pt>
                <c:pt idx="69">
                  <c:v>1271.6872</c:v>
                </c:pt>
                <c:pt idx="70">
                  <c:v>1266.6255</c:v>
                </c:pt>
                <c:pt idx="71">
                  <c:v>1262.548</c:v>
                </c:pt>
                <c:pt idx="72">
                  <c:v>1277.5772</c:v>
                </c:pt>
                <c:pt idx="73">
                  <c:v>1261.3543</c:v>
                </c:pt>
                <c:pt idx="74">
                  <c:v>1281.0581</c:v>
                </c:pt>
                <c:pt idx="75">
                  <c:v>1265.0422</c:v>
                </c:pt>
                <c:pt idx="76">
                  <c:v>1211.6077</c:v>
                </c:pt>
                <c:pt idx="77">
                  <c:v>1199.1729</c:v>
                </c:pt>
                <c:pt idx="78">
                  <c:v>1213.7785</c:v>
                </c:pt>
                <c:pt idx="79">
                  <c:v>1242.1955</c:v>
                </c:pt>
                <c:pt idx="80">
                  <c:v>1264.2783</c:v>
                </c:pt>
                <c:pt idx="81">
                  <c:v>1316.6727</c:v>
                </c:pt>
                <c:pt idx="82">
                  <c:v>1334.0317</c:v>
                </c:pt>
                <c:pt idx="83">
                  <c:v>1334.2226</c:v>
                </c:pt>
                <c:pt idx="84">
                  <c:v>1345.6375</c:v>
                </c:pt>
                <c:pt idx="85">
                  <c:v>1346.6109</c:v>
                </c:pt>
                <c:pt idx="86">
                  <c:v>1349.528</c:v>
                </c:pt>
                <c:pt idx="87">
                  <c:v>1337.4574</c:v>
                </c:pt>
                <c:pt idx="88">
                  <c:v>1354.4523</c:v>
                </c:pt>
                <c:pt idx="89">
                  <c:v>1369.7822</c:v>
                </c:pt>
                <c:pt idx="90">
                  <c:v>1367.9924</c:v>
                </c:pt>
                <c:pt idx="91">
                  <c:v>1353.3447</c:v>
                </c:pt>
                <c:pt idx="92">
                  <c:v>1342.2688</c:v>
                </c:pt>
                <c:pt idx="93">
                  <c:v>1332.2189</c:v>
                </c:pt>
                <c:pt idx="94">
                  <c:v>1349.2415</c:v>
                </c:pt>
                <c:pt idx="95">
                  <c:v>1336.8942</c:v>
                </c:pt>
                <c:pt idx="96">
                  <c:v>1225.6862</c:v>
                </c:pt>
                <c:pt idx="97">
                  <c:v>1263.0433</c:v>
                </c:pt>
                <c:pt idx="98">
                  <c:v>1215.1682</c:v>
                </c:pt>
                <c:pt idx="99">
                  <c:v>1204.9229</c:v>
                </c:pt>
                <c:pt idx="100">
                  <c:v>1106.9971</c:v>
                </c:pt>
                <c:pt idx="101">
                  <c:v>1292.2309</c:v>
                </c:pt>
                <c:pt idx="102">
                  <c:v>1272.751</c:v>
                </c:pt>
                <c:pt idx="103">
                  <c:v>1200.6081</c:v>
                </c:pt>
                <c:pt idx="104">
                  <c:v>1187.5781</c:v>
                </c:pt>
              </c:numCache>
            </c:numRef>
          </c:xVal>
          <c:yVal>
            <c:numRef>
              <c:f>Sheet1!$B$2:$B$106</c:f>
              <c:numCache>
                <c:formatCode>General</c:formatCode>
                <c:ptCount val="105"/>
                <c:pt idx="0">
                  <c:v>0.17871326449563146</c:v>
                </c:pt>
                <c:pt idx="1">
                  <c:v>0.17244395844723892</c:v>
                </c:pt>
                <c:pt idx="2">
                  <c:v>0.17025336584331602</c:v>
                </c:pt>
                <c:pt idx="3">
                  <c:v>0.17527895135954935</c:v>
                </c:pt>
                <c:pt idx="4">
                  <c:v>0.21203293223559214</c:v>
                </c:pt>
                <c:pt idx="5">
                  <c:v>0.21191523390643743</c:v>
                </c:pt>
                <c:pt idx="6">
                  <c:v>0.2379850938062195</c:v>
                </c:pt>
                <c:pt idx="7">
                  <c:v>0.22453605326533504</c:v>
                </c:pt>
                <c:pt idx="8">
                  <c:v>0.23006896551724138</c:v>
                </c:pt>
                <c:pt idx="9">
                  <c:v>0.22907280056912496</c:v>
                </c:pt>
                <c:pt idx="10">
                  <c:v>0.21959048146098506</c:v>
                </c:pt>
                <c:pt idx="11">
                  <c:v>0.2169830788278993</c:v>
                </c:pt>
                <c:pt idx="12">
                  <c:v>0.19853345554537122</c:v>
                </c:pt>
                <c:pt idx="13">
                  <c:v>0.18983121483642426</c:v>
                </c:pt>
                <c:pt idx="14">
                  <c:v>0.16496579567118985</c:v>
                </c:pt>
                <c:pt idx="15">
                  <c:v>0.15082936865115082</c:v>
                </c:pt>
                <c:pt idx="16">
                  <c:v>0.14701200983938648</c:v>
                </c:pt>
                <c:pt idx="17">
                  <c:v>0.147643475472908</c:v>
                </c:pt>
                <c:pt idx="18">
                  <c:v>0.13295118343195267</c:v>
                </c:pt>
                <c:pt idx="19">
                  <c:v>0.12522982635342186</c:v>
                </c:pt>
                <c:pt idx="20">
                  <c:v>0.16063919259882253</c:v>
                </c:pt>
                <c:pt idx="21">
                  <c:v>0.1484842633713072</c:v>
                </c:pt>
                <c:pt idx="22">
                  <c:v>0.12748835239305378</c:v>
                </c:pt>
                <c:pt idx="23">
                  <c:v>0.1453639514731369</c:v>
                </c:pt>
                <c:pt idx="24">
                  <c:v>0.1491442542787286</c:v>
                </c:pt>
                <c:pt idx="25">
                  <c:v>0.13845099383139137</c:v>
                </c:pt>
                <c:pt idx="26">
                  <c:v>0.14704225352112676</c:v>
                </c:pt>
                <c:pt idx="27">
                  <c:v>0.1636990235496841</c:v>
                </c:pt>
                <c:pt idx="28">
                  <c:v>0.17227456258411844</c:v>
                </c:pt>
                <c:pt idx="29">
                  <c:v>0.1650602409638554</c:v>
                </c:pt>
                <c:pt idx="30">
                  <c:v>0.17488692655610596</c:v>
                </c:pt>
                <c:pt idx="31">
                  <c:v>0.1566265060240964</c:v>
                </c:pt>
                <c:pt idx="32">
                  <c:v>0.16640952171038131</c:v>
                </c:pt>
                <c:pt idx="33">
                  <c:v>0.16251189343482397</c:v>
                </c:pt>
                <c:pt idx="34">
                  <c:v>0.17239574245332404</c:v>
                </c:pt>
                <c:pt idx="35">
                  <c:v>0.22559293987865417</c:v>
                </c:pt>
                <c:pt idx="36">
                  <c:v>0.18735215265730956</c:v>
                </c:pt>
                <c:pt idx="37">
                  <c:v>0.17413793103448275</c:v>
                </c:pt>
                <c:pt idx="38">
                  <c:v>0.16989128431914502</c:v>
                </c:pt>
                <c:pt idx="39">
                  <c:v>0.1693499082942735</c:v>
                </c:pt>
                <c:pt idx="40">
                  <c:v>0.16853556485355647</c:v>
                </c:pt>
                <c:pt idx="41">
                  <c:v>0.1634011090573013</c:v>
                </c:pt>
                <c:pt idx="42">
                  <c:v>0.17408335944844877</c:v>
                </c:pt>
                <c:pt idx="43">
                  <c:v>0.1715578716401536</c:v>
                </c:pt>
                <c:pt idx="44">
                  <c:v>0.16095854098186832</c:v>
                </c:pt>
                <c:pt idx="45">
                  <c:v>0.1548496315475005</c:v>
                </c:pt>
                <c:pt idx="46">
                  <c:v>0.1563079324812177</c:v>
                </c:pt>
                <c:pt idx="47">
                  <c:v>0.15777888944472235</c:v>
                </c:pt>
                <c:pt idx="48">
                  <c:v>0.15445402298850575</c:v>
                </c:pt>
                <c:pt idx="49">
                  <c:v>0.17856437598736177</c:v>
                </c:pt>
                <c:pt idx="50">
                  <c:v>0.15999038615606473</c:v>
                </c:pt>
                <c:pt idx="51">
                  <c:v>0.1646090534979424</c:v>
                </c:pt>
                <c:pt idx="52">
                  <c:v>0.16628440366972477</c:v>
                </c:pt>
                <c:pt idx="53">
                  <c:v>0.15564566437928884</c:v>
                </c:pt>
                <c:pt idx="54">
                  <c:v>0.1579898362507058</c:v>
                </c:pt>
                <c:pt idx="55">
                  <c:v>0.15723419370116032</c:v>
                </c:pt>
                <c:pt idx="56">
                  <c:v>0.1649002849002849</c:v>
                </c:pt>
                <c:pt idx="57">
                  <c:v>0.14748238177918496</c:v>
                </c:pt>
                <c:pt idx="58">
                  <c:v>0.14757606773983437</c:v>
                </c:pt>
                <c:pt idx="59">
                  <c:v>0.1363914373088685</c:v>
                </c:pt>
                <c:pt idx="60">
                  <c:v>0.13633191651335405</c:v>
                </c:pt>
                <c:pt idx="61">
                  <c:v>0.14007287518006947</c:v>
                </c:pt>
                <c:pt idx="62">
                  <c:v>0.16141627473600142</c:v>
                </c:pt>
                <c:pt idx="63">
                  <c:v>0.1601366742596811</c:v>
                </c:pt>
                <c:pt idx="64">
                  <c:v>0.15851528384279476</c:v>
                </c:pt>
                <c:pt idx="65">
                  <c:v>0.16333200478278198</c:v>
                </c:pt>
                <c:pt idx="66">
                  <c:v>0.1540864133263925</c:v>
                </c:pt>
                <c:pt idx="67">
                  <c:v>0.14832707103238504</c:v>
                </c:pt>
                <c:pt idx="68">
                  <c:v>0.13880673125956144</c:v>
                </c:pt>
                <c:pt idx="69">
                  <c:v>0.12687079500205958</c:v>
                </c:pt>
                <c:pt idx="70">
                  <c:v>0.12676238520243177</c:v>
                </c:pt>
                <c:pt idx="71">
                  <c:v>0.12544192745842608</c:v>
                </c:pt>
                <c:pt idx="72">
                  <c:v>0.1374246987951807</c:v>
                </c:pt>
                <c:pt idx="73">
                  <c:v>0.13767193071828834</c:v>
                </c:pt>
                <c:pt idx="74">
                  <c:v>0.1292578681517938</c:v>
                </c:pt>
                <c:pt idx="75">
                  <c:v>0.13484009840098402</c:v>
                </c:pt>
                <c:pt idx="76">
                  <c:v>0.13730818414322252</c:v>
                </c:pt>
                <c:pt idx="77">
                  <c:v>0.1371135671952587</c:v>
                </c:pt>
                <c:pt idx="78">
                  <c:v>0.14234234234234233</c:v>
                </c:pt>
                <c:pt idx="79">
                  <c:v>0.14733944954128442</c:v>
                </c:pt>
                <c:pt idx="80">
                  <c:v>0.14644351464435146</c:v>
                </c:pt>
                <c:pt idx="81">
                  <c:v>0.13844343092540826</c:v>
                </c:pt>
                <c:pt idx="82">
                  <c:v>0.13989637305699482</c:v>
                </c:pt>
                <c:pt idx="83">
                  <c:v>0.12342569269521411</c:v>
                </c:pt>
                <c:pt idx="84">
                  <c:v>0.12353616532721011</c:v>
                </c:pt>
                <c:pt idx="85">
                  <c:v>0.11733112993183227</c:v>
                </c:pt>
                <c:pt idx="86">
                  <c:v>0.12542061792597126</c:v>
                </c:pt>
                <c:pt idx="87">
                  <c:v>0.15615700722686693</c:v>
                </c:pt>
                <c:pt idx="88">
                  <c:v>0.16099179325999652</c:v>
                </c:pt>
                <c:pt idx="89">
                  <c:v>0.12866817155756208</c:v>
                </c:pt>
                <c:pt idx="90">
                  <c:v>0.12739222888072685</c:v>
                </c:pt>
                <c:pt idx="91">
                  <c:v>0.12940528634361234</c:v>
                </c:pt>
                <c:pt idx="92">
                  <c:v>0.1431384428960921</c:v>
                </c:pt>
                <c:pt idx="93">
                  <c:v>0.12367733956300674</c:v>
                </c:pt>
                <c:pt idx="94">
                  <c:v>0.12312166747455162</c:v>
                </c:pt>
                <c:pt idx="95">
                  <c:v>0.1336003770028275</c:v>
                </c:pt>
                <c:pt idx="96">
                  <c:v>0.13879582655307743</c:v>
                </c:pt>
                <c:pt idx="97">
                  <c:v>0.13529557259460798</c:v>
                </c:pt>
                <c:pt idx="98">
                  <c:v>0.1486593914865939</c:v>
                </c:pt>
                <c:pt idx="99">
                  <c:v>0.14808979913351714</c:v>
                </c:pt>
                <c:pt idx="100">
                  <c:v>0.1637249736564805</c:v>
                </c:pt>
                <c:pt idx="101">
                  <c:v>0.1358774212200058</c:v>
                </c:pt>
                <c:pt idx="102">
                  <c:v>0.12760005738057667</c:v>
                </c:pt>
                <c:pt idx="103">
                  <c:v>0.14489073561095722</c:v>
                </c:pt>
                <c:pt idx="104">
                  <c:v>0.1486293905608181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72.3769</c:v>
                </c:pt>
                <c:pt idx="1">
                  <c:v>1273.1296</c:v>
                </c:pt>
                <c:pt idx="2">
                  <c:v>1302.415</c:v>
                </c:pt>
                <c:pt idx="3">
                  <c:v>1326.3668</c:v>
                </c:pt>
                <c:pt idx="4">
                  <c:v>1315.7537</c:v>
                </c:pt>
                <c:pt idx="5">
                  <c:v>1321.7919</c:v>
                </c:pt>
                <c:pt idx="6">
                  <c:v>1320.22</c:v>
                </c:pt>
                <c:pt idx="7">
                  <c:v>1314.166</c:v>
                </c:pt>
                <c:pt idx="8">
                  <c:v>1324.4045</c:v>
                </c:pt>
                <c:pt idx="9">
                  <c:v>1157.7675</c:v>
                </c:pt>
                <c:pt idx="10">
                  <c:v>1186.3984</c:v>
                </c:pt>
                <c:pt idx="11">
                  <c:v>1320.8785</c:v>
                </c:pt>
                <c:pt idx="12">
                  <c:v>1296.3715</c:v>
                </c:pt>
                <c:pt idx="13">
                  <c:v>1197.7465</c:v>
                </c:pt>
                <c:pt idx="14">
                  <c:v>1319.172</c:v>
                </c:pt>
                <c:pt idx="15">
                  <c:v>1225.4308</c:v>
                </c:pt>
                <c:pt idx="16">
                  <c:v>1331.1383</c:v>
                </c:pt>
                <c:pt idx="17">
                  <c:v>1342.6471</c:v>
                </c:pt>
                <c:pt idx="18">
                  <c:v>1392.0791</c:v>
                </c:pt>
                <c:pt idx="19">
                  <c:v>1367.4538</c:v>
                </c:pt>
                <c:pt idx="20">
                  <c:v>1286.4367</c:v>
                </c:pt>
                <c:pt idx="21">
                  <c:v>1299.704</c:v>
                </c:pt>
                <c:pt idx="22">
                  <c:v>1283.2793</c:v>
                </c:pt>
                <c:pt idx="23">
                  <c:v>1172.1436</c:v>
                </c:pt>
                <c:pt idx="24">
                  <c:v>1153.4094</c:v>
                </c:pt>
                <c:pt idx="25">
                  <c:v>1207.888</c:v>
                </c:pt>
                <c:pt idx="26">
                  <c:v>1251.1845</c:v>
                </c:pt>
                <c:pt idx="27">
                  <c:v>1313.6468</c:v>
                </c:pt>
                <c:pt idx="28">
                  <c:v>1359.968</c:v>
                </c:pt>
                <c:pt idx="29">
                  <c:v>1349.3132</c:v>
                </c:pt>
                <c:pt idx="30">
                  <c:v>1352.4305</c:v>
                </c:pt>
                <c:pt idx="31">
                  <c:v>1348.7713</c:v>
                </c:pt>
                <c:pt idx="32">
                  <c:v>1351.2404</c:v>
                </c:pt>
                <c:pt idx="33">
                  <c:v>1356.3797</c:v>
                </c:pt>
                <c:pt idx="34">
                  <c:v>1371.4882</c:v>
                </c:pt>
                <c:pt idx="35">
                  <c:v>1359.9545</c:v>
                </c:pt>
                <c:pt idx="36">
                  <c:v>1346.5016</c:v>
                </c:pt>
                <c:pt idx="37">
                  <c:v>1346.3364</c:v>
                </c:pt>
                <c:pt idx="38">
                  <c:v>1331.8728</c:v>
                </c:pt>
                <c:pt idx="39">
                  <c:v>1357.3931</c:v>
                </c:pt>
                <c:pt idx="40">
                  <c:v>1351.1635</c:v>
                </c:pt>
                <c:pt idx="41">
                  <c:v>1355.8128</c:v>
                </c:pt>
                <c:pt idx="42">
                  <c:v>1350.711</c:v>
                </c:pt>
                <c:pt idx="43">
                  <c:v>1332.7643</c:v>
                </c:pt>
                <c:pt idx="44">
                  <c:v>1290.1071</c:v>
                </c:pt>
                <c:pt idx="45">
                  <c:v>1292.298</c:v>
                </c:pt>
                <c:pt idx="46">
                  <c:v>1294.4256</c:v>
                </c:pt>
                <c:pt idx="47">
                  <c:v>1285.2908</c:v>
                </c:pt>
                <c:pt idx="48">
                  <c:v>1206.3983</c:v>
                </c:pt>
                <c:pt idx="49">
                  <c:v>1173.9947</c:v>
                </c:pt>
                <c:pt idx="50">
                  <c:v>1132.7079</c:v>
                </c:pt>
                <c:pt idx="51">
                  <c:v>1161.9306</c:v>
                </c:pt>
              </c:numCache>
            </c:numRef>
          </c:xVal>
          <c:yVal>
            <c:numRef>
              <c:f>Sheet1!$B$109:$B$160</c:f>
              <c:numCache>
                <c:formatCode>General</c:formatCode>
                <c:ptCount val="52"/>
                <c:pt idx="0">
                  <c:v>0.16759550924804134</c:v>
                </c:pt>
                <c:pt idx="1">
                  <c:v>0.15955711956055274</c:v>
                </c:pt>
                <c:pt idx="2">
                  <c:v>0.1663496592169916</c:v>
                </c:pt>
                <c:pt idx="3">
                  <c:v>0.16841864716636198</c:v>
                </c:pt>
                <c:pt idx="4">
                  <c:v>0.15833942643594118</c:v>
                </c:pt>
                <c:pt idx="5">
                  <c:v>0.14581855442579017</c:v>
                </c:pt>
                <c:pt idx="6">
                  <c:v>0.12964761988872206</c:v>
                </c:pt>
                <c:pt idx="7">
                  <c:v>0.12263473053892215</c:v>
                </c:pt>
                <c:pt idx="8">
                  <c:v>0.13044006807682956</c:v>
                </c:pt>
                <c:pt idx="9">
                  <c:v>0.13955033780042086</c:v>
                </c:pt>
                <c:pt idx="10">
                  <c:v>0.14554038797085087</c:v>
                </c:pt>
                <c:pt idx="11">
                  <c:v>0.1365592342144551</c:v>
                </c:pt>
                <c:pt idx="12">
                  <c:v>0.14403628117913833</c:v>
                </c:pt>
                <c:pt idx="13">
                  <c:v>0.15101714488762547</c:v>
                </c:pt>
                <c:pt idx="14">
                  <c:v>0.1358304583538689</c:v>
                </c:pt>
                <c:pt idx="15">
                  <c:v>0.14728050519454064</c:v>
                </c:pt>
                <c:pt idx="16">
                  <c:v>0.1274432267540391</c:v>
                </c:pt>
                <c:pt idx="17">
                  <c:v>0.11591355599214145</c:v>
                </c:pt>
                <c:pt idx="18">
                  <c:v>0.12824850069198832</c:v>
                </c:pt>
                <c:pt idx="19">
                  <c:v>0.14616755793226383</c:v>
                </c:pt>
                <c:pt idx="20">
                  <c:v>0.13756316676024705</c:v>
                </c:pt>
                <c:pt idx="21">
                  <c:v>0.13103324991061852</c:v>
                </c:pt>
                <c:pt idx="22">
                  <c:v>0.1367814020544242</c:v>
                </c:pt>
                <c:pt idx="23">
                  <c:v>0.15877437325905291</c:v>
                </c:pt>
                <c:pt idx="24">
                  <c:v>0.15927616563417019</c:v>
                </c:pt>
                <c:pt idx="25">
                  <c:v>0.14803418803418802</c:v>
                </c:pt>
                <c:pt idx="26">
                  <c:v>0.13899811933663875</c:v>
                </c:pt>
                <c:pt idx="27">
                  <c:v>0.12880451835582052</c:v>
                </c:pt>
                <c:pt idx="28">
                  <c:v>0.12376237623762376</c:v>
                </c:pt>
                <c:pt idx="29">
                  <c:v>0.12100611828687967</c:v>
                </c:pt>
                <c:pt idx="30">
                  <c:v>0.1306049822064057</c:v>
                </c:pt>
                <c:pt idx="31">
                  <c:v>0.11788372560852947</c:v>
                </c:pt>
                <c:pt idx="32">
                  <c:v>0.11280761631040058</c:v>
                </c:pt>
                <c:pt idx="33">
                  <c:v>0.13306959180003597</c:v>
                </c:pt>
                <c:pt idx="34">
                  <c:v>0.1514814814814815</c:v>
                </c:pt>
                <c:pt idx="35">
                  <c:v>0.16462418300653595</c:v>
                </c:pt>
                <c:pt idx="36">
                  <c:v>0.13451029844472467</c:v>
                </c:pt>
                <c:pt idx="37">
                  <c:v>0.13987820631112752</c:v>
                </c:pt>
                <c:pt idx="38">
                  <c:v>0.13057919867137222</c:v>
                </c:pt>
                <c:pt idx="39">
                  <c:v>0.15516976494085113</c:v>
                </c:pt>
                <c:pt idx="40">
                  <c:v>0.14730073276506656</c:v>
                </c:pt>
                <c:pt idx="41">
                  <c:v>0.15453005927180355</c:v>
                </c:pt>
                <c:pt idx="42">
                  <c:v>0.1465903819390753</c:v>
                </c:pt>
                <c:pt idx="43">
                  <c:v>0.15350039330261828</c:v>
                </c:pt>
                <c:pt idx="44">
                  <c:v>0.14648492204275979</c:v>
                </c:pt>
                <c:pt idx="45">
                  <c:v>0.14991050119331742</c:v>
                </c:pt>
                <c:pt idx="46">
                  <c:v>0.15446855461566752</c:v>
                </c:pt>
                <c:pt idx="47">
                  <c:v>0.1564245810055866</c:v>
                </c:pt>
                <c:pt idx="48">
                  <c:v>0.16450281425891183</c:v>
                </c:pt>
                <c:pt idx="49">
                  <c:v>0.17764407853071565</c:v>
                </c:pt>
                <c:pt idx="50">
                  <c:v>0.20582333428887342</c:v>
                </c:pt>
                <c:pt idx="51">
                  <c:v>0.1861741283544134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4.7185251775132</c:v>
                </c:pt>
              </c:numCache>
            </c:numRef>
          </c:xVal>
          <c:yVal>
            <c:numRef>
              <c:f>Sheet1!$B$163:$B$164</c:f>
              <c:numCache>
                <c:formatCode>General</c:formatCode>
                <c:ptCount val="2"/>
                <c:pt idx="0">
                  <c:v>0.20146975765295125</c:v>
                </c:pt>
                <c:pt idx="1">
                  <c:v>0.2014697576529512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4.7185251775132</c:v>
                </c:pt>
                <c:pt idx="1">
                  <c:v>924.7185251775132</c:v>
                </c:pt>
              </c:numCache>
            </c:numRef>
          </c:xVal>
          <c:yVal>
            <c:numRef>
              <c:f>Sheet1!$B$167:$B$168</c:f>
              <c:numCache>
                <c:formatCode>General</c:formatCode>
                <c:ptCount val="2"/>
                <c:pt idx="0">
                  <c:v>0.201469757652951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43.2643609022869</c:v>
                </c:pt>
              </c:numCache>
            </c:numRef>
          </c:xVal>
          <c:yVal>
            <c:numRef>
              <c:f>Sheet1!$B$171:$B$172</c:f>
              <c:numCache>
                <c:formatCode>General</c:formatCode>
                <c:ptCount val="2"/>
                <c:pt idx="0">
                  <c:v>0.18353608885822859</c:v>
                </c:pt>
                <c:pt idx="1">
                  <c:v>0.1835360888582285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43.2643609022869</c:v>
                </c:pt>
                <c:pt idx="1">
                  <c:v>1043.2643609022869</c:v>
                </c:pt>
              </c:numCache>
            </c:numRef>
          </c:xVal>
          <c:yVal>
            <c:numRef>
              <c:f>Sheet1!$B$175:$B$176</c:f>
              <c:numCache>
                <c:formatCode>General</c:formatCode>
                <c:ptCount val="2"/>
                <c:pt idx="0">
                  <c:v>0.1835360888582285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89.4243245158502</c:v>
                </c:pt>
              </c:numCache>
            </c:numRef>
          </c:xVal>
          <c:yVal>
            <c:numRef>
              <c:f>Sheet1!$B$179:$B$180</c:f>
              <c:numCache>
                <c:formatCode>General</c:formatCode>
                <c:ptCount val="2"/>
                <c:pt idx="0">
                  <c:v>0.16142494203920466</c:v>
                </c:pt>
                <c:pt idx="1">
                  <c:v>0.1614249420392046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89.4243245158502</c:v>
                </c:pt>
                <c:pt idx="1">
                  <c:v>1189.4243245158502</c:v>
                </c:pt>
              </c:numCache>
            </c:numRef>
          </c:xVal>
          <c:yVal>
            <c:numRef>
              <c:f>Sheet1!$B$183:$B$184</c:f>
              <c:numCache>
                <c:formatCode>General</c:formatCode>
                <c:ptCount val="2"/>
                <c:pt idx="0">
                  <c:v>0.1614249420392046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72.3769</c:v>
                </c:pt>
                <c:pt idx="1">
                  <c:v>1273.1296</c:v>
                </c:pt>
                <c:pt idx="2">
                  <c:v>1302.415</c:v>
                </c:pt>
                <c:pt idx="3">
                  <c:v>1326.3668</c:v>
                </c:pt>
                <c:pt idx="4">
                  <c:v>1315.7537</c:v>
                </c:pt>
                <c:pt idx="5">
                  <c:v>1321.7919</c:v>
                </c:pt>
                <c:pt idx="6">
                  <c:v>1320.22</c:v>
                </c:pt>
                <c:pt idx="7">
                  <c:v>1314.166</c:v>
                </c:pt>
                <c:pt idx="8">
                  <c:v>1324.4045</c:v>
                </c:pt>
                <c:pt idx="9">
                  <c:v>1157.7675</c:v>
                </c:pt>
                <c:pt idx="10">
                  <c:v>1186.3984</c:v>
                </c:pt>
                <c:pt idx="11">
                  <c:v>1320.8785</c:v>
                </c:pt>
                <c:pt idx="12">
                  <c:v>1296.3715</c:v>
                </c:pt>
                <c:pt idx="13">
                  <c:v>1197.7465</c:v>
                </c:pt>
                <c:pt idx="14">
                  <c:v>1319.172</c:v>
                </c:pt>
                <c:pt idx="15">
                  <c:v>1225.4308</c:v>
                </c:pt>
                <c:pt idx="16">
                  <c:v>1331.1383</c:v>
                </c:pt>
                <c:pt idx="17">
                  <c:v>1342.6471</c:v>
                </c:pt>
                <c:pt idx="18">
                  <c:v>1392.0791</c:v>
                </c:pt>
                <c:pt idx="19">
                  <c:v>1367.4538</c:v>
                </c:pt>
                <c:pt idx="20">
                  <c:v>1286.4367</c:v>
                </c:pt>
                <c:pt idx="21">
                  <c:v>1299.704</c:v>
                </c:pt>
                <c:pt idx="22">
                  <c:v>1283.2793</c:v>
                </c:pt>
                <c:pt idx="23">
                  <c:v>1172.1436</c:v>
                </c:pt>
                <c:pt idx="24">
                  <c:v>1153.4094</c:v>
                </c:pt>
                <c:pt idx="25">
                  <c:v>1207.888</c:v>
                </c:pt>
                <c:pt idx="26">
                  <c:v>1251.1845</c:v>
                </c:pt>
                <c:pt idx="27">
                  <c:v>1313.6468</c:v>
                </c:pt>
                <c:pt idx="28">
                  <c:v>1359.968</c:v>
                </c:pt>
                <c:pt idx="29">
                  <c:v>1349.3132</c:v>
                </c:pt>
                <c:pt idx="30">
                  <c:v>1352.4305</c:v>
                </c:pt>
                <c:pt idx="31">
                  <c:v>1348.7713</c:v>
                </c:pt>
                <c:pt idx="32">
                  <c:v>1351.2404</c:v>
                </c:pt>
                <c:pt idx="33">
                  <c:v>1356.3797</c:v>
                </c:pt>
                <c:pt idx="34">
                  <c:v>1371.4882</c:v>
                </c:pt>
                <c:pt idx="35">
                  <c:v>1359.9545</c:v>
                </c:pt>
                <c:pt idx="36">
                  <c:v>1346.5016</c:v>
                </c:pt>
                <c:pt idx="37">
                  <c:v>1346.3364</c:v>
                </c:pt>
                <c:pt idx="38">
                  <c:v>1331.8728</c:v>
                </c:pt>
                <c:pt idx="39">
                  <c:v>1357.3931</c:v>
                </c:pt>
                <c:pt idx="40">
                  <c:v>1351.1635</c:v>
                </c:pt>
                <c:pt idx="41">
                  <c:v>1355.8128</c:v>
                </c:pt>
                <c:pt idx="42">
                  <c:v>1350.711</c:v>
                </c:pt>
                <c:pt idx="43">
                  <c:v>1332.7643</c:v>
                </c:pt>
                <c:pt idx="44">
                  <c:v>1290.1071</c:v>
                </c:pt>
                <c:pt idx="45">
                  <c:v>1292.298</c:v>
                </c:pt>
                <c:pt idx="46">
                  <c:v>1294.4256</c:v>
                </c:pt>
                <c:pt idx="47">
                  <c:v>1285.2908</c:v>
                </c:pt>
                <c:pt idx="48">
                  <c:v>1206.3983</c:v>
                </c:pt>
                <c:pt idx="49">
                  <c:v>1173.9947</c:v>
                </c:pt>
                <c:pt idx="50">
                  <c:v>1132.7079</c:v>
                </c:pt>
                <c:pt idx="51">
                  <c:v>1161.9306</c:v>
                </c:pt>
                <c:pt idx="52">
                  <c:v>1043.2643609022869</c:v>
                </c:pt>
                <c:pt idx="53">
                  <c:v>924.7185251775132</c:v>
                </c:pt>
                <c:pt idx="54">
                  <c:v>1189.4243245158502</c:v>
                </c:pt>
              </c:numCache>
            </c:numRef>
          </c:xVal>
          <c:yVal>
            <c:numRef>
              <c:f>Sheet1!$B$187:$B$241</c:f>
              <c:numCache>
                <c:formatCode>General</c:formatCode>
                <c:ptCount val="55"/>
                <c:pt idx="0">
                  <c:v>0.14887583809720017</c:v>
                </c:pt>
                <c:pt idx="1">
                  <c:v>0.14876196929346483</c:v>
                </c:pt>
                <c:pt idx="2">
                  <c:v>0.1443316604520787</c:v>
                </c:pt>
                <c:pt idx="3">
                  <c:v>0.14070822108273043</c:v>
                </c:pt>
                <c:pt idx="4">
                  <c:v>0.14231377575381277</c:v>
                </c:pt>
                <c:pt idx="5">
                  <c:v>0.141400314068261</c:v>
                </c:pt>
                <c:pt idx="6">
                  <c:v>0.14163811182645364</c:v>
                </c:pt>
                <c:pt idx="7">
                  <c:v>0.14255396374330478</c:v>
                </c:pt>
                <c:pt idx="8">
                  <c:v>0.1410050787332816</c:v>
                </c:pt>
                <c:pt idx="9">
                  <c:v>0.16621400107690879</c:v>
                </c:pt>
                <c:pt idx="10">
                  <c:v>0.16188270529789117</c:v>
                </c:pt>
                <c:pt idx="11">
                  <c:v>0.1415384936422372</c:v>
                </c:pt>
                <c:pt idx="12">
                  <c:v>0.14524592392407898</c:v>
                </c:pt>
                <c:pt idx="13">
                  <c:v>0.1601659594872506</c:v>
                </c:pt>
                <c:pt idx="14">
                  <c:v>0.14179665375061287</c:v>
                </c:pt>
                <c:pt idx="15">
                  <c:v>0.15597786579354703</c:v>
                </c:pt>
                <c:pt idx="16">
                  <c:v>0.13998638635837377</c:v>
                </c:pt>
                <c:pt idx="17">
                  <c:v>0.13824532977749238</c:v>
                </c:pt>
                <c:pt idx="18">
                  <c:v>0.13076723398069948</c:v>
                </c:pt>
                <c:pt idx="19">
                  <c:v>0.13449256074119398</c:v>
                </c:pt>
                <c:pt idx="20">
                  <c:v>0.14674886505779758</c:v>
                </c:pt>
                <c:pt idx="21">
                  <c:v>0.14474178178451733</c:v>
                </c:pt>
                <c:pt idx="22">
                  <c:v>0.14722651798846587</c:v>
                </c:pt>
                <c:pt idx="23">
                  <c:v>0.16403917802738063</c:v>
                </c:pt>
                <c:pt idx="24">
                  <c:v>0.16687329645828122</c:v>
                </c:pt>
                <c:pt idx="25">
                  <c:v>0.1586317486820399</c:v>
                </c:pt>
                <c:pt idx="26">
                  <c:v>0.1520818341597498</c:v>
                </c:pt>
                <c:pt idx="27">
                  <c:v>0.14263250855916687</c:v>
                </c:pt>
                <c:pt idx="28">
                  <c:v>0.13562501602351376</c:v>
                </c:pt>
                <c:pt idx="29">
                  <c:v>0.13723687908986085</c:v>
                </c:pt>
                <c:pt idx="30">
                  <c:v>0.13676529250571814</c:v>
                </c:pt>
                <c:pt idx="31">
                  <c:v>0.13731885797220997</c:v>
                </c:pt>
                <c:pt idx="32">
                  <c:v>0.13694533138352533</c:v>
                </c:pt>
                <c:pt idx="33">
                  <c:v>0.13616785570525095</c:v>
                </c:pt>
                <c:pt idx="34">
                  <c:v>0.13388223484536574</c:v>
                </c:pt>
                <c:pt idx="35">
                  <c:v>0.13562705830975055</c:v>
                </c:pt>
                <c:pt idx="36">
                  <c:v>0.13766221923677505</c:v>
                </c:pt>
                <c:pt idx="37">
                  <c:v>0.13768721076909482</c:v>
                </c:pt>
                <c:pt idx="38">
                  <c:v>0.13987527085904652</c:v>
                </c:pt>
                <c:pt idx="39">
                  <c:v>0.13601454808507638</c:v>
                </c:pt>
                <c:pt idx="40">
                  <c:v>0.13695696485105185</c:v>
                </c:pt>
                <c:pt idx="41">
                  <c:v>0.1362536165991497</c:v>
                </c:pt>
                <c:pt idx="42">
                  <c:v>0.13702541926009962</c:v>
                </c:pt>
                <c:pt idx="43">
                  <c:v>0.1397404043271878</c:v>
                </c:pt>
                <c:pt idx="44">
                  <c:v>0.14619360525013153</c:v>
                </c:pt>
                <c:pt idx="45">
                  <c:v>0.14586216488597079</c:v>
                </c:pt>
                <c:pt idx="46">
                  <c:v>0.14554030057505363</c:v>
                </c:pt>
                <c:pt idx="47">
                  <c:v>0.14692221733918506</c:v>
                </c:pt>
                <c:pt idx="48">
                  <c:v>0.15885711118625745</c:v>
                </c:pt>
                <c:pt idx="49">
                  <c:v>0.1637591427642021</c:v>
                </c:pt>
                <c:pt idx="50">
                  <c:v>0.17000502894204292</c:v>
                </c:pt>
                <c:pt idx="51">
                  <c:v>0.1655842053856232</c:v>
                </c:pt>
                <c:pt idx="52">
                  <c:v>0.18353608885822859</c:v>
                </c:pt>
                <c:pt idx="53">
                  <c:v>0.20146975765295125</c:v>
                </c:pt>
                <c:pt idx="54">
                  <c:v>0.1614249420392046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70.0"/>
          <c:min val="66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558211256746335"/>
          <c:min val="0.0902460930483204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2068047465536273</c:v>
                </c:pt>
                <c:pt idx="1">
                  <c:v>0.13146199261282368</c:v>
                </c:pt>
                <c:pt idx="2">
                  <c:v>0.12999614464136697</c:v>
                </c:pt>
                <c:pt idx="3">
                  <c:v>0.13447866508800577</c:v>
                </c:pt>
                <c:pt idx="4">
                  <c:v>0.12244772597541115</c:v>
                </c:pt>
                <c:pt idx="5">
                  <c:v>0.11295153463650359</c:v>
                </c:pt>
                <c:pt idx="6">
                  <c:v>0.1154346368332187</c:v>
                </c:pt>
                <c:pt idx="7">
                  <c:v>0.11153655399781995</c:v>
                </c:pt>
                <c:pt idx="8">
                  <c:v>0.11383618659934938</c:v>
                </c:pt>
                <c:pt idx="9">
                  <c:v>0.10767310977804981</c:v>
                </c:pt>
                <c:pt idx="10">
                  <c:v>0.09757266361366747</c:v>
                </c:pt>
                <c:pt idx="11">
                  <c:v>0.10040023235281642</c:v>
                </c:pt>
                <c:pt idx="12">
                  <c:v>0.10639250962876806</c:v>
                </c:pt>
                <c:pt idx="13">
                  <c:v>0.10399670452719528</c:v>
                </c:pt>
                <c:pt idx="14">
                  <c:v>0.12373537590353374</c:v>
                </c:pt>
                <c:pt idx="15">
                  <c:v>0.12225022574195407</c:v>
                </c:pt>
                <c:pt idx="16">
                  <c:v>0.12141015065443728</c:v>
                </c:pt>
                <c:pt idx="17">
                  <c:v>0.12446441925567295</c:v>
                </c:pt>
                <c:pt idx="18">
                  <c:v>0.12588230378739987</c:v>
                </c:pt>
                <c:pt idx="19">
                  <c:v>0.12601240248954995</c:v>
                </c:pt>
                <c:pt idx="20">
                  <c:v>0.13220807205462168</c:v>
                </c:pt>
                <c:pt idx="21">
                  <c:v>0.11933122365570414</c:v>
                </c:pt>
                <c:pt idx="22">
                  <c:v>0.11699797930237761</c:v>
                </c:pt>
                <c:pt idx="23">
                  <c:v>0.1215698994856215</c:v>
                </c:pt>
                <c:pt idx="24">
                  <c:v>0.11783123460114238</c:v>
                </c:pt>
                <c:pt idx="25">
                  <c:v>0.11712962436376766</c:v>
                </c:pt>
                <c:pt idx="26">
                  <c:v>0.12421587219613671</c:v>
                </c:pt>
                <c:pt idx="27">
                  <c:v>0.11740199995272341</c:v>
                </c:pt>
                <c:pt idx="28">
                  <c:v>0.11537748348450531</c:v>
                </c:pt>
                <c:pt idx="29">
                  <c:v>0.11819016621378658</c:v>
                </c:pt>
                <c:pt idx="30">
                  <c:v>0.11635505723462046</c:v>
                </c:pt>
                <c:pt idx="31">
                  <c:v>0.11767335115672782</c:v>
                </c:pt>
                <c:pt idx="32">
                  <c:v>0.11648048884603249</c:v>
                </c:pt>
                <c:pt idx="33">
                  <c:v>0.1148555224701803</c:v>
                </c:pt>
                <c:pt idx="34">
                  <c:v>0.12063962159987868</c:v>
                </c:pt>
                <c:pt idx="35">
                  <c:v>0.1223697247706422</c:v>
                </c:pt>
                <c:pt idx="36">
                  <c:v>0.12254670632229597</c:v>
                </c:pt>
                <c:pt idx="37">
                  <c:v>0.12066285167153105</c:v>
                </c:pt>
                <c:pt idx="38">
                  <c:v>0.12085963257397336</c:v>
                </c:pt>
                <c:pt idx="39">
                  <c:v>0.12418986575665195</c:v>
                </c:pt>
                <c:pt idx="40">
                  <c:v>0.1331616742478349</c:v>
                </c:pt>
                <c:pt idx="41">
                  <c:v>0.12892954918505165</c:v>
                </c:pt>
                <c:pt idx="42">
                  <c:v>0.13417806784788958</c:v>
                </c:pt>
                <c:pt idx="43">
                  <c:v>0.13734173200605373</c:v>
                </c:pt>
                <c:pt idx="44">
                  <c:v>0.14780370007659469</c:v>
                </c:pt>
                <c:pt idx="45">
                  <c:v>0.14842715620669228</c:v>
                </c:pt>
                <c:pt idx="46">
                  <c:v>0.1446920434920885</c:v>
                </c:pt>
                <c:pt idx="47">
                  <c:v>0.14000941080724644</c:v>
                </c:pt>
                <c:pt idx="48">
                  <c:v>0.14217689857695073</c:v>
                </c:pt>
                <c:pt idx="49">
                  <c:v>0.1394603267562572</c:v>
                </c:pt>
                <c:pt idx="50">
                  <c:v>0.13024500816237028</c:v>
                </c:pt>
                <c:pt idx="51">
                  <c:v>0.12630632609110365</c:v>
                </c:pt>
                <c:pt idx="52">
                  <c:v>0.12484186749786735</c:v>
                </c:pt>
                <c:pt idx="53">
                  <c:v>0.14721184079078192</c:v>
                </c:pt>
                <c:pt idx="54">
                  <c:v>0.1428566934373325</c:v>
                </c:pt>
                <c:pt idx="55">
                  <c:v>0.13504331558563043</c:v>
                </c:pt>
                <c:pt idx="56">
                  <c:v>0.13484353692932807</c:v>
                </c:pt>
                <c:pt idx="57">
                  <c:v>0.1407194405485949</c:v>
                </c:pt>
                <c:pt idx="58">
                  <c:v>0.14670528287996407</c:v>
                </c:pt>
                <c:pt idx="59">
                  <c:v>0.15417234332234406</c:v>
                </c:pt>
                <c:pt idx="60">
                  <c:v>0.15848967040733022</c:v>
                </c:pt>
                <c:pt idx="61">
                  <c:v>0.1461225525693016</c:v>
                </c:pt>
                <c:pt idx="62">
                  <c:v>0.12876496393172848</c:v>
                </c:pt>
                <c:pt idx="63">
                  <c:v>0.13365233877645033</c:v>
                </c:pt>
                <c:pt idx="64">
                  <c:v>0.13272329317942289</c:v>
                </c:pt>
                <c:pt idx="65">
                  <c:v>0.13204639604105012</c:v>
                </c:pt>
                <c:pt idx="66">
                  <c:v>0.1399066409455113</c:v>
                </c:pt>
                <c:pt idx="67">
                  <c:v>0.13853033394252423</c:v>
                </c:pt>
                <c:pt idx="68">
                  <c:v>0.13147182202946972</c:v>
                </c:pt>
                <c:pt idx="69">
                  <c:v>0.13364345821718757</c:v>
                </c:pt>
                <c:pt idx="70">
                  <c:v>0.12897179121135727</c:v>
                </c:pt>
                <c:pt idx="71">
                  <c:v>0.1310342153498303</c:v>
                </c:pt>
                <c:pt idx="72">
                  <c:v>0.13710156601091936</c:v>
                </c:pt>
                <c:pt idx="73">
                  <c:v>0.13004535410986404</c:v>
                </c:pt>
                <c:pt idx="74">
                  <c:v>0.13217856875880923</c:v>
                </c:pt>
                <c:pt idx="75">
                  <c:v>0.12472995878763843</c:v>
                </c:pt>
                <c:pt idx="76">
                  <c:v>0.12077282474009811</c:v>
                </c:pt>
                <c:pt idx="77">
                  <c:v>0.11889526039686553</c:v>
                </c:pt>
                <c:pt idx="78">
                  <c:v>0.11944584687168756</c:v>
                </c:pt>
                <c:pt idx="79">
                  <c:v>0.11649901795154896</c:v>
                </c:pt>
                <c:pt idx="80">
                  <c:v>0.12091442252736616</c:v>
                </c:pt>
                <c:pt idx="81">
                  <c:v>0.12645847451997153</c:v>
                </c:pt>
                <c:pt idx="82">
                  <c:v>0.12455776275671337</c:v>
                </c:pt>
                <c:pt idx="83">
                  <c:v>0.12411029670676833</c:v>
                </c:pt>
                <c:pt idx="84">
                  <c:v>0.12453845770618864</c:v>
                </c:pt>
                <c:pt idx="85">
                  <c:v>0.12349277852797652</c:v>
                </c:pt>
                <c:pt idx="86">
                  <c:v>0.12546509209616072</c:v>
                </c:pt>
                <c:pt idx="87">
                  <c:v>0.12618745707484894</c:v>
                </c:pt>
                <c:pt idx="88">
                  <c:v>0.13176864754979511</c:v>
                </c:pt>
                <c:pt idx="89">
                  <c:v>0.13470462946432707</c:v>
                </c:pt>
                <c:pt idx="90">
                  <c:v>0.12973001781521679</c:v>
                </c:pt>
                <c:pt idx="91">
                  <c:v>0.13333454252954574</c:v>
                </c:pt>
                <c:pt idx="92">
                  <c:v>0.13484540102149148</c:v>
                </c:pt>
                <c:pt idx="93">
                  <c:v>0.13191767926803263</c:v>
                </c:pt>
                <c:pt idx="94">
                  <c:v>0.12891145052269015</c:v>
                </c:pt>
                <c:pt idx="95">
                  <c:v>0.1310484940542406</c:v>
                </c:pt>
                <c:pt idx="96">
                  <c:v>0.12605822427225216</c:v>
                </c:pt>
                <c:pt idx="97">
                  <c:v>0.1349870882810515</c:v>
                </c:pt>
                <c:pt idx="98">
                  <c:v>0.1336838555908146</c:v>
                </c:pt>
                <c:pt idx="99">
                  <c:v>0.13668288014633195</c:v>
                </c:pt>
                <c:pt idx="100">
                  <c:v>0.1344207372082396</c:v>
                </c:pt>
                <c:pt idx="101">
                  <c:v>0.13480932135447307</c:v>
                </c:pt>
                <c:pt idx="102">
                  <c:v>0.13255372605809762</c:v>
                </c:pt>
                <c:pt idx="103">
                  <c:v>0.12652183874340867</c:v>
                </c:pt>
                <c:pt idx="104">
                  <c:v>0.12330833901829591</c:v>
                </c:pt>
              </c:numCache>
            </c:numRef>
          </c:xVal>
          <c:yVal>
            <c:numRef>
              <c:f>Sheet1!$B$2:$B$106</c:f>
              <c:numCache>
                <c:formatCode>General</c:formatCode>
                <c:ptCount val="105"/>
                <c:pt idx="0">
                  <c:v>0.17871326449563146</c:v>
                </c:pt>
                <c:pt idx="1">
                  <c:v>0.17244395844723892</c:v>
                </c:pt>
                <c:pt idx="2">
                  <c:v>0.17025336584331602</c:v>
                </c:pt>
                <c:pt idx="3">
                  <c:v>0.17527895135954935</c:v>
                </c:pt>
                <c:pt idx="4">
                  <c:v>0.21203293223559214</c:v>
                </c:pt>
                <c:pt idx="5">
                  <c:v>0.21191523390643743</c:v>
                </c:pt>
                <c:pt idx="6">
                  <c:v>0.2379850938062195</c:v>
                </c:pt>
                <c:pt idx="7">
                  <c:v>0.22453605326533504</c:v>
                </c:pt>
                <c:pt idx="8">
                  <c:v>0.23006896551724138</c:v>
                </c:pt>
                <c:pt idx="9">
                  <c:v>0.22907280056912496</c:v>
                </c:pt>
                <c:pt idx="10">
                  <c:v>0.21959048146098506</c:v>
                </c:pt>
                <c:pt idx="11">
                  <c:v>0.2169830788278993</c:v>
                </c:pt>
                <c:pt idx="12">
                  <c:v>0.19853345554537122</c:v>
                </c:pt>
                <c:pt idx="13">
                  <c:v>0.18983121483642426</c:v>
                </c:pt>
                <c:pt idx="14">
                  <c:v>0.16496579567118985</c:v>
                </c:pt>
                <c:pt idx="15">
                  <c:v>0.15082936865115082</c:v>
                </c:pt>
                <c:pt idx="16">
                  <c:v>0.14701200983938648</c:v>
                </c:pt>
                <c:pt idx="17">
                  <c:v>0.147643475472908</c:v>
                </c:pt>
                <c:pt idx="18">
                  <c:v>0.13295118343195267</c:v>
                </c:pt>
                <c:pt idx="19">
                  <c:v>0.12522982635342186</c:v>
                </c:pt>
                <c:pt idx="20">
                  <c:v>0.16063919259882253</c:v>
                </c:pt>
                <c:pt idx="21">
                  <c:v>0.1484842633713072</c:v>
                </c:pt>
                <c:pt idx="22">
                  <c:v>0.12748835239305378</c:v>
                </c:pt>
                <c:pt idx="23">
                  <c:v>0.1453639514731369</c:v>
                </c:pt>
                <c:pt idx="24">
                  <c:v>0.1491442542787286</c:v>
                </c:pt>
                <c:pt idx="25">
                  <c:v>0.13845099383139137</c:v>
                </c:pt>
                <c:pt idx="26">
                  <c:v>0.14704225352112676</c:v>
                </c:pt>
                <c:pt idx="27">
                  <c:v>0.1636990235496841</c:v>
                </c:pt>
                <c:pt idx="28">
                  <c:v>0.17227456258411844</c:v>
                </c:pt>
                <c:pt idx="29">
                  <c:v>0.1650602409638554</c:v>
                </c:pt>
                <c:pt idx="30">
                  <c:v>0.17488692655610596</c:v>
                </c:pt>
                <c:pt idx="31">
                  <c:v>0.1566265060240964</c:v>
                </c:pt>
                <c:pt idx="32">
                  <c:v>0.16640952171038131</c:v>
                </c:pt>
                <c:pt idx="33">
                  <c:v>0.16251189343482397</c:v>
                </c:pt>
                <c:pt idx="34">
                  <c:v>0.17239574245332404</c:v>
                </c:pt>
                <c:pt idx="35">
                  <c:v>0.22559293987865417</c:v>
                </c:pt>
                <c:pt idx="36">
                  <c:v>0.18735215265730956</c:v>
                </c:pt>
                <c:pt idx="37">
                  <c:v>0.17413793103448275</c:v>
                </c:pt>
                <c:pt idx="38">
                  <c:v>0.16989128431914502</c:v>
                </c:pt>
                <c:pt idx="39">
                  <c:v>0.1693499082942735</c:v>
                </c:pt>
                <c:pt idx="40">
                  <c:v>0.16853556485355647</c:v>
                </c:pt>
                <c:pt idx="41">
                  <c:v>0.1634011090573013</c:v>
                </c:pt>
                <c:pt idx="42">
                  <c:v>0.17408335944844877</c:v>
                </c:pt>
                <c:pt idx="43">
                  <c:v>0.1715578716401536</c:v>
                </c:pt>
                <c:pt idx="44">
                  <c:v>0.16095854098186832</c:v>
                </c:pt>
                <c:pt idx="45">
                  <c:v>0.1548496315475005</c:v>
                </c:pt>
                <c:pt idx="46">
                  <c:v>0.1563079324812177</c:v>
                </c:pt>
                <c:pt idx="47">
                  <c:v>0.15777888944472235</c:v>
                </c:pt>
                <c:pt idx="48">
                  <c:v>0.15445402298850575</c:v>
                </c:pt>
                <c:pt idx="49">
                  <c:v>0.17856437598736177</c:v>
                </c:pt>
                <c:pt idx="50">
                  <c:v>0.15999038615606473</c:v>
                </c:pt>
                <c:pt idx="51">
                  <c:v>0.1646090534979424</c:v>
                </c:pt>
                <c:pt idx="52">
                  <c:v>0.16628440366972477</c:v>
                </c:pt>
                <c:pt idx="53">
                  <c:v>0.15564566437928884</c:v>
                </c:pt>
                <c:pt idx="54">
                  <c:v>0.1579898362507058</c:v>
                </c:pt>
                <c:pt idx="55">
                  <c:v>0.15723419370116032</c:v>
                </c:pt>
                <c:pt idx="56">
                  <c:v>0.1649002849002849</c:v>
                </c:pt>
                <c:pt idx="57">
                  <c:v>0.14748238177918496</c:v>
                </c:pt>
                <c:pt idx="58">
                  <c:v>0.14757606773983437</c:v>
                </c:pt>
                <c:pt idx="59">
                  <c:v>0.1363914373088685</c:v>
                </c:pt>
                <c:pt idx="60">
                  <c:v>0.13633191651335405</c:v>
                </c:pt>
                <c:pt idx="61">
                  <c:v>0.14007287518006947</c:v>
                </c:pt>
                <c:pt idx="62">
                  <c:v>0.16141627473600142</c:v>
                </c:pt>
                <c:pt idx="63">
                  <c:v>0.1601366742596811</c:v>
                </c:pt>
                <c:pt idx="64">
                  <c:v>0.15851528384279476</c:v>
                </c:pt>
                <c:pt idx="65">
                  <c:v>0.16333200478278198</c:v>
                </c:pt>
                <c:pt idx="66">
                  <c:v>0.1540864133263925</c:v>
                </c:pt>
                <c:pt idx="67">
                  <c:v>0.14832707103238504</c:v>
                </c:pt>
                <c:pt idx="68">
                  <c:v>0.13880673125956144</c:v>
                </c:pt>
                <c:pt idx="69">
                  <c:v>0.12687079500205958</c:v>
                </c:pt>
                <c:pt idx="70">
                  <c:v>0.12676238520243177</c:v>
                </c:pt>
                <c:pt idx="71">
                  <c:v>0.12544192745842608</c:v>
                </c:pt>
                <c:pt idx="72">
                  <c:v>0.1374246987951807</c:v>
                </c:pt>
                <c:pt idx="73">
                  <c:v>0.13767193071828834</c:v>
                </c:pt>
                <c:pt idx="74">
                  <c:v>0.1292578681517938</c:v>
                </c:pt>
                <c:pt idx="75">
                  <c:v>0.13484009840098402</c:v>
                </c:pt>
                <c:pt idx="76">
                  <c:v>0.13730818414322252</c:v>
                </c:pt>
                <c:pt idx="77">
                  <c:v>0.1371135671952587</c:v>
                </c:pt>
                <c:pt idx="78">
                  <c:v>0.14234234234234233</c:v>
                </c:pt>
                <c:pt idx="79">
                  <c:v>0.14733944954128442</c:v>
                </c:pt>
                <c:pt idx="80">
                  <c:v>0.14644351464435146</c:v>
                </c:pt>
                <c:pt idx="81">
                  <c:v>0.13844343092540826</c:v>
                </c:pt>
                <c:pt idx="82">
                  <c:v>0.13989637305699482</c:v>
                </c:pt>
                <c:pt idx="83">
                  <c:v>0.12342569269521411</c:v>
                </c:pt>
                <c:pt idx="84">
                  <c:v>0.12353616532721011</c:v>
                </c:pt>
                <c:pt idx="85">
                  <c:v>0.11733112993183227</c:v>
                </c:pt>
                <c:pt idx="86">
                  <c:v>0.12542061792597126</c:v>
                </c:pt>
                <c:pt idx="87">
                  <c:v>0.15615700722686693</c:v>
                </c:pt>
                <c:pt idx="88">
                  <c:v>0.16099179325999652</c:v>
                </c:pt>
                <c:pt idx="89">
                  <c:v>0.12866817155756208</c:v>
                </c:pt>
                <c:pt idx="90">
                  <c:v>0.12739222888072685</c:v>
                </c:pt>
                <c:pt idx="91">
                  <c:v>0.12940528634361234</c:v>
                </c:pt>
                <c:pt idx="92">
                  <c:v>0.1431384428960921</c:v>
                </c:pt>
                <c:pt idx="93">
                  <c:v>0.12367733956300674</c:v>
                </c:pt>
                <c:pt idx="94">
                  <c:v>0.12312166747455162</c:v>
                </c:pt>
                <c:pt idx="95">
                  <c:v>0.1336003770028275</c:v>
                </c:pt>
                <c:pt idx="96">
                  <c:v>0.13879582655307743</c:v>
                </c:pt>
                <c:pt idx="97">
                  <c:v>0.13529557259460798</c:v>
                </c:pt>
                <c:pt idx="98">
                  <c:v>0.1486593914865939</c:v>
                </c:pt>
                <c:pt idx="99">
                  <c:v>0.14808979913351714</c:v>
                </c:pt>
                <c:pt idx="100">
                  <c:v>0.1637249736564805</c:v>
                </c:pt>
                <c:pt idx="101">
                  <c:v>0.1358774212200058</c:v>
                </c:pt>
                <c:pt idx="102">
                  <c:v>0.12760005738057667</c:v>
                </c:pt>
                <c:pt idx="103">
                  <c:v>0.14489073561095722</c:v>
                </c:pt>
                <c:pt idx="104">
                  <c:v>0.1486293905608181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3432551552522462</c:v>
                </c:pt>
                <c:pt idx="1">
                  <c:v>0.14203953837631997</c:v>
                </c:pt>
                <c:pt idx="2">
                  <c:v>0.14573058446813397</c:v>
                </c:pt>
                <c:pt idx="3">
                  <c:v>0.14881894390501776</c:v>
                </c:pt>
                <c:pt idx="4">
                  <c:v>0.1487363078906054</c:v>
                </c:pt>
                <c:pt idx="5">
                  <c:v>0.1401430827445222</c:v>
                </c:pt>
                <c:pt idx="6">
                  <c:v>0.1362473378662149</c:v>
                </c:pt>
                <c:pt idx="7">
                  <c:v>0.13145628402302087</c:v>
                </c:pt>
                <c:pt idx="8">
                  <c:v>0.1319091529093693</c:v>
                </c:pt>
                <c:pt idx="9">
                  <c:v>0.1175088110738183</c:v>
                </c:pt>
                <c:pt idx="10">
                  <c:v>0.1233455158334311</c:v>
                </c:pt>
                <c:pt idx="11">
                  <c:v>0.14258481889220337</c:v>
                </c:pt>
                <c:pt idx="12">
                  <c:v>0.13876386741944902</c:v>
                </c:pt>
                <c:pt idx="13">
                  <c:v>0.12361060984725193</c:v>
                </c:pt>
                <c:pt idx="14">
                  <c:v>0.1377030727623157</c:v>
                </c:pt>
                <c:pt idx="15">
                  <c:v>0.12453021739610487</c:v>
                </c:pt>
                <c:pt idx="16">
                  <c:v>0.1374279602835434</c:v>
                </c:pt>
                <c:pt idx="17">
                  <c:v>0.13819836476083025</c:v>
                </c:pt>
                <c:pt idx="18">
                  <c:v>0.13918616494545058</c:v>
                </c:pt>
                <c:pt idx="19">
                  <c:v>0.13737631231083935</c:v>
                </c:pt>
                <c:pt idx="20">
                  <c:v>0.12627233737749594</c:v>
                </c:pt>
                <c:pt idx="21">
                  <c:v>0.12440248560703948</c:v>
                </c:pt>
                <c:pt idx="22">
                  <c:v>0.13254659382811046</c:v>
                </c:pt>
                <c:pt idx="23">
                  <c:v>0.11502018548304567</c:v>
                </c:pt>
                <c:pt idx="24">
                  <c:v>0.10918881212117335</c:v>
                </c:pt>
                <c:pt idx="25">
                  <c:v>0.1187883238503007</c:v>
                </c:pt>
                <c:pt idx="26">
                  <c:v>0.11787547031477427</c:v>
                </c:pt>
                <c:pt idx="27">
                  <c:v>0.13117950176812404</c:v>
                </c:pt>
                <c:pt idx="28">
                  <c:v>0.13466292334538696</c:v>
                </c:pt>
                <c:pt idx="29">
                  <c:v>0.13292085223370947</c:v>
                </c:pt>
                <c:pt idx="30">
                  <c:v>0.13055921341257337</c:v>
                </c:pt>
                <c:pt idx="31">
                  <c:v>0.1250128208529085</c:v>
                </c:pt>
                <c:pt idx="32">
                  <c:v>0.12363206156355881</c:v>
                </c:pt>
                <c:pt idx="33">
                  <c:v>0.13082701076910305</c:v>
                </c:pt>
                <c:pt idx="34">
                  <c:v>0.13693091772270033</c:v>
                </c:pt>
                <c:pt idx="35">
                  <c:v>0.13243955005935976</c:v>
                </c:pt>
                <c:pt idx="36">
                  <c:v>0.12163063664064332</c:v>
                </c:pt>
                <c:pt idx="37">
                  <c:v>0.12234441844240218</c:v>
                </c:pt>
                <c:pt idx="38">
                  <c:v>0.12185481844139574</c:v>
                </c:pt>
                <c:pt idx="39">
                  <c:v>0.1303645090491235</c:v>
                </c:pt>
                <c:pt idx="40">
                  <c:v>0.13295744811788787</c:v>
                </c:pt>
                <c:pt idx="41">
                  <c:v>0.13268732823805623</c:v>
                </c:pt>
                <c:pt idx="42">
                  <c:v>0.1310767013715779</c:v>
                </c:pt>
                <c:pt idx="43">
                  <c:v>0.13692121664951118</c:v>
                </c:pt>
                <c:pt idx="44">
                  <c:v>0.1390137262611205</c:v>
                </c:pt>
                <c:pt idx="45">
                  <c:v>0.14774093550852957</c:v>
                </c:pt>
                <c:pt idx="46">
                  <c:v>0.1413613951412306</c:v>
                </c:pt>
                <c:pt idx="47">
                  <c:v>0.14029590980190998</c:v>
                </c:pt>
                <c:pt idx="48">
                  <c:v>0.13653304204432534</c:v>
                </c:pt>
                <c:pt idx="49">
                  <c:v>0.1334132278380707</c:v>
                </c:pt>
                <c:pt idx="50">
                  <c:v>0.13929476757433745</c:v>
                </c:pt>
                <c:pt idx="51">
                  <c:v>0.1272888493653976</c:v>
                </c:pt>
              </c:numCache>
            </c:numRef>
          </c:xVal>
          <c:yVal>
            <c:numRef>
              <c:f>Sheet1!$B$109:$B$160</c:f>
              <c:numCache>
                <c:formatCode>General</c:formatCode>
                <c:ptCount val="52"/>
                <c:pt idx="0">
                  <c:v>0.16759550924804134</c:v>
                </c:pt>
                <c:pt idx="1">
                  <c:v>0.15955711956055274</c:v>
                </c:pt>
                <c:pt idx="2">
                  <c:v>0.1663496592169916</c:v>
                </c:pt>
                <c:pt idx="3">
                  <c:v>0.16841864716636198</c:v>
                </c:pt>
                <c:pt idx="4">
                  <c:v>0.15833942643594118</c:v>
                </c:pt>
                <c:pt idx="5">
                  <c:v>0.14581855442579017</c:v>
                </c:pt>
                <c:pt idx="6">
                  <c:v>0.12964761988872206</c:v>
                </c:pt>
                <c:pt idx="7">
                  <c:v>0.12263473053892215</c:v>
                </c:pt>
                <c:pt idx="8">
                  <c:v>0.13044006807682956</c:v>
                </c:pt>
                <c:pt idx="9">
                  <c:v>0.13955033780042086</c:v>
                </c:pt>
                <c:pt idx="10">
                  <c:v>0.14554038797085087</c:v>
                </c:pt>
                <c:pt idx="11">
                  <c:v>0.1365592342144551</c:v>
                </c:pt>
                <c:pt idx="12">
                  <c:v>0.14403628117913833</c:v>
                </c:pt>
                <c:pt idx="13">
                  <c:v>0.15101714488762547</c:v>
                </c:pt>
                <c:pt idx="14">
                  <c:v>0.1358304583538689</c:v>
                </c:pt>
                <c:pt idx="15">
                  <c:v>0.14728050519454064</c:v>
                </c:pt>
                <c:pt idx="16">
                  <c:v>0.1274432267540391</c:v>
                </c:pt>
                <c:pt idx="17">
                  <c:v>0.11591355599214145</c:v>
                </c:pt>
                <c:pt idx="18">
                  <c:v>0.12824850069198832</c:v>
                </c:pt>
                <c:pt idx="19">
                  <c:v>0.14616755793226383</c:v>
                </c:pt>
                <c:pt idx="20">
                  <c:v>0.13756316676024705</c:v>
                </c:pt>
                <c:pt idx="21">
                  <c:v>0.13103324991061852</c:v>
                </c:pt>
                <c:pt idx="22">
                  <c:v>0.1367814020544242</c:v>
                </c:pt>
                <c:pt idx="23">
                  <c:v>0.15877437325905291</c:v>
                </c:pt>
                <c:pt idx="24">
                  <c:v>0.15927616563417019</c:v>
                </c:pt>
                <c:pt idx="25">
                  <c:v>0.14803418803418802</c:v>
                </c:pt>
                <c:pt idx="26">
                  <c:v>0.13899811933663875</c:v>
                </c:pt>
                <c:pt idx="27">
                  <c:v>0.12880451835582052</c:v>
                </c:pt>
                <c:pt idx="28">
                  <c:v>0.12376237623762376</c:v>
                </c:pt>
                <c:pt idx="29">
                  <c:v>0.12100611828687967</c:v>
                </c:pt>
                <c:pt idx="30">
                  <c:v>0.1306049822064057</c:v>
                </c:pt>
                <c:pt idx="31">
                  <c:v>0.11788372560852947</c:v>
                </c:pt>
                <c:pt idx="32">
                  <c:v>0.11280761631040058</c:v>
                </c:pt>
                <c:pt idx="33">
                  <c:v>0.13306959180003597</c:v>
                </c:pt>
                <c:pt idx="34">
                  <c:v>0.1514814814814815</c:v>
                </c:pt>
                <c:pt idx="35">
                  <c:v>0.16462418300653595</c:v>
                </c:pt>
                <c:pt idx="36">
                  <c:v>0.13451029844472467</c:v>
                </c:pt>
                <c:pt idx="37">
                  <c:v>0.13987820631112752</c:v>
                </c:pt>
                <c:pt idx="38">
                  <c:v>0.13057919867137222</c:v>
                </c:pt>
                <c:pt idx="39">
                  <c:v>0.15516976494085113</c:v>
                </c:pt>
                <c:pt idx="40">
                  <c:v>0.14730073276506656</c:v>
                </c:pt>
                <c:pt idx="41">
                  <c:v>0.15453005927180355</c:v>
                </c:pt>
                <c:pt idx="42">
                  <c:v>0.1465903819390753</c:v>
                </c:pt>
                <c:pt idx="43">
                  <c:v>0.15350039330261828</c:v>
                </c:pt>
                <c:pt idx="44">
                  <c:v>0.14648492204275979</c:v>
                </c:pt>
                <c:pt idx="45">
                  <c:v>0.14991050119331742</c:v>
                </c:pt>
                <c:pt idx="46">
                  <c:v>0.15446855461566752</c:v>
                </c:pt>
                <c:pt idx="47">
                  <c:v>0.1564245810055866</c:v>
                </c:pt>
                <c:pt idx="48">
                  <c:v>0.16450281425891183</c:v>
                </c:pt>
                <c:pt idx="49">
                  <c:v>0.17764407853071565</c:v>
                </c:pt>
                <c:pt idx="50">
                  <c:v>0.20582333428887342</c:v>
                </c:pt>
                <c:pt idx="51">
                  <c:v>0.1861741283544134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7081207757922665</c:v>
                </c:pt>
              </c:numCache>
            </c:numRef>
          </c:xVal>
          <c:yVal>
            <c:numRef>
              <c:f>Sheet1!$B$163:$B$164</c:f>
              <c:numCache>
                <c:formatCode>General</c:formatCode>
                <c:ptCount val="2"/>
                <c:pt idx="0">
                  <c:v>0.20146975765295125</c:v>
                </c:pt>
                <c:pt idx="1">
                  <c:v>0.2014697576529512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7081207757922665</c:v>
                </c:pt>
                <c:pt idx="1">
                  <c:v>0.27081207757922665</c:v>
                </c:pt>
              </c:numCache>
            </c:numRef>
          </c:xVal>
          <c:yVal>
            <c:numRef>
              <c:f>Sheet1!$B$167:$B$168</c:f>
              <c:numCache>
                <c:formatCode>General</c:formatCode>
                <c:ptCount val="2"/>
                <c:pt idx="0">
                  <c:v>0.201469757652951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26437058713797</c:v>
                </c:pt>
              </c:numCache>
            </c:numRef>
          </c:xVal>
          <c:yVal>
            <c:numRef>
              <c:f>Sheet1!$B$171:$B$172</c:f>
              <c:numCache>
                <c:formatCode>General</c:formatCode>
                <c:ptCount val="2"/>
                <c:pt idx="0">
                  <c:v>0.18353608885822859</c:v>
                </c:pt>
                <c:pt idx="1">
                  <c:v>0.1835360888582285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26437058713797</c:v>
                </c:pt>
                <c:pt idx="1">
                  <c:v>0.226437058713797</c:v>
                </c:pt>
              </c:numCache>
            </c:numRef>
          </c:xVal>
          <c:yVal>
            <c:numRef>
              <c:f>Sheet1!$B$175:$B$176</c:f>
              <c:numCache>
                <c:formatCode>General</c:formatCode>
                <c:ptCount val="2"/>
                <c:pt idx="0">
                  <c:v>0.1835360888582285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7172530015164467</c:v>
                </c:pt>
              </c:numCache>
            </c:numRef>
          </c:xVal>
          <c:yVal>
            <c:numRef>
              <c:f>Sheet1!$B$179:$B$180</c:f>
              <c:numCache>
                <c:formatCode>General</c:formatCode>
                <c:ptCount val="2"/>
                <c:pt idx="0">
                  <c:v>0.16142494203920466</c:v>
                </c:pt>
                <c:pt idx="1">
                  <c:v>0.1614249420392046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7172530015164467</c:v>
                </c:pt>
                <c:pt idx="1">
                  <c:v>0.17172530015164467</c:v>
                </c:pt>
              </c:numCache>
            </c:numRef>
          </c:xVal>
          <c:yVal>
            <c:numRef>
              <c:f>Sheet1!$B$183:$B$184</c:f>
              <c:numCache>
                <c:formatCode>General</c:formatCode>
                <c:ptCount val="2"/>
                <c:pt idx="0">
                  <c:v>0.1614249420392046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3432551552522462</c:v>
                </c:pt>
                <c:pt idx="1">
                  <c:v>0.14203953837631997</c:v>
                </c:pt>
                <c:pt idx="2">
                  <c:v>0.14573058446813397</c:v>
                </c:pt>
                <c:pt idx="3">
                  <c:v>0.14881894390501776</c:v>
                </c:pt>
                <c:pt idx="4">
                  <c:v>0.1487363078906054</c:v>
                </c:pt>
                <c:pt idx="5">
                  <c:v>0.1401430827445222</c:v>
                </c:pt>
                <c:pt idx="6">
                  <c:v>0.1362473378662149</c:v>
                </c:pt>
                <c:pt idx="7">
                  <c:v>0.13145628402302087</c:v>
                </c:pt>
                <c:pt idx="8">
                  <c:v>0.1319091529093693</c:v>
                </c:pt>
                <c:pt idx="9">
                  <c:v>0.1175088110738183</c:v>
                </c:pt>
                <c:pt idx="10">
                  <c:v>0.1233455158334311</c:v>
                </c:pt>
                <c:pt idx="11">
                  <c:v>0.14258481889220337</c:v>
                </c:pt>
                <c:pt idx="12">
                  <c:v>0.13876386741944902</c:v>
                </c:pt>
                <c:pt idx="13">
                  <c:v>0.12361060984725193</c:v>
                </c:pt>
                <c:pt idx="14">
                  <c:v>0.1377030727623157</c:v>
                </c:pt>
                <c:pt idx="15">
                  <c:v>0.12453021739610487</c:v>
                </c:pt>
                <c:pt idx="16">
                  <c:v>0.1374279602835434</c:v>
                </c:pt>
                <c:pt idx="17">
                  <c:v>0.13819836476083025</c:v>
                </c:pt>
                <c:pt idx="18">
                  <c:v>0.13918616494545058</c:v>
                </c:pt>
                <c:pt idx="19">
                  <c:v>0.13737631231083935</c:v>
                </c:pt>
                <c:pt idx="20">
                  <c:v>0.12627233737749594</c:v>
                </c:pt>
                <c:pt idx="21">
                  <c:v>0.12440248560703948</c:v>
                </c:pt>
                <c:pt idx="22">
                  <c:v>0.13254659382811046</c:v>
                </c:pt>
                <c:pt idx="23">
                  <c:v>0.11502018548304567</c:v>
                </c:pt>
                <c:pt idx="24">
                  <c:v>0.10918881212117335</c:v>
                </c:pt>
                <c:pt idx="25">
                  <c:v>0.1187883238503007</c:v>
                </c:pt>
                <c:pt idx="26">
                  <c:v>0.11787547031477427</c:v>
                </c:pt>
                <c:pt idx="27">
                  <c:v>0.13117950176812404</c:v>
                </c:pt>
                <c:pt idx="28">
                  <c:v>0.13466292334538696</c:v>
                </c:pt>
                <c:pt idx="29">
                  <c:v>0.13292085223370947</c:v>
                </c:pt>
                <c:pt idx="30">
                  <c:v>0.13055921341257337</c:v>
                </c:pt>
                <c:pt idx="31">
                  <c:v>0.1250128208529085</c:v>
                </c:pt>
                <c:pt idx="32">
                  <c:v>0.12363206156355881</c:v>
                </c:pt>
                <c:pt idx="33">
                  <c:v>0.13082701076910305</c:v>
                </c:pt>
                <c:pt idx="34">
                  <c:v>0.13693091772270033</c:v>
                </c:pt>
                <c:pt idx="35">
                  <c:v>0.13243955005935976</c:v>
                </c:pt>
                <c:pt idx="36">
                  <c:v>0.12163063664064332</c:v>
                </c:pt>
                <c:pt idx="37">
                  <c:v>0.12234441844240218</c:v>
                </c:pt>
                <c:pt idx="38">
                  <c:v>0.12185481844139574</c:v>
                </c:pt>
                <c:pt idx="39">
                  <c:v>0.1303645090491235</c:v>
                </c:pt>
                <c:pt idx="40">
                  <c:v>0.13295744811788787</c:v>
                </c:pt>
                <c:pt idx="41">
                  <c:v>0.13268732823805623</c:v>
                </c:pt>
                <c:pt idx="42">
                  <c:v>0.1310767013715779</c:v>
                </c:pt>
                <c:pt idx="43">
                  <c:v>0.13692121664951118</c:v>
                </c:pt>
                <c:pt idx="44">
                  <c:v>0.1390137262611205</c:v>
                </c:pt>
                <c:pt idx="45">
                  <c:v>0.14774093550852957</c:v>
                </c:pt>
                <c:pt idx="46">
                  <c:v>0.1413613951412306</c:v>
                </c:pt>
                <c:pt idx="47">
                  <c:v>0.14029590980190998</c:v>
                </c:pt>
                <c:pt idx="48">
                  <c:v>0.13653304204432534</c:v>
                </c:pt>
                <c:pt idx="49">
                  <c:v>0.1334132278380707</c:v>
                </c:pt>
                <c:pt idx="50">
                  <c:v>0.13929476757433745</c:v>
                </c:pt>
                <c:pt idx="51">
                  <c:v>0.1272888493653976</c:v>
                </c:pt>
                <c:pt idx="52">
                  <c:v>0.226437058713797</c:v>
                </c:pt>
                <c:pt idx="53">
                  <c:v>0.27081207757922665</c:v>
                </c:pt>
                <c:pt idx="54">
                  <c:v>0.17172530015164467</c:v>
                </c:pt>
              </c:numCache>
            </c:numRef>
          </c:xVal>
          <c:yVal>
            <c:numRef>
              <c:f>Sheet1!$B$187:$B$241</c:f>
              <c:numCache>
                <c:formatCode>General</c:formatCode>
                <c:ptCount val="55"/>
                <c:pt idx="0">
                  <c:v>0.14631023634142976</c:v>
                </c:pt>
                <c:pt idx="1">
                  <c:v>0.149427772613493</c:v>
                </c:pt>
                <c:pt idx="2">
                  <c:v>0.15091946771152517</c:v>
                </c:pt>
                <c:pt idx="3">
                  <c:v>0.1521675937219747</c:v>
                </c:pt>
                <c:pt idx="4">
                  <c:v>0.15213419729869695</c:v>
                </c:pt>
                <c:pt idx="5">
                  <c:v>0.14866134122812982</c:v>
                </c:pt>
                <c:pt idx="6">
                  <c:v>0.14708691939930377</c:v>
                </c:pt>
                <c:pt idx="7">
                  <c:v>0.1451506684410318</c:v>
                </c:pt>
                <c:pt idx="8">
                  <c:v>0.14533369034891733</c:v>
                </c:pt>
                <c:pt idx="9">
                  <c:v>0.13951395285668722</c:v>
                </c:pt>
                <c:pt idx="10">
                  <c:v>0.14187279196679345</c:v>
                </c:pt>
                <c:pt idx="11">
                  <c:v>0.14964814165044424</c:v>
                </c:pt>
                <c:pt idx="12">
                  <c:v>0.14810394674202318</c:v>
                </c:pt>
                <c:pt idx="13">
                  <c:v>0.14197992675489896</c:v>
                </c:pt>
                <c:pt idx="14">
                  <c:v>0.14767523841633365</c:v>
                </c:pt>
                <c:pt idx="15">
                  <c:v>0.14235157588596228</c:v>
                </c:pt>
                <c:pt idx="16">
                  <c:v>0.1475640547773912</c:v>
                </c:pt>
                <c:pt idx="17">
                  <c:v>0.14787540515169825</c:v>
                </c:pt>
                <c:pt idx="18">
                  <c:v>0.1482746135757007</c:v>
                </c:pt>
                <c:pt idx="19">
                  <c:v>0.14754318182544493</c:v>
                </c:pt>
                <c:pt idx="20">
                  <c:v>0.1430556342400935</c:v>
                </c:pt>
                <c:pt idx="21">
                  <c:v>0.14229995450847954</c:v>
                </c:pt>
                <c:pt idx="22">
                  <c:v>0.1455913049844756</c:v>
                </c:pt>
                <c:pt idx="23">
                  <c:v>0.13850820258907987</c:v>
                </c:pt>
                <c:pt idx="24">
                  <c:v>0.1361515181038895</c:v>
                </c:pt>
                <c:pt idx="25">
                  <c:v>0.14003105367013446</c:v>
                </c:pt>
                <c:pt idx="26">
                  <c:v>0.1396621340982044</c:v>
                </c:pt>
                <c:pt idx="27">
                  <c:v>0.14503880998069785</c:v>
                </c:pt>
                <c:pt idx="28">
                  <c:v>0.1464465959475832</c:v>
                </c:pt>
                <c:pt idx="29">
                  <c:v>0.1457425573436015</c:v>
                </c:pt>
                <c:pt idx="30">
                  <c:v>0.14478812736218669</c:v>
                </c:pt>
                <c:pt idx="31">
                  <c:v>0.14254661468875696</c:v>
                </c:pt>
                <c:pt idx="32">
                  <c:v>0.14198859622671356</c:v>
                </c:pt>
                <c:pt idx="33">
                  <c:v>0.14489635467608755</c:v>
                </c:pt>
                <c:pt idx="34">
                  <c:v>0.14736318057179207</c:v>
                </c:pt>
                <c:pt idx="35">
                  <c:v>0.14554804443959252</c:v>
                </c:pt>
                <c:pt idx="36">
                  <c:v>0.14117974267345834</c:v>
                </c:pt>
                <c:pt idx="37">
                  <c:v>0.1414682096251742</c:v>
                </c:pt>
                <c:pt idx="38">
                  <c:v>0.14127034324709845</c:v>
                </c:pt>
                <c:pt idx="39">
                  <c:v>0.14470943976596085</c:v>
                </c:pt>
                <c:pt idx="40">
                  <c:v>0.14575734716190208</c:v>
                </c:pt>
                <c:pt idx="41">
                  <c:v>0.1456481812261205</c:v>
                </c:pt>
                <c:pt idx="42">
                  <c:v>0.14499726434734916</c:v>
                </c:pt>
                <c:pt idx="43">
                  <c:v>0.14735925999129484</c:v>
                </c:pt>
                <c:pt idx="44">
                  <c:v>0.14820492440527913</c:v>
                </c:pt>
                <c:pt idx="45">
                  <c:v>0.15173192865557378</c:v>
                </c:pt>
                <c:pt idx="46">
                  <c:v>0.14915370859088703</c:v>
                </c:pt>
                <c:pt idx="47">
                  <c:v>0.14872310457832413</c:v>
                </c:pt>
                <c:pt idx="48">
                  <c:v>0.14720238355536508</c:v>
                </c:pt>
                <c:pt idx="49">
                  <c:v>0.14594154545080645</c:v>
                </c:pt>
                <c:pt idx="50">
                  <c:v>0.148318504116516</c:v>
                </c:pt>
                <c:pt idx="51">
                  <c:v>0.1434664462190625</c:v>
                </c:pt>
                <c:pt idx="52">
                  <c:v>0.18353608885822859</c:v>
                </c:pt>
                <c:pt idx="53">
                  <c:v>0.20146975765295125</c:v>
                </c:pt>
                <c:pt idx="54">
                  <c:v>0.1614249420392046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558211256746335"/>
          <c:min val="0.0902460930483204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19.7617</c:v>
                </c:pt>
                <c:pt idx="1">
                  <c:v>968.4889</c:v>
                </c:pt>
                <c:pt idx="2">
                  <c:v>978.6737</c:v>
                </c:pt>
                <c:pt idx="3">
                  <c:v>988.5581</c:v>
                </c:pt>
                <c:pt idx="4">
                  <c:v>941.4731</c:v>
                </c:pt>
                <c:pt idx="5">
                  <c:v>914.0893</c:v>
                </c:pt>
                <c:pt idx="6">
                  <c:v>916.8947</c:v>
                </c:pt>
                <c:pt idx="7">
                  <c:v>911.1192</c:v>
                </c:pt>
                <c:pt idx="8">
                  <c:v>915.1229</c:v>
                </c:pt>
                <c:pt idx="9">
                  <c:v>871.9622</c:v>
                </c:pt>
                <c:pt idx="10">
                  <c:v>835.0343</c:v>
                </c:pt>
                <c:pt idx="11">
                  <c:v>828.98</c:v>
                </c:pt>
                <c:pt idx="12">
                  <c:v>865.837</c:v>
                </c:pt>
                <c:pt idx="13">
                  <c:v>852.9094</c:v>
                </c:pt>
                <c:pt idx="14">
                  <c:v>982.1822</c:v>
                </c:pt>
                <c:pt idx="15">
                  <c:v>1002.7042</c:v>
                </c:pt>
                <c:pt idx="16">
                  <c:v>1006.0217</c:v>
                </c:pt>
                <c:pt idx="17">
                  <c:v>1013.7644</c:v>
                </c:pt>
                <c:pt idx="18">
                  <c:v>1053.3199</c:v>
                </c:pt>
                <c:pt idx="19">
                  <c:v>1057.9869</c:v>
                </c:pt>
                <c:pt idx="20">
                  <c:v>1082.7853</c:v>
                </c:pt>
                <c:pt idx="21">
                  <c:v>1080.1899</c:v>
                </c:pt>
                <c:pt idx="22">
                  <c:v>1096.2342</c:v>
                </c:pt>
                <c:pt idx="23">
                  <c:v>1086.1013</c:v>
                </c:pt>
                <c:pt idx="24">
                  <c:v>1089.9863</c:v>
                </c:pt>
                <c:pt idx="25">
                  <c:v>1090.5347</c:v>
                </c:pt>
                <c:pt idx="26">
                  <c:v>1087.5632</c:v>
                </c:pt>
                <c:pt idx="27">
                  <c:v>1074.276</c:v>
                </c:pt>
                <c:pt idx="28">
                  <c:v>1078.8013</c:v>
                </c:pt>
                <c:pt idx="29">
                  <c:v>1110.4901</c:v>
                </c:pt>
                <c:pt idx="30">
                  <c:v>1106.4741</c:v>
                </c:pt>
                <c:pt idx="31">
                  <c:v>1110.3379</c:v>
                </c:pt>
                <c:pt idx="32">
                  <c:v>1109.2397</c:v>
                </c:pt>
                <c:pt idx="33">
                  <c:v>1106.1206</c:v>
                </c:pt>
                <c:pt idx="34">
                  <c:v>1101.2328</c:v>
                </c:pt>
                <c:pt idx="35">
                  <c:v>1107.0789</c:v>
                </c:pt>
                <c:pt idx="36">
                  <c:v>1107.3889</c:v>
                </c:pt>
                <c:pt idx="37">
                  <c:v>1123.1496</c:v>
                </c:pt>
                <c:pt idx="38">
                  <c:v>1124.7202</c:v>
                </c:pt>
                <c:pt idx="39">
                  <c:v>1181.6643</c:v>
                </c:pt>
                <c:pt idx="40">
                  <c:v>1208.5253</c:v>
                </c:pt>
                <c:pt idx="41">
                  <c:v>1220.8314</c:v>
                </c:pt>
                <c:pt idx="42">
                  <c:v>1223.18</c:v>
                </c:pt>
                <c:pt idx="43">
                  <c:v>1228.1207</c:v>
                </c:pt>
                <c:pt idx="44">
                  <c:v>1240.7688</c:v>
                </c:pt>
                <c:pt idx="45">
                  <c:v>1233.1846</c:v>
                </c:pt>
                <c:pt idx="46">
                  <c:v>1179.4713</c:v>
                </c:pt>
                <c:pt idx="47">
                  <c:v>1172.3183</c:v>
                </c:pt>
                <c:pt idx="48">
                  <c:v>1120.507</c:v>
                </c:pt>
                <c:pt idx="49">
                  <c:v>1024.6798</c:v>
                </c:pt>
                <c:pt idx="50">
                  <c:v>1060.5503</c:v>
                </c:pt>
                <c:pt idx="51">
                  <c:v>1034.3245</c:v>
                </c:pt>
                <c:pt idx="52">
                  <c:v>1014.3784</c:v>
                </c:pt>
                <c:pt idx="53">
                  <c:v>1243.0414</c:v>
                </c:pt>
                <c:pt idx="54">
                  <c:v>1235.1487</c:v>
                </c:pt>
                <c:pt idx="55">
                  <c:v>1235.805</c:v>
                </c:pt>
                <c:pt idx="56">
                  <c:v>1234.1824</c:v>
                </c:pt>
                <c:pt idx="57">
                  <c:v>1242.6704</c:v>
                </c:pt>
                <c:pt idx="58">
                  <c:v>1241.1324</c:v>
                </c:pt>
                <c:pt idx="59">
                  <c:v>1239.3448</c:v>
                </c:pt>
                <c:pt idx="60">
                  <c:v>1247.9935</c:v>
                </c:pt>
                <c:pt idx="61">
                  <c:v>1188.6951</c:v>
                </c:pt>
                <c:pt idx="62">
                  <c:v>1077.9522</c:v>
                </c:pt>
                <c:pt idx="63">
                  <c:v>1083.0403</c:v>
                </c:pt>
                <c:pt idx="64">
                  <c:v>1091.05</c:v>
                </c:pt>
                <c:pt idx="65">
                  <c:v>1090.8111</c:v>
                </c:pt>
                <c:pt idx="66">
                  <c:v>1220.491</c:v>
                </c:pt>
                <c:pt idx="67">
                  <c:v>1245.6622</c:v>
                </c:pt>
                <c:pt idx="68">
                  <c:v>1232.1381</c:v>
                </c:pt>
                <c:pt idx="69">
                  <c:v>1271.6872</c:v>
                </c:pt>
                <c:pt idx="70">
                  <c:v>1266.6255</c:v>
                </c:pt>
                <c:pt idx="71">
                  <c:v>1262.548</c:v>
                </c:pt>
                <c:pt idx="72">
                  <c:v>1277.5772</c:v>
                </c:pt>
                <c:pt idx="73">
                  <c:v>1261.3543</c:v>
                </c:pt>
                <c:pt idx="74">
                  <c:v>1281.0581</c:v>
                </c:pt>
                <c:pt idx="75">
                  <c:v>1265.0422</c:v>
                </c:pt>
                <c:pt idx="76">
                  <c:v>1211.6077</c:v>
                </c:pt>
                <c:pt idx="77">
                  <c:v>1199.1729</c:v>
                </c:pt>
                <c:pt idx="78">
                  <c:v>1213.7785</c:v>
                </c:pt>
                <c:pt idx="79">
                  <c:v>1242.1955</c:v>
                </c:pt>
                <c:pt idx="80">
                  <c:v>1264.2783</c:v>
                </c:pt>
                <c:pt idx="81">
                  <c:v>1316.6727</c:v>
                </c:pt>
                <c:pt idx="82">
                  <c:v>1334.0317</c:v>
                </c:pt>
                <c:pt idx="83">
                  <c:v>1334.2226</c:v>
                </c:pt>
                <c:pt idx="84">
                  <c:v>1345.6375</c:v>
                </c:pt>
                <c:pt idx="85">
                  <c:v>1346.6109</c:v>
                </c:pt>
                <c:pt idx="86">
                  <c:v>1349.528</c:v>
                </c:pt>
                <c:pt idx="87">
                  <c:v>1337.4574</c:v>
                </c:pt>
                <c:pt idx="88">
                  <c:v>1354.4523</c:v>
                </c:pt>
                <c:pt idx="89">
                  <c:v>1369.7822</c:v>
                </c:pt>
                <c:pt idx="90">
                  <c:v>1367.9924</c:v>
                </c:pt>
                <c:pt idx="91">
                  <c:v>1353.3447</c:v>
                </c:pt>
                <c:pt idx="92">
                  <c:v>1342.2688</c:v>
                </c:pt>
                <c:pt idx="93">
                  <c:v>1332.2189</c:v>
                </c:pt>
                <c:pt idx="94">
                  <c:v>1349.2415</c:v>
                </c:pt>
                <c:pt idx="95">
                  <c:v>1336.8942</c:v>
                </c:pt>
                <c:pt idx="96">
                  <c:v>1225.6862</c:v>
                </c:pt>
                <c:pt idx="97">
                  <c:v>1263.0433</c:v>
                </c:pt>
                <c:pt idx="98">
                  <c:v>1215.1682</c:v>
                </c:pt>
                <c:pt idx="99">
                  <c:v>1204.9229</c:v>
                </c:pt>
                <c:pt idx="100">
                  <c:v>1106.9971</c:v>
                </c:pt>
                <c:pt idx="101">
                  <c:v>1292.2309</c:v>
                </c:pt>
                <c:pt idx="102">
                  <c:v>1272.751</c:v>
                </c:pt>
                <c:pt idx="103">
                  <c:v>1200.6081</c:v>
                </c:pt>
                <c:pt idx="104">
                  <c:v>1187.5781</c:v>
                </c:pt>
              </c:numCache>
            </c:numRef>
          </c:xVal>
          <c:yVal>
            <c:numRef>
              <c:f>Sheet1!$B$2:$B$106</c:f>
              <c:numCache>
                <c:formatCode>General</c:formatCode>
                <c:ptCount val="105"/>
                <c:pt idx="0">
                  <c:v>0.17871326449563146</c:v>
                </c:pt>
                <c:pt idx="1">
                  <c:v>0.17244395844723892</c:v>
                </c:pt>
                <c:pt idx="2">
                  <c:v>0.17025336584331602</c:v>
                </c:pt>
                <c:pt idx="3">
                  <c:v>0.17527895135954935</c:v>
                </c:pt>
                <c:pt idx="4">
                  <c:v>0.21203293223559214</c:v>
                </c:pt>
                <c:pt idx="5">
                  <c:v>0.21191523390643743</c:v>
                </c:pt>
                <c:pt idx="6">
                  <c:v>0.2379850938062195</c:v>
                </c:pt>
                <c:pt idx="7">
                  <c:v>0.22453605326533504</c:v>
                </c:pt>
                <c:pt idx="8">
                  <c:v>0.23006896551724138</c:v>
                </c:pt>
                <c:pt idx="9">
                  <c:v>0.22907280056912496</c:v>
                </c:pt>
                <c:pt idx="10">
                  <c:v>0.21959048146098506</c:v>
                </c:pt>
                <c:pt idx="11">
                  <c:v>0.2169830788278993</c:v>
                </c:pt>
                <c:pt idx="12">
                  <c:v>0.19853345554537122</c:v>
                </c:pt>
                <c:pt idx="13">
                  <c:v>0.18983121483642426</c:v>
                </c:pt>
                <c:pt idx="14">
                  <c:v>0.16496579567118985</c:v>
                </c:pt>
                <c:pt idx="15">
                  <c:v>0.15082936865115082</c:v>
                </c:pt>
                <c:pt idx="16">
                  <c:v>0.14701200983938648</c:v>
                </c:pt>
                <c:pt idx="17">
                  <c:v>0.147643475472908</c:v>
                </c:pt>
                <c:pt idx="18">
                  <c:v>0.13295118343195267</c:v>
                </c:pt>
                <c:pt idx="19">
                  <c:v>0.12522982635342186</c:v>
                </c:pt>
                <c:pt idx="20">
                  <c:v>0.16063919259882253</c:v>
                </c:pt>
                <c:pt idx="21">
                  <c:v>0.1484842633713072</c:v>
                </c:pt>
                <c:pt idx="22">
                  <c:v>0.12748835239305378</c:v>
                </c:pt>
                <c:pt idx="23">
                  <c:v>0.1453639514731369</c:v>
                </c:pt>
                <c:pt idx="24">
                  <c:v>0.1491442542787286</c:v>
                </c:pt>
                <c:pt idx="25">
                  <c:v>0.13845099383139137</c:v>
                </c:pt>
                <c:pt idx="26">
                  <c:v>0.14704225352112676</c:v>
                </c:pt>
                <c:pt idx="27">
                  <c:v>0.1636990235496841</c:v>
                </c:pt>
                <c:pt idx="28">
                  <c:v>0.17227456258411844</c:v>
                </c:pt>
                <c:pt idx="29">
                  <c:v>0.1650602409638554</c:v>
                </c:pt>
                <c:pt idx="30">
                  <c:v>0.17488692655610596</c:v>
                </c:pt>
                <c:pt idx="31">
                  <c:v>0.1566265060240964</c:v>
                </c:pt>
                <c:pt idx="32">
                  <c:v>0.16640952171038131</c:v>
                </c:pt>
                <c:pt idx="33">
                  <c:v>0.16251189343482397</c:v>
                </c:pt>
                <c:pt idx="34">
                  <c:v>0.17239574245332404</c:v>
                </c:pt>
                <c:pt idx="35">
                  <c:v>0.22559293987865417</c:v>
                </c:pt>
                <c:pt idx="36">
                  <c:v>0.18735215265730956</c:v>
                </c:pt>
                <c:pt idx="37">
                  <c:v>0.17413793103448275</c:v>
                </c:pt>
                <c:pt idx="38">
                  <c:v>0.16989128431914502</c:v>
                </c:pt>
                <c:pt idx="39">
                  <c:v>0.1693499082942735</c:v>
                </c:pt>
                <c:pt idx="40">
                  <c:v>0.16853556485355647</c:v>
                </c:pt>
                <c:pt idx="41">
                  <c:v>0.1634011090573013</c:v>
                </c:pt>
                <c:pt idx="42">
                  <c:v>0.17408335944844877</c:v>
                </c:pt>
                <c:pt idx="43">
                  <c:v>0.1715578716401536</c:v>
                </c:pt>
                <c:pt idx="44">
                  <c:v>0.16095854098186832</c:v>
                </c:pt>
                <c:pt idx="45">
                  <c:v>0.1548496315475005</c:v>
                </c:pt>
                <c:pt idx="46">
                  <c:v>0.1563079324812177</c:v>
                </c:pt>
                <c:pt idx="47">
                  <c:v>0.15777888944472235</c:v>
                </c:pt>
                <c:pt idx="48">
                  <c:v>0.15445402298850575</c:v>
                </c:pt>
                <c:pt idx="49">
                  <c:v>0.17856437598736177</c:v>
                </c:pt>
                <c:pt idx="50">
                  <c:v>0.15999038615606473</c:v>
                </c:pt>
                <c:pt idx="51">
                  <c:v>0.1646090534979424</c:v>
                </c:pt>
                <c:pt idx="52">
                  <c:v>0.16628440366972477</c:v>
                </c:pt>
                <c:pt idx="53">
                  <c:v>0.15564566437928884</c:v>
                </c:pt>
                <c:pt idx="54">
                  <c:v>0.1579898362507058</c:v>
                </c:pt>
                <c:pt idx="55">
                  <c:v>0.15723419370116032</c:v>
                </c:pt>
                <c:pt idx="56">
                  <c:v>0.1649002849002849</c:v>
                </c:pt>
                <c:pt idx="57">
                  <c:v>0.14748238177918496</c:v>
                </c:pt>
                <c:pt idx="58">
                  <c:v>0.14757606773983437</c:v>
                </c:pt>
                <c:pt idx="59">
                  <c:v>0.1363914373088685</c:v>
                </c:pt>
                <c:pt idx="60">
                  <c:v>0.13633191651335405</c:v>
                </c:pt>
                <c:pt idx="61">
                  <c:v>0.14007287518006947</c:v>
                </c:pt>
                <c:pt idx="62">
                  <c:v>0.16141627473600142</c:v>
                </c:pt>
                <c:pt idx="63">
                  <c:v>0.1601366742596811</c:v>
                </c:pt>
                <c:pt idx="64">
                  <c:v>0.15851528384279476</c:v>
                </c:pt>
                <c:pt idx="65">
                  <c:v>0.16333200478278198</c:v>
                </c:pt>
                <c:pt idx="66">
                  <c:v>0.1540864133263925</c:v>
                </c:pt>
                <c:pt idx="67">
                  <c:v>0.14832707103238504</c:v>
                </c:pt>
                <c:pt idx="68">
                  <c:v>0.13880673125956144</c:v>
                </c:pt>
                <c:pt idx="69">
                  <c:v>0.12687079500205958</c:v>
                </c:pt>
                <c:pt idx="70">
                  <c:v>0.12676238520243177</c:v>
                </c:pt>
                <c:pt idx="71">
                  <c:v>0.12544192745842608</c:v>
                </c:pt>
                <c:pt idx="72">
                  <c:v>0.1374246987951807</c:v>
                </c:pt>
                <c:pt idx="73">
                  <c:v>0.13767193071828834</c:v>
                </c:pt>
                <c:pt idx="74">
                  <c:v>0.1292578681517938</c:v>
                </c:pt>
                <c:pt idx="75">
                  <c:v>0.13484009840098402</c:v>
                </c:pt>
                <c:pt idx="76">
                  <c:v>0.13730818414322252</c:v>
                </c:pt>
                <c:pt idx="77">
                  <c:v>0.1371135671952587</c:v>
                </c:pt>
                <c:pt idx="78">
                  <c:v>0.14234234234234233</c:v>
                </c:pt>
                <c:pt idx="79">
                  <c:v>0.14733944954128442</c:v>
                </c:pt>
                <c:pt idx="80">
                  <c:v>0.14644351464435146</c:v>
                </c:pt>
                <c:pt idx="81">
                  <c:v>0.13844343092540826</c:v>
                </c:pt>
                <c:pt idx="82">
                  <c:v>0.13989637305699482</c:v>
                </c:pt>
                <c:pt idx="83">
                  <c:v>0.12342569269521411</c:v>
                </c:pt>
                <c:pt idx="84">
                  <c:v>0.12353616532721011</c:v>
                </c:pt>
                <c:pt idx="85">
                  <c:v>0.11733112993183227</c:v>
                </c:pt>
                <c:pt idx="86">
                  <c:v>0.12542061792597126</c:v>
                </c:pt>
                <c:pt idx="87">
                  <c:v>0.15615700722686693</c:v>
                </c:pt>
                <c:pt idx="88">
                  <c:v>0.16099179325999652</c:v>
                </c:pt>
                <c:pt idx="89">
                  <c:v>0.12866817155756208</c:v>
                </c:pt>
                <c:pt idx="90">
                  <c:v>0.12739222888072685</c:v>
                </c:pt>
                <c:pt idx="91">
                  <c:v>0.12940528634361234</c:v>
                </c:pt>
                <c:pt idx="92">
                  <c:v>0.1431384428960921</c:v>
                </c:pt>
                <c:pt idx="93">
                  <c:v>0.12367733956300674</c:v>
                </c:pt>
                <c:pt idx="94">
                  <c:v>0.12312166747455162</c:v>
                </c:pt>
                <c:pt idx="95">
                  <c:v>0.1336003770028275</c:v>
                </c:pt>
                <c:pt idx="96">
                  <c:v>0.13879582655307743</c:v>
                </c:pt>
                <c:pt idx="97">
                  <c:v>0.13529557259460798</c:v>
                </c:pt>
                <c:pt idx="98">
                  <c:v>0.1486593914865939</c:v>
                </c:pt>
                <c:pt idx="99">
                  <c:v>0.14808979913351714</c:v>
                </c:pt>
                <c:pt idx="100">
                  <c:v>0.1637249736564805</c:v>
                </c:pt>
                <c:pt idx="101">
                  <c:v>0.1358774212200058</c:v>
                </c:pt>
                <c:pt idx="102">
                  <c:v>0.12760005738057667</c:v>
                </c:pt>
                <c:pt idx="103">
                  <c:v>0.14489073561095722</c:v>
                </c:pt>
                <c:pt idx="104">
                  <c:v>0.1486293905608181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72.3769</c:v>
                </c:pt>
                <c:pt idx="1">
                  <c:v>1273.1296</c:v>
                </c:pt>
                <c:pt idx="2">
                  <c:v>1302.415</c:v>
                </c:pt>
                <c:pt idx="3">
                  <c:v>1326.3668</c:v>
                </c:pt>
                <c:pt idx="4">
                  <c:v>1315.7537</c:v>
                </c:pt>
                <c:pt idx="5">
                  <c:v>1321.7919</c:v>
                </c:pt>
                <c:pt idx="6">
                  <c:v>1320.22</c:v>
                </c:pt>
                <c:pt idx="7">
                  <c:v>1314.166</c:v>
                </c:pt>
                <c:pt idx="8">
                  <c:v>1324.4045</c:v>
                </c:pt>
                <c:pt idx="9">
                  <c:v>1157.7675</c:v>
                </c:pt>
                <c:pt idx="10">
                  <c:v>1186.3984</c:v>
                </c:pt>
                <c:pt idx="11">
                  <c:v>1320.8785</c:v>
                </c:pt>
                <c:pt idx="12">
                  <c:v>1296.3715</c:v>
                </c:pt>
                <c:pt idx="13">
                  <c:v>1197.7465</c:v>
                </c:pt>
                <c:pt idx="14">
                  <c:v>1319.172</c:v>
                </c:pt>
                <c:pt idx="15">
                  <c:v>1225.4308</c:v>
                </c:pt>
                <c:pt idx="16">
                  <c:v>1331.1383</c:v>
                </c:pt>
                <c:pt idx="17">
                  <c:v>1342.6471</c:v>
                </c:pt>
                <c:pt idx="18">
                  <c:v>1392.0791</c:v>
                </c:pt>
                <c:pt idx="19">
                  <c:v>1367.4538</c:v>
                </c:pt>
                <c:pt idx="20">
                  <c:v>1286.4367</c:v>
                </c:pt>
                <c:pt idx="21">
                  <c:v>1299.704</c:v>
                </c:pt>
                <c:pt idx="22">
                  <c:v>1283.2793</c:v>
                </c:pt>
                <c:pt idx="23">
                  <c:v>1172.1436</c:v>
                </c:pt>
                <c:pt idx="24">
                  <c:v>1153.4094</c:v>
                </c:pt>
                <c:pt idx="25">
                  <c:v>1207.888</c:v>
                </c:pt>
                <c:pt idx="26">
                  <c:v>1251.1845</c:v>
                </c:pt>
                <c:pt idx="27">
                  <c:v>1313.6468</c:v>
                </c:pt>
                <c:pt idx="28">
                  <c:v>1359.968</c:v>
                </c:pt>
                <c:pt idx="29">
                  <c:v>1349.3132</c:v>
                </c:pt>
                <c:pt idx="30">
                  <c:v>1352.4305</c:v>
                </c:pt>
                <c:pt idx="31">
                  <c:v>1348.7713</c:v>
                </c:pt>
                <c:pt idx="32">
                  <c:v>1351.2404</c:v>
                </c:pt>
                <c:pt idx="33">
                  <c:v>1356.3797</c:v>
                </c:pt>
                <c:pt idx="34">
                  <c:v>1371.4882</c:v>
                </c:pt>
                <c:pt idx="35">
                  <c:v>1359.9545</c:v>
                </c:pt>
                <c:pt idx="36">
                  <c:v>1346.5016</c:v>
                </c:pt>
                <c:pt idx="37">
                  <c:v>1346.3364</c:v>
                </c:pt>
                <c:pt idx="38">
                  <c:v>1331.8728</c:v>
                </c:pt>
                <c:pt idx="39">
                  <c:v>1357.3931</c:v>
                </c:pt>
                <c:pt idx="40">
                  <c:v>1351.1635</c:v>
                </c:pt>
                <c:pt idx="41">
                  <c:v>1355.8128</c:v>
                </c:pt>
                <c:pt idx="42">
                  <c:v>1350.711</c:v>
                </c:pt>
                <c:pt idx="43">
                  <c:v>1332.7643</c:v>
                </c:pt>
                <c:pt idx="44">
                  <c:v>1290.1071</c:v>
                </c:pt>
                <c:pt idx="45">
                  <c:v>1292.298</c:v>
                </c:pt>
                <c:pt idx="46">
                  <c:v>1294.4256</c:v>
                </c:pt>
                <c:pt idx="47">
                  <c:v>1285.2908</c:v>
                </c:pt>
                <c:pt idx="48">
                  <c:v>1206.3983</c:v>
                </c:pt>
                <c:pt idx="49">
                  <c:v>1173.9947</c:v>
                </c:pt>
                <c:pt idx="50">
                  <c:v>1132.7079</c:v>
                </c:pt>
                <c:pt idx="51">
                  <c:v>1161.9306</c:v>
                </c:pt>
              </c:numCache>
            </c:numRef>
          </c:xVal>
          <c:yVal>
            <c:numRef>
              <c:f>Sheet1!$B$109:$B$160</c:f>
              <c:numCache>
                <c:formatCode>General</c:formatCode>
                <c:ptCount val="52"/>
                <c:pt idx="0">
                  <c:v>0.16759550924804134</c:v>
                </c:pt>
                <c:pt idx="1">
                  <c:v>0.15955711956055274</c:v>
                </c:pt>
                <c:pt idx="2">
                  <c:v>0.1663496592169916</c:v>
                </c:pt>
                <c:pt idx="3">
                  <c:v>0.16841864716636198</c:v>
                </c:pt>
                <c:pt idx="4">
                  <c:v>0.15833942643594118</c:v>
                </c:pt>
                <c:pt idx="5">
                  <c:v>0.14581855442579017</c:v>
                </c:pt>
                <c:pt idx="6">
                  <c:v>0.12964761988872206</c:v>
                </c:pt>
                <c:pt idx="7">
                  <c:v>0.12263473053892215</c:v>
                </c:pt>
                <c:pt idx="8">
                  <c:v>0.13044006807682956</c:v>
                </c:pt>
                <c:pt idx="9">
                  <c:v>0.13955033780042086</c:v>
                </c:pt>
                <c:pt idx="10">
                  <c:v>0.14554038797085087</c:v>
                </c:pt>
                <c:pt idx="11">
                  <c:v>0.1365592342144551</c:v>
                </c:pt>
                <c:pt idx="12">
                  <c:v>0.14403628117913833</c:v>
                </c:pt>
                <c:pt idx="13">
                  <c:v>0.15101714488762547</c:v>
                </c:pt>
                <c:pt idx="14">
                  <c:v>0.1358304583538689</c:v>
                </c:pt>
                <c:pt idx="15">
                  <c:v>0.14728050519454064</c:v>
                </c:pt>
                <c:pt idx="16">
                  <c:v>0.1274432267540391</c:v>
                </c:pt>
                <c:pt idx="17">
                  <c:v>0.11591355599214145</c:v>
                </c:pt>
                <c:pt idx="18">
                  <c:v>0.12824850069198832</c:v>
                </c:pt>
                <c:pt idx="19">
                  <c:v>0.14616755793226383</c:v>
                </c:pt>
                <c:pt idx="20">
                  <c:v>0.13756316676024705</c:v>
                </c:pt>
                <c:pt idx="21">
                  <c:v>0.13103324991061852</c:v>
                </c:pt>
                <c:pt idx="22">
                  <c:v>0.1367814020544242</c:v>
                </c:pt>
                <c:pt idx="23">
                  <c:v>0.15877437325905291</c:v>
                </c:pt>
                <c:pt idx="24">
                  <c:v>0.15927616563417019</c:v>
                </c:pt>
                <c:pt idx="25">
                  <c:v>0.14803418803418802</c:v>
                </c:pt>
                <c:pt idx="26">
                  <c:v>0.13899811933663875</c:v>
                </c:pt>
                <c:pt idx="27">
                  <c:v>0.12880451835582052</c:v>
                </c:pt>
                <c:pt idx="28">
                  <c:v>0.12376237623762376</c:v>
                </c:pt>
                <c:pt idx="29">
                  <c:v>0.12100611828687967</c:v>
                </c:pt>
                <c:pt idx="30">
                  <c:v>0.1306049822064057</c:v>
                </c:pt>
                <c:pt idx="31">
                  <c:v>0.11788372560852947</c:v>
                </c:pt>
                <c:pt idx="32">
                  <c:v>0.11280761631040058</c:v>
                </c:pt>
                <c:pt idx="33">
                  <c:v>0.13306959180003597</c:v>
                </c:pt>
                <c:pt idx="34">
                  <c:v>0.1514814814814815</c:v>
                </c:pt>
                <c:pt idx="35">
                  <c:v>0.16462418300653595</c:v>
                </c:pt>
                <c:pt idx="36">
                  <c:v>0.13451029844472467</c:v>
                </c:pt>
                <c:pt idx="37">
                  <c:v>0.13987820631112752</c:v>
                </c:pt>
                <c:pt idx="38">
                  <c:v>0.13057919867137222</c:v>
                </c:pt>
                <c:pt idx="39">
                  <c:v>0.15516976494085113</c:v>
                </c:pt>
                <c:pt idx="40">
                  <c:v>0.14730073276506656</c:v>
                </c:pt>
                <c:pt idx="41">
                  <c:v>0.15453005927180355</c:v>
                </c:pt>
                <c:pt idx="42">
                  <c:v>0.1465903819390753</c:v>
                </c:pt>
                <c:pt idx="43">
                  <c:v>0.15350039330261828</c:v>
                </c:pt>
                <c:pt idx="44">
                  <c:v>0.14648492204275979</c:v>
                </c:pt>
                <c:pt idx="45">
                  <c:v>0.14991050119331742</c:v>
                </c:pt>
                <c:pt idx="46">
                  <c:v>0.15446855461566752</c:v>
                </c:pt>
                <c:pt idx="47">
                  <c:v>0.1564245810055866</c:v>
                </c:pt>
                <c:pt idx="48">
                  <c:v>0.16450281425891183</c:v>
                </c:pt>
                <c:pt idx="49">
                  <c:v>0.17764407853071565</c:v>
                </c:pt>
                <c:pt idx="50">
                  <c:v>0.20582333428887342</c:v>
                </c:pt>
                <c:pt idx="51">
                  <c:v>0.1861741283544134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24.7185251775132</c:v>
                </c:pt>
              </c:numCache>
            </c:numRef>
          </c:xVal>
          <c:yVal>
            <c:numRef>
              <c:f>Sheet1!$B$163:$B$164</c:f>
              <c:numCache>
                <c:formatCode>General</c:formatCode>
                <c:ptCount val="2"/>
                <c:pt idx="0">
                  <c:v>0.20146975765295125</c:v>
                </c:pt>
                <c:pt idx="1">
                  <c:v>0.2014697576529512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24.7185251775132</c:v>
                </c:pt>
                <c:pt idx="1">
                  <c:v>924.7185251775132</c:v>
                </c:pt>
              </c:numCache>
            </c:numRef>
          </c:xVal>
          <c:yVal>
            <c:numRef>
              <c:f>Sheet1!$B$167:$B$168</c:f>
              <c:numCache>
                <c:formatCode>General</c:formatCode>
                <c:ptCount val="2"/>
                <c:pt idx="0">
                  <c:v>0.201469757652951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43.2643609022869</c:v>
                </c:pt>
              </c:numCache>
            </c:numRef>
          </c:xVal>
          <c:yVal>
            <c:numRef>
              <c:f>Sheet1!$B$171:$B$172</c:f>
              <c:numCache>
                <c:formatCode>General</c:formatCode>
                <c:ptCount val="2"/>
                <c:pt idx="0">
                  <c:v>0.18353608885822859</c:v>
                </c:pt>
                <c:pt idx="1">
                  <c:v>0.1835360888582285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43.2643609022869</c:v>
                </c:pt>
                <c:pt idx="1">
                  <c:v>1043.2643609022869</c:v>
                </c:pt>
              </c:numCache>
            </c:numRef>
          </c:xVal>
          <c:yVal>
            <c:numRef>
              <c:f>Sheet1!$B$175:$B$176</c:f>
              <c:numCache>
                <c:formatCode>General</c:formatCode>
                <c:ptCount val="2"/>
                <c:pt idx="0">
                  <c:v>0.1835360888582285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89.4243245158502</c:v>
                </c:pt>
              </c:numCache>
            </c:numRef>
          </c:xVal>
          <c:yVal>
            <c:numRef>
              <c:f>Sheet1!$B$179:$B$180</c:f>
              <c:numCache>
                <c:formatCode>General</c:formatCode>
                <c:ptCount val="2"/>
                <c:pt idx="0">
                  <c:v>0.16142494203920466</c:v>
                </c:pt>
                <c:pt idx="1">
                  <c:v>0.1614249420392046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89.4243245158502</c:v>
                </c:pt>
                <c:pt idx="1">
                  <c:v>1189.4243245158502</c:v>
                </c:pt>
              </c:numCache>
            </c:numRef>
          </c:xVal>
          <c:yVal>
            <c:numRef>
              <c:f>Sheet1!$B$183:$B$184</c:f>
              <c:numCache>
                <c:formatCode>General</c:formatCode>
                <c:ptCount val="2"/>
                <c:pt idx="0">
                  <c:v>0.1614249420392046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72.3769</c:v>
                </c:pt>
                <c:pt idx="1">
                  <c:v>1273.1296</c:v>
                </c:pt>
                <c:pt idx="2">
                  <c:v>1302.415</c:v>
                </c:pt>
                <c:pt idx="3">
                  <c:v>1326.3668</c:v>
                </c:pt>
                <c:pt idx="4">
                  <c:v>1315.7537</c:v>
                </c:pt>
                <c:pt idx="5">
                  <c:v>1321.7919</c:v>
                </c:pt>
                <c:pt idx="6">
                  <c:v>1320.22</c:v>
                </c:pt>
                <c:pt idx="7">
                  <c:v>1314.166</c:v>
                </c:pt>
                <c:pt idx="8">
                  <c:v>1324.4045</c:v>
                </c:pt>
                <c:pt idx="9">
                  <c:v>1157.7675</c:v>
                </c:pt>
                <c:pt idx="10">
                  <c:v>1186.3984</c:v>
                </c:pt>
                <c:pt idx="11">
                  <c:v>1320.8785</c:v>
                </c:pt>
                <c:pt idx="12">
                  <c:v>1296.3715</c:v>
                </c:pt>
                <c:pt idx="13">
                  <c:v>1197.7465</c:v>
                </c:pt>
                <c:pt idx="14">
                  <c:v>1319.172</c:v>
                </c:pt>
                <c:pt idx="15">
                  <c:v>1225.4308</c:v>
                </c:pt>
                <c:pt idx="16">
                  <c:v>1331.1383</c:v>
                </c:pt>
                <c:pt idx="17">
                  <c:v>1342.6471</c:v>
                </c:pt>
                <c:pt idx="18">
                  <c:v>1392.0791</c:v>
                </c:pt>
                <c:pt idx="19">
                  <c:v>1367.4538</c:v>
                </c:pt>
                <c:pt idx="20">
                  <c:v>1286.4367</c:v>
                </c:pt>
                <c:pt idx="21">
                  <c:v>1299.704</c:v>
                </c:pt>
                <c:pt idx="22">
                  <c:v>1283.2793</c:v>
                </c:pt>
                <c:pt idx="23">
                  <c:v>1172.1436</c:v>
                </c:pt>
                <c:pt idx="24">
                  <c:v>1153.4094</c:v>
                </c:pt>
                <c:pt idx="25">
                  <c:v>1207.888</c:v>
                </c:pt>
                <c:pt idx="26">
                  <c:v>1251.1845</c:v>
                </c:pt>
                <c:pt idx="27">
                  <c:v>1313.6468</c:v>
                </c:pt>
                <c:pt idx="28">
                  <c:v>1359.968</c:v>
                </c:pt>
                <c:pt idx="29">
                  <c:v>1349.3132</c:v>
                </c:pt>
                <c:pt idx="30">
                  <c:v>1352.4305</c:v>
                </c:pt>
                <c:pt idx="31">
                  <c:v>1348.7713</c:v>
                </c:pt>
                <c:pt idx="32">
                  <c:v>1351.2404</c:v>
                </c:pt>
                <c:pt idx="33">
                  <c:v>1356.3797</c:v>
                </c:pt>
                <c:pt idx="34">
                  <c:v>1371.4882</c:v>
                </c:pt>
                <c:pt idx="35">
                  <c:v>1359.9545</c:v>
                </c:pt>
                <c:pt idx="36">
                  <c:v>1346.5016</c:v>
                </c:pt>
                <c:pt idx="37">
                  <c:v>1346.3364</c:v>
                </c:pt>
                <c:pt idx="38">
                  <c:v>1331.8728</c:v>
                </c:pt>
                <c:pt idx="39">
                  <c:v>1357.3931</c:v>
                </c:pt>
                <c:pt idx="40">
                  <c:v>1351.1635</c:v>
                </c:pt>
                <c:pt idx="41">
                  <c:v>1355.8128</c:v>
                </c:pt>
                <c:pt idx="42">
                  <c:v>1350.711</c:v>
                </c:pt>
                <c:pt idx="43">
                  <c:v>1332.7643</c:v>
                </c:pt>
                <c:pt idx="44">
                  <c:v>1290.1071</c:v>
                </c:pt>
                <c:pt idx="45">
                  <c:v>1292.298</c:v>
                </c:pt>
                <c:pt idx="46">
                  <c:v>1294.4256</c:v>
                </c:pt>
                <c:pt idx="47">
                  <c:v>1285.2908</c:v>
                </c:pt>
                <c:pt idx="48">
                  <c:v>1206.3983</c:v>
                </c:pt>
                <c:pt idx="49">
                  <c:v>1173.9947</c:v>
                </c:pt>
                <c:pt idx="50">
                  <c:v>1132.7079</c:v>
                </c:pt>
                <c:pt idx="51">
                  <c:v>1161.9306</c:v>
                </c:pt>
                <c:pt idx="52">
                  <c:v>1043.2643609022869</c:v>
                </c:pt>
                <c:pt idx="53">
                  <c:v>924.7185251775132</c:v>
                </c:pt>
                <c:pt idx="54">
                  <c:v>1189.4243245158502</c:v>
                </c:pt>
              </c:numCache>
            </c:numRef>
          </c:xVal>
          <c:yVal>
            <c:numRef>
              <c:f>Sheet1!$B$187:$B$241</c:f>
              <c:numCache>
                <c:formatCode>General</c:formatCode>
                <c:ptCount val="55"/>
                <c:pt idx="0">
                  <c:v>0.14887583809720017</c:v>
                </c:pt>
                <c:pt idx="1">
                  <c:v>0.14876196929346483</c:v>
                </c:pt>
                <c:pt idx="2">
                  <c:v>0.1443316604520787</c:v>
                </c:pt>
                <c:pt idx="3">
                  <c:v>0.14070822108273043</c:v>
                </c:pt>
                <c:pt idx="4">
                  <c:v>0.14231377575381277</c:v>
                </c:pt>
                <c:pt idx="5">
                  <c:v>0.141400314068261</c:v>
                </c:pt>
                <c:pt idx="6">
                  <c:v>0.14163811182645364</c:v>
                </c:pt>
                <c:pt idx="7">
                  <c:v>0.14255396374330478</c:v>
                </c:pt>
                <c:pt idx="8">
                  <c:v>0.1410050787332816</c:v>
                </c:pt>
                <c:pt idx="9">
                  <c:v>0.16621400107690879</c:v>
                </c:pt>
                <c:pt idx="10">
                  <c:v>0.16188270529789117</c:v>
                </c:pt>
                <c:pt idx="11">
                  <c:v>0.1415384936422372</c:v>
                </c:pt>
                <c:pt idx="12">
                  <c:v>0.14524592392407898</c:v>
                </c:pt>
                <c:pt idx="13">
                  <c:v>0.1601659594872506</c:v>
                </c:pt>
                <c:pt idx="14">
                  <c:v>0.14179665375061287</c:v>
                </c:pt>
                <c:pt idx="15">
                  <c:v>0.15597786579354703</c:v>
                </c:pt>
                <c:pt idx="16">
                  <c:v>0.13998638635837377</c:v>
                </c:pt>
                <c:pt idx="17">
                  <c:v>0.13824532977749238</c:v>
                </c:pt>
                <c:pt idx="18">
                  <c:v>0.13076723398069948</c:v>
                </c:pt>
                <c:pt idx="19">
                  <c:v>0.13449256074119398</c:v>
                </c:pt>
                <c:pt idx="20">
                  <c:v>0.14674886505779758</c:v>
                </c:pt>
                <c:pt idx="21">
                  <c:v>0.14474178178451733</c:v>
                </c:pt>
                <c:pt idx="22">
                  <c:v>0.14722651798846587</c:v>
                </c:pt>
                <c:pt idx="23">
                  <c:v>0.16403917802738063</c:v>
                </c:pt>
                <c:pt idx="24">
                  <c:v>0.16687329645828122</c:v>
                </c:pt>
                <c:pt idx="25">
                  <c:v>0.1586317486820399</c:v>
                </c:pt>
                <c:pt idx="26">
                  <c:v>0.1520818341597498</c:v>
                </c:pt>
                <c:pt idx="27">
                  <c:v>0.14263250855916687</c:v>
                </c:pt>
                <c:pt idx="28">
                  <c:v>0.13562501602351376</c:v>
                </c:pt>
                <c:pt idx="29">
                  <c:v>0.13723687908986085</c:v>
                </c:pt>
                <c:pt idx="30">
                  <c:v>0.13676529250571814</c:v>
                </c:pt>
                <c:pt idx="31">
                  <c:v>0.13731885797220997</c:v>
                </c:pt>
                <c:pt idx="32">
                  <c:v>0.13694533138352533</c:v>
                </c:pt>
                <c:pt idx="33">
                  <c:v>0.13616785570525095</c:v>
                </c:pt>
                <c:pt idx="34">
                  <c:v>0.13388223484536574</c:v>
                </c:pt>
                <c:pt idx="35">
                  <c:v>0.13562705830975055</c:v>
                </c:pt>
                <c:pt idx="36">
                  <c:v>0.13766221923677505</c:v>
                </c:pt>
                <c:pt idx="37">
                  <c:v>0.13768721076909482</c:v>
                </c:pt>
                <c:pt idx="38">
                  <c:v>0.13987527085904652</c:v>
                </c:pt>
                <c:pt idx="39">
                  <c:v>0.13601454808507638</c:v>
                </c:pt>
                <c:pt idx="40">
                  <c:v>0.13695696485105185</c:v>
                </c:pt>
                <c:pt idx="41">
                  <c:v>0.1362536165991497</c:v>
                </c:pt>
                <c:pt idx="42">
                  <c:v>0.13702541926009962</c:v>
                </c:pt>
                <c:pt idx="43">
                  <c:v>0.1397404043271878</c:v>
                </c:pt>
                <c:pt idx="44">
                  <c:v>0.14619360525013153</c:v>
                </c:pt>
                <c:pt idx="45">
                  <c:v>0.14586216488597079</c:v>
                </c:pt>
                <c:pt idx="46">
                  <c:v>0.14554030057505363</c:v>
                </c:pt>
                <c:pt idx="47">
                  <c:v>0.14692221733918506</c:v>
                </c:pt>
                <c:pt idx="48">
                  <c:v>0.15885711118625745</c:v>
                </c:pt>
                <c:pt idx="49">
                  <c:v>0.1637591427642021</c:v>
                </c:pt>
                <c:pt idx="50">
                  <c:v>0.17000502894204292</c:v>
                </c:pt>
                <c:pt idx="51">
                  <c:v>0.1655842053856232</c:v>
                </c:pt>
                <c:pt idx="52">
                  <c:v>0.18353608885822859</c:v>
                </c:pt>
                <c:pt idx="53">
                  <c:v>0.20146975765295125</c:v>
                </c:pt>
                <c:pt idx="54">
                  <c:v>0.1614249420392046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70.0"/>
          <c:min val="66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558211256746335"/>
          <c:min val="0.0902460930483204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8929912894007583</c:v>
                </c:pt>
                <c:pt idx="1">
                  <c:v>0.19871376094741458</c:v>
                </c:pt>
                <c:pt idx="2">
                  <c:v>0.19383154685130483</c:v>
                </c:pt>
                <c:pt idx="3">
                  <c:v>0.20018953594571143</c:v>
                </c:pt>
                <c:pt idx="4">
                  <c:v>0.20106276852531388</c:v>
                </c:pt>
                <c:pt idx="5">
                  <c:v>0.20515991271084874</c:v>
                </c:pt>
                <c:pt idx="6">
                  <c:v>0.21699530990751714</c:v>
                </c:pt>
                <c:pt idx="7">
                  <c:v>0.20983682782037</c:v>
                </c:pt>
                <c:pt idx="8">
                  <c:v>0.20448826653140276</c:v>
                </c:pt>
                <c:pt idx="9">
                  <c:v>0.19629508028146256</c:v>
                </c:pt>
                <c:pt idx="10">
                  <c:v>0.18382397571849501</c:v>
                </c:pt>
                <c:pt idx="11">
                  <c:v>0.18199951535376258</c:v>
                </c:pt>
                <c:pt idx="12">
                  <c:v>0.18644807242927722</c:v>
                </c:pt>
                <c:pt idx="13">
                  <c:v>0.18624428175576282</c:v>
                </c:pt>
                <c:pt idx="14">
                  <c:v>0.2165887709465045</c:v>
                </c:pt>
                <c:pt idx="15">
                  <c:v>0.2090280043194826</c:v>
                </c:pt>
                <c:pt idx="16">
                  <c:v>0.20400269483311229</c:v>
                </c:pt>
                <c:pt idx="17">
                  <c:v>0.20470077402171213</c:v>
                </c:pt>
                <c:pt idx="18">
                  <c:v>0.18989106970297567</c:v>
                </c:pt>
                <c:pt idx="19">
                  <c:v>0.1916177785124259</c:v>
                </c:pt>
                <c:pt idx="20">
                  <c:v>0.2058653154428511</c:v>
                </c:pt>
                <c:pt idx="21">
                  <c:v>0.19229097873788692</c:v>
                </c:pt>
                <c:pt idx="22">
                  <c:v>0.18371394920947</c:v>
                </c:pt>
                <c:pt idx="23">
                  <c:v>0.18591194630497113</c:v>
                </c:pt>
                <c:pt idx="24">
                  <c:v>0.18410780141581848</c:v>
                </c:pt>
                <c:pt idx="25">
                  <c:v>0.17658102631263375</c:v>
                </c:pt>
                <c:pt idx="26">
                  <c:v>0.18335306372145757</c:v>
                </c:pt>
                <c:pt idx="27">
                  <c:v>0.17933097615060006</c:v>
                </c:pt>
                <c:pt idx="28">
                  <c:v>0.17616498197016026</c:v>
                </c:pt>
                <c:pt idx="29">
                  <c:v>0.18530580801987853</c:v>
                </c:pt>
                <c:pt idx="30">
                  <c:v>0.1713597104401968</c:v>
                </c:pt>
                <c:pt idx="31">
                  <c:v>0.1624188181927801</c:v>
                </c:pt>
                <c:pt idx="32">
                  <c:v>0.16667833944707622</c:v>
                </c:pt>
                <c:pt idx="33">
                  <c:v>0.16748076041718027</c:v>
                </c:pt>
                <c:pt idx="34">
                  <c:v>0.17486318700194636</c:v>
                </c:pt>
                <c:pt idx="35">
                  <c:v>0.1918999728394465</c:v>
                </c:pt>
                <c:pt idx="36">
                  <c:v>0.17907283499083382</c:v>
                </c:pt>
                <c:pt idx="37">
                  <c:v>0.16539020623789033</c:v>
                </c:pt>
                <c:pt idx="38">
                  <c:v>0.16977542782636595</c:v>
                </c:pt>
                <c:pt idx="39">
                  <c:v>0.17818829185678317</c:v>
                </c:pt>
                <c:pt idx="40">
                  <c:v>0.19947561468931918</c:v>
                </c:pt>
                <c:pt idx="41">
                  <c:v>0.18815353846439603</c:v>
                </c:pt>
                <c:pt idx="42">
                  <c:v>0.19421065799812942</c:v>
                </c:pt>
                <c:pt idx="43">
                  <c:v>0.20507651513503455</c:v>
                </c:pt>
                <c:pt idx="44">
                  <c:v>0.2142729588221821</c:v>
                </c:pt>
                <c:pt idx="45">
                  <c:v>0.2232231094493954</c:v>
                </c:pt>
                <c:pt idx="46">
                  <c:v>0.21610271467901687</c:v>
                </c:pt>
                <c:pt idx="47">
                  <c:v>0.21675428927307638</c:v>
                </c:pt>
                <c:pt idx="48">
                  <c:v>0.21966982342242294</c:v>
                </c:pt>
                <c:pt idx="49">
                  <c:v>0.23448619625343856</c:v>
                </c:pt>
                <c:pt idx="50">
                  <c:v>0.21471024287111964</c:v>
                </c:pt>
                <c:pt idx="51">
                  <c:v>0.19718778512720633</c:v>
                </c:pt>
                <c:pt idx="52">
                  <c:v>0.20643586657870697</c:v>
                </c:pt>
                <c:pt idx="53">
                  <c:v>0.22566210389754582</c:v>
                </c:pt>
                <c:pt idx="54">
                  <c:v>0.2183905764956223</c:v>
                </c:pt>
                <c:pt idx="55">
                  <c:v>0.2195269674711695</c:v>
                </c:pt>
                <c:pt idx="56">
                  <c:v>0.2195301231336179</c:v>
                </c:pt>
                <c:pt idx="57">
                  <c:v>0.22329962268819675</c:v>
                </c:pt>
                <c:pt idx="58">
                  <c:v>0.242023605233186</c:v>
                </c:pt>
                <c:pt idx="59">
                  <c:v>0.2719780476667148</c:v>
                </c:pt>
                <c:pt idx="60">
                  <c:v>0.2717103202688659</c:v>
                </c:pt>
                <c:pt idx="61">
                  <c:v>0.24580152631472946</c:v>
                </c:pt>
                <c:pt idx="62">
                  <c:v>0.2271614319516201</c:v>
                </c:pt>
                <c:pt idx="63">
                  <c:v>0.2283321052192069</c:v>
                </c:pt>
                <c:pt idx="64">
                  <c:v>0.23183409493569493</c:v>
                </c:pt>
                <c:pt idx="65">
                  <c:v>0.22686455935856423</c:v>
                </c:pt>
                <c:pt idx="66">
                  <c:v>0.2524985264983095</c:v>
                </c:pt>
                <c:pt idx="67">
                  <c:v>0.2519109259717622</c:v>
                </c:pt>
                <c:pt idx="68">
                  <c:v>0.23428187633764927</c:v>
                </c:pt>
                <c:pt idx="69">
                  <c:v>0.23082496831087682</c:v>
                </c:pt>
                <c:pt idx="70">
                  <c:v>0.2333934834847378</c:v>
                </c:pt>
                <c:pt idx="71">
                  <c:v>0.22302454307930414</c:v>
                </c:pt>
                <c:pt idx="72">
                  <c:v>0.234694294702559</c:v>
                </c:pt>
                <c:pt idx="73">
                  <c:v>0.2333198302895946</c:v>
                </c:pt>
                <c:pt idx="74">
                  <c:v>0.22426724202739715</c:v>
                </c:pt>
                <c:pt idx="75">
                  <c:v>0.21799789595631858</c:v>
                </c:pt>
                <c:pt idx="76">
                  <c:v>0.20753323244671182</c:v>
                </c:pt>
                <c:pt idx="77">
                  <c:v>0.20639794565170158</c:v>
                </c:pt>
                <c:pt idx="78">
                  <c:v>0.20345738908215846</c:v>
                </c:pt>
                <c:pt idx="79">
                  <c:v>0.19724521729132413</c:v>
                </c:pt>
                <c:pt idx="80">
                  <c:v>0.1956238208628287</c:v>
                </c:pt>
                <c:pt idx="81">
                  <c:v>0.2081730977606976</c:v>
                </c:pt>
                <c:pt idx="82">
                  <c:v>0.19554771742128332</c:v>
                </c:pt>
                <c:pt idx="83">
                  <c:v>0.1829998983749027</c:v>
                </c:pt>
                <c:pt idx="84">
                  <c:v>0.18625870722233354</c:v>
                </c:pt>
                <c:pt idx="85">
                  <c:v>0.18559504215926578</c:v>
                </c:pt>
                <c:pt idx="86">
                  <c:v>0.19386342281426217</c:v>
                </c:pt>
                <c:pt idx="87">
                  <c:v>0.21804553975720276</c:v>
                </c:pt>
                <c:pt idx="88">
                  <c:v>0.19626823670902113</c:v>
                </c:pt>
                <c:pt idx="89">
                  <c:v>0.19204499250494955</c:v>
                </c:pt>
                <c:pt idx="90">
                  <c:v>0.187598710032082</c:v>
                </c:pt>
                <c:pt idx="91">
                  <c:v>0.19633637712242102</c:v>
                </c:pt>
                <c:pt idx="92">
                  <c:v>0.20863819850779214</c:v>
                </c:pt>
                <c:pt idx="93">
                  <c:v>0.20855760458307424</c:v>
                </c:pt>
                <c:pt idx="94">
                  <c:v>0.20035365115281853</c:v>
                </c:pt>
                <c:pt idx="95">
                  <c:v>0.21797015764056993</c:v>
                </c:pt>
                <c:pt idx="96">
                  <c:v>0.2131804638996963</c:v>
                </c:pt>
                <c:pt idx="97">
                  <c:v>0.2324875150175875</c:v>
                </c:pt>
                <c:pt idx="98">
                  <c:v>0.23849381578861048</c:v>
                </c:pt>
                <c:pt idx="99">
                  <c:v>0.24848828098565093</c:v>
                </c:pt>
                <c:pt idx="100">
                  <c:v>0.25143783701408456</c:v>
                </c:pt>
                <c:pt idx="101">
                  <c:v>0.26441230828865997</c:v>
                </c:pt>
                <c:pt idx="102">
                  <c:v>0.2664418689322465</c:v>
                </c:pt>
                <c:pt idx="103">
                  <c:v>0.23750803684275862</c:v>
                </c:pt>
                <c:pt idx="104">
                  <c:v>0.23411746892559476</c:v>
                </c:pt>
              </c:numCache>
            </c:numRef>
          </c:xVal>
          <c:yVal>
            <c:numRef>
              <c:f>Sheet1!$B$2:$B$106</c:f>
              <c:numCache>
                <c:formatCode>General</c:formatCode>
                <c:ptCount val="105"/>
                <c:pt idx="0">
                  <c:v>0.22448371723590152</c:v>
                </c:pt>
                <c:pt idx="1">
                  <c:v>0.24133406232914162</c:v>
                </c:pt>
                <c:pt idx="2">
                  <c:v>0.23332979963956324</c:v>
                </c:pt>
                <c:pt idx="3">
                  <c:v>0.23139421514462138</c:v>
                </c:pt>
                <c:pt idx="4">
                  <c:v>0.19582013932868905</c:v>
                </c:pt>
                <c:pt idx="5">
                  <c:v>0.17259762761562042</c:v>
                </c:pt>
                <c:pt idx="6">
                  <c:v>0.16975070675918788</c:v>
                </c:pt>
                <c:pt idx="7">
                  <c:v>0.15738773197336733</c:v>
                </c:pt>
                <c:pt idx="8">
                  <c:v>0.17779310344827587</c:v>
                </c:pt>
                <c:pt idx="9">
                  <c:v>0.17002608489447474</c:v>
                </c:pt>
                <c:pt idx="10">
                  <c:v>0.1884892086330935</c:v>
                </c:pt>
                <c:pt idx="11">
                  <c:v>0.19222038794882376</c:v>
                </c:pt>
                <c:pt idx="12">
                  <c:v>0.20531622364802934</c:v>
                </c:pt>
                <c:pt idx="13">
                  <c:v>0.20160450093769536</c:v>
                </c:pt>
                <c:pt idx="14">
                  <c:v>0.2092632051138275</c:v>
                </c:pt>
                <c:pt idx="15">
                  <c:v>0.20393467918220393</c:v>
                </c:pt>
                <c:pt idx="16">
                  <c:v>0.18072637823759224</c:v>
                </c:pt>
                <c:pt idx="17">
                  <c:v>0.1883616543764027</c:v>
                </c:pt>
                <c:pt idx="18">
                  <c:v>0.17104289940828402</c:v>
                </c:pt>
                <c:pt idx="19">
                  <c:v>0.15219611848825332</c:v>
                </c:pt>
                <c:pt idx="20">
                  <c:v>0.17140454163162322</c:v>
                </c:pt>
                <c:pt idx="21">
                  <c:v>0.15215292527514965</c:v>
                </c:pt>
                <c:pt idx="22">
                  <c:v>0.14718339686573487</c:v>
                </c:pt>
                <c:pt idx="23">
                  <c:v>0.1319324090121317</c:v>
                </c:pt>
                <c:pt idx="24">
                  <c:v>0.13997555012224938</c:v>
                </c:pt>
                <c:pt idx="25">
                  <c:v>0.13502398903358465</c:v>
                </c:pt>
                <c:pt idx="26">
                  <c:v>0.13708920187793427</c:v>
                </c:pt>
                <c:pt idx="27">
                  <c:v>0.14551024315527475</c:v>
                </c:pt>
                <c:pt idx="28">
                  <c:v>0.13824264564506825</c:v>
                </c:pt>
                <c:pt idx="29">
                  <c:v>0.12891566265060242</c:v>
                </c:pt>
                <c:pt idx="30">
                  <c:v>0.1285806590566444</c:v>
                </c:pt>
                <c:pt idx="31">
                  <c:v>0.11854561101549053</c:v>
                </c:pt>
                <c:pt idx="32">
                  <c:v>0.12651531849239586</c:v>
                </c:pt>
                <c:pt idx="33">
                  <c:v>0.12749762131303521</c:v>
                </c:pt>
                <c:pt idx="34">
                  <c:v>0.13592741231896702</c:v>
                </c:pt>
                <c:pt idx="35">
                  <c:v>0.16326530612244897</c:v>
                </c:pt>
                <c:pt idx="36">
                  <c:v>0.1483993061031383</c:v>
                </c:pt>
                <c:pt idx="37">
                  <c:v>0.13065134099616857</c:v>
                </c:pt>
                <c:pt idx="38">
                  <c:v>0.12106135986733002</c:v>
                </c:pt>
                <c:pt idx="39">
                  <c:v>0.11412268188302425</c:v>
                </c:pt>
                <c:pt idx="40">
                  <c:v>0.12351464435146443</c:v>
                </c:pt>
                <c:pt idx="41">
                  <c:v>0.11146025878003697</c:v>
                </c:pt>
                <c:pt idx="42">
                  <c:v>0.1186148542776559</c:v>
                </c:pt>
                <c:pt idx="43">
                  <c:v>0.12918266593527153</c:v>
                </c:pt>
                <c:pt idx="44">
                  <c:v>0.12321068815608101</c:v>
                </c:pt>
                <c:pt idx="45">
                  <c:v>0.12288388767177853</c:v>
                </c:pt>
                <c:pt idx="46">
                  <c:v>0.12596350863498879</c:v>
                </c:pt>
                <c:pt idx="47">
                  <c:v>0.12216108054027014</c:v>
                </c:pt>
                <c:pt idx="48">
                  <c:v>0.14051724137931035</c:v>
                </c:pt>
                <c:pt idx="49">
                  <c:v>0.15955766192733017</c:v>
                </c:pt>
                <c:pt idx="50">
                  <c:v>0.13523473802275277</c:v>
                </c:pt>
                <c:pt idx="51">
                  <c:v>0.1332080873143675</c:v>
                </c:pt>
                <c:pt idx="52">
                  <c:v>0.15420489296636086</c:v>
                </c:pt>
                <c:pt idx="53">
                  <c:v>0.13901018922852984</c:v>
                </c:pt>
                <c:pt idx="54">
                  <c:v>0.12896668548842463</c:v>
                </c:pt>
                <c:pt idx="55">
                  <c:v>0.13509353540137342</c:v>
                </c:pt>
                <c:pt idx="56">
                  <c:v>0.1511111111111111</c:v>
                </c:pt>
                <c:pt idx="57">
                  <c:v>0.13788172811765909</c:v>
                </c:pt>
                <c:pt idx="58">
                  <c:v>0.13929468688936447</c:v>
                </c:pt>
                <c:pt idx="59">
                  <c:v>0.14055045871559632</c:v>
                </c:pt>
                <c:pt idx="60">
                  <c:v>0.13874262513480937</c:v>
                </c:pt>
                <c:pt idx="61">
                  <c:v>0.13651385475807135</c:v>
                </c:pt>
                <c:pt idx="62">
                  <c:v>0.15360724110391338</c:v>
                </c:pt>
                <c:pt idx="63">
                  <c:v>0.17145026575550493</c:v>
                </c:pt>
                <c:pt idx="64">
                  <c:v>0.1735080058224163</c:v>
                </c:pt>
                <c:pt idx="65">
                  <c:v>0.17927461139896372</c:v>
                </c:pt>
                <c:pt idx="66">
                  <c:v>0.16198160680201285</c:v>
                </c:pt>
                <c:pt idx="67">
                  <c:v>0.16129898013955984</c:v>
                </c:pt>
                <c:pt idx="68">
                  <c:v>0.149209586945436</c:v>
                </c:pt>
                <c:pt idx="69">
                  <c:v>0.1345599340930935</c:v>
                </c:pt>
                <c:pt idx="70">
                  <c:v>0.12999611951882034</c:v>
                </c:pt>
                <c:pt idx="71">
                  <c:v>0.13277464973157</c:v>
                </c:pt>
                <c:pt idx="72">
                  <c:v>0.13692269076305222</c:v>
                </c:pt>
                <c:pt idx="73">
                  <c:v>0.13843606724401428</c:v>
                </c:pt>
                <c:pt idx="74">
                  <c:v>0.1334024090143764</c:v>
                </c:pt>
                <c:pt idx="75">
                  <c:v>0.12423124231242312</c:v>
                </c:pt>
                <c:pt idx="76">
                  <c:v>0.1265984654731458</c:v>
                </c:pt>
                <c:pt idx="77">
                  <c:v>0.12413903572000641</c:v>
                </c:pt>
                <c:pt idx="78">
                  <c:v>0.1281081081081081</c:v>
                </c:pt>
                <c:pt idx="79">
                  <c:v>0.12422018348623853</c:v>
                </c:pt>
                <c:pt idx="80">
                  <c:v>0.1149718028015281</c:v>
                </c:pt>
                <c:pt idx="81">
                  <c:v>0.11181403560394292</c:v>
                </c:pt>
                <c:pt idx="82">
                  <c:v>0.11991117690599556</c:v>
                </c:pt>
                <c:pt idx="83">
                  <c:v>0.11128921456377376</c:v>
                </c:pt>
                <c:pt idx="84">
                  <c:v>0.10470723306544202</c:v>
                </c:pt>
                <c:pt idx="85">
                  <c:v>0.09626110307787647</c:v>
                </c:pt>
                <c:pt idx="86">
                  <c:v>0.10553686142551238</c:v>
                </c:pt>
                <c:pt idx="87">
                  <c:v>0.13872750460535638</c:v>
                </c:pt>
                <c:pt idx="88">
                  <c:v>0.1283394447354636</c:v>
                </c:pt>
                <c:pt idx="89">
                  <c:v>0.1038374717832957</c:v>
                </c:pt>
                <c:pt idx="90">
                  <c:v>0.09375604098202203</c:v>
                </c:pt>
                <c:pt idx="91">
                  <c:v>0.11692364170337739</c:v>
                </c:pt>
                <c:pt idx="92">
                  <c:v>0.11284459254771281</c:v>
                </c:pt>
                <c:pt idx="93">
                  <c:v>0.0997663872474921</c:v>
                </c:pt>
                <c:pt idx="94">
                  <c:v>0.09807723380190661</c:v>
                </c:pt>
                <c:pt idx="95">
                  <c:v>0.11604618284637135</c:v>
                </c:pt>
                <c:pt idx="96">
                  <c:v>0.11735426438211927</c:v>
                </c:pt>
                <c:pt idx="97">
                  <c:v>0.11509605078736912</c:v>
                </c:pt>
                <c:pt idx="98">
                  <c:v>0.1338440413384404</c:v>
                </c:pt>
                <c:pt idx="99">
                  <c:v>0.12846264933700932</c:v>
                </c:pt>
                <c:pt idx="100">
                  <c:v>0.16684229012996135</c:v>
                </c:pt>
                <c:pt idx="101">
                  <c:v>0.12691529343740965</c:v>
                </c:pt>
                <c:pt idx="102">
                  <c:v>0.10615406684837182</c:v>
                </c:pt>
                <c:pt idx="103">
                  <c:v>0.12080640196983687</c:v>
                </c:pt>
                <c:pt idx="104">
                  <c:v>0.1377315785061614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586275841542009</c:v>
                </c:pt>
                <c:pt idx="1">
                  <c:v>0.2559075060362592</c:v>
                </c:pt>
                <c:pt idx="2">
                  <c:v>0.2618573824268933</c:v>
                </c:pt>
                <c:pt idx="3">
                  <c:v>0.2695612947152652</c:v>
                </c:pt>
                <c:pt idx="4">
                  <c:v>0.261050971833128</c:v>
                </c:pt>
                <c:pt idx="5">
                  <c:v>0.26632832133991907</c:v>
                </c:pt>
                <c:pt idx="6">
                  <c:v>0.24837079973290804</c:v>
                </c:pt>
                <c:pt idx="7">
                  <c:v>0.23068932850993581</c:v>
                </c:pt>
                <c:pt idx="8">
                  <c:v>0.242275449544033</c:v>
                </c:pt>
                <c:pt idx="9">
                  <c:v>0.22707346288820565</c:v>
                </c:pt>
                <c:pt idx="10">
                  <c:v>0.23705831381341025</c:v>
                </c:pt>
                <c:pt idx="11">
                  <c:v>0.26842300687676757</c:v>
                </c:pt>
                <c:pt idx="12">
                  <c:v>0.2665074968505628</c:v>
                </c:pt>
                <c:pt idx="13">
                  <c:v>0.23321800813298374</c:v>
                </c:pt>
                <c:pt idx="14">
                  <c:v>0.25111993044356123</c:v>
                </c:pt>
                <c:pt idx="15">
                  <c:v>0.22614364335493228</c:v>
                </c:pt>
                <c:pt idx="16">
                  <c:v>0.22551114485667834</c:v>
                </c:pt>
                <c:pt idx="17">
                  <c:v>0.21254509055351312</c:v>
                </c:pt>
                <c:pt idx="18">
                  <c:v>0.1889827190176333</c:v>
                </c:pt>
                <c:pt idx="19">
                  <c:v>0.20199105273106266</c:v>
                </c:pt>
                <c:pt idx="20">
                  <c:v>0.18799699291615174</c:v>
                </c:pt>
                <c:pt idx="21">
                  <c:v>0.18352730755822955</c:v>
                </c:pt>
                <c:pt idx="22">
                  <c:v>0.19183967035868488</c:v>
                </c:pt>
                <c:pt idx="23">
                  <c:v>0.15222565109884892</c:v>
                </c:pt>
                <c:pt idx="24">
                  <c:v>0.14894941648110632</c:v>
                </c:pt>
                <c:pt idx="25">
                  <c:v>0.1485730426984604</c:v>
                </c:pt>
                <c:pt idx="26">
                  <c:v>0.15467252193133108</c:v>
                </c:pt>
                <c:pt idx="27">
                  <c:v>0.17386059803785067</c:v>
                </c:pt>
                <c:pt idx="28">
                  <c:v>0.1932588850611378</c:v>
                </c:pt>
                <c:pt idx="29">
                  <c:v>0.18576976328750616</c:v>
                </c:pt>
                <c:pt idx="30">
                  <c:v>0.18745656383111609</c:v>
                </c:pt>
                <c:pt idx="31">
                  <c:v>0.18716066071002505</c:v>
                </c:pt>
                <c:pt idx="32">
                  <c:v>0.1807796813029709</c:v>
                </c:pt>
                <c:pt idx="33">
                  <c:v>0.19569641717894196</c:v>
                </c:pt>
                <c:pt idx="34">
                  <c:v>0.21828888634762994</c:v>
                </c:pt>
                <c:pt idx="35">
                  <c:v>0.21376747749755817</c:v>
                </c:pt>
                <c:pt idx="36">
                  <c:v>0.16885286263420393</c:v>
                </c:pt>
                <c:pt idx="37">
                  <c:v>0.1784335715808786</c:v>
                </c:pt>
                <c:pt idx="38">
                  <c:v>0.1785713722550555</c:v>
                </c:pt>
                <c:pt idx="39">
                  <c:v>0.20705934809291246</c:v>
                </c:pt>
                <c:pt idx="40">
                  <c:v>0.20671173405264304</c:v>
                </c:pt>
                <c:pt idx="41">
                  <c:v>0.21476993325782967</c:v>
                </c:pt>
                <c:pt idx="42">
                  <c:v>0.20923331405344145</c:v>
                </c:pt>
                <c:pt idx="43">
                  <c:v>0.21083623944105695</c:v>
                </c:pt>
                <c:pt idx="44">
                  <c:v>0.21589680054224444</c:v>
                </c:pt>
                <c:pt idx="45">
                  <c:v>0.2228743002694437</c:v>
                </c:pt>
                <c:pt idx="46">
                  <c:v>0.2058125467193613</c:v>
                </c:pt>
                <c:pt idx="47">
                  <c:v>0.21147764855889833</c:v>
                </c:pt>
                <c:pt idx="48">
                  <c:v>0.21009050422062225</c:v>
                </c:pt>
                <c:pt idx="49">
                  <c:v>0.21756451451032588</c:v>
                </c:pt>
                <c:pt idx="50">
                  <c:v>0.22659921078440207</c:v>
                </c:pt>
                <c:pt idx="51">
                  <c:v>0.21374617616471486</c:v>
                </c:pt>
              </c:numCache>
            </c:numRef>
          </c:xVal>
          <c:yVal>
            <c:numRef>
              <c:f>Sheet1!$B$109:$B$160</c:f>
              <c:numCache>
                <c:formatCode>General</c:formatCode>
                <c:ptCount val="52"/>
                <c:pt idx="0">
                  <c:v>0.14336483321217997</c:v>
                </c:pt>
                <c:pt idx="1">
                  <c:v>0.12556862071925157</c:v>
                </c:pt>
                <c:pt idx="2">
                  <c:v>0.12529719448407037</c:v>
                </c:pt>
                <c:pt idx="3">
                  <c:v>0.12469530773918343</c:v>
                </c:pt>
                <c:pt idx="4">
                  <c:v>0.11146315703956454</c:v>
                </c:pt>
                <c:pt idx="5">
                  <c:v>0.10427997162449752</c:v>
                </c:pt>
                <c:pt idx="6">
                  <c:v>0.1140157202154906</c:v>
                </c:pt>
                <c:pt idx="7">
                  <c:v>0.11868263473053892</c:v>
                </c:pt>
                <c:pt idx="8">
                  <c:v>0.11646000486263068</c:v>
                </c:pt>
                <c:pt idx="9">
                  <c:v>0.13877505814597407</c:v>
                </c:pt>
                <c:pt idx="10">
                  <c:v>0.13127373498922304</c:v>
                </c:pt>
                <c:pt idx="11">
                  <c:v>0.1301484148590498</c:v>
                </c:pt>
                <c:pt idx="12">
                  <c:v>0.1295238095238095</c:v>
                </c:pt>
                <c:pt idx="13">
                  <c:v>0.1356489295549436</c:v>
                </c:pt>
                <c:pt idx="14">
                  <c:v>0.12824051256776736</c:v>
                </c:pt>
                <c:pt idx="15">
                  <c:v>0.12660419637400694</c:v>
                </c:pt>
                <c:pt idx="16">
                  <c:v>0.12258501864196136</c:v>
                </c:pt>
                <c:pt idx="17">
                  <c:v>0.11914942794406565</c:v>
                </c:pt>
                <c:pt idx="18">
                  <c:v>0.1174842380439797</c:v>
                </c:pt>
                <c:pt idx="19">
                  <c:v>0.12796027501909854</c:v>
                </c:pt>
                <c:pt idx="20">
                  <c:v>0.11959573273441887</c:v>
                </c:pt>
                <c:pt idx="21">
                  <c:v>0.11869860564890955</c:v>
                </c:pt>
                <c:pt idx="22">
                  <c:v>0.12056226347089566</c:v>
                </c:pt>
                <c:pt idx="23">
                  <c:v>0.14345403899721448</c:v>
                </c:pt>
                <c:pt idx="24">
                  <c:v>0.15373328985979784</c:v>
                </c:pt>
                <c:pt idx="25">
                  <c:v>0.16974358974358975</c:v>
                </c:pt>
                <c:pt idx="26">
                  <c:v>0.15250470165840316</c:v>
                </c:pt>
                <c:pt idx="27">
                  <c:v>0.11452776906181361</c:v>
                </c:pt>
                <c:pt idx="28">
                  <c:v>0.09462517680339462</c:v>
                </c:pt>
                <c:pt idx="29">
                  <c:v>0.08973487423521415</c:v>
                </c:pt>
                <c:pt idx="30">
                  <c:v>0.100355871886121</c:v>
                </c:pt>
                <c:pt idx="31">
                  <c:v>0.08408770871052103</c:v>
                </c:pt>
                <c:pt idx="32">
                  <c:v>0.07454643434524878</c:v>
                </c:pt>
                <c:pt idx="33">
                  <c:v>0.09710483725948571</c:v>
                </c:pt>
                <c:pt idx="34">
                  <c:v>0.12246913580246914</c:v>
                </c:pt>
                <c:pt idx="35">
                  <c:v>0.1352124183006536</c:v>
                </c:pt>
                <c:pt idx="36">
                  <c:v>0.1067675493905002</c:v>
                </c:pt>
                <c:pt idx="37">
                  <c:v>0.10979885587746817</c:v>
                </c:pt>
                <c:pt idx="38">
                  <c:v>0.10317625077849284</c:v>
                </c:pt>
                <c:pt idx="39">
                  <c:v>0.11921954217237671</c:v>
                </c:pt>
                <c:pt idx="40">
                  <c:v>0.10393300433677284</c:v>
                </c:pt>
                <c:pt idx="41">
                  <c:v>0.10541913632514818</c:v>
                </c:pt>
                <c:pt idx="42">
                  <c:v>0.10004638936137313</c:v>
                </c:pt>
                <c:pt idx="43">
                  <c:v>0.11023710529272952</c:v>
                </c:pt>
                <c:pt idx="44">
                  <c:v>0.10979367005881804</c:v>
                </c:pt>
                <c:pt idx="45">
                  <c:v>0.13148866348448687</c:v>
                </c:pt>
                <c:pt idx="46">
                  <c:v>0.118609783008459</c:v>
                </c:pt>
                <c:pt idx="47">
                  <c:v>0.12370311252992817</c:v>
                </c:pt>
                <c:pt idx="48">
                  <c:v>0.11707317073170732</c:v>
                </c:pt>
                <c:pt idx="49">
                  <c:v>0.12843571880937302</c:v>
                </c:pt>
                <c:pt idx="50">
                  <c:v>0.17207911871903026</c:v>
                </c:pt>
                <c:pt idx="51">
                  <c:v>0.141805527671819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3716215294516565</c:v>
                </c:pt>
              </c:numCache>
            </c:numRef>
          </c:xVal>
          <c:yVal>
            <c:numRef>
              <c:f>Sheet1!$B$163:$B$164</c:f>
              <c:numCache>
                <c:formatCode>General</c:formatCode>
                <c:ptCount val="2"/>
                <c:pt idx="0">
                  <c:v>0.20043234483048536</c:v>
                </c:pt>
                <c:pt idx="1">
                  <c:v>0.2004323448304853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3716215294516565</c:v>
                </c:pt>
                <c:pt idx="1">
                  <c:v>3.3716215294516565</c:v>
                </c:pt>
              </c:numCache>
            </c:numRef>
          </c:xVal>
          <c:yVal>
            <c:numRef>
              <c:f>Sheet1!$B$167:$B$168</c:f>
              <c:numCache>
                <c:formatCode>General</c:formatCode>
                <c:ptCount val="2"/>
                <c:pt idx="0">
                  <c:v>0.200432344830485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9667072515394329</c:v>
                </c:pt>
              </c:numCache>
            </c:numRef>
          </c:xVal>
          <c:yVal>
            <c:numRef>
              <c:f>Sheet1!$B$171:$B$172</c:f>
              <c:numCache>
                <c:formatCode>General</c:formatCode>
                <c:ptCount val="2"/>
                <c:pt idx="0">
                  <c:v>0.13984838398298255</c:v>
                </c:pt>
                <c:pt idx="1">
                  <c:v>0.1398483839829825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9667072515394329</c:v>
                </c:pt>
                <c:pt idx="1">
                  <c:v>0.9667072515394329</c:v>
                </c:pt>
              </c:numCache>
            </c:numRef>
          </c:xVal>
          <c:yVal>
            <c:numRef>
              <c:f>Sheet1!$B$175:$B$176</c:f>
              <c:numCache>
                <c:formatCode>General</c:formatCode>
                <c:ptCount val="2"/>
                <c:pt idx="0">
                  <c:v>0.1398483839829825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455151059752144</c:v>
                </c:pt>
              </c:numCache>
            </c:numRef>
          </c:xVal>
          <c:yVal>
            <c:numRef>
              <c:f>Sheet1!$B$179:$B$180</c:f>
              <c:numCache>
                <c:formatCode>General</c:formatCode>
                <c:ptCount val="2"/>
                <c:pt idx="0">
                  <c:v>0.12168030326938636</c:v>
                </c:pt>
                <c:pt idx="1">
                  <c:v>0.1216803032693863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455151059752144</c:v>
                </c:pt>
                <c:pt idx="1">
                  <c:v>0.2455151059752144</c:v>
                </c:pt>
              </c:numCache>
            </c:numRef>
          </c:xVal>
          <c:yVal>
            <c:numRef>
              <c:f>Sheet1!$B$183:$B$184</c:f>
              <c:numCache>
                <c:formatCode>General</c:formatCode>
                <c:ptCount val="2"/>
                <c:pt idx="0">
                  <c:v>0.121680303269386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586275841542009</c:v>
                </c:pt>
                <c:pt idx="1">
                  <c:v>0.2559075060362592</c:v>
                </c:pt>
                <c:pt idx="2">
                  <c:v>0.2618573824268933</c:v>
                </c:pt>
                <c:pt idx="3">
                  <c:v>0.2695612947152652</c:v>
                </c:pt>
                <c:pt idx="4">
                  <c:v>0.261050971833128</c:v>
                </c:pt>
                <c:pt idx="5">
                  <c:v>0.26632832133991907</c:v>
                </c:pt>
                <c:pt idx="6">
                  <c:v>0.24837079973290804</c:v>
                </c:pt>
                <c:pt idx="7">
                  <c:v>0.23068932850993581</c:v>
                </c:pt>
                <c:pt idx="8">
                  <c:v>0.242275449544033</c:v>
                </c:pt>
                <c:pt idx="9">
                  <c:v>0.22707346288820565</c:v>
                </c:pt>
                <c:pt idx="10">
                  <c:v>0.23705831381341025</c:v>
                </c:pt>
                <c:pt idx="11">
                  <c:v>0.26842300687676757</c:v>
                </c:pt>
                <c:pt idx="12">
                  <c:v>0.2665074968505628</c:v>
                </c:pt>
                <c:pt idx="13">
                  <c:v>0.23321800813298374</c:v>
                </c:pt>
                <c:pt idx="14">
                  <c:v>0.25111993044356123</c:v>
                </c:pt>
                <c:pt idx="15">
                  <c:v>0.22614364335493228</c:v>
                </c:pt>
                <c:pt idx="16">
                  <c:v>0.22551114485667834</c:v>
                </c:pt>
                <c:pt idx="17">
                  <c:v>0.21254509055351312</c:v>
                </c:pt>
                <c:pt idx="18">
                  <c:v>0.1889827190176333</c:v>
                </c:pt>
                <c:pt idx="19">
                  <c:v>0.20199105273106266</c:v>
                </c:pt>
                <c:pt idx="20">
                  <c:v>0.18799699291615174</c:v>
                </c:pt>
                <c:pt idx="21">
                  <c:v>0.18352730755822955</c:v>
                </c:pt>
                <c:pt idx="22">
                  <c:v>0.19183967035868488</c:v>
                </c:pt>
                <c:pt idx="23">
                  <c:v>0.15222565109884892</c:v>
                </c:pt>
                <c:pt idx="24">
                  <c:v>0.14894941648110632</c:v>
                </c:pt>
                <c:pt idx="25">
                  <c:v>0.1485730426984604</c:v>
                </c:pt>
                <c:pt idx="26">
                  <c:v>0.15467252193133108</c:v>
                </c:pt>
                <c:pt idx="27">
                  <c:v>0.17386059803785067</c:v>
                </c:pt>
                <c:pt idx="28">
                  <c:v>0.1932588850611378</c:v>
                </c:pt>
                <c:pt idx="29">
                  <c:v>0.18576976328750616</c:v>
                </c:pt>
                <c:pt idx="30">
                  <c:v>0.18745656383111609</c:v>
                </c:pt>
                <c:pt idx="31">
                  <c:v>0.18716066071002505</c:v>
                </c:pt>
                <c:pt idx="32">
                  <c:v>0.1807796813029709</c:v>
                </c:pt>
                <c:pt idx="33">
                  <c:v>0.19569641717894196</c:v>
                </c:pt>
                <c:pt idx="34">
                  <c:v>0.21828888634762994</c:v>
                </c:pt>
                <c:pt idx="35">
                  <c:v>0.21376747749755817</c:v>
                </c:pt>
                <c:pt idx="36">
                  <c:v>0.16885286263420393</c:v>
                </c:pt>
                <c:pt idx="37">
                  <c:v>0.1784335715808786</c:v>
                </c:pt>
                <c:pt idx="38">
                  <c:v>0.1785713722550555</c:v>
                </c:pt>
                <c:pt idx="39">
                  <c:v>0.20705934809291246</c:v>
                </c:pt>
                <c:pt idx="40">
                  <c:v>0.20671173405264304</c:v>
                </c:pt>
                <c:pt idx="41">
                  <c:v>0.21476993325782967</c:v>
                </c:pt>
                <c:pt idx="42">
                  <c:v>0.20923331405344145</c:v>
                </c:pt>
                <c:pt idx="43">
                  <c:v>0.21083623944105695</c:v>
                </c:pt>
                <c:pt idx="44">
                  <c:v>0.21589680054224444</c:v>
                </c:pt>
                <c:pt idx="45">
                  <c:v>0.2228743002694437</c:v>
                </c:pt>
                <c:pt idx="46">
                  <c:v>0.2058125467193613</c:v>
                </c:pt>
                <c:pt idx="47">
                  <c:v>0.21147764855889833</c:v>
                </c:pt>
                <c:pt idx="48">
                  <c:v>0.21009050422062225</c:v>
                </c:pt>
                <c:pt idx="49">
                  <c:v>0.21756451451032588</c:v>
                </c:pt>
                <c:pt idx="50">
                  <c:v>0.22659921078440207</c:v>
                </c:pt>
                <c:pt idx="51">
                  <c:v>0.21374617616471486</c:v>
                </c:pt>
                <c:pt idx="52">
                  <c:v>0.9667072515394329</c:v>
                </c:pt>
                <c:pt idx="53">
                  <c:v>3.3716215294516565</c:v>
                </c:pt>
                <c:pt idx="54">
                  <c:v>0.2455151059752144</c:v>
                </c:pt>
              </c:numCache>
            </c:numRef>
          </c:xVal>
          <c:yVal>
            <c:numRef>
              <c:f>Sheet1!$B$187:$B$241</c:f>
              <c:numCache>
                <c:formatCode>General</c:formatCode>
                <c:ptCount val="55"/>
                <c:pt idx="0">
                  <c:v>0.12201062933210952</c:v>
                </c:pt>
                <c:pt idx="1">
                  <c:v>0.12194210584762899</c:v>
                </c:pt>
                <c:pt idx="2">
                  <c:v>0.12209199355115687</c:v>
                </c:pt>
                <c:pt idx="3">
                  <c:v>0.12228606846049479</c:v>
                </c:pt>
                <c:pt idx="4">
                  <c:v>0.12207167866996196</c:v>
                </c:pt>
                <c:pt idx="5">
                  <c:v>0.12220462425510589</c:v>
                </c:pt>
                <c:pt idx="6">
                  <c:v>0.12175224314699347</c:v>
                </c:pt>
                <c:pt idx="7">
                  <c:v>0.12130681622673385</c:v>
                </c:pt>
                <c:pt idx="8">
                  <c:v>0.12159869070623237</c:v>
                </c:pt>
                <c:pt idx="9">
                  <c:v>0.12121572630171296</c:v>
                </c:pt>
                <c:pt idx="10">
                  <c:v>0.12146726201052245</c:v>
                </c:pt>
                <c:pt idx="11">
                  <c:v>0.12225739301602091</c:v>
                </c:pt>
                <c:pt idx="12">
                  <c:v>0.12220913799691423</c:v>
                </c:pt>
                <c:pt idx="13">
                  <c:v>0.1213705180512378</c:v>
                </c:pt>
                <c:pt idx="14">
                  <c:v>0.12182149851666238</c:v>
                </c:pt>
                <c:pt idx="15">
                  <c:v>0.12119230253533739</c:v>
                </c:pt>
                <c:pt idx="16">
                  <c:v>0.12117636880139673</c:v>
                </c:pt>
                <c:pt idx="17">
                  <c:v>0.1208497314100085</c:v>
                </c:pt>
                <c:pt idx="18">
                  <c:v>0.12025615441322536</c:v>
                </c:pt>
                <c:pt idx="19">
                  <c:v>0.12058385689627178</c:v>
                </c:pt>
                <c:pt idx="20">
                  <c:v>0.12023132226345311</c:v>
                </c:pt>
                <c:pt idx="21">
                  <c:v>0.12011872313873084</c:v>
                </c:pt>
                <c:pt idx="22">
                  <c:v>0.12032812597153793</c:v>
                </c:pt>
                <c:pt idx="23">
                  <c:v>0.11933018013459375</c:v>
                </c:pt>
                <c:pt idx="24">
                  <c:v>0.1192476461034927</c:v>
                </c:pt>
                <c:pt idx="25">
                  <c:v>0.11923816459526546</c:v>
                </c:pt>
                <c:pt idx="26">
                  <c:v>0.11939182105380468</c:v>
                </c:pt>
                <c:pt idx="27">
                  <c:v>0.11987520196357476</c:v>
                </c:pt>
                <c:pt idx="28">
                  <c:v>0.12036387845084968</c:v>
                </c:pt>
                <c:pt idx="29">
                  <c:v>0.12017521448703065</c:v>
                </c:pt>
                <c:pt idx="30">
                  <c:v>0.1202177079176823</c:v>
                </c:pt>
                <c:pt idx="31">
                  <c:v>0.12021025360495795</c:v>
                </c:pt>
                <c:pt idx="32">
                  <c:v>0.12004950566890207</c:v>
                </c:pt>
                <c:pt idx="33">
                  <c:v>0.12042528411164428</c:v>
                </c:pt>
                <c:pt idx="34">
                  <c:v>0.12099442758596074</c:v>
                </c:pt>
                <c:pt idx="35">
                  <c:v>0.12088052545678127</c:v>
                </c:pt>
                <c:pt idx="36">
                  <c:v>0.11974904842520724</c:v>
                </c:pt>
                <c:pt idx="37">
                  <c:v>0.11999040309678438</c:v>
                </c:pt>
                <c:pt idx="38">
                  <c:v>0.11999387453471702</c:v>
                </c:pt>
                <c:pt idx="39">
                  <c:v>0.12071153604499905</c:v>
                </c:pt>
                <c:pt idx="40">
                  <c:v>0.12070277904455246</c:v>
                </c:pt>
                <c:pt idx="41">
                  <c:v>0.12090577905566811</c:v>
                </c:pt>
                <c:pt idx="42">
                  <c:v>0.120766302017261</c:v>
                </c:pt>
                <c:pt idx="43">
                  <c:v>0.12080668248729134</c:v>
                </c:pt>
                <c:pt idx="44">
                  <c:v>0.1209341667965811</c:v>
                </c:pt>
                <c:pt idx="45">
                  <c:v>0.12110994211388393</c:v>
                </c:pt>
                <c:pt idx="46">
                  <c:v>0.12068012695641174</c:v>
                </c:pt>
                <c:pt idx="47">
                  <c:v>0.12082284069519066</c:v>
                </c:pt>
                <c:pt idx="48">
                  <c:v>0.1207878961239634</c:v>
                </c:pt>
                <c:pt idx="49">
                  <c:v>0.12097617940329855</c:v>
                </c:pt>
                <c:pt idx="50">
                  <c:v>0.12120377906885206</c:v>
                </c:pt>
                <c:pt idx="51">
                  <c:v>0.12087998883926986</c:v>
                </c:pt>
                <c:pt idx="52">
                  <c:v>0.13984838398298255</c:v>
                </c:pt>
                <c:pt idx="53">
                  <c:v>0.20043234483048536</c:v>
                </c:pt>
                <c:pt idx="54">
                  <c:v>0.121680303269386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960087479496993"/>
          <c:min val="0.05963714747619902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28.1039</c:v>
                </c:pt>
                <c:pt idx="1">
                  <c:v>1074.7644</c:v>
                </c:pt>
                <c:pt idx="2">
                  <c:v>1065.9468</c:v>
                </c:pt>
                <c:pt idx="3">
                  <c:v>1089.8385</c:v>
                </c:pt>
                <c:pt idx="4">
                  <c:v>1130.3286</c:v>
                </c:pt>
                <c:pt idx="5">
                  <c:v>1165.895</c:v>
                </c:pt>
                <c:pt idx="6">
                  <c:v>1195.0515</c:v>
                </c:pt>
                <c:pt idx="7">
                  <c:v>1191.4977</c:v>
                </c:pt>
                <c:pt idx="8">
                  <c:v>1143.263</c:v>
                </c:pt>
                <c:pt idx="9">
                  <c:v>1068.9916</c:v>
                </c:pt>
                <c:pt idx="10">
                  <c:v>972.7592</c:v>
                </c:pt>
                <c:pt idx="11">
                  <c:v>934.9211</c:v>
                </c:pt>
                <c:pt idx="12">
                  <c:v>929.3058</c:v>
                </c:pt>
                <c:pt idx="13">
                  <c:v>943.7008</c:v>
                </c:pt>
                <c:pt idx="14">
                  <c:v>1121.9025</c:v>
                </c:pt>
                <c:pt idx="15">
                  <c:v>1120.6211</c:v>
                </c:pt>
                <c:pt idx="16">
                  <c:v>1147.8455</c:v>
                </c:pt>
                <c:pt idx="17">
                  <c:v>1171.2417</c:v>
                </c:pt>
                <c:pt idx="18">
                  <c:v>1181.7719</c:v>
                </c:pt>
                <c:pt idx="19">
                  <c:v>1211.8711</c:v>
                </c:pt>
                <c:pt idx="20">
                  <c:v>1232.0824</c:v>
                </c:pt>
                <c:pt idx="21">
                  <c:v>1210.5558</c:v>
                </c:pt>
                <c:pt idx="22">
                  <c:v>1217.8216</c:v>
                </c:pt>
                <c:pt idx="23">
                  <c:v>1228.5534</c:v>
                </c:pt>
                <c:pt idx="24">
                  <c:v>1235.3683</c:v>
                </c:pt>
                <c:pt idx="25">
                  <c:v>1241.0491</c:v>
                </c:pt>
                <c:pt idx="26">
                  <c:v>1226.9452</c:v>
                </c:pt>
                <c:pt idx="27">
                  <c:v>1245.0605</c:v>
                </c:pt>
                <c:pt idx="28">
                  <c:v>1241.427</c:v>
                </c:pt>
                <c:pt idx="29">
                  <c:v>1280.5768</c:v>
                </c:pt>
                <c:pt idx="30">
                  <c:v>1278.5209</c:v>
                </c:pt>
                <c:pt idx="31">
                  <c:v>1243.6552</c:v>
                </c:pt>
                <c:pt idx="32">
                  <c:v>1258.7143</c:v>
                </c:pt>
                <c:pt idx="33">
                  <c:v>1243.206</c:v>
                </c:pt>
                <c:pt idx="34">
                  <c:v>1229.0321</c:v>
                </c:pt>
                <c:pt idx="35">
                  <c:v>1257.1453</c:v>
                </c:pt>
                <c:pt idx="36">
                  <c:v>1285.7768</c:v>
                </c:pt>
                <c:pt idx="37">
                  <c:v>1299.4018</c:v>
                </c:pt>
                <c:pt idx="38">
                  <c:v>1324.1826</c:v>
                </c:pt>
                <c:pt idx="39">
                  <c:v>1401.1857</c:v>
                </c:pt>
                <c:pt idx="40">
                  <c:v>1461.2873</c:v>
                </c:pt>
                <c:pt idx="41">
                  <c:v>1456.67</c:v>
                </c:pt>
                <c:pt idx="42">
                  <c:v>1467.856</c:v>
                </c:pt>
                <c:pt idx="43">
                  <c:v>1459.2824</c:v>
                </c:pt>
                <c:pt idx="44">
                  <c:v>1419.1153</c:v>
                </c:pt>
                <c:pt idx="45">
                  <c:v>1402.4595</c:v>
                </c:pt>
                <c:pt idx="46">
                  <c:v>1356.5221</c:v>
                </c:pt>
                <c:pt idx="47">
                  <c:v>1359.1597</c:v>
                </c:pt>
                <c:pt idx="48">
                  <c:v>1232.3686</c:v>
                </c:pt>
                <c:pt idx="49">
                  <c:v>1190.0325</c:v>
                </c:pt>
                <c:pt idx="50">
                  <c:v>1247.7174</c:v>
                </c:pt>
                <c:pt idx="51">
                  <c:v>1217.9342</c:v>
                </c:pt>
                <c:pt idx="52">
                  <c:v>1181.1353</c:v>
                </c:pt>
                <c:pt idx="53">
                  <c:v>1417.0464</c:v>
                </c:pt>
                <c:pt idx="54">
                  <c:v>1429.5342</c:v>
                </c:pt>
                <c:pt idx="55">
                  <c:v>1430.7923</c:v>
                </c:pt>
                <c:pt idx="56">
                  <c:v>1422.9691</c:v>
                </c:pt>
                <c:pt idx="57">
                  <c:v>1449.6622</c:v>
                </c:pt>
                <c:pt idx="58">
                  <c:v>1464.1089</c:v>
                </c:pt>
                <c:pt idx="59">
                  <c:v>1451.413</c:v>
                </c:pt>
                <c:pt idx="60">
                  <c:v>1447.5135</c:v>
                </c:pt>
                <c:pt idx="61">
                  <c:v>1397.3818</c:v>
                </c:pt>
                <c:pt idx="62">
                  <c:v>1298.491</c:v>
                </c:pt>
                <c:pt idx="63">
                  <c:v>1271.1723</c:v>
                </c:pt>
                <c:pt idx="64">
                  <c:v>1245.1506</c:v>
                </c:pt>
                <c:pt idx="65">
                  <c:v>1244.3566</c:v>
                </c:pt>
                <c:pt idx="66">
                  <c:v>1410.5458</c:v>
                </c:pt>
                <c:pt idx="67">
                  <c:v>1435.0383</c:v>
                </c:pt>
                <c:pt idx="68">
                  <c:v>1401.2105</c:v>
                </c:pt>
                <c:pt idx="69">
                  <c:v>1454.6418</c:v>
                </c:pt>
                <c:pt idx="70">
                  <c:v>1503.6866</c:v>
                </c:pt>
                <c:pt idx="71">
                  <c:v>1452.3846</c:v>
                </c:pt>
                <c:pt idx="72">
                  <c:v>1459.3456</c:v>
                </c:pt>
                <c:pt idx="73">
                  <c:v>1473.1546</c:v>
                </c:pt>
                <c:pt idx="74">
                  <c:v>1427.4359</c:v>
                </c:pt>
                <c:pt idx="75">
                  <c:v>1430.4468</c:v>
                </c:pt>
                <c:pt idx="76">
                  <c:v>1365.7045</c:v>
                </c:pt>
                <c:pt idx="77">
                  <c:v>1363.2413</c:v>
                </c:pt>
                <c:pt idx="78">
                  <c:v>1395.7454</c:v>
                </c:pt>
                <c:pt idx="79">
                  <c:v>1449.2674</c:v>
                </c:pt>
                <c:pt idx="80">
                  <c:v>1459.3038</c:v>
                </c:pt>
                <c:pt idx="81">
                  <c:v>1484.6092</c:v>
                </c:pt>
                <c:pt idx="82">
                  <c:v>1490.2531</c:v>
                </c:pt>
                <c:pt idx="83">
                  <c:v>1459.1358</c:v>
                </c:pt>
                <c:pt idx="84">
                  <c:v>1503.4386</c:v>
                </c:pt>
                <c:pt idx="85">
                  <c:v>1487.7489</c:v>
                </c:pt>
                <c:pt idx="86">
                  <c:v>1474.9319</c:v>
                </c:pt>
                <c:pt idx="87">
                  <c:v>1477.5015</c:v>
                </c:pt>
                <c:pt idx="88">
                  <c:v>1489.1782</c:v>
                </c:pt>
                <c:pt idx="89">
                  <c:v>1518.9004</c:v>
                </c:pt>
                <c:pt idx="90">
                  <c:v>1481.2639</c:v>
                </c:pt>
                <c:pt idx="91">
                  <c:v>1490.4301</c:v>
                </c:pt>
                <c:pt idx="92">
                  <c:v>1508.5852</c:v>
                </c:pt>
                <c:pt idx="93">
                  <c:v>1499.6901</c:v>
                </c:pt>
                <c:pt idx="94">
                  <c:v>1495.8633</c:v>
                </c:pt>
                <c:pt idx="95">
                  <c:v>1486.7574</c:v>
                </c:pt>
                <c:pt idx="96">
                  <c:v>1359.4829</c:v>
                </c:pt>
                <c:pt idx="97">
                  <c:v>1412.217</c:v>
                </c:pt>
                <c:pt idx="98">
                  <c:v>1352.3726</c:v>
                </c:pt>
                <c:pt idx="99">
                  <c:v>1353.0869</c:v>
                </c:pt>
                <c:pt idx="100">
                  <c:v>1242.0566</c:v>
                </c:pt>
                <c:pt idx="101">
                  <c:v>1469.8479</c:v>
                </c:pt>
                <c:pt idx="102">
                  <c:v>1479.352</c:v>
                </c:pt>
                <c:pt idx="103">
                  <c:v>1356.714</c:v>
                </c:pt>
                <c:pt idx="104">
                  <c:v>1339.6409</c:v>
                </c:pt>
              </c:numCache>
            </c:numRef>
          </c:xVal>
          <c:yVal>
            <c:numRef>
              <c:f>Sheet1!$B$2:$B$106</c:f>
              <c:numCache>
                <c:formatCode>General</c:formatCode>
                <c:ptCount val="105"/>
                <c:pt idx="0">
                  <c:v>0.22448371723590152</c:v>
                </c:pt>
                <c:pt idx="1">
                  <c:v>0.24133406232914162</c:v>
                </c:pt>
                <c:pt idx="2">
                  <c:v>0.23332979963956324</c:v>
                </c:pt>
                <c:pt idx="3">
                  <c:v>0.23139421514462138</c:v>
                </c:pt>
                <c:pt idx="4">
                  <c:v>0.19582013932868905</c:v>
                </c:pt>
                <c:pt idx="5">
                  <c:v>0.17259762761562042</c:v>
                </c:pt>
                <c:pt idx="6">
                  <c:v>0.16975070675918788</c:v>
                </c:pt>
                <c:pt idx="7">
                  <c:v>0.15738773197336733</c:v>
                </c:pt>
                <c:pt idx="8">
                  <c:v>0.17779310344827587</c:v>
                </c:pt>
                <c:pt idx="9">
                  <c:v>0.17002608489447474</c:v>
                </c:pt>
                <c:pt idx="10">
                  <c:v>0.1884892086330935</c:v>
                </c:pt>
                <c:pt idx="11">
                  <c:v>0.19222038794882376</c:v>
                </c:pt>
                <c:pt idx="12">
                  <c:v>0.20531622364802934</c:v>
                </c:pt>
                <c:pt idx="13">
                  <c:v>0.20160450093769536</c:v>
                </c:pt>
                <c:pt idx="14">
                  <c:v>0.2092632051138275</c:v>
                </c:pt>
                <c:pt idx="15">
                  <c:v>0.20393467918220393</c:v>
                </c:pt>
                <c:pt idx="16">
                  <c:v>0.18072637823759224</c:v>
                </c:pt>
                <c:pt idx="17">
                  <c:v>0.1883616543764027</c:v>
                </c:pt>
                <c:pt idx="18">
                  <c:v>0.17104289940828402</c:v>
                </c:pt>
                <c:pt idx="19">
                  <c:v>0.15219611848825332</c:v>
                </c:pt>
                <c:pt idx="20">
                  <c:v>0.17140454163162322</c:v>
                </c:pt>
                <c:pt idx="21">
                  <c:v>0.15215292527514965</c:v>
                </c:pt>
                <c:pt idx="22">
                  <c:v>0.14718339686573487</c:v>
                </c:pt>
                <c:pt idx="23">
                  <c:v>0.1319324090121317</c:v>
                </c:pt>
                <c:pt idx="24">
                  <c:v>0.13997555012224938</c:v>
                </c:pt>
                <c:pt idx="25">
                  <c:v>0.13502398903358465</c:v>
                </c:pt>
                <c:pt idx="26">
                  <c:v>0.13708920187793427</c:v>
                </c:pt>
                <c:pt idx="27">
                  <c:v>0.14551024315527475</c:v>
                </c:pt>
                <c:pt idx="28">
                  <c:v>0.13824264564506825</c:v>
                </c:pt>
                <c:pt idx="29">
                  <c:v>0.12891566265060242</c:v>
                </c:pt>
                <c:pt idx="30">
                  <c:v>0.1285806590566444</c:v>
                </c:pt>
                <c:pt idx="31">
                  <c:v>0.11854561101549053</c:v>
                </c:pt>
                <c:pt idx="32">
                  <c:v>0.12651531849239586</c:v>
                </c:pt>
                <c:pt idx="33">
                  <c:v>0.12749762131303521</c:v>
                </c:pt>
                <c:pt idx="34">
                  <c:v>0.13592741231896702</c:v>
                </c:pt>
                <c:pt idx="35">
                  <c:v>0.16326530612244897</c:v>
                </c:pt>
                <c:pt idx="36">
                  <c:v>0.1483993061031383</c:v>
                </c:pt>
                <c:pt idx="37">
                  <c:v>0.13065134099616857</c:v>
                </c:pt>
                <c:pt idx="38">
                  <c:v>0.12106135986733002</c:v>
                </c:pt>
                <c:pt idx="39">
                  <c:v>0.11412268188302425</c:v>
                </c:pt>
                <c:pt idx="40">
                  <c:v>0.12351464435146443</c:v>
                </c:pt>
                <c:pt idx="41">
                  <c:v>0.11146025878003697</c:v>
                </c:pt>
                <c:pt idx="42">
                  <c:v>0.1186148542776559</c:v>
                </c:pt>
                <c:pt idx="43">
                  <c:v>0.12918266593527153</c:v>
                </c:pt>
                <c:pt idx="44">
                  <c:v>0.12321068815608101</c:v>
                </c:pt>
                <c:pt idx="45">
                  <c:v>0.12288388767177853</c:v>
                </c:pt>
                <c:pt idx="46">
                  <c:v>0.12596350863498879</c:v>
                </c:pt>
                <c:pt idx="47">
                  <c:v>0.12216108054027014</c:v>
                </c:pt>
                <c:pt idx="48">
                  <c:v>0.14051724137931035</c:v>
                </c:pt>
                <c:pt idx="49">
                  <c:v>0.15955766192733017</c:v>
                </c:pt>
                <c:pt idx="50">
                  <c:v>0.13523473802275277</c:v>
                </c:pt>
                <c:pt idx="51">
                  <c:v>0.1332080873143675</c:v>
                </c:pt>
                <c:pt idx="52">
                  <c:v>0.15420489296636086</c:v>
                </c:pt>
                <c:pt idx="53">
                  <c:v>0.13901018922852984</c:v>
                </c:pt>
                <c:pt idx="54">
                  <c:v>0.12896668548842463</c:v>
                </c:pt>
                <c:pt idx="55">
                  <c:v>0.13509353540137342</c:v>
                </c:pt>
                <c:pt idx="56">
                  <c:v>0.1511111111111111</c:v>
                </c:pt>
                <c:pt idx="57">
                  <c:v>0.13788172811765909</c:v>
                </c:pt>
                <c:pt idx="58">
                  <c:v>0.13929468688936447</c:v>
                </c:pt>
                <c:pt idx="59">
                  <c:v>0.14055045871559632</c:v>
                </c:pt>
                <c:pt idx="60">
                  <c:v>0.13874262513480937</c:v>
                </c:pt>
                <c:pt idx="61">
                  <c:v>0.13651385475807135</c:v>
                </c:pt>
                <c:pt idx="62">
                  <c:v>0.15360724110391338</c:v>
                </c:pt>
                <c:pt idx="63">
                  <c:v>0.17145026575550493</c:v>
                </c:pt>
                <c:pt idx="64">
                  <c:v>0.1735080058224163</c:v>
                </c:pt>
                <c:pt idx="65">
                  <c:v>0.17927461139896372</c:v>
                </c:pt>
                <c:pt idx="66">
                  <c:v>0.16198160680201285</c:v>
                </c:pt>
                <c:pt idx="67">
                  <c:v>0.16129898013955984</c:v>
                </c:pt>
                <c:pt idx="68">
                  <c:v>0.149209586945436</c:v>
                </c:pt>
                <c:pt idx="69">
                  <c:v>0.1345599340930935</c:v>
                </c:pt>
                <c:pt idx="70">
                  <c:v>0.12999611951882034</c:v>
                </c:pt>
                <c:pt idx="71">
                  <c:v>0.13277464973157</c:v>
                </c:pt>
                <c:pt idx="72">
                  <c:v>0.13692269076305222</c:v>
                </c:pt>
                <c:pt idx="73">
                  <c:v>0.13843606724401428</c:v>
                </c:pt>
                <c:pt idx="74">
                  <c:v>0.1334024090143764</c:v>
                </c:pt>
                <c:pt idx="75">
                  <c:v>0.12423124231242312</c:v>
                </c:pt>
                <c:pt idx="76">
                  <c:v>0.1265984654731458</c:v>
                </c:pt>
                <c:pt idx="77">
                  <c:v>0.12413903572000641</c:v>
                </c:pt>
                <c:pt idx="78">
                  <c:v>0.1281081081081081</c:v>
                </c:pt>
                <c:pt idx="79">
                  <c:v>0.12422018348623853</c:v>
                </c:pt>
                <c:pt idx="80">
                  <c:v>0.1149718028015281</c:v>
                </c:pt>
                <c:pt idx="81">
                  <c:v>0.11181403560394292</c:v>
                </c:pt>
                <c:pt idx="82">
                  <c:v>0.11991117690599556</c:v>
                </c:pt>
                <c:pt idx="83">
                  <c:v>0.11128921456377376</c:v>
                </c:pt>
                <c:pt idx="84">
                  <c:v>0.10470723306544202</c:v>
                </c:pt>
                <c:pt idx="85">
                  <c:v>0.09626110307787647</c:v>
                </c:pt>
                <c:pt idx="86">
                  <c:v>0.10553686142551238</c:v>
                </c:pt>
                <c:pt idx="87">
                  <c:v>0.13872750460535638</c:v>
                </c:pt>
                <c:pt idx="88">
                  <c:v>0.1283394447354636</c:v>
                </c:pt>
                <c:pt idx="89">
                  <c:v>0.1038374717832957</c:v>
                </c:pt>
                <c:pt idx="90">
                  <c:v>0.09375604098202203</c:v>
                </c:pt>
                <c:pt idx="91">
                  <c:v>0.11692364170337739</c:v>
                </c:pt>
                <c:pt idx="92">
                  <c:v>0.11284459254771281</c:v>
                </c:pt>
                <c:pt idx="93">
                  <c:v>0.0997663872474921</c:v>
                </c:pt>
                <c:pt idx="94">
                  <c:v>0.09807723380190661</c:v>
                </c:pt>
                <c:pt idx="95">
                  <c:v>0.11604618284637135</c:v>
                </c:pt>
                <c:pt idx="96">
                  <c:v>0.11735426438211927</c:v>
                </c:pt>
                <c:pt idx="97">
                  <c:v>0.11509605078736912</c:v>
                </c:pt>
                <c:pt idx="98">
                  <c:v>0.1338440413384404</c:v>
                </c:pt>
                <c:pt idx="99">
                  <c:v>0.12846264933700932</c:v>
                </c:pt>
                <c:pt idx="100">
                  <c:v>0.16684229012996135</c:v>
                </c:pt>
                <c:pt idx="101">
                  <c:v>0.12691529343740965</c:v>
                </c:pt>
                <c:pt idx="102">
                  <c:v>0.10615406684837182</c:v>
                </c:pt>
                <c:pt idx="103">
                  <c:v>0.12080640196983687</c:v>
                </c:pt>
                <c:pt idx="104">
                  <c:v>0.1377315785061614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64.1386</c:v>
                </c:pt>
                <c:pt idx="1">
                  <c:v>1484.823</c:v>
                </c:pt>
                <c:pt idx="2">
                  <c:v>1523.7021</c:v>
                </c:pt>
                <c:pt idx="3">
                  <c:v>1548.3225</c:v>
                </c:pt>
                <c:pt idx="4">
                  <c:v>1540.5525</c:v>
                </c:pt>
                <c:pt idx="5">
                  <c:v>1565.997</c:v>
                </c:pt>
                <c:pt idx="6">
                  <c:v>1489.9349</c:v>
                </c:pt>
                <c:pt idx="7">
                  <c:v>1424.1393</c:v>
                </c:pt>
                <c:pt idx="8">
                  <c:v>1528.7067</c:v>
                </c:pt>
                <c:pt idx="9">
                  <c:v>1367.4549</c:v>
                </c:pt>
                <c:pt idx="10">
                  <c:v>1375.1845</c:v>
                </c:pt>
                <c:pt idx="11">
                  <c:v>1519.5668</c:v>
                </c:pt>
                <c:pt idx="12">
                  <c:v>1506.1422</c:v>
                </c:pt>
                <c:pt idx="13">
                  <c:v>1404.5298</c:v>
                </c:pt>
                <c:pt idx="14">
                  <c:v>1518.3497</c:v>
                </c:pt>
                <c:pt idx="15">
                  <c:v>1427.008</c:v>
                </c:pt>
                <c:pt idx="16">
                  <c:v>1467.6968</c:v>
                </c:pt>
                <c:pt idx="17">
                  <c:v>1401.7245</c:v>
                </c:pt>
                <c:pt idx="18">
                  <c:v>1356.2709</c:v>
                </c:pt>
                <c:pt idx="19">
                  <c:v>1322.1065</c:v>
                </c:pt>
                <c:pt idx="20">
                  <c:v>1310.2031</c:v>
                </c:pt>
                <c:pt idx="21">
                  <c:v>1335.378</c:v>
                </c:pt>
                <c:pt idx="22">
                  <c:v>1360.2242</c:v>
                </c:pt>
                <c:pt idx="23">
                  <c:v>1177.1189</c:v>
                </c:pt>
                <c:pt idx="24">
                  <c:v>1153.3404</c:v>
                </c:pt>
                <c:pt idx="25">
                  <c:v>1160.1934</c:v>
                </c:pt>
                <c:pt idx="26">
                  <c:v>1195.3475</c:v>
                </c:pt>
                <c:pt idx="27">
                  <c:v>1353.4877</c:v>
                </c:pt>
                <c:pt idx="28">
                  <c:v>1483.9581</c:v>
                </c:pt>
                <c:pt idx="29">
                  <c:v>1483.4773</c:v>
                </c:pt>
                <c:pt idx="30">
                  <c:v>1526.8333</c:v>
                </c:pt>
                <c:pt idx="31">
                  <c:v>1504.0407</c:v>
                </c:pt>
                <c:pt idx="32">
                  <c:v>1520.2482</c:v>
                </c:pt>
                <c:pt idx="33">
                  <c:v>1547.463</c:v>
                </c:pt>
                <c:pt idx="34">
                  <c:v>1588.1573</c:v>
                </c:pt>
                <c:pt idx="35">
                  <c:v>1565.0665</c:v>
                </c:pt>
                <c:pt idx="36">
                  <c:v>1379.7953</c:v>
                </c:pt>
                <c:pt idx="37">
                  <c:v>1452.4555</c:v>
                </c:pt>
                <c:pt idx="38">
                  <c:v>1426.8873</c:v>
                </c:pt>
                <c:pt idx="39">
                  <c:v>1523.2745</c:v>
                </c:pt>
                <c:pt idx="40">
                  <c:v>1556.646</c:v>
                </c:pt>
                <c:pt idx="41">
                  <c:v>1579.3025</c:v>
                </c:pt>
                <c:pt idx="42">
                  <c:v>1585.2117</c:v>
                </c:pt>
                <c:pt idx="43">
                  <c:v>1543.5117</c:v>
                </c:pt>
                <c:pt idx="44">
                  <c:v>1492.4405</c:v>
                </c:pt>
                <c:pt idx="45">
                  <c:v>1446.6449</c:v>
                </c:pt>
                <c:pt idx="46">
                  <c:v>1422.8</c:v>
                </c:pt>
                <c:pt idx="47">
                  <c:v>1450.4487</c:v>
                </c:pt>
                <c:pt idx="48">
                  <c:v>1376.7436</c:v>
                </c:pt>
                <c:pt idx="49">
                  <c:v>1305.0429</c:v>
                </c:pt>
                <c:pt idx="50">
                  <c:v>1233.4253</c:v>
                </c:pt>
                <c:pt idx="51">
                  <c:v>1292.8735</c:v>
                </c:pt>
              </c:numCache>
            </c:numRef>
          </c:xVal>
          <c:yVal>
            <c:numRef>
              <c:f>Sheet1!$B$109:$B$160</c:f>
              <c:numCache>
                <c:formatCode>General</c:formatCode>
                <c:ptCount val="52"/>
                <c:pt idx="0">
                  <c:v>0.14336483321217997</c:v>
                </c:pt>
                <c:pt idx="1">
                  <c:v>0.12556862071925157</c:v>
                </c:pt>
                <c:pt idx="2">
                  <c:v>0.12529719448407037</c:v>
                </c:pt>
                <c:pt idx="3">
                  <c:v>0.12469530773918343</c:v>
                </c:pt>
                <c:pt idx="4">
                  <c:v>0.11146315703956454</c:v>
                </c:pt>
                <c:pt idx="5">
                  <c:v>0.10427997162449752</c:v>
                </c:pt>
                <c:pt idx="6">
                  <c:v>0.1140157202154906</c:v>
                </c:pt>
                <c:pt idx="7">
                  <c:v>0.11868263473053892</c:v>
                </c:pt>
                <c:pt idx="8">
                  <c:v>0.11646000486263068</c:v>
                </c:pt>
                <c:pt idx="9">
                  <c:v>0.13877505814597407</c:v>
                </c:pt>
                <c:pt idx="10">
                  <c:v>0.13127373498922304</c:v>
                </c:pt>
                <c:pt idx="11">
                  <c:v>0.1301484148590498</c:v>
                </c:pt>
                <c:pt idx="12">
                  <c:v>0.1295238095238095</c:v>
                </c:pt>
                <c:pt idx="13">
                  <c:v>0.1356489295549436</c:v>
                </c:pt>
                <c:pt idx="14">
                  <c:v>0.12824051256776736</c:v>
                </c:pt>
                <c:pt idx="15">
                  <c:v>0.12660419637400694</c:v>
                </c:pt>
                <c:pt idx="16">
                  <c:v>0.12258501864196136</c:v>
                </c:pt>
                <c:pt idx="17">
                  <c:v>0.11914942794406565</c:v>
                </c:pt>
                <c:pt idx="18">
                  <c:v>0.1174842380439797</c:v>
                </c:pt>
                <c:pt idx="19">
                  <c:v>0.12796027501909854</c:v>
                </c:pt>
                <c:pt idx="20">
                  <c:v>0.11959573273441887</c:v>
                </c:pt>
                <c:pt idx="21">
                  <c:v>0.11869860564890955</c:v>
                </c:pt>
                <c:pt idx="22">
                  <c:v>0.12056226347089566</c:v>
                </c:pt>
                <c:pt idx="23">
                  <c:v>0.14345403899721448</c:v>
                </c:pt>
                <c:pt idx="24">
                  <c:v>0.15373328985979784</c:v>
                </c:pt>
                <c:pt idx="25">
                  <c:v>0.16974358974358975</c:v>
                </c:pt>
                <c:pt idx="26">
                  <c:v>0.15250470165840316</c:v>
                </c:pt>
                <c:pt idx="27">
                  <c:v>0.11452776906181361</c:v>
                </c:pt>
                <c:pt idx="28">
                  <c:v>0.09462517680339462</c:v>
                </c:pt>
                <c:pt idx="29">
                  <c:v>0.08973487423521415</c:v>
                </c:pt>
                <c:pt idx="30">
                  <c:v>0.100355871886121</c:v>
                </c:pt>
                <c:pt idx="31">
                  <c:v>0.08408770871052103</c:v>
                </c:pt>
                <c:pt idx="32">
                  <c:v>0.07454643434524878</c:v>
                </c:pt>
                <c:pt idx="33">
                  <c:v>0.09710483725948571</c:v>
                </c:pt>
                <c:pt idx="34">
                  <c:v>0.12246913580246914</c:v>
                </c:pt>
                <c:pt idx="35">
                  <c:v>0.1352124183006536</c:v>
                </c:pt>
                <c:pt idx="36">
                  <c:v>0.1067675493905002</c:v>
                </c:pt>
                <c:pt idx="37">
                  <c:v>0.10979885587746817</c:v>
                </c:pt>
                <c:pt idx="38">
                  <c:v>0.10317625077849284</c:v>
                </c:pt>
                <c:pt idx="39">
                  <c:v>0.11921954217237671</c:v>
                </c:pt>
                <c:pt idx="40">
                  <c:v>0.10393300433677284</c:v>
                </c:pt>
                <c:pt idx="41">
                  <c:v>0.10541913632514818</c:v>
                </c:pt>
                <c:pt idx="42">
                  <c:v>0.10004638936137313</c:v>
                </c:pt>
                <c:pt idx="43">
                  <c:v>0.11023710529272952</c:v>
                </c:pt>
                <c:pt idx="44">
                  <c:v>0.10979367005881804</c:v>
                </c:pt>
                <c:pt idx="45">
                  <c:v>0.13148866348448687</c:v>
                </c:pt>
                <c:pt idx="46">
                  <c:v>0.118609783008459</c:v>
                </c:pt>
                <c:pt idx="47">
                  <c:v>0.12370311252992817</c:v>
                </c:pt>
                <c:pt idx="48">
                  <c:v>0.11707317073170732</c:v>
                </c:pt>
                <c:pt idx="49">
                  <c:v>0.12843571880937302</c:v>
                </c:pt>
                <c:pt idx="50">
                  <c:v>0.17207911871903026</c:v>
                </c:pt>
                <c:pt idx="51">
                  <c:v>0.141805527671819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91.9933293541437</c:v>
                </c:pt>
              </c:numCache>
            </c:numRef>
          </c:xVal>
          <c:yVal>
            <c:numRef>
              <c:f>Sheet1!$B$163:$B$164</c:f>
              <c:numCache>
                <c:formatCode>General</c:formatCode>
                <c:ptCount val="2"/>
                <c:pt idx="0">
                  <c:v>0.20043234483048536</c:v>
                </c:pt>
                <c:pt idx="1">
                  <c:v>0.2004323448304853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91.9933293541437</c:v>
                </c:pt>
                <c:pt idx="1">
                  <c:v>691.9933293541437</c:v>
                </c:pt>
              </c:numCache>
            </c:numRef>
          </c:xVal>
          <c:yVal>
            <c:numRef>
              <c:f>Sheet1!$B$167:$B$168</c:f>
              <c:numCache>
                <c:formatCode>General</c:formatCode>
                <c:ptCount val="2"/>
                <c:pt idx="0">
                  <c:v>0.200432344830485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56.8098863513553</c:v>
                </c:pt>
              </c:numCache>
            </c:numRef>
          </c:xVal>
          <c:yVal>
            <c:numRef>
              <c:f>Sheet1!$B$171:$B$172</c:f>
              <c:numCache>
                <c:formatCode>General</c:formatCode>
                <c:ptCount val="2"/>
                <c:pt idx="0">
                  <c:v>0.13984838398298255</c:v>
                </c:pt>
                <c:pt idx="1">
                  <c:v>0.1398483839829825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56.8098863513553</c:v>
                </c:pt>
                <c:pt idx="1">
                  <c:v>1256.8098863513553</c:v>
                </c:pt>
              </c:numCache>
            </c:numRef>
          </c:xVal>
          <c:yVal>
            <c:numRef>
              <c:f>Sheet1!$B$175:$B$176</c:f>
              <c:numCache>
                <c:formatCode>General</c:formatCode>
                <c:ptCount val="2"/>
                <c:pt idx="0">
                  <c:v>0.1398483839829825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26.188590753509</c:v>
                </c:pt>
              </c:numCache>
            </c:numRef>
          </c:xVal>
          <c:yVal>
            <c:numRef>
              <c:f>Sheet1!$B$179:$B$180</c:f>
              <c:numCache>
                <c:formatCode>General</c:formatCode>
                <c:ptCount val="2"/>
                <c:pt idx="0">
                  <c:v>0.12168030326938636</c:v>
                </c:pt>
                <c:pt idx="1">
                  <c:v>0.1216803032693863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26.188590753509</c:v>
                </c:pt>
                <c:pt idx="1">
                  <c:v>1426.188590753509</c:v>
                </c:pt>
              </c:numCache>
            </c:numRef>
          </c:xVal>
          <c:yVal>
            <c:numRef>
              <c:f>Sheet1!$B$183:$B$184</c:f>
              <c:numCache>
                <c:formatCode>General</c:formatCode>
                <c:ptCount val="2"/>
                <c:pt idx="0">
                  <c:v>0.121680303269386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64.1386</c:v>
                </c:pt>
                <c:pt idx="1">
                  <c:v>1484.823</c:v>
                </c:pt>
                <c:pt idx="2">
                  <c:v>1523.7021</c:v>
                </c:pt>
                <c:pt idx="3">
                  <c:v>1548.3225</c:v>
                </c:pt>
                <c:pt idx="4">
                  <c:v>1540.5525</c:v>
                </c:pt>
                <c:pt idx="5">
                  <c:v>1565.997</c:v>
                </c:pt>
                <c:pt idx="6">
                  <c:v>1489.9349</c:v>
                </c:pt>
                <c:pt idx="7">
                  <c:v>1424.1393</c:v>
                </c:pt>
                <c:pt idx="8">
                  <c:v>1528.7067</c:v>
                </c:pt>
                <c:pt idx="9">
                  <c:v>1367.4549</c:v>
                </c:pt>
                <c:pt idx="10">
                  <c:v>1375.1845</c:v>
                </c:pt>
                <c:pt idx="11">
                  <c:v>1519.5668</c:v>
                </c:pt>
                <c:pt idx="12">
                  <c:v>1506.1422</c:v>
                </c:pt>
                <c:pt idx="13">
                  <c:v>1404.5298</c:v>
                </c:pt>
                <c:pt idx="14">
                  <c:v>1518.3497</c:v>
                </c:pt>
                <c:pt idx="15">
                  <c:v>1427.008</c:v>
                </c:pt>
                <c:pt idx="16">
                  <c:v>1467.6968</c:v>
                </c:pt>
                <c:pt idx="17">
                  <c:v>1401.7245</c:v>
                </c:pt>
                <c:pt idx="18">
                  <c:v>1356.2709</c:v>
                </c:pt>
                <c:pt idx="19">
                  <c:v>1322.1065</c:v>
                </c:pt>
                <c:pt idx="20">
                  <c:v>1310.2031</c:v>
                </c:pt>
                <c:pt idx="21">
                  <c:v>1335.378</c:v>
                </c:pt>
                <c:pt idx="22">
                  <c:v>1360.2242</c:v>
                </c:pt>
                <c:pt idx="23">
                  <c:v>1177.1189</c:v>
                </c:pt>
                <c:pt idx="24">
                  <c:v>1153.3404</c:v>
                </c:pt>
                <c:pt idx="25">
                  <c:v>1160.1934</c:v>
                </c:pt>
                <c:pt idx="26">
                  <c:v>1195.3475</c:v>
                </c:pt>
                <c:pt idx="27">
                  <c:v>1353.4877</c:v>
                </c:pt>
                <c:pt idx="28">
                  <c:v>1483.9581</c:v>
                </c:pt>
                <c:pt idx="29">
                  <c:v>1483.4773</c:v>
                </c:pt>
                <c:pt idx="30">
                  <c:v>1526.8333</c:v>
                </c:pt>
                <c:pt idx="31">
                  <c:v>1504.0407</c:v>
                </c:pt>
                <c:pt idx="32">
                  <c:v>1520.2482</c:v>
                </c:pt>
                <c:pt idx="33">
                  <c:v>1547.463</c:v>
                </c:pt>
                <c:pt idx="34">
                  <c:v>1588.1573</c:v>
                </c:pt>
                <c:pt idx="35">
                  <c:v>1565.0665</c:v>
                </c:pt>
                <c:pt idx="36">
                  <c:v>1379.7953</c:v>
                </c:pt>
                <c:pt idx="37">
                  <c:v>1452.4555</c:v>
                </c:pt>
                <c:pt idx="38">
                  <c:v>1426.8873</c:v>
                </c:pt>
                <c:pt idx="39">
                  <c:v>1523.2745</c:v>
                </c:pt>
                <c:pt idx="40">
                  <c:v>1556.646</c:v>
                </c:pt>
                <c:pt idx="41">
                  <c:v>1579.3025</c:v>
                </c:pt>
                <c:pt idx="42">
                  <c:v>1585.2117</c:v>
                </c:pt>
                <c:pt idx="43">
                  <c:v>1543.5117</c:v>
                </c:pt>
                <c:pt idx="44">
                  <c:v>1492.4405</c:v>
                </c:pt>
                <c:pt idx="45">
                  <c:v>1446.6449</c:v>
                </c:pt>
                <c:pt idx="46">
                  <c:v>1422.8</c:v>
                </c:pt>
                <c:pt idx="47">
                  <c:v>1450.4487</c:v>
                </c:pt>
                <c:pt idx="48">
                  <c:v>1376.7436</c:v>
                </c:pt>
                <c:pt idx="49">
                  <c:v>1305.0429</c:v>
                </c:pt>
                <c:pt idx="50">
                  <c:v>1233.4253</c:v>
                </c:pt>
                <c:pt idx="51">
                  <c:v>1292.8735</c:v>
                </c:pt>
                <c:pt idx="52">
                  <c:v>1256.8098863513553</c:v>
                </c:pt>
                <c:pt idx="53">
                  <c:v>691.9933293541437</c:v>
                </c:pt>
                <c:pt idx="54">
                  <c:v>1426.188590753509</c:v>
                </c:pt>
              </c:numCache>
            </c:numRef>
          </c:xVal>
          <c:yVal>
            <c:numRef>
              <c:f>Sheet1!$B$187:$B$241</c:f>
              <c:numCache>
                <c:formatCode>General</c:formatCode>
                <c:ptCount val="55"/>
                <c:pt idx="0">
                  <c:v>0.11760966857238841</c:v>
                </c:pt>
                <c:pt idx="1">
                  <c:v>0.11539099621898521</c:v>
                </c:pt>
                <c:pt idx="2">
                  <c:v>0.11122070439059292</c:v>
                </c:pt>
                <c:pt idx="3">
                  <c:v>0.10857984457306244</c:v>
                </c:pt>
                <c:pt idx="4">
                  <c:v>0.10941327866764303</c:v>
                </c:pt>
                <c:pt idx="5">
                  <c:v>0.10668402334981086</c:v>
                </c:pt>
                <c:pt idx="6">
                  <c:v>0.11484267810468837</c:v>
                </c:pt>
                <c:pt idx="7">
                  <c:v>0.12190011649765961</c:v>
                </c:pt>
                <c:pt idx="8">
                  <c:v>0.11068389560426886</c:v>
                </c:pt>
                <c:pt idx="9">
                  <c:v>0.1279802595595443</c:v>
                </c:pt>
                <c:pt idx="10">
                  <c:v>0.12715115889320322</c:v>
                </c:pt>
                <c:pt idx="11">
                  <c:v>0.11166426938561469</c:v>
                </c:pt>
                <c:pt idx="12">
                  <c:v>0.11310423326542249</c:v>
                </c:pt>
                <c:pt idx="13">
                  <c:v>0.12400349177149206</c:v>
                </c:pt>
                <c:pt idx="14">
                  <c:v>0.11179481927448393</c:v>
                </c:pt>
                <c:pt idx="15">
                  <c:v>0.12159241091373127</c:v>
                </c:pt>
                <c:pt idx="16">
                  <c:v>0.11722800509808512</c:v>
                </c:pt>
                <c:pt idx="17">
                  <c:v>0.12430439687645048</c:v>
                </c:pt>
                <c:pt idx="18">
                  <c:v>0.12917988979297923</c:v>
                </c:pt>
                <c:pt idx="19">
                  <c:v>0.13284446840055825</c:v>
                </c:pt>
                <c:pt idx="20">
                  <c:v>0.13412126369031768</c:v>
                </c:pt>
                <c:pt idx="21">
                  <c:v>0.13142092649756903</c:v>
                </c:pt>
                <c:pt idx="22">
                  <c:v>0.12875584667765033</c:v>
                </c:pt>
                <c:pt idx="23">
                  <c:v>0.1483962842475869</c:v>
                </c:pt>
                <c:pt idx="24">
                  <c:v>0.15094683928207656</c:v>
                </c:pt>
                <c:pt idx="25">
                  <c:v>0.150211765427487</c:v>
                </c:pt>
                <c:pt idx="26">
                  <c:v>0.1464410285543473</c:v>
                </c:pt>
                <c:pt idx="27">
                  <c:v>0.12947842438397494</c:v>
                </c:pt>
                <c:pt idx="28">
                  <c:v>0.11548376805275648</c:v>
                </c:pt>
                <c:pt idx="29">
                  <c:v>0.11553534013932976</c:v>
                </c:pt>
                <c:pt idx="30">
                  <c:v>0.11088484224941522</c:v>
                </c:pt>
                <c:pt idx="31">
                  <c:v>0.1133296466180301</c:v>
                </c:pt>
                <c:pt idx="32">
                  <c:v>0.11159118032614915</c:v>
                </c:pt>
                <c:pt idx="33">
                  <c:v>0.10867203718622742</c:v>
                </c:pt>
                <c:pt idx="34">
                  <c:v>0.10430704142366745</c:v>
                </c:pt>
                <c:pt idx="35">
                  <c:v>0.1067838316413176</c:v>
                </c:pt>
                <c:pt idx="36">
                  <c:v>0.12665659030590695</c:v>
                </c:pt>
                <c:pt idx="37">
                  <c:v>0.11886283380667342</c:v>
                </c:pt>
                <c:pt idx="38">
                  <c:v>0.12160535756691221</c:v>
                </c:pt>
                <c:pt idx="39">
                  <c:v>0.11126657008156365</c:v>
                </c:pt>
                <c:pt idx="40">
                  <c:v>0.10768704036633894</c:v>
                </c:pt>
                <c:pt idx="41">
                  <c:v>0.10525683450226364</c:v>
                </c:pt>
                <c:pt idx="42">
                  <c:v>0.10462299553808144</c:v>
                </c:pt>
                <c:pt idx="43">
                  <c:v>0.10909586577540584</c:v>
                </c:pt>
                <c:pt idx="44">
                  <c:v>0.11457391974337808</c:v>
                </c:pt>
                <c:pt idx="45">
                  <c:v>0.11948609663163737</c:v>
                </c:pt>
                <c:pt idx="46">
                  <c:v>0.12204377393432267</c:v>
                </c:pt>
                <c:pt idx="47">
                  <c:v>0.11907808934605621</c:v>
                </c:pt>
                <c:pt idx="48">
                  <c:v>0.12698392503260342</c:v>
                </c:pt>
                <c:pt idx="49">
                  <c:v>0.1346747626111484</c:v>
                </c:pt>
                <c:pt idx="50">
                  <c:v>0.14235668662814127</c:v>
                </c:pt>
                <c:pt idx="51">
                  <c:v>0.13598008987892046</c:v>
                </c:pt>
                <c:pt idx="52">
                  <c:v>0.13984838398298255</c:v>
                </c:pt>
                <c:pt idx="53">
                  <c:v>0.20043234483048536</c:v>
                </c:pt>
                <c:pt idx="54">
                  <c:v>0.121680303269386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906.0"/>
          <c:min val="55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960087479496993"/>
          <c:min val="0.05963714747619902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1717361624422021</c:v>
                </c:pt>
                <c:pt idx="1">
                  <c:v>0.12380706906717649</c:v>
                </c:pt>
                <c:pt idx="2">
                  <c:v>0.12017202006373132</c:v>
                </c:pt>
                <c:pt idx="3">
                  <c:v>0.12343928247182542</c:v>
                </c:pt>
                <c:pt idx="4">
                  <c:v>0.12364606174996964</c:v>
                </c:pt>
                <c:pt idx="5">
                  <c:v>0.12737275100069537</c:v>
                </c:pt>
                <c:pt idx="6">
                  <c:v>0.1352136284395026</c:v>
                </c:pt>
                <c:pt idx="7">
                  <c:v>0.13292099076273747</c:v>
                </c:pt>
                <c:pt idx="8">
                  <c:v>0.12779675247803832</c:v>
                </c:pt>
                <c:pt idx="9">
                  <c:v>0.12408641817514202</c:v>
                </c:pt>
                <c:pt idx="10">
                  <c:v>0.10803793765585248</c:v>
                </c:pt>
                <c:pt idx="11">
                  <c:v>0.1051807369624815</c:v>
                </c:pt>
                <c:pt idx="12">
                  <c:v>0.10137233261419386</c:v>
                </c:pt>
                <c:pt idx="13">
                  <c:v>0.10149668932535046</c:v>
                </c:pt>
                <c:pt idx="14">
                  <c:v>0.11513877085084447</c:v>
                </c:pt>
                <c:pt idx="15">
                  <c:v>0.10847387240212582</c:v>
                </c:pt>
                <c:pt idx="16">
                  <c:v>0.10975193851549625</c:v>
                </c:pt>
                <c:pt idx="17">
                  <c:v>0.10767127585422837</c:v>
                </c:pt>
                <c:pt idx="18">
                  <c:v>0.10871695078591906</c:v>
                </c:pt>
                <c:pt idx="19">
                  <c:v>0.11466215134847146</c:v>
                </c:pt>
                <c:pt idx="20">
                  <c:v>0.11679744878345438</c:v>
                </c:pt>
                <c:pt idx="21">
                  <c:v>0.11120396921354612</c:v>
                </c:pt>
                <c:pt idx="22">
                  <c:v>0.1084803678112265</c:v>
                </c:pt>
                <c:pt idx="23">
                  <c:v>0.11227784005213048</c:v>
                </c:pt>
                <c:pt idx="24">
                  <c:v>0.10773721296788859</c:v>
                </c:pt>
                <c:pt idx="25">
                  <c:v>0.11001765044130092</c:v>
                </c:pt>
                <c:pt idx="26">
                  <c:v>0.11940160638048403</c:v>
                </c:pt>
                <c:pt idx="27">
                  <c:v>0.11791931189687145</c:v>
                </c:pt>
                <c:pt idx="28">
                  <c:v>0.1184476889220301</c:v>
                </c:pt>
                <c:pt idx="29">
                  <c:v>0.12126321591537807</c:v>
                </c:pt>
                <c:pt idx="30">
                  <c:v>0.11538305410639456</c:v>
                </c:pt>
                <c:pt idx="31">
                  <c:v>0.11464114241520171</c:v>
                </c:pt>
                <c:pt idx="32">
                  <c:v>0.1129361502491144</c:v>
                </c:pt>
                <c:pt idx="33">
                  <c:v>0.11970599725018395</c:v>
                </c:pt>
                <c:pt idx="34">
                  <c:v>0.11477571869435822</c:v>
                </c:pt>
                <c:pt idx="35">
                  <c:v>0.1237537081830089</c:v>
                </c:pt>
                <c:pt idx="36">
                  <c:v>0.12081237972453944</c:v>
                </c:pt>
                <c:pt idx="37">
                  <c:v>0.12355608996084198</c:v>
                </c:pt>
                <c:pt idx="38">
                  <c:v>0.12749753594920277</c:v>
                </c:pt>
                <c:pt idx="39">
                  <c:v>0.1333493984897655</c:v>
                </c:pt>
                <c:pt idx="40">
                  <c:v>0.14157914642447395</c:v>
                </c:pt>
                <c:pt idx="41">
                  <c:v>0.14215909219220169</c:v>
                </c:pt>
                <c:pt idx="42">
                  <c:v>0.13873814390832917</c:v>
                </c:pt>
                <c:pt idx="43">
                  <c:v>0.14126483219974031</c:v>
                </c:pt>
                <c:pt idx="44">
                  <c:v>0.14079193982325092</c:v>
                </c:pt>
                <c:pt idx="45">
                  <c:v>0.14569092845780862</c:v>
                </c:pt>
                <c:pt idx="46">
                  <c:v>0.1406521914607521</c:v>
                </c:pt>
                <c:pt idx="47">
                  <c:v>0.13617670754193054</c:v>
                </c:pt>
                <c:pt idx="48">
                  <c:v>0.1306544710056994</c:v>
                </c:pt>
                <c:pt idx="49">
                  <c:v>0.1401083608499424</c:v>
                </c:pt>
                <c:pt idx="50">
                  <c:v>0.12985669305959946</c:v>
                </c:pt>
                <c:pt idx="51">
                  <c:v>0.12615225935728747</c:v>
                </c:pt>
                <c:pt idx="52">
                  <c:v>0.12451621608942634</c:v>
                </c:pt>
                <c:pt idx="53">
                  <c:v>0.14610403258361734</c:v>
                </c:pt>
                <c:pt idx="54">
                  <c:v>0.14609993186356537</c:v>
                </c:pt>
                <c:pt idx="55">
                  <c:v>0.14414030588917565</c:v>
                </c:pt>
                <c:pt idx="56">
                  <c:v>0.14275483467602873</c:v>
                </c:pt>
                <c:pt idx="57">
                  <c:v>0.14401305948488513</c:v>
                </c:pt>
                <c:pt idx="58">
                  <c:v>0.1448687749290698</c:v>
                </c:pt>
                <c:pt idx="59">
                  <c:v>0.14641652792747184</c:v>
                </c:pt>
                <c:pt idx="60">
                  <c:v>0.14512216179415158</c:v>
                </c:pt>
                <c:pt idx="61">
                  <c:v>0.13709590592779064</c:v>
                </c:pt>
                <c:pt idx="62">
                  <c:v>0.12658563622001537</c:v>
                </c:pt>
                <c:pt idx="63">
                  <c:v>0.1257392398392849</c:v>
                </c:pt>
                <c:pt idx="64">
                  <c:v>0.12770276492480412</c:v>
                </c:pt>
                <c:pt idx="65">
                  <c:v>0.12681930622018517</c:v>
                </c:pt>
                <c:pt idx="66">
                  <c:v>0.142070822538576</c:v>
                </c:pt>
                <c:pt idx="67">
                  <c:v>0.14116881868442122</c:v>
                </c:pt>
                <c:pt idx="68">
                  <c:v>0.1376024936700332</c:v>
                </c:pt>
                <c:pt idx="69">
                  <c:v>0.1385488230746177</c:v>
                </c:pt>
                <c:pt idx="70">
                  <c:v>0.14062373471294767</c:v>
                </c:pt>
                <c:pt idx="71">
                  <c:v>0.1356905218035091</c:v>
                </c:pt>
                <c:pt idx="72">
                  <c:v>0.13765979918578658</c:v>
                </c:pt>
                <c:pt idx="73">
                  <c:v>0.13533894087933226</c:v>
                </c:pt>
                <c:pt idx="74">
                  <c:v>0.1320497337817953</c:v>
                </c:pt>
                <c:pt idx="75">
                  <c:v>0.12833556815690333</c:v>
                </c:pt>
                <c:pt idx="76">
                  <c:v>0.12186965260401225</c:v>
                </c:pt>
                <c:pt idx="77">
                  <c:v>0.12259162792352324</c:v>
                </c:pt>
                <c:pt idx="78">
                  <c:v>0.12288286411983217</c:v>
                </c:pt>
                <c:pt idx="79">
                  <c:v>0.12663802251079276</c:v>
                </c:pt>
                <c:pt idx="80">
                  <c:v>0.12747090966456362</c:v>
                </c:pt>
                <c:pt idx="81">
                  <c:v>0.13343374386529672</c:v>
                </c:pt>
                <c:pt idx="82">
                  <c:v>0.12925011032962477</c:v>
                </c:pt>
                <c:pt idx="83">
                  <c:v>0.12787796021647838</c:v>
                </c:pt>
                <c:pt idx="84">
                  <c:v>0.13189560463348574</c:v>
                </c:pt>
                <c:pt idx="85">
                  <c:v>0.12723406811493165</c:v>
                </c:pt>
                <c:pt idx="86">
                  <c:v>0.12736777149018252</c:v>
                </c:pt>
                <c:pt idx="87">
                  <c:v>0.1282602473908919</c:v>
                </c:pt>
                <c:pt idx="88">
                  <c:v>0.1293638650770732</c:v>
                </c:pt>
                <c:pt idx="89">
                  <c:v>0.13015071712991977</c:v>
                </c:pt>
                <c:pt idx="90">
                  <c:v>0.1286385802887353</c:v>
                </c:pt>
                <c:pt idx="91">
                  <c:v>0.13268347105449332</c:v>
                </c:pt>
                <c:pt idx="92">
                  <c:v>0.13073521453498665</c:v>
                </c:pt>
                <c:pt idx="93">
                  <c:v>0.13182622651787534</c:v>
                </c:pt>
                <c:pt idx="94">
                  <c:v>0.13053311366628406</c:v>
                </c:pt>
                <c:pt idx="95">
                  <c:v>0.12952052250849447</c:v>
                </c:pt>
                <c:pt idx="96">
                  <c:v>0.12241560479211029</c:v>
                </c:pt>
                <c:pt idx="97">
                  <c:v>0.12568135056361604</c:v>
                </c:pt>
                <c:pt idx="98">
                  <c:v>0.12301507843029616</c:v>
                </c:pt>
                <c:pt idx="99">
                  <c:v>0.12496001859448198</c:v>
                </c:pt>
                <c:pt idx="100">
                  <c:v>0.11846212797195248</c:v>
                </c:pt>
                <c:pt idx="101">
                  <c:v>0.13394846830069906</c:v>
                </c:pt>
                <c:pt idx="102">
                  <c:v>0.1358826207947424</c:v>
                </c:pt>
                <c:pt idx="103">
                  <c:v>0.12369079382030505</c:v>
                </c:pt>
                <c:pt idx="104">
                  <c:v>0.12172399713701107</c:v>
                </c:pt>
              </c:numCache>
            </c:numRef>
          </c:xVal>
          <c:yVal>
            <c:numRef>
              <c:f>Sheet1!$B$2:$B$106</c:f>
              <c:numCache>
                <c:formatCode>General</c:formatCode>
                <c:ptCount val="105"/>
                <c:pt idx="0">
                  <c:v>0.22448371723590152</c:v>
                </c:pt>
                <c:pt idx="1">
                  <c:v>0.24133406232914162</c:v>
                </c:pt>
                <c:pt idx="2">
                  <c:v>0.23332979963956324</c:v>
                </c:pt>
                <c:pt idx="3">
                  <c:v>0.23139421514462138</c:v>
                </c:pt>
                <c:pt idx="4">
                  <c:v>0.19582013932868905</c:v>
                </c:pt>
                <c:pt idx="5">
                  <c:v>0.17259762761562042</c:v>
                </c:pt>
                <c:pt idx="6">
                  <c:v>0.16975070675918788</c:v>
                </c:pt>
                <c:pt idx="7">
                  <c:v>0.15738773197336733</c:v>
                </c:pt>
                <c:pt idx="8">
                  <c:v>0.17779310344827587</c:v>
                </c:pt>
                <c:pt idx="9">
                  <c:v>0.17002608489447474</c:v>
                </c:pt>
                <c:pt idx="10">
                  <c:v>0.1884892086330935</c:v>
                </c:pt>
                <c:pt idx="11">
                  <c:v>0.19222038794882376</c:v>
                </c:pt>
                <c:pt idx="12">
                  <c:v>0.20531622364802934</c:v>
                </c:pt>
                <c:pt idx="13">
                  <c:v>0.20160450093769536</c:v>
                </c:pt>
                <c:pt idx="14">
                  <c:v>0.2092632051138275</c:v>
                </c:pt>
                <c:pt idx="15">
                  <c:v>0.20393467918220393</c:v>
                </c:pt>
                <c:pt idx="16">
                  <c:v>0.18072637823759224</c:v>
                </c:pt>
                <c:pt idx="17">
                  <c:v>0.1883616543764027</c:v>
                </c:pt>
                <c:pt idx="18">
                  <c:v>0.17104289940828402</c:v>
                </c:pt>
                <c:pt idx="19">
                  <c:v>0.15219611848825332</c:v>
                </c:pt>
                <c:pt idx="20">
                  <c:v>0.17140454163162322</c:v>
                </c:pt>
                <c:pt idx="21">
                  <c:v>0.15215292527514965</c:v>
                </c:pt>
                <c:pt idx="22">
                  <c:v>0.14718339686573487</c:v>
                </c:pt>
                <c:pt idx="23">
                  <c:v>0.1319324090121317</c:v>
                </c:pt>
                <c:pt idx="24">
                  <c:v>0.13997555012224938</c:v>
                </c:pt>
                <c:pt idx="25">
                  <c:v>0.13502398903358465</c:v>
                </c:pt>
                <c:pt idx="26">
                  <c:v>0.13708920187793427</c:v>
                </c:pt>
                <c:pt idx="27">
                  <c:v>0.14551024315527475</c:v>
                </c:pt>
                <c:pt idx="28">
                  <c:v>0.13824264564506825</c:v>
                </c:pt>
                <c:pt idx="29">
                  <c:v>0.12891566265060242</c:v>
                </c:pt>
                <c:pt idx="30">
                  <c:v>0.1285806590566444</c:v>
                </c:pt>
                <c:pt idx="31">
                  <c:v>0.11854561101549053</c:v>
                </c:pt>
                <c:pt idx="32">
                  <c:v>0.12651531849239586</c:v>
                </c:pt>
                <c:pt idx="33">
                  <c:v>0.12749762131303521</c:v>
                </c:pt>
                <c:pt idx="34">
                  <c:v>0.13592741231896702</c:v>
                </c:pt>
                <c:pt idx="35">
                  <c:v>0.16326530612244897</c:v>
                </c:pt>
                <c:pt idx="36">
                  <c:v>0.1483993061031383</c:v>
                </c:pt>
                <c:pt idx="37">
                  <c:v>0.13065134099616857</c:v>
                </c:pt>
                <c:pt idx="38">
                  <c:v>0.12106135986733002</c:v>
                </c:pt>
                <c:pt idx="39">
                  <c:v>0.11412268188302425</c:v>
                </c:pt>
                <c:pt idx="40">
                  <c:v>0.12351464435146443</c:v>
                </c:pt>
                <c:pt idx="41">
                  <c:v>0.11146025878003697</c:v>
                </c:pt>
                <c:pt idx="42">
                  <c:v>0.1186148542776559</c:v>
                </c:pt>
                <c:pt idx="43">
                  <c:v>0.12918266593527153</c:v>
                </c:pt>
                <c:pt idx="44">
                  <c:v>0.12321068815608101</c:v>
                </c:pt>
                <c:pt idx="45">
                  <c:v>0.12288388767177853</c:v>
                </c:pt>
                <c:pt idx="46">
                  <c:v>0.12596350863498879</c:v>
                </c:pt>
                <c:pt idx="47">
                  <c:v>0.12216108054027014</c:v>
                </c:pt>
                <c:pt idx="48">
                  <c:v>0.14051724137931035</c:v>
                </c:pt>
                <c:pt idx="49">
                  <c:v>0.15955766192733017</c:v>
                </c:pt>
                <c:pt idx="50">
                  <c:v>0.13523473802275277</c:v>
                </c:pt>
                <c:pt idx="51">
                  <c:v>0.1332080873143675</c:v>
                </c:pt>
                <c:pt idx="52">
                  <c:v>0.15420489296636086</c:v>
                </c:pt>
                <c:pt idx="53">
                  <c:v>0.13901018922852984</c:v>
                </c:pt>
                <c:pt idx="54">
                  <c:v>0.12896668548842463</c:v>
                </c:pt>
                <c:pt idx="55">
                  <c:v>0.13509353540137342</c:v>
                </c:pt>
                <c:pt idx="56">
                  <c:v>0.1511111111111111</c:v>
                </c:pt>
                <c:pt idx="57">
                  <c:v>0.13788172811765909</c:v>
                </c:pt>
                <c:pt idx="58">
                  <c:v>0.13929468688936447</c:v>
                </c:pt>
                <c:pt idx="59">
                  <c:v>0.14055045871559632</c:v>
                </c:pt>
                <c:pt idx="60">
                  <c:v>0.13874262513480937</c:v>
                </c:pt>
                <c:pt idx="61">
                  <c:v>0.13651385475807135</c:v>
                </c:pt>
                <c:pt idx="62">
                  <c:v>0.15360724110391338</c:v>
                </c:pt>
                <c:pt idx="63">
                  <c:v>0.17145026575550493</c:v>
                </c:pt>
                <c:pt idx="64">
                  <c:v>0.1735080058224163</c:v>
                </c:pt>
                <c:pt idx="65">
                  <c:v>0.17927461139896372</c:v>
                </c:pt>
                <c:pt idx="66">
                  <c:v>0.16198160680201285</c:v>
                </c:pt>
                <c:pt idx="67">
                  <c:v>0.16129898013955984</c:v>
                </c:pt>
                <c:pt idx="68">
                  <c:v>0.149209586945436</c:v>
                </c:pt>
                <c:pt idx="69">
                  <c:v>0.1345599340930935</c:v>
                </c:pt>
                <c:pt idx="70">
                  <c:v>0.12999611951882034</c:v>
                </c:pt>
                <c:pt idx="71">
                  <c:v>0.13277464973157</c:v>
                </c:pt>
                <c:pt idx="72">
                  <c:v>0.13692269076305222</c:v>
                </c:pt>
                <c:pt idx="73">
                  <c:v>0.13843606724401428</c:v>
                </c:pt>
                <c:pt idx="74">
                  <c:v>0.1334024090143764</c:v>
                </c:pt>
                <c:pt idx="75">
                  <c:v>0.12423124231242312</c:v>
                </c:pt>
                <c:pt idx="76">
                  <c:v>0.1265984654731458</c:v>
                </c:pt>
                <c:pt idx="77">
                  <c:v>0.12413903572000641</c:v>
                </c:pt>
                <c:pt idx="78">
                  <c:v>0.1281081081081081</c:v>
                </c:pt>
                <c:pt idx="79">
                  <c:v>0.12422018348623853</c:v>
                </c:pt>
                <c:pt idx="80">
                  <c:v>0.1149718028015281</c:v>
                </c:pt>
                <c:pt idx="81">
                  <c:v>0.11181403560394292</c:v>
                </c:pt>
                <c:pt idx="82">
                  <c:v>0.11991117690599556</c:v>
                </c:pt>
                <c:pt idx="83">
                  <c:v>0.11128921456377376</c:v>
                </c:pt>
                <c:pt idx="84">
                  <c:v>0.10470723306544202</c:v>
                </c:pt>
                <c:pt idx="85">
                  <c:v>0.09626110307787647</c:v>
                </c:pt>
                <c:pt idx="86">
                  <c:v>0.10553686142551238</c:v>
                </c:pt>
                <c:pt idx="87">
                  <c:v>0.13872750460535638</c:v>
                </c:pt>
                <c:pt idx="88">
                  <c:v>0.1283394447354636</c:v>
                </c:pt>
                <c:pt idx="89">
                  <c:v>0.1038374717832957</c:v>
                </c:pt>
                <c:pt idx="90">
                  <c:v>0.09375604098202203</c:v>
                </c:pt>
                <c:pt idx="91">
                  <c:v>0.11692364170337739</c:v>
                </c:pt>
                <c:pt idx="92">
                  <c:v>0.11284459254771281</c:v>
                </c:pt>
                <c:pt idx="93">
                  <c:v>0.0997663872474921</c:v>
                </c:pt>
                <c:pt idx="94">
                  <c:v>0.09807723380190661</c:v>
                </c:pt>
                <c:pt idx="95">
                  <c:v>0.11604618284637135</c:v>
                </c:pt>
                <c:pt idx="96">
                  <c:v>0.11735426438211927</c:v>
                </c:pt>
                <c:pt idx="97">
                  <c:v>0.11509605078736912</c:v>
                </c:pt>
                <c:pt idx="98">
                  <c:v>0.1338440413384404</c:v>
                </c:pt>
                <c:pt idx="99">
                  <c:v>0.12846264933700932</c:v>
                </c:pt>
                <c:pt idx="100">
                  <c:v>0.16684229012996135</c:v>
                </c:pt>
                <c:pt idx="101">
                  <c:v>0.12691529343740965</c:v>
                </c:pt>
                <c:pt idx="102">
                  <c:v>0.10615406684837182</c:v>
                </c:pt>
                <c:pt idx="103">
                  <c:v>0.12080640196983687</c:v>
                </c:pt>
                <c:pt idx="104">
                  <c:v>0.1377315785061614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3596403541947577</c:v>
                </c:pt>
                <c:pt idx="1">
                  <c:v>0.13676435092720934</c:v>
                </c:pt>
                <c:pt idx="2">
                  <c:v>0.1434660809394459</c:v>
                </c:pt>
                <c:pt idx="3">
                  <c:v>0.14562995845848936</c:v>
                </c:pt>
                <c:pt idx="4">
                  <c:v>0.14629440357462395</c:v>
                </c:pt>
                <c:pt idx="5">
                  <c:v>0.14397861124677194</c:v>
                </c:pt>
                <c:pt idx="6">
                  <c:v>0.13819392625254778</c:v>
                </c:pt>
                <c:pt idx="7">
                  <c:v>0.1320014998871748</c:v>
                </c:pt>
                <c:pt idx="8">
                  <c:v>0.14157570372642436</c:v>
                </c:pt>
                <c:pt idx="9">
                  <c:v>0.12575240582631994</c:v>
                </c:pt>
                <c:pt idx="10">
                  <c:v>0.12741886624357665</c:v>
                </c:pt>
                <c:pt idx="11">
                  <c:v>0.14307731472511753</c:v>
                </c:pt>
                <c:pt idx="12">
                  <c:v>0.14290019726999295</c:v>
                </c:pt>
                <c:pt idx="13">
                  <c:v>0.1307683383247854</c:v>
                </c:pt>
                <c:pt idx="14">
                  <c:v>0.1380200140377113</c:v>
                </c:pt>
                <c:pt idx="15">
                  <c:v>0.1261481260473849</c:v>
                </c:pt>
                <c:pt idx="16">
                  <c:v>0.12983190336586029</c:v>
                </c:pt>
                <c:pt idx="17">
                  <c:v>0.12508060004086888</c:v>
                </c:pt>
                <c:pt idx="18">
                  <c:v>0.11930252783844753</c:v>
                </c:pt>
                <c:pt idx="19">
                  <c:v>0.11840740079425623</c:v>
                </c:pt>
                <c:pt idx="20">
                  <c:v>0.11480510696280286</c:v>
                </c:pt>
                <c:pt idx="21">
                  <c:v>0.11954162078298886</c:v>
                </c:pt>
                <c:pt idx="22">
                  <c:v>0.12344007557861235</c:v>
                </c:pt>
                <c:pt idx="23">
                  <c:v>0.10765428123940855</c:v>
                </c:pt>
                <c:pt idx="24">
                  <c:v>0.10212517045353925</c:v>
                </c:pt>
                <c:pt idx="25">
                  <c:v>0.10070188100066889</c:v>
                </c:pt>
                <c:pt idx="26">
                  <c:v>0.10460143858934574</c:v>
                </c:pt>
                <c:pt idx="27">
                  <c:v>0.11955230694591347</c:v>
                </c:pt>
                <c:pt idx="28">
                  <c:v>0.12863612874901795</c:v>
                </c:pt>
                <c:pt idx="29">
                  <c:v>0.12934807233938475</c:v>
                </c:pt>
                <c:pt idx="30">
                  <c:v>0.13375667724122656</c:v>
                </c:pt>
                <c:pt idx="31">
                  <c:v>0.12910319007410115</c:v>
                </c:pt>
                <c:pt idx="32">
                  <c:v>0.13027895291298727</c:v>
                </c:pt>
                <c:pt idx="33">
                  <c:v>0.13457780528554944</c:v>
                </c:pt>
                <c:pt idx="34">
                  <c:v>0.1393482450668939</c:v>
                </c:pt>
                <c:pt idx="35">
                  <c:v>0.13858632283724534</c:v>
                </c:pt>
                <c:pt idx="36">
                  <c:v>0.12432336319576033</c:v>
                </c:pt>
                <c:pt idx="37">
                  <c:v>0.12686411012935225</c:v>
                </c:pt>
                <c:pt idx="38">
                  <c:v>0.12751728341960913</c:v>
                </c:pt>
                <c:pt idx="39">
                  <c:v>0.1368875254564466</c:v>
                </c:pt>
                <c:pt idx="40">
                  <c:v>0.13968935391284557</c:v>
                </c:pt>
                <c:pt idx="41">
                  <c:v>0.14011379461374787</c:v>
                </c:pt>
                <c:pt idx="42">
                  <c:v>0.1404439445327415</c:v>
                </c:pt>
                <c:pt idx="43">
                  <c:v>0.1385867460842762</c:v>
                </c:pt>
                <c:pt idx="44">
                  <c:v>0.13601841998878433</c:v>
                </c:pt>
                <c:pt idx="45">
                  <c:v>0.13452417849668086</c:v>
                </c:pt>
                <c:pt idx="46">
                  <c:v>0.13317264258776496</c:v>
                </c:pt>
                <c:pt idx="47">
                  <c:v>0.13571106721587256</c:v>
                </c:pt>
                <c:pt idx="48">
                  <c:v>0.13132291162071474</c:v>
                </c:pt>
                <c:pt idx="49">
                  <c:v>0.1269002727624403</c:v>
                </c:pt>
                <c:pt idx="50">
                  <c:v>0.12302497179156303</c:v>
                </c:pt>
                <c:pt idx="51">
                  <c:v>0.12339805563093839</c:v>
                </c:pt>
              </c:numCache>
            </c:numRef>
          </c:xVal>
          <c:yVal>
            <c:numRef>
              <c:f>Sheet1!$B$109:$B$160</c:f>
              <c:numCache>
                <c:formatCode>General</c:formatCode>
                <c:ptCount val="52"/>
                <c:pt idx="0">
                  <c:v>0.14336483321217997</c:v>
                </c:pt>
                <c:pt idx="1">
                  <c:v>0.12556862071925157</c:v>
                </c:pt>
                <c:pt idx="2">
                  <c:v>0.12529719448407037</c:v>
                </c:pt>
                <c:pt idx="3">
                  <c:v>0.12469530773918343</c:v>
                </c:pt>
                <c:pt idx="4">
                  <c:v>0.11146315703956454</c:v>
                </c:pt>
                <c:pt idx="5">
                  <c:v>0.10427997162449752</c:v>
                </c:pt>
                <c:pt idx="6">
                  <c:v>0.1140157202154906</c:v>
                </c:pt>
                <c:pt idx="7">
                  <c:v>0.11868263473053892</c:v>
                </c:pt>
                <c:pt idx="8">
                  <c:v>0.11646000486263068</c:v>
                </c:pt>
                <c:pt idx="9">
                  <c:v>0.13877505814597407</c:v>
                </c:pt>
                <c:pt idx="10">
                  <c:v>0.13127373498922304</c:v>
                </c:pt>
                <c:pt idx="11">
                  <c:v>0.1301484148590498</c:v>
                </c:pt>
                <c:pt idx="12">
                  <c:v>0.1295238095238095</c:v>
                </c:pt>
                <c:pt idx="13">
                  <c:v>0.1356489295549436</c:v>
                </c:pt>
                <c:pt idx="14">
                  <c:v>0.12824051256776736</c:v>
                </c:pt>
                <c:pt idx="15">
                  <c:v>0.12660419637400694</c:v>
                </c:pt>
                <c:pt idx="16">
                  <c:v>0.12258501864196136</c:v>
                </c:pt>
                <c:pt idx="17">
                  <c:v>0.11914942794406565</c:v>
                </c:pt>
                <c:pt idx="18">
                  <c:v>0.1174842380439797</c:v>
                </c:pt>
                <c:pt idx="19">
                  <c:v>0.12796027501909854</c:v>
                </c:pt>
                <c:pt idx="20">
                  <c:v>0.11959573273441887</c:v>
                </c:pt>
                <c:pt idx="21">
                  <c:v>0.11869860564890955</c:v>
                </c:pt>
                <c:pt idx="22">
                  <c:v>0.12056226347089566</c:v>
                </c:pt>
                <c:pt idx="23">
                  <c:v>0.14345403899721448</c:v>
                </c:pt>
                <c:pt idx="24">
                  <c:v>0.15373328985979784</c:v>
                </c:pt>
                <c:pt idx="25">
                  <c:v>0.16974358974358975</c:v>
                </c:pt>
                <c:pt idx="26">
                  <c:v>0.15250470165840316</c:v>
                </c:pt>
                <c:pt idx="27">
                  <c:v>0.11452776906181361</c:v>
                </c:pt>
                <c:pt idx="28">
                  <c:v>0.09462517680339462</c:v>
                </c:pt>
                <c:pt idx="29">
                  <c:v>0.08973487423521415</c:v>
                </c:pt>
                <c:pt idx="30">
                  <c:v>0.100355871886121</c:v>
                </c:pt>
                <c:pt idx="31">
                  <c:v>0.08408770871052103</c:v>
                </c:pt>
                <c:pt idx="32">
                  <c:v>0.07454643434524878</c:v>
                </c:pt>
                <c:pt idx="33">
                  <c:v>0.09710483725948571</c:v>
                </c:pt>
                <c:pt idx="34">
                  <c:v>0.12246913580246914</c:v>
                </c:pt>
                <c:pt idx="35">
                  <c:v>0.1352124183006536</c:v>
                </c:pt>
                <c:pt idx="36">
                  <c:v>0.1067675493905002</c:v>
                </c:pt>
                <c:pt idx="37">
                  <c:v>0.10979885587746817</c:v>
                </c:pt>
                <c:pt idx="38">
                  <c:v>0.10317625077849284</c:v>
                </c:pt>
                <c:pt idx="39">
                  <c:v>0.11921954217237671</c:v>
                </c:pt>
                <c:pt idx="40">
                  <c:v>0.10393300433677284</c:v>
                </c:pt>
                <c:pt idx="41">
                  <c:v>0.10541913632514818</c:v>
                </c:pt>
                <c:pt idx="42">
                  <c:v>0.10004638936137313</c:v>
                </c:pt>
                <c:pt idx="43">
                  <c:v>0.11023710529272952</c:v>
                </c:pt>
                <c:pt idx="44">
                  <c:v>0.10979367005881804</c:v>
                </c:pt>
                <c:pt idx="45">
                  <c:v>0.13148866348448687</c:v>
                </c:pt>
                <c:pt idx="46">
                  <c:v>0.118609783008459</c:v>
                </c:pt>
                <c:pt idx="47">
                  <c:v>0.12370311252992817</c:v>
                </c:pt>
                <c:pt idx="48">
                  <c:v>0.11707317073170732</c:v>
                </c:pt>
                <c:pt idx="49">
                  <c:v>0.12843571880937302</c:v>
                </c:pt>
                <c:pt idx="50">
                  <c:v>0.17207911871903026</c:v>
                </c:pt>
                <c:pt idx="51">
                  <c:v>0.141805527671819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25725240050736994</c:v>
                </c:pt>
              </c:numCache>
            </c:numRef>
          </c:xVal>
          <c:yVal>
            <c:numRef>
              <c:f>Sheet1!$B$163:$B$164</c:f>
              <c:numCache>
                <c:formatCode>General</c:formatCode>
                <c:ptCount val="2"/>
                <c:pt idx="0">
                  <c:v>0.20043234483048536</c:v>
                </c:pt>
                <c:pt idx="1">
                  <c:v>0.2004323448304853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25725240050736994</c:v>
                </c:pt>
                <c:pt idx="1">
                  <c:v>0.025725240050736994</c:v>
                </c:pt>
              </c:numCache>
            </c:numRef>
          </c:xVal>
          <c:yVal>
            <c:numRef>
              <c:f>Sheet1!$B$167:$B$168</c:f>
              <c:numCache>
                <c:formatCode>General</c:formatCode>
                <c:ptCount val="2"/>
                <c:pt idx="0">
                  <c:v>0.200432344830485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0517365779573372</c:v>
                </c:pt>
              </c:numCache>
            </c:numRef>
          </c:xVal>
          <c:yVal>
            <c:numRef>
              <c:f>Sheet1!$B$171:$B$172</c:f>
              <c:numCache>
                <c:formatCode>General</c:formatCode>
                <c:ptCount val="2"/>
                <c:pt idx="0">
                  <c:v>0.13984838398298255</c:v>
                </c:pt>
                <c:pt idx="1">
                  <c:v>0.1398483839829825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0517365779573372</c:v>
                </c:pt>
                <c:pt idx="1">
                  <c:v>0.10517365779573372</c:v>
                </c:pt>
              </c:numCache>
            </c:numRef>
          </c:xVal>
          <c:yVal>
            <c:numRef>
              <c:f>Sheet1!$B$175:$B$176</c:f>
              <c:numCache>
                <c:formatCode>General</c:formatCode>
                <c:ptCount val="2"/>
                <c:pt idx="0">
                  <c:v>0.1398483839829825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2899886245331438</c:v>
                </c:pt>
              </c:numCache>
            </c:numRef>
          </c:xVal>
          <c:yVal>
            <c:numRef>
              <c:f>Sheet1!$B$179:$B$180</c:f>
              <c:numCache>
                <c:formatCode>General</c:formatCode>
                <c:ptCount val="2"/>
                <c:pt idx="0">
                  <c:v>0.12168030326938636</c:v>
                </c:pt>
                <c:pt idx="1">
                  <c:v>0.1216803032693863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2899886245331438</c:v>
                </c:pt>
                <c:pt idx="1">
                  <c:v>0.12899886245331438</c:v>
                </c:pt>
              </c:numCache>
            </c:numRef>
          </c:xVal>
          <c:yVal>
            <c:numRef>
              <c:f>Sheet1!$B$183:$B$184</c:f>
              <c:numCache>
                <c:formatCode>General</c:formatCode>
                <c:ptCount val="2"/>
                <c:pt idx="0">
                  <c:v>0.121680303269386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3596403541947577</c:v>
                </c:pt>
                <c:pt idx="1">
                  <c:v>0.13676435092720934</c:v>
                </c:pt>
                <c:pt idx="2">
                  <c:v>0.1434660809394459</c:v>
                </c:pt>
                <c:pt idx="3">
                  <c:v>0.14562995845848936</c:v>
                </c:pt>
                <c:pt idx="4">
                  <c:v>0.14629440357462395</c:v>
                </c:pt>
                <c:pt idx="5">
                  <c:v>0.14397861124677194</c:v>
                </c:pt>
                <c:pt idx="6">
                  <c:v>0.13819392625254778</c:v>
                </c:pt>
                <c:pt idx="7">
                  <c:v>0.1320014998871748</c:v>
                </c:pt>
                <c:pt idx="8">
                  <c:v>0.14157570372642436</c:v>
                </c:pt>
                <c:pt idx="9">
                  <c:v>0.12575240582631994</c:v>
                </c:pt>
                <c:pt idx="10">
                  <c:v>0.12741886624357665</c:v>
                </c:pt>
                <c:pt idx="11">
                  <c:v>0.14307731472511753</c:v>
                </c:pt>
                <c:pt idx="12">
                  <c:v>0.14290019726999295</c:v>
                </c:pt>
                <c:pt idx="13">
                  <c:v>0.1307683383247854</c:v>
                </c:pt>
                <c:pt idx="14">
                  <c:v>0.1380200140377113</c:v>
                </c:pt>
                <c:pt idx="15">
                  <c:v>0.1261481260473849</c:v>
                </c:pt>
                <c:pt idx="16">
                  <c:v>0.12983190336586029</c:v>
                </c:pt>
                <c:pt idx="17">
                  <c:v>0.12508060004086888</c:v>
                </c:pt>
                <c:pt idx="18">
                  <c:v>0.11930252783844753</c:v>
                </c:pt>
                <c:pt idx="19">
                  <c:v>0.11840740079425623</c:v>
                </c:pt>
                <c:pt idx="20">
                  <c:v>0.11480510696280286</c:v>
                </c:pt>
                <c:pt idx="21">
                  <c:v>0.11954162078298886</c:v>
                </c:pt>
                <c:pt idx="22">
                  <c:v>0.12344007557861235</c:v>
                </c:pt>
                <c:pt idx="23">
                  <c:v>0.10765428123940855</c:v>
                </c:pt>
                <c:pt idx="24">
                  <c:v>0.10212517045353925</c:v>
                </c:pt>
                <c:pt idx="25">
                  <c:v>0.10070188100066889</c:v>
                </c:pt>
                <c:pt idx="26">
                  <c:v>0.10460143858934574</c:v>
                </c:pt>
                <c:pt idx="27">
                  <c:v>0.11955230694591347</c:v>
                </c:pt>
                <c:pt idx="28">
                  <c:v>0.12863612874901795</c:v>
                </c:pt>
                <c:pt idx="29">
                  <c:v>0.12934807233938475</c:v>
                </c:pt>
                <c:pt idx="30">
                  <c:v>0.13375667724122656</c:v>
                </c:pt>
                <c:pt idx="31">
                  <c:v>0.12910319007410115</c:v>
                </c:pt>
                <c:pt idx="32">
                  <c:v>0.13027895291298727</c:v>
                </c:pt>
                <c:pt idx="33">
                  <c:v>0.13457780528554944</c:v>
                </c:pt>
                <c:pt idx="34">
                  <c:v>0.1393482450668939</c:v>
                </c:pt>
                <c:pt idx="35">
                  <c:v>0.13858632283724534</c:v>
                </c:pt>
                <c:pt idx="36">
                  <c:v>0.12432336319576033</c:v>
                </c:pt>
                <c:pt idx="37">
                  <c:v>0.12686411012935225</c:v>
                </c:pt>
                <c:pt idx="38">
                  <c:v>0.12751728341960913</c:v>
                </c:pt>
                <c:pt idx="39">
                  <c:v>0.1368875254564466</c:v>
                </c:pt>
                <c:pt idx="40">
                  <c:v>0.13968935391284557</c:v>
                </c:pt>
                <c:pt idx="41">
                  <c:v>0.14011379461374787</c:v>
                </c:pt>
                <c:pt idx="42">
                  <c:v>0.1404439445327415</c:v>
                </c:pt>
                <c:pt idx="43">
                  <c:v>0.1385867460842762</c:v>
                </c:pt>
                <c:pt idx="44">
                  <c:v>0.13601841998878433</c:v>
                </c:pt>
                <c:pt idx="45">
                  <c:v>0.13452417849668086</c:v>
                </c:pt>
                <c:pt idx="46">
                  <c:v>0.13317264258776496</c:v>
                </c:pt>
                <c:pt idx="47">
                  <c:v>0.13571106721587256</c:v>
                </c:pt>
                <c:pt idx="48">
                  <c:v>0.13132291162071474</c:v>
                </c:pt>
                <c:pt idx="49">
                  <c:v>0.1269002727624403</c:v>
                </c:pt>
                <c:pt idx="50">
                  <c:v>0.12302497179156303</c:v>
                </c:pt>
                <c:pt idx="51">
                  <c:v>0.12339805563093839</c:v>
                </c:pt>
                <c:pt idx="52">
                  <c:v>0.10517365779573372</c:v>
                </c:pt>
                <c:pt idx="53">
                  <c:v>0.025725240050736994</c:v>
                </c:pt>
                <c:pt idx="54">
                  <c:v>0.12899886245331438</c:v>
                </c:pt>
              </c:numCache>
            </c:numRef>
          </c:xVal>
          <c:yVal>
            <c:numRef>
              <c:f>Sheet1!$B$187:$B$241</c:f>
              <c:numCache>
                <c:formatCode>General</c:formatCode>
                <c:ptCount val="55"/>
                <c:pt idx="0">
                  <c:v>0.11636896066175362</c:v>
                </c:pt>
                <c:pt idx="1">
                  <c:v>0.11575867433054177</c:v>
                </c:pt>
                <c:pt idx="2">
                  <c:v>0.11064822203714234</c:v>
                </c:pt>
                <c:pt idx="3">
                  <c:v>0.10899814171316036</c:v>
                </c:pt>
                <c:pt idx="4">
                  <c:v>0.1084914643236821</c:v>
                </c:pt>
                <c:pt idx="5">
                  <c:v>0.11025738837482998</c:v>
                </c:pt>
                <c:pt idx="6">
                  <c:v>0.11466854141163522</c:v>
                </c:pt>
                <c:pt idx="7">
                  <c:v>0.11939062055580328</c:v>
                </c:pt>
                <c:pt idx="8">
                  <c:v>0.1120897427409064</c:v>
                </c:pt>
                <c:pt idx="9">
                  <c:v>0.12415591205764738</c:v>
                </c:pt>
                <c:pt idx="10">
                  <c:v>0.12288514071268436</c:v>
                </c:pt>
                <c:pt idx="11">
                  <c:v>0.11094467850255993</c:v>
                </c:pt>
                <c:pt idx="12">
                  <c:v>0.11107974068845668</c:v>
                </c:pt>
                <c:pt idx="13">
                  <c:v>0.12033097675086608</c:v>
                </c:pt>
                <c:pt idx="14">
                  <c:v>0.11480115941855858</c:v>
                </c:pt>
                <c:pt idx="15">
                  <c:v>0.12385415276451062</c:v>
                </c:pt>
                <c:pt idx="16">
                  <c:v>0.12104506194599036</c:v>
                </c:pt>
                <c:pt idx="17">
                  <c:v>0.12466820237831215</c:v>
                </c:pt>
                <c:pt idx="18">
                  <c:v>0.12907431278329357</c:v>
                </c:pt>
                <c:pt idx="19">
                  <c:v>0.12975689833172938</c:v>
                </c:pt>
                <c:pt idx="20">
                  <c:v>0.13250385333272707</c:v>
                </c:pt>
                <c:pt idx="21">
                  <c:v>0.1288919907433821</c:v>
                </c:pt>
                <c:pt idx="22">
                  <c:v>0.1259191960747471</c:v>
                </c:pt>
                <c:pt idx="23">
                  <c:v>0.13795676678210433</c:v>
                </c:pt>
                <c:pt idx="24">
                  <c:v>0.1421730298730544</c:v>
                </c:pt>
                <c:pt idx="25">
                  <c:v>0.14325836945482084</c:v>
                </c:pt>
                <c:pt idx="26">
                  <c:v>0.14028473384343249</c:v>
                </c:pt>
                <c:pt idx="27">
                  <c:v>0.1288838419331904</c:v>
                </c:pt>
                <c:pt idx="28">
                  <c:v>0.12195690845754378</c:v>
                </c:pt>
                <c:pt idx="29">
                  <c:v>0.1214140107658257</c:v>
                </c:pt>
                <c:pt idx="30">
                  <c:v>0.11805219747430659</c:v>
                </c:pt>
                <c:pt idx="31">
                  <c:v>0.1216007474937969</c:v>
                </c:pt>
                <c:pt idx="32">
                  <c:v>0.12070416110707163</c:v>
                </c:pt>
                <c:pt idx="33">
                  <c:v>0.11742604039402695</c:v>
                </c:pt>
                <c:pt idx="34">
                  <c:v>0.11378830731964433</c:v>
                </c:pt>
                <c:pt idx="35">
                  <c:v>0.11436931658125139</c:v>
                </c:pt>
                <c:pt idx="36">
                  <c:v>0.12524563876632921</c:v>
                </c:pt>
                <c:pt idx="37">
                  <c:v>0.12330817396693945</c:v>
                </c:pt>
                <c:pt idx="38">
                  <c:v>0.12281009198913884</c:v>
                </c:pt>
                <c:pt idx="39">
                  <c:v>0.11566474670972153</c:v>
                </c:pt>
                <c:pt idx="40">
                  <c:v>0.11352819232233621</c:v>
                </c:pt>
                <c:pt idx="41">
                  <c:v>0.11320453202128294</c:v>
                </c:pt>
                <c:pt idx="42">
                  <c:v>0.1129527738323368</c:v>
                </c:pt>
                <c:pt idx="43">
                  <c:v>0.11436899383119198</c:v>
                </c:pt>
                <c:pt idx="44">
                  <c:v>0.11632748931831825</c:v>
                </c:pt>
                <c:pt idx="45">
                  <c:v>0.11746693388655212</c:v>
                </c:pt>
                <c:pt idx="46">
                  <c:v>0.1184975572886766</c:v>
                </c:pt>
                <c:pt idx="47">
                  <c:v>0.11656186337999214</c:v>
                </c:pt>
                <c:pt idx="48">
                  <c:v>0.11990808290601328</c:v>
                </c:pt>
                <c:pt idx="49">
                  <c:v>0.12328059789167786</c:v>
                </c:pt>
                <c:pt idx="50">
                  <c:v>0.1262357364451666</c:v>
                </c:pt>
                <c:pt idx="51">
                  <c:v>0.1259512386872616</c:v>
                </c:pt>
                <c:pt idx="52">
                  <c:v>0.13984838398298255</c:v>
                </c:pt>
                <c:pt idx="53">
                  <c:v>0.20043234483048536</c:v>
                </c:pt>
                <c:pt idx="54">
                  <c:v>0.121680303269386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960087479496993"/>
          <c:min val="0.05963714747619902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28.1039</c:v>
                </c:pt>
                <c:pt idx="1">
                  <c:v>1074.7644</c:v>
                </c:pt>
                <c:pt idx="2">
                  <c:v>1065.9468</c:v>
                </c:pt>
                <c:pt idx="3">
                  <c:v>1089.8385</c:v>
                </c:pt>
                <c:pt idx="4">
                  <c:v>1130.3286</c:v>
                </c:pt>
                <c:pt idx="5">
                  <c:v>1165.895</c:v>
                </c:pt>
                <c:pt idx="6">
                  <c:v>1195.0515</c:v>
                </c:pt>
                <c:pt idx="7">
                  <c:v>1191.4977</c:v>
                </c:pt>
                <c:pt idx="8">
                  <c:v>1143.263</c:v>
                </c:pt>
                <c:pt idx="9">
                  <c:v>1068.9916</c:v>
                </c:pt>
                <c:pt idx="10">
                  <c:v>972.7592</c:v>
                </c:pt>
                <c:pt idx="11">
                  <c:v>934.9211</c:v>
                </c:pt>
                <c:pt idx="12">
                  <c:v>929.3058</c:v>
                </c:pt>
                <c:pt idx="13">
                  <c:v>943.7008</c:v>
                </c:pt>
                <c:pt idx="14">
                  <c:v>1121.9025</c:v>
                </c:pt>
                <c:pt idx="15">
                  <c:v>1120.6211</c:v>
                </c:pt>
                <c:pt idx="16">
                  <c:v>1147.8455</c:v>
                </c:pt>
                <c:pt idx="17">
                  <c:v>1171.2417</c:v>
                </c:pt>
                <c:pt idx="18">
                  <c:v>1181.7719</c:v>
                </c:pt>
                <c:pt idx="19">
                  <c:v>1211.8711</c:v>
                </c:pt>
                <c:pt idx="20">
                  <c:v>1232.0824</c:v>
                </c:pt>
                <c:pt idx="21">
                  <c:v>1210.5558</c:v>
                </c:pt>
                <c:pt idx="22">
                  <c:v>1217.8216</c:v>
                </c:pt>
                <c:pt idx="23">
                  <c:v>1228.5534</c:v>
                </c:pt>
                <c:pt idx="24">
                  <c:v>1235.3683</c:v>
                </c:pt>
                <c:pt idx="25">
                  <c:v>1241.0491</c:v>
                </c:pt>
                <c:pt idx="26">
                  <c:v>1226.9452</c:v>
                </c:pt>
                <c:pt idx="27">
                  <c:v>1245.0605</c:v>
                </c:pt>
                <c:pt idx="28">
                  <c:v>1241.427</c:v>
                </c:pt>
                <c:pt idx="29">
                  <c:v>1280.5768</c:v>
                </c:pt>
                <c:pt idx="30">
                  <c:v>1278.5209</c:v>
                </c:pt>
                <c:pt idx="31">
                  <c:v>1243.6552</c:v>
                </c:pt>
                <c:pt idx="32">
                  <c:v>1258.7143</c:v>
                </c:pt>
                <c:pt idx="33">
                  <c:v>1243.206</c:v>
                </c:pt>
                <c:pt idx="34">
                  <c:v>1229.0321</c:v>
                </c:pt>
                <c:pt idx="35">
                  <c:v>1257.1453</c:v>
                </c:pt>
                <c:pt idx="36">
                  <c:v>1285.7768</c:v>
                </c:pt>
                <c:pt idx="37">
                  <c:v>1299.4018</c:v>
                </c:pt>
                <c:pt idx="38">
                  <c:v>1324.1826</c:v>
                </c:pt>
                <c:pt idx="39">
                  <c:v>1401.1857</c:v>
                </c:pt>
                <c:pt idx="40">
                  <c:v>1461.2873</c:v>
                </c:pt>
                <c:pt idx="41">
                  <c:v>1456.67</c:v>
                </c:pt>
                <c:pt idx="42">
                  <c:v>1467.856</c:v>
                </c:pt>
                <c:pt idx="43">
                  <c:v>1459.2824</c:v>
                </c:pt>
                <c:pt idx="44">
                  <c:v>1419.1153</c:v>
                </c:pt>
                <c:pt idx="45">
                  <c:v>1402.4595</c:v>
                </c:pt>
                <c:pt idx="46">
                  <c:v>1356.5221</c:v>
                </c:pt>
                <c:pt idx="47">
                  <c:v>1359.1597</c:v>
                </c:pt>
                <c:pt idx="48">
                  <c:v>1232.3686</c:v>
                </c:pt>
                <c:pt idx="49">
                  <c:v>1190.0325</c:v>
                </c:pt>
                <c:pt idx="50">
                  <c:v>1247.7174</c:v>
                </c:pt>
                <c:pt idx="51">
                  <c:v>1217.9342</c:v>
                </c:pt>
                <c:pt idx="52">
                  <c:v>1181.1353</c:v>
                </c:pt>
                <c:pt idx="53">
                  <c:v>1417.0464</c:v>
                </c:pt>
                <c:pt idx="54">
                  <c:v>1429.5342</c:v>
                </c:pt>
                <c:pt idx="55">
                  <c:v>1430.7923</c:v>
                </c:pt>
                <c:pt idx="56">
                  <c:v>1422.9691</c:v>
                </c:pt>
                <c:pt idx="57">
                  <c:v>1449.6622</c:v>
                </c:pt>
                <c:pt idx="58">
                  <c:v>1464.1089</c:v>
                </c:pt>
                <c:pt idx="59">
                  <c:v>1451.413</c:v>
                </c:pt>
                <c:pt idx="60">
                  <c:v>1447.5135</c:v>
                </c:pt>
                <c:pt idx="61">
                  <c:v>1397.3818</c:v>
                </c:pt>
                <c:pt idx="62">
                  <c:v>1298.491</c:v>
                </c:pt>
                <c:pt idx="63">
                  <c:v>1271.1723</c:v>
                </c:pt>
                <c:pt idx="64">
                  <c:v>1245.1506</c:v>
                </c:pt>
                <c:pt idx="65">
                  <c:v>1244.3566</c:v>
                </c:pt>
                <c:pt idx="66">
                  <c:v>1410.5458</c:v>
                </c:pt>
                <c:pt idx="67">
                  <c:v>1435.0383</c:v>
                </c:pt>
                <c:pt idx="68">
                  <c:v>1401.2105</c:v>
                </c:pt>
                <c:pt idx="69">
                  <c:v>1454.6418</c:v>
                </c:pt>
                <c:pt idx="70">
                  <c:v>1503.6866</c:v>
                </c:pt>
                <c:pt idx="71">
                  <c:v>1452.3846</c:v>
                </c:pt>
                <c:pt idx="72">
                  <c:v>1459.3456</c:v>
                </c:pt>
                <c:pt idx="73">
                  <c:v>1473.1546</c:v>
                </c:pt>
                <c:pt idx="74">
                  <c:v>1427.4359</c:v>
                </c:pt>
                <c:pt idx="75">
                  <c:v>1430.4468</c:v>
                </c:pt>
                <c:pt idx="76">
                  <c:v>1365.7045</c:v>
                </c:pt>
                <c:pt idx="77">
                  <c:v>1363.2413</c:v>
                </c:pt>
                <c:pt idx="78">
                  <c:v>1395.7454</c:v>
                </c:pt>
                <c:pt idx="79">
                  <c:v>1449.2674</c:v>
                </c:pt>
                <c:pt idx="80">
                  <c:v>1459.3038</c:v>
                </c:pt>
                <c:pt idx="81">
                  <c:v>1484.6092</c:v>
                </c:pt>
                <c:pt idx="82">
                  <c:v>1490.2531</c:v>
                </c:pt>
                <c:pt idx="83">
                  <c:v>1459.1358</c:v>
                </c:pt>
                <c:pt idx="84">
                  <c:v>1503.4386</c:v>
                </c:pt>
                <c:pt idx="85">
                  <c:v>1487.7489</c:v>
                </c:pt>
                <c:pt idx="86">
                  <c:v>1474.9319</c:v>
                </c:pt>
                <c:pt idx="87">
                  <c:v>1477.5015</c:v>
                </c:pt>
                <c:pt idx="88">
                  <c:v>1489.1782</c:v>
                </c:pt>
                <c:pt idx="89">
                  <c:v>1518.9004</c:v>
                </c:pt>
                <c:pt idx="90">
                  <c:v>1481.2639</c:v>
                </c:pt>
                <c:pt idx="91">
                  <c:v>1490.4301</c:v>
                </c:pt>
                <c:pt idx="92">
                  <c:v>1508.5852</c:v>
                </c:pt>
                <c:pt idx="93">
                  <c:v>1499.6901</c:v>
                </c:pt>
                <c:pt idx="94">
                  <c:v>1495.8633</c:v>
                </c:pt>
                <c:pt idx="95">
                  <c:v>1486.7574</c:v>
                </c:pt>
                <c:pt idx="96">
                  <c:v>1359.4829</c:v>
                </c:pt>
                <c:pt idx="97">
                  <c:v>1412.217</c:v>
                </c:pt>
                <c:pt idx="98">
                  <c:v>1352.3726</c:v>
                </c:pt>
                <c:pt idx="99">
                  <c:v>1353.0869</c:v>
                </c:pt>
                <c:pt idx="100">
                  <c:v>1242.0566</c:v>
                </c:pt>
                <c:pt idx="101">
                  <c:v>1469.8479</c:v>
                </c:pt>
                <c:pt idx="102">
                  <c:v>1479.352</c:v>
                </c:pt>
                <c:pt idx="103">
                  <c:v>1356.714</c:v>
                </c:pt>
                <c:pt idx="104">
                  <c:v>1339.6409</c:v>
                </c:pt>
              </c:numCache>
            </c:numRef>
          </c:xVal>
          <c:yVal>
            <c:numRef>
              <c:f>Sheet1!$B$2:$B$106</c:f>
              <c:numCache>
                <c:formatCode>General</c:formatCode>
                <c:ptCount val="105"/>
                <c:pt idx="0">
                  <c:v>0.22448371723590152</c:v>
                </c:pt>
                <c:pt idx="1">
                  <c:v>0.24133406232914162</c:v>
                </c:pt>
                <c:pt idx="2">
                  <c:v>0.23332979963956324</c:v>
                </c:pt>
                <c:pt idx="3">
                  <c:v>0.23139421514462138</c:v>
                </c:pt>
                <c:pt idx="4">
                  <c:v>0.19582013932868905</c:v>
                </c:pt>
                <c:pt idx="5">
                  <c:v>0.17259762761562042</c:v>
                </c:pt>
                <c:pt idx="6">
                  <c:v>0.16975070675918788</c:v>
                </c:pt>
                <c:pt idx="7">
                  <c:v>0.15738773197336733</c:v>
                </c:pt>
                <c:pt idx="8">
                  <c:v>0.17779310344827587</c:v>
                </c:pt>
                <c:pt idx="9">
                  <c:v>0.17002608489447474</c:v>
                </c:pt>
                <c:pt idx="10">
                  <c:v>0.1884892086330935</c:v>
                </c:pt>
                <c:pt idx="11">
                  <c:v>0.19222038794882376</c:v>
                </c:pt>
                <c:pt idx="12">
                  <c:v>0.20531622364802934</c:v>
                </c:pt>
                <c:pt idx="13">
                  <c:v>0.20160450093769536</c:v>
                </c:pt>
                <c:pt idx="14">
                  <c:v>0.2092632051138275</c:v>
                </c:pt>
                <c:pt idx="15">
                  <c:v>0.20393467918220393</c:v>
                </c:pt>
                <c:pt idx="16">
                  <c:v>0.18072637823759224</c:v>
                </c:pt>
                <c:pt idx="17">
                  <c:v>0.1883616543764027</c:v>
                </c:pt>
                <c:pt idx="18">
                  <c:v>0.17104289940828402</c:v>
                </c:pt>
                <c:pt idx="19">
                  <c:v>0.15219611848825332</c:v>
                </c:pt>
                <c:pt idx="20">
                  <c:v>0.17140454163162322</c:v>
                </c:pt>
                <c:pt idx="21">
                  <c:v>0.15215292527514965</c:v>
                </c:pt>
                <c:pt idx="22">
                  <c:v>0.14718339686573487</c:v>
                </c:pt>
                <c:pt idx="23">
                  <c:v>0.1319324090121317</c:v>
                </c:pt>
                <c:pt idx="24">
                  <c:v>0.13997555012224938</c:v>
                </c:pt>
                <c:pt idx="25">
                  <c:v>0.13502398903358465</c:v>
                </c:pt>
                <c:pt idx="26">
                  <c:v>0.13708920187793427</c:v>
                </c:pt>
                <c:pt idx="27">
                  <c:v>0.14551024315527475</c:v>
                </c:pt>
                <c:pt idx="28">
                  <c:v>0.13824264564506825</c:v>
                </c:pt>
                <c:pt idx="29">
                  <c:v>0.12891566265060242</c:v>
                </c:pt>
                <c:pt idx="30">
                  <c:v>0.1285806590566444</c:v>
                </c:pt>
                <c:pt idx="31">
                  <c:v>0.11854561101549053</c:v>
                </c:pt>
                <c:pt idx="32">
                  <c:v>0.12651531849239586</c:v>
                </c:pt>
                <c:pt idx="33">
                  <c:v>0.12749762131303521</c:v>
                </c:pt>
                <c:pt idx="34">
                  <c:v>0.13592741231896702</c:v>
                </c:pt>
                <c:pt idx="35">
                  <c:v>0.16326530612244897</c:v>
                </c:pt>
                <c:pt idx="36">
                  <c:v>0.1483993061031383</c:v>
                </c:pt>
                <c:pt idx="37">
                  <c:v>0.13065134099616857</c:v>
                </c:pt>
                <c:pt idx="38">
                  <c:v>0.12106135986733002</c:v>
                </c:pt>
                <c:pt idx="39">
                  <c:v>0.11412268188302425</c:v>
                </c:pt>
                <c:pt idx="40">
                  <c:v>0.12351464435146443</c:v>
                </c:pt>
                <c:pt idx="41">
                  <c:v>0.11146025878003697</c:v>
                </c:pt>
                <c:pt idx="42">
                  <c:v>0.1186148542776559</c:v>
                </c:pt>
                <c:pt idx="43">
                  <c:v>0.12918266593527153</c:v>
                </c:pt>
                <c:pt idx="44">
                  <c:v>0.12321068815608101</c:v>
                </c:pt>
                <c:pt idx="45">
                  <c:v>0.12288388767177853</c:v>
                </c:pt>
                <c:pt idx="46">
                  <c:v>0.12596350863498879</c:v>
                </c:pt>
                <c:pt idx="47">
                  <c:v>0.12216108054027014</c:v>
                </c:pt>
                <c:pt idx="48">
                  <c:v>0.14051724137931035</c:v>
                </c:pt>
                <c:pt idx="49">
                  <c:v>0.15955766192733017</c:v>
                </c:pt>
                <c:pt idx="50">
                  <c:v>0.13523473802275277</c:v>
                </c:pt>
                <c:pt idx="51">
                  <c:v>0.1332080873143675</c:v>
                </c:pt>
                <c:pt idx="52">
                  <c:v>0.15420489296636086</c:v>
                </c:pt>
                <c:pt idx="53">
                  <c:v>0.13901018922852984</c:v>
                </c:pt>
                <c:pt idx="54">
                  <c:v>0.12896668548842463</c:v>
                </c:pt>
                <c:pt idx="55">
                  <c:v>0.13509353540137342</c:v>
                </c:pt>
                <c:pt idx="56">
                  <c:v>0.1511111111111111</c:v>
                </c:pt>
                <c:pt idx="57">
                  <c:v>0.13788172811765909</c:v>
                </c:pt>
                <c:pt idx="58">
                  <c:v>0.13929468688936447</c:v>
                </c:pt>
                <c:pt idx="59">
                  <c:v>0.14055045871559632</c:v>
                </c:pt>
                <c:pt idx="60">
                  <c:v>0.13874262513480937</c:v>
                </c:pt>
                <c:pt idx="61">
                  <c:v>0.13651385475807135</c:v>
                </c:pt>
                <c:pt idx="62">
                  <c:v>0.15360724110391338</c:v>
                </c:pt>
                <c:pt idx="63">
                  <c:v>0.17145026575550493</c:v>
                </c:pt>
                <c:pt idx="64">
                  <c:v>0.1735080058224163</c:v>
                </c:pt>
                <c:pt idx="65">
                  <c:v>0.17927461139896372</c:v>
                </c:pt>
                <c:pt idx="66">
                  <c:v>0.16198160680201285</c:v>
                </c:pt>
                <c:pt idx="67">
                  <c:v>0.16129898013955984</c:v>
                </c:pt>
                <c:pt idx="68">
                  <c:v>0.149209586945436</c:v>
                </c:pt>
                <c:pt idx="69">
                  <c:v>0.1345599340930935</c:v>
                </c:pt>
                <c:pt idx="70">
                  <c:v>0.12999611951882034</c:v>
                </c:pt>
                <c:pt idx="71">
                  <c:v>0.13277464973157</c:v>
                </c:pt>
                <c:pt idx="72">
                  <c:v>0.13692269076305222</c:v>
                </c:pt>
                <c:pt idx="73">
                  <c:v>0.13843606724401428</c:v>
                </c:pt>
                <c:pt idx="74">
                  <c:v>0.1334024090143764</c:v>
                </c:pt>
                <c:pt idx="75">
                  <c:v>0.12423124231242312</c:v>
                </c:pt>
                <c:pt idx="76">
                  <c:v>0.1265984654731458</c:v>
                </c:pt>
                <c:pt idx="77">
                  <c:v>0.12413903572000641</c:v>
                </c:pt>
                <c:pt idx="78">
                  <c:v>0.1281081081081081</c:v>
                </c:pt>
                <c:pt idx="79">
                  <c:v>0.12422018348623853</c:v>
                </c:pt>
                <c:pt idx="80">
                  <c:v>0.1149718028015281</c:v>
                </c:pt>
                <c:pt idx="81">
                  <c:v>0.11181403560394292</c:v>
                </c:pt>
                <c:pt idx="82">
                  <c:v>0.11991117690599556</c:v>
                </c:pt>
                <c:pt idx="83">
                  <c:v>0.11128921456377376</c:v>
                </c:pt>
                <c:pt idx="84">
                  <c:v>0.10470723306544202</c:v>
                </c:pt>
                <c:pt idx="85">
                  <c:v>0.09626110307787647</c:v>
                </c:pt>
                <c:pt idx="86">
                  <c:v>0.10553686142551238</c:v>
                </c:pt>
                <c:pt idx="87">
                  <c:v>0.13872750460535638</c:v>
                </c:pt>
                <c:pt idx="88">
                  <c:v>0.1283394447354636</c:v>
                </c:pt>
                <c:pt idx="89">
                  <c:v>0.1038374717832957</c:v>
                </c:pt>
                <c:pt idx="90">
                  <c:v>0.09375604098202203</c:v>
                </c:pt>
                <c:pt idx="91">
                  <c:v>0.11692364170337739</c:v>
                </c:pt>
                <c:pt idx="92">
                  <c:v>0.11284459254771281</c:v>
                </c:pt>
                <c:pt idx="93">
                  <c:v>0.0997663872474921</c:v>
                </c:pt>
                <c:pt idx="94">
                  <c:v>0.09807723380190661</c:v>
                </c:pt>
                <c:pt idx="95">
                  <c:v>0.11604618284637135</c:v>
                </c:pt>
                <c:pt idx="96">
                  <c:v>0.11735426438211927</c:v>
                </c:pt>
                <c:pt idx="97">
                  <c:v>0.11509605078736912</c:v>
                </c:pt>
                <c:pt idx="98">
                  <c:v>0.1338440413384404</c:v>
                </c:pt>
                <c:pt idx="99">
                  <c:v>0.12846264933700932</c:v>
                </c:pt>
                <c:pt idx="100">
                  <c:v>0.16684229012996135</c:v>
                </c:pt>
                <c:pt idx="101">
                  <c:v>0.12691529343740965</c:v>
                </c:pt>
                <c:pt idx="102">
                  <c:v>0.10615406684837182</c:v>
                </c:pt>
                <c:pt idx="103">
                  <c:v>0.12080640196983687</c:v>
                </c:pt>
                <c:pt idx="104">
                  <c:v>0.1377315785061614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64.1386</c:v>
                </c:pt>
                <c:pt idx="1">
                  <c:v>1484.823</c:v>
                </c:pt>
                <c:pt idx="2">
                  <c:v>1523.7021</c:v>
                </c:pt>
                <c:pt idx="3">
                  <c:v>1548.3225</c:v>
                </c:pt>
                <c:pt idx="4">
                  <c:v>1540.5525</c:v>
                </c:pt>
                <c:pt idx="5">
                  <c:v>1565.997</c:v>
                </c:pt>
                <c:pt idx="6">
                  <c:v>1489.9349</c:v>
                </c:pt>
                <c:pt idx="7">
                  <c:v>1424.1393</c:v>
                </c:pt>
                <c:pt idx="8">
                  <c:v>1528.7067</c:v>
                </c:pt>
                <c:pt idx="9">
                  <c:v>1367.4549</c:v>
                </c:pt>
                <c:pt idx="10">
                  <c:v>1375.1845</c:v>
                </c:pt>
                <c:pt idx="11">
                  <c:v>1519.5668</c:v>
                </c:pt>
                <c:pt idx="12">
                  <c:v>1506.1422</c:v>
                </c:pt>
                <c:pt idx="13">
                  <c:v>1404.5298</c:v>
                </c:pt>
                <c:pt idx="14">
                  <c:v>1518.3497</c:v>
                </c:pt>
                <c:pt idx="15">
                  <c:v>1427.008</c:v>
                </c:pt>
                <c:pt idx="16">
                  <c:v>1467.6968</c:v>
                </c:pt>
                <c:pt idx="17">
                  <c:v>1401.7245</c:v>
                </c:pt>
                <c:pt idx="18">
                  <c:v>1356.2709</c:v>
                </c:pt>
                <c:pt idx="19">
                  <c:v>1322.1065</c:v>
                </c:pt>
                <c:pt idx="20">
                  <c:v>1310.2031</c:v>
                </c:pt>
                <c:pt idx="21">
                  <c:v>1335.378</c:v>
                </c:pt>
                <c:pt idx="22">
                  <c:v>1360.2242</c:v>
                </c:pt>
                <c:pt idx="23">
                  <c:v>1177.1189</c:v>
                </c:pt>
                <c:pt idx="24">
                  <c:v>1153.3404</c:v>
                </c:pt>
                <c:pt idx="25">
                  <c:v>1160.1934</c:v>
                </c:pt>
                <c:pt idx="26">
                  <c:v>1195.3475</c:v>
                </c:pt>
                <c:pt idx="27">
                  <c:v>1353.4877</c:v>
                </c:pt>
                <c:pt idx="28">
                  <c:v>1483.9581</c:v>
                </c:pt>
                <c:pt idx="29">
                  <c:v>1483.4773</c:v>
                </c:pt>
                <c:pt idx="30">
                  <c:v>1526.8333</c:v>
                </c:pt>
                <c:pt idx="31">
                  <c:v>1504.0407</c:v>
                </c:pt>
                <c:pt idx="32">
                  <c:v>1520.2482</c:v>
                </c:pt>
                <c:pt idx="33">
                  <c:v>1547.463</c:v>
                </c:pt>
                <c:pt idx="34">
                  <c:v>1588.1573</c:v>
                </c:pt>
                <c:pt idx="35">
                  <c:v>1565.0665</c:v>
                </c:pt>
                <c:pt idx="36">
                  <c:v>1379.7953</c:v>
                </c:pt>
                <c:pt idx="37">
                  <c:v>1452.4555</c:v>
                </c:pt>
                <c:pt idx="38">
                  <c:v>1426.8873</c:v>
                </c:pt>
                <c:pt idx="39">
                  <c:v>1523.2745</c:v>
                </c:pt>
                <c:pt idx="40">
                  <c:v>1556.646</c:v>
                </c:pt>
                <c:pt idx="41">
                  <c:v>1579.3025</c:v>
                </c:pt>
                <c:pt idx="42">
                  <c:v>1585.2117</c:v>
                </c:pt>
                <c:pt idx="43">
                  <c:v>1543.5117</c:v>
                </c:pt>
                <c:pt idx="44">
                  <c:v>1492.4405</c:v>
                </c:pt>
                <c:pt idx="45">
                  <c:v>1446.6449</c:v>
                </c:pt>
                <c:pt idx="46">
                  <c:v>1422.8</c:v>
                </c:pt>
                <c:pt idx="47">
                  <c:v>1450.4487</c:v>
                </c:pt>
                <c:pt idx="48">
                  <c:v>1376.7436</c:v>
                </c:pt>
                <c:pt idx="49">
                  <c:v>1305.0429</c:v>
                </c:pt>
                <c:pt idx="50">
                  <c:v>1233.4253</c:v>
                </c:pt>
                <c:pt idx="51">
                  <c:v>1292.8735</c:v>
                </c:pt>
              </c:numCache>
            </c:numRef>
          </c:xVal>
          <c:yVal>
            <c:numRef>
              <c:f>Sheet1!$B$109:$B$160</c:f>
              <c:numCache>
                <c:formatCode>General</c:formatCode>
                <c:ptCount val="52"/>
                <c:pt idx="0">
                  <c:v>0.14336483321217997</c:v>
                </c:pt>
                <c:pt idx="1">
                  <c:v>0.12556862071925157</c:v>
                </c:pt>
                <c:pt idx="2">
                  <c:v>0.12529719448407037</c:v>
                </c:pt>
                <c:pt idx="3">
                  <c:v>0.12469530773918343</c:v>
                </c:pt>
                <c:pt idx="4">
                  <c:v>0.11146315703956454</c:v>
                </c:pt>
                <c:pt idx="5">
                  <c:v>0.10427997162449752</c:v>
                </c:pt>
                <c:pt idx="6">
                  <c:v>0.1140157202154906</c:v>
                </c:pt>
                <c:pt idx="7">
                  <c:v>0.11868263473053892</c:v>
                </c:pt>
                <c:pt idx="8">
                  <c:v>0.11646000486263068</c:v>
                </c:pt>
                <c:pt idx="9">
                  <c:v>0.13877505814597407</c:v>
                </c:pt>
                <c:pt idx="10">
                  <c:v>0.13127373498922304</c:v>
                </c:pt>
                <c:pt idx="11">
                  <c:v>0.1301484148590498</c:v>
                </c:pt>
                <c:pt idx="12">
                  <c:v>0.1295238095238095</c:v>
                </c:pt>
                <c:pt idx="13">
                  <c:v>0.1356489295549436</c:v>
                </c:pt>
                <c:pt idx="14">
                  <c:v>0.12824051256776736</c:v>
                </c:pt>
                <c:pt idx="15">
                  <c:v>0.12660419637400694</c:v>
                </c:pt>
                <c:pt idx="16">
                  <c:v>0.12258501864196136</c:v>
                </c:pt>
                <c:pt idx="17">
                  <c:v>0.11914942794406565</c:v>
                </c:pt>
                <c:pt idx="18">
                  <c:v>0.1174842380439797</c:v>
                </c:pt>
                <c:pt idx="19">
                  <c:v>0.12796027501909854</c:v>
                </c:pt>
                <c:pt idx="20">
                  <c:v>0.11959573273441887</c:v>
                </c:pt>
                <c:pt idx="21">
                  <c:v>0.11869860564890955</c:v>
                </c:pt>
                <c:pt idx="22">
                  <c:v>0.12056226347089566</c:v>
                </c:pt>
                <c:pt idx="23">
                  <c:v>0.14345403899721448</c:v>
                </c:pt>
                <c:pt idx="24">
                  <c:v>0.15373328985979784</c:v>
                </c:pt>
                <c:pt idx="25">
                  <c:v>0.16974358974358975</c:v>
                </c:pt>
                <c:pt idx="26">
                  <c:v>0.15250470165840316</c:v>
                </c:pt>
                <c:pt idx="27">
                  <c:v>0.11452776906181361</c:v>
                </c:pt>
                <c:pt idx="28">
                  <c:v>0.09462517680339462</c:v>
                </c:pt>
                <c:pt idx="29">
                  <c:v>0.08973487423521415</c:v>
                </c:pt>
                <c:pt idx="30">
                  <c:v>0.100355871886121</c:v>
                </c:pt>
                <c:pt idx="31">
                  <c:v>0.08408770871052103</c:v>
                </c:pt>
                <c:pt idx="32">
                  <c:v>0.07454643434524878</c:v>
                </c:pt>
                <c:pt idx="33">
                  <c:v>0.09710483725948571</c:v>
                </c:pt>
                <c:pt idx="34">
                  <c:v>0.12246913580246914</c:v>
                </c:pt>
                <c:pt idx="35">
                  <c:v>0.1352124183006536</c:v>
                </c:pt>
                <c:pt idx="36">
                  <c:v>0.1067675493905002</c:v>
                </c:pt>
                <c:pt idx="37">
                  <c:v>0.10979885587746817</c:v>
                </c:pt>
                <c:pt idx="38">
                  <c:v>0.10317625077849284</c:v>
                </c:pt>
                <c:pt idx="39">
                  <c:v>0.11921954217237671</c:v>
                </c:pt>
                <c:pt idx="40">
                  <c:v>0.10393300433677284</c:v>
                </c:pt>
                <c:pt idx="41">
                  <c:v>0.10541913632514818</c:v>
                </c:pt>
                <c:pt idx="42">
                  <c:v>0.10004638936137313</c:v>
                </c:pt>
                <c:pt idx="43">
                  <c:v>0.11023710529272952</c:v>
                </c:pt>
                <c:pt idx="44">
                  <c:v>0.10979367005881804</c:v>
                </c:pt>
                <c:pt idx="45">
                  <c:v>0.13148866348448687</c:v>
                </c:pt>
                <c:pt idx="46">
                  <c:v>0.118609783008459</c:v>
                </c:pt>
                <c:pt idx="47">
                  <c:v>0.12370311252992817</c:v>
                </c:pt>
                <c:pt idx="48">
                  <c:v>0.11707317073170732</c:v>
                </c:pt>
                <c:pt idx="49">
                  <c:v>0.12843571880937302</c:v>
                </c:pt>
                <c:pt idx="50">
                  <c:v>0.17207911871903026</c:v>
                </c:pt>
                <c:pt idx="51">
                  <c:v>0.141805527671819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91.9933293541437</c:v>
                </c:pt>
              </c:numCache>
            </c:numRef>
          </c:xVal>
          <c:yVal>
            <c:numRef>
              <c:f>Sheet1!$B$163:$B$164</c:f>
              <c:numCache>
                <c:formatCode>General</c:formatCode>
                <c:ptCount val="2"/>
                <c:pt idx="0">
                  <c:v>0.20043234483048536</c:v>
                </c:pt>
                <c:pt idx="1">
                  <c:v>0.2004323448304853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91.9933293541437</c:v>
                </c:pt>
                <c:pt idx="1">
                  <c:v>691.9933293541437</c:v>
                </c:pt>
              </c:numCache>
            </c:numRef>
          </c:xVal>
          <c:yVal>
            <c:numRef>
              <c:f>Sheet1!$B$167:$B$168</c:f>
              <c:numCache>
                <c:formatCode>General</c:formatCode>
                <c:ptCount val="2"/>
                <c:pt idx="0">
                  <c:v>0.200432344830485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56.8098863513553</c:v>
                </c:pt>
              </c:numCache>
            </c:numRef>
          </c:xVal>
          <c:yVal>
            <c:numRef>
              <c:f>Sheet1!$B$171:$B$172</c:f>
              <c:numCache>
                <c:formatCode>General</c:formatCode>
                <c:ptCount val="2"/>
                <c:pt idx="0">
                  <c:v>0.13984838398298255</c:v>
                </c:pt>
                <c:pt idx="1">
                  <c:v>0.1398483839829825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56.8098863513553</c:v>
                </c:pt>
                <c:pt idx="1">
                  <c:v>1256.8098863513553</c:v>
                </c:pt>
              </c:numCache>
            </c:numRef>
          </c:xVal>
          <c:yVal>
            <c:numRef>
              <c:f>Sheet1!$B$175:$B$176</c:f>
              <c:numCache>
                <c:formatCode>General</c:formatCode>
                <c:ptCount val="2"/>
                <c:pt idx="0">
                  <c:v>0.1398483839829825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26.188590753509</c:v>
                </c:pt>
              </c:numCache>
            </c:numRef>
          </c:xVal>
          <c:yVal>
            <c:numRef>
              <c:f>Sheet1!$B$179:$B$180</c:f>
              <c:numCache>
                <c:formatCode>General</c:formatCode>
                <c:ptCount val="2"/>
                <c:pt idx="0">
                  <c:v>0.12168030326938636</c:v>
                </c:pt>
                <c:pt idx="1">
                  <c:v>0.1216803032693863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26.188590753509</c:v>
                </c:pt>
                <c:pt idx="1">
                  <c:v>1426.188590753509</c:v>
                </c:pt>
              </c:numCache>
            </c:numRef>
          </c:xVal>
          <c:yVal>
            <c:numRef>
              <c:f>Sheet1!$B$183:$B$184</c:f>
              <c:numCache>
                <c:formatCode>General</c:formatCode>
                <c:ptCount val="2"/>
                <c:pt idx="0">
                  <c:v>0.121680303269386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64.1386</c:v>
                </c:pt>
                <c:pt idx="1">
                  <c:v>1484.823</c:v>
                </c:pt>
                <c:pt idx="2">
                  <c:v>1523.7021</c:v>
                </c:pt>
                <c:pt idx="3">
                  <c:v>1548.3225</c:v>
                </c:pt>
                <c:pt idx="4">
                  <c:v>1540.5525</c:v>
                </c:pt>
                <c:pt idx="5">
                  <c:v>1565.997</c:v>
                </c:pt>
                <c:pt idx="6">
                  <c:v>1489.9349</c:v>
                </c:pt>
                <c:pt idx="7">
                  <c:v>1424.1393</c:v>
                </c:pt>
                <c:pt idx="8">
                  <c:v>1528.7067</c:v>
                </c:pt>
                <c:pt idx="9">
                  <c:v>1367.4549</c:v>
                </c:pt>
                <c:pt idx="10">
                  <c:v>1375.1845</c:v>
                </c:pt>
                <c:pt idx="11">
                  <c:v>1519.5668</c:v>
                </c:pt>
                <c:pt idx="12">
                  <c:v>1506.1422</c:v>
                </c:pt>
                <c:pt idx="13">
                  <c:v>1404.5298</c:v>
                </c:pt>
                <c:pt idx="14">
                  <c:v>1518.3497</c:v>
                </c:pt>
                <c:pt idx="15">
                  <c:v>1427.008</c:v>
                </c:pt>
                <c:pt idx="16">
                  <c:v>1467.6968</c:v>
                </c:pt>
                <c:pt idx="17">
                  <c:v>1401.7245</c:v>
                </c:pt>
                <c:pt idx="18">
                  <c:v>1356.2709</c:v>
                </c:pt>
                <c:pt idx="19">
                  <c:v>1322.1065</c:v>
                </c:pt>
                <c:pt idx="20">
                  <c:v>1310.2031</c:v>
                </c:pt>
                <c:pt idx="21">
                  <c:v>1335.378</c:v>
                </c:pt>
                <c:pt idx="22">
                  <c:v>1360.2242</c:v>
                </c:pt>
                <c:pt idx="23">
                  <c:v>1177.1189</c:v>
                </c:pt>
                <c:pt idx="24">
                  <c:v>1153.3404</c:v>
                </c:pt>
                <c:pt idx="25">
                  <c:v>1160.1934</c:v>
                </c:pt>
                <c:pt idx="26">
                  <c:v>1195.3475</c:v>
                </c:pt>
                <c:pt idx="27">
                  <c:v>1353.4877</c:v>
                </c:pt>
                <c:pt idx="28">
                  <c:v>1483.9581</c:v>
                </c:pt>
                <c:pt idx="29">
                  <c:v>1483.4773</c:v>
                </c:pt>
                <c:pt idx="30">
                  <c:v>1526.8333</c:v>
                </c:pt>
                <c:pt idx="31">
                  <c:v>1504.0407</c:v>
                </c:pt>
                <c:pt idx="32">
                  <c:v>1520.2482</c:v>
                </c:pt>
                <c:pt idx="33">
                  <c:v>1547.463</c:v>
                </c:pt>
                <c:pt idx="34">
                  <c:v>1588.1573</c:v>
                </c:pt>
                <c:pt idx="35">
                  <c:v>1565.0665</c:v>
                </c:pt>
                <c:pt idx="36">
                  <c:v>1379.7953</c:v>
                </c:pt>
                <c:pt idx="37">
                  <c:v>1452.4555</c:v>
                </c:pt>
                <c:pt idx="38">
                  <c:v>1426.8873</c:v>
                </c:pt>
                <c:pt idx="39">
                  <c:v>1523.2745</c:v>
                </c:pt>
                <c:pt idx="40">
                  <c:v>1556.646</c:v>
                </c:pt>
                <c:pt idx="41">
                  <c:v>1579.3025</c:v>
                </c:pt>
                <c:pt idx="42">
                  <c:v>1585.2117</c:v>
                </c:pt>
                <c:pt idx="43">
                  <c:v>1543.5117</c:v>
                </c:pt>
                <c:pt idx="44">
                  <c:v>1492.4405</c:v>
                </c:pt>
                <c:pt idx="45">
                  <c:v>1446.6449</c:v>
                </c:pt>
                <c:pt idx="46">
                  <c:v>1422.8</c:v>
                </c:pt>
                <c:pt idx="47">
                  <c:v>1450.4487</c:v>
                </c:pt>
                <c:pt idx="48">
                  <c:v>1376.7436</c:v>
                </c:pt>
                <c:pt idx="49">
                  <c:v>1305.0429</c:v>
                </c:pt>
                <c:pt idx="50">
                  <c:v>1233.4253</c:v>
                </c:pt>
                <c:pt idx="51">
                  <c:v>1292.8735</c:v>
                </c:pt>
                <c:pt idx="52">
                  <c:v>1256.8098863513553</c:v>
                </c:pt>
                <c:pt idx="53">
                  <c:v>691.9933293541437</c:v>
                </c:pt>
                <c:pt idx="54">
                  <c:v>1426.188590753509</c:v>
                </c:pt>
              </c:numCache>
            </c:numRef>
          </c:xVal>
          <c:yVal>
            <c:numRef>
              <c:f>Sheet1!$B$187:$B$241</c:f>
              <c:numCache>
                <c:formatCode>General</c:formatCode>
                <c:ptCount val="55"/>
                <c:pt idx="0">
                  <c:v>0.11760966857238841</c:v>
                </c:pt>
                <c:pt idx="1">
                  <c:v>0.11539099621898521</c:v>
                </c:pt>
                <c:pt idx="2">
                  <c:v>0.11122070439059292</c:v>
                </c:pt>
                <c:pt idx="3">
                  <c:v>0.10857984457306244</c:v>
                </c:pt>
                <c:pt idx="4">
                  <c:v>0.10941327866764303</c:v>
                </c:pt>
                <c:pt idx="5">
                  <c:v>0.10668402334981086</c:v>
                </c:pt>
                <c:pt idx="6">
                  <c:v>0.11484267810468837</c:v>
                </c:pt>
                <c:pt idx="7">
                  <c:v>0.12190011649765961</c:v>
                </c:pt>
                <c:pt idx="8">
                  <c:v>0.11068389560426886</c:v>
                </c:pt>
                <c:pt idx="9">
                  <c:v>0.1279802595595443</c:v>
                </c:pt>
                <c:pt idx="10">
                  <c:v>0.12715115889320322</c:v>
                </c:pt>
                <c:pt idx="11">
                  <c:v>0.11166426938561469</c:v>
                </c:pt>
                <c:pt idx="12">
                  <c:v>0.11310423326542249</c:v>
                </c:pt>
                <c:pt idx="13">
                  <c:v>0.12400349177149206</c:v>
                </c:pt>
                <c:pt idx="14">
                  <c:v>0.11179481927448393</c:v>
                </c:pt>
                <c:pt idx="15">
                  <c:v>0.12159241091373127</c:v>
                </c:pt>
                <c:pt idx="16">
                  <c:v>0.11722800509808512</c:v>
                </c:pt>
                <c:pt idx="17">
                  <c:v>0.12430439687645048</c:v>
                </c:pt>
                <c:pt idx="18">
                  <c:v>0.12917988979297923</c:v>
                </c:pt>
                <c:pt idx="19">
                  <c:v>0.13284446840055825</c:v>
                </c:pt>
                <c:pt idx="20">
                  <c:v>0.13412126369031768</c:v>
                </c:pt>
                <c:pt idx="21">
                  <c:v>0.13142092649756903</c:v>
                </c:pt>
                <c:pt idx="22">
                  <c:v>0.12875584667765033</c:v>
                </c:pt>
                <c:pt idx="23">
                  <c:v>0.1483962842475869</c:v>
                </c:pt>
                <c:pt idx="24">
                  <c:v>0.15094683928207656</c:v>
                </c:pt>
                <c:pt idx="25">
                  <c:v>0.150211765427487</c:v>
                </c:pt>
                <c:pt idx="26">
                  <c:v>0.1464410285543473</c:v>
                </c:pt>
                <c:pt idx="27">
                  <c:v>0.12947842438397494</c:v>
                </c:pt>
                <c:pt idx="28">
                  <c:v>0.11548376805275648</c:v>
                </c:pt>
                <c:pt idx="29">
                  <c:v>0.11553534013932976</c:v>
                </c:pt>
                <c:pt idx="30">
                  <c:v>0.11088484224941522</c:v>
                </c:pt>
                <c:pt idx="31">
                  <c:v>0.1133296466180301</c:v>
                </c:pt>
                <c:pt idx="32">
                  <c:v>0.11159118032614915</c:v>
                </c:pt>
                <c:pt idx="33">
                  <c:v>0.10867203718622742</c:v>
                </c:pt>
                <c:pt idx="34">
                  <c:v>0.10430704142366745</c:v>
                </c:pt>
                <c:pt idx="35">
                  <c:v>0.1067838316413176</c:v>
                </c:pt>
                <c:pt idx="36">
                  <c:v>0.12665659030590695</c:v>
                </c:pt>
                <c:pt idx="37">
                  <c:v>0.11886283380667342</c:v>
                </c:pt>
                <c:pt idx="38">
                  <c:v>0.12160535756691221</c:v>
                </c:pt>
                <c:pt idx="39">
                  <c:v>0.11126657008156365</c:v>
                </c:pt>
                <c:pt idx="40">
                  <c:v>0.10768704036633894</c:v>
                </c:pt>
                <c:pt idx="41">
                  <c:v>0.10525683450226364</c:v>
                </c:pt>
                <c:pt idx="42">
                  <c:v>0.10462299553808144</c:v>
                </c:pt>
                <c:pt idx="43">
                  <c:v>0.10909586577540584</c:v>
                </c:pt>
                <c:pt idx="44">
                  <c:v>0.11457391974337808</c:v>
                </c:pt>
                <c:pt idx="45">
                  <c:v>0.11948609663163737</c:v>
                </c:pt>
                <c:pt idx="46">
                  <c:v>0.12204377393432267</c:v>
                </c:pt>
                <c:pt idx="47">
                  <c:v>0.11907808934605621</c:v>
                </c:pt>
                <c:pt idx="48">
                  <c:v>0.12698392503260342</c:v>
                </c:pt>
                <c:pt idx="49">
                  <c:v>0.1346747626111484</c:v>
                </c:pt>
                <c:pt idx="50">
                  <c:v>0.14235668662814127</c:v>
                </c:pt>
                <c:pt idx="51">
                  <c:v>0.13598008987892046</c:v>
                </c:pt>
                <c:pt idx="52">
                  <c:v>0.13984838398298255</c:v>
                </c:pt>
                <c:pt idx="53">
                  <c:v>0.20043234483048536</c:v>
                </c:pt>
                <c:pt idx="54">
                  <c:v>0.121680303269386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906.0"/>
          <c:min val="55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960087479496993"/>
          <c:min val="0.05963714747619902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3489588297385027</c:v>
                </c:pt>
                <c:pt idx="1">
                  <c:v>0.1458877531929647</c:v>
                </c:pt>
                <c:pt idx="2">
                  <c:v>0.1415885339442577</c:v>
                </c:pt>
                <c:pt idx="3">
                  <c:v>0.14825636109957988</c:v>
                </c:pt>
                <c:pt idx="4">
                  <c:v>0.14701021906517575</c:v>
                </c:pt>
                <c:pt idx="5">
                  <c:v>0.14406648177046416</c:v>
                </c:pt>
                <c:pt idx="6">
                  <c:v>0.15045384808036655</c:v>
                </c:pt>
                <c:pt idx="7">
                  <c:v>0.1458596718786392</c:v>
                </c:pt>
                <c:pt idx="8">
                  <c:v>0.14221554307091644</c:v>
                </c:pt>
                <c:pt idx="9">
                  <c:v>0.13200302707917053</c:v>
                </c:pt>
                <c:pt idx="10">
                  <c:v>0.11366563768542236</c:v>
                </c:pt>
                <c:pt idx="11">
                  <c:v>0.11323107393610307</c:v>
                </c:pt>
                <c:pt idx="12">
                  <c:v>0.11419144281726237</c:v>
                </c:pt>
                <c:pt idx="13">
                  <c:v>0.11506705549226894</c:v>
                </c:pt>
                <c:pt idx="14">
                  <c:v>0.1413373481667803</c:v>
                </c:pt>
                <c:pt idx="15">
                  <c:v>0.13662671647949304</c:v>
                </c:pt>
                <c:pt idx="16">
                  <c:v>0.13852593346944492</c:v>
                </c:pt>
                <c:pt idx="17">
                  <c:v>0.1437986163239971</c:v>
                </c:pt>
                <c:pt idx="18">
                  <c:v>0.14123360749494313</c:v>
                </c:pt>
                <c:pt idx="19">
                  <c:v>0.14434090707423092</c:v>
                </c:pt>
                <c:pt idx="20">
                  <c:v>0.15043724616175636</c:v>
                </c:pt>
                <c:pt idx="21">
                  <c:v>0.13373306389692208</c:v>
                </c:pt>
                <c:pt idx="22">
                  <c:v>0.12997465901974994</c:v>
                </c:pt>
                <c:pt idx="23">
                  <c:v>0.13751490155726592</c:v>
                </c:pt>
                <c:pt idx="24">
                  <c:v>0.13354752438275092</c:v>
                </c:pt>
                <c:pt idx="25">
                  <c:v>0.1332957263074636</c:v>
                </c:pt>
                <c:pt idx="26">
                  <c:v>0.14013536698820206</c:v>
                </c:pt>
                <c:pt idx="27">
                  <c:v>0.13606614386073762</c:v>
                </c:pt>
                <c:pt idx="28">
                  <c:v>0.13277025453132005</c:v>
                </c:pt>
                <c:pt idx="29">
                  <c:v>0.13629260165535825</c:v>
                </c:pt>
                <c:pt idx="30">
                  <c:v>0.13444722519502125</c:v>
                </c:pt>
                <c:pt idx="31">
                  <c:v>0.13180228745455824</c:v>
                </c:pt>
                <c:pt idx="32">
                  <c:v>0.13217671255499744</c:v>
                </c:pt>
                <c:pt idx="33">
                  <c:v>0.12908996963627922</c:v>
                </c:pt>
                <c:pt idx="34">
                  <c:v>0.13463998482255907</c:v>
                </c:pt>
                <c:pt idx="35">
                  <c:v>0.13895714601525366</c:v>
                </c:pt>
                <c:pt idx="36">
                  <c:v>0.14228760276143412</c:v>
                </c:pt>
                <c:pt idx="37">
                  <c:v>0.13959807905832</c:v>
                </c:pt>
                <c:pt idx="38">
                  <c:v>0.14229336549379015</c:v>
                </c:pt>
                <c:pt idx="39">
                  <c:v>0.1472609978850511</c:v>
                </c:pt>
                <c:pt idx="40">
                  <c:v>0.16101232090474085</c:v>
                </c:pt>
                <c:pt idx="41">
                  <c:v>0.15383598948338748</c:v>
                </c:pt>
                <c:pt idx="42">
                  <c:v>0.16101806926121404</c:v>
                </c:pt>
                <c:pt idx="43">
                  <c:v>0.16319273203517448</c:v>
                </c:pt>
                <c:pt idx="44">
                  <c:v>0.16904881245829737</c:v>
                </c:pt>
                <c:pt idx="45">
                  <c:v>0.1688012283643986</c:v>
                </c:pt>
                <c:pt idx="46">
                  <c:v>0.1664118106910946</c:v>
                </c:pt>
                <c:pt idx="47">
                  <c:v>0.16232378935819208</c:v>
                </c:pt>
                <c:pt idx="48">
                  <c:v>0.1563705942502981</c:v>
                </c:pt>
                <c:pt idx="49">
                  <c:v>0.16196505610881143</c:v>
                </c:pt>
                <c:pt idx="50">
                  <c:v>0.15323079249266292</c:v>
                </c:pt>
                <c:pt idx="51">
                  <c:v>0.14872778728794245</c:v>
                </c:pt>
                <c:pt idx="52">
                  <c:v>0.14536502021302286</c:v>
                </c:pt>
                <c:pt idx="53">
                  <c:v>0.1678190356571798</c:v>
                </c:pt>
                <c:pt idx="54">
                  <c:v>0.1653392251213011</c:v>
                </c:pt>
                <c:pt idx="55">
                  <c:v>0.1563506670602482</c:v>
                </c:pt>
                <c:pt idx="56">
                  <c:v>0.15546987737399492</c:v>
                </c:pt>
                <c:pt idx="57">
                  <c:v>0.16415909944297805</c:v>
                </c:pt>
                <c:pt idx="58">
                  <c:v>0.17306172197387887</c:v>
                </c:pt>
                <c:pt idx="59">
                  <c:v>0.18055325954368254</c:v>
                </c:pt>
                <c:pt idx="60">
                  <c:v>0.18382783045357287</c:v>
                </c:pt>
                <c:pt idx="61">
                  <c:v>0.1717757526971259</c:v>
                </c:pt>
                <c:pt idx="62">
                  <c:v>0.15510905472494424</c:v>
                </c:pt>
                <c:pt idx="63">
                  <c:v>0.1568687249060257</c:v>
                </c:pt>
                <c:pt idx="64">
                  <c:v>0.15146921601790414</c:v>
                </c:pt>
                <c:pt idx="65">
                  <c:v>0.15063360138148083</c:v>
                </c:pt>
                <c:pt idx="66">
                  <c:v>0.16169289636531448</c:v>
                </c:pt>
                <c:pt idx="67">
                  <c:v>0.15959088661381254</c:v>
                </c:pt>
                <c:pt idx="68">
                  <c:v>0.14951221578313686</c:v>
                </c:pt>
                <c:pt idx="69">
                  <c:v>0.15287042333938292</c:v>
                </c:pt>
                <c:pt idx="70">
                  <c:v>0.15311009783279722</c:v>
                </c:pt>
                <c:pt idx="71">
                  <c:v>0.15073650779786366</c:v>
                </c:pt>
                <c:pt idx="72">
                  <c:v>0.15660780977552255</c:v>
                </c:pt>
                <c:pt idx="73">
                  <c:v>0.1518819189941915</c:v>
                </c:pt>
                <c:pt idx="74">
                  <c:v>0.14728171521412087</c:v>
                </c:pt>
                <c:pt idx="75">
                  <c:v>0.14103843366799088</c:v>
                </c:pt>
                <c:pt idx="76">
                  <c:v>0.13613316441061188</c:v>
                </c:pt>
                <c:pt idx="77">
                  <c:v>0.13516226838286746</c:v>
                </c:pt>
                <c:pt idx="78">
                  <c:v>0.13735289537610226</c:v>
                </c:pt>
                <c:pt idx="79">
                  <c:v>0.13591920824797277</c:v>
                </c:pt>
                <c:pt idx="80">
                  <c:v>0.13956648332016064</c:v>
                </c:pt>
                <c:pt idx="81">
                  <c:v>0.14258776284365532</c:v>
                </c:pt>
                <c:pt idx="82">
                  <c:v>0.13914406387588588</c:v>
                </c:pt>
                <c:pt idx="83">
                  <c:v>0.13572980780978208</c:v>
                </c:pt>
                <c:pt idx="84">
                  <c:v>0.13914291516099353</c:v>
                </c:pt>
                <c:pt idx="85">
                  <c:v>0.1364360301947212</c:v>
                </c:pt>
                <c:pt idx="86">
                  <c:v>0.13712384379506412</c:v>
                </c:pt>
                <c:pt idx="87">
                  <c:v>0.13940044528466847</c:v>
                </c:pt>
                <c:pt idx="88">
                  <c:v>0.144875531884466</c:v>
                </c:pt>
                <c:pt idx="89">
                  <c:v>0.14936894024116984</c:v>
                </c:pt>
                <c:pt idx="90">
                  <c:v>0.14047182728210877</c:v>
                </c:pt>
                <c:pt idx="91">
                  <c:v>0.14684050231678972</c:v>
                </c:pt>
                <c:pt idx="92">
                  <c:v>0.15155368005952824</c:v>
                </c:pt>
                <c:pt idx="93">
                  <c:v>0.14850084893199142</c:v>
                </c:pt>
                <c:pt idx="94">
                  <c:v>0.14292023169066323</c:v>
                </c:pt>
                <c:pt idx="95">
                  <c:v>0.14573877147047104</c:v>
                </c:pt>
                <c:pt idx="96">
                  <c:v>0.1398188217363398</c:v>
                </c:pt>
                <c:pt idx="97">
                  <c:v>0.15092994899779105</c:v>
                </c:pt>
                <c:pt idx="98">
                  <c:v>0.1487780731617026</c:v>
                </c:pt>
                <c:pt idx="99">
                  <c:v>0.1534901648730154</c:v>
                </c:pt>
                <c:pt idx="100">
                  <c:v>0.15082077796442248</c:v>
                </c:pt>
                <c:pt idx="101">
                  <c:v>0.15333884826101699</c:v>
                </c:pt>
                <c:pt idx="102">
                  <c:v>0.15407068605838758</c:v>
                </c:pt>
                <c:pt idx="103">
                  <c:v>0.14297250695620406</c:v>
                </c:pt>
                <c:pt idx="104">
                  <c:v>0.13909728906248361</c:v>
                </c:pt>
              </c:numCache>
            </c:numRef>
          </c:xVal>
          <c:yVal>
            <c:numRef>
              <c:f>Sheet1!$B$2:$B$106</c:f>
              <c:numCache>
                <c:formatCode>General</c:formatCode>
                <c:ptCount val="105"/>
                <c:pt idx="0">
                  <c:v>0.22448371723590152</c:v>
                </c:pt>
                <c:pt idx="1">
                  <c:v>0.24133406232914162</c:v>
                </c:pt>
                <c:pt idx="2">
                  <c:v>0.23332979963956324</c:v>
                </c:pt>
                <c:pt idx="3">
                  <c:v>0.23139421514462138</c:v>
                </c:pt>
                <c:pt idx="4">
                  <c:v>0.19582013932868905</c:v>
                </c:pt>
                <c:pt idx="5">
                  <c:v>0.17259762761562042</c:v>
                </c:pt>
                <c:pt idx="6">
                  <c:v>0.16975070675918788</c:v>
                </c:pt>
                <c:pt idx="7">
                  <c:v>0.15738773197336733</c:v>
                </c:pt>
                <c:pt idx="8">
                  <c:v>0.17779310344827587</c:v>
                </c:pt>
                <c:pt idx="9">
                  <c:v>0.17002608489447474</c:v>
                </c:pt>
                <c:pt idx="10">
                  <c:v>0.1884892086330935</c:v>
                </c:pt>
                <c:pt idx="11">
                  <c:v>0.19222038794882376</c:v>
                </c:pt>
                <c:pt idx="12">
                  <c:v>0.20531622364802934</c:v>
                </c:pt>
                <c:pt idx="13">
                  <c:v>0.20160450093769536</c:v>
                </c:pt>
                <c:pt idx="14">
                  <c:v>0.2092632051138275</c:v>
                </c:pt>
                <c:pt idx="15">
                  <c:v>0.20393467918220393</c:v>
                </c:pt>
                <c:pt idx="16">
                  <c:v>0.18072637823759224</c:v>
                </c:pt>
                <c:pt idx="17">
                  <c:v>0.1883616543764027</c:v>
                </c:pt>
                <c:pt idx="18">
                  <c:v>0.17104289940828402</c:v>
                </c:pt>
                <c:pt idx="19">
                  <c:v>0.15219611848825332</c:v>
                </c:pt>
                <c:pt idx="20">
                  <c:v>0.17140454163162322</c:v>
                </c:pt>
                <c:pt idx="21">
                  <c:v>0.15215292527514965</c:v>
                </c:pt>
                <c:pt idx="22">
                  <c:v>0.14718339686573487</c:v>
                </c:pt>
                <c:pt idx="23">
                  <c:v>0.1319324090121317</c:v>
                </c:pt>
                <c:pt idx="24">
                  <c:v>0.13997555012224938</c:v>
                </c:pt>
                <c:pt idx="25">
                  <c:v>0.13502398903358465</c:v>
                </c:pt>
                <c:pt idx="26">
                  <c:v>0.13708920187793427</c:v>
                </c:pt>
                <c:pt idx="27">
                  <c:v>0.14551024315527475</c:v>
                </c:pt>
                <c:pt idx="28">
                  <c:v>0.13824264564506825</c:v>
                </c:pt>
                <c:pt idx="29">
                  <c:v>0.12891566265060242</c:v>
                </c:pt>
                <c:pt idx="30">
                  <c:v>0.1285806590566444</c:v>
                </c:pt>
                <c:pt idx="31">
                  <c:v>0.11854561101549053</c:v>
                </c:pt>
                <c:pt idx="32">
                  <c:v>0.12651531849239586</c:v>
                </c:pt>
                <c:pt idx="33">
                  <c:v>0.12749762131303521</c:v>
                </c:pt>
                <c:pt idx="34">
                  <c:v>0.13592741231896702</c:v>
                </c:pt>
                <c:pt idx="35">
                  <c:v>0.16326530612244897</c:v>
                </c:pt>
                <c:pt idx="36">
                  <c:v>0.1483993061031383</c:v>
                </c:pt>
                <c:pt idx="37">
                  <c:v>0.13065134099616857</c:v>
                </c:pt>
                <c:pt idx="38">
                  <c:v>0.12106135986733002</c:v>
                </c:pt>
                <c:pt idx="39">
                  <c:v>0.11412268188302425</c:v>
                </c:pt>
                <c:pt idx="40">
                  <c:v>0.12351464435146443</c:v>
                </c:pt>
                <c:pt idx="41">
                  <c:v>0.11146025878003697</c:v>
                </c:pt>
                <c:pt idx="42">
                  <c:v>0.1186148542776559</c:v>
                </c:pt>
                <c:pt idx="43">
                  <c:v>0.12918266593527153</c:v>
                </c:pt>
                <c:pt idx="44">
                  <c:v>0.12321068815608101</c:v>
                </c:pt>
                <c:pt idx="45">
                  <c:v>0.12288388767177853</c:v>
                </c:pt>
                <c:pt idx="46">
                  <c:v>0.12596350863498879</c:v>
                </c:pt>
                <c:pt idx="47">
                  <c:v>0.12216108054027014</c:v>
                </c:pt>
                <c:pt idx="48">
                  <c:v>0.14051724137931035</c:v>
                </c:pt>
                <c:pt idx="49">
                  <c:v>0.15955766192733017</c:v>
                </c:pt>
                <c:pt idx="50">
                  <c:v>0.13523473802275277</c:v>
                </c:pt>
                <c:pt idx="51">
                  <c:v>0.1332080873143675</c:v>
                </c:pt>
                <c:pt idx="52">
                  <c:v>0.15420489296636086</c:v>
                </c:pt>
                <c:pt idx="53">
                  <c:v>0.13901018922852984</c:v>
                </c:pt>
                <c:pt idx="54">
                  <c:v>0.12896668548842463</c:v>
                </c:pt>
                <c:pt idx="55">
                  <c:v>0.13509353540137342</c:v>
                </c:pt>
                <c:pt idx="56">
                  <c:v>0.1511111111111111</c:v>
                </c:pt>
                <c:pt idx="57">
                  <c:v>0.13788172811765909</c:v>
                </c:pt>
                <c:pt idx="58">
                  <c:v>0.13929468688936447</c:v>
                </c:pt>
                <c:pt idx="59">
                  <c:v>0.14055045871559632</c:v>
                </c:pt>
                <c:pt idx="60">
                  <c:v>0.13874262513480937</c:v>
                </c:pt>
                <c:pt idx="61">
                  <c:v>0.13651385475807135</c:v>
                </c:pt>
                <c:pt idx="62">
                  <c:v>0.15360724110391338</c:v>
                </c:pt>
                <c:pt idx="63">
                  <c:v>0.17145026575550493</c:v>
                </c:pt>
                <c:pt idx="64">
                  <c:v>0.1735080058224163</c:v>
                </c:pt>
                <c:pt idx="65">
                  <c:v>0.17927461139896372</c:v>
                </c:pt>
                <c:pt idx="66">
                  <c:v>0.16198160680201285</c:v>
                </c:pt>
                <c:pt idx="67">
                  <c:v>0.16129898013955984</c:v>
                </c:pt>
                <c:pt idx="68">
                  <c:v>0.149209586945436</c:v>
                </c:pt>
                <c:pt idx="69">
                  <c:v>0.1345599340930935</c:v>
                </c:pt>
                <c:pt idx="70">
                  <c:v>0.12999611951882034</c:v>
                </c:pt>
                <c:pt idx="71">
                  <c:v>0.13277464973157</c:v>
                </c:pt>
                <c:pt idx="72">
                  <c:v>0.13692269076305222</c:v>
                </c:pt>
                <c:pt idx="73">
                  <c:v>0.13843606724401428</c:v>
                </c:pt>
                <c:pt idx="74">
                  <c:v>0.1334024090143764</c:v>
                </c:pt>
                <c:pt idx="75">
                  <c:v>0.12423124231242312</c:v>
                </c:pt>
                <c:pt idx="76">
                  <c:v>0.1265984654731458</c:v>
                </c:pt>
                <c:pt idx="77">
                  <c:v>0.12413903572000641</c:v>
                </c:pt>
                <c:pt idx="78">
                  <c:v>0.1281081081081081</c:v>
                </c:pt>
                <c:pt idx="79">
                  <c:v>0.12422018348623853</c:v>
                </c:pt>
                <c:pt idx="80">
                  <c:v>0.1149718028015281</c:v>
                </c:pt>
                <c:pt idx="81">
                  <c:v>0.11181403560394292</c:v>
                </c:pt>
                <c:pt idx="82">
                  <c:v>0.11991117690599556</c:v>
                </c:pt>
                <c:pt idx="83">
                  <c:v>0.11128921456377376</c:v>
                </c:pt>
                <c:pt idx="84">
                  <c:v>0.10470723306544202</c:v>
                </c:pt>
                <c:pt idx="85">
                  <c:v>0.09626110307787647</c:v>
                </c:pt>
                <c:pt idx="86">
                  <c:v>0.10553686142551238</c:v>
                </c:pt>
                <c:pt idx="87">
                  <c:v>0.13872750460535638</c:v>
                </c:pt>
                <c:pt idx="88">
                  <c:v>0.1283394447354636</c:v>
                </c:pt>
                <c:pt idx="89">
                  <c:v>0.1038374717832957</c:v>
                </c:pt>
                <c:pt idx="90">
                  <c:v>0.09375604098202203</c:v>
                </c:pt>
                <c:pt idx="91">
                  <c:v>0.11692364170337739</c:v>
                </c:pt>
                <c:pt idx="92">
                  <c:v>0.11284459254771281</c:v>
                </c:pt>
                <c:pt idx="93">
                  <c:v>0.0997663872474921</c:v>
                </c:pt>
                <c:pt idx="94">
                  <c:v>0.09807723380190661</c:v>
                </c:pt>
                <c:pt idx="95">
                  <c:v>0.11604618284637135</c:v>
                </c:pt>
                <c:pt idx="96">
                  <c:v>0.11735426438211927</c:v>
                </c:pt>
                <c:pt idx="97">
                  <c:v>0.11509605078736912</c:v>
                </c:pt>
                <c:pt idx="98">
                  <c:v>0.1338440413384404</c:v>
                </c:pt>
                <c:pt idx="99">
                  <c:v>0.12846264933700932</c:v>
                </c:pt>
                <c:pt idx="100">
                  <c:v>0.16684229012996135</c:v>
                </c:pt>
                <c:pt idx="101">
                  <c:v>0.12691529343740965</c:v>
                </c:pt>
                <c:pt idx="102">
                  <c:v>0.10615406684837182</c:v>
                </c:pt>
                <c:pt idx="103">
                  <c:v>0.12080640196983687</c:v>
                </c:pt>
                <c:pt idx="104">
                  <c:v>0.1377315785061614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5456990161121337</c:v>
                </c:pt>
                <c:pt idx="1">
                  <c:v>0.1656575838709135</c:v>
                </c:pt>
                <c:pt idx="2">
                  <c:v>0.17049097068777855</c:v>
                </c:pt>
                <c:pt idx="3">
                  <c:v>0.17372247199973406</c:v>
                </c:pt>
                <c:pt idx="4">
                  <c:v>0.17414816387112714</c:v>
                </c:pt>
                <c:pt idx="5">
                  <c:v>0.16603494630938015</c:v>
                </c:pt>
                <c:pt idx="6">
                  <c:v>0.15376199703001403</c:v>
                </c:pt>
                <c:pt idx="7">
                  <c:v>0.14245693489950748</c:v>
                </c:pt>
                <c:pt idx="8">
                  <c:v>0.15225741519594452</c:v>
                </c:pt>
                <c:pt idx="9">
                  <c:v>0.13879125083064356</c:v>
                </c:pt>
                <c:pt idx="10">
                  <c:v>0.1429729183035303</c:v>
                </c:pt>
                <c:pt idx="11">
                  <c:v>0.16403261690806917</c:v>
                </c:pt>
                <c:pt idx="12">
                  <c:v>0.16121776555226436</c:v>
                </c:pt>
                <c:pt idx="13">
                  <c:v>0.14495119386835092</c:v>
                </c:pt>
                <c:pt idx="14">
                  <c:v>0.15849443379463798</c:v>
                </c:pt>
                <c:pt idx="15">
                  <c:v>0.14501481149811218</c:v>
                </c:pt>
                <c:pt idx="16">
                  <c:v>0.1515263872571946</c:v>
                </c:pt>
                <c:pt idx="17">
                  <c:v>0.14427918828796668</c:v>
                </c:pt>
                <c:pt idx="18">
                  <c:v>0.13560590428957284</c:v>
                </c:pt>
                <c:pt idx="19">
                  <c:v>0.13282065942717095</c:v>
                </c:pt>
                <c:pt idx="20">
                  <c:v>0.12860516796220214</c:v>
                </c:pt>
                <c:pt idx="21">
                  <c:v>0.1278170586725571</c:v>
                </c:pt>
                <c:pt idx="22">
                  <c:v>0.1404940331793449</c:v>
                </c:pt>
                <c:pt idx="23">
                  <c:v>0.11550840205380865</c:v>
                </c:pt>
                <c:pt idx="24">
                  <c:v>0.1091822801577297</c:v>
                </c:pt>
                <c:pt idx="25">
                  <c:v>0.11409785454295554</c:v>
                </c:pt>
                <c:pt idx="26">
                  <c:v>0.112615005022912</c:v>
                </c:pt>
                <c:pt idx="27">
                  <c:v>0.13515797559533058</c:v>
                </c:pt>
                <c:pt idx="28">
                  <c:v>0.14694032202821394</c:v>
                </c:pt>
                <c:pt idx="29">
                  <c:v>0.14613735860981888</c:v>
                </c:pt>
                <c:pt idx="30">
                  <c:v>0.14739548883297418</c:v>
                </c:pt>
                <c:pt idx="31">
                  <c:v>0.13940419000951687</c:v>
                </c:pt>
                <c:pt idx="32">
                  <c:v>0.1390954703946755</c:v>
                </c:pt>
                <c:pt idx="33">
                  <c:v>0.1492575851480146</c:v>
                </c:pt>
                <c:pt idx="34">
                  <c:v>0.15856340329942753</c:v>
                </c:pt>
                <c:pt idx="35">
                  <c:v>0.15241443965439794</c:v>
                </c:pt>
                <c:pt idx="36">
                  <c:v>0.12463808492523694</c:v>
                </c:pt>
                <c:pt idx="37">
                  <c:v>0.13198768410403855</c:v>
                </c:pt>
                <c:pt idx="38">
                  <c:v>0.13054782174231155</c:v>
                </c:pt>
                <c:pt idx="39">
                  <c:v>0.14629581684152446</c:v>
                </c:pt>
                <c:pt idx="40">
                  <c:v>0.1531773762264283</c:v>
                </c:pt>
                <c:pt idx="41">
                  <c:v>0.15455926452728785</c:v>
                </c:pt>
                <c:pt idx="42">
                  <c:v>0.15383329269668444</c:v>
                </c:pt>
                <c:pt idx="43">
                  <c:v>0.15857229960072858</c:v>
                </c:pt>
                <c:pt idx="44">
                  <c:v>0.1608158850749754</c:v>
                </c:pt>
                <c:pt idx="45">
                  <c:v>0.16538652143286087</c:v>
                </c:pt>
                <c:pt idx="46">
                  <c:v>0.15538088323264226</c:v>
                </c:pt>
                <c:pt idx="47">
                  <c:v>0.15832371941625784</c:v>
                </c:pt>
                <c:pt idx="48">
                  <c:v>0.15581171808933736</c:v>
                </c:pt>
                <c:pt idx="49">
                  <c:v>0.14830559776475694</c:v>
                </c:pt>
                <c:pt idx="50">
                  <c:v>0.15168049104610945</c:v>
                </c:pt>
                <c:pt idx="51">
                  <c:v>0.14163357104978075</c:v>
                </c:pt>
              </c:numCache>
            </c:numRef>
          </c:xVal>
          <c:yVal>
            <c:numRef>
              <c:f>Sheet1!$B$109:$B$160</c:f>
              <c:numCache>
                <c:formatCode>General</c:formatCode>
                <c:ptCount val="52"/>
                <c:pt idx="0">
                  <c:v>0.14336483321217997</c:v>
                </c:pt>
                <c:pt idx="1">
                  <c:v>0.12556862071925157</c:v>
                </c:pt>
                <c:pt idx="2">
                  <c:v>0.12529719448407037</c:v>
                </c:pt>
                <c:pt idx="3">
                  <c:v>0.12469530773918343</c:v>
                </c:pt>
                <c:pt idx="4">
                  <c:v>0.11146315703956454</c:v>
                </c:pt>
                <c:pt idx="5">
                  <c:v>0.10427997162449752</c:v>
                </c:pt>
                <c:pt idx="6">
                  <c:v>0.1140157202154906</c:v>
                </c:pt>
                <c:pt idx="7">
                  <c:v>0.11868263473053892</c:v>
                </c:pt>
                <c:pt idx="8">
                  <c:v>0.11646000486263068</c:v>
                </c:pt>
                <c:pt idx="9">
                  <c:v>0.13877505814597407</c:v>
                </c:pt>
                <c:pt idx="10">
                  <c:v>0.13127373498922304</c:v>
                </c:pt>
                <c:pt idx="11">
                  <c:v>0.1301484148590498</c:v>
                </c:pt>
                <c:pt idx="12">
                  <c:v>0.1295238095238095</c:v>
                </c:pt>
                <c:pt idx="13">
                  <c:v>0.1356489295549436</c:v>
                </c:pt>
                <c:pt idx="14">
                  <c:v>0.12824051256776736</c:v>
                </c:pt>
                <c:pt idx="15">
                  <c:v>0.12660419637400694</c:v>
                </c:pt>
                <c:pt idx="16">
                  <c:v>0.12258501864196136</c:v>
                </c:pt>
                <c:pt idx="17">
                  <c:v>0.11914942794406565</c:v>
                </c:pt>
                <c:pt idx="18">
                  <c:v>0.1174842380439797</c:v>
                </c:pt>
                <c:pt idx="19">
                  <c:v>0.12796027501909854</c:v>
                </c:pt>
                <c:pt idx="20">
                  <c:v>0.11959573273441887</c:v>
                </c:pt>
                <c:pt idx="21">
                  <c:v>0.11869860564890955</c:v>
                </c:pt>
                <c:pt idx="22">
                  <c:v>0.12056226347089566</c:v>
                </c:pt>
                <c:pt idx="23">
                  <c:v>0.14345403899721448</c:v>
                </c:pt>
                <c:pt idx="24">
                  <c:v>0.15373328985979784</c:v>
                </c:pt>
                <c:pt idx="25">
                  <c:v>0.16974358974358975</c:v>
                </c:pt>
                <c:pt idx="26">
                  <c:v>0.15250470165840316</c:v>
                </c:pt>
                <c:pt idx="27">
                  <c:v>0.11452776906181361</c:v>
                </c:pt>
                <c:pt idx="28">
                  <c:v>0.09462517680339462</c:v>
                </c:pt>
                <c:pt idx="29">
                  <c:v>0.08973487423521415</c:v>
                </c:pt>
                <c:pt idx="30">
                  <c:v>0.100355871886121</c:v>
                </c:pt>
                <c:pt idx="31">
                  <c:v>0.08408770871052103</c:v>
                </c:pt>
                <c:pt idx="32">
                  <c:v>0.07454643434524878</c:v>
                </c:pt>
                <c:pt idx="33">
                  <c:v>0.09710483725948571</c:v>
                </c:pt>
                <c:pt idx="34">
                  <c:v>0.12246913580246914</c:v>
                </c:pt>
                <c:pt idx="35">
                  <c:v>0.1352124183006536</c:v>
                </c:pt>
                <c:pt idx="36">
                  <c:v>0.1067675493905002</c:v>
                </c:pt>
                <c:pt idx="37">
                  <c:v>0.10979885587746817</c:v>
                </c:pt>
                <c:pt idx="38">
                  <c:v>0.10317625077849284</c:v>
                </c:pt>
                <c:pt idx="39">
                  <c:v>0.11921954217237671</c:v>
                </c:pt>
                <c:pt idx="40">
                  <c:v>0.10393300433677284</c:v>
                </c:pt>
                <c:pt idx="41">
                  <c:v>0.10541913632514818</c:v>
                </c:pt>
                <c:pt idx="42">
                  <c:v>0.10004638936137313</c:v>
                </c:pt>
                <c:pt idx="43">
                  <c:v>0.11023710529272952</c:v>
                </c:pt>
                <c:pt idx="44">
                  <c:v>0.10979367005881804</c:v>
                </c:pt>
                <c:pt idx="45">
                  <c:v>0.13148866348448687</c:v>
                </c:pt>
                <c:pt idx="46">
                  <c:v>0.118609783008459</c:v>
                </c:pt>
                <c:pt idx="47">
                  <c:v>0.12370311252992817</c:v>
                </c:pt>
                <c:pt idx="48">
                  <c:v>0.11707317073170732</c:v>
                </c:pt>
                <c:pt idx="49">
                  <c:v>0.12843571880937302</c:v>
                </c:pt>
                <c:pt idx="50">
                  <c:v>0.17207911871903026</c:v>
                </c:pt>
                <c:pt idx="51">
                  <c:v>0.141805527671819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2977198975474974</c:v>
                </c:pt>
              </c:numCache>
            </c:numRef>
          </c:xVal>
          <c:yVal>
            <c:numRef>
              <c:f>Sheet1!$B$163:$B$164</c:f>
              <c:numCache>
                <c:formatCode>General</c:formatCode>
                <c:ptCount val="2"/>
                <c:pt idx="0">
                  <c:v>0.20043234483048536</c:v>
                </c:pt>
                <c:pt idx="1">
                  <c:v>0.2004323448304853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2977198975474974</c:v>
                </c:pt>
                <c:pt idx="1">
                  <c:v>-0.12977198975474974</c:v>
                </c:pt>
              </c:numCache>
            </c:numRef>
          </c:xVal>
          <c:yVal>
            <c:numRef>
              <c:f>Sheet1!$B$167:$B$168</c:f>
              <c:numCache>
                <c:formatCode>General</c:formatCode>
                <c:ptCount val="2"/>
                <c:pt idx="0">
                  <c:v>0.2004323448304853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064811034495893</c:v>
                </c:pt>
              </c:numCache>
            </c:numRef>
          </c:xVal>
          <c:yVal>
            <c:numRef>
              <c:f>Sheet1!$B$171:$B$172</c:f>
              <c:numCache>
                <c:formatCode>General</c:formatCode>
                <c:ptCount val="2"/>
                <c:pt idx="0">
                  <c:v>0.13984838398298255</c:v>
                </c:pt>
                <c:pt idx="1">
                  <c:v>0.1398483839829825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064811034495893</c:v>
                </c:pt>
                <c:pt idx="1">
                  <c:v>0.08064811034495893</c:v>
                </c:pt>
              </c:numCache>
            </c:numRef>
          </c:xVal>
          <c:yVal>
            <c:numRef>
              <c:f>Sheet1!$B$175:$B$176</c:f>
              <c:numCache>
                <c:formatCode>General</c:formatCode>
                <c:ptCount val="2"/>
                <c:pt idx="0">
                  <c:v>0.1398483839829825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4374945447789328</c:v>
                </c:pt>
              </c:numCache>
            </c:numRef>
          </c:xVal>
          <c:yVal>
            <c:numRef>
              <c:f>Sheet1!$B$179:$B$180</c:f>
              <c:numCache>
                <c:formatCode>General</c:formatCode>
                <c:ptCount val="2"/>
                <c:pt idx="0">
                  <c:v>0.12168030326938636</c:v>
                </c:pt>
                <c:pt idx="1">
                  <c:v>0.1216803032693863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4374945447789328</c:v>
                </c:pt>
                <c:pt idx="1">
                  <c:v>0.14374945447789328</c:v>
                </c:pt>
              </c:numCache>
            </c:numRef>
          </c:xVal>
          <c:yVal>
            <c:numRef>
              <c:f>Sheet1!$B$183:$B$184</c:f>
              <c:numCache>
                <c:formatCode>General</c:formatCode>
                <c:ptCount val="2"/>
                <c:pt idx="0">
                  <c:v>0.121680303269386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5456990161121337</c:v>
                </c:pt>
                <c:pt idx="1">
                  <c:v>0.1656575838709135</c:v>
                </c:pt>
                <c:pt idx="2">
                  <c:v>0.17049097068777855</c:v>
                </c:pt>
                <c:pt idx="3">
                  <c:v>0.17372247199973406</c:v>
                </c:pt>
                <c:pt idx="4">
                  <c:v>0.17414816387112714</c:v>
                </c:pt>
                <c:pt idx="5">
                  <c:v>0.16603494630938015</c:v>
                </c:pt>
                <c:pt idx="6">
                  <c:v>0.15376199703001403</c:v>
                </c:pt>
                <c:pt idx="7">
                  <c:v>0.14245693489950748</c:v>
                </c:pt>
                <c:pt idx="8">
                  <c:v>0.15225741519594452</c:v>
                </c:pt>
                <c:pt idx="9">
                  <c:v>0.13879125083064356</c:v>
                </c:pt>
                <c:pt idx="10">
                  <c:v>0.1429729183035303</c:v>
                </c:pt>
                <c:pt idx="11">
                  <c:v>0.16403261690806917</c:v>
                </c:pt>
                <c:pt idx="12">
                  <c:v>0.16121776555226436</c:v>
                </c:pt>
                <c:pt idx="13">
                  <c:v>0.14495119386835092</c:v>
                </c:pt>
                <c:pt idx="14">
                  <c:v>0.15849443379463798</c:v>
                </c:pt>
                <c:pt idx="15">
                  <c:v>0.14501481149811218</c:v>
                </c:pt>
                <c:pt idx="16">
                  <c:v>0.1515263872571946</c:v>
                </c:pt>
                <c:pt idx="17">
                  <c:v>0.14427918828796668</c:v>
                </c:pt>
                <c:pt idx="18">
                  <c:v>0.13560590428957284</c:v>
                </c:pt>
                <c:pt idx="19">
                  <c:v>0.13282065942717095</c:v>
                </c:pt>
                <c:pt idx="20">
                  <c:v>0.12860516796220214</c:v>
                </c:pt>
                <c:pt idx="21">
                  <c:v>0.1278170586725571</c:v>
                </c:pt>
                <c:pt idx="22">
                  <c:v>0.1404940331793449</c:v>
                </c:pt>
                <c:pt idx="23">
                  <c:v>0.11550840205380865</c:v>
                </c:pt>
                <c:pt idx="24">
                  <c:v>0.1091822801577297</c:v>
                </c:pt>
                <c:pt idx="25">
                  <c:v>0.11409785454295554</c:v>
                </c:pt>
                <c:pt idx="26">
                  <c:v>0.112615005022912</c:v>
                </c:pt>
                <c:pt idx="27">
                  <c:v>0.13515797559533058</c:v>
                </c:pt>
                <c:pt idx="28">
                  <c:v>0.14694032202821394</c:v>
                </c:pt>
                <c:pt idx="29">
                  <c:v>0.14613735860981888</c:v>
                </c:pt>
                <c:pt idx="30">
                  <c:v>0.14739548883297418</c:v>
                </c:pt>
                <c:pt idx="31">
                  <c:v>0.13940419000951687</c:v>
                </c:pt>
                <c:pt idx="32">
                  <c:v>0.1390954703946755</c:v>
                </c:pt>
                <c:pt idx="33">
                  <c:v>0.1492575851480146</c:v>
                </c:pt>
                <c:pt idx="34">
                  <c:v>0.15856340329942753</c:v>
                </c:pt>
                <c:pt idx="35">
                  <c:v>0.15241443965439794</c:v>
                </c:pt>
                <c:pt idx="36">
                  <c:v>0.12463808492523694</c:v>
                </c:pt>
                <c:pt idx="37">
                  <c:v>0.13198768410403855</c:v>
                </c:pt>
                <c:pt idx="38">
                  <c:v>0.13054782174231155</c:v>
                </c:pt>
                <c:pt idx="39">
                  <c:v>0.14629581684152446</c:v>
                </c:pt>
                <c:pt idx="40">
                  <c:v>0.1531773762264283</c:v>
                </c:pt>
                <c:pt idx="41">
                  <c:v>0.15455926452728785</c:v>
                </c:pt>
                <c:pt idx="42">
                  <c:v>0.15383329269668444</c:v>
                </c:pt>
                <c:pt idx="43">
                  <c:v>0.15857229960072858</c:v>
                </c:pt>
                <c:pt idx="44">
                  <c:v>0.1608158850749754</c:v>
                </c:pt>
                <c:pt idx="45">
                  <c:v>0.16538652143286087</c:v>
                </c:pt>
                <c:pt idx="46">
                  <c:v>0.15538088323264226</c:v>
                </c:pt>
                <c:pt idx="47">
                  <c:v>0.15832371941625784</c:v>
                </c:pt>
                <c:pt idx="48">
                  <c:v>0.15581171808933736</c:v>
                </c:pt>
                <c:pt idx="49">
                  <c:v>0.14830559776475694</c:v>
                </c:pt>
                <c:pt idx="50">
                  <c:v>0.15168049104610945</c:v>
                </c:pt>
                <c:pt idx="51">
                  <c:v>0.14163357104978075</c:v>
                </c:pt>
                <c:pt idx="52">
                  <c:v>0.08064811034495893</c:v>
                </c:pt>
                <c:pt idx="53">
                  <c:v>-0.12977198975474974</c:v>
                </c:pt>
                <c:pt idx="54">
                  <c:v>0.14374945447789328</c:v>
                </c:pt>
              </c:numCache>
            </c:numRef>
          </c:xVal>
          <c:yVal>
            <c:numRef>
              <c:f>Sheet1!$B$187:$B$241</c:f>
              <c:numCache>
                <c:formatCode>General</c:formatCode>
                <c:ptCount val="55"/>
                <c:pt idx="0">
                  <c:v>0.11856489012602742</c:v>
                </c:pt>
                <c:pt idx="1">
                  <c:v>0.11537253489193657</c:v>
                </c:pt>
                <c:pt idx="2">
                  <c:v>0.1139809106244116</c:v>
                </c:pt>
                <c:pt idx="3">
                  <c:v>0.11305049975173642</c:v>
                </c:pt>
                <c:pt idx="4">
                  <c:v>0.11292793494135302</c:v>
                </c:pt>
                <c:pt idx="5">
                  <c:v>0.11526388504723756</c:v>
                </c:pt>
                <c:pt idx="6">
                  <c:v>0.11879750126675354</c:v>
                </c:pt>
                <c:pt idx="7">
                  <c:v>0.12205244431244475</c:v>
                </c:pt>
                <c:pt idx="8">
                  <c:v>0.11923069907857825</c:v>
                </c:pt>
                <c:pt idx="9">
                  <c:v>0.12310786468341754</c:v>
                </c:pt>
                <c:pt idx="10">
                  <c:v>0.12190388284739238</c:v>
                </c:pt>
                <c:pt idx="11">
                  <c:v>0.11584039387883371</c:v>
                </c:pt>
                <c:pt idx="12">
                  <c:v>0.11665084328100969</c:v>
                </c:pt>
                <c:pt idx="13">
                  <c:v>0.12133429957417907</c:v>
                </c:pt>
                <c:pt idx="14">
                  <c:v>0.11743494244501834</c:v>
                </c:pt>
                <c:pt idx="15">
                  <c:v>0.12131598284498428</c:v>
                </c:pt>
                <c:pt idx="16">
                  <c:v>0.11944117596742428</c:v>
                </c:pt>
                <c:pt idx="17">
                  <c:v>0.12152778280012569</c:v>
                </c:pt>
                <c:pt idx="18">
                  <c:v>0.12402498671709453</c:v>
                </c:pt>
                <c:pt idx="19">
                  <c:v>0.1248269118450386</c:v>
                </c:pt>
                <c:pt idx="20">
                  <c:v>0.1260406322536195</c:v>
                </c:pt>
                <c:pt idx="21">
                  <c:v>0.12626754395228698</c:v>
                </c:pt>
                <c:pt idx="22">
                  <c:v>0.12261760116250553</c:v>
                </c:pt>
                <c:pt idx="23">
                  <c:v>0.12981144099597366</c:v>
                </c:pt>
                <c:pt idx="24">
                  <c:v>0.13163285216860862</c:v>
                </c:pt>
                <c:pt idx="25">
                  <c:v>0.13021756453232106</c:v>
                </c:pt>
                <c:pt idx="26">
                  <c:v>0.1306445051963664</c:v>
                </c:pt>
                <c:pt idx="27">
                  <c:v>0.12415395393297166</c:v>
                </c:pt>
                <c:pt idx="28">
                  <c:v>0.12076159163182612</c:v>
                </c:pt>
                <c:pt idx="29">
                  <c:v>0.12099278011752199</c:v>
                </c:pt>
                <c:pt idx="30">
                  <c:v>0.12063054042585478</c:v>
                </c:pt>
                <c:pt idx="31">
                  <c:v>0.12293138780123203</c:v>
                </c:pt>
                <c:pt idx="32">
                  <c:v>0.12302027406756087</c:v>
                </c:pt>
                <c:pt idx="33">
                  <c:v>0.12009440737491892</c:v>
                </c:pt>
                <c:pt idx="34">
                  <c:v>0.11741508480890914</c:v>
                </c:pt>
                <c:pt idx="35">
                  <c:v>0.11918548874154992</c:v>
                </c:pt>
                <c:pt idx="36">
                  <c:v>0.1271828311370741</c:v>
                </c:pt>
                <c:pt idx="37">
                  <c:v>0.1250667413306233</c:v>
                </c:pt>
                <c:pt idx="38">
                  <c:v>0.12548130517175501</c:v>
                </c:pt>
                <c:pt idx="39">
                  <c:v>0.12094715696982333</c:v>
                </c:pt>
                <c:pt idx="40">
                  <c:v>0.11896582474848504</c:v>
                </c:pt>
                <c:pt idx="41">
                  <c:v>0.11856795274540535</c:v>
                </c:pt>
                <c:pt idx="42">
                  <c:v>0.11877697388426436</c:v>
                </c:pt>
                <c:pt idx="43">
                  <c:v>0.1174125233940564</c:v>
                </c:pt>
                <c:pt idx="44">
                  <c:v>0.11676655233679815</c:v>
                </c:pt>
                <c:pt idx="45">
                  <c:v>0.1154505789387098</c:v>
                </c:pt>
                <c:pt idx="46">
                  <c:v>0.11833139304672077</c:v>
                </c:pt>
                <c:pt idx="47">
                  <c:v>0.11748409437114607</c:v>
                </c:pt>
                <c:pt idx="48">
                  <c:v>0.11820734747275999</c:v>
                </c:pt>
                <c:pt idx="49">
                  <c:v>0.1203685027029188</c:v>
                </c:pt>
                <c:pt idx="50">
                  <c:v>0.11939680654687157</c:v>
                </c:pt>
                <c:pt idx="51">
                  <c:v>0.12228950647148495</c:v>
                </c:pt>
                <c:pt idx="52">
                  <c:v>0.13984838398298255</c:v>
                </c:pt>
                <c:pt idx="53">
                  <c:v>0.20043234483048536</c:v>
                </c:pt>
                <c:pt idx="54">
                  <c:v>0.121680303269386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960087479496993"/>
          <c:min val="0.05963714747619902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28.1039</c:v>
                </c:pt>
                <c:pt idx="1">
                  <c:v>1074.7644</c:v>
                </c:pt>
                <c:pt idx="2">
                  <c:v>1065.9468</c:v>
                </c:pt>
                <c:pt idx="3">
                  <c:v>1089.8385</c:v>
                </c:pt>
                <c:pt idx="4">
                  <c:v>1130.3286</c:v>
                </c:pt>
                <c:pt idx="5">
                  <c:v>1165.895</c:v>
                </c:pt>
                <c:pt idx="6">
                  <c:v>1195.0515</c:v>
                </c:pt>
                <c:pt idx="7">
                  <c:v>1191.4977</c:v>
                </c:pt>
                <c:pt idx="8">
                  <c:v>1143.263</c:v>
                </c:pt>
                <c:pt idx="9">
                  <c:v>1068.9916</c:v>
                </c:pt>
                <c:pt idx="10">
                  <c:v>972.7592</c:v>
                </c:pt>
                <c:pt idx="11">
                  <c:v>934.9211</c:v>
                </c:pt>
                <c:pt idx="12">
                  <c:v>929.3058</c:v>
                </c:pt>
                <c:pt idx="13">
                  <c:v>943.7008</c:v>
                </c:pt>
                <c:pt idx="14">
                  <c:v>1121.9025</c:v>
                </c:pt>
                <c:pt idx="15">
                  <c:v>1120.6211</c:v>
                </c:pt>
                <c:pt idx="16">
                  <c:v>1147.8455</c:v>
                </c:pt>
                <c:pt idx="17">
                  <c:v>1171.2417</c:v>
                </c:pt>
                <c:pt idx="18">
                  <c:v>1181.7719</c:v>
                </c:pt>
                <c:pt idx="19">
                  <c:v>1211.8711</c:v>
                </c:pt>
                <c:pt idx="20">
                  <c:v>1232.0824</c:v>
                </c:pt>
                <c:pt idx="21">
                  <c:v>1210.5558</c:v>
                </c:pt>
                <c:pt idx="22">
                  <c:v>1217.8216</c:v>
                </c:pt>
                <c:pt idx="23">
                  <c:v>1228.5534</c:v>
                </c:pt>
                <c:pt idx="24">
                  <c:v>1235.3683</c:v>
                </c:pt>
                <c:pt idx="25">
                  <c:v>1241.0491</c:v>
                </c:pt>
                <c:pt idx="26">
                  <c:v>1226.9452</c:v>
                </c:pt>
                <c:pt idx="27">
                  <c:v>1245.0605</c:v>
                </c:pt>
                <c:pt idx="28">
                  <c:v>1241.427</c:v>
                </c:pt>
                <c:pt idx="29">
                  <c:v>1280.5768</c:v>
                </c:pt>
                <c:pt idx="30">
                  <c:v>1278.5209</c:v>
                </c:pt>
                <c:pt idx="31">
                  <c:v>1243.6552</c:v>
                </c:pt>
                <c:pt idx="32">
                  <c:v>1258.7143</c:v>
                </c:pt>
                <c:pt idx="33">
                  <c:v>1243.206</c:v>
                </c:pt>
                <c:pt idx="34">
                  <c:v>1229.0321</c:v>
                </c:pt>
                <c:pt idx="35">
                  <c:v>1257.1453</c:v>
                </c:pt>
                <c:pt idx="36">
                  <c:v>1285.7768</c:v>
                </c:pt>
                <c:pt idx="37">
                  <c:v>1299.4018</c:v>
                </c:pt>
                <c:pt idx="38">
                  <c:v>1324.1826</c:v>
                </c:pt>
                <c:pt idx="39">
                  <c:v>1401.1857</c:v>
                </c:pt>
                <c:pt idx="40">
                  <c:v>1461.2873</c:v>
                </c:pt>
                <c:pt idx="41">
                  <c:v>1456.67</c:v>
                </c:pt>
                <c:pt idx="42">
                  <c:v>1467.856</c:v>
                </c:pt>
                <c:pt idx="43">
                  <c:v>1459.2824</c:v>
                </c:pt>
                <c:pt idx="44">
                  <c:v>1419.1153</c:v>
                </c:pt>
                <c:pt idx="45">
                  <c:v>1402.4595</c:v>
                </c:pt>
                <c:pt idx="46">
                  <c:v>1356.5221</c:v>
                </c:pt>
                <c:pt idx="47">
                  <c:v>1359.1597</c:v>
                </c:pt>
                <c:pt idx="48">
                  <c:v>1232.3686</c:v>
                </c:pt>
                <c:pt idx="49">
                  <c:v>1190.0325</c:v>
                </c:pt>
                <c:pt idx="50">
                  <c:v>1247.7174</c:v>
                </c:pt>
                <c:pt idx="51">
                  <c:v>1217.9342</c:v>
                </c:pt>
                <c:pt idx="52">
                  <c:v>1181.1353</c:v>
                </c:pt>
                <c:pt idx="53">
                  <c:v>1417.0464</c:v>
                </c:pt>
                <c:pt idx="54">
                  <c:v>1429.5342</c:v>
                </c:pt>
                <c:pt idx="55">
                  <c:v>1430.7923</c:v>
                </c:pt>
                <c:pt idx="56">
                  <c:v>1422.9691</c:v>
                </c:pt>
                <c:pt idx="57">
                  <c:v>1449.6622</c:v>
                </c:pt>
                <c:pt idx="58">
                  <c:v>1464.1089</c:v>
                </c:pt>
                <c:pt idx="59">
                  <c:v>1451.413</c:v>
                </c:pt>
                <c:pt idx="60">
                  <c:v>1447.5135</c:v>
                </c:pt>
                <c:pt idx="61">
                  <c:v>1397.3818</c:v>
                </c:pt>
                <c:pt idx="62">
                  <c:v>1298.491</c:v>
                </c:pt>
                <c:pt idx="63">
                  <c:v>1271.1723</c:v>
                </c:pt>
                <c:pt idx="64">
                  <c:v>1245.1506</c:v>
                </c:pt>
                <c:pt idx="65">
                  <c:v>1244.3566</c:v>
                </c:pt>
                <c:pt idx="66">
                  <c:v>1410.5458</c:v>
                </c:pt>
                <c:pt idx="67">
                  <c:v>1435.0383</c:v>
                </c:pt>
                <c:pt idx="68">
                  <c:v>1401.2105</c:v>
                </c:pt>
                <c:pt idx="69">
                  <c:v>1454.6418</c:v>
                </c:pt>
                <c:pt idx="70">
                  <c:v>1503.6866</c:v>
                </c:pt>
                <c:pt idx="71">
                  <c:v>1452.3846</c:v>
                </c:pt>
                <c:pt idx="72">
                  <c:v>1459.3456</c:v>
                </c:pt>
                <c:pt idx="73">
                  <c:v>1473.1546</c:v>
                </c:pt>
                <c:pt idx="74">
                  <c:v>1427.4359</c:v>
                </c:pt>
                <c:pt idx="75">
                  <c:v>1430.4468</c:v>
                </c:pt>
                <c:pt idx="76">
                  <c:v>1365.7045</c:v>
                </c:pt>
                <c:pt idx="77">
                  <c:v>1363.2413</c:v>
                </c:pt>
                <c:pt idx="78">
                  <c:v>1395.7454</c:v>
                </c:pt>
                <c:pt idx="79">
                  <c:v>1449.2674</c:v>
                </c:pt>
                <c:pt idx="80">
                  <c:v>1459.3038</c:v>
                </c:pt>
                <c:pt idx="81">
                  <c:v>1484.6092</c:v>
                </c:pt>
                <c:pt idx="82">
                  <c:v>1490.2531</c:v>
                </c:pt>
                <c:pt idx="83">
                  <c:v>1459.1358</c:v>
                </c:pt>
                <c:pt idx="84">
                  <c:v>1503.4386</c:v>
                </c:pt>
                <c:pt idx="85">
                  <c:v>1487.7489</c:v>
                </c:pt>
                <c:pt idx="86">
                  <c:v>1474.9319</c:v>
                </c:pt>
                <c:pt idx="87">
                  <c:v>1477.5015</c:v>
                </c:pt>
                <c:pt idx="88">
                  <c:v>1489.1782</c:v>
                </c:pt>
                <c:pt idx="89">
                  <c:v>1518.9004</c:v>
                </c:pt>
                <c:pt idx="90">
                  <c:v>1481.2639</c:v>
                </c:pt>
                <c:pt idx="91">
                  <c:v>1490.4301</c:v>
                </c:pt>
                <c:pt idx="92">
                  <c:v>1508.5852</c:v>
                </c:pt>
                <c:pt idx="93">
                  <c:v>1499.6901</c:v>
                </c:pt>
                <c:pt idx="94">
                  <c:v>1495.8633</c:v>
                </c:pt>
                <c:pt idx="95">
                  <c:v>1486.7574</c:v>
                </c:pt>
                <c:pt idx="96">
                  <c:v>1359.4829</c:v>
                </c:pt>
                <c:pt idx="97">
                  <c:v>1412.217</c:v>
                </c:pt>
                <c:pt idx="98">
                  <c:v>1352.3726</c:v>
                </c:pt>
                <c:pt idx="99">
                  <c:v>1353.0869</c:v>
                </c:pt>
                <c:pt idx="100">
                  <c:v>1242.0566</c:v>
                </c:pt>
                <c:pt idx="101">
                  <c:v>1469.8479</c:v>
                </c:pt>
                <c:pt idx="102">
                  <c:v>1479.352</c:v>
                </c:pt>
                <c:pt idx="103">
                  <c:v>1356.714</c:v>
                </c:pt>
                <c:pt idx="104">
                  <c:v>1339.6409</c:v>
                </c:pt>
              </c:numCache>
            </c:numRef>
          </c:xVal>
          <c:yVal>
            <c:numRef>
              <c:f>Sheet1!$B$2:$B$106</c:f>
              <c:numCache>
                <c:formatCode>General</c:formatCode>
                <c:ptCount val="105"/>
                <c:pt idx="0">
                  <c:v>0.22448371723590152</c:v>
                </c:pt>
                <c:pt idx="1">
                  <c:v>0.24133406232914162</c:v>
                </c:pt>
                <c:pt idx="2">
                  <c:v>0.23332979963956324</c:v>
                </c:pt>
                <c:pt idx="3">
                  <c:v>0.23139421514462138</c:v>
                </c:pt>
                <c:pt idx="4">
                  <c:v>0.19582013932868905</c:v>
                </c:pt>
                <c:pt idx="5">
                  <c:v>0.17259762761562042</c:v>
                </c:pt>
                <c:pt idx="6">
                  <c:v>0.16975070675918788</c:v>
                </c:pt>
                <c:pt idx="7">
                  <c:v>0.15738773197336733</c:v>
                </c:pt>
                <c:pt idx="8">
                  <c:v>0.17779310344827587</c:v>
                </c:pt>
                <c:pt idx="9">
                  <c:v>0.17002608489447474</c:v>
                </c:pt>
                <c:pt idx="10">
                  <c:v>0.1884892086330935</c:v>
                </c:pt>
                <c:pt idx="11">
                  <c:v>0.19222038794882376</c:v>
                </c:pt>
                <c:pt idx="12">
                  <c:v>0.20531622364802934</c:v>
                </c:pt>
                <c:pt idx="13">
                  <c:v>0.20160450093769536</c:v>
                </c:pt>
                <c:pt idx="14">
                  <c:v>0.2092632051138275</c:v>
                </c:pt>
                <c:pt idx="15">
                  <c:v>0.20393467918220393</c:v>
                </c:pt>
                <c:pt idx="16">
                  <c:v>0.18072637823759224</c:v>
                </c:pt>
                <c:pt idx="17">
                  <c:v>0.1883616543764027</c:v>
                </c:pt>
                <c:pt idx="18">
                  <c:v>0.17104289940828402</c:v>
                </c:pt>
                <c:pt idx="19">
                  <c:v>0.15219611848825332</c:v>
                </c:pt>
                <c:pt idx="20">
                  <c:v>0.17140454163162322</c:v>
                </c:pt>
                <c:pt idx="21">
                  <c:v>0.15215292527514965</c:v>
                </c:pt>
                <c:pt idx="22">
                  <c:v>0.14718339686573487</c:v>
                </c:pt>
                <c:pt idx="23">
                  <c:v>0.1319324090121317</c:v>
                </c:pt>
                <c:pt idx="24">
                  <c:v>0.13997555012224938</c:v>
                </c:pt>
                <c:pt idx="25">
                  <c:v>0.13502398903358465</c:v>
                </c:pt>
                <c:pt idx="26">
                  <c:v>0.13708920187793427</c:v>
                </c:pt>
                <c:pt idx="27">
                  <c:v>0.14551024315527475</c:v>
                </c:pt>
                <c:pt idx="28">
                  <c:v>0.13824264564506825</c:v>
                </c:pt>
                <c:pt idx="29">
                  <c:v>0.12891566265060242</c:v>
                </c:pt>
                <c:pt idx="30">
                  <c:v>0.1285806590566444</c:v>
                </c:pt>
                <c:pt idx="31">
                  <c:v>0.11854561101549053</c:v>
                </c:pt>
                <c:pt idx="32">
                  <c:v>0.12651531849239586</c:v>
                </c:pt>
                <c:pt idx="33">
                  <c:v>0.12749762131303521</c:v>
                </c:pt>
                <c:pt idx="34">
                  <c:v>0.13592741231896702</c:v>
                </c:pt>
                <c:pt idx="35">
                  <c:v>0.16326530612244897</c:v>
                </c:pt>
                <c:pt idx="36">
                  <c:v>0.1483993061031383</c:v>
                </c:pt>
                <c:pt idx="37">
                  <c:v>0.13065134099616857</c:v>
                </c:pt>
                <c:pt idx="38">
                  <c:v>0.12106135986733002</c:v>
                </c:pt>
                <c:pt idx="39">
                  <c:v>0.11412268188302425</c:v>
                </c:pt>
                <c:pt idx="40">
                  <c:v>0.12351464435146443</c:v>
                </c:pt>
                <c:pt idx="41">
                  <c:v>0.11146025878003697</c:v>
                </c:pt>
                <c:pt idx="42">
                  <c:v>0.1186148542776559</c:v>
                </c:pt>
                <c:pt idx="43">
                  <c:v>0.12918266593527153</c:v>
                </c:pt>
                <c:pt idx="44">
                  <c:v>0.12321068815608101</c:v>
                </c:pt>
                <c:pt idx="45">
                  <c:v>0.12288388767177853</c:v>
                </c:pt>
                <c:pt idx="46">
                  <c:v>0.12596350863498879</c:v>
                </c:pt>
                <c:pt idx="47">
                  <c:v>0.12216108054027014</c:v>
                </c:pt>
                <c:pt idx="48">
                  <c:v>0.14051724137931035</c:v>
                </c:pt>
                <c:pt idx="49">
                  <c:v>0.15955766192733017</c:v>
                </c:pt>
                <c:pt idx="50">
                  <c:v>0.13523473802275277</c:v>
                </c:pt>
                <c:pt idx="51">
                  <c:v>0.1332080873143675</c:v>
                </c:pt>
                <c:pt idx="52">
                  <c:v>0.15420489296636086</c:v>
                </c:pt>
                <c:pt idx="53">
                  <c:v>0.13901018922852984</c:v>
                </c:pt>
                <c:pt idx="54">
                  <c:v>0.12896668548842463</c:v>
                </c:pt>
                <c:pt idx="55">
                  <c:v>0.13509353540137342</c:v>
                </c:pt>
                <c:pt idx="56">
                  <c:v>0.1511111111111111</c:v>
                </c:pt>
                <c:pt idx="57">
                  <c:v>0.13788172811765909</c:v>
                </c:pt>
                <c:pt idx="58">
                  <c:v>0.13929468688936447</c:v>
                </c:pt>
                <c:pt idx="59">
                  <c:v>0.14055045871559632</c:v>
                </c:pt>
                <c:pt idx="60">
                  <c:v>0.13874262513480937</c:v>
                </c:pt>
                <c:pt idx="61">
                  <c:v>0.13651385475807135</c:v>
                </c:pt>
                <c:pt idx="62">
                  <c:v>0.15360724110391338</c:v>
                </c:pt>
                <c:pt idx="63">
                  <c:v>0.17145026575550493</c:v>
                </c:pt>
                <c:pt idx="64">
                  <c:v>0.1735080058224163</c:v>
                </c:pt>
                <c:pt idx="65">
                  <c:v>0.17927461139896372</c:v>
                </c:pt>
                <c:pt idx="66">
                  <c:v>0.16198160680201285</c:v>
                </c:pt>
                <c:pt idx="67">
                  <c:v>0.16129898013955984</c:v>
                </c:pt>
                <c:pt idx="68">
                  <c:v>0.149209586945436</c:v>
                </c:pt>
                <c:pt idx="69">
                  <c:v>0.1345599340930935</c:v>
                </c:pt>
                <c:pt idx="70">
                  <c:v>0.12999611951882034</c:v>
                </c:pt>
                <c:pt idx="71">
                  <c:v>0.13277464973157</c:v>
                </c:pt>
                <c:pt idx="72">
                  <c:v>0.13692269076305222</c:v>
                </c:pt>
                <c:pt idx="73">
                  <c:v>0.13843606724401428</c:v>
                </c:pt>
                <c:pt idx="74">
                  <c:v>0.1334024090143764</c:v>
                </c:pt>
                <c:pt idx="75">
                  <c:v>0.12423124231242312</c:v>
                </c:pt>
                <c:pt idx="76">
                  <c:v>0.1265984654731458</c:v>
                </c:pt>
                <c:pt idx="77">
                  <c:v>0.12413903572000641</c:v>
                </c:pt>
                <c:pt idx="78">
                  <c:v>0.1281081081081081</c:v>
                </c:pt>
                <c:pt idx="79">
                  <c:v>0.12422018348623853</c:v>
                </c:pt>
                <c:pt idx="80">
                  <c:v>0.1149718028015281</c:v>
                </c:pt>
                <c:pt idx="81">
                  <c:v>0.11181403560394292</c:v>
                </c:pt>
                <c:pt idx="82">
                  <c:v>0.11991117690599556</c:v>
                </c:pt>
                <c:pt idx="83">
                  <c:v>0.11128921456377376</c:v>
                </c:pt>
                <c:pt idx="84">
                  <c:v>0.10470723306544202</c:v>
                </c:pt>
                <c:pt idx="85">
                  <c:v>0.09626110307787647</c:v>
                </c:pt>
                <c:pt idx="86">
                  <c:v>0.10553686142551238</c:v>
                </c:pt>
                <c:pt idx="87">
                  <c:v>0.13872750460535638</c:v>
                </c:pt>
                <c:pt idx="88">
                  <c:v>0.1283394447354636</c:v>
                </c:pt>
                <c:pt idx="89">
                  <c:v>0.1038374717832957</c:v>
                </c:pt>
                <c:pt idx="90">
                  <c:v>0.09375604098202203</c:v>
                </c:pt>
                <c:pt idx="91">
                  <c:v>0.11692364170337739</c:v>
                </c:pt>
                <c:pt idx="92">
                  <c:v>0.11284459254771281</c:v>
                </c:pt>
                <c:pt idx="93">
                  <c:v>0.0997663872474921</c:v>
                </c:pt>
                <c:pt idx="94">
                  <c:v>0.09807723380190661</c:v>
                </c:pt>
                <c:pt idx="95">
                  <c:v>0.11604618284637135</c:v>
                </c:pt>
                <c:pt idx="96">
                  <c:v>0.11735426438211927</c:v>
                </c:pt>
                <c:pt idx="97">
                  <c:v>0.11509605078736912</c:v>
                </c:pt>
                <c:pt idx="98">
                  <c:v>0.1338440413384404</c:v>
                </c:pt>
                <c:pt idx="99">
                  <c:v>0.12846264933700932</c:v>
                </c:pt>
                <c:pt idx="100">
                  <c:v>0.16684229012996135</c:v>
                </c:pt>
                <c:pt idx="101">
                  <c:v>0.12691529343740965</c:v>
                </c:pt>
                <c:pt idx="102">
                  <c:v>0.10615406684837182</c:v>
                </c:pt>
                <c:pt idx="103">
                  <c:v>0.12080640196983687</c:v>
                </c:pt>
                <c:pt idx="104">
                  <c:v>0.1377315785061614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64.1386</c:v>
                </c:pt>
                <c:pt idx="1">
                  <c:v>1484.823</c:v>
                </c:pt>
                <c:pt idx="2">
                  <c:v>1523.7021</c:v>
                </c:pt>
                <c:pt idx="3">
                  <c:v>1548.3225</c:v>
                </c:pt>
                <c:pt idx="4">
                  <c:v>1540.5525</c:v>
                </c:pt>
                <c:pt idx="5">
                  <c:v>1565.997</c:v>
                </c:pt>
                <c:pt idx="6">
                  <c:v>1489.9349</c:v>
                </c:pt>
                <c:pt idx="7">
                  <c:v>1424.1393</c:v>
                </c:pt>
                <c:pt idx="8">
                  <c:v>1528.7067</c:v>
                </c:pt>
                <c:pt idx="9">
                  <c:v>1367.4549</c:v>
                </c:pt>
                <c:pt idx="10">
                  <c:v>1375.1845</c:v>
                </c:pt>
                <c:pt idx="11">
                  <c:v>1519.5668</c:v>
                </c:pt>
                <c:pt idx="12">
                  <c:v>1506.1422</c:v>
                </c:pt>
                <c:pt idx="13">
                  <c:v>1404.5298</c:v>
                </c:pt>
                <c:pt idx="14">
                  <c:v>1518.3497</c:v>
                </c:pt>
                <c:pt idx="15">
                  <c:v>1427.008</c:v>
                </c:pt>
                <c:pt idx="16">
                  <c:v>1467.6968</c:v>
                </c:pt>
                <c:pt idx="17">
                  <c:v>1401.7245</c:v>
                </c:pt>
                <c:pt idx="18">
                  <c:v>1356.2709</c:v>
                </c:pt>
                <c:pt idx="19">
                  <c:v>1322.1065</c:v>
                </c:pt>
                <c:pt idx="20">
                  <c:v>1310.2031</c:v>
                </c:pt>
                <c:pt idx="21">
                  <c:v>1335.378</c:v>
                </c:pt>
                <c:pt idx="22">
                  <c:v>1360.2242</c:v>
                </c:pt>
                <c:pt idx="23">
                  <c:v>1177.1189</c:v>
                </c:pt>
                <c:pt idx="24">
                  <c:v>1153.3404</c:v>
                </c:pt>
                <c:pt idx="25">
                  <c:v>1160.1934</c:v>
                </c:pt>
                <c:pt idx="26">
                  <c:v>1195.3475</c:v>
                </c:pt>
                <c:pt idx="27">
                  <c:v>1353.4877</c:v>
                </c:pt>
                <c:pt idx="28">
                  <c:v>1483.9581</c:v>
                </c:pt>
                <c:pt idx="29">
                  <c:v>1483.4773</c:v>
                </c:pt>
                <c:pt idx="30">
                  <c:v>1526.8333</c:v>
                </c:pt>
                <c:pt idx="31">
                  <c:v>1504.0407</c:v>
                </c:pt>
                <c:pt idx="32">
                  <c:v>1520.2482</c:v>
                </c:pt>
                <c:pt idx="33">
                  <c:v>1547.463</c:v>
                </c:pt>
                <c:pt idx="34">
                  <c:v>1588.1573</c:v>
                </c:pt>
                <c:pt idx="35">
                  <c:v>1565.0665</c:v>
                </c:pt>
                <c:pt idx="36">
                  <c:v>1379.7953</c:v>
                </c:pt>
                <c:pt idx="37">
                  <c:v>1452.4555</c:v>
                </c:pt>
                <c:pt idx="38">
                  <c:v>1426.8873</c:v>
                </c:pt>
                <c:pt idx="39">
                  <c:v>1523.2745</c:v>
                </c:pt>
                <c:pt idx="40">
                  <c:v>1556.646</c:v>
                </c:pt>
                <c:pt idx="41">
                  <c:v>1579.3025</c:v>
                </c:pt>
                <c:pt idx="42">
                  <c:v>1585.2117</c:v>
                </c:pt>
                <c:pt idx="43">
                  <c:v>1543.5117</c:v>
                </c:pt>
                <c:pt idx="44">
                  <c:v>1492.4405</c:v>
                </c:pt>
                <c:pt idx="45">
                  <c:v>1446.6449</c:v>
                </c:pt>
                <c:pt idx="46">
                  <c:v>1422.8</c:v>
                </c:pt>
                <c:pt idx="47">
                  <c:v>1450.4487</c:v>
                </c:pt>
                <c:pt idx="48">
                  <c:v>1376.7436</c:v>
                </c:pt>
                <c:pt idx="49">
                  <c:v>1305.0429</c:v>
                </c:pt>
                <c:pt idx="50">
                  <c:v>1233.4253</c:v>
                </c:pt>
                <c:pt idx="51">
                  <c:v>1292.8735</c:v>
                </c:pt>
              </c:numCache>
            </c:numRef>
          </c:xVal>
          <c:yVal>
            <c:numRef>
              <c:f>Sheet1!$B$109:$B$160</c:f>
              <c:numCache>
                <c:formatCode>General</c:formatCode>
                <c:ptCount val="52"/>
                <c:pt idx="0">
                  <c:v>0.14336483321217997</c:v>
                </c:pt>
                <c:pt idx="1">
                  <c:v>0.12556862071925157</c:v>
                </c:pt>
                <c:pt idx="2">
                  <c:v>0.12529719448407037</c:v>
                </c:pt>
                <c:pt idx="3">
                  <c:v>0.12469530773918343</c:v>
                </c:pt>
                <c:pt idx="4">
                  <c:v>0.11146315703956454</c:v>
                </c:pt>
                <c:pt idx="5">
                  <c:v>0.10427997162449752</c:v>
                </c:pt>
                <c:pt idx="6">
                  <c:v>0.1140157202154906</c:v>
                </c:pt>
                <c:pt idx="7">
                  <c:v>0.11868263473053892</c:v>
                </c:pt>
                <c:pt idx="8">
                  <c:v>0.11646000486263068</c:v>
                </c:pt>
                <c:pt idx="9">
                  <c:v>0.13877505814597407</c:v>
                </c:pt>
                <c:pt idx="10">
                  <c:v>0.13127373498922304</c:v>
                </c:pt>
                <c:pt idx="11">
                  <c:v>0.1301484148590498</c:v>
                </c:pt>
                <c:pt idx="12">
                  <c:v>0.1295238095238095</c:v>
                </c:pt>
                <c:pt idx="13">
                  <c:v>0.1356489295549436</c:v>
                </c:pt>
                <c:pt idx="14">
                  <c:v>0.12824051256776736</c:v>
                </c:pt>
                <c:pt idx="15">
                  <c:v>0.12660419637400694</c:v>
                </c:pt>
                <c:pt idx="16">
                  <c:v>0.12258501864196136</c:v>
                </c:pt>
                <c:pt idx="17">
                  <c:v>0.11914942794406565</c:v>
                </c:pt>
                <c:pt idx="18">
                  <c:v>0.1174842380439797</c:v>
                </c:pt>
                <c:pt idx="19">
                  <c:v>0.12796027501909854</c:v>
                </c:pt>
                <c:pt idx="20">
                  <c:v>0.11959573273441887</c:v>
                </c:pt>
                <c:pt idx="21">
                  <c:v>0.11869860564890955</c:v>
                </c:pt>
                <c:pt idx="22">
                  <c:v>0.12056226347089566</c:v>
                </c:pt>
                <c:pt idx="23">
                  <c:v>0.14345403899721448</c:v>
                </c:pt>
                <c:pt idx="24">
                  <c:v>0.15373328985979784</c:v>
                </c:pt>
                <c:pt idx="25">
                  <c:v>0.16974358974358975</c:v>
                </c:pt>
                <c:pt idx="26">
                  <c:v>0.15250470165840316</c:v>
                </c:pt>
                <c:pt idx="27">
                  <c:v>0.11452776906181361</c:v>
                </c:pt>
                <c:pt idx="28">
                  <c:v>0.09462517680339462</c:v>
                </c:pt>
                <c:pt idx="29">
                  <c:v>0.08973487423521415</c:v>
                </c:pt>
                <c:pt idx="30">
                  <c:v>0.100355871886121</c:v>
                </c:pt>
                <c:pt idx="31">
                  <c:v>0.08408770871052103</c:v>
                </c:pt>
                <c:pt idx="32">
                  <c:v>0.07454643434524878</c:v>
                </c:pt>
                <c:pt idx="33">
                  <c:v>0.09710483725948571</c:v>
                </c:pt>
                <c:pt idx="34">
                  <c:v>0.12246913580246914</c:v>
                </c:pt>
                <c:pt idx="35">
                  <c:v>0.1352124183006536</c:v>
                </c:pt>
                <c:pt idx="36">
                  <c:v>0.1067675493905002</c:v>
                </c:pt>
                <c:pt idx="37">
                  <c:v>0.10979885587746817</c:v>
                </c:pt>
                <c:pt idx="38">
                  <c:v>0.10317625077849284</c:v>
                </c:pt>
                <c:pt idx="39">
                  <c:v>0.11921954217237671</c:v>
                </c:pt>
                <c:pt idx="40">
                  <c:v>0.10393300433677284</c:v>
                </c:pt>
                <c:pt idx="41">
                  <c:v>0.10541913632514818</c:v>
                </c:pt>
                <c:pt idx="42">
                  <c:v>0.10004638936137313</c:v>
                </c:pt>
                <c:pt idx="43">
                  <c:v>0.11023710529272952</c:v>
                </c:pt>
                <c:pt idx="44">
                  <c:v>0.10979367005881804</c:v>
                </c:pt>
                <c:pt idx="45">
                  <c:v>0.13148866348448687</c:v>
                </c:pt>
                <c:pt idx="46">
                  <c:v>0.118609783008459</c:v>
                </c:pt>
                <c:pt idx="47">
                  <c:v>0.12370311252992817</c:v>
                </c:pt>
                <c:pt idx="48">
                  <c:v>0.11707317073170732</c:v>
                </c:pt>
                <c:pt idx="49">
                  <c:v>0.12843571880937302</c:v>
                </c:pt>
                <c:pt idx="50">
                  <c:v>0.17207911871903026</c:v>
                </c:pt>
                <c:pt idx="51">
                  <c:v>0.141805527671819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91.9933293541437</c:v>
                </c:pt>
              </c:numCache>
            </c:numRef>
          </c:xVal>
          <c:yVal>
            <c:numRef>
              <c:f>Sheet1!$B$163:$B$164</c:f>
              <c:numCache>
                <c:formatCode>General</c:formatCode>
                <c:ptCount val="2"/>
                <c:pt idx="0">
                  <c:v>0.20043234483048536</c:v>
                </c:pt>
                <c:pt idx="1">
                  <c:v>0.2004323448304853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91.9933293541437</c:v>
                </c:pt>
                <c:pt idx="1">
                  <c:v>691.9933293541437</c:v>
                </c:pt>
              </c:numCache>
            </c:numRef>
          </c:xVal>
          <c:yVal>
            <c:numRef>
              <c:f>Sheet1!$B$167:$B$168</c:f>
              <c:numCache>
                <c:formatCode>General</c:formatCode>
                <c:ptCount val="2"/>
                <c:pt idx="0">
                  <c:v>0.2004323448304853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56.8098863513553</c:v>
                </c:pt>
              </c:numCache>
            </c:numRef>
          </c:xVal>
          <c:yVal>
            <c:numRef>
              <c:f>Sheet1!$B$171:$B$172</c:f>
              <c:numCache>
                <c:formatCode>General</c:formatCode>
                <c:ptCount val="2"/>
                <c:pt idx="0">
                  <c:v>0.13984838398298255</c:v>
                </c:pt>
                <c:pt idx="1">
                  <c:v>0.1398483839829825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56.8098863513553</c:v>
                </c:pt>
                <c:pt idx="1">
                  <c:v>1256.8098863513553</c:v>
                </c:pt>
              </c:numCache>
            </c:numRef>
          </c:xVal>
          <c:yVal>
            <c:numRef>
              <c:f>Sheet1!$B$175:$B$176</c:f>
              <c:numCache>
                <c:formatCode>General</c:formatCode>
                <c:ptCount val="2"/>
                <c:pt idx="0">
                  <c:v>0.1398483839829825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26.188590753509</c:v>
                </c:pt>
              </c:numCache>
            </c:numRef>
          </c:xVal>
          <c:yVal>
            <c:numRef>
              <c:f>Sheet1!$B$179:$B$180</c:f>
              <c:numCache>
                <c:formatCode>General</c:formatCode>
                <c:ptCount val="2"/>
                <c:pt idx="0">
                  <c:v>0.12168030326938636</c:v>
                </c:pt>
                <c:pt idx="1">
                  <c:v>0.1216803032693863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26.188590753509</c:v>
                </c:pt>
                <c:pt idx="1">
                  <c:v>1426.188590753509</c:v>
                </c:pt>
              </c:numCache>
            </c:numRef>
          </c:xVal>
          <c:yVal>
            <c:numRef>
              <c:f>Sheet1!$B$183:$B$184</c:f>
              <c:numCache>
                <c:formatCode>General</c:formatCode>
                <c:ptCount val="2"/>
                <c:pt idx="0">
                  <c:v>0.121680303269386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64.1386</c:v>
                </c:pt>
                <c:pt idx="1">
                  <c:v>1484.823</c:v>
                </c:pt>
                <c:pt idx="2">
                  <c:v>1523.7021</c:v>
                </c:pt>
                <c:pt idx="3">
                  <c:v>1548.3225</c:v>
                </c:pt>
                <c:pt idx="4">
                  <c:v>1540.5525</c:v>
                </c:pt>
                <c:pt idx="5">
                  <c:v>1565.997</c:v>
                </c:pt>
                <c:pt idx="6">
                  <c:v>1489.9349</c:v>
                </c:pt>
                <c:pt idx="7">
                  <c:v>1424.1393</c:v>
                </c:pt>
                <c:pt idx="8">
                  <c:v>1528.7067</c:v>
                </c:pt>
                <c:pt idx="9">
                  <c:v>1367.4549</c:v>
                </c:pt>
                <c:pt idx="10">
                  <c:v>1375.1845</c:v>
                </c:pt>
                <c:pt idx="11">
                  <c:v>1519.5668</c:v>
                </c:pt>
                <c:pt idx="12">
                  <c:v>1506.1422</c:v>
                </c:pt>
                <c:pt idx="13">
                  <c:v>1404.5298</c:v>
                </c:pt>
                <c:pt idx="14">
                  <c:v>1518.3497</c:v>
                </c:pt>
                <c:pt idx="15">
                  <c:v>1427.008</c:v>
                </c:pt>
                <c:pt idx="16">
                  <c:v>1467.6968</c:v>
                </c:pt>
                <c:pt idx="17">
                  <c:v>1401.7245</c:v>
                </c:pt>
                <c:pt idx="18">
                  <c:v>1356.2709</c:v>
                </c:pt>
                <c:pt idx="19">
                  <c:v>1322.1065</c:v>
                </c:pt>
                <c:pt idx="20">
                  <c:v>1310.2031</c:v>
                </c:pt>
                <c:pt idx="21">
                  <c:v>1335.378</c:v>
                </c:pt>
                <c:pt idx="22">
                  <c:v>1360.2242</c:v>
                </c:pt>
                <c:pt idx="23">
                  <c:v>1177.1189</c:v>
                </c:pt>
                <c:pt idx="24">
                  <c:v>1153.3404</c:v>
                </c:pt>
                <c:pt idx="25">
                  <c:v>1160.1934</c:v>
                </c:pt>
                <c:pt idx="26">
                  <c:v>1195.3475</c:v>
                </c:pt>
                <c:pt idx="27">
                  <c:v>1353.4877</c:v>
                </c:pt>
                <c:pt idx="28">
                  <c:v>1483.9581</c:v>
                </c:pt>
                <c:pt idx="29">
                  <c:v>1483.4773</c:v>
                </c:pt>
                <c:pt idx="30">
                  <c:v>1526.8333</c:v>
                </c:pt>
                <c:pt idx="31">
                  <c:v>1504.0407</c:v>
                </c:pt>
                <c:pt idx="32">
                  <c:v>1520.2482</c:v>
                </c:pt>
                <c:pt idx="33">
                  <c:v>1547.463</c:v>
                </c:pt>
                <c:pt idx="34">
                  <c:v>1588.1573</c:v>
                </c:pt>
                <c:pt idx="35">
                  <c:v>1565.0665</c:v>
                </c:pt>
                <c:pt idx="36">
                  <c:v>1379.7953</c:v>
                </c:pt>
                <c:pt idx="37">
                  <c:v>1452.4555</c:v>
                </c:pt>
                <c:pt idx="38">
                  <c:v>1426.8873</c:v>
                </c:pt>
                <c:pt idx="39">
                  <c:v>1523.2745</c:v>
                </c:pt>
                <c:pt idx="40">
                  <c:v>1556.646</c:v>
                </c:pt>
                <c:pt idx="41">
                  <c:v>1579.3025</c:v>
                </c:pt>
                <c:pt idx="42">
                  <c:v>1585.2117</c:v>
                </c:pt>
                <c:pt idx="43">
                  <c:v>1543.5117</c:v>
                </c:pt>
                <c:pt idx="44">
                  <c:v>1492.4405</c:v>
                </c:pt>
                <c:pt idx="45">
                  <c:v>1446.6449</c:v>
                </c:pt>
                <c:pt idx="46">
                  <c:v>1422.8</c:v>
                </c:pt>
                <c:pt idx="47">
                  <c:v>1450.4487</c:v>
                </c:pt>
                <c:pt idx="48">
                  <c:v>1376.7436</c:v>
                </c:pt>
                <c:pt idx="49">
                  <c:v>1305.0429</c:v>
                </c:pt>
                <c:pt idx="50">
                  <c:v>1233.4253</c:v>
                </c:pt>
                <c:pt idx="51">
                  <c:v>1292.8735</c:v>
                </c:pt>
                <c:pt idx="52">
                  <c:v>1256.8098863513553</c:v>
                </c:pt>
                <c:pt idx="53">
                  <c:v>691.9933293541437</c:v>
                </c:pt>
                <c:pt idx="54">
                  <c:v>1426.188590753509</c:v>
                </c:pt>
              </c:numCache>
            </c:numRef>
          </c:xVal>
          <c:yVal>
            <c:numRef>
              <c:f>Sheet1!$B$187:$B$241</c:f>
              <c:numCache>
                <c:formatCode>General</c:formatCode>
                <c:ptCount val="55"/>
                <c:pt idx="0">
                  <c:v>0.11760966857238841</c:v>
                </c:pt>
                <c:pt idx="1">
                  <c:v>0.11539099621898521</c:v>
                </c:pt>
                <c:pt idx="2">
                  <c:v>0.11122070439059292</c:v>
                </c:pt>
                <c:pt idx="3">
                  <c:v>0.10857984457306244</c:v>
                </c:pt>
                <c:pt idx="4">
                  <c:v>0.10941327866764303</c:v>
                </c:pt>
                <c:pt idx="5">
                  <c:v>0.10668402334981086</c:v>
                </c:pt>
                <c:pt idx="6">
                  <c:v>0.11484267810468837</c:v>
                </c:pt>
                <c:pt idx="7">
                  <c:v>0.12190011649765961</c:v>
                </c:pt>
                <c:pt idx="8">
                  <c:v>0.11068389560426886</c:v>
                </c:pt>
                <c:pt idx="9">
                  <c:v>0.1279802595595443</c:v>
                </c:pt>
                <c:pt idx="10">
                  <c:v>0.12715115889320322</c:v>
                </c:pt>
                <c:pt idx="11">
                  <c:v>0.11166426938561469</c:v>
                </c:pt>
                <c:pt idx="12">
                  <c:v>0.11310423326542249</c:v>
                </c:pt>
                <c:pt idx="13">
                  <c:v>0.12400349177149206</c:v>
                </c:pt>
                <c:pt idx="14">
                  <c:v>0.11179481927448393</c:v>
                </c:pt>
                <c:pt idx="15">
                  <c:v>0.12159241091373127</c:v>
                </c:pt>
                <c:pt idx="16">
                  <c:v>0.11722800509808512</c:v>
                </c:pt>
                <c:pt idx="17">
                  <c:v>0.12430439687645048</c:v>
                </c:pt>
                <c:pt idx="18">
                  <c:v>0.12917988979297923</c:v>
                </c:pt>
                <c:pt idx="19">
                  <c:v>0.13284446840055825</c:v>
                </c:pt>
                <c:pt idx="20">
                  <c:v>0.13412126369031768</c:v>
                </c:pt>
                <c:pt idx="21">
                  <c:v>0.13142092649756903</c:v>
                </c:pt>
                <c:pt idx="22">
                  <c:v>0.12875584667765033</c:v>
                </c:pt>
                <c:pt idx="23">
                  <c:v>0.1483962842475869</c:v>
                </c:pt>
                <c:pt idx="24">
                  <c:v>0.15094683928207656</c:v>
                </c:pt>
                <c:pt idx="25">
                  <c:v>0.150211765427487</c:v>
                </c:pt>
                <c:pt idx="26">
                  <c:v>0.1464410285543473</c:v>
                </c:pt>
                <c:pt idx="27">
                  <c:v>0.12947842438397494</c:v>
                </c:pt>
                <c:pt idx="28">
                  <c:v>0.11548376805275648</c:v>
                </c:pt>
                <c:pt idx="29">
                  <c:v>0.11553534013932976</c:v>
                </c:pt>
                <c:pt idx="30">
                  <c:v>0.11088484224941522</c:v>
                </c:pt>
                <c:pt idx="31">
                  <c:v>0.1133296466180301</c:v>
                </c:pt>
                <c:pt idx="32">
                  <c:v>0.11159118032614915</c:v>
                </c:pt>
                <c:pt idx="33">
                  <c:v>0.10867203718622742</c:v>
                </c:pt>
                <c:pt idx="34">
                  <c:v>0.10430704142366745</c:v>
                </c:pt>
                <c:pt idx="35">
                  <c:v>0.1067838316413176</c:v>
                </c:pt>
                <c:pt idx="36">
                  <c:v>0.12665659030590695</c:v>
                </c:pt>
                <c:pt idx="37">
                  <c:v>0.11886283380667342</c:v>
                </c:pt>
                <c:pt idx="38">
                  <c:v>0.12160535756691221</c:v>
                </c:pt>
                <c:pt idx="39">
                  <c:v>0.11126657008156365</c:v>
                </c:pt>
                <c:pt idx="40">
                  <c:v>0.10768704036633894</c:v>
                </c:pt>
                <c:pt idx="41">
                  <c:v>0.10525683450226364</c:v>
                </c:pt>
                <c:pt idx="42">
                  <c:v>0.10462299553808144</c:v>
                </c:pt>
                <c:pt idx="43">
                  <c:v>0.10909586577540584</c:v>
                </c:pt>
                <c:pt idx="44">
                  <c:v>0.11457391974337808</c:v>
                </c:pt>
                <c:pt idx="45">
                  <c:v>0.11948609663163737</c:v>
                </c:pt>
                <c:pt idx="46">
                  <c:v>0.12204377393432267</c:v>
                </c:pt>
                <c:pt idx="47">
                  <c:v>0.11907808934605621</c:v>
                </c:pt>
                <c:pt idx="48">
                  <c:v>0.12698392503260342</c:v>
                </c:pt>
                <c:pt idx="49">
                  <c:v>0.1346747626111484</c:v>
                </c:pt>
                <c:pt idx="50">
                  <c:v>0.14235668662814127</c:v>
                </c:pt>
                <c:pt idx="51">
                  <c:v>0.13598008987892046</c:v>
                </c:pt>
                <c:pt idx="52">
                  <c:v>0.13984838398298255</c:v>
                </c:pt>
                <c:pt idx="53">
                  <c:v>0.20043234483048536</c:v>
                </c:pt>
                <c:pt idx="54">
                  <c:v>0.121680303269386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906.0"/>
          <c:min val="55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960087479496993"/>
          <c:min val="0.05963714747619902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0.6593630241965018</c:v>
                </c:pt>
                <c:pt idx="1">
                  <c:v>1.1518680100516847</c:v>
                </c:pt>
                <c:pt idx="2">
                  <c:v>1.1546220866287324</c:v>
                </c:pt>
                <c:pt idx="3">
                  <c:v>1.3897784203487513</c:v>
                </c:pt>
                <c:pt idx="4">
                  <c:v>1.062298922307349</c:v>
                </c:pt>
                <c:pt idx="5">
                  <c:v>0.8123726862375293</c:v>
                </c:pt>
                <c:pt idx="6">
                  <c:v>1.070433805591621</c:v>
                </c:pt>
                <c:pt idx="7">
                  <c:v>0.6456259301125604</c:v>
                </c:pt>
                <c:pt idx="8">
                  <c:v>0.9458313208929685</c:v>
                </c:pt>
                <c:pt idx="9">
                  <c:v>0.8902207923846459</c:v>
                </c:pt>
                <c:pt idx="10">
                  <c:v>1.3330064878525578</c:v>
                </c:pt>
                <c:pt idx="11">
                  <c:v>0.8700561353340357</c:v>
                </c:pt>
                <c:pt idx="12">
                  <c:v>1.1797804436674029</c:v>
                </c:pt>
                <c:pt idx="13">
                  <c:v>1.0367398851254452</c:v>
                </c:pt>
                <c:pt idx="14">
                  <c:v>1.1432710966819306</c:v>
                </c:pt>
                <c:pt idx="15">
                  <c:v>0.7000795414363356</c:v>
                </c:pt>
                <c:pt idx="16">
                  <c:v>0.3857111854004411</c:v>
                </c:pt>
                <c:pt idx="17">
                  <c:v>0.7667267103222597</c:v>
                </c:pt>
                <c:pt idx="18">
                  <c:v>0.6019525366986681</c:v>
                </c:pt>
                <c:pt idx="19">
                  <c:v>0.6356418420338333</c:v>
                </c:pt>
                <c:pt idx="20">
                  <c:v>0.5336404509977409</c:v>
                </c:pt>
                <c:pt idx="21">
                  <c:v>0.6592042834973055</c:v>
                </c:pt>
                <c:pt idx="22">
                  <c:v>0.9895200460054941</c:v>
                </c:pt>
                <c:pt idx="23">
                  <c:v>0.7531117349171879</c:v>
                </c:pt>
                <c:pt idx="24">
                  <c:v>0.5617562796757503</c:v>
                </c:pt>
                <c:pt idx="25">
                  <c:v>0.9567362784886525</c:v>
                </c:pt>
                <c:pt idx="26">
                  <c:v>1.11820753557372</c:v>
                </c:pt>
                <c:pt idx="27">
                  <c:v>0.4747581321168044</c:v>
                </c:pt>
                <c:pt idx="28">
                  <c:v>1.0154308443878513</c:v>
                </c:pt>
                <c:pt idx="29">
                  <c:v>0.5191303469990144</c:v>
                </c:pt>
                <c:pt idx="30">
                  <c:v>0.654491620646235</c:v>
                </c:pt>
                <c:pt idx="31">
                  <c:v>0.7641930316904136</c:v>
                </c:pt>
                <c:pt idx="32">
                  <c:v>0.4663222765849501</c:v>
                </c:pt>
                <c:pt idx="33">
                  <c:v>0.4987644083004832</c:v>
                </c:pt>
                <c:pt idx="34">
                  <c:v>0.5659620823530634</c:v>
                </c:pt>
                <c:pt idx="35">
                  <c:v>0.9029010239145515</c:v>
                </c:pt>
                <c:pt idx="36">
                  <c:v>0.582250615964384</c:v>
                </c:pt>
                <c:pt idx="37">
                  <c:v>0.9824846689825423</c:v>
                </c:pt>
                <c:pt idx="38">
                  <c:v>0.712277196869653</c:v>
                </c:pt>
                <c:pt idx="39">
                  <c:v>0.7773605781924586</c:v>
                </c:pt>
                <c:pt idx="40">
                  <c:v>0.6891914913272374</c:v>
                </c:pt>
                <c:pt idx="41">
                  <c:v>1.4084300192866928</c:v>
                </c:pt>
                <c:pt idx="42">
                  <c:v>0.7631614110063994</c:v>
                </c:pt>
                <c:pt idx="43">
                  <c:v>0.5830606784248723</c:v>
                </c:pt>
                <c:pt idx="44">
                  <c:v>0.6991501933335076</c:v>
                </c:pt>
                <c:pt idx="45">
                  <c:v>0.6506799302664708</c:v>
                </c:pt>
                <c:pt idx="46">
                  <c:v>0.5872913121931779</c:v>
                </c:pt>
                <c:pt idx="47">
                  <c:v>0.7846391053157014</c:v>
                </c:pt>
                <c:pt idx="48">
                  <c:v>0.6309511513174553</c:v>
                </c:pt>
                <c:pt idx="49">
                  <c:v>0.6220493004117846</c:v>
                </c:pt>
                <c:pt idx="50">
                  <c:v>0.6611976210874101</c:v>
                </c:pt>
                <c:pt idx="51">
                  <c:v>0.7296523387282194</c:v>
                </c:pt>
                <c:pt idx="52">
                  <c:v>0.5540563752043274</c:v>
                </c:pt>
                <c:pt idx="53">
                  <c:v>0.5230096199396719</c:v>
                </c:pt>
                <c:pt idx="54">
                  <c:v>0.6447757148964547</c:v>
                </c:pt>
                <c:pt idx="55">
                  <c:v>2.3453052718272374</c:v>
                </c:pt>
                <c:pt idx="56">
                  <c:v>0.9554059626605014</c:v>
                </c:pt>
                <c:pt idx="57">
                  <c:v>1.7323898398840343</c:v>
                </c:pt>
                <c:pt idx="58">
                  <c:v>0.8819437894957488</c:v>
                </c:pt>
                <c:pt idx="59">
                  <c:v>0.7368020641157169</c:v>
                </c:pt>
                <c:pt idx="60">
                  <c:v>0.7007914950930962</c:v>
                </c:pt>
                <c:pt idx="61">
                  <c:v>0.6812703410170703</c:v>
                </c:pt>
                <c:pt idx="62">
                  <c:v>0.6329324794929968</c:v>
                </c:pt>
                <c:pt idx="63">
                  <c:v>0.5436736385239097</c:v>
                </c:pt>
                <c:pt idx="64">
                  <c:v>0.5610918669792222</c:v>
                </c:pt>
                <c:pt idx="65">
                  <c:v>1.188252957752792</c:v>
                </c:pt>
                <c:pt idx="66">
                  <c:v>1.7763196006045703</c:v>
                </c:pt>
                <c:pt idx="67">
                  <c:v>0.8894548618769961</c:v>
                </c:pt>
                <c:pt idx="68">
                  <c:v>2.835284812320067</c:v>
                </c:pt>
                <c:pt idx="69">
                  <c:v>0.9029305902319952</c:v>
                </c:pt>
                <c:pt idx="70">
                  <c:v>0.8830140627295553</c:v>
                </c:pt>
                <c:pt idx="71">
                  <c:v>0.9194504163899427</c:v>
                </c:pt>
                <c:pt idx="72">
                  <c:v>0.9034967570474944</c:v>
                </c:pt>
                <c:pt idx="73">
                  <c:v>0.8829179836779175</c:v>
                </c:pt>
                <c:pt idx="74">
                  <c:v>0.8177888508977417</c:v>
                </c:pt>
                <c:pt idx="75">
                  <c:v>1.1329504043352514</c:v>
                </c:pt>
                <c:pt idx="76">
                  <c:v>1.1215530976132977</c:v>
                </c:pt>
                <c:pt idx="77">
                  <c:v>0.6017512064212491</c:v>
                </c:pt>
                <c:pt idx="78">
                  <c:v>2.9106730043634244</c:v>
                </c:pt>
                <c:pt idx="79">
                  <c:v>2.278694795627389</c:v>
                </c:pt>
                <c:pt idx="80">
                  <c:v>2.2159930549115074</c:v>
                </c:pt>
                <c:pt idx="81">
                  <c:v>1.9516402157271153</c:v>
                </c:pt>
                <c:pt idx="82">
                  <c:v>2.65367705521549</c:v>
                </c:pt>
                <c:pt idx="83">
                  <c:v>3.476850290652538</c:v>
                </c:pt>
                <c:pt idx="84">
                  <c:v>1.1710000203456645</c:v>
                </c:pt>
                <c:pt idx="85">
                  <c:v>2.1014901975334146</c:v>
                </c:pt>
                <c:pt idx="86">
                  <c:v>1.0056684829912337</c:v>
                </c:pt>
                <c:pt idx="87">
                  <c:v>1.8215376811886486</c:v>
                </c:pt>
              </c:numCache>
            </c:numRef>
          </c:xVal>
          <c:yVal>
            <c:numRef>
              <c:f>Sheet1!$B$2:$B$89</c:f>
              <c:numCache>
                <c:formatCode>General</c:formatCode>
                <c:ptCount val="88"/>
                <c:pt idx="0">
                  <c:v>0.0013899920571882446</c:v>
                </c:pt>
                <c:pt idx="1">
                  <c:v>0.0003280481137233461</c:v>
                </c:pt>
                <c:pt idx="2">
                  <c:v>0.0003180324393088095</c:v>
                </c:pt>
                <c:pt idx="3">
                  <c:v>0.00021666125013541327</c:v>
                </c:pt>
                <c:pt idx="4">
                  <c:v>0.000253324889170361</c:v>
                </c:pt>
                <c:pt idx="5">
                  <c:v>0.0006664001066240171</c:v>
                </c:pt>
                <c:pt idx="6">
                  <c:v>0.0007710100231303007</c:v>
                </c:pt>
                <c:pt idx="7">
                  <c:v>0.0009916418756197763</c:v>
                </c:pt>
                <c:pt idx="8">
                  <c:v>0.0005517241379310345</c:v>
                </c:pt>
                <c:pt idx="9">
                  <c:v>0.0007114062129475931</c:v>
                </c:pt>
                <c:pt idx="10">
                  <c:v>0.0003320420586607637</c:v>
                </c:pt>
                <c:pt idx="11">
                  <c:v>0.0007222451506397028</c:v>
                </c:pt>
                <c:pt idx="12">
                  <c:v>0.0005499541704857929</c:v>
                </c:pt>
                <c:pt idx="13">
                  <c:v>0.000625130235465722</c:v>
                </c:pt>
                <c:pt idx="14">
                  <c:v>0.000224290680722216</c:v>
                </c:pt>
                <c:pt idx="15">
                  <c:v>0.0006429214350006429</c:v>
                </c:pt>
                <c:pt idx="16">
                  <c:v>0.0005787874403125452</c:v>
                </c:pt>
                <c:pt idx="17">
                  <c:v>0.0004809233728759218</c:v>
                </c:pt>
                <c:pt idx="18">
                  <c:v>0.0006128702757916241</c:v>
                </c:pt>
                <c:pt idx="19">
                  <c:v>0.000672834314550042</c:v>
                </c:pt>
                <c:pt idx="20">
                  <c:v>0.0003861749372465727</c:v>
                </c:pt>
                <c:pt idx="21">
                  <c:v>0.0010588733587462938</c:v>
                </c:pt>
                <c:pt idx="22">
                  <c:v>0.0006499133448873484</c:v>
                </c:pt>
                <c:pt idx="23">
                  <c:v>0.0010187449062754685</c:v>
                </c:pt>
                <c:pt idx="24">
                  <c:v>0.0015992689056431345</c:v>
                </c:pt>
                <c:pt idx="25">
                  <c:v>0.0009389671361502347</c:v>
                </c:pt>
                <c:pt idx="26">
                  <c:v>0.0003829216925138809</c:v>
                </c:pt>
                <c:pt idx="27">
                  <c:v>0.0009613535858488752</c:v>
                </c:pt>
                <c:pt idx="28">
                  <c:v>0.0006884681583476765</c:v>
                </c:pt>
                <c:pt idx="29">
                  <c:v>0.0008615119534783546</c:v>
                </c:pt>
                <c:pt idx="30">
                  <c:v>0.0008605851979345956</c:v>
                </c:pt>
                <c:pt idx="31">
                  <c:v>0.0006612298875909191</c:v>
                </c:pt>
                <c:pt idx="32">
                  <c:v>0.0019029495718363464</c:v>
                </c:pt>
                <c:pt idx="33">
                  <c:v>0.0020938754144128424</c:v>
                </c:pt>
                <c:pt idx="34">
                  <c:v>0.0019305019305019305</c:v>
                </c:pt>
                <c:pt idx="35">
                  <c:v>0.0006308153288124901</c:v>
                </c:pt>
                <c:pt idx="36">
                  <c:v>0.0007662835249042146</c:v>
                </c:pt>
                <c:pt idx="37">
                  <c:v>0.0003685277317118113</c:v>
                </c:pt>
                <c:pt idx="38">
                  <c:v>0.0008151620134501732</c:v>
                </c:pt>
                <c:pt idx="39">
                  <c:v>0.0005020920502092051</c:v>
                </c:pt>
                <c:pt idx="40">
                  <c:v>0.00055452865064695</c:v>
                </c:pt>
                <c:pt idx="41">
                  <c:v>0.00015669069257286117</c:v>
                </c:pt>
                <c:pt idx="42">
                  <c:v>0.0005485463521667581</c:v>
                </c:pt>
                <c:pt idx="43">
                  <c:v>0.0007422330611812109</c:v>
                </c:pt>
                <c:pt idx="44">
                  <c:v>0.0004979087831109341</c:v>
                </c:pt>
                <c:pt idx="45">
                  <c:v>0.0010732754415064885</c:v>
                </c:pt>
                <c:pt idx="46">
                  <c:v>0.0013006503251625813</c:v>
                </c:pt>
                <c:pt idx="47">
                  <c:v>0.0007183908045977011</c:v>
                </c:pt>
                <c:pt idx="48">
                  <c:v>0.0008392575039494471</c:v>
                </c:pt>
                <c:pt idx="49">
                  <c:v>0.0009613843935266784</c:v>
                </c:pt>
                <c:pt idx="50">
                  <c:v>0.0008946144211844695</c:v>
                </c:pt>
                <c:pt idx="51">
                  <c:v>0.0003058103975535168</c:v>
                </c:pt>
                <c:pt idx="52">
                  <c:v>0.0005198585984612185</c:v>
                </c:pt>
                <c:pt idx="53">
                  <c:v>0.001129305477131564</c:v>
                </c:pt>
                <c:pt idx="54">
                  <c:v>0.0005919962112242482</c:v>
                </c:pt>
                <c:pt idx="55">
                  <c:v>0.00011396011396011396</c:v>
                </c:pt>
                <c:pt idx="56">
                  <c:v>0.0002042692268409764</c:v>
                </c:pt>
                <c:pt idx="57">
                  <c:v>9.304922303898763e-05</c:v>
                </c:pt>
                <c:pt idx="58">
                  <c:v>0.00024464831804281347</c:v>
                </c:pt>
                <c:pt idx="59">
                  <c:v>0.00025375880225845333</c:v>
                </c:pt>
                <c:pt idx="60">
                  <c:v>0.00042369290738073043</c:v>
                </c:pt>
                <c:pt idx="61">
                  <c:v>0.0003549560741858195</c:v>
                </c:pt>
                <c:pt idx="62">
                  <c:v>0.00045558086560364467</c:v>
                </c:pt>
                <c:pt idx="63">
                  <c:v>0.0006550218340611354</c:v>
                </c:pt>
                <c:pt idx="64">
                  <c:v>0.00039856516540454366</c:v>
                </c:pt>
                <c:pt idx="65">
                  <c:v>8.676036786395974e-05</c:v>
                </c:pt>
                <c:pt idx="66">
                  <c:v>8.946144211844694e-05</c:v>
                </c:pt>
                <c:pt idx="67">
                  <c:v>0.0002586987453110852</c:v>
                </c:pt>
                <c:pt idx="68">
                  <c:v>0.0001255020080321285</c:v>
                </c:pt>
                <c:pt idx="69">
                  <c:v>0.0006367804381049414</c:v>
                </c:pt>
                <c:pt idx="70">
                  <c:v>0.0009066183136899365</c:v>
                </c:pt>
                <c:pt idx="71">
                  <c:v>0.0007687576875768758</c:v>
                </c:pt>
                <c:pt idx="72">
                  <c:v>0.00079923273657289</c:v>
                </c:pt>
                <c:pt idx="73">
                  <c:v>0.0008008970046452026</c:v>
                </c:pt>
                <c:pt idx="74">
                  <c:v>0.0012612612612612612</c:v>
                </c:pt>
                <c:pt idx="75">
                  <c:v>0.0009174311926605505</c:v>
                </c:pt>
                <c:pt idx="76">
                  <c:v>0.0007276696379843551</c:v>
                </c:pt>
                <c:pt idx="77">
                  <c:v>0.0016183610416360158</c:v>
                </c:pt>
                <c:pt idx="78">
                  <c:v>0.0001850481125092524</c:v>
                </c:pt>
                <c:pt idx="79">
                  <c:v>0.0002289901534234028</c:v>
                </c:pt>
                <c:pt idx="80">
                  <c:v>0.0002296211251435132</c:v>
                </c:pt>
                <c:pt idx="81">
                  <c:v>8.244702778464837e-05</c:v>
                </c:pt>
                <c:pt idx="82">
                  <c:v>6.564264145989234e-05</c:v>
                </c:pt>
                <c:pt idx="83">
                  <c:v>4.390586582367404e-05</c:v>
                </c:pt>
                <c:pt idx="84">
                  <c:v>0.00014455044810638914</c:v>
                </c:pt>
                <c:pt idx="85">
                  <c:v>7.172572084349448e-05</c:v>
                </c:pt>
                <c:pt idx="86">
                  <c:v>0.00023084025854108956</c:v>
                </c:pt>
                <c:pt idx="87">
                  <c:v>8.382932349735938e-05</c:v>
                </c:pt>
              </c:numCache>
            </c:numRef>
          </c:yVal>
          <c:smooth val="0"/>
          <c:extLst>
            <c:ext xmlns:c16="http://schemas.microsoft.com/office/drawing/2014/chart" uri="{C3380CC4-5D6E-409C-BE32-E72D297353CC}">
              <c16:uniqueId val="{00000000-096C-4121-9522-6AB7243CCAAE}"/>
            </c:ext>
          </c:extLst>
        </c:ser>
        <c:ser>
          <c:idx val="1"/>
          <c:order val="1"/>
          <c:tx>
            <c:strRef>
              <c:f>Sheet1!$B$9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947122463243624</c:v>
                </c:pt>
                <c:pt idx="21">
                  <c:v>1.061367763887824</c:v>
                </c:pt>
                <c:pt idx="22">
                  <c:v>0.0</c:v>
                </c:pt>
                <c:pt idx="23">
                  <c:v>0.0</c:v>
                </c:pt>
                <c:pt idx="24">
                  <c:v>1.5367525210306048</c:v>
                </c:pt>
                <c:pt idx="25">
                  <c:v>0.0</c:v>
                </c:pt>
                <c:pt idx="26">
                  <c:v>0.8239675932648869</c:v>
                </c:pt>
                <c:pt idx="27">
                  <c:v>1.2511552025620791</c:v>
                </c:pt>
                <c:pt idx="28">
                  <c:v>1.524883017228131</c:v>
                </c:pt>
                <c:pt idx="29">
                  <c:v>0.0</c:v>
                </c:pt>
                <c:pt idx="30">
                  <c:v>0.0</c:v>
                </c:pt>
                <c:pt idx="31">
                  <c:v>2.2455006877745163</c:v>
                </c:pt>
                <c:pt idx="32">
                  <c:v>1.8630201591585918</c:v>
                </c:pt>
                <c:pt idx="33">
                  <c:v>1.7131171162732897</c:v>
                </c:pt>
                <c:pt idx="34">
                  <c:v>0.0</c:v>
                </c:pt>
                <c:pt idx="35">
                  <c:v>0.0</c:v>
                </c:pt>
                <c:pt idx="36">
                  <c:v>1.777133631343406</c:v>
                </c:pt>
                <c:pt idx="37">
                  <c:v>0.0</c:v>
                </c:pt>
                <c:pt idx="38">
                  <c:v>0.9342125399153389</c:v>
                </c:pt>
                <c:pt idx="39">
                  <c:v>0.7509426202127689</c:v>
                </c:pt>
                <c:pt idx="40">
                  <c:v>0.8248064003631735</c:v>
                </c:pt>
                <c:pt idx="41">
                  <c:v>1.4505690132035487</c:v>
                </c:pt>
                <c:pt idx="42">
                  <c:v>0.642940847615439</c:v>
                </c:pt>
                <c:pt idx="43">
                  <c:v>0.5294861617588247</c:v>
                </c:pt>
                <c:pt idx="44">
                  <c:v>0.5894101247441538</c:v>
                </c:pt>
                <c:pt idx="45">
                  <c:v>0.9419683181399864</c:v>
                </c:pt>
                <c:pt idx="46">
                  <c:v>0.687427516124962</c:v>
                </c:pt>
                <c:pt idx="47">
                  <c:v>0.8088399974767335</c:v>
                </c:pt>
                <c:pt idx="48">
                  <c:v>0.0</c:v>
                </c:pt>
                <c:pt idx="49">
                  <c:v>0.6970772876415939</c:v>
                </c:pt>
                <c:pt idx="50">
                  <c:v>0.284667636686498</c:v>
                </c:pt>
                <c:pt idx="51">
                  <c:v>0.27640772765083393</c:v>
                </c:pt>
                <c:pt idx="52">
                  <c:v>0.48100419295627433</c:v>
                </c:pt>
                <c:pt idx="53">
                  <c:v>0.0</c:v>
                </c:pt>
                <c:pt idx="54">
                  <c:v>0.0</c:v>
                </c:pt>
                <c:pt idx="55">
                  <c:v>0.0</c:v>
                </c:pt>
                <c:pt idx="56">
                  <c:v>0.0</c:v>
                </c:pt>
                <c:pt idx="57">
                  <c:v>1.6741216893254285</c:v>
                </c:pt>
                <c:pt idx="58">
                  <c:v>1.2689261539374557</c:v>
                </c:pt>
                <c:pt idx="59">
                  <c:v>1.5603948915717598</c:v>
                </c:pt>
                <c:pt idx="60">
                  <c:v>0.0</c:v>
                </c:pt>
                <c:pt idx="61">
                  <c:v>0.0</c:v>
                </c:pt>
                <c:pt idx="62">
                  <c:v>0.0</c:v>
                </c:pt>
                <c:pt idx="63">
                  <c:v>0.0</c:v>
                </c:pt>
                <c:pt idx="64">
                  <c:v>0.0</c:v>
                </c:pt>
                <c:pt idx="65">
                  <c:v>0.0</c:v>
                </c:pt>
                <c:pt idx="66">
                  <c:v>0.0</c:v>
                </c:pt>
                <c:pt idx="67">
                  <c:v>0.8460093737838614</c:v>
                </c:pt>
                <c:pt idx="68">
                  <c:v>2.3198606390673793</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7.617306520414382e-05</c:v>
                </c:pt>
                <c:pt idx="21">
                  <c:v>0.00016248273620927777</c:v>
                </c:pt>
                <c:pt idx="22">
                  <c:v>0.0</c:v>
                </c:pt>
                <c:pt idx="23">
                  <c:v>0.0</c:v>
                </c:pt>
                <c:pt idx="24">
                  <c:v>0.00011976047904191617</c:v>
                </c:pt>
                <c:pt idx="25">
                  <c:v>0.0</c:v>
                </c:pt>
                <c:pt idx="26">
                  <c:v>0.00022150847269908073</c:v>
                </c:pt>
                <c:pt idx="27">
                  <c:v>0.00010263779123473263</c:v>
                </c:pt>
                <c:pt idx="28">
                  <c:v>0.0001756388864494599</c:v>
                </c:pt>
                <c:pt idx="29">
                  <c:v>0.0</c:v>
                </c:pt>
                <c:pt idx="30">
                  <c:v>0.0</c:v>
                </c:pt>
                <c:pt idx="31">
                  <c:v>9.857072449482504e-05</c:v>
                </c:pt>
                <c:pt idx="32">
                  <c:v>0.00010185373803218578</c:v>
                </c:pt>
                <c:pt idx="33">
                  <c:v>0.00022596316800361542</c:v>
                </c:pt>
                <c:pt idx="34">
                  <c:v>0.0</c:v>
                </c:pt>
                <c:pt idx="35">
                  <c:v>0.0</c:v>
                </c:pt>
                <c:pt idx="36">
                  <c:v>0.00012732365673542143</c:v>
                </c:pt>
                <c:pt idx="37">
                  <c:v>0.0</c:v>
                </c:pt>
                <c:pt idx="38">
                  <c:v>0.0003575259206292456</c:v>
                </c:pt>
                <c:pt idx="39">
                  <c:v>0.0003604253018561903</c:v>
                </c:pt>
                <c:pt idx="40">
                  <c:v>0.00017409470752089137</c:v>
                </c:pt>
                <c:pt idx="41">
                  <c:v>0.00016302575806977502</c:v>
                </c:pt>
                <c:pt idx="42">
                  <c:v>0.0005128205128205128</c:v>
                </c:pt>
                <c:pt idx="43">
                  <c:v>0.0008548469823901521</c:v>
                </c:pt>
                <c:pt idx="44">
                  <c:v>0.00031377470975839345</c:v>
                </c:pt>
                <c:pt idx="45">
                  <c:v>0.0002828854314002829</c:v>
                </c:pt>
                <c:pt idx="46">
                  <c:v>0.0003399048266485384</c:v>
                </c:pt>
                <c:pt idx="47">
                  <c:v>0.00017793594306049823</c:v>
                </c:pt>
                <c:pt idx="48">
                  <c:v>0.0</c:v>
                </c:pt>
                <c:pt idx="49">
                  <c:v>0.00017962996227770793</c:v>
                </c:pt>
                <c:pt idx="50">
                  <c:v>0.0007192950908110052</c:v>
                </c:pt>
                <c:pt idx="51">
                  <c:v>0.0006172839506172839</c:v>
                </c:pt>
                <c:pt idx="52">
                  <c:v>0.0006808278867102397</c:v>
                </c:pt>
                <c:pt idx="53">
                  <c:v>0.0</c:v>
                </c:pt>
                <c:pt idx="54">
                  <c:v>0.0</c:v>
                </c:pt>
                <c:pt idx="55">
                  <c:v>0.0</c:v>
                </c:pt>
                <c:pt idx="56">
                  <c:v>0.0</c:v>
                </c:pt>
                <c:pt idx="57">
                  <c:v>0.00014954389113204725</c:v>
                </c:pt>
                <c:pt idx="58">
                  <c:v>0.00014112334180073385</c:v>
                </c:pt>
                <c:pt idx="59">
                  <c:v>0.00015463120457708364</c:v>
                </c:pt>
                <c:pt idx="60">
                  <c:v>0.0</c:v>
                </c:pt>
                <c:pt idx="61">
                  <c:v>0.0</c:v>
                </c:pt>
                <c:pt idx="62">
                  <c:v>0.0</c:v>
                </c:pt>
                <c:pt idx="63">
                  <c:v>0.0</c:v>
                </c:pt>
                <c:pt idx="64">
                  <c:v>0.0</c:v>
                </c:pt>
                <c:pt idx="65">
                  <c:v>0.0</c:v>
                </c:pt>
                <c:pt idx="66">
                  <c:v>0.0</c:v>
                </c:pt>
                <c:pt idx="67">
                  <c:v>0.00016380687169826775</c:v>
                </c:pt>
                <c:pt idx="68">
                  <c:v>6.692096633875393e-0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1.343519208362778</c:v>
                </c:pt>
              </c:numCache>
            </c:numRef>
          </c:xVal>
          <c:yVal>
            <c:numRef>
              <c:f>Sheet1!$B$163:$B$164</c:f>
              <c:numCache>
                <c:formatCode>General</c:formatCode>
                <c:ptCount val="2"/>
                <c:pt idx="0">
                  <c:v>0.0010522048548973822</c:v>
                </c:pt>
                <c:pt idx="1">
                  <c:v>0.00105220485489738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1.343519208362778</c:v>
                </c:pt>
                <c:pt idx="1">
                  <c:v>11.343519208362778</c:v>
                </c:pt>
              </c:numCache>
            </c:numRef>
          </c:xVal>
          <c:yVal>
            <c:numRef>
              <c:f>Sheet1!$B$167:$B$168</c:f>
              <c:numCache>
                <c:formatCode>General</c:formatCode>
                <c:ptCount val="2"/>
                <c:pt idx="0">
                  <c:v>0.00105220485489738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3.3500959171548543</c:v>
                </c:pt>
              </c:numCache>
            </c:numRef>
          </c:xVal>
          <c:yVal>
            <c:numRef>
              <c:f>Sheet1!$B$171:$B$172</c:f>
              <c:numCache>
                <c:formatCode>General</c:formatCode>
                <c:ptCount val="2"/>
                <c:pt idx="0">
                  <c:v>0.00036122485978701784</c:v>
                </c:pt>
                <c:pt idx="1">
                  <c:v>0.0003612248597870178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3.3500959171548543</c:v>
                </c:pt>
                <c:pt idx="1">
                  <c:v>3.3500959171548543</c:v>
                </c:pt>
              </c:numCache>
            </c:numRef>
          </c:xVal>
          <c:yVal>
            <c:numRef>
              <c:f>Sheet1!$B$175:$B$176</c:f>
              <c:numCache>
                <c:formatCode>General</c:formatCode>
                <c:ptCount val="2"/>
                <c:pt idx="0">
                  <c:v>0.000361224859787017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270684836361749</c:v>
                </c:pt>
              </c:numCache>
            </c:numRef>
          </c:xVal>
          <c:yVal>
            <c:numRef>
              <c:f>Sheet1!$B$179:$B$180</c:f>
              <c:numCache>
                <c:formatCode>General</c:formatCode>
                <c:ptCount val="2"/>
                <c:pt idx="0">
                  <c:v>5.200202119591434e-05</c:v>
                </c:pt>
                <c:pt idx="1">
                  <c:v>5.200202119591434e-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270684836361749</c:v>
                </c:pt>
                <c:pt idx="1">
                  <c:v>-0.2270684836361749</c:v>
                </c:pt>
              </c:numCache>
            </c:numRef>
          </c:xVal>
          <c:yVal>
            <c:numRef>
              <c:f>Sheet1!$B$183:$B$184</c:f>
              <c:numCache>
                <c:formatCode>General</c:formatCode>
                <c:ptCount val="2"/>
                <c:pt idx="0">
                  <c:v>5.200202119591434e-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947122463243624</c:v>
                </c:pt>
                <c:pt idx="21">
                  <c:v>1.061367763887824</c:v>
                </c:pt>
                <c:pt idx="22">
                  <c:v>0.0</c:v>
                </c:pt>
                <c:pt idx="23">
                  <c:v>0.0</c:v>
                </c:pt>
                <c:pt idx="24">
                  <c:v>1.5367525210306048</c:v>
                </c:pt>
                <c:pt idx="25">
                  <c:v>0.0</c:v>
                </c:pt>
                <c:pt idx="26">
                  <c:v>0.8239675932648869</c:v>
                </c:pt>
                <c:pt idx="27">
                  <c:v>1.2511552025620791</c:v>
                </c:pt>
                <c:pt idx="28">
                  <c:v>1.524883017228131</c:v>
                </c:pt>
                <c:pt idx="29">
                  <c:v>0.0</c:v>
                </c:pt>
                <c:pt idx="30">
                  <c:v>0.0</c:v>
                </c:pt>
                <c:pt idx="31">
                  <c:v>2.2455006877745163</c:v>
                </c:pt>
                <c:pt idx="32">
                  <c:v>1.8630201591585918</c:v>
                </c:pt>
                <c:pt idx="33">
                  <c:v>1.7131171162732897</c:v>
                </c:pt>
                <c:pt idx="34">
                  <c:v>0.0</c:v>
                </c:pt>
                <c:pt idx="35">
                  <c:v>0.0</c:v>
                </c:pt>
                <c:pt idx="36">
                  <c:v>1.777133631343406</c:v>
                </c:pt>
                <c:pt idx="37">
                  <c:v>0.0</c:v>
                </c:pt>
                <c:pt idx="38">
                  <c:v>0.9342125399153389</c:v>
                </c:pt>
                <c:pt idx="39">
                  <c:v>0.7509426202127689</c:v>
                </c:pt>
                <c:pt idx="40">
                  <c:v>0.8248064003631735</c:v>
                </c:pt>
                <c:pt idx="41">
                  <c:v>1.4505690132035487</c:v>
                </c:pt>
                <c:pt idx="42">
                  <c:v>0.642940847615439</c:v>
                </c:pt>
                <c:pt idx="43">
                  <c:v>0.5294861617588247</c:v>
                </c:pt>
                <c:pt idx="44">
                  <c:v>0.5894101247441538</c:v>
                </c:pt>
                <c:pt idx="45">
                  <c:v>0.9419683181399864</c:v>
                </c:pt>
                <c:pt idx="46">
                  <c:v>0.687427516124962</c:v>
                </c:pt>
                <c:pt idx="47">
                  <c:v>0.8088399974767335</c:v>
                </c:pt>
                <c:pt idx="48">
                  <c:v>0.0</c:v>
                </c:pt>
                <c:pt idx="49">
                  <c:v>0.6970772876415939</c:v>
                </c:pt>
                <c:pt idx="50">
                  <c:v>0.284667636686498</c:v>
                </c:pt>
                <c:pt idx="51">
                  <c:v>0.27640772765083393</c:v>
                </c:pt>
                <c:pt idx="52">
                  <c:v>0.48100419295627433</c:v>
                </c:pt>
                <c:pt idx="53">
                  <c:v>0.0</c:v>
                </c:pt>
                <c:pt idx="54">
                  <c:v>0.0</c:v>
                </c:pt>
                <c:pt idx="55">
                  <c:v>0.0</c:v>
                </c:pt>
                <c:pt idx="56">
                  <c:v>0.0</c:v>
                </c:pt>
                <c:pt idx="57">
                  <c:v>1.6741216893254285</c:v>
                </c:pt>
                <c:pt idx="58">
                  <c:v>1.2689261539374557</c:v>
                </c:pt>
                <c:pt idx="59">
                  <c:v>1.5603948915717598</c:v>
                </c:pt>
                <c:pt idx="60">
                  <c:v>0.0</c:v>
                </c:pt>
                <c:pt idx="61">
                  <c:v>0.0</c:v>
                </c:pt>
                <c:pt idx="62">
                  <c:v>0.0</c:v>
                </c:pt>
                <c:pt idx="63">
                  <c:v>0.0</c:v>
                </c:pt>
                <c:pt idx="64">
                  <c:v>0.0</c:v>
                </c:pt>
                <c:pt idx="65">
                  <c:v>0.0</c:v>
                </c:pt>
                <c:pt idx="66">
                  <c:v>0.0</c:v>
                </c:pt>
                <c:pt idx="67">
                  <c:v>0.8460093737838614</c:v>
                </c:pt>
                <c:pt idx="68">
                  <c:v>2.3198606390673793</c:v>
                </c:pt>
                <c:pt idx="69">
                  <c:v>3.3500959171548543</c:v>
                </c:pt>
                <c:pt idx="70">
                  <c:v>11.343519208362778</c:v>
                </c:pt>
                <c:pt idx="71">
                  <c:v>-0.2270684836361749</c:v>
                </c:pt>
              </c:numCache>
            </c:numRef>
          </c:xVal>
          <c:yVal>
            <c:numRef>
              <c:f>Sheet1!$B$187:$B$258</c:f>
              <c:numCache>
                <c:formatCode>General</c:formatCode>
                <c:ptCount val="72"/>
                <c:pt idx="0">
                  <c:v>7.163063011560188e-05</c:v>
                </c:pt>
                <c:pt idx="1">
                  <c:v>7.163063011560188e-05</c:v>
                </c:pt>
                <c:pt idx="2">
                  <c:v>7.163063011560188e-05</c:v>
                </c:pt>
                <c:pt idx="3">
                  <c:v>7.163063011560188e-05</c:v>
                </c:pt>
                <c:pt idx="4">
                  <c:v>7.163063011560188e-05</c:v>
                </c:pt>
                <c:pt idx="5">
                  <c:v>7.163063011560188e-05</c:v>
                </c:pt>
                <c:pt idx="6">
                  <c:v>7.163063011560188e-05</c:v>
                </c:pt>
                <c:pt idx="7">
                  <c:v>7.163063011560188e-05</c:v>
                </c:pt>
                <c:pt idx="8">
                  <c:v>7.163063011560188e-05</c:v>
                </c:pt>
                <c:pt idx="9">
                  <c:v>7.163063011560188e-05</c:v>
                </c:pt>
                <c:pt idx="10">
                  <c:v>7.163063011560188e-05</c:v>
                </c:pt>
                <c:pt idx="11">
                  <c:v>7.163063011560188e-05</c:v>
                </c:pt>
                <c:pt idx="12">
                  <c:v>7.163063011560188e-05</c:v>
                </c:pt>
                <c:pt idx="13">
                  <c:v>7.163063011560188e-05</c:v>
                </c:pt>
                <c:pt idx="14">
                  <c:v>7.163063011560188e-05</c:v>
                </c:pt>
                <c:pt idx="15">
                  <c:v>7.163063011560188e-05</c:v>
                </c:pt>
                <c:pt idx="16">
                  <c:v>7.163063011560188e-05</c:v>
                </c:pt>
                <c:pt idx="17">
                  <c:v>7.163063011560188e-05</c:v>
                </c:pt>
                <c:pt idx="18">
                  <c:v>7.163063011560188e-05</c:v>
                </c:pt>
                <c:pt idx="19">
                  <c:v>7.163063011560188e-05</c:v>
                </c:pt>
                <c:pt idx="20">
                  <c:v>0.0002399468347148515</c:v>
                </c:pt>
                <c:pt idx="21">
                  <c:v>0.00016337904197665849</c:v>
                </c:pt>
                <c:pt idx="22">
                  <c:v>7.163063011560188e-05</c:v>
                </c:pt>
                <c:pt idx="23">
                  <c:v>7.163063011560188e-05</c:v>
                </c:pt>
                <c:pt idx="24">
                  <c:v>0.00020447299449226735</c:v>
                </c:pt>
                <c:pt idx="25">
                  <c:v>7.163063011560188e-05</c:v>
                </c:pt>
                <c:pt idx="26">
                  <c:v>0.00014285732521524723</c:v>
                </c:pt>
                <c:pt idx="27">
                  <c:v>0.00017978494451298323</c:v>
                </c:pt>
                <c:pt idx="28">
                  <c:v>0.00020344695228474195</c:v>
                </c:pt>
                <c:pt idx="29">
                  <c:v>7.163063011560188e-05</c:v>
                </c:pt>
                <c:pt idx="30">
                  <c:v>7.163063011560188e-05</c:v>
                </c:pt>
                <c:pt idx="31">
                  <c:v>0.0002657397117609311</c:v>
                </c:pt>
                <c:pt idx="32">
                  <c:v>0.00023267673183798205</c:v>
                </c:pt>
                <c:pt idx="33">
                  <c:v>0.00021971857860795808</c:v>
                </c:pt>
                <c:pt idx="34">
                  <c:v>7.163063011560188e-05</c:v>
                </c:pt>
                <c:pt idx="35">
                  <c:v>7.163063011560188e-05</c:v>
                </c:pt>
                <c:pt idx="36">
                  <c:v>0.00022525239430351687</c:v>
                </c:pt>
                <c:pt idx="37">
                  <c:v>7.163063011560188e-05</c:v>
                </c:pt>
                <c:pt idx="38">
                  <c:v>0.00015238729127888104</c:v>
                </c:pt>
                <c:pt idx="39">
                  <c:v>0.00013654478630867046</c:v>
                </c:pt>
                <c:pt idx="40">
                  <c:v>0.00014292983469004383</c:v>
                </c:pt>
                <c:pt idx="41">
                  <c:v>0.0001970229849472412</c:v>
                </c:pt>
                <c:pt idx="42">
                  <c:v>0.00012720872820409126</c:v>
                </c:pt>
                <c:pt idx="43">
                  <c:v>0.00011740130084506739</c:v>
                </c:pt>
                <c:pt idx="44">
                  <c:v>0.00012258134175396554</c:v>
                </c:pt>
                <c:pt idx="45">
                  <c:v>0.00015305772838755243</c:v>
                </c:pt>
                <c:pt idx="46">
                  <c:v>0.00013105431436527922</c:v>
                </c:pt>
                <c:pt idx="47">
                  <c:v>0.0001415496419257576</c:v>
                </c:pt>
                <c:pt idx="48">
                  <c:v>7.163063011560188e-05</c:v>
                </c:pt>
                <c:pt idx="49">
                  <c:v>0.00013188847500365206</c:v>
                </c:pt>
                <c:pt idx="50">
                  <c:v>9.623831508858062e-05</c:v>
                </c:pt>
                <c:pt idx="51">
                  <c:v>9.552429911605568e-05</c:v>
                </c:pt>
                <c:pt idx="52">
                  <c:v>0.00011321034668867055</c:v>
                </c:pt>
                <c:pt idx="53">
                  <c:v>7.163063011560188e-05</c:v>
                </c:pt>
                <c:pt idx="54">
                  <c:v>7.163063011560188e-05</c:v>
                </c:pt>
                <c:pt idx="55">
                  <c:v>7.163063011560188e-05</c:v>
                </c:pt>
                <c:pt idx="56">
                  <c:v>7.163063011560188e-05</c:v>
                </c:pt>
                <c:pt idx="57">
                  <c:v>0.00021634767493626124</c:v>
                </c:pt>
                <c:pt idx="58">
                  <c:v>0.0001813211288794449</c:v>
                </c:pt>
                <c:pt idx="59">
                  <c:v>0.00020651672525514255</c:v>
                </c:pt>
                <c:pt idx="60">
                  <c:v>7.163063011560188e-05</c:v>
                </c:pt>
                <c:pt idx="61">
                  <c:v>7.163063011560188e-05</c:v>
                </c:pt>
                <c:pt idx="62">
                  <c:v>7.163063011560188e-05</c:v>
                </c:pt>
                <c:pt idx="63">
                  <c:v>7.163063011560188e-05</c:v>
                </c:pt>
                <c:pt idx="64">
                  <c:v>7.163063011560188e-05</c:v>
                </c:pt>
                <c:pt idx="65">
                  <c:v>7.163063011560188e-05</c:v>
                </c:pt>
                <c:pt idx="66">
                  <c:v>7.163063011560188e-05</c:v>
                </c:pt>
                <c:pt idx="67">
                  <c:v>0.0001447626952726514</c:v>
                </c:pt>
                <c:pt idx="68">
                  <c:v>0.00027216765094404235</c:v>
                </c:pt>
                <c:pt idx="69">
                  <c:v>0.00036122485978701784</c:v>
                </c:pt>
                <c:pt idx="70">
                  <c:v>0.0010522048548973822</c:v>
                </c:pt>
                <c:pt idx="71">
                  <c:v>5.200202119591434e-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51265049729541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34.3125</c:v>
                </c:pt>
                <c:pt idx="1">
                  <c:v>3740.2</c:v>
                </c:pt>
                <c:pt idx="2">
                  <c:v>3175.8333</c:v>
                </c:pt>
                <c:pt idx="3">
                  <c:v>3027.4</c:v>
                </c:pt>
                <c:pt idx="4">
                  <c:v>3982.3333</c:v>
                </c:pt>
                <c:pt idx="5">
                  <c:v>3848.6667</c:v>
                </c:pt>
                <c:pt idx="6">
                  <c:v>3216.6364</c:v>
                </c:pt>
                <c:pt idx="7">
                  <c:v>3208.875</c:v>
                </c:pt>
                <c:pt idx="8">
                  <c:v>3023.0</c:v>
                </c:pt>
                <c:pt idx="9">
                  <c:v>3233.3333</c:v>
                </c:pt>
                <c:pt idx="10">
                  <c:v>3528.3333</c:v>
                </c:pt>
                <c:pt idx="11">
                  <c:v>3129.7</c:v>
                </c:pt>
                <c:pt idx="12">
                  <c:v>3208.4545</c:v>
                </c:pt>
                <c:pt idx="13">
                  <c:v>3153.0</c:v>
                </c:pt>
                <c:pt idx="14">
                  <c:v>3951.0</c:v>
                </c:pt>
                <c:pt idx="15">
                  <c:v>3128.3333</c:v>
                </c:pt>
                <c:pt idx="16">
                  <c:v>4342.0</c:v>
                </c:pt>
                <c:pt idx="17">
                  <c:v>3291.5</c:v>
                </c:pt>
                <c:pt idx="18">
                  <c:v>4434.0</c:v>
                </c:pt>
                <c:pt idx="19">
                  <c:v>3808.0</c:v>
                </c:pt>
                <c:pt idx="20">
                  <c:v>3044.2</c:v>
                </c:pt>
                <c:pt idx="21">
                  <c:v>6720.0</c:v>
                </c:pt>
                <c:pt idx="22">
                  <c:v>3122.1429</c:v>
                </c:pt>
                <c:pt idx="23">
                  <c:v>3924.6</c:v>
                </c:pt>
                <c:pt idx="24">
                  <c:v>2808.3333</c:v>
                </c:pt>
                <c:pt idx="25">
                  <c:v>2765.0</c:v>
                </c:pt>
                <c:pt idx="26">
                  <c:v>3202.0</c:v>
                </c:pt>
                <c:pt idx="27">
                  <c:v>3106.4</c:v>
                </c:pt>
                <c:pt idx="28">
                  <c:v>3346.6</c:v>
                </c:pt>
                <c:pt idx="29">
                  <c:v>3119.6667</c:v>
                </c:pt>
                <c:pt idx="30">
                  <c:v>3099.8</c:v>
                </c:pt>
                <c:pt idx="31">
                  <c:v>3342.0</c:v>
                </c:pt>
                <c:pt idx="32">
                  <c:v>4329.0</c:v>
                </c:pt>
                <c:pt idx="33">
                  <c:v>2663.4615</c:v>
                </c:pt>
                <c:pt idx="34">
                  <c:v>3005.3571</c:v>
                </c:pt>
                <c:pt idx="35">
                  <c:v>2884.4444</c:v>
                </c:pt>
                <c:pt idx="36">
                  <c:v>2882.1111</c:v>
                </c:pt>
                <c:pt idx="37">
                  <c:v>3050.0</c:v>
                </c:pt>
                <c:pt idx="38">
                  <c:v>3066.2</c:v>
                </c:pt>
                <c:pt idx="39">
                  <c:v>3735.1667</c:v>
                </c:pt>
                <c:pt idx="40">
                  <c:v>4272.75</c:v>
                </c:pt>
                <c:pt idx="41">
                  <c:v>4003.25</c:v>
                </c:pt>
                <c:pt idx="42">
                  <c:v>3549.6667</c:v>
                </c:pt>
                <c:pt idx="43">
                  <c:v>3104.1429</c:v>
                </c:pt>
                <c:pt idx="44">
                  <c:v>3004.2222</c:v>
                </c:pt>
                <c:pt idx="45">
                  <c:v>3138.1429</c:v>
                </c:pt>
                <c:pt idx="46">
                  <c:v>2995.8667</c:v>
                </c:pt>
                <c:pt idx="47">
                  <c:v>2660.1667</c:v>
                </c:pt>
                <c:pt idx="48">
                  <c:v>3669.0</c:v>
                </c:pt>
                <c:pt idx="49">
                  <c:v>3025.0556</c:v>
                </c:pt>
                <c:pt idx="50">
                  <c:v>3099.3571</c:v>
                </c:pt>
                <c:pt idx="51">
                  <c:v>2739.4667</c:v>
                </c:pt>
                <c:pt idx="52">
                  <c:v>3202.5</c:v>
                </c:pt>
                <c:pt idx="53">
                  <c:v>3334.5</c:v>
                </c:pt>
                <c:pt idx="54">
                  <c:v>2909.6923</c:v>
                </c:pt>
                <c:pt idx="55">
                  <c:v>3116.0</c:v>
                </c:pt>
                <c:pt idx="56">
                  <c:v>2599.75</c:v>
                </c:pt>
                <c:pt idx="57">
                  <c:v>2696.8333</c:v>
                </c:pt>
                <c:pt idx="58">
                  <c:v>2451.5714</c:v>
                </c:pt>
                <c:pt idx="59">
                  <c:v>2641.6154</c:v>
                </c:pt>
                <c:pt idx="60">
                  <c:v>2559.1905</c:v>
                </c:pt>
                <c:pt idx="61">
                  <c:v>2616.8125</c:v>
                </c:pt>
                <c:pt idx="62">
                  <c:v>2355.3889</c:v>
                </c:pt>
                <c:pt idx="63">
                  <c:v>2616.8235</c:v>
                </c:pt>
                <c:pt idx="64">
                  <c:v>2307.1667</c:v>
                </c:pt>
                <c:pt idx="65">
                  <c:v>2335.0625</c:v>
                </c:pt>
                <c:pt idx="66">
                  <c:v>2205.0588</c:v>
                </c:pt>
                <c:pt idx="67">
                  <c:v>2366.9167</c:v>
                </c:pt>
                <c:pt idx="68">
                  <c:v>1907.25</c:v>
                </c:pt>
                <c:pt idx="69">
                  <c:v>1806.8462</c:v>
                </c:pt>
                <c:pt idx="70">
                  <c:v>2093.8182</c:v>
                </c:pt>
                <c:pt idx="71">
                  <c:v>1689.1818</c:v>
                </c:pt>
                <c:pt idx="72">
                  <c:v>2030.4375</c:v>
                </c:pt>
                <c:pt idx="73">
                  <c:v>1540.12</c:v>
                </c:pt>
                <c:pt idx="74">
                  <c:v>1899.0714</c:v>
                </c:pt>
                <c:pt idx="75">
                  <c:v>2853.48</c:v>
                </c:pt>
                <c:pt idx="76">
                  <c:v>2875.1212</c:v>
                </c:pt>
                <c:pt idx="77">
                  <c:v>3425.6333</c:v>
                </c:pt>
                <c:pt idx="78">
                  <c:v>2855.7568</c:v>
                </c:pt>
                <c:pt idx="79">
                  <c:v>3978.3</c:v>
                </c:pt>
                <c:pt idx="80">
                  <c:v>3440.1333</c:v>
                </c:pt>
                <c:pt idx="81">
                  <c:v>3386.2927</c:v>
                </c:pt>
                <c:pt idx="82">
                  <c:v>3334.303</c:v>
                </c:pt>
                <c:pt idx="83">
                  <c:v>3918.6087</c:v>
                </c:pt>
                <c:pt idx="84">
                  <c:v>3499.875</c:v>
                </c:pt>
                <c:pt idx="85">
                  <c:v>3327.3478</c:v>
                </c:pt>
                <c:pt idx="86">
                  <c:v>4500.5714</c:v>
                </c:pt>
                <c:pt idx="87">
                  <c:v>4381.2143</c:v>
                </c:pt>
                <c:pt idx="88">
                  <c:v>3936.9063</c:v>
                </c:pt>
                <c:pt idx="89">
                  <c:v>3929.9118</c:v>
                </c:pt>
                <c:pt idx="90">
                  <c:v>4465.6207</c:v>
                </c:pt>
                <c:pt idx="91">
                  <c:v>3604.8857</c:v>
                </c:pt>
                <c:pt idx="92">
                  <c:v>4148.6286</c:v>
                </c:pt>
                <c:pt idx="93">
                  <c:v>4459.8824</c:v>
                </c:pt>
                <c:pt idx="94">
                  <c:v>4274.8824</c:v>
                </c:pt>
                <c:pt idx="95">
                  <c:v>4202.5714</c:v>
                </c:pt>
                <c:pt idx="96">
                  <c:v>3518.4405</c:v>
                </c:pt>
                <c:pt idx="97">
                  <c:v>3508.6293</c:v>
                </c:pt>
                <c:pt idx="98">
                  <c:v>3336.811</c:v>
                </c:pt>
                <c:pt idx="99">
                  <c:v>3491.1985</c:v>
                </c:pt>
                <c:pt idx="100">
                  <c:v>3901.069</c:v>
                </c:pt>
                <c:pt idx="101">
                  <c:v>3699.9652</c:v>
                </c:pt>
                <c:pt idx="102">
                  <c:v>3851.6974</c:v>
                </c:pt>
                <c:pt idx="103">
                  <c:v>3939.1392</c:v>
                </c:pt>
                <c:pt idx="104">
                  <c:v>4226.3208</c:v>
                </c:pt>
              </c:numCache>
            </c:numRef>
          </c:xVal>
          <c:yVal>
            <c:numRef>
              <c:f>Sheet1!$B$2:$B$106</c:f>
              <c:numCache>
                <c:formatCode>General</c:formatCode>
                <c:ptCount val="105"/>
                <c:pt idx="0">
                  <c:v>0.00036313292934794946</c:v>
                </c:pt>
                <c:pt idx="1">
                  <c:v>0.0001180052394326308</c:v>
                </c:pt>
                <c:pt idx="2">
                  <c:v>0.0001380738695201933</c:v>
                </c:pt>
                <c:pt idx="3">
                  <c:v>0.00012080796366096453</c:v>
                </c:pt>
                <c:pt idx="4">
                  <c:v>8.474336883138894e-05</c:v>
                </c:pt>
                <c:pt idx="5">
                  <c:v>0.00017300040366760857</c:v>
                </c:pt>
                <c:pt idx="6">
                  <c:v>0.0003105064077231412</c:v>
                </c:pt>
                <c:pt idx="7">
                  <c:v>0.00025602457835952253</c:v>
                </c:pt>
                <c:pt idx="8">
                  <c:v>0.0002340276152586005</c:v>
                </c:pt>
                <c:pt idx="9">
                  <c:v>0.0002367673366305377</c:v>
                </c:pt>
                <c:pt idx="10">
                  <c:v>0.00015051173991571343</c:v>
                </c:pt>
                <c:pt idx="11">
                  <c:v>0.0002527805864509606</c:v>
                </c:pt>
                <c:pt idx="12">
                  <c:v>0.0002554337729890396</c:v>
                </c:pt>
                <c:pt idx="13">
                  <c:v>0.0002448639780601876</c:v>
                </c:pt>
                <c:pt idx="14">
                  <c:v>7.260582298700355e-05</c:v>
                </c:pt>
                <c:pt idx="15">
                  <c:v>0.0001733452748967151</c:v>
                </c:pt>
                <c:pt idx="16">
                  <c:v>6.55780706931602e-05</c:v>
                </c:pt>
                <c:pt idx="17">
                  <c:v>0.00014305639998569435</c:v>
                </c:pt>
                <c:pt idx="18">
                  <c:v>7.898270278808941e-05</c:v>
                </c:pt>
                <c:pt idx="19">
                  <c:v>0.00013928223222990855</c:v>
                </c:pt>
                <c:pt idx="20">
                  <c:v>0.0001914168676543777</c:v>
                </c:pt>
                <c:pt idx="21">
                  <c:v>4.51773209848656e-05</c:v>
                </c:pt>
                <c:pt idx="22">
                  <c:v>0.0003267058713712312</c:v>
                </c:pt>
                <c:pt idx="23">
                  <c:v>0.0002458210422812193</c:v>
                </c:pt>
                <c:pt idx="24">
                  <c:v>0.0004160502958579882</c:v>
                </c:pt>
                <c:pt idx="25">
                  <c:v>0.0005230125523012552</c:v>
                </c:pt>
                <c:pt idx="26">
                  <c:v>0.0004662222015012355</c:v>
                </c:pt>
                <c:pt idx="27">
                  <c:v>0.00022745882995177873</c:v>
                </c:pt>
                <c:pt idx="28">
                  <c:v>0.00023182492581602375</c:v>
                </c:pt>
                <c:pt idx="29">
                  <c:v>0.00036588340515489066</c:v>
                </c:pt>
                <c:pt idx="30">
                  <c:v>0.00026104207998329333</c:v>
                </c:pt>
                <c:pt idx="31">
                  <c:v>0.00030453761039488374</c:v>
                </c:pt>
                <c:pt idx="32">
                  <c:v>0.00020004000800160032</c:v>
                </c:pt>
                <c:pt idx="33">
                  <c:v>0.0005195428023339461</c:v>
                </c:pt>
                <c:pt idx="34">
                  <c:v>0.0005066406108638222</c:v>
                </c:pt>
                <c:pt idx="35">
                  <c:v>0.0005345687811831789</c:v>
                </c:pt>
                <c:pt idx="36">
                  <c:v>0.00033811706364114506</c:v>
                </c:pt>
                <c:pt idx="37">
                  <c:v>0.00026327336551118914</c:v>
                </c:pt>
                <c:pt idx="38">
                  <c:v>0.00021714583514288196</c:v>
                </c:pt>
                <c:pt idx="39">
                  <c:v>0.00027820280984837946</c:v>
                </c:pt>
                <c:pt idx="40">
                  <c:v>0.00015428527347064721</c:v>
                </c:pt>
                <c:pt idx="41">
                  <c:v>0.00016618196925633567</c:v>
                </c:pt>
                <c:pt idx="42">
                  <c:v>0.00010635280771412365</c:v>
                </c:pt>
                <c:pt idx="43">
                  <c:v>0.00022198262193188305</c:v>
                </c:pt>
                <c:pt idx="44">
                  <c:v>0.00019422085068732602</c:v>
                </c:pt>
                <c:pt idx="45">
                  <c:v>0.0001392065228199264</c:v>
                </c:pt>
                <c:pt idx="46">
                  <c:v>0.0002866479390013186</c:v>
                </c:pt>
                <c:pt idx="47">
                  <c:v>0.0003465937536103516</c:v>
                </c:pt>
                <c:pt idx="48">
                  <c:v>0.00017395085888236573</c:v>
                </c:pt>
                <c:pt idx="49">
                  <c:v>0.0001764757786993735</c:v>
                </c:pt>
                <c:pt idx="50">
                  <c:v>0.0002607124899905026</c:v>
                </c:pt>
                <c:pt idx="51">
                  <c:v>0.00033724537973829757</c:v>
                </c:pt>
                <c:pt idx="52">
                  <c:v>0.00011712573447595994</c:v>
                </c:pt>
                <c:pt idx="53">
                  <c:v>0.00014421690222094028</c:v>
                </c:pt>
                <c:pt idx="54">
                  <c:v>0.00034161082643542243</c:v>
                </c:pt>
                <c:pt idx="55">
                  <c:v>0.0002166553825321598</c:v>
                </c:pt>
                <c:pt idx="56">
                  <c:v>0.00021784119376974185</c:v>
                </c:pt>
                <c:pt idx="57">
                  <c:v>0.00014241633040588654</c:v>
                </c:pt>
                <c:pt idx="58">
                  <c:v>0.00015347848012453683</c:v>
                </c:pt>
                <c:pt idx="59">
                  <c:v>0.0001909798736594682</c:v>
                </c:pt>
                <c:pt idx="60">
                  <c:v>0.00033729521362030194</c:v>
                </c:pt>
                <c:pt idx="61">
                  <c:v>0.00034526661056084244</c:v>
                </c:pt>
                <c:pt idx="62">
                  <c:v>0.00037922679869377434</c:v>
                </c:pt>
                <c:pt idx="63">
                  <c:v>0.0003265902061360536</c:v>
                </c:pt>
                <c:pt idx="64">
                  <c:v>0.00044982569254413917</c:v>
                </c:pt>
                <c:pt idx="65">
                  <c:v>0.0003264639869414405</c:v>
                </c:pt>
                <c:pt idx="66">
                  <c:v>0.00035840026985432084</c:v>
                </c:pt>
                <c:pt idx="67">
                  <c:v>0.00026140943252369025</c:v>
                </c:pt>
                <c:pt idx="68">
                  <c:v>0.00042267659956675646</c:v>
                </c:pt>
                <c:pt idx="69">
                  <c:v>0.00044499212706236737</c:v>
                </c:pt>
                <c:pt idx="70">
                  <c:v>0.00035560728025086475</c:v>
                </c:pt>
                <c:pt idx="71">
                  <c:v>0.00037821482602118004</c:v>
                </c:pt>
                <c:pt idx="72">
                  <c:v>0.0005287857756626346</c:v>
                </c:pt>
                <c:pt idx="73">
                  <c:v>0.0008655011251514627</c:v>
                </c:pt>
                <c:pt idx="74">
                  <c:v>0.0009342052582410249</c:v>
                </c:pt>
                <c:pt idx="75">
                  <c:v>0.0009785118791342127</c:v>
                </c:pt>
                <c:pt idx="76">
                  <c:v>0.001377582968065122</c:v>
                </c:pt>
                <c:pt idx="77">
                  <c:v>0.0012530804895367778</c:v>
                </c:pt>
                <c:pt idx="78">
                  <c:v>0.0017800442605599924</c:v>
                </c:pt>
                <c:pt idx="79">
                  <c:v>0.0012622012790306295</c:v>
                </c:pt>
                <c:pt idx="80">
                  <c:v>0.001277737552706674</c:v>
                </c:pt>
                <c:pt idx="81">
                  <c:v>0.001474607970076248</c:v>
                </c:pt>
                <c:pt idx="82">
                  <c:v>0.0015154298310066127</c:v>
                </c:pt>
                <c:pt idx="83">
                  <c:v>0.0012142329215499947</c:v>
                </c:pt>
                <c:pt idx="84">
                  <c:v>0.0013257471137380545</c:v>
                </c:pt>
                <c:pt idx="85">
                  <c:v>0.0011378252696151183</c:v>
                </c:pt>
                <c:pt idx="86">
                  <c:v>0.0010361927318481238</c:v>
                </c:pt>
                <c:pt idx="87">
                  <c:v>0.0009866450544416647</c:v>
                </c:pt>
                <c:pt idx="88">
                  <c:v>0.001400131262305841</c:v>
                </c:pt>
                <c:pt idx="89">
                  <c:v>0.0016241520970669723</c:v>
                </c:pt>
                <c:pt idx="90">
                  <c:v>0.0014310387367382185</c:v>
                </c:pt>
                <c:pt idx="91">
                  <c:v>0.0016291193446285608</c:v>
                </c:pt>
                <c:pt idx="92">
                  <c:v>0.001333790632978926</c:v>
                </c:pt>
                <c:pt idx="93">
                  <c:v>0.001266577261212934</c:v>
                </c:pt>
                <c:pt idx="94">
                  <c:v>0.0014334499768118387</c:v>
                </c:pt>
                <c:pt idx="95">
                  <c:v>0.0014944036109670927</c:v>
                </c:pt>
                <c:pt idx="96">
                  <c:v>0.0018807514049660793</c:v>
                </c:pt>
                <c:pt idx="97">
                  <c:v>0.002286209818876998</c:v>
                </c:pt>
                <c:pt idx="98">
                  <c:v>0.002183143382668936</c:v>
                </c:pt>
                <c:pt idx="99">
                  <c:v>0.0020329456784956203</c:v>
                </c:pt>
                <c:pt idx="100">
                  <c:v>0.0015614231564438318</c:v>
                </c:pt>
                <c:pt idx="101">
                  <c:v>0.0020515565070020514</c:v>
                </c:pt>
                <c:pt idx="102">
                  <c:v>0.0016952933303591344</c:v>
                </c:pt>
                <c:pt idx="103">
                  <c:v>0.001670790770467187</c:v>
                </c:pt>
                <c:pt idx="104">
                  <c:v>0.001277385457087079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numCache>
            </c:numRef>
          </c:xVal>
          <c:yVal>
            <c:numRef>
              <c:f>Sheet1!$B$109:$B$160</c:f>
              <c:numCache>
                <c:formatCode>General</c:formatCode>
                <c:ptCount val="52"/>
                <c:pt idx="0">
                  <c:v>0.0012644429910616962</c:v>
                </c:pt>
                <c:pt idx="1">
                  <c:v>0.0014938262960110169</c:v>
                </c:pt>
                <c:pt idx="2">
                  <c:v>0.001452142436232006</c:v>
                </c:pt>
                <c:pt idx="3">
                  <c:v>0.0015529253756400572</c:v>
                </c:pt>
                <c:pt idx="4">
                  <c:v>0.0014792577606647958</c:v>
                </c:pt>
                <c:pt idx="5">
                  <c:v>0.001294398982031987</c:v>
                </c:pt>
                <c:pt idx="6">
                  <c:v>0.0015030272238452094</c:v>
                </c:pt>
                <c:pt idx="7">
                  <c:v>0.0017374957274695227</c:v>
                </c:pt>
                <c:pt idx="8">
                  <c:v>0.0020296009492287515</c:v>
                </c:pt>
                <c:pt idx="9">
                  <c:v>0.0020912710917581003</c:v>
                </c:pt>
                <c:pt idx="10">
                  <c:v>0.0019877971342591315</c:v>
                </c:pt>
                <c:pt idx="11">
                  <c:v>0.0020619415574948453</c:v>
                </c:pt>
                <c:pt idx="12">
                  <c:v>0.0020706369561636745</c:v>
                </c:pt>
                <c:pt idx="13">
                  <c:v>0.0030358964395006557</c:v>
                </c:pt>
                <c:pt idx="14">
                  <c:v>0.003000451395342662</c:v>
                </c:pt>
                <c:pt idx="15">
                  <c:v>0.0029206601259003004</c:v>
                </c:pt>
                <c:pt idx="16">
                  <c:v>0.002713660888165246</c:v>
                </c:pt>
                <c:pt idx="17">
                  <c:v>0.0035899346360957767</c:v>
                </c:pt>
                <c:pt idx="18">
                  <c:v>0.0019464720194647203</c:v>
                </c:pt>
                <c:pt idx="19">
                  <c:v>0.0017023166308933462</c:v>
                </c:pt>
                <c:pt idx="20">
                  <c:v>0.001982521443599288</c:v>
                </c:pt>
                <c:pt idx="21">
                  <c:v>0.002600529737539128</c:v>
                </c:pt>
                <c:pt idx="22">
                  <c:v>0.0022813319095233474</c:v>
                </c:pt>
                <c:pt idx="23">
                  <c:v>0.0023333671502485543</c:v>
                </c:pt>
                <c:pt idx="24">
                  <c:v>0.0021462297896694808</c:v>
                </c:pt>
                <c:pt idx="25">
                  <c:v>0.0024488979959018443</c:v>
                </c:pt>
                <c:pt idx="26">
                  <c:v>0.002502767483274775</c:v>
                </c:pt>
                <c:pt idx="27">
                  <c:v>0.0023880597014925373</c:v>
                </c:pt>
                <c:pt idx="28">
                  <c:v>0.0020101690906940994</c:v>
                </c:pt>
                <c:pt idx="29">
                  <c:v>0.002372093023255814</c:v>
                </c:pt>
                <c:pt idx="30">
                  <c:v>0.0022753679318357864</c:v>
                </c:pt>
                <c:pt idx="31">
                  <c:v>0.0023828865421066884</c:v>
                </c:pt>
                <c:pt idx="32">
                  <c:v>0.0020210769452865597</c:v>
                </c:pt>
                <c:pt idx="33">
                  <c:v>0.0020408979951178517</c:v>
                </c:pt>
                <c:pt idx="34">
                  <c:v>0.0018805829807240243</c:v>
                </c:pt>
                <c:pt idx="35">
                  <c:v>0.002233041695647399</c:v>
                </c:pt>
                <c:pt idx="36">
                  <c:v>0.0025818944650637405</c:v>
                </c:pt>
                <c:pt idx="37">
                  <c:v>0.0026314507090297746</c:v>
                </c:pt>
                <c:pt idx="38">
                  <c:v>0.00295254455658149</c:v>
                </c:pt>
                <c:pt idx="39">
                  <c:v>0.002895313727923233</c:v>
                </c:pt>
                <c:pt idx="40">
                  <c:v>0.00273569882814095</c:v>
                </c:pt>
                <c:pt idx="41">
                  <c:v>0.0022220519500421422</c:v>
                </c:pt>
                <c:pt idx="42">
                  <c:v>0.002549286199864038</c:v>
                </c:pt>
                <c:pt idx="43">
                  <c:v>0.001865371627054321</c:v>
                </c:pt>
                <c:pt idx="44">
                  <c:v>0.0014163927416553088</c:v>
                </c:pt>
                <c:pt idx="45">
                  <c:v>0.0011781673403887952</c:v>
                </c:pt>
                <c:pt idx="46">
                  <c:v>0.0012636695018226002</c:v>
                </c:pt>
                <c:pt idx="47">
                  <c:v>0.0013500835221161988</c:v>
                </c:pt>
                <c:pt idx="48">
                  <c:v>0.0014853395061728396</c:v>
                </c:pt>
                <c:pt idx="49">
                  <c:v>0.0013697667884237145</c:v>
                </c:pt>
                <c:pt idx="50">
                  <c:v>0.0011509642261527259</c:v>
                </c:pt>
                <c:pt idx="51">
                  <c:v>0.001246118242775481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87.205006589772</c:v>
                </c:pt>
              </c:numCache>
            </c:numRef>
          </c:xVal>
          <c:yVal>
            <c:numRef>
              <c:f>Sheet1!$B$163:$B$164</c:f>
              <c:numCache>
                <c:formatCode>General</c:formatCode>
                <c:ptCount val="2"/>
                <c:pt idx="0">
                  <c:v>0.002438776158167452</c:v>
                </c:pt>
                <c:pt idx="1">
                  <c:v>0.00243877615816745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87.205006589772</c:v>
                </c:pt>
                <c:pt idx="1">
                  <c:v>3587.205006589772</c:v>
                </c:pt>
              </c:numCache>
            </c:numRef>
          </c:xVal>
          <c:yVal>
            <c:numRef>
              <c:f>Sheet1!$B$167:$B$168</c:f>
              <c:numCache>
                <c:formatCode>General</c:formatCode>
                <c:ptCount val="2"/>
                <c:pt idx="0">
                  <c:v>0.0024387761581674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87.205006589772</c:v>
                </c:pt>
              </c:numCache>
            </c:numRef>
          </c:xVal>
          <c:yVal>
            <c:numRef>
              <c:f>Sheet1!$B$171:$B$172</c:f>
              <c:numCache>
                <c:formatCode>General</c:formatCode>
                <c:ptCount val="2"/>
                <c:pt idx="0">
                  <c:v>0.002438776158167452</c:v>
                </c:pt>
                <c:pt idx="1">
                  <c:v>0.00243877615816745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87.205006589772</c:v>
                </c:pt>
                <c:pt idx="1">
                  <c:v>3587.205006589772</c:v>
                </c:pt>
              </c:numCache>
            </c:numRef>
          </c:xVal>
          <c:yVal>
            <c:numRef>
              <c:f>Sheet1!$B$175:$B$176</c:f>
              <c:numCache>
                <c:formatCode>General</c:formatCode>
                <c:ptCount val="2"/>
                <c:pt idx="0">
                  <c:v>0.00243877615816745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40.3533240195775</c:v>
                </c:pt>
              </c:numCache>
            </c:numRef>
          </c:xVal>
          <c:yVal>
            <c:numRef>
              <c:f>Sheet1!$B$179:$B$180</c:f>
              <c:numCache>
                <c:formatCode>General</c:formatCode>
                <c:ptCount val="2"/>
                <c:pt idx="0">
                  <c:v>0.0017483249386563344</c:v>
                </c:pt>
                <c:pt idx="1">
                  <c:v>0.001748324938656334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40.3533240195775</c:v>
                </c:pt>
                <c:pt idx="1">
                  <c:v>4240.3533240195775</c:v>
                </c:pt>
              </c:numCache>
            </c:numRef>
          </c:xVal>
          <c:yVal>
            <c:numRef>
              <c:f>Sheet1!$B$183:$B$184</c:f>
              <c:numCache>
                <c:formatCode>General</c:formatCode>
                <c:ptCount val="2"/>
                <c:pt idx="0">
                  <c:v>0.001748324938656334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pt idx="52">
                  <c:v>3587.205006589772</c:v>
                </c:pt>
                <c:pt idx="53">
                  <c:v>3587.205006589772</c:v>
                </c:pt>
                <c:pt idx="54">
                  <c:v>4240.3533240195775</c:v>
                </c:pt>
              </c:numCache>
            </c:numRef>
          </c:xVal>
          <c:yVal>
            <c:numRef>
              <c:f>Sheet1!$B$187:$B$241</c:f>
              <c:numCache>
                <c:formatCode>General</c:formatCode>
                <c:ptCount val="55"/>
                <c:pt idx="0">
                  <c:v>0.0015734729617521296</c:v>
                </c:pt>
                <c:pt idx="1">
                  <c:v>0.002099544127916712</c:v>
                </c:pt>
                <c:pt idx="2">
                  <c:v>0.0016888720083328484</c:v>
                </c:pt>
                <c:pt idx="3">
                  <c:v>0.002326281852149114</c:v>
                </c:pt>
                <c:pt idx="4">
                  <c:v>0.0014454471297744515</c:v>
                </c:pt>
                <c:pt idx="5">
                  <c:v>0.0011295709350772525</c:v>
                </c:pt>
                <c:pt idx="6">
                  <c:v>0.001567872697113927</c:v>
                </c:pt>
                <c:pt idx="7">
                  <c:v>0.0017020122332478595</c:v>
                </c:pt>
                <c:pt idx="8">
                  <c:v>0.001823021587035077</c:v>
                </c:pt>
                <c:pt idx="9">
                  <c:v>0.0018986780681290536</c:v>
                </c:pt>
                <c:pt idx="10">
                  <c:v>0.0017903075508207533</c:v>
                </c:pt>
                <c:pt idx="11">
                  <c:v>0.0019112908996416454</c:v>
                </c:pt>
                <c:pt idx="12">
                  <c:v>0.0021646601407494586</c:v>
                </c:pt>
                <c:pt idx="13">
                  <c:v>0.0026226682759869545</c:v>
                </c:pt>
                <c:pt idx="14">
                  <c:v>0.00257813878818276</c:v>
                </c:pt>
                <c:pt idx="15">
                  <c:v>0.002380574619139657</c:v>
                </c:pt>
                <c:pt idx="16">
                  <c:v>0.0021346191190818554</c:v>
                </c:pt>
                <c:pt idx="17">
                  <c:v>0.0031554458692597577</c:v>
                </c:pt>
                <c:pt idx="18">
                  <c:v>0.0019060980461425335</c:v>
                </c:pt>
                <c:pt idx="19">
                  <c:v>0.0015748263828247264</c:v>
                </c:pt>
                <c:pt idx="20">
                  <c:v>0.0017303608178794345</c:v>
                </c:pt>
                <c:pt idx="21">
                  <c:v>0.002346887088068071</c:v>
                </c:pt>
                <c:pt idx="22">
                  <c:v>0.002129888646569351</c:v>
                </c:pt>
                <c:pt idx="23">
                  <c:v>0.0029066042407848657</c:v>
                </c:pt>
                <c:pt idx="24">
                  <c:v>0.0019418680887450211</c:v>
                </c:pt>
                <c:pt idx="25">
                  <c:v>0.00241577952942518</c:v>
                </c:pt>
                <c:pt idx="26">
                  <c:v>0.0021941493497169944</c:v>
                </c:pt>
                <c:pt idx="27">
                  <c:v>0.0023075899897687024</c:v>
                </c:pt>
                <c:pt idx="28">
                  <c:v>0.0021994843848409315</c:v>
                </c:pt>
                <c:pt idx="29">
                  <c:v>0.002442848268010835</c:v>
                </c:pt>
                <c:pt idx="30">
                  <c:v>0.00245932537409257</c:v>
                </c:pt>
                <c:pt idx="31">
                  <c:v>0.0021274810729593873</c:v>
                </c:pt>
                <c:pt idx="32">
                  <c:v>0.001517669052511118</c:v>
                </c:pt>
                <c:pt idx="33">
                  <c:v>0.0018182191251645743</c:v>
                </c:pt>
                <c:pt idx="34">
                  <c:v>0.001678012820667268</c:v>
                </c:pt>
                <c:pt idx="35">
                  <c:v>0.0019858382583507386</c:v>
                </c:pt>
                <c:pt idx="36">
                  <c:v>0.001818005377026733</c:v>
                </c:pt>
                <c:pt idx="37">
                  <c:v>0.00185347001984177</c:v>
                </c:pt>
                <c:pt idx="38">
                  <c:v>0.0024212526234353793</c:v>
                </c:pt>
                <c:pt idx="39">
                  <c:v>0.002757848222196376</c:v>
                </c:pt>
                <c:pt idx="40">
                  <c:v>0.0028252491835946275</c:v>
                </c:pt>
                <c:pt idx="41">
                  <c:v>0.0024974074273393402</c:v>
                </c:pt>
                <c:pt idx="42">
                  <c:v>0.0027350900710571987</c:v>
                </c:pt>
                <c:pt idx="43">
                  <c:v>0.002353184518368523</c:v>
                </c:pt>
                <c:pt idx="44">
                  <c:v>0.0018667559148526991</c:v>
                </c:pt>
                <c:pt idx="45">
                  <c:v>0.001688005598966996</c:v>
                </c:pt>
                <c:pt idx="46">
                  <c:v>0.0016077162168398563</c:v>
                </c:pt>
                <c:pt idx="47">
                  <c:v>0.0016944811527156503</c:v>
                </c:pt>
                <c:pt idx="48">
                  <c:v>0.0020472709742661637</c:v>
                </c:pt>
                <c:pt idx="49">
                  <c:v>0.0021380681598797613</c:v>
                </c:pt>
                <c:pt idx="50">
                  <c:v>0.0019893964988649607</c:v>
                </c:pt>
                <c:pt idx="51">
                  <c:v>0.0017534806071885217</c:v>
                </c:pt>
                <c:pt idx="52">
                  <c:v>0.002438776158167452</c:v>
                </c:pt>
                <c:pt idx="53">
                  <c:v>0.002438776158167452</c:v>
                </c:pt>
                <c:pt idx="54">
                  <c:v>0.00174832493865633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64.0"/>
          <c:min val="123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307921563314932"/>
          <c:min val="3.614185678789248e-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3581.0714</c:v>
                </c:pt>
                <c:pt idx="1">
                  <c:v>6230.0</c:v>
                </c:pt>
                <c:pt idx="2">
                  <c:v>6349.6667</c:v>
                </c:pt>
                <c:pt idx="3">
                  <c:v>7566.0</c:v>
                </c:pt>
                <c:pt idx="4">
                  <c:v>5972.0</c:v>
                </c:pt>
                <c:pt idx="5">
                  <c:v>4616.6</c:v>
                </c:pt>
                <c:pt idx="6">
                  <c:v>5895.1667</c:v>
                </c:pt>
                <c:pt idx="7">
                  <c:v>3666.0</c:v>
                </c:pt>
                <c:pt idx="8">
                  <c:v>5288.0</c:v>
                </c:pt>
                <c:pt idx="9">
                  <c:v>4848.0</c:v>
                </c:pt>
                <c:pt idx="10">
                  <c:v>7054.0</c:v>
                </c:pt>
                <c:pt idx="11">
                  <c:v>4469.4286</c:v>
                </c:pt>
                <c:pt idx="12">
                  <c:v>5880.3333</c:v>
                </c:pt>
                <c:pt idx="13">
                  <c:v>5253.1667</c:v>
                </c:pt>
                <c:pt idx="14">
                  <c:v>5922.0</c:v>
                </c:pt>
                <c:pt idx="15">
                  <c:v>3753.2</c:v>
                </c:pt>
                <c:pt idx="16">
                  <c:v>2170.25</c:v>
                </c:pt>
                <c:pt idx="17">
                  <c:v>4387.0</c:v>
                </c:pt>
                <c:pt idx="18">
                  <c:v>3807.0</c:v>
                </c:pt>
                <c:pt idx="19">
                  <c:v>3804.25</c:v>
                </c:pt>
                <c:pt idx="20">
                  <c:v>3359.5</c:v>
                </c:pt>
                <c:pt idx="21">
                  <c:v>4369.8</c:v>
                </c:pt>
                <c:pt idx="22">
                  <c:v>6539.0</c:v>
                </c:pt>
                <c:pt idx="23">
                  <c:v>5053.4</c:v>
                </c:pt>
                <c:pt idx="24">
                  <c:v>3948.1429</c:v>
                </c:pt>
                <c:pt idx="25">
                  <c:v>6402.2</c:v>
                </c:pt>
                <c:pt idx="26">
                  <c:v>7763.5</c:v>
                </c:pt>
                <c:pt idx="27">
                  <c:v>3345.6</c:v>
                </c:pt>
                <c:pt idx="28">
                  <c:v>7017.25</c:v>
                </c:pt>
                <c:pt idx="29">
                  <c:v>3873.25</c:v>
                </c:pt>
                <c:pt idx="30">
                  <c:v>5011.5</c:v>
                </c:pt>
                <c:pt idx="31">
                  <c:v>5771.0</c:v>
                </c:pt>
                <c:pt idx="32">
                  <c:v>3461.5</c:v>
                </c:pt>
                <c:pt idx="33">
                  <c:v>3505.5833</c:v>
                </c:pt>
                <c:pt idx="34">
                  <c:v>3707.6429</c:v>
                </c:pt>
                <c:pt idx="35">
                  <c:v>6483.0</c:v>
                </c:pt>
                <c:pt idx="36">
                  <c:v>4574.5</c:v>
                </c:pt>
                <c:pt idx="37">
                  <c:v>7663.0</c:v>
                </c:pt>
                <c:pt idx="38">
                  <c:v>5601.0</c:v>
                </c:pt>
                <c:pt idx="39">
                  <c:v>5694.6667</c:v>
                </c:pt>
                <c:pt idx="40">
                  <c:v>5335.6667</c:v>
                </c:pt>
                <c:pt idx="41">
                  <c:v>10645.0</c:v>
                </c:pt>
                <c:pt idx="42">
                  <c:v>5430.5</c:v>
                </c:pt>
                <c:pt idx="43">
                  <c:v>3861.5714</c:v>
                </c:pt>
                <c:pt idx="44">
                  <c:v>4392.6</c:v>
                </c:pt>
                <c:pt idx="45">
                  <c:v>4084.4545</c:v>
                </c:pt>
                <c:pt idx="46">
                  <c:v>3682.6154</c:v>
                </c:pt>
                <c:pt idx="47">
                  <c:v>4401.9</c:v>
                </c:pt>
                <c:pt idx="48">
                  <c:v>3202.1176</c:v>
                </c:pt>
                <c:pt idx="49">
                  <c:v>3614.8333</c:v>
                </c:pt>
                <c:pt idx="50">
                  <c:v>4083.9</c:v>
                </c:pt>
                <c:pt idx="51">
                  <c:v>4174.75</c:v>
                </c:pt>
                <c:pt idx="52">
                  <c:v>3479.2</c:v>
                </c:pt>
                <c:pt idx="53">
                  <c:v>3423.5</c:v>
                </c:pt>
                <c:pt idx="54">
                  <c:v>4202.4</c:v>
                </c:pt>
                <c:pt idx="55">
                  <c:v>15202.0</c:v>
                </c:pt>
                <c:pt idx="56">
                  <c:v>6202.5</c:v>
                </c:pt>
                <c:pt idx="57">
                  <c:v>10480.0</c:v>
                </c:pt>
                <c:pt idx="58">
                  <c:v>4706.5</c:v>
                </c:pt>
                <c:pt idx="59">
                  <c:v>3925.25</c:v>
                </c:pt>
                <c:pt idx="60">
                  <c:v>3984.0</c:v>
                </c:pt>
                <c:pt idx="61">
                  <c:v>3894.25</c:v>
                </c:pt>
                <c:pt idx="62">
                  <c:v>3523.6667</c:v>
                </c:pt>
                <c:pt idx="63">
                  <c:v>2920.0</c:v>
                </c:pt>
                <c:pt idx="64">
                  <c:v>3077.6</c:v>
                </c:pt>
                <c:pt idx="65">
                  <c:v>6638.0</c:v>
                </c:pt>
                <c:pt idx="66">
                  <c:v>10119.0</c:v>
                </c:pt>
                <c:pt idx="67">
                  <c:v>5730.5</c:v>
                </c:pt>
                <c:pt idx="68">
                  <c:v>17630.0</c:v>
                </c:pt>
                <c:pt idx="69">
                  <c:v>5701.0</c:v>
                </c:pt>
                <c:pt idx="70">
                  <c:v>5620.2857</c:v>
                </c:pt>
                <c:pt idx="71">
                  <c:v>6033.2</c:v>
                </c:pt>
                <c:pt idx="72">
                  <c:v>5945.6</c:v>
                </c:pt>
                <c:pt idx="73">
                  <c:v>5831.6</c:v>
                </c:pt>
                <c:pt idx="74">
                  <c:v>5610.1429</c:v>
                </c:pt>
                <c:pt idx="75">
                  <c:v>8324.4</c:v>
                </c:pt>
                <c:pt idx="76">
                  <c:v>8366.5</c:v>
                </c:pt>
                <c:pt idx="77">
                  <c:v>4291.4545</c:v>
                </c:pt>
                <c:pt idx="78">
                  <c:v>22182.0</c:v>
                </c:pt>
                <c:pt idx="79">
                  <c:v>18169.0</c:v>
                </c:pt>
                <c:pt idx="80">
                  <c:v>17887.0</c:v>
                </c:pt>
                <c:pt idx="81">
                  <c:v>11855.0</c:v>
                </c:pt>
                <c:pt idx="82">
                  <c:v>14450.0</c:v>
                </c:pt>
                <c:pt idx="83">
                  <c:v>17175.0</c:v>
                </c:pt>
                <c:pt idx="84">
                  <c:v>6509.5</c:v>
                </c:pt>
                <c:pt idx="85">
                  <c:v>11668.0</c:v>
                </c:pt>
                <c:pt idx="86">
                  <c:v>5744.6667</c:v>
                </c:pt>
                <c:pt idx="87">
                  <c:v>10423.0</c:v>
                </c:pt>
              </c:numCache>
            </c:numRef>
          </c:xVal>
          <c:yVal>
            <c:numRef>
              <c:f>Sheet1!$B$2:$B$89</c:f>
              <c:numCache>
                <c:formatCode>General</c:formatCode>
                <c:ptCount val="88"/>
                <c:pt idx="0">
                  <c:v>0.0013899920571882446</c:v>
                </c:pt>
                <c:pt idx="1">
                  <c:v>0.0003280481137233461</c:v>
                </c:pt>
                <c:pt idx="2">
                  <c:v>0.0003180324393088095</c:v>
                </c:pt>
                <c:pt idx="3">
                  <c:v>0.00021666125013541327</c:v>
                </c:pt>
                <c:pt idx="4">
                  <c:v>0.000253324889170361</c:v>
                </c:pt>
                <c:pt idx="5">
                  <c:v>0.0006664001066240171</c:v>
                </c:pt>
                <c:pt idx="6">
                  <c:v>0.0007710100231303007</c:v>
                </c:pt>
                <c:pt idx="7">
                  <c:v>0.0009916418756197763</c:v>
                </c:pt>
                <c:pt idx="8">
                  <c:v>0.0005517241379310345</c:v>
                </c:pt>
                <c:pt idx="9">
                  <c:v>0.0007114062129475931</c:v>
                </c:pt>
                <c:pt idx="10">
                  <c:v>0.0003320420586607637</c:v>
                </c:pt>
                <c:pt idx="11">
                  <c:v>0.0007222451506397028</c:v>
                </c:pt>
                <c:pt idx="12">
                  <c:v>0.0005499541704857929</c:v>
                </c:pt>
                <c:pt idx="13">
                  <c:v>0.000625130235465722</c:v>
                </c:pt>
                <c:pt idx="14">
                  <c:v>0.000224290680722216</c:v>
                </c:pt>
                <c:pt idx="15">
                  <c:v>0.0006429214350006429</c:v>
                </c:pt>
                <c:pt idx="16">
                  <c:v>0.0005787874403125452</c:v>
                </c:pt>
                <c:pt idx="17">
                  <c:v>0.0004809233728759218</c:v>
                </c:pt>
                <c:pt idx="18">
                  <c:v>0.0006128702757916241</c:v>
                </c:pt>
                <c:pt idx="19">
                  <c:v>0.000672834314550042</c:v>
                </c:pt>
                <c:pt idx="20">
                  <c:v>0.0003861749372465727</c:v>
                </c:pt>
                <c:pt idx="21">
                  <c:v>0.0010588733587462938</c:v>
                </c:pt>
                <c:pt idx="22">
                  <c:v>0.0006499133448873484</c:v>
                </c:pt>
                <c:pt idx="23">
                  <c:v>0.0010187449062754685</c:v>
                </c:pt>
                <c:pt idx="24">
                  <c:v>0.0015992689056431345</c:v>
                </c:pt>
                <c:pt idx="25">
                  <c:v>0.0009389671361502347</c:v>
                </c:pt>
                <c:pt idx="26">
                  <c:v>0.0003829216925138809</c:v>
                </c:pt>
                <c:pt idx="27">
                  <c:v>0.0009613535858488752</c:v>
                </c:pt>
                <c:pt idx="28">
                  <c:v>0.0006884681583476765</c:v>
                </c:pt>
                <c:pt idx="29">
                  <c:v>0.0008615119534783546</c:v>
                </c:pt>
                <c:pt idx="30">
                  <c:v>0.0008605851979345956</c:v>
                </c:pt>
                <c:pt idx="31">
                  <c:v>0.0006612298875909191</c:v>
                </c:pt>
                <c:pt idx="32">
                  <c:v>0.0019029495718363464</c:v>
                </c:pt>
                <c:pt idx="33">
                  <c:v>0.0020938754144128424</c:v>
                </c:pt>
                <c:pt idx="34">
                  <c:v>0.0019305019305019305</c:v>
                </c:pt>
                <c:pt idx="35">
                  <c:v>0.0006308153288124901</c:v>
                </c:pt>
                <c:pt idx="36">
                  <c:v>0.0007662835249042146</c:v>
                </c:pt>
                <c:pt idx="37">
                  <c:v>0.0003685277317118113</c:v>
                </c:pt>
                <c:pt idx="38">
                  <c:v>0.0008151620134501732</c:v>
                </c:pt>
                <c:pt idx="39">
                  <c:v>0.0005020920502092051</c:v>
                </c:pt>
                <c:pt idx="40">
                  <c:v>0.00055452865064695</c:v>
                </c:pt>
                <c:pt idx="41">
                  <c:v>0.00015669069257286117</c:v>
                </c:pt>
                <c:pt idx="42">
                  <c:v>0.0005485463521667581</c:v>
                </c:pt>
                <c:pt idx="43">
                  <c:v>0.0007422330611812109</c:v>
                </c:pt>
                <c:pt idx="44">
                  <c:v>0.0004979087831109341</c:v>
                </c:pt>
                <c:pt idx="45">
                  <c:v>0.0010732754415064885</c:v>
                </c:pt>
                <c:pt idx="46">
                  <c:v>0.0013006503251625813</c:v>
                </c:pt>
                <c:pt idx="47">
                  <c:v>0.0007183908045977011</c:v>
                </c:pt>
                <c:pt idx="48">
                  <c:v>0.0008392575039494471</c:v>
                </c:pt>
                <c:pt idx="49">
                  <c:v>0.0009613843935266784</c:v>
                </c:pt>
                <c:pt idx="50">
                  <c:v>0.0008946144211844695</c:v>
                </c:pt>
                <c:pt idx="51">
                  <c:v>0.0003058103975535168</c:v>
                </c:pt>
                <c:pt idx="52">
                  <c:v>0.0005198585984612185</c:v>
                </c:pt>
                <c:pt idx="53">
                  <c:v>0.001129305477131564</c:v>
                </c:pt>
                <c:pt idx="54">
                  <c:v>0.0005919962112242482</c:v>
                </c:pt>
                <c:pt idx="55">
                  <c:v>0.00011396011396011396</c:v>
                </c:pt>
                <c:pt idx="56">
                  <c:v>0.0002042692268409764</c:v>
                </c:pt>
                <c:pt idx="57">
                  <c:v>9.304922303898763e-05</c:v>
                </c:pt>
                <c:pt idx="58">
                  <c:v>0.00024464831804281347</c:v>
                </c:pt>
                <c:pt idx="59">
                  <c:v>0.00025375880225845333</c:v>
                </c:pt>
                <c:pt idx="60">
                  <c:v>0.00042369290738073043</c:v>
                </c:pt>
                <c:pt idx="61">
                  <c:v>0.0003549560741858195</c:v>
                </c:pt>
                <c:pt idx="62">
                  <c:v>0.00045558086560364467</c:v>
                </c:pt>
                <c:pt idx="63">
                  <c:v>0.0006550218340611354</c:v>
                </c:pt>
                <c:pt idx="64">
                  <c:v>0.00039856516540454366</c:v>
                </c:pt>
                <c:pt idx="65">
                  <c:v>8.676036786395974e-05</c:v>
                </c:pt>
                <c:pt idx="66">
                  <c:v>8.946144211844694e-05</c:v>
                </c:pt>
                <c:pt idx="67">
                  <c:v>0.0002586987453110852</c:v>
                </c:pt>
                <c:pt idx="68">
                  <c:v>0.0001255020080321285</c:v>
                </c:pt>
                <c:pt idx="69">
                  <c:v>0.0006367804381049414</c:v>
                </c:pt>
                <c:pt idx="70">
                  <c:v>0.0009066183136899365</c:v>
                </c:pt>
                <c:pt idx="71">
                  <c:v>0.0007687576875768758</c:v>
                </c:pt>
                <c:pt idx="72">
                  <c:v>0.00079923273657289</c:v>
                </c:pt>
                <c:pt idx="73">
                  <c:v>0.0008008970046452026</c:v>
                </c:pt>
                <c:pt idx="74">
                  <c:v>0.0012612612612612612</c:v>
                </c:pt>
                <c:pt idx="75">
                  <c:v>0.0009174311926605505</c:v>
                </c:pt>
                <c:pt idx="76">
                  <c:v>0.0007276696379843551</c:v>
                </c:pt>
                <c:pt idx="77">
                  <c:v>0.0016183610416360158</c:v>
                </c:pt>
                <c:pt idx="78">
                  <c:v>0.0001850481125092524</c:v>
                </c:pt>
                <c:pt idx="79">
                  <c:v>0.0002289901534234028</c:v>
                </c:pt>
                <c:pt idx="80">
                  <c:v>0.0002296211251435132</c:v>
                </c:pt>
                <c:pt idx="81">
                  <c:v>8.244702778464837e-05</c:v>
                </c:pt>
                <c:pt idx="82">
                  <c:v>6.564264145989234e-05</c:v>
                </c:pt>
                <c:pt idx="83">
                  <c:v>4.390586582367404e-05</c:v>
                </c:pt>
                <c:pt idx="84">
                  <c:v>0.00014455044810638914</c:v>
                </c:pt>
                <c:pt idx="85">
                  <c:v>7.172572084349448e-05</c:v>
                </c:pt>
                <c:pt idx="86">
                  <c:v>0.00023084025854108956</c:v>
                </c:pt>
                <c:pt idx="87">
                  <c:v>8.382932349735938e-05</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7.617306520414382e-05</c:v>
                </c:pt>
                <c:pt idx="21">
                  <c:v>0.00016248273620927777</c:v>
                </c:pt>
                <c:pt idx="22">
                  <c:v>0.0</c:v>
                </c:pt>
                <c:pt idx="23">
                  <c:v>0.0</c:v>
                </c:pt>
                <c:pt idx="24">
                  <c:v>0.00011976047904191617</c:v>
                </c:pt>
                <c:pt idx="25">
                  <c:v>0.0</c:v>
                </c:pt>
                <c:pt idx="26">
                  <c:v>0.00022150847269908073</c:v>
                </c:pt>
                <c:pt idx="27">
                  <c:v>0.00010263779123473263</c:v>
                </c:pt>
                <c:pt idx="28">
                  <c:v>0.0001756388864494599</c:v>
                </c:pt>
                <c:pt idx="29">
                  <c:v>0.0</c:v>
                </c:pt>
                <c:pt idx="30">
                  <c:v>0.0</c:v>
                </c:pt>
                <c:pt idx="31">
                  <c:v>9.857072449482504e-05</c:v>
                </c:pt>
                <c:pt idx="32">
                  <c:v>0.00010185373803218578</c:v>
                </c:pt>
                <c:pt idx="33">
                  <c:v>0.00022596316800361542</c:v>
                </c:pt>
                <c:pt idx="34">
                  <c:v>0.0</c:v>
                </c:pt>
                <c:pt idx="35">
                  <c:v>0.0</c:v>
                </c:pt>
                <c:pt idx="36">
                  <c:v>0.00012732365673542143</c:v>
                </c:pt>
                <c:pt idx="37">
                  <c:v>0.0</c:v>
                </c:pt>
                <c:pt idx="38">
                  <c:v>0.0003575259206292456</c:v>
                </c:pt>
                <c:pt idx="39">
                  <c:v>0.0003604253018561903</c:v>
                </c:pt>
                <c:pt idx="40">
                  <c:v>0.00017409470752089137</c:v>
                </c:pt>
                <c:pt idx="41">
                  <c:v>0.00016302575806977502</c:v>
                </c:pt>
                <c:pt idx="42">
                  <c:v>0.0005128205128205128</c:v>
                </c:pt>
                <c:pt idx="43">
                  <c:v>0.0008548469823901521</c:v>
                </c:pt>
                <c:pt idx="44">
                  <c:v>0.00031377470975839345</c:v>
                </c:pt>
                <c:pt idx="45">
                  <c:v>0.0002828854314002829</c:v>
                </c:pt>
                <c:pt idx="46">
                  <c:v>0.0003399048266485384</c:v>
                </c:pt>
                <c:pt idx="47">
                  <c:v>0.00017793594306049823</c:v>
                </c:pt>
                <c:pt idx="48">
                  <c:v>0.0</c:v>
                </c:pt>
                <c:pt idx="49">
                  <c:v>0.00017962996227770793</c:v>
                </c:pt>
                <c:pt idx="50">
                  <c:v>0.0007192950908110052</c:v>
                </c:pt>
                <c:pt idx="51">
                  <c:v>0.0006172839506172839</c:v>
                </c:pt>
                <c:pt idx="52">
                  <c:v>0.0006808278867102397</c:v>
                </c:pt>
                <c:pt idx="53">
                  <c:v>0.0</c:v>
                </c:pt>
                <c:pt idx="54">
                  <c:v>0.0</c:v>
                </c:pt>
                <c:pt idx="55">
                  <c:v>0.0</c:v>
                </c:pt>
                <c:pt idx="56">
                  <c:v>0.0</c:v>
                </c:pt>
                <c:pt idx="57">
                  <c:v>0.00014954389113204725</c:v>
                </c:pt>
                <c:pt idx="58">
                  <c:v>0.00014112334180073385</c:v>
                </c:pt>
                <c:pt idx="59">
                  <c:v>0.00015463120457708364</c:v>
                </c:pt>
                <c:pt idx="60">
                  <c:v>0.0</c:v>
                </c:pt>
                <c:pt idx="61">
                  <c:v>0.0</c:v>
                </c:pt>
                <c:pt idx="62">
                  <c:v>0.0</c:v>
                </c:pt>
                <c:pt idx="63">
                  <c:v>0.0</c:v>
                </c:pt>
                <c:pt idx="64">
                  <c:v>0.0</c:v>
                </c:pt>
                <c:pt idx="65">
                  <c:v>0.0</c:v>
                </c:pt>
                <c:pt idx="66">
                  <c:v>0.0</c:v>
                </c:pt>
                <c:pt idx="67">
                  <c:v>0.00016380687169826775</c:v>
                </c:pt>
                <c:pt idx="68">
                  <c:v>6.692096633875393e-0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5374.4848340766</c:v>
                </c:pt>
              </c:numCache>
            </c:numRef>
          </c:xVal>
          <c:yVal>
            <c:numRef>
              <c:f>Sheet1!$B$163:$B$164</c:f>
              <c:numCache>
                <c:formatCode>General</c:formatCode>
                <c:ptCount val="2"/>
                <c:pt idx="0">
                  <c:v>0.0010522048548973822</c:v>
                </c:pt>
                <c:pt idx="1">
                  <c:v>0.00105220485489738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5374.4848340766</c:v>
                </c:pt>
                <c:pt idx="1">
                  <c:v>65374.4848340766</c:v>
                </c:pt>
              </c:numCache>
            </c:numRef>
          </c:xVal>
          <c:yVal>
            <c:numRef>
              <c:f>Sheet1!$B$167:$B$168</c:f>
              <c:numCache>
                <c:formatCode>General</c:formatCode>
                <c:ptCount val="2"/>
                <c:pt idx="0">
                  <c:v>0.00105220485489738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9655.917770424614</c:v>
                </c:pt>
              </c:numCache>
            </c:numRef>
          </c:xVal>
          <c:yVal>
            <c:numRef>
              <c:f>Sheet1!$B$171:$B$172</c:f>
              <c:numCache>
                <c:formatCode>General</c:formatCode>
                <c:ptCount val="2"/>
                <c:pt idx="0">
                  <c:v>0.00036122485978701784</c:v>
                </c:pt>
                <c:pt idx="1">
                  <c:v>0.0003612248597870178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9655.917770424614</c:v>
                </c:pt>
                <c:pt idx="1">
                  <c:v>19655.917770424614</c:v>
                </c:pt>
              </c:numCache>
            </c:numRef>
          </c:xVal>
          <c:yVal>
            <c:numRef>
              <c:f>Sheet1!$B$175:$B$176</c:f>
              <c:numCache>
                <c:formatCode>General</c:formatCode>
                <c:ptCount val="2"/>
                <c:pt idx="0">
                  <c:v>0.000361224859787017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03.7557132949481</c:v>
                </c:pt>
              </c:numCache>
            </c:numRef>
          </c:xVal>
          <c:yVal>
            <c:numRef>
              <c:f>Sheet1!$B$179:$B$180</c:f>
              <c:numCache>
                <c:formatCode>General</c:formatCode>
                <c:ptCount val="2"/>
                <c:pt idx="0">
                  <c:v>5.200202119591434e-05</c:v>
                </c:pt>
                <c:pt idx="1">
                  <c:v>5.200202119591434e-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03.7557132949481</c:v>
                </c:pt>
                <c:pt idx="1">
                  <c:v>-803.7557132949481</c:v>
                </c:pt>
              </c:numCache>
            </c:numRef>
          </c:xVal>
          <c:yVal>
            <c:numRef>
              <c:f>Sheet1!$B$183:$B$184</c:f>
              <c:numCache>
                <c:formatCode>General</c:formatCode>
                <c:ptCount val="2"/>
                <c:pt idx="0">
                  <c:v>5.200202119591434e-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pt idx="69">
                  <c:v>19655.917770424614</c:v>
                </c:pt>
                <c:pt idx="70">
                  <c:v>65374.4848340766</c:v>
                </c:pt>
                <c:pt idx="71">
                  <c:v>-803.7557132949481</c:v>
                </c:pt>
              </c:numCache>
            </c:numRef>
          </c:xVal>
          <c:yVal>
            <c:numRef>
              <c:f>Sheet1!$B$187:$B$258</c:f>
              <c:numCache>
                <c:formatCode>General</c:formatCode>
                <c:ptCount val="72"/>
                <c:pt idx="0">
                  <c:v>6.414980172607051e-05</c:v>
                </c:pt>
                <c:pt idx="1">
                  <c:v>6.414980172607051e-05</c:v>
                </c:pt>
                <c:pt idx="2">
                  <c:v>6.414980172607051e-05</c:v>
                </c:pt>
                <c:pt idx="3">
                  <c:v>6.414980172607051e-05</c:v>
                </c:pt>
                <c:pt idx="4">
                  <c:v>6.414980172607051e-05</c:v>
                </c:pt>
                <c:pt idx="5">
                  <c:v>6.414980172607051e-05</c:v>
                </c:pt>
                <c:pt idx="6">
                  <c:v>6.414980172607051e-05</c:v>
                </c:pt>
                <c:pt idx="7">
                  <c:v>6.414980172607051e-05</c:v>
                </c:pt>
                <c:pt idx="8">
                  <c:v>6.414980172607051e-05</c:v>
                </c:pt>
                <c:pt idx="9">
                  <c:v>6.414980172607051e-05</c:v>
                </c:pt>
                <c:pt idx="10">
                  <c:v>6.414980172607051e-05</c:v>
                </c:pt>
                <c:pt idx="11">
                  <c:v>6.414980172607051e-05</c:v>
                </c:pt>
                <c:pt idx="12">
                  <c:v>6.414980172607051e-05</c:v>
                </c:pt>
                <c:pt idx="13">
                  <c:v>6.414980172607051e-05</c:v>
                </c:pt>
                <c:pt idx="14">
                  <c:v>6.414980172607051e-05</c:v>
                </c:pt>
                <c:pt idx="15">
                  <c:v>6.414980172607051e-05</c:v>
                </c:pt>
                <c:pt idx="16">
                  <c:v>6.414980172607051e-05</c:v>
                </c:pt>
                <c:pt idx="17">
                  <c:v>6.414980172607051e-05</c:v>
                </c:pt>
                <c:pt idx="18">
                  <c:v>6.414980172607051e-05</c:v>
                </c:pt>
                <c:pt idx="19">
                  <c:v>6.414980172607051e-05</c:v>
                </c:pt>
                <c:pt idx="20">
                  <c:v>0.00023318222687962066</c:v>
                </c:pt>
                <c:pt idx="21">
                  <c:v>0.0001588149121471418</c:v>
                </c:pt>
                <c:pt idx="22">
                  <c:v>6.414980172607051e-05</c:v>
                </c:pt>
                <c:pt idx="23">
                  <c:v>6.414980172607051e-05</c:v>
                </c:pt>
                <c:pt idx="24">
                  <c:v>0.00020753415593133967</c:v>
                </c:pt>
                <c:pt idx="25">
                  <c:v>6.414980172607051e-05</c:v>
                </c:pt>
                <c:pt idx="26">
                  <c:v>0.00013914433799323036</c:v>
                </c:pt>
                <c:pt idx="27">
                  <c:v>0.00017384555832160583</c:v>
                </c:pt>
                <c:pt idx="28">
                  <c:v>0.00019461943782567902</c:v>
                </c:pt>
                <c:pt idx="29">
                  <c:v>6.414980172607051e-05</c:v>
                </c:pt>
                <c:pt idx="30">
                  <c:v>6.414980172607051e-05</c:v>
                </c:pt>
                <c:pt idx="31">
                  <c:v>0.00026934948308423846</c:v>
                </c:pt>
                <c:pt idx="32">
                  <c:v>0.00024182730441787447</c:v>
                </c:pt>
                <c:pt idx="33">
                  <c:v>0.00023266080174837983</c:v>
                </c:pt>
                <c:pt idx="34">
                  <c:v>6.414980172607051e-05</c:v>
                </c:pt>
                <c:pt idx="35">
                  <c:v>6.414980172607051e-05</c:v>
                </c:pt>
                <c:pt idx="36">
                  <c:v>0.00023995319669979146</c:v>
                </c:pt>
                <c:pt idx="37">
                  <c:v>6.414980172607051e-05</c:v>
                </c:pt>
                <c:pt idx="38">
                  <c:v>0.00016688566635243468</c:v>
                </c:pt>
                <c:pt idx="39">
                  <c:v>0.00014462308031423912</c:v>
                </c:pt>
                <c:pt idx="40">
                  <c:v>0.00016054543903198457</c:v>
                </c:pt>
                <c:pt idx="41">
                  <c:v>0.00023390768793178182</c:v>
                </c:pt>
                <c:pt idx="42">
                  <c:v>0.00014003101311633084</c:v>
                </c:pt>
                <c:pt idx="43">
                  <c:v>0.00012599535642280935</c:v>
                </c:pt>
                <c:pt idx="44">
                  <c:v>0.00013349934418110135</c:v>
                </c:pt>
                <c:pt idx="45">
                  <c:v>0.00017346771402360523</c:v>
                </c:pt>
                <c:pt idx="46">
                  <c:v>0.0001471168526810431</c:v>
                </c:pt>
                <c:pt idx="47">
                  <c:v>0.00016371933113518963</c:v>
                </c:pt>
                <c:pt idx="48">
                  <c:v>6.414980172607051e-05</c:v>
                </c:pt>
                <c:pt idx="49">
                  <c:v>0.0001527467327212521</c:v>
                </c:pt>
                <c:pt idx="50">
                  <c:v>9.817090231804488e-05</c:v>
                </c:pt>
                <c:pt idx="51">
                  <c:v>9.454359705723909e-05</c:v>
                </c:pt>
                <c:pt idx="52">
                  <c:v>0.00011737446091962757</c:v>
                </c:pt>
                <c:pt idx="53">
                  <c:v>6.414980172607051e-05</c:v>
                </c:pt>
                <c:pt idx="54">
                  <c:v>6.414980172607051e-05</c:v>
                </c:pt>
                <c:pt idx="55">
                  <c:v>6.414980172607051e-05</c:v>
                </c:pt>
                <c:pt idx="56">
                  <c:v>6.414980172607051e-05</c:v>
                </c:pt>
                <c:pt idx="57">
                  <c:v>0.000254689124321815</c:v>
                </c:pt>
                <c:pt idx="58">
                  <c:v>0.0002051764075118159</c:v>
                </c:pt>
                <c:pt idx="59">
                  <c:v>0.00024282481336459607</c:v>
                </c:pt>
                <c:pt idx="60">
                  <c:v>6.414980172607051e-05</c:v>
                </c:pt>
                <c:pt idx="61">
                  <c:v>6.414980172607051e-05</c:v>
                </c:pt>
                <c:pt idx="62">
                  <c:v>6.414980172607051e-05</c:v>
                </c:pt>
                <c:pt idx="63">
                  <c:v>6.414980172607051e-05</c:v>
                </c:pt>
                <c:pt idx="64">
                  <c:v>6.414980172607051e-05</c:v>
                </c:pt>
                <c:pt idx="65">
                  <c:v>6.414980172607051e-05</c:v>
                </c:pt>
                <c:pt idx="66">
                  <c:v>6.414980172607051e-05</c:v>
                </c:pt>
                <c:pt idx="67">
                  <c:v>0.00013374872141778174</c:v>
                </c:pt>
                <c:pt idx="68">
                  <c:v>0.00027622624930784945</c:v>
                </c:pt>
                <c:pt idx="69">
                  <c:v>0.00036122485978701784</c:v>
                </c:pt>
                <c:pt idx="70">
                  <c:v>0.0010522048548973822</c:v>
                </c:pt>
                <c:pt idx="71">
                  <c:v>5.200202119591434e-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844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51265049729541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0.4081368487822606</c:v>
                </c:pt>
                <c:pt idx="1">
                  <c:v>0.7176624386595886</c:v>
                </c:pt>
                <c:pt idx="2">
                  <c:v>0.7158446125739171</c:v>
                </c:pt>
                <c:pt idx="3">
                  <c:v>0.8569541369494941</c:v>
                </c:pt>
                <c:pt idx="4">
                  <c:v>0.6532739955184879</c:v>
                </c:pt>
                <c:pt idx="5">
                  <c:v>0.5043584904899757</c:v>
                </c:pt>
                <c:pt idx="6">
                  <c:v>0.6670063003667446</c:v>
                </c:pt>
                <c:pt idx="7">
                  <c:v>0.40897129061700715</c:v>
                </c:pt>
                <c:pt idx="8">
                  <c:v>0.5911056573193277</c:v>
                </c:pt>
                <c:pt idx="9">
                  <c:v>0.5627461949308942</c:v>
                </c:pt>
                <c:pt idx="10">
                  <c:v>0.7834411766286903</c:v>
                </c:pt>
                <c:pt idx="11">
                  <c:v>0.5028208197987958</c:v>
                </c:pt>
                <c:pt idx="12">
                  <c:v>0.6414498899823075</c:v>
                </c:pt>
                <c:pt idx="13">
                  <c:v>0.5649873651947487</c:v>
                </c:pt>
                <c:pt idx="14">
                  <c:v>0.6077638662706438</c:v>
                </c:pt>
                <c:pt idx="15">
                  <c:v>0.36330222400743534</c:v>
                </c:pt>
                <c:pt idx="16">
                  <c:v>0.20750976029723142</c:v>
                </c:pt>
                <c:pt idx="17">
                  <c:v>0.40329326318598446</c:v>
                </c:pt>
                <c:pt idx="18">
                  <c:v>0.3602023434535495</c:v>
                </c:pt>
                <c:pt idx="19">
                  <c:v>0.3606306644218409</c:v>
                </c:pt>
                <c:pt idx="20">
                  <c:v>0.30861009015272833</c:v>
                </c:pt>
                <c:pt idx="21">
                  <c:v>0.38925037235461873</c:v>
                </c:pt>
                <c:pt idx="22">
                  <c:v>0.5976010453439641</c:v>
                </c:pt>
                <c:pt idx="23">
                  <c:v>0.4407100554643729</c:v>
                </c:pt>
                <c:pt idx="24">
                  <c:v>0.34999856610387464</c:v>
                </c:pt>
                <c:pt idx="25">
                  <c:v>0.623037576877219</c:v>
                </c:pt>
                <c:pt idx="26">
                  <c:v>0.7352787899956359</c:v>
                </c:pt>
                <c:pt idx="27">
                  <c:v>0.3192121550905079</c:v>
                </c:pt>
                <c:pt idx="28">
                  <c:v>0.6644929861935549</c:v>
                </c:pt>
                <c:pt idx="29">
                  <c:v>0.3495503392377807</c:v>
                </c:pt>
                <c:pt idx="30">
                  <c:v>0.4619641241509571</c:v>
                </c:pt>
                <c:pt idx="31">
                  <c:v>0.517793849714458</c:v>
                </c:pt>
                <c:pt idx="32">
                  <c:v>0.333301407394681</c:v>
                </c:pt>
                <c:pt idx="33">
                  <c:v>0.32737618708285976</c:v>
                </c:pt>
                <c:pt idx="34">
                  <c:v>0.36498132514467885</c:v>
                </c:pt>
                <c:pt idx="35">
                  <c:v>0.6091466712995515</c:v>
                </c:pt>
                <c:pt idx="36">
                  <c:v>0.43497502737480553</c:v>
                </c:pt>
                <c:pt idx="37">
                  <c:v>0.7378239360483522</c:v>
                </c:pt>
                <c:pt idx="38">
                  <c:v>0.5330413955417734</c:v>
                </c:pt>
                <c:pt idx="39">
                  <c:v>0.5517368491178126</c:v>
                </c:pt>
                <c:pt idx="40">
                  <c:v>0.5207174818676574</c:v>
                </c:pt>
                <c:pt idx="41">
                  <c:v>1.0061392547389962</c:v>
                </c:pt>
                <c:pt idx="42">
                  <c:v>0.5256958291696587</c:v>
                </c:pt>
                <c:pt idx="43">
                  <c:v>0.3831106099497249</c:v>
                </c:pt>
                <c:pt idx="44">
                  <c:v>0.4563140485295798</c:v>
                </c:pt>
                <c:pt idx="45">
                  <c:v>0.4235002705423897</c:v>
                </c:pt>
                <c:pt idx="46">
                  <c:v>0.36896800303541194</c:v>
                </c:pt>
                <c:pt idx="47">
                  <c:v>0.4666849803865403</c:v>
                </c:pt>
                <c:pt idx="48">
                  <c:v>0.3770010047496615</c:v>
                </c:pt>
                <c:pt idx="49">
                  <c:v>0.37621523776114607</c:v>
                </c:pt>
                <c:pt idx="50">
                  <c:v>0.42300578470431843</c:v>
                </c:pt>
                <c:pt idx="51">
                  <c:v>0.4401054418738756</c:v>
                </c:pt>
                <c:pt idx="52">
                  <c:v>0.3587215987881</c:v>
                </c:pt>
                <c:pt idx="53">
                  <c:v>0.34988537996146996</c:v>
                </c:pt>
                <c:pt idx="54">
                  <c:v>0.4233565007783951</c:v>
                </c:pt>
                <c:pt idx="55">
                  <c:v>1.5250921448294195</c:v>
                </c:pt>
                <c:pt idx="56">
                  <c:v>0.6161718236531242</c:v>
                </c:pt>
                <c:pt idx="57">
                  <c:v>1.036961636703835</c:v>
                </c:pt>
                <c:pt idx="58">
                  <c:v>0.4747851842932688</c:v>
                </c:pt>
                <c:pt idx="59">
                  <c:v>0.3935305374233079</c:v>
                </c:pt>
                <c:pt idx="60">
                  <c:v>0.39086675468101695</c:v>
                </c:pt>
                <c:pt idx="61">
                  <c:v>0.37963768239425216</c:v>
                </c:pt>
                <c:pt idx="62">
                  <c:v>0.3485469061157182</c:v>
                </c:pt>
                <c:pt idx="63">
                  <c:v>0.2994754799784283</c:v>
                </c:pt>
                <c:pt idx="64">
                  <c:v>0.3136553435110497</c:v>
                </c:pt>
                <c:pt idx="65">
                  <c:v>0.6685824168283423</c:v>
                </c:pt>
                <c:pt idx="66">
                  <c:v>0.9954349485081048</c:v>
                </c:pt>
                <c:pt idx="67">
                  <c:v>0.5359124113844911</c:v>
                </c:pt>
                <c:pt idx="68">
                  <c:v>1.6630346229470367</c:v>
                </c:pt>
                <c:pt idx="69">
                  <c:v>0.5237517514815303</c:v>
                </c:pt>
                <c:pt idx="70">
                  <c:v>0.5199233327833713</c:v>
                </c:pt>
                <c:pt idx="71">
                  <c:v>0.5412813323810639</c:v>
                </c:pt>
                <c:pt idx="72">
                  <c:v>0.5305600197717847</c:v>
                </c:pt>
                <c:pt idx="73">
                  <c:v>0.5244158443547875</c:v>
                </c:pt>
                <c:pt idx="74">
                  <c:v>0.4939227653363867</c:v>
                </c:pt>
                <c:pt idx="75">
                  <c:v>0.727392028958109</c:v>
                </c:pt>
                <c:pt idx="76">
                  <c:v>0.7308179185914349</c:v>
                </c:pt>
                <c:pt idx="77">
                  <c:v>0.3857074579374659</c:v>
                </c:pt>
                <c:pt idx="78">
                  <c:v>1.9238516915896613</c:v>
                </c:pt>
                <c:pt idx="79">
                  <c:v>1.592322427544575</c:v>
                </c:pt>
                <c:pt idx="80">
                  <c:v>1.5692138542133742</c:v>
                </c:pt>
                <c:pt idx="81">
                  <c:v>1.0550449477181398</c:v>
                </c:pt>
                <c:pt idx="82">
                  <c:v>1.3344835935447048</c:v>
                </c:pt>
                <c:pt idx="83">
                  <c:v>1.6380791728157027</c:v>
                </c:pt>
                <c:pt idx="84">
                  <c:v>0.593216178628687</c:v>
                </c:pt>
                <c:pt idx="85">
                  <c:v>1.0717384499652916</c:v>
                </c:pt>
                <c:pt idx="86">
                  <c:v>0.523737784349592</c:v>
                </c:pt>
                <c:pt idx="87">
                  <c:v>0.9470666520849478</c:v>
                </c:pt>
              </c:numCache>
            </c:numRef>
          </c:xVal>
          <c:yVal>
            <c:numRef>
              <c:f>Sheet1!$B$2:$B$89</c:f>
              <c:numCache>
                <c:formatCode>General</c:formatCode>
                <c:ptCount val="88"/>
                <c:pt idx="0">
                  <c:v>0.0013899920571882446</c:v>
                </c:pt>
                <c:pt idx="1">
                  <c:v>0.0003280481137233461</c:v>
                </c:pt>
                <c:pt idx="2">
                  <c:v>0.0003180324393088095</c:v>
                </c:pt>
                <c:pt idx="3">
                  <c:v>0.00021666125013541327</c:v>
                </c:pt>
                <c:pt idx="4">
                  <c:v>0.000253324889170361</c:v>
                </c:pt>
                <c:pt idx="5">
                  <c:v>0.0006664001066240171</c:v>
                </c:pt>
                <c:pt idx="6">
                  <c:v>0.0007710100231303007</c:v>
                </c:pt>
                <c:pt idx="7">
                  <c:v>0.0009916418756197763</c:v>
                </c:pt>
                <c:pt idx="8">
                  <c:v>0.0005517241379310345</c:v>
                </c:pt>
                <c:pt idx="9">
                  <c:v>0.0007114062129475931</c:v>
                </c:pt>
                <c:pt idx="10">
                  <c:v>0.0003320420586607637</c:v>
                </c:pt>
                <c:pt idx="11">
                  <c:v>0.0007222451506397028</c:v>
                </c:pt>
                <c:pt idx="12">
                  <c:v>0.0005499541704857929</c:v>
                </c:pt>
                <c:pt idx="13">
                  <c:v>0.000625130235465722</c:v>
                </c:pt>
                <c:pt idx="14">
                  <c:v>0.000224290680722216</c:v>
                </c:pt>
                <c:pt idx="15">
                  <c:v>0.0006429214350006429</c:v>
                </c:pt>
                <c:pt idx="16">
                  <c:v>0.0005787874403125452</c:v>
                </c:pt>
                <c:pt idx="17">
                  <c:v>0.0004809233728759218</c:v>
                </c:pt>
                <c:pt idx="18">
                  <c:v>0.0006128702757916241</c:v>
                </c:pt>
                <c:pt idx="19">
                  <c:v>0.000672834314550042</c:v>
                </c:pt>
                <c:pt idx="20">
                  <c:v>0.0003861749372465727</c:v>
                </c:pt>
                <c:pt idx="21">
                  <c:v>0.0010588733587462938</c:v>
                </c:pt>
                <c:pt idx="22">
                  <c:v>0.0006499133448873484</c:v>
                </c:pt>
                <c:pt idx="23">
                  <c:v>0.0010187449062754685</c:v>
                </c:pt>
                <c:pt idx="24">
                  <c:v>0.0015992689056431345</c:v>
                </c:pt>
                <c:pt idx="25">
                  <c:v>0.0009389671361502347</c:v>
                </c:pt>
                <c:pt idx="26">
                  <c:v>0.0003829216925138809</c:v>
                </c:pt>
                <c:pt idx="27">
                  <c:v>0.0009613535858488752</c:v>
                </c:pt>
                <c:pt idx="28">
                  <c:v>0.0006884681583476765</c:v>
                </c:pt>
                <c:pt idx="29">
                  <c:v>0.0008615119534783546</c:v>
                </c:pt>
                <c:pt idx="30">
                  <c:v>0.0008605851979345956</c:v>
                </c:pt>
                <c:pt idx="31">
                  <c:v>0.0006612298875909191</c:v>
                </c:pt>
                <c:pt idx="32">
                  <c:v>0.0019029495718363464</c:v>
                </c:pt>
                <c:pt idx="33">
                  <c:v>0.0020938754144128424</c:v>
                </c:pt>
                <c:pt idx="34">
                  <c:v>0.0019305019305019305</c:v>
                </c:pt>
                <c:pt idx="35">
                  <c:v>0.0006308153288124901</c:v>
                </c:pt>
                <c:pt idx="36">
                  <c:v>0.0007662835249042146</c:v>
                </c:pt>
                <c:pt idx="37">
                  <c:v>0.0003685277317118113</c:v>
                </c:pt>
                <c:pt idx="38">
                  <c:v>0.0008151620134501732</c:v>
                </c:pt>
                <c:pt idx="39">
                  <c:v>0.0005020920502092051</c:v>
                </c:pt>
                <c:pt idx="40">
                  <c:v>0.00055452865064695</c:v>
                </c:pt>
                <c:pt idx="41">
                  <c:v>0.00015669069257286117</c:v>
                </c:pt>
                <c:pt idx="42">
                  <c:v>0.0005485463521667581</c:v>
                </c:pt>
                <c:pt idx="43">
                  <c:v>0.0007422330611812109</c:v>
                </c:pt>
                <c:pt idx="44">
                  <c:v>0.0004979087831109341</c:v>
                </c:pt>
                <c:pt idx="45">
                  <c:v>0.0010732754415064885</c:v>
                </c:pt>
                <c:pt idx="46">
                  <c:v>0.0013006503251625813</c:v>
                </c:pt>
                <c:pt idx="47">
                  <c:v>0.0007183908045977011</c:v>
                </c:pt>
                <c:pt idx="48">
                  <c:v>0.0008392575039494471</c:v>
                </c:pt>
                <c:pt idx="49">
                  <c:v>0.0009613843935266784</c:v>
                </c:pt>
                <c:pt idx="50">
                  <c:v>0.0008946144211844695</c:v>
                </c:pt>
                <c:pt idx="51">
                  <c:v>0.0003058103975535168</c:v>
                </c:pt>
                <c:pt idx="52">
                  <c:v>0.0005198585984612185</c:v>
                </c:pt>
                <c:pt idx="53">
                  <c:v>0.001129305477131564</c:v>
                </c:pt>
                <c:pt idx="54">
                  <c:v>0.0005919962112242482</c:v>
                </c:pt>
                <c:pt idx="55">
                  <c:v>0.00011396011396011396</c:v>
                </c:pt>
                <c:pt idx="56">
                  <c:v>0.0002042692268409764</c:v>
                </c:pt>
                <c:pt idx="57">
                  <c:v>9.304922303898763e-05</c:v>
                </c:pt>
                <c:pt idx="58">
                  <c:v>0.00024464831804281347</c:v>
                </c:pt>
                <c:pt idx="59">
                  <c:v>0.00025375880225845333</c:v>
                </c:pt>
                <c:pt idx="60">
                  <c:v>0.00042369290738073043</c:v>
                </c:pt>
                <c:pt idx="61">
                  <c:v>0.0003549560741858195</c:v>
                </c:pt>
                <c:pt idx="62">
                  <c:v>0.00045558086560364467</c:v>
                </c:pt>
                <c:pt idx="63">
                  <c:v>0.0006550218340611354</c:v>
                </c:pt>
                <c:pt idx="64">
                  <c:v>0.00039856516540454366</c:v>
                </c:pt>
                <c:pt idx="65">
                  <c:v>8.676036786395974e-05</c:v>
                </c:pt>
                <c:pt idx="66">
                  <c:v>8.946144211844694e-05</c:v>
                </c:pt>
                <c:pt idx="67">
                  <c:v>0.0002586987453110852</c:v>
                </c:pt>
                <c:pt idx="68">
                  <c:v>0.0001255020080321285</c:v>
                </c:pt>
                <c:pt idx="69">
                  <c:v>0.0006367804381049414</c:v>
                </c:pt>
                <c:pt idx="70">
                  <c:v>0.0009066183136899365</c:v>
                </c:pt>
                <c:pt idx="71">
                  <c:v>0.0007687576875768758</c:v>
                </c:pt>
                <c:pt idx="72">
                  <c:v>0.00079923273657289</c:v>
                </c:pt>
                <c:pt idx="73">
                  <c:v>0.0008008970046452026</c:v>
                </c:pt>
                <c:pt idx="74">
                  <c:v>0.0012612612612612612</c:v>
                </c:pt>
                <c:pt idx="75">
                  <c:v>0.0009174311926605505</c:v>
                </c:pt>
                <c:pt idx="76">
                  <c:v>0.0007276696379843551</c:v>
                </c:pt>
                <c:pt idx="77">
                  <c:v>0.0016183610416360158</c:v>
                </c:pt>
                <c:pt idx="78">
                  <c:v>0.0001850481125092524</c:v>
                </c:pt>
                <c:pt idx="79">
                  <c:v>0.0002289901534234028</c:v>
                </c:pt>
                <c:pt idx="80">
                  <c:v>0.0002296211251435132</c:v>
                </c:pt>
                <c:pt idx="81">
                  <c:v>8.244702778464837e-05</c:v>
                </c:pt>
                <c:pt idx="82">
                  <c:v>6.564264145989234e-05</c:v>
                </c:pt>
                <c:pt idx="83">
                  <c:v>4.390586582367404e-05</c:v>
                </c:pt>
                <c:pt idx="84">
                  <c:v>0.00014455044810638914</c:v>
                </c:pt>
                <c:pt idx="85">
                  <c:v>7.172572084349448e-05</c:v>
                </c:pt>
                <c:pt idx="86">
                  <c:v>0.00023084025854108956</c:v>
                </c:pt>
                <c:pt idx="87">
                  <c:v>8.382932349735938e-05</c:v>
                </c:pt>
              </c:numCache>
            </c:numRef>
          </c:yVal>
          <c:smooth val="0"/>
          <c:extLst>
            <c:ext xmlns:c16="http://schemas.microsoft.com/office/drawing/2014/chart" uri="{C3380CC4-5D6E-409C-BE32-E72D297353CC}">
              <c16:uniqueId val="{00000000-096C-4121-9522-6AB7243CCAAE}"/>
            </c:ext>
          </c:extLst>
        </c:ser>
        <c:ser>
          <c:idx val="1"/>
          <c:order val="1"/>
          <c:tx>
            <c:strRef>
              <c:f>Sheet1!$B$9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051929075111771</c:v>
                </c:pt>
                <c:pt idx="21">
                  <c:v>0.5947963453304299</c:v>
                </c:pt>
                <c:pt idx="22">
                  <c:v>0.0</c:v>
                </c:pt>
                <c:pt idx="23">
                  <c:v>0.0</c:v>
                </c:pt>
                <c:pt idx="24">
                  <c:v>0.8793368945226265</c:v>
                </c:pt>
                <c:pt idx="25">
                  <c:v>0.0</c:v>
                </c:pt>
                <c:pt idx="26">
                  <c:v>0.4563100674912201</c:v>
                </c:pt>
                <c:pt idx="27">
                  <c:v>0.6724960404919336</c:v>
                </c:pt>
                <c:pt idx="28">
                  <c:v>0.8128072549127667</c:v>
                </c:pt>
                <c:pt idx="29">
                  <c:v>0.0</c:v>
                </c:pt>
                <c:pt idx="30">
                  <c:v>0.0</c:v>
                </c:pt>
                <c:pt idx="31">
                  <c:v>1.2341674191327638</c:v>
                </c:pt>
                <c:pt idx="32">
                  <c:v>1.0392354981983682</c:v>
                </c:pt>
                <c:pt idx="33">
                  <c:v>0.9862805496187355</c:v>
                </c:pt>
                <c:pt idx="34">
                  <c:v>0.0</c:v>
                </c:pt>
                <c:pt idx="35">
                  <c:v>0.0</c:v>
                </c:pt>
                <c:pt idx="36">
                  <c:v>1.041757896235128</c:v>
                </c:pt>
                <c:pt idx="37">
                  <c:v>0.0</c:v>
                </c:pt>
                <c:pt idx="38">
                  <c:v>0.6085049830627484</c:v>
                </c:pt>
                <c:pt idx="39">
                  <c:v>0.4831973158677234</c:v>
                </c:pt>
                <c:pt idx="40">
                  <c:v>0.5833047160698446</c:v>
                </c:pt>
                <c:pt idx="41">
                  <c:v>0.9945631962030921</c:v>
                </c:pt>
                <c:pt idx="42">
                  <c:v>0.43578129350453204</c:v>
                </c:pt>
                <c:pt idx="43">
                  <c:v>0.3580792085210391</c:v>
                </c:pt>
                <c:pt idx="44">
                  <c:v>0.4052979280279562</c:v>
                </c:pt>
                <c:pt idx="45">
                  <c:v>0.6269888073265996</c:v>
                </c:pt>
                <c:pt idx="46">
                  <c:v>0.4786431468193363</c:v>
                </c:pt>
                <c:pt idx="47">
                  <c:v>0.5771350347580188</c:v>
                </c:pt>
                <c:pt idx="48">
                  <c:v>0.0</c:v>
                </c:pt>
                <c:pt idx="49">
                  <c:v>0.5023490387792805</c:v>
                </c:pt>
                <c:pt idx="50">
                  <c:v>0.1957621214192338</c:v>
                </c:pt>
                <c:pt idx="51">
                  <c:v>0.17644934845529694</c:v>
                </c:pt>
                <c:pt idx="52">
                  <c:v>0.3118369695496282</c:v>
                </c:pt>
                <c:pt idx="53">
                  <c:v>0.0</c:v>
                </c:pt>
                <c:pt idx="54">
                  <c:v>0.0</c:v>
                </c:pt>
                <c:pt idx="55">
                  <c:v>0.0</c:v>
                </c:pt>
                <c:pt idx="56">
                  <c:v>0.0</c:v>
                </c:pt>
                <c:pt idx="57">
                  <c:v>1.1313193139475797</c:v>
                </c:pt>
                <c:pt idx="58">
                  <c:v>0.8278349572300945</c:v>
                </c:pt>
                <c:pt idx="59">
                  <c:v>1.0473858553189268</c:v>
                </c:pt>
                <c:pt idx="60">
                  <c:v>0.0</c:v>
                </c:pt>
                <c:pt idx="61">
                  <c:v>0.0</c:v>
                </c:pt>
                <c:pt idx="62">
                  <c:v>0.0</c:v>
                </c:pt>
                <c:pt idx="63">
                  <c:v>0.0</c:v>
                </c:pt>
                <c:pt idx="64">
                  <c:v>0.0</c:v>
                </c:pt>
                <c:pt idx="65">
                  <c:v>0.0</c:v>
                </c:pt>
                <c:pt idx="66">
                  <c:v>0.0</c:v>
                </c:pt>
                <c:pt idx="67">
                  <c:v>0.45931439471863256</c:v>
                </c:pt>
                <c:pt idx="68">
                  <c:v>1.3392814661398256</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7.617306520414382e-05</c:v>
                </c:pt>
                <c:pt idx="21">
                  <c:v>0.00016248273620927777</c:v>
                </c:pt>
                <c:pt idx="22">
                  <c:v>0.0</c:v>
                </c:pt>
                <c:pt idx="23">
                  <c:v>0.0</c:v>
                </c:pt>
                <c:pt idx="24">
                  <c:v>0.00011976047904191617</c:v>
                </c:pt>
                <c:pt idx="25">
                  <c:v>0.0</c:v>
                </c:pt>
                <c:pt idx="26">
                  <c:v>0.00022150847269908073</c:v>
                </c:pt>
                <c:pt idx="27">
                  <c:v>0.00010263779123473263</c:v>
                </c:pt>
                <c:pt idx="28">
                  <c:v>0.0001756388864494599</c:v>
                </c:pt>
                <c:pt idx="29">
                  <c:v>0.0</c:v>
                </c:pt>
                <c:pt idx="30">
                  <c:v>0.0</c:v>
                </c:pt>
                <c:pt idx="31">
                  <c:v>9.857072449482504e-05</c:v>
                </c:pt>
                <c:pt idx="32">
                  <c:v>0.00010185373803218578</c:v>
                </c:pt>
                <c:pt idx="33">
                  <c:v>0.00022596316800361542</c:v>
                </c:pt>
                <c:pt idx="34">
                  <c:v>0.0</c:v>
                </c:pt>
                <c:pt idx="35">
                  <c:v>0.0</c:v>
                </c:pt>
                <c:pt idx="36">
                  <c:v>0.00012732365673542143</c:v>
                </c:pt>
                <c:pt idx="37">
                  <c:v>0.0</c:v>
                </c:pt>
                <c:pt idx="38">
                  <c:v>0.0003575259206292456</c:v>
                </c:pt>
                <c:pt idx="39">
                  <c:v>0.0003604253018561903</c:v>
                </c:pt>
                <c:pt idx="40">
                  <c:v>0.00017409470752089137</c:v>
                </c:pt>
                <c:pt idx="41">
                  <c:v>0.00016302575806977502</c:v>
                </c:pt>
                <c:pt idx="42">
                  <c:v>0.0005128205128205128</c:v>
                </c:pt>
                <c:pt idx="43">
                  <c:v>0.0008548469823901521</c:v>
                </c:pt>
                <c:pt idx="44">
                  <c:v>0.00031377470975839345</c:v>
                </c:pt>
                <c:pt idx="45">
                  <c:v>0.0002828854314002829</c:v>
                </c:pt>
                <c:pt idx="46">
                  <c:v>0.0003399048266485384</c:v>
                </c:pt>
                <c:pt idx="47">
                  <c:v>0.00017793594306049823</c:v>
                </c:pt>
                <c:pt idx="48">
                  <c:v>0.0</c:v>
                </c:pt>
                <c:pt idx="49">
                  <c:v>0.00017962996227770793</c:v>
                </c:pt>
                <c:pt idx="50">
                  <c:v>0.0007192950908110052</c:v>
                </c:pt>
                <c:pt idx="51">
                  <c:v>0.0006172839506172839</c:v>
                </c:pt>
                <c:pt idx="52">
                  <c:v>0.0006808278867102397</c:v>
                </c:pt>
                <c:pt idx="53">
                  <c:v>0.0</c:v>
                </c:pt>
                <c:pt idx="54">
                  <c:v>0.0</c:v>
                </c:pt>
                <c:pt idx="55">
                  <c:v>0.0</c:v>
                </c:pt>
                <c:pt idx="56">
                  <c:v>0.0</c:v>
                </c:pt>
                <c:pt idx="57">
                  <c:v>0.00014954389113204725</c:v>
                </c:pt>
                <c:pt idx="58">
                  <c:v>0.00014112334180073385</c:v>
                </c:pt>
                <c:pt idx="59">
                  <c:v>0.00015463120457708364</c:v>
                </c:pt>
                <c:pt idx="60">
                  <c:v>0.0</c:v>
                </c:pt>
                <c:pt idx="61">
                  <c:v>0.0</c:v>
                </c:pt>
                <c:pt idx="62">
                  <c:v>0.0</c:v>
                </c:pt>
                <c:pt idx="63">
                  <c:v>0.0</c:v>
                </c:pt>
                <c:pt idx="64">
                  <c:v>0.0</c:v>
                </c:pt>
                <c:pt idx="65">
                  <c:v>0.0</c:v>
                </c:pt>
                <c:pt idx="66">
                  <c:v>0.0</c:v>
                </c:pt>
                <c:pt idx="67">
                  <c:v>0.00016380687169826775</c:v>
                </c:pt>
                <c:pt idx="68">
                  <c:v>6.692096633875393e-0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6.0955807778934545</c:v>
                </c:pt>
              </c:numCache>
            </c:numRef>
          </c:xVal>
          <c:yVal>
            <c:numRef>
              <c:f>Sheet1!$B$163:$B$164</c:f>
              <c:numCache>
                <c:formatCode>General</c:formatCode>
                <c:ptCount val="2"/>
                <c:pt idx="0">
                  <c:v>0.0010522048548973822</c:v>
                </c:pt>
                <c:pt idx="1">
                  <c:v>0.00105220485489738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6.0955807778934545</c:v>
                </c:pt>
                <c:pt idx="1">
                  <c:v>6.0955807778934545</c:v>
                </c:pt>
              </c:numCache>
            </c:numRef>
          </c:xVal>
          <c:yVal>
            <c:numRef>
              <c:f>Sheet1!$B$167:$B$168</c:f>
              <c:numCache>
                <c:formatCode>General</c:formatCode>
                <c:ptCount val="2"/>
                <c:pt idx="0">
                  <c:v>0.00105220485489738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8259321037188907</c:v>
                </c:pt>
              </c:numCache>
            </c:numRef>
          </c:xVal>
          <c:yVal>
            <c:numRef>
              <c:f>Sheet1!$B$171:$B$172</c:f>
              <c:numCache>
                <c:formatCode>General</c:formatCode>
                <c:ptCount val="2"/>
                <c:pt idx="0">
                  <c:v>0.00036122485978701784</c:v>
                </c:pt>
                <c:pt idx="1">
                  <c:v>0.0003612248597870178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8259321037188907</c:v>
                </c:pt>
                <c:pt idx="1">
                  <c:v>1.8259321037188907</c:v>
                </c:pt>
              </c:numCache>
            </c:numRef>
          </c:xVal>
          <c:yVal>
            <c:numRef>
              <c:f>Sheet1!$B$175:$B$176</c:f>
              <c:numCache>
                <c:formatCode>General</c:formatCode>
                <c:ptCount val="2"/>
                <c:pt idx="0">
                  <c:v>0.000361224859787017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8479308681882396</c:v>
                </c:pt>
              </c:numCache>
            </c:numRef>
          </c:xVal>
          <c:yVal>
            <c:numRef>
              <c:f>Sheet1!$B$179:$B$180</c:f>
              <c:numCache>
                <c:formatCode>General</c:formatCode>
                <c:ptCount val="2"/>
                <c:pt idx="0">
                  <c:v>5.200202119591434e-05</c:v>
                </c:pt>
                <c:pt idx="1">
                  <c:v>5.200202119591434e-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8479308681882396</c:v>
                </c:pt>
                <c:pt idx="1">
                  <c:v>-0.08479308681882396</c:v>
                </c:pt>
              </c:numCache>
            </c:numRef>
          </c:xVal>
          <c:yVal>
            <c:numRef>
              <c:f>Sheet1!$B$183:$B$184</c:f>
              <c:numCache>
                <c:formatCode>General</c:formatCode>
                <c:ptCount val="2"/>
                <c:pt idx="0">
                  <c:v>5.200202119591434e-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051929075111771</c:v>
                </c:pt>
                <c:pt idx="21">
                  <c:v>0.5947963453304299</c:v>
                </c:pt>
                <c:pt idx="22">
                  <c:v>0.0</c:v>
                </c:pt>
                <c:pt idx="23">
                  <c:v>0.0</c:v>
                </c:pt>
                <c:pt idx="24">
                  <c:v>0.8793368945226265</c:v>
                </c:pt>
                <c:pt idx="25">
                  <c:v>0.0</c:v>
                </c:pt>
                <c:pt idx="26">
                  <c:v>0.4563100674912201</c:v>
                </c:pt>
                <c:pt idx="27">
                  <c:v>0.6724960404919336</c:v>
                </c:pt>
                <c:pt idx="28">
                  <c:v>0.8128072549127667</c:v>
                </c:pt>
                <c:pt idx="29">
                  <c:v>0.0</c:v>
                </c:pt>
                <c:pt idx="30">
                  <c:v>0.0</c:v>
                </c:pt>
                <c:pt idx="31">
                  <c:v>1.2341674191327638</c:v>
                </c:pt>
                <c:pt idx="32">
                  <c:v>1.0392354981983682</c:v>
                </c:pt>
                <c:pt idx="33">
                  <c:v>0.9862805496187355</c:v>
                </c:pt>
                <c:pt idx="34">
                  <c:v>0.0</c:v>
                </c:pt>
                <c:pt idx="35">
                  <c:v>0.0</c:v>
                </c:pt>
                <c:pt idx="36">
                  <c:v>1.041757896235128</c:v>
                </c:pt>
                <c:pt idx="37">
                  <c:v>0.0</c:v>
                </c:pt>
                <c:pt idx="38">
                  <c:v>0.6085049830627484</c:v>
                </c:pt>
                <c:pt idx="39">
                  <c:v>0.4831973158677234</c:v>
                </c:pt>
                <c:pt idx="40">
                  <c:v>0.5833047160698446</c:v>
                </c:pt>
                <c:pt idx="41">
                  <c:v>0.9945631962030921</c:v>
                </c:pt>
                <c:pt idx="42">
                  <c:v>0.43578129350453204</c:v>
                </c:pt>
                <c:pt idx="43">
                  <c:v>0.3580792085210391</c:v>
                </c:pt>
                <c:pt idx="44">
                  <c:v>0.4052979280279562</c:v>
                </c:pt>
                <c:pt idx="45">
                  <c:v>0.6269888073265996</c:v>
                </c:pt>
                <c:pt idx="46">
                  <c:v>0.4786431468193363</c:v>
                </c:pt>
                <c:pt idx="47">
                  <c:v>0.5771350347580188</c:v>
                </c:pt>
                <c:pt idx="48">
                  <c:v>0.0</c:v>
                </c:pt>
                <c:pt idx="49">
                  <c:v>0.5023490387792805</c:v>
                </c:pt>
                <c:pt idx="50">
                  <c:v>0.1957621214192338</c:v>
                </c:pt>
                <c:pt idx="51">
                  <c:v>0.17644934845529694</c:v>
                </c:pt>
                <c:pt idx="52">
                  <c:v>0.3118369695496282</c:v>
                </c:pt>
                <c:pt idx="53">
                  <c:v>0.0</c:v>
                </c:pt>
                <c:pt idx="54">
                  <c:v>0.0</c:v>
                </c:pt>
                <c:pt idx="55">
                  <c:v>0.0</c:v>
                </c:pt>
                <c:pt idx="56">
                  <c:v>0.0</c:v>
                </c:pt>
                <c:pt idx="57">
                  <c:v>1.1313193139475797</c:v>
                </c:pt>
                <c:pt idx="58">
                  <c:v>0.8278349572300945</c:v>
                </c:pt>
                <c:pt idx="59">
                  <c:v>1.0473858553189268</c:v>
                </c:pt>
                <c:pt idx="60">
                  <c:v>0.0</c:v>
                </c:pt>
                <c:pt idx="61">
                  <c:v>0.0</c:v>
                </c:pt>
                <c:pt idx="62">
                  <c:v>0.0</c:v>
                </c:pt>
                <c:pt idx="63">
                  <c:v>0.0</c:v>
                </c:pt>
                <c:pt idx="64">
                  <c:v>0.0</c:v>
                </c:pt>
                <c:pt idx="65">
                  <c:v>0.0</c:v>
                </c:pt>
                <c:pt idx="66">
                  <c:v>0.0</c:v>
                </c:pt>
                <c:pt idx="67">
                  <c:v>0.45931439471863256</c:v>
                </c:pt>
                <c:pt idx="68">
                  <c:v>1.3392814661398256</c:v>
                </c:pt>
                <c:pt idx="69">
                  <c:v>1.8259321037188907</c:v>
                </c:pt>
                <c:pt idx="70">
                  <c:v>6.0955807778934545</c:v>
                </c:pt>
                <c:pt idx="71">
                  <c:v>-0.08479308681882396</c:v>
                </c:pt>
              </c:numCache>
            </c:numRef>
          </c:xVal>
          <c:yVal>
            <c:numRef>
              <c:f>Sheet1!$B$187:$B$258</c:f>
              <c:numCache>
                <c:formatCode>General</c:formatCode>
                <c:ptCount val="72"/>
                <c:pt idx="0">
                  <c:v>6.572453824277435e-05</c:v>
                </c:pt>
                <c:pt idx="1">
                  <c:v>6.572453824277435e-05</c:v>
                </c:pt>
                <c:pt idx="2">
                  <c:v>6.572453824277435e-05</c:v>
                </c:pt>
                <c:pt idx="3">
                  <c:v>6.572453824277435e-05</c:v>
                </c:pt>
                <c:pt idx="4">
                  <c:v>6.572453824277435e-05</c:v>
                </c:pt>
                <c:pt idx="5">
                  <c:v>6.572453824277435e-05</c:v>
                </c:pt>
                <c:pt idx="6">
                  <c:v>6.572453824277435e-05</c:v>
                </c:pt>
                <c:pt idx="7">
                  <c:v>6.572453824277435e-05</c:v>
                </c:pt>
                <c:pt idx="8">
                  <c:v>6.572453824277435e-05</c:v>
                </c:pt>
                <c:pt idx="9">
                  <c:v>6.572453824277435e-05</c:v>
                </c:pt>
                <c:pt idx="10">
                  <c:v>6.572453824277435e-05</c:v>
                </c:pt>
                <c:pt idx="11">
                  <c:v>6.572453824277435e-05</c:v>
                </c:pt>
                <c:pt idx="12">
                  <c:v>6.572453824277435e-05</c:v>
                </c:pt>
                <c:pt idx="13">
                  <c:v>6.572453824277435e-05</c:v>
                </c:pt>
                <c:pt idx="14">
                  <c:v>6.572453824277435e-05</c:v>
                </c:pt>
                <c:pt idx="15">
                  <c:v>6.572453824277435e-05</c:v>
                </c:pt>
                <c:pt idx="16">
                  <c:v>6.572453824277435e-05</c:v>
                </c:pt>
                <c:pt idx="17">
                  <c:v>6.572453824277435e-05</c:v>
                </c:pt>
                <c:pt idx="18">
                  <c:v>6.572453824277435e-05</c:v>
                </c:pt>
                <c:pt idx="19">
                  <c:v>6.572453824277435e-05</c:v>
                </c:pt>
                <c:pt idx="20">
                  <c:v>0.00023596382551099512</c:v>
                </c:pt>
                <c:pt idx="21">
                  <c:v>0.00016198360008877943</c:v>
                </c:pt>
                <c:pt idx="22">
                  <c:v>6.572453824277435e-05</c:v>
                </c:pt>
                <c:pt idx="23">
                  <c:v>6.572453824277435e-05</c:v>
                </c:pt>
                <c:pt idx="24">
                  <c:v>0.00020803231329526704</c:v>
                </c:pt>
                <c:pt idx="25">
                  <c:v>6.572453824277435e-05</c:v>
                </c:pt>
                <c:pt idx="26">
                  <c:v>0.00013957162784314982</c:v>
                </c:pt>
                <c:pt idx="27">
                  <c:v>0.00017455815576768483</c:v>
                </c:pt>
                <c:pt idx="28">
                  <c:v>0.00019726546722421352</c:v>
                </c:pt>
                <c:pt idx="29">
                  <c:v>6.572453824277435e-05</c:v>
                </c:pt>
                <c:pt idx="30">
                  <c:v>6.572453824277435e-05</c:v>
                </c:pt>
                <c:pt idx="31">
                  <c:v>0.000265456427753003</c:v>
                </c:pt>
                <c:pt idx="32">
                  <c:v>0.0002339095563233197</c:v>
                </c:pt>
                <c:pt idx="33">
                  <c:v>0.00022533957483234884</c:v>
                </c:pt>
                <c:pt idx="34">
                  <c:v>6.572453824277435e-05</c:v>
                </c:pt>
                <c:pt idx="35">
                  <c:v>6.572453824277435e-05</c:v>
                </c:pt>
                <c:pt idx="36">
                  <c:v>0.00023431776943781994</c:v>
                </c:pt>
                <c:pt idx="37">
                  <c:v>6.572453824277435e-05</c:v>
                </c:pt>
                <c:pt idx="38">
                  <c:v>0.00016420214197737605</c:v>
                </c:pt>
                <c:pt idx="39">
                  <c:v>0.0001439229345125022</c:v>
                </c:pt>
                <c:pt idx="40">
                  <c:v>0.00016012384849415335</c:v>
                </c:pt>
                <c:pt idx="41">
                  <c:v>0.0002266799996619084</c:v>
                </c:pt>
                <c:pt idx="42">
                  <c:v>0.00013624934696445764</c:v>
                </c:pt>
                <c:pt idx="43">
                  <c:v>0.00012367440452792594</c:v>
                </c:pt>
                <c:pt idx="44">
                  <c:v>0.00013131606150344158</c:v>
                </c:pt>
                <c:pt idx="45">
                  <c:v>0.0001671934777462203</c:v>
                </c:pt>
                <c:pt idx="46">
                  <c:v>0.00014318590906920982</c:v>
                </c:pt>
                <c:pt idx="47">
                  <c:v>0.0001591253760932591</c:v>
                </c:pt>
                <c:pt idx="48">
                  <c:v>6.572453824277435e-05</c:v>
                </c:pt>
                <c:pt idx="49">
                  <c:v>0.0001470223598783003</c:v>
                </c:pt>
                <c:pt idx="50">
                  <c:v>9.740576544051504e-05</c:v>
                </c:pt>
                <c:pt idx="51">
                  <c:v>9.428027648660984e-05</c:v>
                </c:pt>
                <c:pt idx="52">
                  <c:v>0.00011619077660049814</c:v>
                </c:pt>
                <c:pt idx="53">
                  <c:v>6.572453824277435e-05</c:v>
                </c:pt>
                <c:pt idx="54">
                  <c:v>6.572453824277435e-05</c:v>
                </c:pt>
                <c:pt idx="55">
                  <c:v>6.572453824277435e-05</c:v>
                </c:pt>
                <c:pt idx="56">
                  <c:v>6.572453824277435e-05</c:v>
                </c:pt>
                <c:pt idx="57">
                  <c:v>0.0002488119708805162</c:v>
                </c:pt>
                <c:pt idx="58">
                  <c:v>0.00019969748036303568</c:v>
                </c:pt>
                <c:pt idx="59">
                  <c:v>0.0002352285720440687</c:v>
                </c:pt>
                <c:pt idx="60">
                  <c:v>6.572453824277435e-05</c:v>
                </c:pt>
                <c:pt idx="61">
                  <c:v>6.572453824277435e-05</c:v>
                </c:pt>
                <c:pt idx="62">
                  <c:v>6.572453824277435e-05</c:v>
                </c:pt>
                <c:pt idx="63">
                  <c:v>6.572453824277435e-05</c:v>
                </c:pt>
                <c:pt idx="64">
                  <c:v>6.572453824277435e-05</c:v>
                </c:pt>
                <c:pt idx="65">
                  <c:v>6.572453824277435e-05</c:v>
                </c:pt>
                <c:pt idx="66">
                  <c:v>6.572453824277435e-05</c:v>
                </c:pt>
                <c:pt idx="67">
                  <c:v>0.00014005783412645922</c:v>
                </c:pt>
                <c:pt idx="68">
                  <c:v>0.00028246759406424794</c:v>
                </c:pt>
                <c:pt idx="69">
                  <c:v>0.0003612248597870178</c:v>
                </c:pt>
                <c:pt idx="70">
                  <c:v>0.0010522048548973822</c:v>
                </c:pt>
                <c:pt idx="71">
                  <c:v>5.200202119591434e-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51265049729541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3581.0714</c:v>
                </c:pt>
                <c:pt idx="1">
                  <c:v>6230.0</c:v>
                </c:pt>
                <c:pt idx="2">
                  <c:v>6349.6667</c:v>
                </c:pt>
                <c:pt idx="3">
                  <c:v>7566.0</c:v>
                </c:pt>
                <c:pt idx="4">
                  <c:v>5972.0</c:v>
                </c:pt>
                <c:pt idx="5">
                  <c:v>4616.6</c:v>
                </c:pt>
                <c:pt idx="6">
                  <c:v>5895.1667</c:v>
                </c:pt>
                <c:pt idx="7">
                  <c:v>3666.0</c:v>
                </c:pt>
                <c:pt idx="8">
                  <c:v>5288.0</c:v>
                </c:pt>
                <c:pt idx="9">
                  <c:v>4848.0</c:v>
                </c:pt>
                <c:pt idx="10">
                  <c:v>7054.0</c:v>
                </c:pt>
                <c:pt idx="11">
                  <c:v>4469.4286</c:v>
                </c:pt>
                <c:pt idx="12">
                  <c:v>5880.3333</c:v>
                </c:pt>
                <c:pt idx="13">
                  <c:v>5253.1667</c:v>
                </c:pt>
                <c:pt idx="14">
                  <c:v>5922.0</c:v>
                </c:pt>
                <c:pt idx="15">
                  <c:v>3753.2</c:v>
                </c:pt>
                <c:pt idx="16">
                  <c:v>2170.25</c:v>
                </c:pt>
                <c:pt idx="17">
                  <c:v>4387.0</c:v>
                </c:pt>
                <c:pt idx="18">
                  <c:v>3807.0</c:v>
                </c:pt>
                <c:pt idx="19">
                  <c:v>3804.25</c:v>
                </c:pt>
                <c:pt idx="20">
                  <c:v>3359.5</c:v>
                </c:pt>
                <c:pt idx="21">
                  <c:v>4369.8</c:v>
                </c:pt>
                <c:pt idx="22">
                  <c:v>6539.0</c:v>
                </c:pt>
                <c:pt idx="23">
                  <c:v>5053.4</c:v>
                </c:pt>
                <c:pt idx="24">
                  <c:v>3948.1429</c:v>
                </c:pt>
                <c:pt idx="25">
                  <c:v>6402.2</c:v>
                </c:pt>
                <c:pt idx="26">
                  <c:v>7763.5</c:v>
                </c:pt>
                <c:pt idx="27">
                  <c:v>3345.6</c:v>
                </c:pt>
                <c:pt idx="28">
                  <c:v>7017.25</c:v>
                </c:pt>
                <c:pt idx="29">
                  <c:v>3873.25</c:v>
                </c:pt>
                <c:pt idx="30">
                  <c:v>5011.5</c:v>
                </c:pt>
                <c:pt idx="31">
                  <c:v>5771.0</c:v>
                </c:pt>
                <c:pt idx="32">
                  <c:v>3461.5</c:v>
                </c:pt>
                <c:pt idx="33">
                  <c:v>3505.5833</c:v>
                </c:pt>
                <c:pt idx="34">
                  <c:v>3707.6429</c:v>
                </c:pt>
                <c:pt idx="35">
                  <c:v>6483.0</c:v>
                </c:pt>
                <c:pt idx="36">
                  <c:v>4574.5</c:v>
                </c:pt>
                <c:pt idx="37">
                  <c:v>7663.0</c:v>
                </c:pt>
                <c:pt idx="38">
                  <c:v>5601.0</c:v>
                </c:pt>
                <c:pt idx="39">
                  <c:v>5694.6667</c:v>
                </c:pt>
                <c:pt idx="40">
                  <c:v>5335.6667</c:v>
                </c:pt>
                <c:pt idx="41">
                  <c:v>10645.0</c:v>
                </c:pt>
                <c:pt idx="42">
                  <c:v>5430.5</c:v>
                </c:pt>
                <c:pt idx="43">
                  <c:v>3861.5714</c:v>
                </c:pt>
                <c:pt idx="44">
                  <c:v>4392.6</c:v>
                </c:pt>
                <c:pt idx="45">
                  <c:v>4084.4545</c:v>
                </c:pt>
                <c:pt idx="46">
                  <c:v>3682.6154</c:v>
                </c:pt>
                <c:pt idx="47">
                  <c:v>4401.9</c:v>
                </c:pt>
                <c:pt idx="48">
                  <c:v>3202.1176</c:v>
                </c:pt>
                <c:pt idx="49">
                  <c:v>3614.8333</c:v>
                </c:pt>
                <c:pt idx="50">
                  <c:v>4083.9</c:v>
                </c:pt>
                <c:pt idx="51">
                  <c:v>4174.75</c:v>
                </c:pt>
                <c:pt idx="52">
                  <c:v>3479.2</c:v>
                </c:pt>
                <c:pt idx="53">
                  <c:v>3423.5</c:v>
                </c:pt>
                <c:pt idx="54">
                  <c:v>4202.4</c:v>
                </c:pt>
                <c:pt idx="55">
                  <c:v>15202.0</c:v>
                </c:pt>
                <c:pt idx="56">
                  <c:v>6202.5</c:v>
                </c:pt>
                <c:pt idx="57">
                  <c:v>10480.0</c:v>
                </c:pt>
                <c:pt idx="58">
                  <c:v>4706.5</c:v>
                </c:pt>
                <c:pt idx="59">
                  <c:v>3925.25</c:v>
                </c:pt>
                <c:pt idx="60">
                  <c:v>3984.0</c:v>
                </c:pt>
                <c:pt idx="61">
                  <c:v>3894.25</c:v>
                </c:pt>
                <c:pt idx="62">
                  <c:v>3523.6667</c:v>
                </c:pt>
                <c:pt idx="63">
                  <c:v>2920.0</c:v>
                </c:pt>
                <c:pt idx="64">
                  <c:v>3077.6</c:v>
                </c:pt>
                <c:pt idx="65">
                  <c:v>6638.0</c:v>
                </c:pt>
                <c:pt idx="66">
                  <c:v>10119.0</c:v>
                </c:pt>
                <c:pt idx="67">
                  <c:v>5730.5</c:v>
                </c:pt>
                <c:pt idx="68">
                  <c:v>17630.0</c:v>
                </c:pt>
                <c:pt idx="69">
                  <c:v>5701.0</c:v>
                </c:pt>
                <c:pt idx="70">
                  <c:v>5620.2857</c:v>
                </c:pt>
                <c:pt idx="71">
                  <c:v>6033.2</c:v>
                </c:pt>
                <c:pt idx="72">
                  <c:v>5945.6</c:v>
                </c:pt>
                <c:pt idx="73">
                  <c:v>5831.6</c:v>
                </c:pt>
                <c:pt idx="74">
                  <c:v>5610.1429</c:v>
                </c:pt>
                <c:pt idx="75">
                  <c:v>8324.4</c:v>
                </c:pt>
                <c:pt idx="76">
                  <c:v>8366.5</c:v>
                </c:pt>
                <c:pt idx="77">
                  <c:v>4291.4545</c:v>
                </c:pt>
                <c:pt idx="78">
                  <c:v>22182.0</c:v>
                </c:pt>
                <c:pt idx="79">
                  <c:v>18169.0</c:v>
                </c:pt>
                <c:pt idx="80">
                  <c:v>17887.0</c:v>
                </c:pt>
                <c:pt idx="81">
                  <c:v>11855.0</c:v>
                </c:pt>
                <c:pt idx="82">
                  <c:v>14450.0</c:v>
                </c:pt>
                <c:pt idx="83">
                  <c:v>17175.0</c:v>
                </c:pt>
                <c:pt idx="84">
                  <c:v>6509.5</c:v>
                </c:pt>
                <c:pt idx="85">
                  <c:v>11668.0</c:v>
                </c:pt>
                <c:pt idx="86">
                  <c:v>5744.6667</c:v>
                </c:pt>
                <c:pt idx="87">
                  <c:v>10423.0</c:v>
                </c:pt>
              </c:numCache>
            </c:numRef>
          </c:xVal>
          <c:yVal>
            <c:numRef>
              <c:f>Sheet1!$B$2:$B$89</c:f>
              <c:numCache>
                <c:formatCode>General</c:formatCode>
                <c:ptCount val="88"/>
                <c:pt idx="0">
                  <c:v>0.0013899920571882446</c:v>
                </c:pt>
                <c:pt idx="1">
                  <c:v>0.0003280481137233461</c:v>
                </c:pt>
                <c:pt idx="2">
                  <c:v>0.0003180324393088095</c:v>
                </c:pt>
                <c:pt idx="3">
                  <c:v>0.00021666125013541327</c:v>
                </c:pt>
                <c:pt idx="4">
                  <c:v>0.000253324889170361</c:v>
                </c:pt>
                <c:pt idx="5">
                  <c:v>0.0006664001066240171</c:v>
                </c:pt>
                <c:pt idx="6">
                  <c:v>0.0007710100231303007</c:v>
                </c:pt>
                <c:pt idx="7">
                  <c:v>0.0009916418756197763</c:v>
                </c:pt>
                <c:pt idx="8">
                  <c:v>0.0005517241379310345</c:v>
                </c:pt>
                <c:pt idx="9">
                  <c:v>0.0007114062129475931</c:v>
                </c:pt>
                <c:pt idx="10">
                  <c:v>0.0003320420586607637</c:v>
                </c:pt>
                <c:pt idx="11">
                  <c:v>0.0007222451506397028</c:v>
                </c:pt>
                <c:pt idx="12">
                  <c:v>0.0005499541704857929</c:v>
                </c:pt>
                <c:pt idx="13">
                  <c:v>0.000625130235465722</c:v>
                </c:pt>
                <c:pt idx="14">
                  <c:v>0.000224290680722216</c:v>
                </c:pt>
                <c:pt idx="15">
                  <c:v>0.0006429214350006429</c:v>
                </c:pt>
                <c:pt idx="16">
                  <c:v>0.0005787874403125452</c:v>
                </c:pt>
                <c:pt idx="17">
                  <c:v>0.0004809233728759218</c:v>
                </c:pt>
                <c:pt idx="18">
                  <c:v>0.0006128702757916241</c:v>
                </c:pt>
                <c:pt idx="19">
                  <c:v>0.000672834314550042</c:v>
                </c:pt>
                <c:pt idx="20">
                  <c:v>0.0003861749372465727</c:v>
                </c:pt>
                <c:pt idx="21">
                  <c:v>0.0010588733587462938</c:v>
                </c:pt>
                <c:pt idx="22">
                  <c:v>0.0006499133448873484</c:v>
                </c:pt>
                <c:pt idx="23">
                  <c:v>0.0010187449062754685</c:v>
                </c:pt>
                <c:pt idx="24">
                  <c:v>0.0015992689056431345</c:v>
                </c:pt>
                <c:pt idx="25">
                  <c:v>0.0009389671361502347</c:v>
                </c:pt>
                <c:pt idx="26">
                  <c:v>0.0003829216925138809</c:v>
                </c:pt>
                <c:pt idx="27">
                  <c:v>0.0009613535858488752</c:v>
                </c:pt>
                <c:pt idx="28">
                  <c:v>0.0006884681583476765</c:v>
                </c:pt>
                <c:pt idx="29">
                  <c:v>0.0008615119534783546</c:v>
                </c:pt>
                <c:pt idx="30">
                  <c:v>0.0008605851979345956</c:v>
                </c:pt>
                <c:pt idx="31">
                  <c:v>0.0006612298875909191</c:v>
                </c:pt>
                <c:pt idx="32">
                  <c:v>0.0019029495718363464</c:v>
                </c:pt>
                <c:pt idx="33">
                  <c:v>0.0020938754144128424</c:v>
                </c:pt>
                <c:pt idx="34">
                  <c:v>0.0019305019305019305</c:v>
                </c:pt>
                <c:pt idx="35">
                  <c:v>0.0006308153288124901</c:v>
                </c:pt>
                <c:pt idx="36">
                  <c:v>0.0007662835249042146</c:v>
                </c:pt>
                <c:pt idx="37">
                  <c:v>0.0003685277317118113</c:v>
                </c:pt>
                <c:pt idx="38">
                  <c:v>0.0008151620134501732</c:v>
                </c:pt>
                <c:pt idx="39">
                  <c:v>0.0005020920502092051</c:v>
                </c:pt>
                <c:pt idx="40">
                  <c:v>0.00055452865064695</c:v>
                </c:pt>
                <c:pt idx="41">
                  <c:v>0.00015669069257286117</c:v>
                </c:pt>
                <c:pt idx="42">
                  <c:v>0.0005485463521667581</c:v>
                </c:pt>
                <c:pt idx="43">
                  <c:v>0.0007422330611812109</c:v>
                </c:pt>
                <c:pt idx="44">
                  <c:v>0.0004979087831109341</c:v>
                </c:pt>
                <c:pt idx="45">
                  <c:v>0.0010732754415064885</c:v>
                </c:pt>
                <c:pt idx="46">
                  <c:v>0.0013006503251625813</c:v>
                </c:pt>
                <c:pt idx="47">
                  <c:v>0.0007183908045977011</c:v>
                </c:pt>
                <c:pt idx="48">
                  <c:v>0.0008392575039494471</c:v>
                </c:pt>
                <c:pt idx="49">
                  <c:v>0.0009613843935266784</c:v>
                </c:pt>
                <c:pt idx="50">
                  <c:v>0.0008946144211844695</c:v>
                </c:pt>
                <c:pt idx="51">
                  <c:v>0.0003058103975535168</c:v>
                </c:pt>
                <c:pt idx="52">
                  <c:v>0.0005198585984612185</c:v>
                </c:pt>
                <c:pt idx="53">
                  <c:v>0.001129305477131564</c:v>
                </c:pt>
                <c:pt idx="54">
                  <c:v>0.0005919962112242482</c:v>
                </c:pt>
                <c:pt idx="55">
                  <c:v>0.00011396011396011396</c:v>
                </c:pt>
                <c:pt idx="56">
                  <c:v>0.0002042692268409764</c:v>
                </c:pt>
                <c:pt idx="57">
                  <c:v>9.304922303898763e-05</c:v>
                </c:pt>
                <c:pt idx="58">
                  <c:v>0.00024464831804281347</c:v>
                </c:pt>
                <c:pt idx="59">
                  <c:v>0.00025375880225845333</c:v>
                </c:pt>
                <c:pt idx="60">
                  <c:v>0.00042369290738073043</c:v>
                </c:pt>
                <c:pt idx="61">
                  <c:v>0.0003549560741858195</c:v>
                </c:pt>
                <c:pt idx="62">
                  <c:v>0.00045558086560364467</c:v>
                </c:pt>
                <c:pt idx="63">
                  <c:v>0.0006550218340611354</c:v>
                </c:pt>
                <c:pt idx="64">
                  <c:v>0.00039856516540454366</c:v>
                </c:pt>
                <c:pt idx="65">
                  <c:v>8.676036786395974e-05</c:v>
                </c:pt>
                <c:pt idx="66">
                  <c:v>8.946144211844694e-05</c:v>
                </c:pt>
                <c:pt idx="67">
                  <c:v>0.0002586987453110852</c:v>
                </c:pt>
                <c:pt idx="68">
                  <c:v>0.0001255020080321285</c:v>
                </c:pt>
                <c:pt idx="69">
                  <c:v>0.0006367804381049414</c:v>
                </c:pt>
                <c:pt idx="70">
                  <c:v>0.0009066183136899365</c:v>
                </c:pt>
                <c:pt idx="71">
                  <c:v>0.0007687576875768758</c:v>
                </c:pt>
                <c:pt idx="72">
                  <c:v>0.00079923273657289</c:v>
                </c:pt>
                <c:pt idx="73">
                  <c:v>0.0008008970046452026</c:v>
                </c:pt>
                <c:pt idx="74">
                  <c:v>0.0012612612612612612</c:v>
                </c:pt>
                <c:pt idx="75">
                  <c:v>0.0009174311926605505</c:v>
                </c:pt>
                <c:pt idx="76">
                  <c:v>0.0007276696379843551</c:v>
                </c:pt>
                <c:pt idx="77">
                  <c:v>0.0016183610416360158</c:v>
                </c:pt>
                <c:pt idx="78">
                  <c:v>0.0001850481125092524</c:v>
                </c:pt>
                <c:pt idx="79">
                  <c:v>0.0002289901534234028</c:v>
                </c:pt>
                <c:pt idx="80">
                  <c:v>0.0002296211251435132</c:v>
                </c:pt>
                <c:pt idx="81">
                  <c:v>8.244702778464837e-05</c:v>
                </c:pt>
                <c:pt idx="82">
                  <c:v>6.564264145989234e-05</c:v>
                </c:pt>
                <c:pt idx="83">
                  <c:v>4.390586582367404e-05</c:v>
                </c:pt>
                <c:pt idx="84">
                  <c:v>0.00014455044810638914</c:v>
                </c:pt>
                <c:pt idx="85">
                  <c:v>7.172572084349448e-05</c:v>
                </c:pt>
                <c:pt idx="86">
                  <c:v>0.00023084025854108956</c:v>
                </c:pt>
                <c:pt idx="87">
                  <c:v>8.382932349735938e-05</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7.617306520414382e-05</c:v>
                </c:pt>
                <c:pt idx="21">
                  <c:v>0.00016248273620927777</c:v>
                </c:pt>
                <c:pt idx="22">
                  <c:v>0.0</c:v>
                </c:pt>
                <c:pt idx="23">
                  <c:v>0.0</c:v>
                </c:pt>
                <c:pt idx="24">
                  <c:v>0.00011976047904191617</c:v>
                </c:pt>
                <c:pt idx="25">
                  <c:v>0.0</c:v>
                </c:pt>
                <c:pt idx="26">
                  <c:v>0.00022150847269908073</c:v>
                </c:pt>
                <c:pt idx="27">
                  <c:v>0.00010263779123473263</c:v>
                </c:pt>
                <c:pt idx="28">
                  <c:v>0.0001756388864494599</c:v>
                </c:pt>
                <c:pt idx="29">
                  <c:v>0.0</c:v>
                </c:pt>
                <c:pt idx="30">
                  <c:v>0.0</c:v>
                </c:pt>
                <c:pt idx="31">
                  <c:v>9.857072449482504e-05</c:v>
                </c:pt>
                <c:pt idx="32">
                  <c:v>0.00010185373803218578</c:v>
                </c:pt>
                <c:pt idx="33">
                  <c:v>0.00022596316800361542</c:v>
                </c:pt>
                <c:pt idx="34">
                  <c:v>0.0</c:v>
                </c:pt>
                <c:pt idx="35">
                  <c:v>0.0</c:v>
                </c:pt>
                <c:pt idx="36">
                  <c:v>0.00012732365673542143</c:v>
                </c:pt>
                <c:pt idx="37">
                  <c:v>0.0</c:v>
                </c:pt>
                <c:pt idx="38">
                  <c:v>0.0003575259206292456</c:v>
                </c:pt>
                <c:pt idx="39">
                  <c:v>0.0003604253018561903</c:v>
                </c:pt>
                <c:pt idx="40">
                  <c:v>0.00017409470752089137</c:v>
                </c:pt>
                <c:pt idx="41">
                  <c:v>0.00016302575806977502</c:v>
                </c:pt>
                <c:pt idx="42">
                  <c:v>0.0005128205128205128</c:v>
                </c:pt>
                <c:pt idx="43">
                  <c:v>0.0008548469823901521</c:v>
                </c:pt>
                <c:pt idx="44">
                  <c:v>0.00031377470975839345</c:v>
                </c:pt>
                <c:pt idx="45">
                  <c:v>0.0002828854314002829</c:v>
                </c:pt>
                <c:pt idx="46">
                  <c:v>0.0003399048266485384</c:v>
                </c:pt>
                <c:pt idx="47">
                  <c:v>0.00017793594306049823</c:v>
                </c:pt>
                <c:pt idx="48">
                  <c:v>0.0</c:v>
                </c:pt>
                <c:pt idx="49">
                  <c:v>0.00017962996227770793</c:v>
                </c:pt>
                <c:pt idx="50">
                  <c:v>0.0007192950908110052</c:v>
                </c:pt>
                <c:pt idx="51">
                  <c:v>0.0006172839506172839</c:v>
                </c:pt>
                <c:pt idx="52">
                  <c:v>0.0006808278867102397</c:v>
                </c:pt>
                <c:pt idx="53">
                  <c:v>0.0</c:v>
                </c:pt>
                <c:pt idx="54">
                  <c:v>0.0</c:v>
                </c:pt>
                <c:pt idx="55">
                  <c:v>0.0</c:v>
                </c:pt>
                <c:pt idx="56">
                  <c:v>0.0</c:v>
                </c:pt>
                <c:pt idx="57">
                  <c:v>0.00014954389113204725</c:v>
                </c:pt>
                <c:pt idx="58">
                  <c:v>0.00014112334180073385</c:v>
                </c:pt>
                <c:pt idx="59">
                  <c:v>0.00015463120457708364</c:v>
                </c:pt>
                <c:pt idx="60">
                  <c:v>0.0</c:v>
                </c:pt>
                <c:pt idx="61">
                  <c:v>0.0</c:v>
                </c:pt>
                <c:pt idx="62">
                  <c:v>0.0</c:v>
                </c:pt>
                <c:pt idx="63">
                  <c:v>0.0</c:v>
                </c:pt>
                <c:pt idx="64">
                  <c:v>0.0</c:v>
                </c:pt>
                <c:pt idx="65">
                  <c:v>0.0</c:v>
                </c:pt>
                <c:pt idx="66">
                  <c:v>0.0</c:v>
                </c:pt>
                <c:pt idx="67">
                  <c:v>0.00016380687169826775</c:v>
                </c:pt>
                <c:pt idx="68">
                  <c:v>6.692096633875393e-0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5374.4848340766</c:v>
                </c:pt>
              </c:numCache>
            </c:numRef>
          </c:xVal>
          <c:yVal>
            <c:numRef>
              <c:f>Sheet1!$B$163:$B$164</c:f>
              <c:numCache>
                <c:formatCode>General</c:formatCode>
                <c:ptCount val="2"/>
                <c:pt idx="0">
                  <c:v>0.0010522048548973822</c:v>
                </c:pt>
                <c:pt idx="1">
                  <c:v>0.00105220485489738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5374.4848340766</c:v>
                </c:pt>
                <c:pt idx="1">
                  <c:v>65374.4848340766</c:v>
                </c:pt>
              </c:numCache>
            </c:numRef>
          </c:xVal>
          <c:yVal>
            <c:numRef>
              <c:f>Sheet1!$B$167:$B$168</c:f>
              <c:numCache>
                <c:formatCode>General</c:formatCode>
                <c:ptCount val="2"/>
                <c:pt idx="0">
                  <c:v>0.00105220485489738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9655.917770424614</c:v>
                </c:pt>
              </c:numCache>
            </c:numRef>
          </c:xVal>
          <c:yVal>
            <c:numRef>
              <c:f>Sheet1!$B$171:$B$172</c:f>
              <c:numCache>
                <c:formatCode>General</c:formatCode>
                <c:ptCount val="2"/>
                <c:pt idx="0">
                  <c:v>0.00036122485978701784</c:v>
                </c:pt>
                <c:pt idx="1">
                  <c:v>0.0003612248597870178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9655.917770424614</c:v>
                </c:pt>
                <c:pt idx="1">
                  <c:v>19655.917770424614</c:v>
                </c:pt>
              </c:numCache>
            </c:numRef>
          </c:xVal>
          <c:yVal>
            <c:numRef>
              <c:f>Sheet1!$B$175:$B$176</c:f>
              <c:numCache>
                <c:formatCode>General</c:formatCode>
                <c:ptCount val="2"/>
                <c:pt idx="0">
                  <c:v>0.000361224859787017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03.7557132949481</c:v>
                </c:pt>
              </c:numCache>
            </c:numRef>
          </c:xVal>
          <c:yVal>
            <c:numRef>
              <c:f>Sheet1!$B$179:$B$180</c:f>
              <c:numCache>
                <c:formatCode>General</c:formatCode>
                <c:ptCount val="2"/>
                <c:pt idx="0">
                  <c:v>5.200202119591434e-05</c:v>
                </c:pt>
                <c:pt idx="1">
                  <c:v>5.200202119591434e-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03.7557132949481</c:v>
                </c:pt>
                <c:pt idx="1">
                  <c:v>-803.7557132949481</c:v>
                </c:pt>
              </c:numCache>
            </c:numRef>
          </c:xVal>
          <c:yVal>
            <c:numRef>
              <c:f>Sheet1!$B$183:$B$184</c:f>
              <c:numCache>
                <c:formatCode>General</c:formatCode>
                <c:ptCount val="2"/>
                <c:pt idx="0">
                  <c:v>5.200202119591434e-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pt idx="69">
                  <c:v>19655.917770424614</c:v>
                </c:pt>
                <c:pt idx="70">
                  <c:v>65374.4848340766</c:v>
                </c:pt>
                <c:pt idx="71">
                  <c:v>-803.7557132949481</c:v>
                </c:pt>
              </c:numCache>
            </c:numRef>
          </c:xVal>
          <c:yVal>
            <c:numRef>
              <c:f>Sheet1!$B$187:$B$258</c:f>
              <c:numCache>
                <c:formatCode>General</c:formatCode>
                <c:ptCount val="72"/>
                <c:pt idx="0">
                  <c:v>6.414980172607051e-05</c:v>
                </c:pt>
                <c:pt idx="1">
                  <c:v>6.414980172607051e-05</c:v>
                </c:pt>
                <c:pt idx="2">
                  <c:v>6.414980172607051e-05</c:v>
                </c:pt>
                <c:pt idx="3">
                  <c:v>6.414980172607051e-05</c:v>
                </c:pt>
                <c:pt idx="4">
                  <c:v>6.414980172607051e-05</c:v>
                </c:pt>
                <c:pt idx="5">
                  <c:v>6.414980172607051e-05</c:v>
                </c:pt>
                <c:pt idx="6">
                  <c:v>6.414980172607051e-05</c:v>
                </c:pt>
                <c:pt idx="7">
                  <c:v>6.414980172607051e-05</c:v>
                </c:pt>
                <c:pt idx="8">
                  <c:v>6.414980172607051e-05</c:v>
                </c:pt>
                <c:pt idx="9">
                  <c:v>6.414980172607051e-05</c:v>
                </c:pt>
                <c:pt idx="10">
                  <c:v>6.414980172607051e-05</c:v>
                </c:pt>
                <c:pt idx="11">
                  <c:v>6.414980172607051e-05</c:v>
                </c:pt>
                <c:pt idx="12">
                  <c:v>6.414980172607051e-05</c:v>
                </c:pt>
                <c:pt idx="13">
                  <c:v>6.414980172607051e-05</c:v>
                </c:pt>
                <c:pt idx="14">
                  <c:v>6.414980172607051e-05</c:v>
                </c:pt>
                <c:pt idx="15">
                  <c:v>6.414980172607051e-05</c:v>
                </c:pt>
                <c:pt idx="16">
                  <c:v>6.414980172607051e-05</c:v>
                </c:pt>
                <c:pt idx="17">
                  <c:v>6.414980172607051e-05</c:v>
                </c:pt>
                <c:pt idx="18">
                  <c:v>6.414980172607051e-05</c:v>
                </c:pt>
                <c:pt idx="19">
                  <c:v>6.414980172607051e-05</c:v>
                </c:pt>
                <c:pt idx="20">
                  <c:v>0.00023318222687962066</c:v>
                </c:pt>
                <c:pt idx="21">
                  <c:v>0.0001588149121471418</c:v>
                </c:pt>
                <c:pt idx="22">
                  <c:v>6.414980172607051e-05</c:v>
                </c:pt>
                <c:pt idx="23">
                  <c:v>6.414980172607051e-05</c:v>
                </c:pt>
                <c:pt idx="24">
                  <c:v>0.00020753415593133967</c:v>
                </c:pt>
                <c:pt idx="25">
                  <c:v>6.414980172607051e-05</c:v>
                </c:pt>
                <c:pt idx="26">
                  <c:v>0.00013914433799323036</c:v>
                </c:pt>
                <c:pt idx="27">
                  <c:v>0.00017384555832160583</c:v>
                </c:pt>
                <c:pt idx="28">
                  <c:v>0.00019461943782567902</c:v>
                </c:pt>
                <c:pt idx="29">
                  <c:v>6.414980172607051e-05</c:v>
                </c:pt>
                <c:pt idx="30">
                  <c:v>6.414980172607051e-05</c:v>
                </c:pt>
                <c:pt idx="31">
                  <c:v>0.00026934948308423846</c:v>
                </c:pt>
                <c:pt idx="32">
                  <c:v>0.00024182730441787447</c:v>
                </c:pt>
                <c:pt idx="33">
                  <c:v>0.00023266080174837983</c:v>
                </c:pt>
                <c:pt idx="34">
                  <c:v>6.414980172607051e-05</c:v>
                </c:pt>
                <c:pt idx="35">
                  <c:v>6.414980172607051e-05</c:v>
                </c:pt>
                <c:pt idx="36">
                  <c:v>0.00023995319669979146</c:v>
                </c:pt>
                <c:pt idx="37">
                  <c:v>6.414980172607051e-05</c:v>
                </c:pt>
                <c:pt idx="38">
                  <c:v>0.00016688566635243468</c:v>
                </c:pt>
                <c:pt idx="39">
                  <c:v>0.00014462308031423912</c:v>
                </c:pt>
                <c:pt idx="40">
                  <c:v>0.00016054543903198457</c:v>
                </c:pt>
                <c:pt idx="41">
                  <c:v>0.00023390768793178182</c:v>
                </c:pt>
                <c:pt idx="42">
                  <c:v>0.00014003101311633084</c:v>
                </c:pt>
                <c:pt idx="43">
                  <c:v>0.00012599535642280935</c:v>
                </c:pt>
                <c:pt idx="44">
                  <c:v>0.00013349934418110135</c:v>
                </c:pt>
                <c:pt idx="45">
                  <c:v>0.00017346771402360523</c:v>
                </c:pt>
                <c:pt idx="46">
                  <c:v>0.0001471168526810431</c:v>
                </c:pt>
                <c:pt idx="47">
                  <c:v>0.00016371933113518963</c:v>
                </c:pt>
                <c:pt idx="48">
                  <c:v>6.414980172607051e-05</c:v>
                </c:pt>
                <c:pt idx="49">
                  <c:v>0.0001527467327212521</c:v>
                </c:pt>
                <c:pt idx="50">
                  <c:v>9.817090231804488e-05</c:v>
                </c:pt>
                <c:pt idx="51">
                  <c:v>9.454359705723909e-05</c:v>
                </c:pt>
                <c:pt idx="52">
                  <c:v>0.00011737446091962757</c:v>
                </c:pt>
                <c:pt idx="53">
                  <c:v>6.414980172607051e-05</c:v>
                </c:pt>
                <c:pt idx="54">
                  <c:v>6.414980172607051e-05</c:v>
                </c:pt>
                <c:pt idx="55">
                  <c:v>6.414980172607051e-05</c:v>
                </c:pt>
                <c:pt idx="56">
                  <c:v>6.414980172607051e-05</c:v>
                </c:pt>
                <c:pt idx="57">
                  <c:v>0.000254689124321815</c:v>
                </c:pt>
                <c:pt idx="58">
                  <c:v>0.0002051764075118159</c:v>
                </c:pt>
                <c:pt idx="59">
                  <c:v>0.00024282481336459607</c:v>
                </c:pt>
                <c:pt idx="60">
                  <c:v>6.414980172607051e-05</c:v>
                </c:pt>
                <c:pt idx="61">
                  <c:v>6.414980172607051e-05</c:v>
                </c:pt>
                <c:pt idx="62">
                  <c:v>6.414980172607051e-05</c:v>
                </c:pt>
                <c:pt idx="63">
                  <c:v>6.414980172607051e-05</c:v>
                </c:pt>
                <c:pt idx="64">
                  <c:v>6.414980172607051e-05</c:v>
                </c:pt>
                <c:pt idx="65">
                  <c:v>6.414980172607051e-05</c:v>
                </c:pt>
                <c:pt idx="66">
                  <c:v>6.414980172607051e-05</c:v>
                </c:pt>
                <c:pt idx="67">
                  <c:v>0.00013374872141778174</c:v>
                </c:pt>
                <c:pt idx="68">
                  <c:v>0.00027622624930784945</c:v>
                </c:pt>
                <c:pt idx="69">
                  <c:v>0.00036122485978701784</c:v>
                </c:pt>
                <c:pt idx="70">
                  <c:v>0.0010522048548973822</c:v>
                </c:pt>
                <c:pt idx="71">
                  <c:v>5.200202119591434e-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844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51265049729541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0.46986670169756395</c:v>
                </c:pt>
                <c:pt idx="1">
                  <c:v>0.8456557571056225</c:v>
                </c:pt>
                <c:pt idx="2">
                  <c:v>0.8434192016784259</c:v>
                </c:pt>
                <c:pt idx="3">
                  <c:v>1.029242064837516</c:v>
                </c:pt>
                <c:pt idx="4">
                  <c:v>0.7767166364340684</c:v>
                </c:pt>
                <c:pt idx="5">
                  <c:v>0.5704607359509433</c:v>
                </c:pt>
                <c:pt idx="6">
                  <c:v>0.7421860188370424</c:v>
                </c:pt>
                <c:pt idx="7">
                  <c:v>0.4487810233348259</c:v>
                </c:pt>
                <c:pt idx="8">
                  <c:v>0.6577977173747477</c:v>
                </c:pt>
                <c:pt idx="9">
                  <c:v>0.5986489279053443</c:v>
                </c:pt>
                <c:pt idx="10">
                  <c:v>0.8242506554890144</c:v>
                </c:pt>
                <c:pt idx="11">
                  <c:v>0.5413057853317608</c:v>
                </c:pt>
                <c:pt idx="12">
                  <c:v>0.7225648906671989</c:v>
                </c:pt>
                <c:pt idx="13">
                  <c:v>0.6405276165698273</c:v>
                </c:pt>
                <c:pt idx="14">
                  <c:v>0.7460539359201651</c:v>
                </c:pt>
                <c:pt idx="15">
                  <c:v>0.4575921266258803</c:v>
                </c:pt>
                <c:pt idx="16">
                  <c:v>0.26191321664114453</c:v>
                </c:pt>
                <c:pt idx="17">
                  <c:v>0.5386117398427457</c:v>
                </c:pt>
                <c:pt idx="18">
                  <c:v>0.45343587550820963</c:v>
                </c:pt>
                <c:pt idx="19">
                  <c:v>0.46449887906106085</c:v>
                </c:pt>
                <c:pt idx="20">
                  <c:v>0.37113219247035917</c:v>
                </c:pt>
                <c:pt idx="21">
                  <c:v>0.46637640930699814</c:v>
                </c:pt>
                <c:pt idx="22">
                  <c:v>0.7319258090718416</c:v>
                </c:pt>
                <c:pt idx="23">
                  <c:v>0.5462897661497331</c:v>
                </c:pt>
                <c:pt idx="24">
                  <c:v>0.4240529850278733</c:v>
                </c:pt>
                <c:pt idx="25">
                  <c:v>0.7312263388225221</c:v>
                </c:pt>
                <c:pt idx="26">
                  <c:v>0.8484322712533541</c:v>
                </c:pt>
                <c:pt idx="27">
                  <c:v>0.35781094140854386</c:v>
                </c:pt>
                <c:pt idx="28">
                  <c:v>0.7468503716185259</c:v>
                </c:pt>
                <c:pt idx="29">
                  <c:v>0.4073048121361302</c:v>
                </c:pt>
                <c:pt idx="30">
                  <c:v>0.5311175988155871</c:v>
                </c:pt>
                <c:pt idx="31">
                  <c:v>0.6060086932792376</c:v>
                </c:pt>
                <c:pt idx="32">
                  <c:v>0.3594295152178968</c:v>
                </c:pt>
                <c:pt idx="33">
                  <c:v>0.3840352764636632</c:v>
                </c:pt>
                <c:pt idx="34">
                  <c:v>0.40982015032607494</c:v>
                </c:pt>
                <c:pt idx="35">
                  <c:v>0.71742663944658</c:v>
                </c:pt>
                <c:pt idx="36">
                  <c:v>0.4914503063273306</c:v>
                </c:pt>
                <c:pt idx="37">
                  <c:v>0.8234469020956127</c:v>
                </c:pt>
                <c:pt idx="38">
                  <c:v>0.5886506329276492</c:v>
                </c:pt>
                <c:pt idx="39">
                  <c:v>0.6274683302495967</c:v>
                </c:pt>
                <c:pt idx="40">
                  <c:v>0.5634890306988272</c:v>
                </c:pt>
                <c:pt idx="41">
                  <c:v>1.1677149170529149</c:v>
                </c:pt>
                <c:pt idx="42">
                  <c:v>0.6072972108188346</c:v>
                </c:pt>
                <c:pt idx="43">
                  <c:v>0.4600007197392099</c:v>
                </c:pt>
                <c:pt idx="44">
                  <c:v>0.5286971037049251</c:v>
                </c:pt>
                <c:pt idx="45">
                  <c:v>0.5010618470796675</c:v>
                </c:pt>
                <c:pt idx="46">
                  <c:v>0.43981298627146925</c:v>
                </c:pt>
                <c:pt idx="47">
                  <c:v>0.5585404552098999</c:v>
                </c:pt>
                <c:pt idx="48">
                  <c:v>0.4358125990265077</c:v>
                </c:pt>
                <c:pt idx="49">
                  <c:v>0.44393367543633505</c:v>
                </c:pt>
                <c:pt idx="50">
                  <c:v>0.4987046184475551</c:v>
                </c:pt>
                <c:pt idx="51">
                  <c:v>0.5137960216194684</c:v>
                </c:pt>
                <c:pt idx="52">
                  <c:v>0.41203731145180555</c:v>
                </c:pt>
                <c:pt idx="53">
                  <c:v>0.39596033253543306</c:v>
                </c:pt>
                <c:pt idx="54">
                  <c:v>0.4592197227046769</c:v>
                </c:pt>
                <c:pt idx="55">
                  <c:v>1.6609307087831147</c:v>
                </c:pt>
                <c:pt idx="56">
                  <c:v>0.7023683271144624</c:v>
                </c:pt>
                <c:pt idx="57">
                  <c:v>1.2387649896030621</c:v>
                </c:pt>
                <c:pt idx="58">
                  <c:v>0.5854804359905429</c:v>
                </c:pt>
                <c:pt idx="59">
                  <c:v>0.49848943825939235</c:v>
                </c:pt>
                <c:pt idx="60">
                  <c:v>0.48974059827124516</c:v>
                </c:pt>
                <c:pt idx="61">
                  <c:v>0.46518107277032655</c:v>
                </c:pt>
                <c:pt idx="62">
                  <c:v>0.43483727754516327</c:v>
                </c:pt>
                <c:pt idx="63">
                  <c:v>0.35521013343468666</c:v>
                </c:pt>
                <c:pt idx="64">
                  <c:v>0.3725539540768662</c:v>
                </c:pt>
                <c:pt idx="65">
                  <c:v>0.7609234993099532</c:v>
                </c:pt>
                <c:pt idx="66">
                  <c:v>1.125335945141791</c:v>
                </c:pt>
                <c:pt idx="67">
                  <c:v>0.5834975290933925</c:v>
                </c:pt>
                <c:pt idx="68">
                  <c:v>1.8919409400641374</c:v>
                </c:pt>
                <c:pt idx="69">
                  <c:v>0.5877718605948661</c:v>
                </c:pt>
                <c:pt idx="70">
                  <c:v>0.5798966649846735</c:v>
                </c:pt>
                <c:pt idx="71">
                  <c:v>0.5948582484897185</c:v>
                </c:pt>
                <c:pt idx="72">
                  <c:v>0.5926562754385989</c:v>
                </c:pt>
                <c:pt idx="73">
                  <c:v>0.5781898511301924</c:v>
                </c:pt>
                <c:pt idx="74">
                  <c:v>0.5520844781495844</c:v>
                </c:pt>
                <c:pt idx="75">
                  <c:v>0.7807019306026097</c:v>
                </c:pt>
                <c:pt idx="76">
                  <c:v>0.8001644227186443</c:v>
                </c:pt>
                <c:pt idx="77">
                  <c:v>0.41216833123514074</c:v>
                </c:pt>
                <c:pt idx="78">
                  <c:v>2.0711204190045978</c:v>
                </c:pt>
                <c:pt idx="79">
                  <c:v>1.6900927782704878</c:v>
                </c:pt>
                <c:pt idx="80">
                  <c:v>1.6554379563519863</c:v>
                </c:pt>
                <c:pt idx="81">
                  <c:v>1.2669968888413132</c:v>
                </c:pt>
                <c:pt idx="82">
                  <c:v>1.6391651433585475</c:v>
                </c:pt>
                <c:pt idx="83">
                  <c:v>2.085530451300654</c:v>
                </c:pt>
                <c:pt idx="84">
                  <c:v>0.6790901512701348</c:v>
                </c:pt>
                <c:pt idx="85">
                  <c:v>1.2151920333560007</c:v>
                </c:pt>
                <c:pt idx="86">
                  <c:v>0.6053813845267491</c:v>
                </c:pt>
                <c:pt idx="87">
                  <c:v>1.082238564004926</c:v>
                </c:pt>
              </c:numCache>
            </c:numRef>
          </c:xVal>
          <c:yVal>
            <c:numRef>
              <c:f>Sheet1!$B$2:$B$89</c:f>
              <c:numCache>
                <c:formatCode>General</c:formatCode>
                <c:ptCount val="88"/>
                <c:pt idx="0">
                  <c:v>0.0013899920571882446</c:v>
                </c:pt>
                <c:pt idx="1">
                  <c:v>0.0003280481137233461</c:v>
                </c:pt>
                <c:pt idx="2">
                  <c:v>0.0003180324393088095</c:v>
                </c:pt>
                <c:pt idx="3">
                  <c:v>0.00021666125013541327</c:v>
                </c:pt>
                <c:pt idx="4">
                  <c:v>0.000253324889170361</c:v>
                </c:pt>
                <c:pt idx="5">
                  <c:v>0.0006664001066240171</c:v>
                </c:pt>
                <c:pt idx="6">
                  <c:v>0.0007710100231303007</c:v>
                </c:pt>
                <c:pt idx="7">
                  <c:v>0.0009916418756197763</c:v>
                </c:pt>
                <c:pt idx="8">
                  <c:v>0.0005517241379310345</c:v>
                </c:pt>
                <c:pt idx="9">
                  <c:v>0.0007114062129475931</c:v>
                </c:pt>
                <c:pt idx="10">
                  <c:v>0.0003320420586607637</c:v>
                </c:pt>
                <c:pt idx="11">
                  <c:v>0.0007222451506397028</c:v>
                </c:pt>
                <c:pt idx="12">
                  <c:v>0.0005499541704857929</c:v>
                </c:pt>
                <c:pt idx="13">
                  <c:v>0.000625130235465722</c:v>
                </c:pt>
                <c:pt idx="14">
                  <c:v>0.000224290680722216</c:v>
                </c:pt>
                <c:pt idx="15">
                  <c:v>0.0006429214350006429</c:v>
                </c:pt>
                <c:pt idx="16">
                  <c:v>0.0005787874403125452</c:v>
                </c:pt>
                <c:pt idx="17">
                  <c:v>0.0004809233728759218</c:v>
                </c:pt>
                <c:pt idx="18">
                  <c:v>0.0006128702757916241</c:v>
                </c:pt>
                <c:pt idx="19">
                  <c:v>0.000672834314550042</c:v>
                </c:pt>
                <c:pt idx="20">
                  <c:v>0.0003861749372465727</c:v>
                </c:pt>
                <c:pt idx="21">
                  <c:v>0.0010588733587462938</c:v>
                </c:pt>
                <c:pt idx="22">
                  <c:v>0.0006499133448873484</c:v>
                </c:pt>
                <c:pt idx="23">
                  <c:v>0.0010187449062754685</c:v>
                </c:pt>
                <c:pt idx="24">
                  <c:v>0.0015992689056431345</c:v>
                </c:pt>
                <c:pt idx="25">
                  <c:v>0.0009389671361502347</c:v>
                </c:pt>
                <c:pt idx="26">
                  <c:v>0.0003829216925138809</c:v>
                </c:pt>
                <c:pt idx="27">
                  <c:v>0.0009613535858488752</c:v>
                </c:pt>
                <c:pt idx="28">
                  <c:v>0.0006884681583476765</c:v>
                </c:pt>
                <c:pt idx="29">
                  <c:v>0.0008615119534783546</c:v>
                </c:pt>
                <c:pt idx="30">
                  <c:v>0.0008605851979345956</c:v>
                </c:pt>
                <c:pt idx="31">
                  <c:v>0.0006612298875909191</c:v>
                </c:pt>
                <c:pt idx="32">
                  <c:v>0.0019029495718363464</c:v>
                </c:pt>
                <c:pt idx="33">
                  <c:v>0.0020938754144128424</c:v>
                </c:pt>
                <c:pt idx="34">
                  <c:v>0.0019305019305019305</c:v>
                </c:pt>
                <c:pt idx="35">
                  <c:v>0.0006308153288124901</c:v>
                </c:pt>
                <c:pt idx="36">
                  <c:v>0.0007662835249042146</c:v>
                </c:pt>
                <c:pt idx="37">
                  <c:v>0.0003685277317118113</c:v>
                </c:pt>
                <c:pt idx="38">
                  <c:v>0.0008151620134501732</c:v>
                </c:pt>
                <c:pt idx="39">
                  <c:v>0.0005020920502092051</c:v>
                </c:pt>
                <c:pt idx="40">
                  <c:v>0.00055452865064695</c:v>
                </c:pt>
                <c:pt idx="41">
                  <c:v>0.00015669069257286117</c:v>
                </c:pt>
                <c:pt idx="42">
                  <c:v>0.0005485463521667581</c:v>
                </c:pt>
                <c:pt idx="43">
                  <c:v>0.0007422330611812109</c:v>
                </c:pt>
                <c:pt idx="44">
                  <c:v>0.0004979087831109341</c:v>
                </c:pt>
                <c:pt idx="45">
                  <c:v>0.0010732754415064885</c:v>
                </c:pt>
                <c:pt idx="46">
                  <c:v>0.0013006503251625813</c:v>
                </c:pt>
                <c:pt idx="47">
                  <c:v>0.0007183908045977011</c:v>
                </c:pt>
                <c:pt idx="48">
                  <c:v>0.0008392575039494471</c:v>
                </c:pt>
                <c:pt idx="49">
                  <c:v>0.0009613843935266784</c:v>
                </c:pt>
                <c:pt idx="50">
                  <c:v>0.0008946144211844695</c:v>
                </c:pt>
                <c:pt idx="51">
                  <c:v>0.0003058103975535168</c:v>
                </c:pt>
                <c:pt idx="52">
                  <c:v>0.0005198585984612185</c:v>
                </c:pt>
                <c:pt idx="53">
                  <c:v>0.001129305477131564</c:v>
                </c:pt>
                <c:pt idx="54">
                  <c:v>0.0005919962112242482</c:v>
                </c:pt>
                <c:pt idx="55">
                  <c:v>0.00011396011396011396</c:v>
                </c:pt>
                <c:pt idx="56">
                  <c:v>0.0002042692268409764</c:v>
                </c:pt>
                <c:pt idx="57">
                  <c:v>9.304922303898763e-05</c:v>
                </c:pt>
                <c:pt idx="58">
                  <c:v>0.00024464831804281347</c:v>
                </c:pt>
                <c:pt idx="59">
                  <c:v>0.00025375880225845333</c:v>
                </c:pt>
                <c:pt idx="60">
                  <c:v>0.00042369290738073043</c:v>
                </c:pt>
                <c:pt idx="61">
                  <c:v>0.0003549560741858195</c:v>
                </c:pt>
                <c:pt idx="62">
                  <c:v>0.00045558086560364467</c:v>
                </c:pt>
                <c:pt idx="63">
                  <c:v>0.0006550218340611354</c:v>
                </c:pt>
                <c:pt idx="64">
                  <c:v>0.00039856516540454366</c:v>
                </c:pt>
                <c:pt idx="65">
                  <c:v>8.676036786395974e-05</c:v>
                </c:pt>
                <c:pt idx="66">
                  <c:v>8.946144211844694e-05</c:v>
                </c:pt>
                <c:pt idx="67">
                  <c:v>0.0002586987453110852</c:v>
                </c:pt>
                <c:pt idx="68">
                  <c:v>0.0001255020080321285</c:v>
                </c:pt>
                <c:pt idx="69">
                  <c:v>0.0006367804381049414</c:v>
                </c:pt>
                <c:pt idx="70">
                  <c:v>0.0009066183136899365</c:v>
                </c:pt>
                <c:pt idx="71">
                  <c:v>0.0007687576875768758</c:v>
                </c:pt>
                <c:pt idx="72">
                  <c:v>0.00079923273657289</c:v>
                </c:pt>
                <c:pt idx="73">
                  <c:v>0.0008008970046452026</c:v>
                </c:pt>
                <c:pt idx="74">
                  <c:v>0.0012612612612612612</c:v>
                </c:pt>
                <c:pt idx="75">
                  <c:v>0.0009174311926605505</c:v>
                </c:pt>
                <c:pt idx="76">
                  <c:v>0.0007276696379843551</c:v>
                </c:pt>
                <c:pt idx="77">
                  <c:v>0.0016183610416360158</c:v>
                </c:pt>
                <c:pt idx="78">
                  <c:v>0.0001850481125092524</c:v>
                </c:pt>
                <c:pt idx="79">
                  <c:v>0.0002289901534234028</c:v>
                </c:pt>
                <c:pt idx="80">
                  <c:v>0.0002296211251435132</c:v>
                </c:pt>
                <c:pt idx="81">
                  <c:v>8.244702778464837e-05</c:v>
                </c:pt>
                <c:pt idx="82">
                  <c:v>6.564264145989234e-05</c:v>
                </c:pt>
                <c:pt idx="83">
                  <c:v>4.390586582367404e-05</c:v>
                </c:pt>
                <c:pt idx="84">
                  <c:v>0.00014455044810638914</c:v>
                </c:pt>
                <c:pt idx="85">
                  <c:v>7.172572084349448e-05</c:v>
                </c:pt>
                <c:pt idx="86">
                  <c:v>0.00023084025854108956</c:v>
                </c:pt>
                <c:pt idx="87">
                  <c:v>8.382932349735938e-05</c:v>
                </c:pt>
              </c:numCache>
            </c:numRef>
          </c:yVal>
          <c:smooth val="0"/>
          <c:extLst>
            <c:ext xmlns:c16="http://schemas.microsoft.com/office/drawing/2014/chart" uri="{C3380CC4-5D6E-409C-BE32-E72D297353CC}">
              <c16:uniqueId val="{00000000-096C-4121-9522-6AB7243CCAAE}"/>
            </c:ext>
          </c:extLst>
        </c:ser>
        <c:ser>
          <c:idx val="1"/>
          <c:order val="1"/>
          <c:tx>
            <c:strRef>
              <c:f>Sheet1!$B$9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254849766017755</c:v>
                </c:pt>
                <c:pt idx="21">
                  <c:v>0.708042747265546</c:v>
                </c:pt>
                <c:pt idx="22">
                  <c:v>0.0</c:v>
                </c:pt>
                <c:pt idx="23">
                  <c:v>0.0</c:v>
                </c:pt>
                <c:pt idx="24">
                  <c:v>0.948986480038594</c:v>
                </c:pt>
                <c:pt idx="25">
                  <c:v>0.0</c:v>
                </c:pt>
                <c:pt idx="26">
                  <c:v>0.503623327264141</c:v>
                </c:pt>
                <c:pt idx="27">
                  <c:v>0.7545877960717436</c:v>
                </c:pt>
                <c:pt idx="28">
                  <c:v>0.9318521340811783</c:v>
                </c:pt>
                <c:pt idx="29">
                  <c:v>0.0</c:v>
                </c:pt>
                <c:pt idx="30">
                  <c:v>0.0</c:v>
                </c:pt>
                <c:pt idx="31">
                  <c:v>1.41724856113832</c:v>
                </c:pt>
                <c:pt idx="32">
                  <c:v>1.1946633263245945</c:v>
                </c:pt>
                <c:pt idx="33">
                  <c:v>1.1510847844896108</c:v>
                </c:pt>
                <c:pt idx="34">
                  <c:v>0.0</c:v>
                </c:pt>
                <c:pt idx="35">
                  <c:v>0.0</c:v>
                </c:pt>
                <c:pt idx="36">
                  <c:v>1.1685669123151974</c:v>
                </c:pt>
                <c:pt idx="37">
                  <c:v>0.0</c:v>
                </c:pt>
                <c:pt idx="38">
                  <c:v>0.6506296017507455</c:v>
                </c:pt>
                <c:pt idx="39">
                  <c:v>0.5499538088378533</c:v>
                </c:pt>
                <c:pt idx="40">
                  <c:v>0.6258608100670133</c:v>
                </c:pt>
                <c:pt idx="41">
                  <c:v>1.0632900492617963</c:v>
                </c:pt>
                <c:pt idx="42">
                  <c:v>0.4937515580120181</c:v>
                </c:pt>
                <c:pt idx="43">
                  <c:v>0.38551182861365074</c:v>
                </c:pt>
                <c:pt idx="44">
                  <c:v>0.45820318206007665</c:v>
                </c:pt>
                <c:pt idx="45">
                  <c:v>0.7162057670159766</c:v>
                </c:pt>
                <c:pt idx="46">
                  <c:v>0.5407706812154125</c:v>
                </c:pt>
                <c:pt idx="47">
                  <c:v>0.635983954785132</c:v>
                </c:pt>
                <c:pt idx="48">
                  <c:v>0.0</c:v>
                </c:pt>
                <c:pt idx="49">
                  <c:v>0.5363450832920491</c:v>
                </c:pt>
                <c:pt idx="50">
                  <c:v>0.21711590142586987</c:v>
                </c:pt>
                <c:pt idx="51">
                  <c:v>0.20078049197969794</c:v>
                </c:pt>
                <c:pt idx="52">
                  <c:v>0.34295200279791804</c:v>
                </c:pt>
                <c:pt idx="53">
                  <c:v>0.0</c:v>
                </c:pt>
                <c:pt idx="54">
                  <c:v>0.0</c:v>
                </c:pt>
                <c:pt idx="55">
                  <c:v>0.0</c:v>
                </c:pt>
                <c:pt idx="56">
                  <c:v>0.0</c:v>
                </c:pt>
                <c:pt idx="57">
                  <c:v>1.2405564155797668</c:v>
                </c:pt>
                <c:pt idx="58">
                  <c:v>0.9131831915064549</c:v>
                </c:pt>
                <c:pt idx="59">
                  <c:v>1.1472393158971785</c:v>
                </c:pt>
                <c:pt idx="60">
                  <c:v>0.0</c:v>
                </c:pt>
                <c:pt idx="61">
                  <c:v>0.0</c:v>
                </c:pt>
                <c:pt idx="62">
                  <c:v>0.0</c:v>
                </c:pt>
                <c:pt idx="63">
                  <c:v>0.0</c:v>
                </c:pt>
                <c:pt idx="64">
                  <c:v>0.0</c:v>
                </c:pt>
                <c:pt idx="65">
                  <c:v>0.0</c:v>
                </c:pt>
                <c:pt idx="66">
                  <c:v>0.0</c:v>
                </c:pt>
                <c:pt idx="67">
                  <c:v>0.566299930176018</c:v>
                </c:pt>
                <c:pt idx="68">
                  <c:v>1.5371977760937352</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7.617306520414382e-05</c:v>
                </c:pt>
                <c:pt idx="21">
                  <c:v>0.00016248273620927777</c:v>
                </c:pt>
                <c:pt idx="22">
                  <c:v>0.0</c:v>
                </c:pt>
                <c:pt idx="23">
                  <c:v>0.0</c:v>
                </c:pt>
                <c:pt idx="24">
                  <c:v>0.00011976047904191617</c:v>
                </c:pt>
                <c:pt idx="25">
                  <c:v>0.0</c:v>
                </c:pt>
                <c:pt idx="26">
                  <c:v>0.00022150847269908073</c:v>
                </c:pt>
                <c:pt idx="27">
                  <c:v>0.00010263779123473263</c:v>
                </c:pt>
                <c:pt idx="28">
                  <c:v>0.0001756388864494599</c:v>
                </c:pt>
                <c:pt idx="29">
                  <c:v>0.0</c:v>
                </c:pt>
                <c:pt idx="30">
                  <c:v>0.0</c:v>
                </c:pt>
                <c:pt idx="31">
                  <c:v>9.857072449482504e-05</c:v>
                </c:pt>
                <c:pt idx="32">
                  <c:v>0.00010185373803218578</c:v>
                </c:pt>
                <c:pt idx="33">
                  <c:v>0.00022596316800361542</c:v>
                </c:pt>
                <c:pt idx="34">
                  <c:v>0.0</c:v>
                </c:pt>
                <c:pt idx="35">
                  <c:v>0.0</c:v>
                </c:pt>
                <c:pt idx="36">
                  <c:v>0.00012732365673542143</c:v>
                </c:pt>
                <c:pt idx="37">
                  <c:v>0.0</c:v>
                </c:pt>
                <c:pt idx="38">
                  <c:v>0.0003575259206292456</c:v>
                </c:pt>
                <c:pt idx="39">
                  <c:v>0.0003604253018561903</c:v>
                </c:pt>
                <c:pt idx="40">
                  <c:v>0.00017409470752089137</c:v>
                </c:pt>
                <c:pt idx="41">
                  <c:v>0.00016302575806977502</c:v>
                </c:pt>
                <c:pt idx="42">
                  <c:v>0.0005128205128205128</c:v>
                </c:pt>
                <c:pt idx="43">
                  <c:v>0.0008548469823901521</c:v>
                </c:pt>
                <c:pt idx="44">
                  <c:v>0.00031377470975839345</c:v>
                </c:pt>
                <c:pt idx="45">
                  <c:v>0.0002828854314002829</c:v>
                </c:pt>
                <c:pt idx="46">
                  <c:v>0.0003399048266485384</c:v>
                </c:pt>
                <c:pt idx="47">
                  <c:v>0.00017793594306049823</c:v>
                </c:pt>
                <c:pt idx="48">
                  <c:v>0.0</c:v>
                </c:pt>
                <c:pt idx="49">
                  <c:v>0.00017962996227770793</c:v>
                </c:pt>
                <c:pt idx="50">
                  <c:v>0.0007192950908110052</c:v>
                </c:pt>
                <c:pt idx="51">
                  <c:v>0.0006172839506172839</c:v>
                </c:pt>
                <c:pt idx="52">
                  <c:v>0.0006808278867102397</c:v>
                </c:pt>
                <c:pt idx="53">
                  <c:v>0.0</c:v>
                </c:pt>
                <c:pt idx="54">
                  <c:v>0.0</c:v>
                </c:pt>
                <c:pt idx="55">
                  <c:v>0.0</c:v>
                </c:pt>
                <c:pt idx="56">
                  <c:v>0.0</c:v>
                </c:pt>
                <c:pt idx="57">
                  <c:v>0.00014954389113204725</c:v>
                </c:pt>
                <c:pt idx="58">
                  <c:v>0.00014112334180073385</c:v>
                </c:pt>
                <c:pt idx="59">
                  <c:v>0.00015463120457708364</c:v>
                </c:pt>
                <c:pt idx="60">
                  <c:v>0.0</c:v>
                </c:pt>
                <c:pt idx="61">
                  <c:v>0.0</c:v>
                </c:pt>
                <c:pt idx="62">
                  <c:v>0.0</c:v>
                </c:pt>
                <c:pt idx="63">
                  <c:v>0.0</c:v>
                </c:pt>
                <c:pt idx="64">
                  <c:v>0.0</c:v>
                </c:pt>
                <c:pt idx="65">
                  <c:v>0.0</c:v>
                </c:pt>
                <c:pt idx="66">
                  <c:v>0.0</c:v>
                </c:pt>
                <c:pt idx="67">
                  <c:v>0.00016380687169826775</c:v>
                </c:pt>
                <c:pt idx="68">
                  <c:v>6.692096633875393e-0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6.997165250657415</c:v>
                </c:pt>
              </c:numCache>
            </c:numRef>
          </c:xVal>
          <c:yVal>
            <c:numRef>
              <c:f>Sheet1!$B$163:$B$164</c:f>
              <c:numCache>
                <c:formatCode>General</c:formatCode>
                <c:ptCount val="2"/>
                <c:pt idx="0">
                  <c:v>0.0010522048548973822</c:v>
                </c:pt>
                <c:pt idx="1">
                  <c:v>0.00105220485489738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6.997165250657415</c:v>
                </c:pt>
                <c:pt idx="1">
                  <c:v>6.997165250657415</c:v>
                </c:pt>
              </c:numCache>
            </c:numRef>
          </c:xVal>
          <c:yVal>
            <c:numRef>
              <c:f>Sheet1!$B$167:$B$168</c:f>
              <c:numCache>
                <c:formatCode>General</c:formatCode>
                <c:ptCount val="2"/>
                <c:pt idx="0">
                  <c:v>0.00105220485489738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091083124911929</c:v>
                </c:pt>
              </c:numCache>
            </c:numRef>
          </c:xVal>
          <c:yVal>
            <c:numRef>
              <c:f>Sheet1!$B$171:$B$172</c:f>
              <c:numCache>
                <c:formatCode>General</c:formatCode>
                <c:ptCount val="2"/>
                <c:pt idx="0">
                  <c:v>0.00036122485978701784</c:v>
                </c:pt>
                <c:pt idx="1">
                  <c:v>0.0003612248597870178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091083124911929</c:v>
                </c:pt>
                <c:pt idx="1">
                  <c:v>2.091083124911929</c:v>
                </c:pt>
              </c:numCache>
            </c:numRef>
          </c:xVal>
          <c:yVal>
            <c:numRef>
              <c:f>Sheet1!$B$175:$B$176</c:f>
              <c:numCache>
                <c:formatCode>General</c:formatCode>
                <c:ptCount val="2"/>
                <c:pt idx="0">
                  <c:v>0.000361224859787017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0445459256104178</c:v>
                </c:pt>
              </c:numCache>
            </c:numRef>
          </c:xVal>
          <c:yVal>
            <c:numRef>
              <c:f>Sheet1!$B$179:$B$180</c:f>
              <c:numCache>
                <c:formatCode>General</c:formatCode>
                <c:ptCount val="2"/>
                <c:pt idx="0">
                  <c:v>5.200202119591434e-05</c:v>
                </c:pt>
                <c:pt idx="1">
                  <c:v>5.200202119591434e-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0445459256104178</c:v>
                </c:pt>
                <c:pt idx="1">
                  <c:v>-0.10445459256104178</c:v>
                </c:pt>
              </c:numCache>
            </c:numRef>
          </c:xVal>
          <c:yVal>
            <c:numRef>
              <c:f>Sheet1!$B$183:$B$184</c:f>
              <c:numCache>
                <c:formatCode>General</c:formatCode>
                <c:ptCount val="2"/>
                <c:pt idx="0">
                  <c:v>5.200202119591434e-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254849766017755</c:v>
                </c:pt>
                <c:pt idx="21">
                  <c:v>0.708042747265546</c:v>
                </c:pt>
                <c:pt idx="22">
                  <c:v>0.0</c:v>
                </c:pt>
                <c:pt idx="23">
                  <c:v>0.0</c:v>
                </c:pt>
                <c:pt idx="24">
                  <c:v>0.948986480038594</c:v>
                </c:pt>
                <c:pt idx="25">
                  <c:v>0.0</c:v>
                </c:pt>
                <c:pt idx="26">
                  <c:v>0.503623327264141</c:v>
                </c:pt>
                <c:pt idx="27">
                  <c:v>0.7545877960717436</c:v>
                </c:pt>
                <c:pt idx="28">
                  <c:v>0.9318521340811783</c:v>
                </c:pt>
                <c:pt idx="29">
                  <c:v>0.0</c:v>
                </c:pt>
                <c:pt idx="30">
                  <c:v>0.0</c:v>
                </c:pt>
                <c:pt idx="31">
                  <c:v>1.41724856113832</c:v>
                </c:pt>
                <c:pt idx="32">
                  <c:v>1.1946633263245945</c:v>
                </c:pt>
                <c:pt idx="33">
                  <c:v>1.1510847844896108</c:v>
                </c:pt>
                <c:pt idx="34">
                  <c:v>0.0</c:v>
                </c:pt>
                <c:pt idx="35">
                  <c:v>0.0</c:v>
                </c:pt>
                <c:pt idx="36">
                  <c:v>1.1685669123151974</c:v>
                </c:pt>
                <c:pt idx="37">
                  <c:v>0.0</c:v>
                </c:pt>
                <c:pt idx="38">
                  <c:v>0.6506296017507455</c:v>
                </c:pt>
                <c:pt idx="39">
                  <c:v>0.5499538088378533</c:v>
                </c:pt>
                <c:pt idx="40">
                  <c:v>0.6258608100670133</c:v>
                </c:pt>
                <c:pt idx="41">
                  <c:v>1.0632900492617963</c:v>
                </c:pt>
                <c:pt idx="42">
                  <c:v>0.4937515580120181</c:v>
                </c:pt>
                <c:pt idx="43">
                  <c:v>0.38551182861365074</c:v>
                </c:pt>
                <c:pt idx="44">
                  <c:v>0.45820318206007665</c:v>
                </c:pt>
                <c:pt idx="45">
                  <c:v>0.7162057670159766</c:v>
                </c:pt>
                <c:pt idx="46">
                  <c:v>0.5407706812154125</c:v>
                </c:pt>
                <c:pt idx="47">
                  <c:v>0.635983954785132</c:v>
                </c:pt>
                <c:pt idx="48">
                  <c:v>0.0</c:v>
                </c:pt>
                <c:pt idx="49">
                  <c:v>0.5363450832920491</c:v>
                </c:pt>
                <c:pt idx="50">
                  <c:v>0.21711590142586987</c:v>
                </c:pt>
                <c:pt idx="51">
                  <c:v>0.20078049197969794</c:v>
                </c:pt>
                <c:pt idx="52">
                  <c:v>0.34295200279791804</c:v>
                </c:pt>
                <c:pt idx="53">
                  <c:v>0.0</c:v>
                </c:pt>
                <c:pt idx="54">
                  <c:v>0.0</c:v>
                </c:pt>
                <c:pt idx="55">
                  <c:v>0.0</c:v>
                </c:pt>
                <c:pt idx="56">
                  <c:v>0.0</c:v>
                </c:pt>
                <c:pt idx="57">
                  <c:v>1.2405564155797668</c:v>
                </c:pt>
                <c:pt idx="58">
                  <c:v>0.9131831915064549</c:v>
                </c:pt>
                <c:pt idx="59">
                  <c:v>1.1472393158971785</c:v>
                </c:pt>
                <c:pt idx="60">
                  <c:v>0.0</c:v>
                </c:pt>
                <c:pt idx="61">
                  <c:v>0.0</c:v>
                </c:pt>
                <c:pt idx="62">
                  <c:v>0.0</c:v>
                </c:pt>
                <c:pt idx="63">
                  <c:v>0.0</c:v>
                </c:pt>
                <c:pt idx="64">
                  <c:v>0.0</c:v>
                </c:pt>
                <c:pt idx="65">
                  <c:v>0.0</c:v>
                </c:pt>
                <c:pt idx="66">
                  <c:v>0.0</c:v>
                </c:pt>
                <c:pt idx="67">
                  <c:v>0.566299930176018</c:v>
                </c:pt>
                <c:pt idx="68">
                  <c:v>1.5371977760937352</c:v>
                </c:pt>
                <c:pt idx="69">
                  <c:v>2.091083124911929</c:v>
                </c:pt>
                <c:pt idx="70">
                  <c:v>6.997165250657415</c:v>
                </c:pt>
                <c:pt idx="71">
                  <c:v>-0.10445459256104178</c:v>
                </c:pt>
              </c:numCache>
            </c:numRef>
          </c:xVal>
          <c:yVal>
            <c:numRef>
              <c:f>Sheet1!$B$187:$B$258</c:f>
              <c:numCache>
                <c:formatCode>General</c:formatCode>
                <c:ptCount val="72"/>
                <c:pt idx="0">
                  <c:v>6.67135633199909e-05</c:v>
                </c:pt>
                <c:pt idx="1">
                  <c:v>6.67135633199909e-05</c:v>
                </c:pt>
                <c:pt idx="2">
                  <c:v>6.67135633199909e-05</c:v>
                </c:pt>
                <c:pt idx="3">
                  <c:v>6.67135633199909e-05</c:v>
                </c:pt>
                <c:pt idx="4">
                  <c:v>6.67135633199909e-05</c:v>
                </c:pt>
                <c:pt idx="5">
                  <c:v>6.67135633199909e-05</c:v>
                </c:pt>
                <c:pt idx="6">
                  <c:v>6.67135633199909e-05</c:v>
                </c:pt>
                <c:pt idx="7">
                  <c:v>6.67135633199909e-05</c:v>
                </c:pt>
                <c:pt idx="8">
                  <c:v>6.67135633199909e-05</c:v>
                </c:pt>
                <c:pt idx="9">
                  <c:v>6.67135633199909e-05</c:v>
                </c:pt>
                <c:pt idx="10">
                  <c:v>6.67135633199909e-05</c:v>
                </c:pt>
                <c:pt idx="11">
                  <c:v>6.67135633199909e-05</c:v>
                </c:pt>
                <c:pt idx="12">
                  <c:v>6.67135633199909e-05</c:v>
                </c:pt>
                <c:pt idx="13">
                  <c:v>6.67135633199909e-05</c:v>
                </c:pt>
                <c:pt idx="14">
                  <c:v>6.67135633199909e-05</c:v>
                </c:pt>
                <c:pt idx="15">
                  <c:v>6.67135633199909e-05</c:v>
                </c:pt>
                <c:pt idx="16">
                  <c:v>6.67135633199909e-05</c:v>
                </c:pt>
                <c:pt idx="17">
                  <c:v>6.67135633199909e-05</c:v>
                </c:pt>
                <c:pt idx="18">
                  <c:v>6.67135633199909e-05</c:v>
                </c:pt>
                <c:pt idx="19">
                  <c:v>6.67135633199909e-05</c:v>
                </c:pt>
                <c:pt idx="20">
                  <c:v>0.00024344849415962438</c:v>
                </c:pt>
                <c:pt idx="21">
                  <c:v>0.00016643537015157442</c:v>
                </c:pt>
                <c:pt idx="22">
                  <c:v>6.67135633199909e-05</c:v>
                </c:pt>
                <c:pt idx="23">
                  <c:v>6.67135633199909e-05</c:v>
                </c:pt>
                <c:pt idx="24">
                  <c:v>0.00020037024833466144</c:v>
                </c:pt>
                <c:pt idx="25">
                  <c:v>6.67135633199909e-05</c:v>
                </c:pt>
                <c:pt idx="26">
                  <c:v>0.000137644631184568</c:v>
                </c:pt>
                <c:pt idx="27">
                  <c:v>0.00017299084492190984</c:v>
                </c:pt>
                <c:pt idx="28">
                  <c:v>0.00019795702124583128</c:v>
                </c:pt>
                <c:pt idx="29">
                  <c:v>6.67135633199909e-05</c:v>
                </c:pt>
                <c:pt idx="30">
                  <c:v>6.67135633199909e-05</c:v>
                </c:pt>
                <c:pt idx="31">
                  <c:v>0.00026632098503568893</c:v>
                </c:pt>
                <c:pt idx="32">
                  <c:v>0.00023497174535294372</c:v>
                </c:pt>
                <c:pt idx="33">
                  <c:v>0.0002288340778919698</c:v>
                </c:pt>
                <c:pt idx="34">
                  <c:v>6.67135633199909e-05</c:v>
                </c:pt>
                <c:pt idx="35">
                  <c:v>6.67135633199909e-05</c:v>
                </c:pt>
                <c:pt idx="36">
                  <c:v>0.00023129628710286983</c:v>
                </c:pt>
                <c:pt idx="37">
                  <c:v>6.67135633199909e-05</c:v>
                </c:pt>
                <c:pt idx="38">
                  <c:v>0.0001583492162735328</c:v>
                </c:pt>
                <c:pt idx="39">
                  <c:v>0.00014416988598274364</c:v>
                </c:pt>
                <c:pt idx="40">
                  <c:v>0.00015486074235119418</c:v>
                </c:pt>
                <c:pt idx="41">
                  <c:v>0.0002164689351643166</c:v>
                </c:pt>
                <c:pt idx="42">
                  <c:v>0.0001362542763362936</c:v>
                </c:pt>
                <c:pt idx="43">
                  <c:v>0.00012100962983966235</c:v>
                </c:pt>
                <c:pt idx="44">
                  <c:v>0.00013124758953165282</c:v>
                </c:pt>
                <c:pt idx="45">
                  <c:v>0.0001675850621466674</c:v>
                </c:pt>
                <c:pt idx="46">
                  <c:v>0.00014287652045868245</c:v>
                </c:pt>
                <c:pt idx="47">
                  <c:v>0.00015628650129866884</c:v>
                </c:pt>
                <c:pt idx="48">
                  <c:v>6.67135633199909e-05</c:v>
                </c:pt>
                <c:pt idx="49">
                  <c:v>0.00014225321258224094</c:v>
                </c:pt>
                <c:pt idx="50">
                  <c:v>9.729249385161827e-05</c:v>
                </c:pt>
                <c:pt idx="51">
                  <c:v>9.499179018422368e-05</c:v>
                </c:pt>
                <c:pt idx="52">
                  <c:v>0.0001150154398770179</c:v>
                </c:pt>
                <c:pt idx="53">
                  <c:v>6.67135633199909e-05</c:v>
                </c:pt>
                <c:pt idx="54">
                  <c:v>6.67135633199909e-05</c:v>
                </c:pt>
                <c:pt idx="55">
                  <c:v>6.67135633199909e-05</c:v>
                </c:pt>
                <c:pt idx="56">
                  <c:v>6.67135633199909e-05</c:v>
                </c:pt>
                <c:pt idx="57">
                  <c:v>0.00024143539715826688</c:v>
                </c:pt>
                <c:pt idx="58">
                  <c:v>0.00019532765925832932</c:v>
                </c:pt>
                <c:pt idx="59">
                  <c:v>0.00022829247630416674</c:v>
                </c:pt>
                <c:pt idx="60">
                  <c:v>6.67135633199909e-05</c:v>
                </c:pt>
                <c:pt idx="61">
                  <c:v>6.67135633199909e-05</c:v>
                </c:pt>
                <c:pt idx="62">
                  <c:v>6.67135633199909e-05</c:v>
                </c:pt>
                <c:pt idx="63">
                  <c:v>6.67135633199909e-05</c:v>
                </c:pt>
                <c:pt idx="64">
                  <c:v>6.67135633199909e-05</c:v>
                </c:pt>
                <c:pt idx="65">
                  <c:v>6.67135633199909e-05</c:v>
                </c:pt>
                <c:pt idx="66">
                  <c:v>6.67135633199909e-05</c:v>
                </c:pt>
                <c:pt idx="67">
                  <c:v>0.0001464720983291385</c:v>
                </c:pt>
                <c:pt idx="68">
                  <c:v>0.0002832148131125662</c:v>
                </c:pt>
                <c:pt idx="69">
                  <c:v>0.00036122485978701784</c:v>
                </c:pt>
                <c:pt idx="70">
                  <c:v>0.0010522048548973822</c:v>
                </c:pt>
                <c:pt idx="71">
                  <c:v>5.200202119591434e-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51265049729541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3581.0714</c:v>
                </c:pt>
                <c:pt idx="1">
                  <c:v>6230.0</c:v>
                </c:pt>
                <c:pt idx="2">
                  <c:v>6349.6667</c:v>
                </c:pt>
                <c:pt idx="3">
                  <c:v>7566.0</c:v>
                </c:pt>
                <c:pt idx="4">
                  <c:v>5972.0</c:v>
                </c:pt>
                <c:pt idx="5">
                  <c:v>4616.6</c:v>
                </c:pt>
                <c:pt idx="6">
                  <c:v>5895.1667</c:v>
                </c:pt>
                <c:pt idx="7">
                  <c:v>3666.0</c:v>
                </c:pt>
                <c:pt idx="8">
                  <c:v>5288.0</c:v>
                </c:pt>
                <c:pt idx="9">
                  <c:v>4848.0</c:v>
                </c:pt>
                <c:pt idx="10">
                  <c:v>7054.0</c:v>
                </c:pt>
                <c:pt idx="11">
                  <c:v>4469.4286</c:v>
                </c:pt>
                <c:pt idx="12">
                  <c:v>5880.3333</c:v>
                </c:pt>
                <c:pt idx="13">
                  <c:v>5253.1667</c:v>
                </c:pt>
                <c:pt idx="14">
                  <c:v>5922.0</c:v>
                </c:pt>
                <c:pt idx="15">
                  <c:v>3753.2</c:v>
                </c:pt>
                <c:pt idx="16">
                  <c:v>2170.25</c:v>
                </c:pt>
                <c:pt idx="17">
                  <c:v>4387.0</c:v>
                </c:pt>
                <c:pt idx="18">
                  <c:v>3807.0</c:v>
                </c:pt>
                <c:pt idx="19">
                  <c:v>3804.25</c:v>
                </c:pt>
                <c:pt idx="20">
                  <c:v>3359.5</c:v>
                </c:pt>
                <c:pt idx="21">
                  <c:v>4369.8</c:v>
                </c:pt>
                <c:pt idx="22">
                  <c:v>6539.0</c:v>
                </c:pt>
                <c:pt idx="23">
                  <c:v>5053.4</c:v>
                </c:pt>
                <c:pt idx="24">
                  <c:v>3948.1429</c:v>
                </c:pt>
                <c:pt idx="25">
                  <c:v>6402.2</c:v>
                </c:pt>
                <c:pt idx="26">
                  <c:v>7763.5</c:v>
                </c:pt>
                <c:pt idx="27">
                  <c:v>3345.6</c:v>
                </c:pt>
                <c:pt idx="28">
                  <c:v>7017.25</c:v>
                </c:pt>
                <c:pt idx="29">
                  <c:v>3873.25</c:v>
                </c:pt>
                <c:pt idx="30">
                  <c:v>5011.5</c:v>
                </c:pt>
                <c:pt idx="31">
                  <c:v>5771.0</c:v>
                </c:pt>
                <c:pt idx="32">
                  <c:v>3461.5</c:v>
                </c:pt>
                <c:pt idx="33">
                  <c:v>3505.5833</c:v>
                </c:pt>
                <c:pt idx="34">
                  <c:v>3707.6429</c:v>
                </c:pt>
                <c:pt idx="35">
                  <c:v>6483.0</c:v>
                </c:pt>
                <c:pt idx="36">
                  <c:v>4574.5</c:v>
                </c:pt>
                <c:pt idx="37">
                  <c:v>7663.0</c:v>
                </c:pt>
                <c:pt idx="38">
                  <c:v>5601.0</c:v>
                </c:pt>
                <c:pt idx="39">
                  <c:v>5694.6667</c:v>
                </c:pt>
                <c:pt idx="40">
                  <c:v>5335.6667</c:v>
                </c:pt>
                <c:pt idx="41">
                  <c:v>10645.0</c:v>
                </c:pt>
                <c:pt idx="42">
                  <c:v>5430.5</c:v>
                </c:pt>
                <c:pt idx="43">
                  <c:v>3861.5714</c:v>
                </c:pt>
                <c:pt idx="44">
                  <c:v>4392.6</c:v>
                </c:pt>
                <c:pt idx="45">
                  <c:v>4084.4545</c:v>
                </c:pt>
                <c:pt idx="46">
                  <c:v>3682.6154</c:v>
                </c:pt>
                <c:pt idx="47">
                  <c:v>4401.9</c:v>
                </c:pt>
                <c:pt idx="48">
                  <c:v>3202.1176</c:v>
                </c:pt>
                <c:pt idx="49">
                  <c:v>3614.8333</c:v>
                </c:pt>
                <c:pt idx="50">
                  <c:v>4083.9</c:v>
                </c:pt>
                <c:pt idx="51">
                  <c:v>4174.75</c:v>
                </c:pt>
                <c:pt idx="52">
                  <c:v>3479.2</c:v>
                </c:pt>
                <c:pt idx="53">
                  <c:v>3423.5</c:v>
                </c:pt>
                <c:pt idx="54">
                  <c:v>4202.4</c:v>
                </c:pt>
                <c:pt idx="55">
                  <c:v>15202.0</c:v>
                </c:pt>
                <c:pt idx="56">
                  <c:v>6202.5</c:v>
                </c:pt>
                <c:pt idx="57">
                  <c:v>10480.0</c:v>
                </c:pt>
                <c:pt idx="58">
                  <c:v>4706.5</c:v>
                </c:pt>
                <c:pt idx="59">
                  <c:v>3925.25</c:v>
                </c:pt>
                <c:pt idx="60">
                  <c:v>3984.0</c:v>
                </c:pt>
                <c:pt idx="61">
                  <c:v>3894.25</c:v>
                </c:pt>
                <c:pt idx="62">
                  <c:v>3523.6667</c:v>
                </c:pt>
                <c:pt idx="63">
                  <c:v>2920.0</c:v>
                </c:pt>
                <c:pt idx="64">
                  <c:v>3077.6</c:v>
                </c:pt>
                <c:pt idx="65">
                  <c:v>6638.0</c:v>
                </c:pt>
                <c:pt idx="66">
                  <c:v>10119.0</c:v>
                </c:pt>
                <c:pt idx="67">
                  <c:v>5730.5</c:v>
                </c:pt>
                <c:pt idx="68">
                  <c:v>17630.0</c:v>
                </c:pt>
                <c:pt idx="69">
                  <c:v>5701.0</c:v>
                </c:pt>
                <c:pt idx="70">
                  <c:v>5620.2857</c:v>
                </c:pt>
                <c:pt idx="71">
                  <c:v>6033.2</c:v>
                </c:pt>
                <c:pt idx="72">
                  <c:v>5945.6</c:v>
                </c:pt>
                <c:pt idx="73">
                  <c:v>5831.6</c:v>
                </c:pt>
                <c:pt idx="74">
                  <c:v>5610.1429</c:v>
                </c:pt>
                <c:pt idx="75">
                  <c:v>8324.4</c:v>
                </c:pt>
                <c:pt idx="76">
                  <c:v>8366.5</c:v>
                </c:pt>
                <c:pt idx="77">
                  <c:v>4291.4545</c:v>
                </c:pt>
                <c:pt idx="78">
                  <c:v>22182.0</c:v>
                </c:pt>
                <c:pt idx="79">
                  <c:v>18169.0</c:v>
                </c:pt>
                <c:pt idx="80">
                  <c:v>17887.0</c:v>
                </c:pt>
                <c:pt idx="81">
                  <c:v>11855.0</c:v>
                </c:pt>
                <c:pt idx="82">
                  <c:v>14450.0</c:v>
                </c:pt>
                <c:pt idx="83">
                  <c:v>17175.0</c:v>
                </c:pt>
                <c:pt idx="84">
                  <c:v>6509.5</c:v>
                </c:pt>
                <c:pt idx="85">
                  <c:v>11668.0</c:v>
                </c:pt>
                <c:pt idx="86">
                  <c:v>5744.6667</c:v>
                </c:pt>
                <c:pt idx="87">
                  <c:v>10423.0</c:v>
                </c:pt>
              </c:numCache>
            </c:numRef>
          </c:xVal>
          <c:yVal>
            <c:numRef>
              <c:f>Sheet1!$B$2:$B$89</c:f>
              <c:numCache>
                <c:formatCode>General</c:formatCode>
                <c:ptCount val="88"/>
                <c:pt idx="0">
                  <c:v>0.0013899920571882446</c:v>
                </c:pt>
                <c:pt idx="1">
                  <c:v>0.0003280481137233461</c:v>
                </c:pt>
                <c:pt idx="2">
                  <c:v>0.0003180324393088095</c:v>
                </c:pt>
                <c:pt idx="3">
                  <c:v>0.00021666125013541327</c:v>
                </c:pt>
                <c:pt idx="4">
                  <c:v>0.000253324889170361</c:v>
                </c:pt>
                <c:pt idx="5">
                  <c:v>0.0006664001066240171</c:v>
                </c:pt>
                <c:pt idx="6">
                  <c:v>0.0007710100231303007</c:v>
                </c:pt>
                <c:pt idx="7">
                  <c:v>0.0009916418756197763</c:v>
                </c:pt>
                <c:pt idx="8">
                  <c:v>0.0005517241379310345</c:v>
                </c:pt>
                <c:pt idx="9">
                  <c:v>0.0007114062129475931</c:v>
                </c:pt>
                <c:pt idx="10">
                  <c:v>0.0003320420586607637</c:v>
                </c:pt>
                <c:pt idx="11">
                  <c:v>0.0007222451506397028</c:v>
                </c:pt>
                <c:pt idx="12">
                  <c:v>0.0005499541704857929</c:v>
                </c:pt>
                <c:pt idx="13">
                  <c:v>0.000625130235465722</c:v>
                </c:pt>
                <c:pt idx="14">
                  <c:v>0.000224290680722216</c:v>
                </c:pt>
                <c:pt idx="15">
                  <c:v>0.0006429214350006429</c:v>
                </c:pt>
                <c:pt idx="16">
                  <c:v>0.0005787874403125452</c:v>
                </c:pt>
                <c:pt idx="17">
                  <c:v>0.0004809233728759218</c:v>
                </c:pt>
                <c:pt idx="18">
                  <c:v>0.0006128702757916241</c:v>
                </c:pt>
                <c:pt idx="19">
                  <c:v>0.000672834314550042</c:v>
                </c:pt>
                <c:pt idx="20">
                  <c:v>0.0003861749372465727</c:v>
                </c:pt>
                <c:pt idx="21">
                  <c:v>0.0010588733587462938</c:v>
                </c:pt>
                <c:pt idx="22">
                  <c:v>0.0006499133448873484</c:v>
                </c:pt>
                <c:pt idx="23">
                  <c:v>0.0010187449062754685</c:v>
                </c:pt>
                <c:pt idx="24">
                  <c:v>0.0015992689056431345</c:v>
                </c:pt>
                <c:pt idx="25">
                  <c:v>0.0009389671361502347</c:v>
                </c:pt>
                <c:pt idx="26">
                  <c:v>0.0003829216925138809</c:v>
                </c:pt>
                <c:pt idx="27">
                  <c:v>0.0009613535858488752</c:v>
                </c:pt>
                <c:pt idx="28">
                  <c:v>0.0006884681583476765</c:v>
                </c:pt>
                <c:pt idx="29">
                  <c:v>0.0008615119534783546</c:v>
                </c:pt>
                <c:pt idx="30">
                  <c:v>0.0008605851979345956</c:v>
                </c:pt>
                <c:pt idx="31">
                  <c:v>0.0006612298875909191</c:v>
                </c:pt>
                <c:pt idx="32">
                  <c:v>0.0019029495718363464</c:v>
                </c:pt>
                <c:pt idx="33">
                  <c:v>0.0020938754144128424</c:v>
                </c:pt>
                <c:pt idx="34">
                  <c:v>0.0019305019305019305</c:v>
                </c:pt>
                <c:pt idx="35">
                  <c:v>0.0006308153288124901</c:v>
                </c:pt>
                <c:pt idx="36">
                  <c:v>0.0007662835249042146</c:v>
                </c:pt>
                <c:pt idx="37">
                  <c:v>0.0003685277317118113</c:v>
                </c:pt>
                <c:pt idx="38">
                  <c:v>0.0008151620134501732</c:v>
                </c:pt>
                <c:pt idx="39">
                  <c:v>0.0005020920502092051</c:v>
                </c:pt>
                <c:pt idx="40">
                  <c:v>0.00055452865064695</c:v>
                </c:pt>
                <c:pt idx="41">
                  <c:v>0.00015669069257286117</c:v>
                </c:pt>
                <c:pt idx="42">
                  <c:v>0.0005485463521667581</c:v>
                </c:pt>
                <c:pt idx="43">
                  <c:v>0.0007422330611812109</c:v>
                </c:pt>
                <c:pt idx="44">
                  <c:v>0.0004979087831109341</c:v>
                </c:pt>
                <c:pt idx="45">
                  <c:v>0.0010732754415064885</c:v>
                </c:pt>
                <c:pt idx="46">
                  <c:v>0.0013006503251625813</c:v>
                </c:pt>
                <c:pt idx="47">
                  <c:v>0.0007183908045977011</c:v>
                </c:pt>
                <c:pt idx="48">
                  <c:v>0.0008392575039494471</c:v>
                </c:pt>
                <c:pt idx="49">
                  <c:v>0.0009613843935266784</c:v>
                </c:pt>
                <c:pt idx="50">
                  <c:v>0.0008946144211844695</c:v>
                </c:pt>
                <c:pt idx="51">
                  <c:v>0.0003058103975535168</c:v>
                </c:pt>
                <c:pt idx="52">
                  <c:v>0.0005198585984612185</c:v>
                </c:pt>
                <c:pt idx="53">
                  <c:v>0.001129305477131564</c:v>
                </c:pt>
                <c:pt idx="54">
                  <c:v>0.0005919962112242482</c:v>
                </c:pt>
                <c:pt idx="55">
                  <c:v>0.00011396011396011396</c:v>
                </c:pt>
                <c:pt idx="56">
                  <c:v>0.0002042692268409764</c:v>
                </c:pt>
                <c:pt idx="57">
                  <c:v>9.304922303898763e-05</c:v>
                </c:pt>
                <c:pt idx="58">
                  <c:v>0.00024464831804281347</c:v>
                </c:pt>
                <c:pt idx="59">
                  <c:v>0.00025375880225845333</c:v>
                </c:pt>
                <c:pt idx="60">
                  <c:v>0.00042369290738073043</c:v>
                </c:pt>
                <c:pt idx="61">
                  <c:v>0.0003549560741858195</c:v>
                </c:pt>
                <c:pt idx="62">
                  <c:v>0.00045558086560364467</c:v>
                </c:pt>
                <c:pt idx="63">
                  <c:v>0.0006550218340611354</c:v>
                </c:pt>
                <c:pt idx="64">
                  <c:v>0.00039856516540454366</c:v>
                </c:pt>
                <c:pt idx="65">
                  <c:v>8.676036786395974e-05</c:v>
                </c:pt>
                <c:pt idx="66">
                  <c:v>8.946144211844694e-05</c:v>
                </c:pt>
                <c:pt idx="67">
                  <c:v>0.0002586987453110852</c:v>
                </c:pt>
                <c:pt idx="68">
                  <c:v>0.0001255020080321285</c:v>
                </c:pt>
                <c:pt idx="69">
                  <c:v>0.0006367804381049414</c:v>
                </c:pt>
                <c:pt idx="70">
                  <c:v>0.0009066183136899365</c:v>
                </c:pt>
                <c:pt idx="71">
                  <c:v>0.0007687576875768758</c:v>
                </c:pt>
                <c:pt idx="72">
                  <c:v>0.00079923273657289</c:v>
                </c:pt>
                <c:pt idx="73">
                  <c:v>0.0008008970046452026</c:v>
                </c:pt>
                <c:pt idx="74">
                  <c:v>0.0012612612612612612</c:v>
                </c:pt>
                <c:pt idx="75">
                  <c:v>0.0009174311926605505</c:v>
                </c:pt>
                <c:pt idx="76">
                  <c:v>0.0007276696379843551</c:v>
                </c:pt>
                <c:pt idx="77">
                  <c:v>0.0016183610416360158</c:v>
                </c:pt>
                <c:pt idx="78">
                  <c:v>0.0001850481125092524</c:v>
                </c:pt>
                <c:pt idx="79">
                  <c:v>0.0002289901534234028</c:v>
                </c:pt>
                <c:pt idx="80">
                  <c:v>0.0002296211251435132</c:v>
                </c:pt>
                <c:pt idx="81">
                  <c:v>8.244702778464837e-05</c:v>
                </c:pt>
                <c:pt idx="82">
                  <c:v>6.564264145989234e-05</c:v>
                </c:pt>
                <c:pt idx="83">
                  <c:v>4.390586582367404e-05</c:v>
                </c:pt>
                <c:pt idx="84">
                  <c:v>0.00014455044810638914</c:v>
                </c:pt>
                <c:pt idx="85">
                  <c:v>7.172572084349448e-05</c:v>
                </c:pt>
                <c:pt idx="86">
                  <c:v>0.00023084025854108956</c:v>
                </c:pt>
                <c:pt idx="87">
                  <c:v>8.382932349735938e-05</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7.617306520414382e-05</c:v>
                </c:pt>
                <c:pt idx="21">
                  <c:v>0.00016248273620927777</c:v>
                </c:pt>
                <c:pt idx="22">
                  <c:v>0.0</c:v>
                </c:pt>
                <c:pt idx="23">
                  <c:v>0.0</c:v>
                </c:pt>
                <c:pt idx="24">
                  <c:v>0.00011976047904191617</c:v>
                </c:pt>
                <c:pt idx="25">
                  <c:v>0.0</c:v>
                </c:pt>
                <c:pt idx="26">
                  <c:v>0.00022150847269908073</c:v>
                </c:pt>
                <c:pt idx="27">
                  <c:v>0.00010263779123473263</c:v>
                </c:pt>
                <c:pt idx="28">
                  <c:v>0.0001756388864494599</c:v>
                </c:pt>
                <c:pt idx="29">
                  <c:v>0.0</c:v>
                </c:pt>
                <c:pt idx="30">
                  <c:v>0.0</c:v>
                </c:pt>
                <c:pt idx="31">
                  <c:v>9.857072449482504e-05</c:v>
                </c:pt>
                <c:pt idx="32">
                  <c:v>0.00010185373803218578</c:v>
                </c:pt>
                <c:pt idx="33">
                  <c:v>0.00022596316800361542</c:v>
                </c:pt>
                <c:pt idx="34">
                  <c:v>0.0</c:v>
                </c:pt>
                <c:pt idx="35">
                  <c:v>0.0</c:v>
                </c:pt>
                <c:pt idx="36">
                  <c:v>0.00012732365673542143</c:v>
                </c:pt>
                <c:pt idx="37">
                  <c:v>0.0</c:v>
                </c:pt>
                <c:pt idx="38">
                  <c:v>0.0003575259206292456</c:v>
                </c:pt>
                <c:pt idx="39">
                  <c:v>0.0003604253018561903</c:v>
                </c:pt>
                <c:pt idx="40">
                  <c:v>0.00017409470752089137</c:v>
                </c:pt>
                <c:pt idx="41">
                  <c:v>0.00016302575806977502</c:v>
                </c:pt>
                <c:pt idx="42">
                  <c:v>0.0005128205128205128</c:v>
                </c:pt>
                <c:pt idx="43">
                  <c:v>0.0008548469823901521</c:v>
                </c:pt>
                <c:pt idx="44">
                  <c:v>0.00031377470975839345</c:v>
                </c:pt>
                <c:pt idx="45">
                  <c:v>0.0002828854314002829</c:v>
                </c:pt>
                <c:pt idx="46">
                  <c:v>0.0003399048266485384</c:v>
                </c:pt>
                <c:pt idx="47">
                  <c:v>0.00017793594306049823</c:v>
                </c:pt>
                <c:pt idx="48">
                  <c:v>0.0</c:v>
                </c:pt>
                <c:pt idx="49">
                  <c:v>0.00017962996227770793</c:v>
                </c:pt>
                <c:pt idx="50">
                  <c:v>0.0007192950908110052</c:v>
                </c:pt>
                <c:pt idx="51">
                  <c:v>0.0006172839506172839</c:v>
                </c:pt>
                <c:pt idx="52">
                  <c:v>0.0006808278867102397</c:v>
                </c:pt>
                <c:pt idx="53">
                  <c:v>0.0</c:v>
                </c:pt>
                <c:pt idx="54">
                  <c:v>0.0</c:v>
                </c:pt>
                <c:pt idx="55">
                  <c:v>0.0</c:v>
                </c:pt>
                <c:pt idx="56">
                  <c:v>0.0</c:v>
                </c:pt>
                <c:pt idx="57">
                  <c:v>0.00014954389113204725</c:v>
                </c:pt>
                <c:pt idx="58">
                  <c:v>0.00014112334180073385</c:v>
                </c:pt>
                <c:pt idx="59">
                  <c:v>0.00015463120457708364</c:v>
                </c:pt>
                <c:pt idx="60">
                  <c:v>0.0</c:v>
                </c:pt>
                <c:pt idx="61">
                  <c:v>0.0</c:v>
                </c:pt>
                <c:pt idx="62">
                  <c:v>0.0</c:v>
                </c:pt>
                <c:pt idx="63">
                  <c:v>0.0</c:v>
                </c:pt>
                <c:pt idx="64">
                  <c:v>0.0</c:v>
                </c:pt>
                <c:pt idx="65">
                  <c:v>0.0</c:v>
                </c:pt>
                <c:pt idx="66">
                  <c:v>0.0</c:v>
                </c:pt>
                <c:pt idx="67">
                  <c:v>0.00016380687169826775</c:v>
                </c:pt>
                <c:pt idx="68">
                  <c:v>6.692096633875393e-0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5374.4848340766</c:v>
                </c:pt>
              </c:numCache>
            </c:numRef>
          </c:xVal>
          <c:yVal>
            <c:numRef>
              <c:f>Sheet1!$B$163:$B$164</c:f>
              <c:numCache>
                <c:formatCode>General</c:formatCode>
                <c:ptCount val="2"/>
                <c:pt idx="0">
                  <c:v>0.0010522048548973822</c:v>
                </c:pt>
                <c:pt idx="1">
                  <c:v>0.00105220485489738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5374.4848340766</c:v>
                </c:pt>
                <c:pt idx="1">
                  <c:v>65374.4848340766</c:v>
                </c:pt>
              </c:numCache>
            </c:numRef>
          </c:xVal>
          <c:yVal>
            <c:numRef>
              <c:f>Sheet1!$B$167:$B$168</c:f>
              <c:numCache>
                <c:formatCode>General</c:formatCode>
                <c:ptCount val="2"/>
                <c:pt idx="0">
                  <c:v>0.00105220485489738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9655.917770424614</c:v>
                </c:pt>
              </c:numCache>
            </c:numRef>
          </c:xVal>
          <c:yVal>
            <c:numRef>
              <c:f>Sheet1!$B$171:$B$172</c:f>
              <c:numCache>
                <c:formatCode>General</c:formatCode>
                <c:ptCount val="2"/>
                <c:pt idx="0">
                  <c:v>0.00036122485978701784</c:v>
                </c:pt>
                <c:pt idx="1">
                  <c:v>0.0003612248597870178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9655.917770424614</c:v>
                </c:pt>
                <c:pt idx="1">
                  <c:v>19655.917770424614</c:v>
                </c:pt>
              </c:numCache>
            </c:numRef>
          </c:xVal>
          <c:yVal>
            <c:numRef>
              <c:f>Sheet1!$B$175:$B$176</c:f>
              <c:numCache>
                <c:formatCode>General</c:formatCode>
                <c:ptCount val="2"/>
                <c:pt idx="0">
                  <c:v>0.000361224859787017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03.7557132949481</c:v>
                </c:pt>
              </c:numCache>
            </c:numRef>
          </c:xVal>
          <c:yVal>
            <c:numRef>
              <c:f>Sheet1!$B$179:$B$180</c:f>
              <c:numCache>
                <c:formatCode>General</c:formatCode>
                <c:ptCount val="2"/>
                <c:pt idx="0">
                  <c:v>5.200202119591434e-05</c:v>
                </c:pt>
                <c:pt idx="1">
                  <c:v>5.200202119591434e-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03.7557132949481</c:v>
                </c:pt>
                <c:pt idx="1">
                  <c:v>-803.7557132949481</c:v>
                </c:pt>
              </c:numCache>
            </c:numRef>
          </c:xVal>
          <c:yVal>
            <c:numRef>
              <c:f>Sheet1!$B$183:$B$184</c:f>
              <c:numCache>
                <c:formatCode>General</c:formatCode>
                <c:ptCount val="2"/>
                <c:pt idx="0">
                  <c:v>5.200202119591434e-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pt idx="69">
                  <c:v>19655.917770424614</c:v>
                </c:pt>
                <c:pt idx="70">
                  <c:v>65374.4848340766</c:v>
                </c:pt>
                <c:pt idx="71">
                  <c:v>-803.7557132949481</c:v>
                </c:pt>
              </c:numCache>
            </c:numRef>
          </c:xVal>
          <c:yVal>
            <c:numRef>
              <c:f>Sheet1!$B$187:$B$258</c:f>
              <c:numCache>
                <c:formatCode>General</c:formatCode>
                <c:ptCount val="72"/>
                <c:pt idx="0">
                  <c:v>6.414980172607051e-05</c:v>
                </c:pt>
                <c:pt idx="1">
                  <c:v>6.414980172607051e-05</c:v>
                </c:pt>
                <c:pt idx="2">
                  <c:v>6.414980172607051e-05</c:v>
                </c:pt>
                <c:pt idx="3">
                  <c:v>6.414980172607051e-05</c:v>
                </c:pt>
                <c:pt idx="4">
                  <c:v>6.414980172607051e-05</c:v>
                </c:pt>
                <c:pt idx="5">
                  <c:v>6.414980172607051e-05</c:v>
                </c:pt>
                <c:pt idx="6">
                  <c:v>6.414980172607051e-05</c:v>
                </c:pt>
                <c:pt idx="7">
                  <c:v>6.414980172607051e-05</c:v>
                </c:pt>
                <c:pt idx="8">
                  <c:v>6.414980172607051e-05</c:v>
                </c:pt>
                <c:pt idx="9">
                  <c:v>6.414980172607051e-05</c:v>
                </c:pt>
                <c:pt idx="10">
                  <c:v>6.414980172607051e-05</c:v>
                </c:pt>
                <c:pt idx="11">
                  <c:v>6.414980172607051e-05</c:v>
                </c:pt>
                <c:pt idx="12">
                  <c:v>6.414980172607051e-05</c:v>
                </c:pt>
                <c:pt idx="13">
                  <c:v>6.414980172607051e-05</c:v>
                </c:pt>
                <c:pt idx="14">
                  <c:v>6.414980172607051e-05</c:v>
                </c:pt>
                <c:pt idx="15">
                  <c:v>6.414980172607051e-05</c:v>
                </c:pt>
                <c:pt idx="16">
                  <c:v>6.414980172607051e-05</c:v>
                </c:pt>
                <c:pt idx="17">
                  <c:v>6.414980172607051e-05</c:v>
                </c:pt>
                <c:pt idx="18">
                  <c:v>6.414980172607051e-05</c:v>
                </c:pt>
                <c:pt idx="19">
                  <c:v>6.414980172607051e-05</c:v>
                </c:pt>
                <c:pt idx="20">
                  <c:v>0.00023318222687962066</c:v>
                </c:pt>
                <c:pt idx="21">
                  <c:v>0.0001588149121471418</c:v>
                </c:pt>
                <c:pt idx="22">
                  <c:v>6.414980172607051e-05</c:v>
                </c:pt>
                <c:pt idx="23">
                  <c:v>6.414980172607051e-05</c:v>
                </c:pt>
                <c:pt idx="24">
                  <c:v>0.00020753415593133967</c:v>
                </c:pt>
                <c:pt idx="25">
                  <c:v>6.414980172607051e-05</c:v>
                </c:pt>
                <c:pt idx="26">
                  <c:v>0.00013914433799323036</c:v>
                </c:pt>
                <c:pt idx="27">
                  <c:v>0.00017384555832160583</c:v>
                </c:pt>
                <c:pt idx="28">
                  <c:v>0.00019461943782567902</c:v>
                </c:pt>
                <c:pt idx="29">
                  <c:v>6.414980172607051e-05</c:v>
                </c:pt>
                <c:pt idx="30">
                  <c:v>6.414980172607051e-05</c:v>
                </c:pt>
                <c:pt idx="31">
                  <c:v>0.00026934948308423846</c:v>
                </c:pt>
                <c:pt idx="32">
                  <c:v>0.00024182730441787447</c:v>
                </c:pt>
                <c:pt idx="33">
                  <c:v>0.00023266080174837983</c:v>
                </c:pt>
                <c:pt idx="34">
                  <c:v>6.414980172607051e-05</c:v>
                </c:pt>
                <c:pt idx="35">
                  <c:v>6.414980172607051e-05</c:v>
                </c:pt>
                <c:pt idx="36">
                  <c:v>0.00023995319669979146</c:v>
                </c:pt>
                <c:pt idx="37">
                  <c:v>6.414980172607051e-05</c:v>
                </c:pt>
                <c:pt idx="38">
                  <c:v>0.00016688566635243468</c:v>
                </c:pt>
                <c:pt idx="39">
                  <c:v>0.00014462308031423912</c:v>
                </c:pt>
                <c:pt idx="40">
                  <c:v>0.00016054543903198457</c:v>
                </c:pt>
                <c:pt idx="41">
                  <c:v>0.00023390768793178182</c:v>
                </c:pt>
                <c:pt idx="42">
                  <c:v>0.00014003101311633084</c:v>
                </c:pt>
                <c:pt idx="43">
                  <c:v>0.00012599535642280935</c:v>
                </c:pt>
                <c:pt idx="44">
                  <c:v>0.00013349934418110135</c:v>
                </c:pt>
                <c:pt idx="45">
                  <c:v>0.00017346771402360523</c:v>
                </c:pt>
                <c:pt idx="46">
                  <c:v>0.0001471168526810431</c:v>
                </c:pt>
                <c:pt idx="47">
                  <c:v>0.00016371933113518963</c:v>
                </c:pt>
                <c:pt idx="48">
                  <c:v>6.414980172607051e-05</c:v>
                </c:pt>
                <c:pt idx="49">
                  <c:v>0.0001527467327212521</c:v>
                </c:pt>
                <c:pt idx="50">
                  <c:v>9.817090231804488e-05</c:v>
                </c:pt>
                <c:pt idx="51">
                  <c:v>9.454359705723909e-05</c:v>
                </c:pt>
                <c:pt idx="52">
                  <c:v>0.00011737446091962757</c:v>
                </c:pt>
                <c:pt idx="53">
                  <c:v>6.414980172607051e-05</c:v>
                </c:pt>
                <c:pt idx="54">
                  <c:v>6.414980172607051e-05</c:v>
                </c:pt>
                <c:pt idx="55">
                  <c:v>6.414980172607051e-05</c:v>
                </c:pt>
                <c:pt idx="56">
                  <c:v>6.414980172607051e-05</c:v>
                </c:pt>
                <c:pt idx="57">
                  <c:v>0.000254689124321815</c:v>
                </c:pt>
                <c:pt idx="58">
                  <c:v>0.0002051764075118159</c:v>
                </c:pt>
                <c:pt idx="59">
                  <c:v>0.00024282481336459607</c:v>
                </c:pt>
                <c:pt idx="60">
                  <c:v>6.414980172607051e-05</c:v>
                </c:pt>
                <c:pt idx="61">
                  <c:v>6.414980172607051e-05</c:v>
                </c:pt>
                <c:pt idx="62">
                  <c:v>6.414980172607051e-05</c:v>
                </c:pt>
                <c:pt idx="63">
                  <c:v>6.414980172607051e-05</c:v>
                </c:pt>
                <c:pt idx="64">
                  <c:v>6.414980172607051e-05</c:v>
                </c:pt>
                <c:pt idx="65">
                  <c:v>6.414980172607051e-05</c:v>
                </c:pt>
                <c:pt idx="66">
                  <c:v>6.414980172607051e-05</c:v>
                </c:pt>
                <c:pt idx="67">
                  <c:v>0.00013374872141778174</c:v>
                </c:pt>
                <c:pt idx="68">
                  <c:v>0.00027622624930784945</c:v>
                </c:pt>
                <c:pt idx="69">
                  <c:v>0.00036122485978701784</c:v>
                </c:pt>
                <c:pt idx="70">
                  <c:v>0.0010522048548973822</c:v>
                </c:pt>
                <c:pt idx="71">
                  <c:v>5.200202119591434e-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844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51265049729541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7</c:f>
              <c:numCache>
                <c:formatCode>General</c:formatCode>
                <c:ptCount val="66"/>
                <c:pt idx="0">
                  <c:v>0.5071582710641587</c:v>
                </c:pt>
                <c:pt idx="1">
                  <c:v>0.5739445921587571</c:v>
                </c:pt>
                <c:pt idx="2">
                  <c:v>1.3585501423195427</c:v>
                </c:pt>
                <c:pt idx="3">
                  <c:v>1.8840716302429925</c:v>
                </c:pt>
                <c:pt idx="4">
                  <c:v>1.1597627222713167</c:v>
                </c:pt>
                <c:pt idx="5">
                  <c:v>0.6065086411103211</c:v>
                </c:pt>
                <c:pt idx="6">
                  <c:v>1.33493985719449</c:v>
                </c:pt>
                <c:pt idx="7">
                  <c:v>1.1424309290916939</c:v>
                </c:pt>
                <c:pt idx="8">
                  <c:v>0.1572361710497458</c:v>
                </c:pt>
                <c:pt idx="9">
                  <c:v>3.555115346534653</c:v>
                </c:pt>
                <c:pt idx="10">
                  <c:v>0.7203599331488734</c:v>
                </c:pt>
                <c:pt idx="11">
                  <c:v>0.4819435148159293</c:v>
                </c:pt>
                <c:pt idx="12">
                  <c:v>0.8744278501850733</c:v>
                </c:pt>
                <c:pt idx="13">
                  <c:v>0.43869678592376643</c:v>
                </c:pt>
                <c:pt idx="14">
                  <c:v>1.186281553775976</c:v>
                </c:pt>
                <c:pt idx="15">
                  <c:v>0.8237409130719002</c:v>
                </c:pt>
                <c:pt idx="16">
                  <c:v>1.1762396655636993</c:v>
                </c:pt>
                <c:pt idx="17">
                  <c:v>0.6282469637329217</c:v>
                </c:pt>
                <c:pt idx="18">
                  <c:v>0.08696291746730477</c:v>
                </c:pt>
                <c:pt idx="19">
                  <c:v>1.0918559325478199</c:v>
                </c:pt>
                <c:pt idx="20">
                  <c:v>1.0618351750011896</c:v>
                </c:pt>
                <c:pt idx="21">
                  <c:v>1.3614504467424908</c:v>
                </c:pt>
                <c:pt idx="22">
                  <c:v>1.14037919315579</c:v>
                </c:pt>
                <c:pt idx="23">
                  <c:v>0.7628660828119546</c:v>
                </c:pt>
                <c:pt idx="24">
                  <c:v>1.215433825692832</c:v>
                </c:pt>
                <c:pt idx="25">
                  <c:v>1.731630011328372</c:v>
                </c:pt>
                <c:pt idx="26">
                  <c:v>0.6363221181850821</c:v>
                </c:pt>
                <c:pt idx="27">
                  <c:v>0.38293867506080986</c:v>
                </c:pt>
                <c:pt idx="28">
                  <c:v>0.6405511636317215</c:v>
                </c:pt>
                <c:pt idx="29">
                  <c:v>0.6104183372238755</c:v>
                </c:pt>
                <c:pt idx="30">
                  <c:v>0.826687223489573</c:v>
                </c:pt>
                <c:pt idx="31">
                  <c:v>0.4474106323142455</c:v>
                </c:pt>
                <c:pt idx="32">
                  <c:v>0.8458970675103747</c:v>
                </c:pt>
                <c:pt idx="33">
                  <c:v>0.7157944568268234</c:v>
                </c:pt>
                <c:pt idx="34">
                  <c:v>0.6141526268439195</c:v>
                </c:pt>
                <c:pt idx="35">
                  <c:v>0.569276432917999</c:v>
                </c:pt>
                <c:pt idx="36">
                  <c:v>0.7953713304015829</c:v>
                </c:pt>
                <c:pt idx="37">
                  <c:v>3.852141143206809</c:v>
                </c:pt>
                <c:pt idx="38">
                  <c:v>0.7797992983151094</c:v>
                </c:pt>
                <c:pt idx="39">
                  <c:v>2.8347068891345493</c:v>
                </c:pt>
                <c:pt idx="40">
                  <c:v>1.3467134977917805</c:v>
                </c:pt>
                <c:pt idx="41">
                  <c:v>0.8284723925182129</c:v>
                </c:pt>
                <c:pt idx="42">
                  <c:v>1.0895503146228591</c:v>
                </c:pt>
                <c:pt idx="43">
                  <c:v>0.49561791937871635</c:v>
                </c:pt>
                <c:pt idx="44">
                  <c:v>0.8311626864684943</c:v>
                </c:pt>
                <c:pt idx="45">
                  <c:v>0.7512912433151238</c:v>
                </c:pt>
                <c:pt idx="46">
                  <c:v>0.3186403342534174</c:v>
                </c:pt>
                <c:pt idx="47">
                  <c:v>0.8103443189056</c:v>
                </c:pt>
                <c:pt idx="48">
                  <c:v>0.44150229784845785</c:v>
                </c:pt>
                <c:pt idx="49">
                  <c:v>1.5879683336261432</c:v>
                </c:pt>
                <c:pt idx="50">
                  <c:v>0.7523819931616583</c:v>
                </c:pt>
                <c:pt idx="51">
                  <c:v>0.9468160349091951</c:v>
                </c:pt>
                <c:pt idx="52">
                  <c:v>0.7373960859881613</c:v>
                </c:pt>
                <c:pt idx="53">
                  <c:v>0.5941407507521668</c:v>
                </c:pt>
                <c:pt idx="54">
                  <c:v>0.8482298359089759</c:v>
                </c:pt>
                <c:pt idx="55">
                  <c:v>1.0729827173156528</c:v>
                </c:pt>
                <c:pt idx="56">
                  <c:v>0.785904152616578</c:v>
                </c:pt>
                <c:pt idx="57">
                  <c:v>0.8441600639157039</c:v>
                </c:pt>
                <c:pt idx="58">
                  <c:v>0.6639918001904691</c:v>
                </c:pt>
                <c:pt idx="59">
                  <c:v>1.092483615992633</c:v>
                </c:pt>
                <c:pt idx="60">
                  <c:v>0.8083784987123908</c:v>
                </c:pt>
                <c:pt idx="61">
                  <c:v>0.4344497095552685</c:v>
                </c:pt>
                <c:pt idx="62">
                  <c:v>0.7930069995522907</c:v>
                </c:pt>
                <c:pt idx="63">
                  <c:v>0.5688565887541087</c:v>
                </c:pt>
                <c:pt idx="64">
                  <c:v>1.0290618534819296</c:v>
                </c:pt>
                <c:pt idx="65">
                  <c:v>1.1762948209203918</c:v>
                </c:pt>
              </c:numCache>
            </c:numRef>
          </c:xVal>
          <c:yVal>
            <c:numRef>
              <c:f>Sheet1!$B$2:$B$67</c:f>
              <c:numCache>
                <c:formatCode>General</c:formatCode>
                <c:ptCount val="66"/>
                <c:pt idx="0">
                  <c:v>0.01330671989354624</c:v>
                </c:pt>
                <c:pt idx="1">
                  <c:v>0.011824324324324325</c:v>
                </c:pt>
                <c:pt idx="2">
                  <c:v>0.23372781065088757</c:v>
                </c:pt>
                <c:pt idx="3">
                  <c:v>0.05628517823639775</c:v>
                </c:pt>
                <c:pt idx="4">
                  <c:v>0.20408163265306123</c:v>
                </c:pt>
                <c:pt idx="5">
                  <c:v>0.046583850931677016</c:v>
                </c:pt>
                <c:pt idx="6">
                  <c:v>0.0472972972972973</c:v>
                </c:pt>
                <c:pt idx="7">
                  <c:v>0.057803468208092484</c:v>
                </c:pt>
                <c:pt idx="8">
                  <c:v>0.7692307692307693</c:v>
                </c:pt>
                <c:pt idx="9">
                  <c:v>0.06342494714587738</c:v>
                </c:pt>
                <c:pt idx="10">
                  <c:v>0.04032258064516129</c:v>
                </c:pt>
                <c:pt idx="11">
                  <c:v>0.30078125</c:v>
                </c:pt>
                <c:pt idx="12">
                  <c:v>0.1978021978021978</c:v>
                </c:pt>
                <c:pt idx="13">
                  <c:v>0.12</c:v>
                </c:pt>
                <c:pt idx="14">
                  <c:v>0.2503871966959215</c:v>
                </c:pt>
                <c:pt idx="15">
                  <c:v>0.09417040358744394</c:v>
                </c:pt>
                <c:pt idx="16">
                  <c:v>0.027649769585253458</c:v>
                </c:pt>
                <c:pt idx="17">
                  <c:v>0.016203703703703703</c:v>
                </c:pt>
                <c:pt idx="18">
                  <c:v>0.09876543209876543</c:v>
                </c:pt>
                <c:pt idx="19">
                  <c:v>0.029723991507430998</c:v>
                </c:pt>
                <c:pt idx="20">
                  <c:v>0.00392156862745098</c:v>
                </c:pt>
                <c:pt idx="21">
                  <c:v>0.06790123456790123</c:v>
                </c:pt>
                <c:pt idx="22">
                  <c:v>0.04994192799070848</c:v>
                </c:pt>
                <c:pt idx="23">
                  <c:v>0.0863905325443787</c:v>
                </c:pt>
                <c:pt idx="24">
                  <c:v>0.0254841997961264</c:v>
                </c:pt>
                <c:pt idx="25">
                  <c:v>0.00949367088607595</c:v>
                </c:pt>
                <c:pt idx="26">
                  <c:v>0.07239819004524888</c:v>
                </c:pt>
                <c:pt idx="27">
                  <c:v>0.059961315280464215</c:v>
                </c:pt>
                <c:pt idx="28">
                  <c:v>0.00909090909090909</c:v>
                </c:pt>
                <c:pt idx="29">
                  <c:v>0.1600633914421553</c:v>
                </c:pt>
                <c:pt idx="30">
                  <c:v>0.04914744232698094</c:v>
                </c:pt>
                <c:pt idx="31">
                  <c:v>0.052489905787348586</c:v>
                </c:pt>
                <c:pt idx="32">
                  <c:v>0.006517690875232775</c:v>
                </c:pt>
                <c:pt idx="33">
                  <c:v>0.035246727089627394</c:v>
                </c:pt>
                <c:pt idx="34">
                  <c:v>0.19066666666666668</c:v>
                </c:pt>
                <c:pt idx="35">
                  <c:v>0.23780487804878048</c:v>
                </c:pt>
                <c:pt idx="36">
                  <c:v>0.026272577996715927</c:v>
                </c:pt>
                <c:pt idx="37">
                  <c:v>0.00228310502283105</c:v>
                </c:pt>
                <c:pt idx="38">
                  <c:v>0.07785888077858881</c:v>
                </c:pt>
                <c:pt idx="39">
                  <c:v>0.0016339869281045752</c:v>
                </c:pt>
                <c:pt idx="40">
                  <c:v>0.009510869565217392</c:v>
                </c:pt>
                <c:pt idx="41">
                  <c:v>0.01437125748502994</c:v>
                </c:pt>
                <c:pt idx="42">
                  <c:v>0.08888888888888889</c:v>
                </c:pt>
                <c:pt idx="43">
                  <c:v>0.11895910780669144</c:v>
                </c:pt>
                <c:pt idx="44">
                  <c:v>0.0730050933786078</c:v>
                </c:pt>
                <c:pt idx="45">
                  <c:v>0.02881844380403458</c:v>
                </c:pt>
                <c:pt idx="46">
                  <c:v>0.07571801566579635</c:v>
                </c:pt>
                <c:pt idx="47">
                  <c:v>0.008915304606240713</c:v>
                </c:pt>
                <c:pt idx="48">
                  <c:v>0.016361886429258902</c:v>
                </c:pt>
                <c:pt idx="49">
                  <c:v>0.022494887525562373</c:v>
                </c:pt>
                <c:pt idx="50">
                  <c:v>0.02666666666666667</c:v>
                </c:pt>
                <c:pt idx="51">
                  <c:v>0.00975609756097561</c:v>
                </c:pt>
                <c:pt idx="52">
                  <c:v>0.2540045766590389</c:v>
                </c:pt>
                <c:pt idx="53">
                  <c:v>0.002621231979030144</c:v>
                </c:pt>
                <c:pt idx="54">
                  <c:v>0.15236686390532544</c:v>
                </c:pt>
                <c:pt idx="55">
                  <c:v>0.42081447963800905</c:v>
                </c:pt>
                <c:pt idx="56">
                  <c:v>0.030211480362537766</c:v>
                </c:pt>
                <c:pt idx="57">
                  <c:v>0.13602941176470587</c:v>
                </c:pt>
                <c:pt idx="58">
                  <c:v>0.008438818565400843</c:v>
                </c:pt>
                <c:pt idx="59">
                  <c:v>0.04391891891891892</c:v>
                </c:pt>
                <c:pt idx="60">
                  <c:v>0.026905829596412557</c:v>
                </c:pt>
                <c:pt idx="61">
                  <c:v>0.09256449165402124</c:v>
                </c:pt>
                <c:pt idx="62">
                  <c:v>0.025252525252525252</c:v>
                </c:pt>
                <c:pt idx="63">
                  <c:v>0.2010928961748634</c:v>
                </c:pt>
                <c:pt idx="64">
                  <c:v>0.05411255411255411</c:v>
                </c:pt>
                <c:pt idx="65">
                  <c:v>0.02278481012658228</c:v>
                </c:pt>
              </c:numCache>
            </c:numRef>
          </c:yVal>
          <c:smooth val="0"/>
          <c:extLst>
            <c:ext xmlns:c16="http://schemas.microsoft.com/office/drawing/2014/chart" uri="{C3380CC4-5D6E-409C-BE32-E72D297353CC}">
              <c16:uniqueId val="{00000000-096C-4121-9522-6AB7243CCAAE}"/>
            </c:ext>
          </c:extLst>
        </c:ser>
        <c:ser>
          <c:idx val="1"/>
          <c:order val="1"/>
          <c:tx>
            <c:strRef>
              <c:f>Sheet1!$B$6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0:$A$97</c:f>
              <c:numCache>
                <c:formatCode>General</c:formatCode>
                <c:ptCount val="28"/>
                <c:pt idx="0">
                  <c:v>0.5062190665323414</c:v>
                </c:pt>
                <c:pt idx="1">
                  <c:v>1.1250381846931512</c:v>
                </c:pt>
                <c:pt idx="2">
                  <c:v>0.5743411812804949</c:v>
                </c:pt>
                <c:pt idx="3">
                  <c:v>0.5894957036065545</c:v>
                </c:pt>
                <c:pt idx="4">
                  <c:v>0.5955250007772035</c:v>
                </c:pt>
                <c:pt idx="5">
                  <c:v>0.5088805722851449</c:v>
                </c:pt>
                <c:pt idx="6">
                  <c:v>0.5173892295043354</c:v>
                </c:pt>
                <c:pt idx="7">
                  <c:v>0.26116290404040404</c:v>
                </c:pt>
                <c:pt idx="8">
                  <c:v>0.8520012462323313</c:v>
                </c:pt>
                <c:pt idx="9">
                  <c:v>0.7015888795207962</c:v>
                </c:pt>
                <c:pt idx="10">
                  <c:v>0.46443640898614647</c:v>
                </c:pt>
                <c:pt idx="11">
                  <c:v>0.4610301812175941</c:v>
                </c:pt>
                <c:pt idx="12">
                  <c:v>0.59934849809264</c:v>
                </c:pt>
                <c:pt idx="13">
                  <c:v>0.7200037725817506</c:v>
                </c:pt>
                <c:pt idx="14">
                  <c:v>0.8354192117059582</c:v>
                </c:pt>
                <c:pt idx="15">
                  <c:v>0.49117602287367507</c:v>
                </c:pt>
                <c:pt idx="16">
                  <c:v>0.5790584309155461</c:v>
                </c:pt>
                <c:pt idx="17">
                  <c:v>0.7982730129368906</c:v>
                </c:pt>
                <c:pt idx="18">
                  <c:v>0.4945246699621219</c:v>
                </c:pt>
                <c:pt idx="19">
                  <c:v>0.7273594435149309</c:v>
                </c:pt>
                <c:pt idx="20">
                  <c:v>0.8849279927400899</c:v>
                </c:pt>
                <c:pt idx="21">
                  <c:v>0.7597088582149558</c:v>
                </c:pt>
                <c:pt idx="22">
                  <c:v>0.7142909976278693</c:v>
                </c:pt>
                <c:pt idx="23">
                  <c:v>0.3245592763301997</c:v>
                </c:pt>
                <c:pt idx="24">
                  <c:v>0.7178989459564737</c:v>
                </c:pt>
                <c:pt idx="25">
                  <c:v>0.6795692287496449</c:v>
                </c:pt>
                <c:pt idx="26">
                  <c:v>0.799673802064837</c:v>
                </c:pt>
                <c:pt idx="27">
                  <c:v>0.6308031786311622</c:v>
                </c:pt>
              </c:numCache>
            </c:numRef>
          </c:xVal>
          <c:yVal>
            <c:numRef>
              <c:f>Sheet1!$B$70:$B$97</c:f>
              <c:numCache>
                <c:formatCode>General</c:formatCode>
                <c:ptCount val="28"/>
                <c:pt idx="0">
                  <c:v>0.08333333333333333</c:v>
                </c:pt>
                <c:pt idx="1">
                  <c:v>0.21608040201005024</c:v>
                </c:pt>
                <c:pt idx="2">
                  <c:v>0.024714828897338403</c:v>
                </c:pt>
                <c:pt idx="3">
                  <c:v>0.18594687232219365</c:v>
                </c:pt>
                <c:pt idx="4">
                  <c:v>0.006896551724137931</c:v>
                </c:pt>
                <c:pt idx="5">
                  <c:v>0.013333333333333334</c:v>
                </c:pt>
                <c:pt idx="6">
                  <c:v>0.013015184381778741</c:v>
                </c:pt>
                <c:pt idx="7">
                  <c:v>0.21666666666666667</c:v>
                </c:pt>
                <c:pt idx="8">
                  <c:v>0.020761245674740483</c:v>
                </c:pt>
                <c:pt idx="9">
                  <c:v>0.0380952380952381</c:v>
                </c:pt>
                <c:pt idx="10">
                  <c:v>0.06153846153846154</c:v>
                </c:pt>
                <c:pt idx="11">
                  <c:v>0.09719934102141681</c:v>
                </c:pt>
                <c:pt idx="12">
                  <c:v>0.1332518337408313</c:v>
                </c:pt>
                <c:pt idx="13">
                  <c:v>0.01090909090909091</c:v>
                </c:pt>
                <c:pt idx="14">
                  <c:v>0.03783102143757881</c:v>
                </c:pt>
                <c:pt idx="15">
                  <c:v>0.04588607594936709</c:v>
                </c:pt>
                <c:pt idx="16">
                  <c:v>0.0681265206812652</c:v>
                </c:pt>
                <c:pt idx="17">
                  <c:v>0.24915824915824916</c:v>
                </c:pt>
                <c:pt idx="18">
                  <c:v>0.026128266033254157</c:v>
                </c:pt>
                <c:pt idx="19">
                  <c:v>0.12180746561886051</c:v>
                </c:pt>
                <c:pt idx="20">
                  <c:v>0.02127659574468085</c:v>
                </c:pt>
                <c:pt idx="21">
                  <c:v>0.10401459854014598</c:v>
                </c:pt>
                <c:pt idx="22">
                  <c:v>0.04664723032069971</c:v>
                </c:pt>
                <c:pt idx="23">
                  <c:v>0.22491349480968859</c:v>
                </c:pt>
                <c:pt idx="24">
                  <c:v>0.16913319238900634</c:v>
                </c:pt>
                <c:pt idx="25">
                  <c:v>0.01870503597122302</c:v>
                </c:pt>
                <c:pt idx="26">
                  <c:v>0.04660194174757282</c:v>
                </c:pt>
                <c:pt idx="27">
                  <c:v>0.1286549707602339</c:v>
                </c:pt>
              </c:numCache>
            </c:numRef>
          </c:yVal>
          <c:smooth val="0"/>
          <c:extLst>
            <c:ext xmlns:c16="http://schemas.microsoft.com/office/drawing/2014/chart" uri="{C3380CC4-5D6E-409C-BE32-E72D297353CC}">
              <c16:uniqueId val="{00000002-096C-4121-9522-6AB7243CCAAE}"/>
            </c:ext>
          </c:extLst>
        </c:ser>
        <c:ser>
          <c:idx val="2"/>
          <c:order val="2"/>
          <c:tx>
            <c:strRef>
              <c:f>Sheet1!$B$9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0:$A$101</c:f>
              <c:numCache>
                <c:formatCode>General</c:formatCode>
                <c:ptCount val="2"/>
                <c:pt idx="0">
                  <c:v>0</c:v>
                </c:pt>
                <c:pt idx="1">
                  <c:v>-8.662692382419161</c:v>
                </c:pt>
              </c:numCache>
            </c:numRef>
          </c:xVal>
          <c:yVal>
            <c:numRef>
              <c:f>Sheet1!$B$100:$B$101</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5-096C-4121-9522-6AB7243CCAAE}"/>
            </c:ext>
          </c:extLst>
        </c:ser>
        <c:ser>
          <c:idx val="3"/>
          <c:order val="3"/>
          <c:tx>
            <c:strRef>
              <c:f>Sheet1!$B$10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4:$A$105</c:f>
              <c:numCache>
                <c:formatCode>General</c:formatCode>
                <c:ptCount val="2"/>
                <c:pt idx="0">
                  <c:v>-8.662692382419161</c:v>
                </c:pt>
                <c:pt idx="1">
                  <c:v>-8.662692382419161</c:v>
                </c:pt>
              </c:numCache>
            </c:numRef>
          </c:xVal>
          <c:yVal>
            <c:numRef>
              <c:f>Sheet1!$B$104:$B$105</c:f>
              <c:numCache>
                <c:formatCode>General</c:formatCode>
                <c:ptCount val="2"/>
                <c:pt idx="0">
                  <c:v>0.2491582491582491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08:$A$109</c:f>
              <c:numCache>
                <c:formatCode>General</c:formatCode>
                <c:ptCount val="2"/>
                <c:pt idx="0">
                  <c:v>0</c:v>
                </c:pt>
                <c:pt idx="1">
                  <c:v>-8.662692382419161</c:v>
                </c:pt>
              </c:numCache>
            </c:numRef>
          </c:xVal>
          <c:yVal>
            <c:numRef>
              <c:f>Sheet1!$B$108:$B$109</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D-096C-4121-9522-6AB7243CCAAE}"/>
            </c:ext>
          </c:extLst>
        </c:ser>
        <c:ser>
          <c:idx val="5"/>
          <c:order val="5"/>
          <c:tx>
            <c:strRef>
              <c:f>Sheet1!$B$11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2:$A$113</c:f>
              <c:numCache>
                <c:formatCode>General</c:formatCode>
                <c:ptCount val="2"/>
                <c:pt idx="0">
                  <c:v>-8.662692382419161</c:v>
                </c:pt>
                <c:pt idx="1">
                  <c:v>-8.662692382419161</c:v>
                </c:pt>
              </c:numCache>
            </c:numRef>
          </c:xVal>
          <c:yVal>
            <c:numRef>
              <c:f>Sheet1!$B$112:$B$113</c:f>
              <c:numCache>
                <c:formatCode>General</c:formatCode>
                <c:ptCount val="2"/>
                <c:pt idx="0">
                  <c:v>0.2491582491582491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6:$A$117</c:f>
              <c:numCache>
                <c:formatCode>General</c:formatCode>
                <c:ptCount val="2"/>
                <c:pt idx="0">
                  <c:v>0</c:v>
                </c:pt>
                <c:pt idx="1">
                  <c:v>0.1707688049787331</c:v>
                </c:pt>
              </c:numCache>
            </c:numRef>
          </c:xVal>
          <c:yVal>
            <c:numRef>
              <c:f>Sheet1!$B$116:$B$117</c:f>
              <c:numCache>
                <c:formatCode>General</c:formatCode>
                <c:ptCount val="2"/>
                <c:pt idx="0">
                  <c:v>0.0949933825354064</c:v>
                </c:pt>
                <c:pt idx="1">
                  <c:v>0.0949933825354064</c:v>
                </c:pt>
              </c:numCache>
            </c:numRef>
          </c:yVal>
          <c:smooth val="0"/>
          <c:extLst>
            <c:ext xmlns:c16="http://schemas.microsoft.com/office/drawing/2014/chart" uri="{C3380CC4-5D6E-409C-BE32-E72D297353CC}">
              <c16:uniqueId val="{00000015-096C-4121-9522-6AB7243CCAAE}"/>
            </c:ext>
          </c:extLst>
        </c:ser>
        <c:ser>
          <c:idx val="7"/>
          <c:order val="7"/>
          <c:tx>
            <c:strRef>
              <c:f>Sheet1!$B$11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0.1707688049787331</c:v>
                </c:pt>
                <c:pt idx="1">
                  <c:v>0.1707688049787331</c:v>
                </c:pt>
              </c:numCache>
            </c:numRef>
          </c:xVal>
          <c:yVal>
            <c:numRef>
              <c:f>Sheet1!$B$120:$B$121</c:f>
              <c:numCache>
                <c:formatCode>General</c:formatCode>
                <c:ptCount val="2"/>
                <c:pt idx="0">
                  <c:v>0.09499338253540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4:$A$154</c:f>
              <c:numCache>
                <c:formatCode>General</c:formatCode>
                <c:ptCount val="31"/>
                <c:pt idx="0">
                  <c:v>0.5062190665323414</c:v>
                </c:pt>
                <c:pt idx="1">
                  <c:v>1.1250381846931512</c:v>
                </c:pt>
                <c:pt idx="2">
                  <c:v>0.5743411812804949</c:v>
                </c:pt>
                <c:pt idx="3">
                  <c:v>0.5894957036065545</c:v>
                </c:pt>
                <c:pt idx="4">
                  <c:v>0.5955250007772035</c:v>
                </c:pt>
                <c:pt idx="5">
                  <c:v>0.5088805722851449</c:v>
                </c:pt>
                <c:pt idx="6">
                  <c:v>0.5173892295043354</c:v>
                </c:pt>
                <c:pt idx="7">
                  <c:v>0.26116290404040404</c:v>
                </c:pt>
                <c:pt idx="8">
                  <c:v>0.8520012462323313</c:v>
                </c:pt>
                <c:pt idx="9">
                  <c:v>0.7015888795207962</c:v>
                </c:pt>
                <c:pt idx="10">
                  <c:v>0.46443640898614647</c:v>
                </c:pt>
                <c:pt idx="11">
                  <c:v>0.4610301812175941</c:v>
                </c:pt>
                <c:pt idx="12">
                  <c:v>0.59934849809264</c:v>
                </c:pt>
                <c:pt idx="13">
                  <c:v>0.7200037725817506</c:v>
                </c:pt>
                <c:pt idx="14">
                  <c:v>0.8354192117059582</c:v>
                </c:pt>
                <c:pt idx="15">
                  <c:v>0.49117602287367507</c:v>
                </c:pt>
                <c:pt idx="16">
                  <c:v>0.5790584309155461</c:v>
                </c:pt>
                <c:pt idx="17">
                  <c:v>0.7982730129368906</c:v>
                </c:pt>
                <c:pt idx="18">
                  <c:v>0.4945246699621219</c:v>
                </c:pt>
                <c:pt idx="19">
                  <c:v>0.7273594435149309</c:v>
                </c:pt>
                <c:pt idx="20">
                  <c:v>0.8849279927400899</c:v>
                </c:pt>
                <c:pt idx="21">
                  <c:v>0.7597088582149558</c:v>
                </c:pt>
                <c:pt idx="22">
                  <c:v>0.7142909976278693</c:v>
                </c:pt>
                <c:pt idx="23">
                  <c:v>0.3245592763301997</c:v>
                </c:pt>
                <c:pt idx="24">
                  <c:v>0.7178989459564737</c:v>
                </c:pt>
                <c:pt idx="25">
                  <c:v>0.6795692287496449</c:v>
                </c:pt>
                <c:pt idx="26">
                  <c:v>0.799673802064837</c:v>
                </c:pt>
                <c:pt idx="27">
                  <c:v>0.6308031786311622</c:v>
                </c:pt>
                <c:pt idx="28">
                  <c:v>-8.662692382419161</c:v>
                </c:pt>
                <c:pt idx="29">
                  <c:v>-8.662692382419161</c:v>
                </c:pt>
                <c:pt idx="30">
                  <c:v>0.1707688049787331</c:v>
                </c:pt>
              </c:numCache>
            </c:numRef>
          </c:xVal>
          <c:yVal>
            <c:numRef>
              <c:f>Sheet1!$B$124:$B$154</c:f>
              <c:numCache>
                <c:formatCode>General</c:formatCode>
                <c:ptCount val="31"/>
                <c:pt idx="0">
                  <c:v>0.08913897917822773</c:v>
                </c:pt>
                <c:pt idx="1">
                  <c:v>0.07833911661121634</c:v>
                </c:pt>
                <c:pt idx="2">
                  <c:v>0.08795008656734518</c:v>
                </c:pt>
                <c:pt idx="3">
                  <c:v>0.08768560417889446</c:v>
                </c:pt>
                <c:pt idx="4">
                  <c:v>0.08758037863089876</c:v>
                </c:pt>
                <c:pt idx="5">
                  <c:v>0.08909252958494913</c:v>
                </c:pt>
                <c:pt idx="6">
                  <c:v>0.08894403331859237</c:v>
                </c:pt>
                <c:pt idx="7">
                  <c:v>0.09341579092893447</c:v>
                </c:pt>
                <c:pt idx="8">
                  <c:v>0.08310425932344928</c:v>
                </c:pt>
                <c:pt idx="9">
                  <c:v>0.08572931217199649</c:v>
                </c:pt>
                <c:pt idx="10">
                  <c:v>0.08986818573623542</c:v>
                </c:pt>
                <c:pt idx="11">
                  <c:v>0.08992763249651271</c:v>
                </c:pt>
                <c:pt idx="12">
                  <c:v>0.08751364952651236</c:v>
                </c:pt>
                <c:pt idx="13">
                  <c:v>0.08540792857474175</c:v>
                </c:pt>
                <c:pt idx="14">
                  <c:v>0.08339365518842923</c:v>
                </c:pt>
                <c:pt idx="15">
                  <c:v>0.08940151599930397</c:v>
                </c:pt>
                <c:pt idx="16">
                  <c:v>0.08786775936338896</c:v>
                </c:pt>
                <c:pt idx="17">
                  <c:v>0.0840419445347331</c:v>
                </c:pt>
                <c:pt idx="18">
                  <c:v>0.08934307415857977</c:v>
                </c:pt>
                <c:pt idx="19">
                  <c:v>0.08527955465603897</c:v>
                </c:pt>
                <c:pt idx="20">
                  <c:v>0.08252960943525658</c:v>
                </c:pt>
                <c:pt idx="21">
                  <c:v>0.08471498057836359</c:v>
                </c:pt>
                <c:pt idx="22">
                  <c:v>0.08550763005869325</c:v>
                </c:pt>
                <c:pt idx="23">
                  <c:v>0.09230937374193515</c:v>
                </c:pt>
                <c:pt idx="24">
                  <c:v>0.08544466279579804</c:v>
                </c:pt>
                <c:pt idx="25">
                  <c:v>0.0861136073482813</c:v>
                </c:pt>
                <c:pt idx="26">
                  <c:v>0.08401749743925205</c:v>
                </c:pt>
                <c:pt idx="27">
                  <c:v>0.08696469068387847</c:v>
                </c:pt>
                <c:pt idx="28">
                  <c:v>0.2491582491582492</c:v>
                </c:pt>
                <c:pt idx="29">
                  <c:v>0.2491582491582492</c:v>
                </c:pt>
                <c:pt idx="30">
                  <c:v>0.094993382535406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30769230769231"/>
          <c:min val="0.001307189542483660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7</c:f>
              <c:numCache>
                <c:formatCode>General</c:formatCode>
                <c:ptCount val="66"/>
                <c:pt idx="0">
                  <c:v>629.85</c:v>
                </c:pt>
                <c:pt idx="1">
                  <c:v>599.8571</c:v>
                </c:pt>
                <c:pt idx="2">
                  <c:v>1419.8861</c:v>
                </c:pt>
                <c:pt idx="3">
                  <c:v>1810.5333</c:v>
                </c:pt>
                <c:pt idx="4">
                  <c:v>1305.5667</c:v>
                </c:pt>
                <c:pt idx="5">
                  <c:v>703.6</c:v>
                </c:pt>
                <c:pt idx="6">
                  <c:v>1517.2857</c:v>
                </c:pt>
                <c:pt idx="7">
                  <c:v>1697.7</c:v>
                </c:pt>
                <c:pt idx="8">
                  <c:v>718.15</c:v>
                </c:pt>
                <c:pt idx="9">
                  <c:v>718.1333</c:v>
                </c:pt>
                <c:pt idx="10">
                  <c:v>714.0333</c:v>
                </c:pt>
                <c:pt idx="11">
                  <c:v>678.1299</c:v>
                </c:pt>
                <c:pt idx="12">
                  <c:v>925.4167</c:v>
                </c:pt>
                <c:pt idx="13">
                  <c:v>925.4167</c:v>
                </c:pt>
                <c:pt idx="14">
                  <c:v>1304.3588</c:v>
                </c:pt>
                <c:pt idx="15">
                  <c:v>1108.1429</c:v>
                </c:pt>
                <c:pt idx="16">
                  <c:v>1524.5</c:v>
                </c:pt>
                <c:pt idx="17">
                  <c:v>1269.0</c:v>
                </c:pt>
                <c:pt idx="18">
                  <c:v>146.375</c:v>
                </c:pt>
                <c:pt idx="19">
                  <c:v>1773.0714</c:v>
                </c:pt>
                <c:pt idx="20">
                  <c:v>3436.5</c:v>
                </c:pt>
                <c:pt idx="21">
                  <c:v>1666.8182</c:v>
                </c:pt>
                <c:pt idx="22">
                  <c:v>1546.7093</c:v>
                </c:pt>
                <c:pt idx="23">
                  <c:v>1180.3151</c:v>
                </c:pt>
                <c:pt idx="24">
                  <c:v>1639.58</c:v>
                </c:pt>
                <c:pt idx="25">
                  <c:v>2228.6667</c:v>
                </c:pt>
                <c:pt idx="26">
                  <c:v>800.7321</c:v>
                </c:pt>
                <c:pt idx="27">
                  <c:v>1505.4516</c:v>
                </c:pt>
                <c:pt idx="28">
                  <c:v>984.4545</c:v>
                </c:pt>
                <c:pt idx="29">
                  <c:v>873.5297</c:v>
                </c:pt>
                <c:pt idx="30">
                  <c:v>1894.9184</c:v>
                </c:pt>
                <c:pt idx="31">
                  <c:v>1117.3077</c:v>
                </c:pt>
                <c:pt idx="32">
                  <c:v>1129.8571</c:v>
                </c:pt>
                <c:pt idx="33">
                  <c:v>1160.4857</c:v>
                </c:pt>
                <c:pt idx="34">
                  <c:v>1310.4895</c:v>
                </c:pt>
                <c:pt idx="35">
                  <c:v>1116.6154</c:v>
                </c:pt>
                <c:pt idx="36">
                  <c:v>1335.625</c:v>
                </c:pt>
                <c:pt idx="37">
                  <c:v>7344.0</c:v>
                </c:pt>
                <c:pt idx="38">
                  <c:v>1130.75</c:v>
                </c:pt>
                <c:pt idx="39">
                  <c:v>7044.0</c:v>
                </c:pt>
                <c:pt idx="40">
                  <c:v>2083.1429</c:v>
                </c:pt>
                <c:pt idx="41">
                  <c:v>1374.3333</c:v>
                </c:pt>
                <c:pt idx="42">
                  <c:v>1366.5833</c:v>
                </c:pt>
                <c:pt idx="43">
                  <c:v>1101.4063</c:v>
                </c:pt>
                <c:pt idx="44">
                  <c:v>1129.0233</c:v>
                </c:pt>
                <c:pt idx="45">
                  <c:v>1097.4</c:v>
                </c:pt>
                <c:pt idx="46">
                  <c:v>1128.2069</c:v>
                </c:pt>
                <c:pt idx="47">
                  <c:v>1214.0</c:v>
                </c:pt>
                <c:pt idx="48">
                  <c:v>1160.4706</c:v>
                </c:pt>
                <c:pt idx="49">
                  <c:v>2249.7273</c:v>
                </c:pt>
                <c:pt idx="50">
                  <c:v>1615.8571</c:v>
                </c:pt>
                <c:pt idx="51">
                  <c:v>4285.75</c:v>
                </c:pt>
                <c:pt idx="52">
                  <c:v>1443.1216</c:v>
                </c:pt>
                <c:pt idx="53">
                  <c:v>2792.0</c:v>
                </c:pt>
                <c:pt idx="54">
                  <c:v>1790.6796</c:v>
                </c:pt>
                <c:pt idx="55">
                  <c:v>1830.7097</c:v>
                </c:pt>
                <c:pt idx="56">
                  <c:v>1145.8</c:v>
                </c:pt>
                <c:pt idx="57">
                  <c:v>1147.036</c:v>
                </c:pt>
                <c:pt idx="58">
                  <c:v>1141.8333</c:v>
                </c:pt>
                <c:pt idx="59">
                  <c:v>1423.6154</c:v>
                </c:pt>
                <c:pt idx="60">
                  <c:v>1112.6111</c:v>
                </c:pt>
                <c:pt idx="61">
                  <c:v>597.5082</c:v>
                </c:pt>
                <c:pt idx="62">
                  <c:v>1016.7</c:v>
                </c:pt>
                <c:pt idx="63">
                  <c:v>796.3098</c:v>
                </c:pt>
                <c:pt idx="64">
                  <c:v>1397.76</c:v>
                </c:pt>
                <c:pt idx="65">
                  <c:v>1729.2222</c:v>
                </c:pt>
              </c:numCache>
            </c:numRef>
          </c:xVal>
          <c:yVal>
            <c:numRef>
              <c:f>Sheet1!$B$2:$B$67</c:f>
              <c:numCache>
                <c:formatCode>General</c:formatCode>
                <c:ptCount val="66"/>
                <c:pt idx="0">
                  <c:v>0.01330671989354624</c:v>
                </c:pt>
                <c:pt idx="1">
                  <c:v>0.011824324324324325</c:v>
                </c:pt>
                <c:pt idx="2">
                  <c:v>0.23372781065088757</c:v>
                </c:pt>
                <c:pt idx="3">
                  <c:v>0.05628517823639775</c:v>
                </c:pt>
                <c:pt idx="4">
                  <c:v>0.20408163265306123</c:v>
                </c:pt>
                <c:pt idx="5">
                  <c:v>0.046583850931677016</c:v>
                </c:pt>
                <c:pt idx="6">
                  <c:v>0.0472972972972973</c:v>
                </c:pt>
                <c:pt idx="7">
                  <c:v>0.057803468208092484</c:v>
                </c:pt>
                <c:pt idx="8">
                  <c:v>0.7692307692307693</c:v>
                </c:pt>
                <c:pt idx="9">
                  <c:v>0.06342494714587738</c:v>
                </c:pt>
                <c:pt idx="10">
                  <c:v>0.04032258064516129</c:v>
                </c:pt>
                <c:pt idx="11">
                  <c:v>0.30078125</c:v>
                </c:pt>
                <c:pt idx="12">
                  <c:v>0.1978021978021978</c:v>
                </c:pt>
                <c:pt idx="13">
                  <c:v>0.12</c:v>
                </c:pt>
                <c:pt idx="14">
                  <c:v>0.2503871966959215</c:v>
                </c:pt>
                <c:pt idx="15">
                  <c:v>0.09417040358744394</c:v>
                </c:pt>
                <c:pt idx="16">
                  <c:v>0.027649769585253458</c:v>
                </c:pt>
                <c:pt idx="17">
                  <c:v>0.016203703703703703</c:v>
                </c:pt>
                <c:pt idx="18">
                  <c:v>0.09876543209876543</c:v>
                </c:pt>
                <c:pt idx="19">
                  <c:v>0.029723991507430998</c:v>
                </c:pt>
                <c:pt idx="20">
                  <c:v>0.00392156862745098</c:v>
                </c:pt>
                <c:pt idx="21">
                  <c:v>0.06790123456790123</c:v>
                </c:pt>
                <c:pt idx="22">
                  <c:v>0.04994192799070848</c:v>
                </c:pt>
                <c:pt idx="23">
                  <c:v>0.0863905325443787</c:v>
                </c:pt>
                <c:pt idx="24">
                  <c:v>0.0254841997961264</c:v>
                </c:pt>
                <c:pt idx="25">
                  <c:v>0.00949367088607595</c:v>
                </c:pt>
                <c:pt idx="26">
                  <c:v>0.07239819004524888</c:v>
                </c:pt>
                <c:pt idx="27">
                  <c:v>0.059961315280464215</c:v>
                </c:pt>
                <c:pt idx="28">
                  <c:v>0.00909090909090909</c:v>
                </c:pt>
                <c:pt idx="29">
                  <c:v>0.1600633914421553</c:v>
                </c:pt>
                <c:pt idx="30">
                  <c:v>0.04914744232698094</c:v>
                </c:pt>
                <c:pt idx="31">
                  <c:v>0.052489905787348586</c:v>
                </c:pt>
                <c:pt idx="32">
                  <c:v>0.006517690875232775</c:v>
                </c:pt>
                <c:pt idx="33">
                  <c:v>0.035246727089627394</c:v>
                </c:pt>
                <c:pt idx="34">
                  <c:v>0.19066666666666668</c:v>
                </c:pt>
                <c:pt idx="35">
                  <c:v>0.23780487804878048</c:v>
                </c:pt>
                <c:pt idx="36">
                  <c:v>0.026272577996715927</c:v>
                </c:pt>
                <c:pt idx="37">
                  <c:v>0.00228310502283105</c:v>
                </c:pt>
                <c:pt idx="38">
                  <c:v>0.07785888077858881</c:v>
                </c:pt>
                <c:pt idx="39">
                  <c:v>0.0016339869281045752</c:v>
                </c:pt>
                <c:pt idx="40">
                  <c:v>0.009510869565217392</c:v>
                </c:pt>
                <c:pt idx="41">
                  <c:v>0.01437125748502994</c:v>
                </c:pt>
                <c:pt idx="42">
                  <c:v>0.08888888888888889</c:v>
                </c:pt>
                <c:pt idx="43">
                  <c:v>0.11895910780669144</c:v>
                </c:pt>
                <c:pt idx="44">
                  <c:v>0.0730050933786078</c:v>
                </c:pt>
                <c:pt idx="45">
                  <c:v>0.02881844380403458</c:v>
                </c:pt>
                <c:pt idx="46">
                  <c:v>0.07571801566579635</c:v>
                </c:pt>
                <c:pt idx="47">
                  <c:v>0.008915304606240713</c:v>
                </c:pt>
                <c:pt idx="48">
                  <c:v>0.016361886429258902</c:v>
                </c:pt>
                <c:pt idx="49">
                  <c:v>0.022494887525562373</c:v>
                </c:pt>
                <c:pt idx="50">
                  <c:v>0.02666666666666667</c:v>
                </c:pt>
                <c:pt idx="51">
                  <c:v>0.00975609756097561</c:v>
                </c:pt>
                <c:pt idx="52">
                  <c:v>0.2540045766590389</c:v>
                </c:pt>
                <c:pt idx="53">
                  <c:v>0.002621231979030144</c:v>
                </c:pt>
                <c:pt idx="54">
                  <c:v>0.15236686390532544</c:v>
                </c:pt>
                <c:pt idx="55">
                  <c:v>0.42081447963800905</c:v>
                </c:pt>
                <c:pt idx="56">
                  <c:v>0.030211480362537766</c:v>
                </c:pt>
                <c:pt idx="57">
                  <c:v>0.13602941176470587</c:v>
                </c:pt>
                <c:pt idx="58">
                  <c:v>0.008438818565400843</c:v>
                </c:pt>
                <c:pt idx="59">
                  <c:v>0.04391891891891892</c:v>
                </c:pt>
                <c:pt idx="60">
                  <c:v>0.026905829596412557</c:v>
                </c:pt>
                <c:pt idx="61">
                  <c:v>0.09256449165402124</c:v>
                </c:pt>
                <c:pt idx="62">
                  <c:v>0.025252525252525252</c:v>
                </c:pt>
                <c:pt idx="63">
                  <c:v>0.2010928961748634</c:v>
                </c:pt>
                <c:pt idx="64">
                  <c:v>0.05411255411255411</c:v>
                </c:pt>
                <c:pt idx="65">
                  <c:v>0.02278481012658228</c:v>
                </c:pt>
              </c:numCache>
            </c:numRef>
          </c:yVal>
          <c:smooth val="0"/>
          <c:extLst>
            <c:ext xmlns:c16="http://schemas.microsoft.com/office/drawing/2014/chart" uri="{C3380CC4-5D6E-409C-BE32-E72D297353CC}">
              <c16:uniqueId val="{00000000-F32D-48B7-BC20-E66FC6253BAD}"/>
            </c:ext>
          </c:extLst>
        </c:ser>
        <c:ser>
          <c:idx val="1"/>
          <c:order val="1"/>
          <c:tx>
            <c:strRef>
              <c:f>Sheet1!$B$6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0:$A$97</c:f>
              <c:numCache>
                <c:formatCode>General</c:formatCode>
                <c:ptCount val="28"/>
                <c:pt idx="0">
                  <c:v>1247.0568</c:v>
                </c:pt>
                <c:pt idx="1">
                  <c:v>1592.1105</c:v>
                </c:pt>
                <c:pt idx="2">
                  <c:v>881.2308</c:v>
                </c:pt>
                <c:pt idx="3">
                  <c:v>1093.129</c:v>
                </c:pt>
                <c:pt idx="4">
                  <c:v>2398.3333</c:v>
                </c:pt>
                <c:pt idx="5">
                  <c:v>737.4167</c:v>
                </c:pt>
                <c:pt idx="6">
                  <c:v>825.5</c:v>
                </c:pt>
                <c:pt idx="7">
                  <c:v>1034.2051</c:v>
                </c:pt>
                <c:pt idx="8">
                  <c:v>2360.0</c:v>
                </c:pt>
                <c:pt idx="9">
                  <c:v>1066.5357</c:v>
                </c:pt>
                <c:pt idx="10">
                  <c:v>768.5</c:v>
                </c:pt>
                <c:pt idx="11">
                  <c:v>1055.8983</c:v>
                </c:pt>
                <c:pt idx="12">
                  <c:v>838.0183</c:v>
                </c:pt>
                <c:pt idx="13">
                  <c:v>1452.0</c:v>
                </c:pt>
                <c:pt idx="14">
                  <c:v>792.7333</c:v>
                </c:pt>
                <c:pt idx="15">
                  <c:v>817.9655</c:v>
                </c:pt>
                <c:pt idx="16">
                  <c:v>774.6071</c:v>
                </c:pt>
                <c:pt idx="17">
                  <c:v>1034.3514</c:v>
                </c:pt>
                <c:pt idx="18">
                  <c:v>723.1818</c:v>
                </c:pt>
                <c:pt idx="19">
                  <c:v>1033.2258</c:v>
                </c:pt>
                <c:pt idx="20">
                  <c:v>1345.6923</c:v>
                </c:pt>
                <c:pt idx="21">
                  <c:v>1133.7895</c:v>
                </c:pt>
                <c:pt idx="22">
                  <c:v>907.75</c:v>
                </c:pt>
                <c:pt idx="23">
                  <c:v>1001.5231</c:v>
                </c:pt>
                <c:pt idx="24">
                  <c:v>1051.7875</c:v>
                </c:pt>
                <c:pt idx="25">
                  <c:v>973.2308</c:v>
                </c:pt>
                <c:pt idx="26">
                  <c:v>1008.7917</c:v>
                </c:pt>
                <c:pt idx="27">
                  <c:v>1067.1515</c:v>
                </c:pt>
              </c:numCache>
            </c:numRef>
          </c:xVal>
          <c:yVal>
            <c:numRef>
              <c:f>Sheet1!$B$70:$B$97</c:f>
              <c:numCache>
                <c:formatCode>General</c:formatCode>
                <c:ptCount val="28"/>
                <c:pt idx="0">
                  <c:v>0.08333333333333333</c:v>
                </c:pt>
                <c:pt idx="1">
                  <c:v>0.21608040201005024</c:v>
                </c:pt>
                <c:pt idx="2">
                  <c:v>0.024714828897338403</c:v>
                </c:pt>
                <c:pt idx="3">
                  <c:v>0.18594687232219365</c:v>
                </c:pt>
                <c:pt idx="4">
                  <c:v>0.006896551724137931</c:v>
                </c:pt>
                <c:pt idx="5">
                  <c:v>0.013333333333333334</c:v>
                </c:pt>
                <c:pt idx="6">
                  <c:v>0.013015184381778741</c:v>
                </c:pt>
                <c:pt idx="7">
                  <c:v>0.21666666666666667</c:v>
                </c:pt>
                <c:pt idx="8">
                  <c:v>0.020761245674740483</c:v>
                </c:pt>
                <c:pt idx="9">
                  <c:v>0.0380952380952381</c:v>
                </c:pt>
                <c:pt idx="10">
                  <c:v>0.06153846153846154</c:v>
                </c:pt>
                <c:pt idx="11">
                  <c:v>0.09719934102141681</c:v>
                </c:pt>
                <c:pt idx="12">
                  <c:v>0.1332518337408313</c:v>
                </c:pt>
                <c:pt idx="13">
                  <c:v>0.01090909090909091</c:v>
                </c:pt>
                <c:pt idx="14">
                  <c:v>0.03783102143757881</c:v>
                </c:pt>
                <c:pt idx="15">
                  <c:v>0.04588607594936709</c:v>
                </c:pt>
                <c:pt idx="16">
                  <c:v>0.0681265206812652</c:v>
                </c:pt>
                <c:pt idx="17">
                  <c:v>0.24915824915824916</c:v>
                </c:pt>
                <c:pt idx="18">
                  <c:v>0.026128266033254157</c:v>
                </c:pt>
                <c:pt idx="19">
                  <c:v>0.12180746561886051</c:v>
                </c:pt>
                <c:pt idx="20">
                  <c:v>0.02127659574468085</c:v>
                </c:pt>
                <c:pt idx="21">
                  <c:v>0.10401459854014598</c:v>
                </c:pt>
                <c:pt idx="22">
                  <c:v>0.04664723032069971</c:v>
                </c:pt>
                <c:pt idx="23">
                  <c:v>0.22491349480968859</c:v>
                </c:pt>
                <c:pt idx="24">
                  <c:v>0.16913319238900634</c:v>
                </c:pt>
                <c:pt idx="25">
                  <c:v>0.01870503597122302</c:v>
                </c:pt>
                <c:pt idx="26">
                  <c:v>0.04660194174757282</c:v>
                </c:pt>
                <c:pt idx="27">
                  <c:v>0.1286549707602339</c:v>
                </c:pt>
              </c:numCache>
            </c:numRef>
          </c:yVal>
          <c:smooth val="0"/>
          <c:extLst>
            <c:ext xmlns:c16="http://schemas.microsoft.com/office/drawing/2014/chart" uri="{C3380CC4-5D6E-409C-BE32-E72D297353CC}">
              <c16:uniqueId val="{00000002-F32D-48B7-BC20-E66FC6253BAD}"/>
            </c:ext>
          </c:extLst>
        </c:ser>
        <c:ser>
          <c:idx val="2"/>
          <c:order val="2"/>
          <c:tx>
            <c:strRef>
              <c:f>Sheet1!$B$99</c:f>
              <c:strCache>
                <c:ptCount val="1"/>
                <c:pt idx="0">
                  <c:v>Custom Linep3yQ</c:v>
                </c:pt>
              </c:strCache>
            </c:strRef>
          </c:tx>
          <c:spPr>
            <a:ln w="19050" cap="rnd">
              <a:solidFill>
                <a:srgbClr val="C00000"/>
              </a:solidFill>
              <a:prstDash val="sysDot"/>
              <a:round/>
            </a:ln>
            <a:effectLst/>
          </c:spPr>
          <c:marker>
            <c:symbol val="none"/>
          </c:marker>
          <c:xVal>
            <c:numRef>
              <c:f>Sheet1!$A$100:$A$101</c:f>
              <c:numCache>
                <c:formatCode>General</c:formatCode>
                <c:ptCount val="2"/>
                <c:pt idx="0">
                  <c:v>0</c:v>
                </c:pt>
                <c:pt idx="1">
                  <c:v>-9151.439379109283</c:v>
                </c:pt>
              </c:numCache>
            </c:numRef>
          </c:xVal>
          <c:yVal>
            <c:numRef>
              <c:f>Sheet1!$B$100:$B$101</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3-F32D-48B7-BC20-E66FC6253BAD}"/>
            </c:ext>
          </c:extLst>
        </c:ser>
        <c:ser>
          <c:idx val="3"/>
          <c:order val="3"/>
          <c:tx>
            <c:strRef>
              <c:f>Sheet1!$B$10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4:$A$105</c:f>
              <c:numCache>
                <c:formatCode>General</c:formatCode>
                <c:ptCount val="2"/>
                <c:pt idx="0">
                  <c:v>-9151.439379109283</c:v>
                </c:pt>
                <c:pt idx="1">
                  <c:v>-9151.439379109283</c:v>
                </c:pt>
              </c:numCache>
            </c:numRef>
          </c:xVal>
          <c:yVal>
            <c:numRef>
              <c:f>Sheet1!$B$104:$B$105</c:f>
              <c:numCache>
                <c:formatCode>General</c:formatCode>
                <c:ptCount val="2"/>
                <c:pt idx="0">
                  <c:v>0.2491582491582491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08:$A$109</c:f>
              <c:numCache>
                <c:formatCode>General</c:formatCode>
                <c:ptCount val="2"/>
                <c:pt idx="0">
                  <c:v>0</c:v>
                </c:pt>
                <c:pt idx="1">
                  <c:v>-9151.439379109283</c:v>
                </c:pt>
              </c:numCache>
            </c:numRef>
          </c:xVal>
          <c:yVal>
            <c:numRef>
              <c:f>Sheet1!$B$108:$B$109</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A-F32D-48B7-BC20-E66FC6253BAD}"/>
            </c:ext>
          </c:extLst>
        </c:ser>
        <c:ser>
          <c:idx val="5"/>
          <c:order val="5"/>
          <c:tx>
            <c:strRef>
              <c:f>Sheet1!$B$11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2:$A$113</c:f>
              <c:numCache>
                <c:formatCode>General</c:formatCode>
                <c:ptCount val="2"/>
                <c:pt idx="0">
                  <c:v>-9151.439379109283</c:v>
                </c:pt>
                <c:pt idx="1">
                  <c:v>-9151.439379109283</c:v>
                </c:pt>
              </c:numCache>
            </c:numRef>
          </c:xVal>
          <c:yVal>
            <c:numRef>
              <c:f>Sheet1!$B$112:$B$113</c:f>
              <c:numCache>
                <c:formatCode>General</c:formatCode>
                <c:ptCount val="2"/>
                <c:pt idx="0">
                  <c:v>0.2491582491582491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6:$A$117</c:f>
              <c:numCache>
                <c:formatCode>General</c:formatCode>
                <c:ptCount val="2"/>
                <c:pt idx="0">
                  <c:v>0</c:v>
                </c:pt>
                <c:pt idx="1">
                  <c:v>590.4646739974775</c:v>
                </c:pt>
              </c:numCache>
            </c:numRef>
          </c:xVal>
          <c:yVal>
            <c:numRef>
              <c:f>Sheet1!$B$116:$B$117</c:f>
              <c:numCache>
                <c:formatCode>General</c:formatCode>
                <c:ptCount val="2"/>
                <c:pt idx="0">
                  <c:v>0.0949933825354064</c:v>
                </c:pt>
                <c:pt idx="1">
                  <c:v>0.0949933825354064</c:v>
                </c:pt>
              </c:numCache>
            </c:numRef>
          </c:yVal>
          <c:smooth val="0"/>
          <c:extLst>
            <c:ext xmlns:c16="http://schemas.microsoft.com/office/drawing/2014/chart" uri="{C3380CC4-5D6E-409C-BE32-E72D297353CC}">
              <c16:uniqueId val="{00000011-F32D-48B7-BC20-E66FC6253BAD}"/>
            </c:ext>
          </c:extLst>
        </c:ser>
        <c:ser>
          <c:idx val="7"/>
          <c:order val="7"/>
          <c:tx>
            <c:strRef>
              <c:f>Sheet1!$B$11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590.4646739974775</c:v>
                </c:pt>
                <c:pt idx="1">
                  <c:v>590.4646739974775</c:v>
                </c:pt>
              </c:numCache>
            </c:numRef>
          </c:xVal>
          <c:yVal>
            <c:numRef>
              <c:f>Sheet1!$B$120:$B$121</c:f>
              <c:numCache>
                <c:formatCode>General</c:formatCode>
                <c:ptCount val="2"/>
                <c:pt idx="0">
                  <c:v>0.09499338253540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4:$A$154</c:f>
              <c:numCache>
                <c:formatCode>General</c:formatCode>
                <c:ptCount val="31"/>
                <c:pt idx="0">
                  <c:v>1247.0568</c:v>
                </c:pt>
                <c:pt idx="1">
                  <c:v>1592.1105</c:v>
                </c:pt>
                <c:pt idx="2">
                  <c:v>881.2308</c:v>
                </c:pt>
                <c:pt idx="3">
                  <c:v>1093.129</c:v>
                </c:pt>
                <c:pt idx="4">
                  <c:v>2398.3333</c:v>
                </c:pt>
                <c:pt idx="5">
                  <c:v>737.4167</c:v>
                </c:pt>
                <c:pt idx="6">
                  <c:v>825.5</c:v>
                </c:pt>
                <c:pt idx="7">
                  <c:v>1034.2051</c:v>
                </c:pt>
                <c:pt idx="8">
                  <c:v>2360.0</c:v>
                </c:pt>
                <c:pt idx="9">
                  <c:v>1066.5357</c:v>
                </c:pt>
                <c:pt idx="10">
                  <c:v>768.5</c:v>
                </c:pt>
                <c:pt idx="11">
                  <c:v>1055.8983</c:v>
                </c:pt>
                <c:pt idx="12">
                  <c:v>838.0183</c:v>
                </c:pt>
                <c:pt idx="13">
                  <c:v>1452.0</c:v>
                </c:pt>
                <c:pt idx="14">
                  <c:v>792.7333</c:v>
                </c:pt>
                <c:pt idx="15">
                  <c:v>817.9655</c:v>
                </c:pt>
                <c:pt idx="16">
                  <c:v>774.6071</c:v>
                </c:pt>
                <c:pt idx="17">
                  <c:v>1034.3514</c:v>
                </c:pt>
                <c:pt idx="18">
                  <c:v>723.1818</c:v>
                </c:pt>
                <c:pt idx="19">
                  <c:v>1033.2258</c:v>
                </c:pt>
                <c:pt idx="20">
                  <c:v>1345.6923</c:v>
                </c:pt>
                <c:pt idx="21">
                  <c:v>1133.7895</c:v>
                </c:pt>
                <c:pt idx="22">
                  <c:v>907.75</c:v>
                </c:pt>
                <c:pt idx="23">
                  <c:v>1001.5231</c:v>
                </c:pt>
                <c:pt idx="24">
                  <c:v>1051.7875</c:v>
                </c:pt>
                <c:pt idx="25">
                  <c:v>973.2308</c:v>
                </c:pt>
                <c:pt idx="26">
                  <c:v>1008.7917</c:v>
                </c:pt>
                <c:pt idx="27">
                  <c:v>1067.1515</c:v>
                </c:pt>
                <c:pt idx="28">
                  <c:v>-9151.439379109283</c:v>
                </c:pt>
                <c:pt idx="29">
                  <c:v>-9151.439379109283</c:v>
                </c:pt>
                <c:pt idx="30">
                  <c:v>590.4646739974775</c:v>
                </c:pt>
              </c:numCache>
            </c:numRef>
          </c:xVal>
          <c:yVal>
            <c:numRef>
              <c:f>Sheet1!$B$124:$B$154</c:f>
              <c:numCache>
                <c:formatCode>General</c:formatCode>
                <c:ptCount val="31"/>
                <c:pt idx="0">
                  <c:v>0.0846028637026422</c:v>
                </c:pt>
                <c:pt idx="1">
                  <c:v>0.07914241599670795</c:v>
                </c:pt>
                <c:pt idx="2">
                  <c:v>0.09039203142485791</c:v>
                </c:pt>
                <c:pt idx="3">
                  <c:v>0.0870387590499157</c:v>
                </c:pt>
                <c:pt idx="4">
                  <c:v>0.0663840034982131</c:v>
                </c:pt>
                <c:pt idx="5">
                  <c:v>0.09266787826384558</c:v>
                </c:pt>
                <c:pt idx="6">
                  <c:v>0.09127396695839916</c:v>
                </c:pt>
                <c:pt idx="7">
                  <c:v>0.08797122514020744</c:v>
                </c:pt>
                <c:pt idx="8">
                  <c:v>0.06699062496045476</c:v>
                </c:pt>
                <c:pt idx="9">
                  <c:v>0.08745959593408249</c:v>
                </c:pt>
                <c:pt idx="10">
                  <c:v>0.09217598748227197</c:v>
                </c:pt>
                <c:pt idx="11">
                  <c:v>0.08762793195374292</c:v>
                </c:pt>
                <c:pt idx="12">
                  <c:v>0.09107586584394307</c:v>
                </c:pt>
                <c:pt idx="13">
                  <c:v>0.08135965365653394</c:v>
                </c:pt>
                <c:pt idx="14">
                  <c:v>0.09179249741277781</c:v>
                </c:pt>
                <c:pt idx="15">
                  <c:v>0.09139319982922582</c:v>
                </c:pt>
                <c:pt idx="16">
                  <c:v>0.09207934310435366</c:v>
                </c:pt>
                <c:pt idx="17">
                  <c:v>0.08796890995419618</c:v>
                </c:pt>
                <c:pt idx="18">
                  <c:v>0.09289314443849957</c:v>
                </c:pt>
                <c:pt idx="19">
                  <c:v>0.08798672248580444</c:v>
                </c:pt>
                <c:pt idx="20">
                  <c:v>0.08304196466084471</c:v>
                </c:pt>
                <c:pt idx="21">
                  <c:v>0.08639530983042569</c:v>
                </c:pt>
                <c:pt idx="22">
                  <c:v>0.08997236716737217</c:v>
                </c:pt>
                <c:pt idx="23">
                  <c:v>0.08848841522373746</c:v>
                </c:pt>
                <c:pt idx="24">
                  <c:v>0.08769298504092778</c:v>
                </c:pt>
                <c:pt idx="25">
                  <c:v>0.08893613864948426</c:v>
                </c:pt>
                <c:pt idx="26">
                  <c:v>0.08837339019953007</c:v>
                </c:pt>
                <c:pt idx="27">
                  <c:v>0.08744985094744037</c:v>
                </c:pt>
                <c:pt idx="28">
                  <c:v>0.2491582491582492</c:v>
                </c:pt>
                <c:pt idx="29">
                  <c:v>0.2491582491582492</c:v>
                </c:pt>
                <c:pt idx="30">
                  <c:v>0.094993382535406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81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30769230769231"/>
          <c:min val="0.001307189542483660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2</c:f>
              <c:numCache>
                <c:formatCode>General</c:formatCode>
                <c:ptCount val="61"/>
                <c:pt idx="0">
                  <c:v>0.671397701098455</c:v>
                </c:pt>
                <c:pt idx="1">
                  <c:v>0.5975547811835777</c:v>
                </c:pt>
                <c:pt idx="2">
                  <c:v>1.5053488167698283</c:v>
                </c:pt>
                <c:pt idx="3">
                  <c:v>0.6992729185345967</c:v>
                </c:pt>
                <c:pt idx="4">
                  <c:v>1.4936866602498309</c:v>
                </c:pt>
                <c:pt idx="5">
                  <c:v>1.017530034415044</c:v>
                </c:pt>
                <c:pt idx="6">
                  <c:v>1.1638871851077492</c:v>
                </c:pt>
                <c:pt idx="7">
                  <c:v>1.2916268541220943</c:v>
                </c:pt>
                <c:pt idx="8">
                  <c:v>0.7636136662932905</c:v>
                </c:pt>
                <c:pt idx="9">
                  <c:v>0.6863662955465587</c:v>
                </c:pt>
                <c:pt idx="10">
                  <c:v>0.7330447836812316</c:v>
                </c:pt>
                <c:pt idx="11">
                  <c:v>1.245938319761189</c:v>
                </c:pt>
                <c:pt idx="12">
                  <c:v>1.1532792219274979</c:v>
                </c:pt>
                <c:pt idx="13">
                  <c:v>1.3087466945453892</c:v>
                </c:pt>
                <c:pt idx="14">
                  <c:v>0.9976113144374167</c:v>
                </c:pt>
                <c:pt idx="15">
                  <c:v>0.15222478538775175</c:v>
                </c:pt>
                <c:pt idx="16">
                  <c:v>1.9185083370600093</c:v>
                </c:pt>
                <c:pt idx="17">
                  <c:v>3.9568221070811744</c:v>
                </c:pt>
                <c:pt idx="18">
                  <c:v>1.5463760559599407</c:v>
                </c:pt>
                <c:pt idx="19">
                  <c:v>1.2335440040265506</c:v>
                </c:pt>
                <c:pt idx="20">
                  <c:v>1.2725790258628686</c:v>
                </c:pt>
                <c:pt idx="21">
                  <c:v>1.979994269684633</c:v>
                </c:pt>
                <c:pt idx="22">
                  <c:v>0.44916865059765304</c:v>
                </c:pt>
                <c:pt idx="23">
                  <c:v>1.6984582850649554</c:v>
                </c:pt>
                <c:pt idx="24">
                  <c:v>0.9005644041711277</c:v>
                </c:pt>
                <c:pt idx="25">
                  <c:v>1.0034529785400468</c:v>
                </c:pt>
                <c:pt idx="26">
                  <c:v>1.8171214348723783</c:v>
                </c:pt>
                <c:pt idx="27">
                  <c:v>1.0759600611924596</c:v>
                </c:pt>
                <c:pt idx="28">
                  <c:v>1.2692392419773653</c:v>
                </c:pt>
                <c:pt idx="29">
                  <c:v>1.2467404399452608</c:v>
                </c:pt>
                <c:pt idx="30">
                  <c:v>0.9208446683158384</c:v>
                </c:pt>
                <c:pt idx="31">
                  <c:v>0.9410369197250787</c:v>
                </c:pt>
                <c:pt idx="32">
                  <c:v>1.117316262595192</c:v>
                </c:pt>
                <c:pt idx="33">
                  <c:v>7.233449028463287</c:v>
                </c:pt>
                <c:pt idx="34">
                  <c:v>1.0752264869623975</c:v>
                </c:pt>
                <c:pt idx="35">
                  <c:v>8.138477041846144</c:v>
                </c:pt>
                <c:pt idx="36">
                  <c:v>1.6725820462440821</c:v>
                </c:pt>
                <c:pt idx="37">
                  <c:v>1.2331255084624027</c:v>
                </c:pt>
                <c:pt idx="38">
                  <c:v>1.796953714661407</c:v>
                </c:pt>
                <c:pt idx="39">
                  <c:v>0.7252057942386831</c:v>
                </c:pt>
                <c:pt idx="40">
                  <c:v>0.8070495214380883</c:v>
                </c:pt>
                <c:pt idx="41">
                  <c:v>0.921421952059358</c:v>
                </c:pt>
                <c:pt idx="42">
                  <c:v>1.106886282387479</c:v>
                </c:pt>
                <c:pt idx="43">
                  <c:v>0.4731753348427214</c:v>
                </c:pt>
                <c:pt idx="44">
                  <c:v>2.6940667304219996</c:v>
                </c:pt>
                <c:pt idx="45">
                  <c:v>1.8923323430891146</c:v>
                </c:pt>
                <c:pt idx="46">
                  <c:v>5.028618214445414</c:v>
                </c:pt>
                <c:pt idx="47">
                  <c:v>1.5892112769211233</c:v>
                </c:pt>
                <c:pt idx="48">
                  <c:v>1.3732433662188723</c:v>
                </c:pt>
                <c:pt idx="49">
                  <c:v>1.55105750203878</c:v>
                </c:pt>
                <c:pt idx="50">
                  <c:v>1.4137656193360286</c:v>
                </c:pt>
                <c:pt idx="51">
                  <c:v>0.9807304190512662</c:v>
                </c:pt>
                <c:pt idx="52">
                  <c:v>0.9894544033263948</c:v>
                </c:pt>
                <c:pt idx="53">
                  <c:v>1.003105865345091</c:v>
                </c:pt>
                <c:pt idx="54">
                  <c:v>1.3406816382658568</c:v>
                </c:pt>
                <c:pt idx="55">
                  <c:v>1.0772773717560367</c:v>
                </c:pt>
                <c:pt idx="56">
                  <c:v>0.4682103631280035</c:v>
                </c:pt>
                <c:pt idx="57">
                  <c:v>0.7268645699098658</c:v>
                </c:pt>
                <c:pt idx="58">
                  <c:v>0.7730056883121774</c:v>
                </c:pt>
                <c:pt idx="59">
                  <c:v>0.8825516106680547</c:v>
                </c:pt>
                <c:pt idx="60">
                  <c:v>1.5316670217067523</c:v>
                </c:pt>
              </c:numCache>
            </c:numRef>
          </c:xVal>
          <c:yVal>
            <c:numRef>
              <c:f>Sheet1!$B$2:$B$62</c:f>
              <c:numCache>
                <c:formatCode>General</c:formatCode>
                <c:ptCount val="61"/>
                <c:pt idx="0">
                  <c:v>0.01330671989354624</c:v>
                </c:pt>
                <c:pt idx="1">
                  <c:v>0.011824324324324325</c:v>
                </c:pt>
                <c:pt idx="2">
                  <c:v>0.23372781065088757</c:v>
                </c:pt>
                <c:pt idx="3">
                  <c:v>0.06280193236714976</c:v>
                </c:pt>
                <c:pt idx="4">
                  <c:v>0.05628517823639775</c:v>
                </c:pt>
                <c:pt idx="5">
                  <c:v>0.05263157894736842</c:v>
                </c:pt>
                <c:pt idx="6">
                  <c:v>0.0472972972972973</c:v>
                </c:pt>
                <c:pt idx="7">
                  <c:v>0.057803468208092484</c:v>
                </c:pt>
                <c:pt idx="8">
                  <c:v>0.04032258064516129</c:v>
                </c:pt>
                <c:pt idx="9">
                  <c:v>0.30078125</c:v>
                </c:pt>
                <c:pt idx="10">
                  <c:v>0.1978021978021978</c:v>
                </c:pt>
                <c:pt idx="11">
                  <c:v>0.12</c:v>
                </c:pt>
                <c:pt idx="12">
                  <c:v>0.2503871966959215</c:v>
                </c:pt>
                <c:pt idx="13">
                  <c:v>0.027649769585253458</c:v>
                </c:pt>
                <c:pt idx="14">
                  <c:v>0.016203703703703703</c:v>
                </c:pt>
                <c:pt idx="15">
                  <c:v>0.09876543209876543</c:v>
                </c:pt>
                <c:pt idx="16">
                  <c:v>0.029723991507430998</c:v>
                </c:pt>
                <c:pt idx="17">
                  <c:v>0.00392156862745098</c:v>
                </c:pt>
                <c:pt idx="18">
                  <c:v>0.04994192799070848</c:v>
                </c:pt>
                <c:pt idx="19">
                  <c:v>0.0863905325443787</c:v>
                </c:pt>
                <c:pt idx="20">
                  <c:v>0.0254841997961264</c:v>
                </c:pt>
                <c:pt idx="21">
                  <c:v>0.00949367088607595</c:v>
                </c:pt>
                <c:pt idx="22">
                  <c:v>0.07239819004524888</c:v>
                </c:pt>
                <c:pt idx="23">
                  <c:v>0.059961315280464215</c:v>
                </c:pt>
                <c:pt idx="24">
                  <c:v>0.00909090909090909</c:v>
                </c:pt>
                <c:pt idx="25">
                  <c:v>0.1600633914421553</c:v>
                </c:pt>
                <c:pt idx="26">
                  <c:v>0.04914744232698094</c:v>
                </c:pt>
                <c:pt idx="27">
                  <c:v>0.052489905787348586</c:v>
                </c:pt>
                <c:pt idx="28">
                  <c:v>0.006517690875232775</c:v>
                </c:pt>
                <c:pt idx="29">
                  <c:v>0.035246727089627394</c:v>
                </c:pt>
                <c:pt idx="30">
                  <c:v>0.19066666666666668</c:v>
                </c:pt>
                <c:pt idx="31">
                  <c:v>0.23780487804878048</c:v>
                </c:pt>
                <c:pt idx="32">
                  <c:v>0.026272577996715927</c:v>
                </c:pt>
                <c:pt idx="33">
                  <c:v>0.00228310502283105</c:v>
                </c:pt>
                <c:pt idx="34">
                  <c:v>0.07785888077858881</c:v>
                </c:pt>
                <c:pt idx="35">
                  <c:v>0.0016339869281045752</c:v>
                </c:pt>
                <c:pt idx="36">
                  <c:v>0.009510869565217392</c:v>
                </c:pt>
                <c:pt idx="37">
                  <c:v>0.01437125748502994</c:v>
                </c:pt>
                <c:pt idx="38">
                  <c:v>0.08888888888888889</c:v>
                </c:pt>
                <c:pt idx="39">
                  <c:v>0.11895910780669144</c:v>
                </c:pt>
                <c:pt idx="40">
                  <c:v>0.0730050933786078</c:v>
                </c:pt>
                <c:pt idx="41">
                  <c:v>0.02881844380403458</c:v>
                </c:pt>
                <c:pt idx="42">
                  <c:v>0.008915304606240713</c:v>
                </c:pt>
                <c:pt idx="43">
                  <c:v>0.016361886429258902</c:v>
                </c:pt>
                <c:pt idx="44">
                  <c:v>0.022494887525562373</c:v>
                </c:pt>
                <c:pt idx="45">
                  <c:v>0.02666666666666667</c:v>
                </c:pt>
                <c:pt idx="46">
                  <c:v>0.00975609756097561</c:v>
                </c:pt>
                <c:pt idx="47">
                  <c:v>0.2540045766590389</c:v>
                </c:pt>
                <c:pt idx="48">
                  <c:v>0.002621231979030144</c:v>
                </c:pt>
                <c:pt idx="49">
                  <c:v>0.15236686390532544</c:v>
                </c:pt>
                <c:pt idx="50">
                  <c:v>0.42081447963800905</c:v>
                </c:pt>
                <c:pt idx="51">
                  <c:v>0.030211480362537766</c:v>
                </c:pt>
                <c:pt idx="52">
                  <c:v>0.13602941176470587</c:v>
                </c:pt>
                <c:pt idx="53">
                  <c:v>0.008438818565400843</c:v>
                </c:pt>
                <c:pt idx="54">
                  <c:v>0.04391891891891892</c:v>
                </c:pt>
                <c:pt idx="55">
                  <c:v>0.026905829596412557</c:v>
                </c:pt>
                <c:pt idx="56">
                  <c:v>0.09256449165402124</c:v>
                </c:pt>
                <c:pt idx="57">
                  <c:v>0.025252525252525252</c:v>
                </c:pt>
                <c:pt idx="58">
                  <c:v>0.2010928961748634</c:v>
                </c:pt>
                <c:pt idx="59">
                  <c:v>0.05411255411255411</c:v>
                </c:pt>
                <c:pt idx="60">
                  <c:v>0.02278481012658228</c:v>
                </c:pt>
              </c:numCache>
            </c:numRef>
          </c:yVal>
          <c:smooth val="0"/>
          <c:extLst>
            <c:ext xmlns:c16="http://schemas.microsoft.com/office/drawing/2014/chart" uri="{C3380CC4-5D6E-409C-BE32-E72D297353CC}">
              <c16:uniqueId val="{00000000-096C-4121-9522-6AB7243CCAAE}"/>
            </c:ext>
          </c:extLst>
        </c:ser>
        <c:ser>
          <c:idx val="1"/>
          <c:order val="1"/>
          <c:tx>
            <c:strRef>
              <c:f>Sheet1!$B$6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5:$A$93</c:f>
              <c:numCache>
                <c:formatCode>General</c:formatCode>
                <c:ptCount val="29"/>
                <c:pt idx="0">
                  <c:v>0.9502077256065281</c:v>
                </c:pt>
                <c:pt idx="1">
                  <c:v>1.4614852837177605</c:v>
                </c:pt>
                <c:pt idx="2">
                  <c:v>0.6984404762385968</c:v>
                </c:pt>
                <c:pt idx="3">
                  <c:v>0.8673665083691386</c:v>
                </c:pt>
                <c:pt idx="4">
                  <c:v>1.6307292909332831</c:v>
                </c:pt>
                <c:pt idx="5">
                  <c:v>0.6626337739140092</c:v>
                </c:pt>
                <c:pt idx="6">
                  <c:v>0.7667952306544205</c:v>
                </c:pt>
                <c:pt idx="7">
                  <c:v>1.058179966036499</c:v>
                </c:pt>
                <c:pt idx="8">
                  <c:v>1.37851908615166</c:v>
                </c:pt>
                <c:pt idx="9">
                  <c:v>1.1031114562435207</c:v>
                </c:pt>
                <c:pt idx="10">
                  <c:v>0.731232932942467</c:v>
                </c:pt>
                <c:pt idx="11">
                  <c:v>0.9053016432378729</c:v>
                </c:pt>
                <c:pt idx="12">
                  <c:v>0.4962058254712875</c:v>
                </c:pt>
                <c:pt idx="13">
                  <c:v>1.0887508937954995</c:v>
                </c:pt>
                <c:pt idx="14">
                  <c:v>0.5837710511797026</c:v>
                </c:pt>
                <c:pt idx="15">
                  <c:v>0.8187452729980034</c:v>
                </c:pt>
                <c:pt idx="16">
                  <c:v>0.5525320802349688</c:v>
                </c:pt>
                <c:pt idx="17">
                  <c:v>0.7218019770515641</c:v>
                </c:pt>
                <c:pt idx="18">
                  <c:v>0.765700051902048</c:v>
                </c:pt>
                <c:pt idx="19">
                  <c:v>2.354404385930151</c:v>
                </c:pt>
                <c:pt idx="20">
                  <c:v>0.929755704959851</c:v>
                </c:pt>
                <c:pt idx="21">
                  <c:v>1.0955803010327025</c:v>
                </c:pt>
                <c:pt idx="22">
                  <c:v>1.361976058406226</c:v>
                </c:pt>
                <c:pt idx="23">
                  <c:v>0.8312084979497011</c:v>
                </c:pt>
                <c:pt idx="24">
                  <c:v>0.8633633757893148</c:v>
                </c:pt>
                <c:pt idx="25">
                  <c:v>0.629393441939201</c:v>
                </c:pt>
                <c:pt idx="26">
                  <c:v>0.9880907962945534</c:v>
                </c:pt>
                <c:pt idx="27">
                  <c:v>0.8357228565122964</c:v>
                </c:pt>
                <c:pt idx="28">
                  <c:v>0.8166097493187977</c:v>
                </c:pt>
              </c:numCache>
            </c:numRef>
          </c:xVal>
          <c:yVal>
            <c:numRef>
              <c:f>Sheet1!$B$65:$B$93</c:f>
              <c:numCache>
                <c:formatCode>General</c:formatCode>
                <c:ptCount val="29"/>
                <c:pt idx="0">
                  <c:v>0.08333333333333333</c:v>
                </c:pt>
                <c:pt idx="1">
                  <c:v>0.21608040201005024</c:v>
                </c:pt>
                <c:pt idx="2">
                  <c:v>0.024714828897338403</c:v>
                </c:pt>
                <c:pt idx="3">
                  <c:v>0.18594687232219365</c:v>
                </c:pt>
                <c:pt idx="4">
                  <c:v>0.006896551724137931</c:v>
                </c:pt>
                <c:pt idx="5">
                  <c:v>0.013333333333333334</c:v>
                </c:pt>
                <c:pt idx="6">
                  <c:v>0.013015184381778741</c:v>
                </c:pt>
                <c:pt idx="7">
                  <c:v>0.21666666666666667</c:v>
                </c:pt>
                <c:pt idx="8">
                  <c:v>0.020761245674740483</c:v>
                </c:pt>
                <c:pt idx="9">
                  <c:v>0.0380952380952381</c:v>
                </c:pt>
                <c:pt idx="10">
                  <c:v>0.06153846153846154</c:v>
                </c:pt>
                <c:pt idx="11">
                  <c:v>0.09719934102141681</c:v>
                </c:pt>
                <c:pt idx="12">
                  <c:v>0.1332518337408313</c:v>
                </c:pt>
                <c:pt idx="13">
                  <c:v>0.01090909090909091</c:v>
                </c:pt>
                <c:pt idx="14">
                  <c:v>0.03783102143757881</c:v>
                </c:pt>
                <c:pt idx="15">
                  <c:v>0.04588607594936709</c:v>
                </c:pt>
                <c:pt idx="16">
                  <c:v>0.0681265206812652</c:v>
                </c:pt>
                <c:pt idx="17">
                  <c:v>0.24915824915824916</c:v>
                </c:pt>
                <c:pt idx="18">
                  <c:v>0.026128266033254157</c:v>
                </c:pt>
                <c:pt idx="19">
                  <c:v>0.7531380753138075</c:v>
                </c:pt>
                <c:pt idx="20">
                  <c:v>0.12180746561886051</c:v>
                </c:pt>
                <c:pt idx="21">
                  <c:v>0.02127659574468085</c:v>
                </c:pt>
                <c:pt idx="22">
                  <c:v>0.10401459854014598</c:v>
                </c:pt>
                <c:pt idx="23">
                  <c:v>0.04664723032069971</c:v>
                </c:pt>
                <c:pt idx="24">
                  <c:v>0.22491349480968859</c:v>
                </c:pt>
                <c:pt idx="25">
                  <c:v>0.16913319238900634</c:v>
                </c:pt>
                <c:pt idx="26">
                  <c:v>0.01870503597122302</c:v>
                </c:pt>
                <c:pt idx="27">
                  <c:v>0.04660194174757282</c:v>
                </c:pt>
                <c:pt idx="28">
                  <c:v>0.1286549707602339</c:v>
                </c:pt>
              </c:numCache>
            </c:numRef>
          </c:yVal>
          <c:smooth val="0"/>
          <c:extLst>
            <c:ext xmlns:c16="http://schemas.microsoft.com/office/drawing/2014/chart" uri="{C3380CC4-5D6E-409C-BE32-E72D297353CC}">
              <c16:uniqueId val="{00000002-096C-4121-9522-6AB7243CCAAE}"/>
            </c:ext>
          </c:extLst>
        </c:ser>
        <c:ser>
          <c:idx val="2"/>
          <c:order val="2"/>
          <c:tx>
            <c:strRef>
              <c:f>Sheet1!$B$9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96:$A$97</c:f>
              <c:numCache>
                <c:formatCode>General</c:formatCode>
                <c:ptCount val="2"/>
                <c:pt idx="0">
                  <c:v>0</c:v>
                </c:pt>
                <c:pt idx="1">
                  <c:v>1.603342025606308</c:v>
                </c:pt>
              </c:numCache>
            </c:numRef>
          </c:xVal>
          <c:yVal>
            <c:numRef>
              <c:f>Sheet1!$B$96:$B$97</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5-096C-4121-9522-6AB7243CCAAE}"/>
            </c:ext>
          </c:extLst>
        </c:ser>
        <c:ser>
          <c:idx val="3"/>
          <c:order val="3"/>
          <c:tx>
            <c:strRef>
              <c:f>Sheet1!$B$9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0:$A$101</c:f>
              <c:numCache>
                <c:formatCode>General</c:formatCode>
                <c:ptCount val="2"/>
                <c:pt idx="0">
                  <c:v>1.603342025606308</c:v>
                </c:pt>
                <c:pt idx="1">
                  <c:v>1.603342025606308</c:v>
                </c:pt>
              </c:numCache>
            </c:numRef>
          </c:xVal>
          <c:yVal>
            <c:numRef>
              <c:f>Sheet1!$B$100:$B$101</c:f>
              <c:numCache>
                <c:formatCode>General</c:formatCode>
                <c:ptCount val="2"/>
                <c:pt idx="0">
                  <c:v>0.2491582491582491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04:$A$105</c:f>
              <c:numCache>
                <c:formatCode>General</c:formatCode>
                <c:ptCount val="2"/>
                <c:pt idx="0">
                  <c:v>0</c:v>
                </c:pt>
                <c:pt idx="1">
                  <c:v>1.603342025606308</c:v>
                </c:pt>
              </c:numCache>
            </c:numRef>
          </c:xVal>
          <c:yVal>
            <c:numRef>
              <c:f>Sheet1!$B$104:$B$105</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D-096C-4121-9522-6AB7243CCAAE}"/>
            </c:ext>
          </c:extLst>
        </c:ser>
        <c:ser>
          <c:idx val="5"/>
          <c:order val="5"/>
          <c:tx>
            <c:strRef>
              <c:f>Sheet1!$B$10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8:$A$109</c:f>
              <c:numCache>
                <c:formatCode>General</c:formatCode>
                <c:ptCount val="2"/>
                <c:pt idx="0">
                  <c:v>1.603342025606308</c:v>
                </c:pt>
                <c:pt idx="1">
                  <c:v>1.603342025606308</c:v>
                </c:pt>
              </c:numCache>
            </c:numRef>
          </c:xVal>
          <c:yVal>
            <c:numRef>
              <c:f>Sheet1!$B$108:$B$109</c:f>
              <c:numCache>
                <c:formatCode>General</c:formatCode>
                <c:ptCount val="2"/>
                <c:pt idx="0">
                  <c:v>0.2491582491582491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2:$A$113</c:f>
              <c:numCache>
                <c:formatCode>General</c:formatCode>
                <c:ptCount val="2"/>
                <c:pt idx="0">
                  <c:v>0</c:v>
                </c:pt>
                <c:pt idx="1">
                  <c:v>0.8958271129645706</c:v>
                </c:pt>
              </c:numCache>
            </c:numRef>
          </c:xVal>
          <c:yVal>
            <c:numRef>
              <c:f>Sheet1!$B$112:$B$113</c:f>
              <c:numCache>
                <c:formatCode>General</c:formatCode>
                <c:ptCount val="2"/>
                <c:pt idx="0">
                  <c:v>0.0949933825354064</c:v>
                </c:pt>
                <c:pt idx="1">
                  <c:v>0.0949933825354064</c:v>
                </c:pt>
              </c:numCache>
            </c:numRef>
          </c:yVal>
          <c:smooth val="0"/>
          <c:extLst>
            <c:ext xmlns:c16="http://schemas.microsoft.com/office/drawing/2014/chart" uri="{C3380CC4-5D6E-409C-BE32-E72D297353CC}">
              <c16:uniqueId val="{00000015-096C-4121-9522-6AB7243CCAAE}"/>
            </c:ext>
          </c:extLst>
        </c:ser>
        <c:ser>
          <c:idx val="7"/>
          <c:order val="7"/>
          <c:tx>
            <c:strRef>
              <c:f>Sheet1!$B$11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0.8958271129645706</c:v>
                </c:pt>
                <c:pt idx="1">
                  <c:v>0.8958271129645706</c:v>
                </c:pt>
              </c:numCache>
            </c:numRef>
          </c:xVal>
          <c:yVal>
            <c:numRef>
              <c:f>Sheet1!$B$116:$B$117</c:f>
              <c:numCache>
                <c:formatCode>General</c:formatCode>
                <c:ptCount val="2"/>
                <c:pt idx="0">
                  <c:v>0.09499338253540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1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0:$A$151</c:f>
              <c:numCache>
                <c:formatCode>General</c:formatCode>
                <c:ptCount val="32"/>
                <c:pt idx="0">
                  <c:v>0.9502077256065281</c:v>
                </c:pt>
                <c:pt idx="1">
                  <c:v>1.4614852837177605</c:v>
                </c:pt>
                <c:pt idx="2">
                  <c:v>0.6984404762385968</c:v>
                </c:pt>
                <c:pt idx="3">
                  <c:v>0.8673665083691386</c:v>
                </c:pt>
                <c:pt idx="4">
                  <c:v>1.6307292909332831</c:v>
                </c:pt>
                <c:pt idx="5">
                  <c:v>0.6626337739140092</c:v>
                </c:pt>
                <c:pt idx="6">
                  <c:v>0.7667952306544205</c:v>
                </c:pt>
                <c:pt idx="7">
                  <c:v>1.058179966036499</c:v>
                </c:pt>
                <c:pt idx="8">
                  <c:v>1.37851908615166</c:v>
                </c:pt>
                <c:pt idx="9">
                  <c:v>1.1031114562435207</c:v>
                </c:pt>
                <c:pt idx="10">
                  <c:v>0.731232932942467</c:v>
                </c:pt>
                <c:pt idx="11">
                  <c:v>0.9053016432378729</c:v>
                </c:pt>
                <c:pt idx="12">
                  <c:v>0.4962058254712875</c:v>
                </c:pt>
                <c:pt idx="13">
                  <c:v>1.0887508937954995</c:v>
                </c:pt>
                <c:pt idx="14">
                  <c:v>0.5837710511797026</c:v>
                </c:pt>
                <c:pt idx="15">
                  <c:v>0.8187452729980034</c:v>
                </c:pt>
                <c:pt idx="16">
                  <c:v>0.5525320802349688</c:v>
                </c:pt>
                <c:pt idx="17">
                  <c:v>0.7218019770515641</c:v>
                </c:pt>
                <c:pt idx="18">
                  <c:v>0.765700051902048</c:v>
                </c:pt>
                <c:pt idx="19">
                  <c:v>2.354404385930151</c:v>
                </c:pt>
                <c:pt idx="20">
                  <c:v>0.929755704959851</c:v>
                </c:pt>
                <c:pt idx="21">
                  <c:v>1.0955803010327025</c:v>
                </c:pt>
                <c:pt idx="22">
                  <c:v>1.361976058406226</c:v>
                </c:pt>
                <c:pt idx="23">
                  <c:v>0.8312084979497011</c:v>
                </c:pt>
                <c:pt idx="24">
                  <c:v>0.8633633757893148</c:v>
                </c:pt>
                <c:pt idx="25">
                  <c:v>0.629393441939201</c:v>
                </c:pt>
                <c:pt idx="26">
                  <c:v>0.9880907962945534</c:v>
                </c:pt>
                <c:pt idx="27">
                  <c:v>0.8357228565122964</c:v>
                </c:pt>
                <c:pt idx="28">
                  <c:v>0.8166097493187977</c:v>
                </c:pt>
                <c:pt idx="29">
                  <c:v>1.603342025606308</c:v>
                </c:pt>
                <c:pt idx="30">
                  <c:v>1.603342025606308</c:v>
                </c:pt>
                <c:pt idx="31">
                  <c:v>0.8958271129645706</c:v>
                </c:pt>
              </c:numCache>
            </c:numRef>
          </c:xVal>
          <c:yVal>
            <c:numRef>
              <c:f>Sheet1!$B$120:$B$151</c:f>
              <c:numCache>
                <c:formatCode>General</c:formatCode>
                <c:ptCount val="32"/>
                <c:pt idx="0">
                  <c:v>0.10684271566608632</c:v>
                </c:pt>
                <c:pt idx="1">
                  <c:v>0.21824819298552106</c:v>
                </c:pt>
                <c:pt idx="2">
                  <c:v>0.05198356891837512</c:v>
                </c:pt>
                <c:pt idx="3">
                  <c:v>0.08879192270316395</c:v>
                </c:pt>
                <c:pt idx="4">
                  <c:v>0.2551258323580615</c:v>
                </c:pt>
                <c:pt idx="5">
                  <c:v>0.044181421727635825</c:v>
                </c:pt>
                <c:pt idx="6">
                  <c:v>0.06687781554026744</c:v>
                </c:pt>
                <c:pt idx="7">
                  <c:v>0.13036946506378377</c:v>
                </c:pt>
                <c:pt idx="8">
                  <c:v>0.20017016727405595</c:v>
                </c:pt>
                <c:pt idx="9">
                  <c:v>0.14015986957846377</c:v>
                </c:pt>
                <c:pt idx="10">
                  <c:v>0.05912892320512979</c:v>
                </c:pt>
                <c:pt idx="11">
                  <c:v>0.0970578474248374</c:v>
                </c:pt>
                <c:pt idx="12">
                  <c:v>0.007917391082422273</c:v>
                </c:pt>
                <c:pt idx="13">
                  <c:v>0.13703075646032198</c:v>
                </c:pt>
                <c:pt idx="14">
                  <c:v>0.026997527911951744</c:v>
                </c:pt>
                <c:pt idx="15">
                  <c:v>0.07819753644769785</c:v>
                </c:pt>
                <c:pt idx="16">
                  <c:v>0.020190672391199788</c:v>
                </c:pt>
                <c:pt idx="17">
                  <c:v>0.05707395301147229</c:v>
                </c:pt>
                <c:pt idx="18">
                  <c:v>0.06663918016556238</c:v>
                </c:pt>
                <c:pt idx="19">
                  <c:v>0.41281194257996484</c:v>
                </c:pt>
                <c:pt idx="20">
                  <c:v>0.10238629647431279</c:v>
                </c:pt>
                <c:pt idx="21">
                  <c:v>0.1385188588833583</c:v>
                </c:pt>
                <c:pt idx="22">
                  <c:v>0.1965655030891128</c:v>
                </c:pt>
                <c:pt idx="23">
                  <c:v>0.08091322678586306</c:v>
                </c:pt>
                <c:pt idx="24">
                  <c:v>0.08791965501068834</c:v>
                </c:pt>
                <c:pt idx="25">
                  <c:v>0.03693847708600083</c:v>
                </c:pt>
                <c:pt idx="26">
                  <c:v>0.11509729579652726</c:v>
                </c:pt>
                <c:pt idx="27">
                  <c:v>0.08189688871758351</c:v>
                </c:pt>
                <c:pt idx="28">
                  <c:v>0.07773221378482224</c:v>
                </c:pt>
                <c:pt idx="29">
                  <c:v>0.2491582491582492</c:v>
                </c:pt>
                <c:pt idx="30">
                  <c:v>0.2491582491582492</c:v>
                </c:pt>
                <c:pt idx="31">
                  <c:v>0.094993382535406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3765690376569"/>
          <c:min val="0.001307189542483660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2</c:f>
              <c:numCache>
                <c:formatCode>General</c:formatCode>
                <c:ptCount val="61"/>
                <c:pt idx="0">
                  <c:v>629.85</c:v>
                </c:pt>
                <c:pt idx="1">
                  <c:v>599.8571</c:v>
                </c:pt>
                <c:pt idx="2">
                  <c:v>1419.8861</c:v>
                </c:pt>
                <c:pt idx="3">
                  <c:v>646.0</c:v>
                </c:pt>
                <c:pt idx="4">
                  <c:v>1810.5333</c:v>
                </c:pt>
                <c:pt idx="5">
                  <c:v>1285.6667</c:v>
                </c:pt>
                <c:pt idx="6">
                  <c:v>1517.2857</c:v>
                </c:pt>
                <c:pt idx="7">
                  <c:v>1697.7</c:v>
                </c:pt>
                <c:pt idx="8">
                  <c:v>714.0333</c:v>
                </c:pt>
                <c:pt idx="9">
                  <c:v>678.1299</c:v>
                </c:pt>
                <c:pt idx="10">
                  <c:v>925.4167</c:v>
                </c:pt>
                <c:pt idx="11">
                  <c:v>925.4167</c:v>
                </c:pt>
                <c:pt idx="12">
                  <c:v>1304.3588</c:v>
                </c:pt>
                <c:pt idx="13">
                  <c:v>1524.5</c:v>
                </c:pt>
                <c:pt idx="14">
                  <c:v>1269.0</c:v>
                </c:pt>
                <c:pt idx="15">
                  <c:v>146.375</c:v>
                </c:pt>
                <c:pt idx="16">
                  <c:v>1773.0714</c:v>
                </c:pt>
                <c:pt idx="17">
                  <c:v>3436.5</c:v>
                </c:pt>
                <c:pt idx="18">
                  <c:v>1546.7093</c:v>
                </c:pt>
                <c:pt idx="19">
                  <c:v>1180.3151</c:v>
                </c:pt>
                <c:pt idx="20">
                  <c:v>1639.58</c:v>
                </c:pt>
                <c:pt idx="21">
                  <c:v>2228.6667</c:v>
                </c:pt>
                <c:pt idx="22">
                  <c:v>800.7321</c:v>
                </c:pt>
                <c:pt idx="23">
                  <c:v>1505.4516</c:v>
                </c:pt>
                <c:pt idx="24">
                  <c:v>984.4545</c:v>
                </c:pt>
                <c:pt idx="25">
                  <c:v>873.5297</c:v>
                </c:pt>
                <c:pt idx="26">
                  <c:v>1894.9184</c:v>
                </c:pt>
                <c:pt idx="27">
                  <c:v>1117.3077</c:v>
                </c:pt>
                <c:pt idx="28">
                  <c:v>1129.8571</c:v>
                </c:pt>
                <c:pt idx="29">
                  <c:v>1160.4857</c:v>
                </c:pt>
                <c:pt idx="30">
                  <c:v>1310.4895</c:v>
                </c:pt>
                <c:pt idx="31">
                  <c:v>1116.6154</c:v>
                </c:pt>
                <c:pt idx="32">
                  <c:v>1335.625</c:v>
                </c:pt>
                <c:pt idx="33">
                  <c:v>7344.0</c:v>
                </c:pt>
                <c:pt idx="34">
                  <c:v>1130.75</c:v>
                </c:pt>
                <c:pt idx="35">
                  <c:v>7044.0</c:v>
                </c:pt>
                <c:pt idx="36">
                  <c:v>2083.1429</c:v>
                </c:pt>
                <c:pt idx="37">
                  <c:v>1374.3333</c:v>
                </c:pt>
                <c:pt idx="38">
                  <c:v>1366.5833</c:v>
                </c:pt>
                <c:pt idx="39">
                  <c:v>1101.4063</c:v>
                </c:pt>
                <c:pt idx="40">
                  <c:v>1129.0233</c:v>
                </c:pt>
                <c:pt idx="41">
                  <c:v>1097.4</c:v>
                </c:pt>
                <c:pt idx="42">
                  <c:v>1214.0</c:v>
                </c:pt>
                <c:pt idx="43">
                  <c:v>1160.4706</c:v>
                </c:pt>
                <c:pt idx="44">
                  <c:v>2249.7273</c:v>
                </c:pt>
                <c:pt idx="45">
                  <c:v>1615.8571</c:v>
                </c:pt>
                <c:pt idx="46">
                  <c:v>4285.75</c:v>
                </c:pt>
                <c:pt idx="47">
                  <c:v>1443.1216</c:v>
                </c:pt>
                <c:pt idx="48">
                  <c:v>2792.0</c:v>
                </c:pt>
                <c:pt idx="49">
                  <c:v>1790.6796</c:v>
                </c:pt>
                <c:pt idx="50">
                  <c:v>1830.7097</c:v>
                </c:pt>
                <c:pt idx="51">
                  <c:v>1145.8</c:v>
                </c:pt>
                <c:pt idx="52">
                  <c:v>1147.036</c:v>
                </c:pt>
                <c:pt idx="53">
                  <c:v>1141.8333</c:v>
                </c:pt>
                <c:pt idx="54">
                  <c:v>1423.6154</c:v>
                </c:pt>
                <c:pt idx="55">
                  <c:v>1112.6111</c:v>
                </c:pt>
                <c:pt idx="56">
                  <c:v>597.5082</c:v>
                </c:pt>
                <c:pt idx="57">
                  <c:v>1016.7</c:v>
                </c:pt>
                <c:pt idx="58">
                  <c:v>796.3098</c:v>
                </c:pt>
                <c:pt idx="59">
                  <c:v>1397.76</c:v>
                </c:pt>
                <c:pt idx="60">
                  <c:v>1729.2222</c:v>
                </c:pt>
              </c:numCache>
            </c:numRef>
          </c:xVal>
          <c:yVal>
            <c:numRef>
              <c:f>Sheet1!$B$2:$B$62</c:f>
              <c:numCache>
                <c:formatCode>General</c:formatCode>
                <c:ptCount val="61"/>
                <c:pt idx="0">
                  <c:v>0.01330671989354624</c:v>
                </c:pt>
                <c:pt idx="1">
                  <c:v>0.011824324324324325</c:v>
                </c:pt>
                <c:pt idx="2">
                  <c:v>0.23372781065088757</c:v>
                </c:pt>
                <c:pt idx="3">
                  <c:v>0.06280193236714976</c:v>
                </c:pt>
                <c:pt idx="4">
                  <c:v>0.05628517823639775</c:v>
                </c:pt>
                <c:pt idx="5">
                  <c:v>0.05263157894736842</c:v>
                </c:pt>
                <c:pt idx="6">
                  <c:v>0.0472972972972973</c:v>
                </c:pt>
                <c:pt idx="7">
                  <c:v>0.057803468208092484</c:v>
                </c:pt>
                <c:pt idx="8">
                  <c:v>0.04032258064516129</c:v>
                </c:pt>
                <c:pt idx="9">
                  <c:v>0.30078125</c:v>
                </c:pt>
                <c:pt idx="10">
                  <c:v>0.1978021978021978</c:v>
                </c:pt>
                <c:pt idx="11">
                  <c:v>0.12</c:v>
                </c:pt>
                <c:pt idx="12">
                  <c:v>0.2503871966959215</c:v>
                </c:pt>
                <c:pt idx="13">
                  <c:v>0.027649769585253458</c:v>
                </c:pt>
                <c:pt idx="14">
                  <c:v>0.016203703703703703</c:v>
                </c:pt>
                <c:pt idx="15">
                  <c:v>0.09876543209876543</c:v>
                </c:pt>
                <c:pt idx="16">
                  <c:v>0.029723991507430998</c:v>
                </c:pt>
                <c:pt idx="17">
                  <c:v>0.00392156862745098</c:v>
                </c:pt>
                <c:pt idx="18">
                  <c:v>0.04994192799070848</c:v>
                </c:pt>
                <c:pt idx="19">
                  <c:v>0.0863905325443787</c:v>
                </c:pt>
                <c:pt idx="20">
                  <c:v>0.0254841997961264</c:v>
                </c:pt>
                <c:pt idx="21">
                  <c:v>0.00949367088607595</c:v>
                </c:pt>
                <c:pt idx="22">
                  <c:v>0.07239819004524888</c:v>
                </c:pt>
                <c:pt idx="23">
                  <c:v>0.059961315280464215</c:v>
                </c:pt>
                <c:pt idx="24">
                  <c:v>0.00909090909090909</c:v>
                </c:pt>
                <c:pt idx="25">
                  <c:v>0.1600633914421553</c:v>
                </c:pt>
                <c:pt idx="26">
                  <c:v>0.04914744232698094</c:v>
                </c:pt>
                <c:pt idx="27">
                  <c:v>0.052489905787348586</c:v>
                </c:pt>
                <c:pt idx="28">
                  <c:v>0.006517690875232775</c:v>
                </c:pt>
                <c:pt idx="29">
                  <c:v>0.035246727089627394</c:v>
                </c:pt>
                <c:pt idx="30">
                  <c:v>0.19066666666666668</c:v>
                </c:pt>
                <c:pt idx="31">
                  <c:v>0.23780487804878048</c:v>
                </c:pt>
                <c:pt idx="32">
                  <c:v>0.026272577996715927</c:v>
                </c:pt>
                <c:pt idx="33">
                  <c:v>0.00228310502283105</c:v>
                </c:pt>
                <c:pt idx="34">
                  <c:v>0.07785888077858881</c:v>
                </c:pt>
                <c:pt idx="35">
                  <c:v>0.0016339869281045752</c:v>
                </c:pt>
                <c:pt idx="36">
                  <c:v>0.009510869565217392</c:v>
                </c:pt>
                <c:pt idx="37">
                  <c:v>0.01437125748502994</c:v>
                </c:pt>
                <c:pt idx="38">
                  <c:v>0.08888888888888889</c:v>
                </c:pt>
                <c:pt idx="39">
                  <c:v>0.11895910780669144</c:v>
                </c:pt>
                <c:pt idx="40">
                  <c:v>0.0730050933786078</c:v>
                </c:pt>
                <c:pt idx="41">
                  <c:v>0.02881844380403458</c:v>
                </c:pt>
                <c:pt idx="42">
                  <c:v>0.008915304606240713</c:v>
                </c:pt>
                <c:pt idx="43">
                  <c:v>0.016361886429258902</c:v>
                </c:pt>
                <c:pt idx="44">
                  <c:v>0.022494887525562373</c:v>
                </c:pt>
                <c:pt idx="45">
                  <c:v>0.02666666666666667</c:v>
                </c:pt>
                <c:pt idx="46">
                  <c:v>0.00975609756097561</c:v>
                </c:pt>
                <c:pt idx="47">
                  <c:v>0.2540045766590389</c:v>
                </c:pt>
                <c:pt idx="48">
                  <c:v>0.002621231979030144</c:v>
                </c:pt>
                <c:pt idx="49">
                  <c:v>0.15236686390532544</c:v>
                </c:pt>
                <c:pt idx="50">
                  <c:v>0.42081447963800905</c:v>
                </c:pt>
                <c:pt idx="51">
                  <c:v>0.030211480362537766</c:v>
                </c:pt>
                <c:pt idx="52">
                  <c:v>0.13602941176470587</c:v>
                </c:pt>
                <c:pt idx="53">
                  <c:v>0.008438818565400843</c:v>
                </c:pt>
                <c:pt idx="54">
                  <c:v>0.04391891891891892</c:v>
                </c:pt>
                <c:pt idx="55">
                  <c:v>0.026905829596412557</c:v>
                </c:pt>
                <c:pt idx="56">
                  <c:v>0.09256449165402124</c:v>
                </c:pt>
                <c:pt idx="57">
                  <c:v>0.025252525252525252</c:v>
                </c:pt>
                <c:pt idx="58">
                  <c:v>0.2010928961748634</c:v>
                </c:pt>
                <c:pt idx="59">
                  <c:v>0.05411255411255411</c:v>
                </c:pt>
                <c:pt idx="60">
                  <c:v>0.02278481012658228</c:v>
                </c:pt>
              </c:numCache>
            </c:numRef>
          </c:yVal>
          <c:smooth val="0"/>
          <c:extLst>
            <c:ext xmlns:c16="http://schemas.microsoft.com/office/drawing/2014/chart" uri="{C3380CC4-5D6E-409C-BE32-E72D297353CC}">
              <c16:uniqueId val="{00000000-F32D-48B7-BC20-E66FC6253BAD}"/>
            </c:ext>
          </c:extLst>
        </c:ser>
        <c:ser>
          <c:idx val="1"/>
          <c:order val="1"/>
          <c:tx>
            <c:strRef>
              <c:f>Sheet1!$B$6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5:$A$93</c:f>
              <c:numCache>
                <c:formatCode>General</c:formatCode>
                <c:ptCount val="29"/>
                <c:pt idx="0">
                  <c:v>1247.0568</c:v>
                </c:pt>
                <c:pt idx="1">
                  <c:v>1592.1105</c:v>
                </c:pt>
                <c:pt idx="2">
                  <c:v>881.2308</c:v>
                </c:pt>
                <c:pt idx="3">
                  <c:v>1093.129</c:v>
                </c:pt>
                <c:pt idx="4">
                  <c:v>2398.3333</c:v>
                </c:pt>
                <c:pt idx="5">
                  <c:v>737.4167</c:v>
                </c:pt>
                <c:pt idx="6">
                  <c:v>825.5</c:v>
                </c:pt>
                <c:pt idx="7">
                  <c:v>1034.2051</c:v>
                </c:pt>
                <c:pt idx="8">
                  <c:v>2360.0</c:v>
                </c:pt>
                <c:pt idx="9">
                  <c:v>1066.5357</c:v>
                </c:pt>
                <c:pt idx="10">
                  <c:v>768.5</c:v>
                </c:pt>
                <c:pt idx="11">
                  <c:v>1055.8983</c:v>
                </c:pt>
                <c:pt idx="12">
                  <c:v>838.0183</c:v>
                </c:pt>
                <c:pt idx="13">
                  <c:v>1452.0</c:v>
                </c:pt>
                <c:pt idx="14">
                  <c:v>792.7333</c:v>
                </c:pt>
                <c:pt idx="15">
                  <c:v>817.9655</c:v>
                </c:pt>
                <c:pt idx="16">
                  <c:v>774.6071</c:v>
                </c:pt>
                <c:pt idx="17">
                  <c:v>1034.3514</c:v>
                </c:pt>
                <c:pt idx="18">
                  <c:v>723.1818</c:v>
                </c:pt>
                <c:pt idx="19">
                  <c:v>1057.5556</c:v>
                </c:pt>
                <c:pt idx="20">
                  <c:v>1033.2258</c:v>
                </c:pt>
                <c:pt idx="21">
                  <c:v>1345.6923</c:v>
                </c:pt>
                <c:pt idx="22">
                  <c:v>1133.7895</c:v>
                </c:pt>
                <c:pt idx="23">
                  <c:v>907.75</c:v>
                </c:pt>
                <c:pt idx="24">
                  <c:v>1001.5231</c:v>
                </c:pt>
                <c:pt idx="25">
                  <c:v>1051.7875</c:v>
                </c:pt>
                <c:pt idx="26">
                  <c:v>973.2308</c:v>
                </c:pt>
                <c:pt idx="27">
                  <c:v>1008.7917</c:v>
                </c:pt>
                <c:pt idx="28">
                  <c:v>1067.1515</c:v>
                </c:pt>
              </c:numCache>
            </c:numRef>
          </c:xVal>
          <c:yVal>
            <c:numRef>
              <c:f>Sheet1!$B$65:$B$93</c:f>
              <c:numCache>
                <c:formatCode>General</c:formatCode>
                <c:ptCount val="29"/>
                <c:pt idx="0">
                  <c:v>0.08333333333333333</c:v>
                </c:pt>
                <c:pt idx="1">
                  <c:v>0.21608040201005024</c:v>
                </c:pt>
                <c:pt idx="2">
                  <c:v>0.024714828897338403</c:v>
                </c:pt>
                <c:pt idx="3">
                  <c:v>0.18594687232219365</c:v>
                </c:pt>
                <c:pt idx="4">
                  <c:v>0.006896551724137931</c:v>
                </c:pt>
                <c:pt idx="5">
                  <c:v>0.013333333333333334</c:v>
                </c:pt>
                <c:pt idx="6">
                  <c:v>0.013015184381778741</c:v>
                </c:pt>
                <c:pt idx="7">
                  <c:v>0.21666666666666667</c:v>
                </c:pt>
                <c:pt idx="8">
                  <c:v>0.020761245674740483</c:v>
                </c:pt>
                <c:pt idx="9">
                  <c:v>0.0380952380952381</c:v>
                </c:pt>
                <c:pt idx="10">
                  <c:v>0.06153846153846154</c:v>
                </c:pt>
                <c:pt idx="11">
                  <c:v>0.09719934102141681</c:v>
                </c:pt>
                <c:pt idx="12">
                  <c:v>0.1332518337408313</c:v>
                </c:pt>
                <c:pt idx="13">
                  <c:v>0.01090909090909091</c:v>
                </c:pt>
                <c:pt idx="14">
                  <c:v>0.03783102143757881</c:v>
                </c:pt>
                <c:pt idx="15">
                  <c:v>0.04588607594936709</c:v>
                </c:pt>
                <c:pt idx="16">
                  <c:v>0.0681265206812652</c:v>
                </c:pt>
                <c:pt idx="17">
                  <c:v>0.24915824915824916</c:v>
                </c:pt>
                <c:pt idx="18">
                  <c:v>0.026128266033254157</c:v>
                </c:pt>
                <c:pt idx="19">
                  <c:v>0.7531380753138075</c:v>
                </c:pt>
                <c:pt idx="20">
                  <c:v>0.12180746561886051</c:v>
                </c:pt>
                <c:pt idx="21">
                  <c:v>0.02127659574468085</c:v>
                </c:pt>
                <c:pt idx="22">
                  <c:v>0.10401459854014598</c:v>
                </c:pt>
                <c:pt idx="23">
                  <c:v>0.04664723032069971</c:v>
                </c:pt>
                <c:pt idx="24">
                  <c:v>0.22491349480968859</c:v>
                </c:pt>
                <c:pt idx="25">
                  <c:v>0.16913319238900634</c:v>
                </c:pt>
                <c:pt idx="26">
                  <c:v>0.01870503597122302</c:v>
                </c:pt>
                <c:pt idx="27">
                  <c:v>0.04660194174757282</c:v>
                </c:pt>
                <c:pt idx="28">
                  <c:v>0.1286549707602339</c:v>
                </c:pt>
              </c:numCache>
            </c:numRef>
          </c:yVal>
          <c:smooth val="0"/>
          <c:extLst>
            <c:ext xmlns:c16="http://schemas.microsoft.com/office/drawing/2014/chart" uri="{C3380CC4-5D6E-409C-BE32-E72D297353CC}">
              <c16:uniqueId val="{00000002-F32D-48B7-BC20-E66FC6253BAD}"/>
            </c:ext>
          </c:extLst>
        </c:ser>
        <c:ser>
          <c:idx val="2"/>
          <c:order val="2"/>
          <c:tx>
            <c:strRef>
              <c:f>Sheet1!$B$95</c:f>
              <c:strCache>
                <c:ptCount val="1"/>
                <c:pt idx="0">
                  <c:v>Custom Linep3yQ</c:v>
                </c:pt>
              </c:strCache>
            </c:strRef>
          </c:tx>
          <c:spPr>
            <a:ln w="19050" cap="rnd">
              <a:solidFill>
                <a:srgbClr val="C00000"/>
              </a:solidFill>
              <a:prstDash val="sysDot"/>
              <a:round/>
            </a:ln>
            <a:effectLst/>
          </c:spPr>
          <c:marker>
            <c:symbol val="none"/>
          </c:marker>
          <c:xVal>
            <c:numRef>
              <c:f>Sheet1!$A$96:$A$97</c:f>
              <c:numCache>
                <c:formatCode>General</c:formatCode>
                <c:ptCount val="2"/>
                <c:pt idx="0">
                  <c:v>0</c:v>
                </c:pt>
                <c:pt idx="1">
                  <c:v>-5026.555037051931</c:v>
                </c:pt>
              </c:numCache>
            </c:numRef>
          </c:xVal>
          <c:yVal>
            <c:numRef>
              <c:f>Sheet1!$B$96:$B$97</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3-F32D-48B7-BC20-E66FC6253BAD}"/>
            </c:ext>
          </c:extLst>
        </c:ser>
        <c:ser>
          <c:idx val="3"/>
          <c:order val="3"/>
          <c:tx>
            <c:strRef>
              <c:f>Sheet1!$B$9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0:$A$101</c:f>
              <c:numCache>
                <c:formatCode>General</c:formatCode>
                <c:ptCount val="2"/>
                <c:pt idx="0">
                  <c:v>-5026.555037051931</c:v>
                </c:pt>
                <c:pt idx="1">
                  <c:v>-5026.555037051931</c:v>
                </c:pt>
              </c:numCache>
            </c:numRef>
          </c:xVal>
          <c:yVal>
            <c:numRef>
              <c:f>Sheet1!$B$100:$B$101</c:f>
              <c:numCache>
                <c:formatCode>General</c:formatCode>
                <c:ptCount val="2"/>
                <c:pt idx="0">
                  <c:v>0.2491582491582491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04:$A$105</c:f>
              <c:numCache>
                <c:formatCode>General</c:formatCode>
                <c:ptCount val="2"/>
                <c:pt idx="0">
                  <c:v>0</c:v>
                </c:pt>
                <c:pt idx="1">
                  <c:v>-5026.555037051931</c:v>
                </c:pt>
              </c:numCache>
            </c:numRef>
          </c:xVal>
          <c:yVal>
            <c:numRef>
              <c:f>Sheet1!$B$104:$B$105</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A-F32D-48B7-BC20-E66FC6253BAD}"/>
            </c:ext>
          </c:extLst>
        </c:ser>
        <c:ser>
          <c:idx val="5"/>
          <c:order val="5"/>
          <c:tx>
            <c:strRef>
              <c:f>Sheet1!$B$10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8:$A$109</c:f>
              <c:numCache>
                <c:formatCode>General</c:formatCode>
                <c:ptCount val="2"/>
                <c:pt idx="0">
                  <c:v>-5026.555037051931</c:v>
                </c:pt>
                <c:pt idx="1">
                  <c:v>-5026.555037051931</c:v>
                </c:pt>
              </c:numCache>
            </c:numRef>
          </c:xVal>
          <c:yVal>
            <c:numRef>
              <c:f>Sheet1!$B$108:$B$109</c:f>
              <c:numCache>
                <c:formatCode>General</c:formatCode>
                <c:ptCount val="2"/>
                <c:pt idx="0">
                  <c:v>0.2491582491582491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2:$A$113</c:f>
              <c:numCache>
                <c:formatCode>General</c:formatCode>
                <c:ptCount val="2"/>
                <c:pt idx="0">
                  <c:v>0</c:v>
                </c:pt>
                <c:pt idx="1">
                  <c:v>1756.8175930995599</c:v>
                </c:pt>
              </c:numCache>
            </c:numRef>
          </c:xVal>
          <c:yVal>
            <c:numRef>
              <c:f>Sheet1!$B$112:$B$113</c:f>
              <c:numCache>
                <c:formatCode>General</c:formatCode>
                <c:ptCount val="2"/>
                <c:pt idx="0">
                  <c:v>0.0949933825354064</c:v>
                </c:pt>
                <c:pt idx="1">
                  <c:v>0.0949933825354064</c:v>
                </c:pt>
              </c:numCache>
            </c:numRef>
          </c:yVal>
          <c:smooth val="0"/>
          <c:extLst>
            <c:ext xmlns:c16="http://schemas.microsoft.com/office/drawing/2014/chart" uri="{C3380CC4-5D6E-409C-BE32-E72D297353CC}">
              <c16:uniqueId val="{00000011-F32D-48B7-BC20-E66FC6253BAD}"/>
            </c:ext>
          </c:extLst>
        </c:ser>
        <c:ser>
          <c:idx val="7"/>
          <c:order val="7"/>
          <c:tx>
            <c:strRef>
              <c:f>Sheet1!$B$11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1756.8175930995599</c:v>
                </c:pt>
                <c:pt idx="1">
                  <c:v>1756.8175930995599</c:v>
                </c:pt>
              </c:numCache>
            </c:numRef>
          </c:xVal>
          <c:yVal>
            <c:numRef>
              <c:f>Sheet1!$B$116:$B$117</c:f>
              <c:numCache>
                <c:formatCode>General</c:formatCode>
                <c:ptCount val="2"/>
                <c:pt idx="0">
                  <c:v>0.09499338253540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1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0:$A$151</c:f>
              <c:numCache>
                <c:formatCode>General</c:formatCode>
                <c:ptCount val="32"/>
                <c:pt idx="0">
                  <c:v>1247.0568</c:v>
                </c:pt>
                <c:pt idx="1">
                  <c:v>1592.1105</c:v>
                </c:pt>
                <c:pt idx="2">
                  <c:v>881.2308</c:v>
                </c:pt>
                <c:pt idx="3">
                  <c:v>1093.129</c:v>
                </c:pt>
                <c:pt idx="4">
                  <c:v>2398.3333</c:v>
                </c:pt>
                <c:pt idx="5">
                  <c:v>737.4167</c:v>
                </c:pt>
                <c:pt idx="6">
                  <c:v>825.5</c:v>
                </c:pt>
                <c:pt idx="7">
                  <c:v>1034.2051</c:v>
                </c:pt>
                <c:pt idx="8">
                  <c:v>2360.0</c:v>
                </c:pt>
                <c:pt idx="9">
                  <c:v>1066.5357</c:v>
                </c:pt>
                <c:pt idx="10">
                  <c:v>768.5</c:v>
                </c:pt>
                <c:pt idx="11">
                  <c:v>1055.8983</c:v>
                </c:pt>
                <c:pt idx="12">
                  <c:v>838.0183</c:v>
                </c:pt>
                <c:pt idx="13">
                  <c:v>1452.0</c:v>
                </c:pt>
                <c:pt idx="14">
                  <c:v>792.7333</c:v>
                </c:pt>
                <c:pt idx="15">
                  <c:v>817.9655</c:v>
                </c:pt>
                <c:pt idx="16">
                  <c:v>774.6071</c:v>
                </c:pt>
                <c:pt idx="17">
                  <c:v>1034.3514</c:v>
                </c:pt>
                <c:pt idx="18">
                  <c:v>723.1818</c:v>
                </c:pt>
                <c:pt idx="19">
                  <c:v>1057.5556</c:v>
                </c:pt>
                <c:pt idx="20">
                  <c:v>1033.2258</c:v>
                </c:pt>
                <c:pt idx="21">
                  <c:v>1345.6923</c:v>
                </c:pt>
                <c:pt idx="22">
                  <c:v>1133.7895</c:v>
                </c:pt>
                <c:pt idx="23">
                  <c:v>907.75</c:v>
                </c:pt>
                <c:pt idx="24">
                  <c:v>1001.5231</c:v>
                </c:pt>
                <c:pt idx="25">
                  <c:v>1051.7875</c:v>
                </c:pt>
                <c:pt idx="26">
                  <c:v>973.2308</c:v>
                </c:pt>
                <c:pt idx="27">
                  <c:v>1008.7917</c:v>
                </c:pt>
                <c:pt idx="28">
                  <c:v>1067.1515</c:v>
                </c:pt>
                <c:pt idx="29">
                  <c:v>-5026.555037051931</c:v>
                </c:pt>
                <c:pt idx="30">
                  <c:v>-5026.555037051931</c:v>
                </c:pt>
                <c:pt idx="31">
                  <c:v>1756.8175930995599</c:v>
                </c:pt>
              </c:numCache>
            </c:numRef>
          </c:xVal>
          <c:yVal>
            <c:numRef>
              <c:f>Sheet1!$B$120:$B$151</c:f>
              <c:numCache>
                <c:formatCode>General</c:formatCode>
                <c:ptCount val="32"/>
                <c:pt idx="0">
                  <c:v>0.10657865271921364</c:v>
                </c:pt>
                <c:pt idx="1">
                  <c:v>0.09873666016793162</c:v>
                </c:pt>
                <c:pt idx="2">
                  <c:v>0.1148927347506925</c:v>
                </c:pt>
                <c:pt idx="3">
                  <c:v>0.11007695069728266</c:v>
                </c:pt>
                <c:pt idx="4">
                  <c:v>0.08041373480218784</c:v>
                </c:pt>
                <c:pt idx="5">
                  <c:v>0.1181611799259488</c:v>
                </c:pt>
                <c:pt idx="6">
                  <c:v>0.11615932171520554</c:v>
                </c:pt>
                <c:pt idx="7">
                  <c:v>0.11141610684860775</c:v>
                </c:pt>
                <c:pt idx="8">
                  <c:v>0.08128493094663161</c:v>
                </c:pt>
                <c:pt idx="9">
                  <c:v>0.11068133332095546</c:v>
                </c:pt>
                <c:pt idx="10">
                  <c:v>0.11745475363036273</c:v>
                </c:pt>
                <c:pt idx="11">
                  <c:v>0.11092308818857463</c:v>
                </c:pt>
                <c:pt idx="12">
                  <c:v>0.11587481986707375</c:v>
                </c:pt>
                <c:pt idx="13">
                  <c:v>0.10192093408632866</c:v>
                </c:pt>
                <c:pt idx="14">
                  <c:v>0.11690400643335258</c:v>
                </c:pt>
                <c:pt idx="15">
                  <c:v>0.11633055736020119</c:v>
                </c:pt>
                <c:pt idx="16">
                  <c:v>0.11731595832774772</c:v>
                </c:pt>
                <c:pt idx="17">
                  <c:v>0.11141278190669218</c:v>
                </c:pt>
                <c:pt idx="18">
                  <c:v>0.11848469472891496</c:v>
                </c:pt>
                <c:pt idx="19">
                  <c:v>0.11088542293746954</c:v>
                </c:pt>
                <c:pt idx="20">
                  <c:v>0.11143836327798519</c:v>
                </c:pt>
                <c:pt idx="21">
                  <c:v>0.10433697597066123</c:v>
                </c:pt>
                <c:pt idx="22">
                  <c:v>0.10915286456769933</c:v>
                </c:pt>
                <c:pt idx="23">
                  <c:v>0.11429003618850941</c:v>
                </c:pt>
                <c:pt idx="24">
                  <c:v>0.11215886660038263</c:v>
                </c:pt>
                <c:pt idx="25">
                  <c:v>0.11101651382922074</c:v>
                </c:pt>
                <c:pt idx="26">
                  <c:v>0.1128018621858774</c:v>
                </c:pt>
                <c:pt idx="27">
                  <c:v>0.1119936740316368</c:v>
                </c:pt>
                <c:pt idx="28">
                  <c:v>0.11066733811089662</c:v>
                </c:pt>
                <c:pt idx="29">
                  <c:v>0.24915824915824916</c:v>
                </c:pt>
                <c:pt idx="30">
                  <c:v>0.24915824915824916</c:v>
                </c:pt>
                <c:pt idx="31">
                  <c:v>0.094993382535406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81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3765690376569"/>
          <c:min val="0.001307189542483660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9</c:f>
              <c:numCache>
                <c:formatCode>General</c:formatCode>
                <c:ptCount val="58"/>
                <c:pt idx="0">
                  <c:v>0.8723950037258754</c:v>
                </c:pt>
                <c:pt idx="1">
                  <c:v>0.933632633875903</c:v>
                </c:pt>
                <c:pt idx="2">
                  <c:v>2.1125956509771537</c:v>
                </c:pt>
                <c:pt idx="3">
                  <c:v>1.1285191104055052</c:v>
                </c:pt>
                <c:pt idx="4">
                  <c:v>1.2091372588424436</c:v>
                </c:pt>
                <c:pt idx="5">
                  <c:v>2.621561625619216</c:v>
                </c:pt>
                <c:pt idx="6">
                  <c:v>1.0061490061490062</c:v>
                </c:pt>
                <c:pt idx="7">
                  <c:v>1.0779685955070264</c:v>
                </c:pt>
                <c:pt idx="8">
                  <c:v>1.0217555087439734</c:v>
                </c:pt>
                <c:pt idx="9">
                  <c:v>0.9916734398539507</c:v>
                </c:pt>
                <c:pt idx="10">
                  <c:v>1.596096412556054</c:v>
                </c:pt>
                <c:pt idx="11">
                  <c:v>2.790227477891819</c:v>
                </c:pt>
                <c:pt idx="12">
                  <c:v>2.032409635460608</c:v>
                </c:pt>
                <c:pt idx="13">
                  <c:v>2.1248784589034986</c:v>
                </c:pt>
                <c:pt idx="14">
                  <c:v>1.6759329426080791</c:v>
                </c:pt>
                <c:pt idx="15">
                  <c:v>0.311336807401893</c:v>
                </c:pt>
                <c:pt idx="16">
                  <c:v>2.363176082049155</c:v>
                </c:pt>
                <c:pt idx="17">
                  <c:v>6.096173185601288</c:v>
                </c:pt>
                <c:pt idx="18">
                  <c:v>3.0926795508353186</c:v>
                </c:pt>
                <c:pt idx="19">
                  <c:v>2.368373681090839</c:v>
                </c:pt>
                <c:pt idx="20">
                  <c:v>1.3388582791892722</c:v>
                </c:pt>
                <c:pt idx="21">
                  <c:v>2.509721923521123</c:v>
                </c:pt>
                <c:pt idx="22">
                  <c:v>4.010969455382225</c:v>
                </c:pt>
                <c:pt idx="23">
                  <c:v>1.5524568627397757</c:v>
                </c:pt>
                <c:pt idx="24">
                  <c:v>2.9447591968246045</c:v>
                </c:pt>
                <c:pt idx="25">
                  <c:v>1.3924291352353755</c:v>
                </c:pt>
                <c:pt idx="26">
                  <c:v>1.312848828681082</c:v>
                </c:pt>
                <c:pt idx="27">
                  <c:v>3.098803597710548</c:v>
                </c:pt>
                <c:pt idx="28">
                  <c:v>1.193479755153008</c:v>
                </c:pt>
                <c:pt idx="29">
                  <c:v>1.3553458542343901</c:v>
                </c:pt>
                <c:pt idx="30">
                  <c:v>1.841129289335259</c:v>
                </c:pt>
                <c:pt idx="31">
                  <c:v>1.5317083676268861</c:v>
                </c:pt>
                <c:pt idx="32">
                  <c:v>3.5535446849347796</c:v>
                </c:pt>
                <c:pt idx="33">
                  <c:v>11.12025180465606</c:v>
                </c:pt>
                <c:pt idx="34">
                  <c:v>1.6888269034195627</c:v>
                </c:pt>
                <c:pt idx="35">
                  <c:v>9.928118393234673</c:v>
                </c:pt>
                <c:pt idx="36">
                  <c:v>3.7920499110940886</c:v>
                </c:pt>
                <c:pt idx="37">
                  <c:v>1.467236045367808</c:v>
                </c:pt>
                <c:pt idx="38">
                  <c:v>1.1450604733549818</c:v>
                </c:pt>
                <c:pt idx="39">
                  <c:v>2.7800649571302642</c:v>
                </c:pt>
                <c:pt idx="40">
                  <c:v>2.301691955425116</c:v>
                </c:pt>
                <c:pt idx="41">
                  <c:v>1.610327528796097</c:v>
                </c:pt>
                <c:pt idx="42">
                  <c:v>1.4667295242021245</c:v>
                </c:pt>
                <c:pt idx="43">
                  <c:v>2.308594375560627</c:v>
                </c:pt>
                <c:pt idx="44">
                  <c:v>3.2956330206204187</c:v>
                </c:pt>
                <c:pt idx="45">
                  <c:v>2.56603739726804</c:v>
                </c:pt>
                <c:pt idx="46">
                  <c:v>5.76671432175595</c:v>
                </c:pt>
                <c:pt idx="47">
                  <c:v>2.155891107242885</c:v>
                </c:pt>
                <c:pt idx="48">
                  <c:v>5.847067764625366</c:v>
                </c:pt>
                <c:pt idx="49">
                  <c:v>2.6855475492955887</c:v>
                </c:pt>
                <c:pt idx="50">
                  <c:v>2.0585635042370773</c:v>
                </c:pt>
                <c:pt idx="51">
                  <c:v>2.4534978769958795</c:v>
                </c:pt>
                <c:pt idx="52">
                  <c:v>1.9579902133142713</c:v>
                </c:pt>
                <c:pt idx="53">
                  <c:v>0.7873431742632051</c:v>
                </c:pt>
                <c:pt idx="54">
                  <c:v>1.1674792438565238</c:v>
                </c:pt>
                <c:pt idx="55">
                  <c:v>0.8186171164225134</c:v>
                </c:pt>
                <c:pt idx="56">
                  <c:v>1.4922463530304528</c:v>
                </c:pt>
                <c:pt idx="57">
                  <c:v>3.1581942417938134</c:v>
                </c:pt>
              </c:numCache>
            </c:numRef>
          </c:xVal>
          <c:yVal>
            <c:numRef>
              <c:f>Sheet1!$B$2:$B$59</c:f>
              <c:numCache>
                <c:formatCode>General</c:formatCode>
                <c:ptCount val="58"/>
                <c:pt idx="0">
                  <c:v>0.01330671989354624</c:v>
                </c:pt>
                <c:pt idx="1">
                  <c:v>0.011824324324324325</c:v>
                </c:pt>
                <c:pt idx="2">
                  <c:v>0.23372781065088757</c:v>
                </c:pt>
                <c:pt idx="3">
                  <c:v>0.06280193236714976</c:v>
                </c:pt>
                <c:pt idx="4">
                  <c:v>0.039473684210526314</c:v>
                </c:pt>
                <c:pt idx="5">
                  <c:v>0.05628517823639775</c:v>
                </c:pt>
                <c:pt idx="6">
                  <c:v>0.046583850931677016</c:v>
                </c:pt>
                <c:pt idx="7">
                  <c:v>0.06342494714587738</c:v>
                </c:pt>
                <c:pt idx="8">
                  <c:v>0.04032258064516129</c:v>
                </c:pt>
                <c:pt idx="9">
                  <c:v>0.30078125</c:v>
                </c:pt>
                <c:pt idx="10">
                  <c:v>0.12</c:v>
                </c:pt>
                <c:pt idx="11">
                  <c:v>0.2503871966959215</c:v>
                </c:pt>
                <c:pt idx="12">
                  <c:v>0.09417040358744394</c:v>
                </c:pt>
                <c:pt idx="13">
                  <c:v>0.027649769585253458</c:v>
                </c:pt>
                <c:pt idx="14">
                  <c:v>0.016203703703703703</c:v>
                </c:pt>
                <c:pt idx="15">
                  <c:v>0.09876543209876543</c:v>
                </c:pt>
                <c:pt idx="16">
                  <c:v>0.029723991507430998</c:v>
                </c:pt>
                <c:pt idx="17">
                  <c:v>0.00392156862745098</c:v>
                </c:pt>
                <c:pt idx="18">
                  <c:v>0.06790123456790123</c:v>
                </c:pt>
                <c:pt idx="19">
                  <c:v>0.04994192799070848</c:v>
                </c:pt>
                <c:pt idx="20">
                  <c:v>0.0863905325443787</c:v>
                </c:pt>
                <c:pt idx="21">
                  <c:v>0.0254841997961264</c:v>
                </c:pt>
                <c:pt idx="22">
                  <c:v>0.00949367088607595</c:v>
                </c:pt>
                <c:pt idx="23">
                  <c:v>0.07239819004524888</c:v>
                </c:pt>
                <c:pt idx="24">
                  <c:v>0.059961315280464215</c:v>
                </c:pt>
                <c:pt idx="25">
                  <c:v>0.00909090909090909</c:v>
                </c:pt>
                <c:pt idx="26">
                  <c:v>0.1600633914421553</c:v>
                </c:pt>
                <c:pt idx="27">
                  <c:v>0.04914744232698094</c:v>
                </c:pt>
                <c:pt idx="28">
                  <c:v>0.052489905787348586</c:v>
                </c:pt>
                <c:pt idx="29">
                  <c:v>0.006517690875232775</c:v>
                </c:pt>
                <c:pt idx="30">
                  <c:v>0.19066666666666668</c:v>
                </c:pt>
                <c:pt idx="31">
                  <c:v>0.23780487804878048</c:v>
                </c:pt>
                <c:pt idx="32">
                  <c:v>0.026272577996715927</c:v>
                </c:pt>
                <c:pt idx="33">
                  <c:v>0.00228310502283105</c:v>
                </c:pt>
                <c:pt idx="34">
                  <c:v>0.07785888077858881</c:v>
                </c:pt>
                <c:pt idx="35">
                  <c:v>0.0016339869281045752</c:v>
                </c:pt>
                <c:pt idx="36">
                  <c:v>0.009510869565217392</c:v>
                </c:pt>
                <c:pt idx="37">
                  <c:v>0.01437125748502994</c:v>
                </c:pt>
                <c:pt idx="38">
                  <c:v>0.08888888888888889</c:v>
                </c:pt>
                <c:pt idx="39">
                  <c:v>0.0730050933786078</c:v>
                </c:pt>
                <c:pt idx="40">
                  <c:v>0.02881844380403458</c:v>
                </c:pt>
                <c:pt idx="41">
                  <c:v>0.07571801566579635</c:v>
                </c:pt>
                <c:pt idx="42">
                  <c:v>0.008915304606240713</c:v>
                </c:pt>
                <c:pt idx="43">
                  <c:v>0.016361886429258902</c:v>
                </c:pt>
                <c:pt idx="44">
                  <c:v>0.022494887525562373</c:v>
                </c:pt>
                <c:pt idx="45">
                  <c:v>0.02666666666666667</c:v>
                </c:pt>
                <c:pt idx="46">
                  <c:v>0.00975609756097561</c:v>
                </c:pt>
                <c:pt idx="47">
                  <c:v>0.2540045766590389</c:v>
                </c:pt>
                <c:pt idx="48">
                  <c:v>0.002621231979030144</c:v>
                </c:pt>
                <c:pt idx="49">
                  <c:v>0.15236686390532544</c:v>
                </c:pt>
                <c:pt idx="50">
                  <c:v>0.008438818565400843</c:v>
                </c:pt>
                <c:pt idx="51">
                  <c:v>0.04391891891891892</c:v>
                </c:pt>
                <c:pt idx="52">
                  <c:v>0.026905829596412557</c:v>
                </c:pt>
                <c:pt idx="53">
                  <c:v>0.09256449165402124</c:v>
                </c:pt>
                <c:pt idx="54">
                  <c:v>0.025252525252525252</c:v>
                </c:pt>
                <c:pt idx="55">
                  <c:v>0.2010928961748634</c:v>
                </c:pt>
                <c:pt idx="56">
                  <c:v>0.05411255411255411</c:v>
                </c:pt>
                <c:pt idx="57">
                  <c:v>0.02278481012658228</c:v>
                </c:pt>
              </c:numCache>
            </c:numRef>
          </c:yVal>
          <c:smooth val="0"/>
          <c:extLst>
            <c:ext xmlns:c16="http://schemas.microsoft.com/office/drawing/2014/chart" uri="{C3380CC4-5D6E-409C-BE32-E72D297353CC}">
              <c16:uniqueId val="{00000000-096C-4121-9522-6AB7243CCAAE}"/>
            </c:ext>
          </c:extLst>
        </c:ser>
        <c:ser>
          <c:idx val="1"/>
          <c:order val="1"/>
          <c:tx>
            <c:strRef>
              <c:f>Sheet1!$B$6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2:$A$85</c:f>
              <c:numCache>
                <c:formatCode>General</c:formatCode>
                <c:ptCount val="24"/>
                <c:pt idx="0">
                  <c:v>1.991447227535079</c:v>
                </c:pt>
                <c:pt idx="1">
                  <c:v>1.7425018247390285</c:v>
                </c:pt>
                <c:pt idx="2">
                  <c:v>0.9712137543395603</c:v>
                </c:pt>
                <c:pt idx="3">
                  <c:v>1.2892192475527773</c:v>
                </c:pt>
                <c:pt idx="4">
                  <c:v>4.171988866269113</c:v>
                </c:pt>
                <c:pt idx="5">
                  <c:v>1.015918565815324</c:v>
                </c:pt>
                <c:pt idx="6">
                  <c:v>3.3713707765009744</c:v>
                </c:pt>
                <c:pt idx="7">
                  <c:v>1.3047715973760103</c:v>
                </c:pt>
                <c:pt idx="8">
                  <c:v>0.8393005399263512</c:v>
                </c:pt>
                <c:pt idx="9">
                  <c:v>1.3919928969885367</c:v>
                </c:pt>
                <c:pt idx="10">
                  <c:v>1.6708382879186274</c:v>
                </c:pt>
                <c:pt idx="11">
                  <c:v>3.033425972602648</c:v>
                </c:pt>
                <c:pt idx="12">
                  <c:v>1.0758304425647796</c:v>
                </c:pt>
                <c:pt idx="13">
                  <c:v>1.7608055702355339</c:v>
                </c:pt>
                <c:pt idx="14">
                  <c:v>1.691184763844347</c:v>
                </c:pt>
                <c:pt idx="15">
                  <c:v>2.20947791796052</c:v>
                </c:pt>
                <c:pt idx="16">
                  <c:v>1.4799266722642035</c:v>
                </c:pt>
                <c:pt idx="17">
                  <c:v>1.3148054570444618</c:v>
                </c:pt>
                <c:pt idx="18">
                  <c:v>1.5621238633232297</c:v>
                </c:pt>
                <c:pt idx="19">
                  <c:v>1.3466166876923313</c:v>
                </c:pt>
                <c:pt idx="20">
                  <c:v>1.1591702546296296</c:v>
                </c:pt>
                <c:pt idx="21">
                  <c:v>1.6825002005382723</c:v>
                </c:pt>
                <c:pt idx="22">
                  <c:v>1.287662589800781</c:v>
                </c:pt>
                <c:pt idx="23">
                  <c:v>0.9219323169673406</c:v>
                </c:pt>
              </c:numCache>
            </c:numRef>
          </c:xVal>
          <c:yVal>
            <c:numRef>
              <c:f>Sheet1!$B$62:$B$85</c:f>
              <c:numCache>
                <c:formatCode>General</c:formatCode>
                <c:ptCount val="24"/>
                <c:pt idx="0">
                  <c:v>0.08333333333333333</c:v>
                </c:pt>
                <c:pt idx="1">
                  <c:v>0.21608040201005024</c:v>
                </c:pt>
                <c:pt idx="2">
                  <c:v>0.024714828897338403</c:v>
                </c:pt>
                <c:pt idx="3">
                  <c:v>0.18594687232219365</c:v>
                </c:pt>
                <c:pt idx="4">
                  <c:v>0.006896551724137931</c:v>
                </c:pt>
                <c:pt idx="5">
                  <c:v>0.21666666666666667</c:v>
                </c:pt>
                <c:pt idx="6">
                  <c:v>0.020761245674740483</c:v>
                </c:pt>
                <c:pt idx="7">
                  <c:v>0.0380952380952381</c:v>
                </c:pt>
                <c:pt idx="8">
                  <c:v>0.06153846153846154</c:v>
                </c:pt>
                <c:pt idx="9">
                  <c:v>0.09719934102141681</c:v>
                </c:pt>
                <c:pt idx="10">
                  <c:v>0.1332518337408313</c:v>
                </c:pt>
                <c:pt idx="11">
                  <c:v>0.01090909090909091</c:v>
                </c:pt>
                <c:pt idx="12">
                  <c:v>0.03783102143757881</c:v>
                </c:pt>
                <c:pt idx="13">
                  <c:v>0.04588607594936709</c:v>
                </c:pt>
                <c:pt idx="14">
                  <c:v>0.0681265206812652</c:v>
                </c:pt>
                <c:pt idx="15">
                  <c:v>0.24915824915824916</c:v>
                </c:pt>
                <c:pt idx="16">
                  <c:v>0.7531380753138075</c:v>
                </c:pt>
                <c:pt idx="17">
                  <c:v>0.12180746561886051</c:v>
                </c:pt>
                <c:pt idx="18">
                  <c:v>0.10401459854014598</c:v>
                </c:pt>
                <c:pt idx="19">
                  <c:v>0.04664723032069971</c:v>
                </c:pt>
                <c:pt idx="20">
                  <c:v>0.22491349480968859</c:v>
                </c:pt>
                <c:pt idx="21">
                  <c:v>0.01870503597122302</c:v>
                </c:pt>
                <c:pt idx="22">
                  <c:v>0.04660194174757282</c:v>
                </c:pt>
                <c:pt idx="23">
                  <c:v>0.1286549707602339</c:v>
                </c:pt>
              </c:numCache>
            </c:numRef>
          </c:yVal>
          <c:smooth val="0"/>
          <c:extLst>
            <c:ext xmlns:c16="http://schemas.microsoft.com/office/drawing/2014/chart" uri="{C3380CC4-5D6E-409C-BE32-E72D297353CC}">
              <c16:uniqueId val="{00000002-096C-4121-9522-6AB7243CCAAE}"/>
            </c:ext>
          </c:extLst>
        </c:ser>
        <c:ser>
          <c:idx val="2"/>
          <c:order val="2"/>
          <c:tx>
            <c:strRef>
              <c:f>Sheet1!$B$8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88:$A$89</c:f>
              <c:numCache>
                <c:formatCode>General</c:formatCode>
                <c:ptCount val="2"/>
                <c:pt idx="0">
                  <c:v>0</c:v>
                </c:pt>
                <c:pt idx="1">
                  <c:v>-1.728023094753784</c:v>
                </c:pt>
              </c:numCache>
            </c:numRef>
          </c:xVal>
          <c:yVal>
            <c:numRef>
              <c:f>Sheet1!$B$88:$B$89</c:f>
              <c:numCache>
                <c:formatCode>General</c:formatCode>
                <c:ptCount val="2"/>
                <c:pt idx="0">
                  <c:v>0.25010417292064047</c:v>
                </c:pt>
                <c:pt idx="1">
                  <c:v>0.25010417292064047</c:v>
                </c:pt>
              </c:numCache>
            </c:numRef>
          </c:yVal>
          <c:smooth val="0"/>
          <c:extLst>
            <c:ext xmlns:c16="http://schemas.microsoft.com/office/drawing/2014/chart" uri="{C3380CC4-5D6E-409C-BE32-E72D297353CC}">
              <c16:uniqueId val="{00000005-096C-4121-9522-6AB7243CCAAE}"/>
            </c:ext>
          </c:extLst>
        </c:ser>
        <c:ser>
          <c:idx val="3"/>
          <c:order val="3"/>
          <c:tx>
            <c:strRef>
              <c:f>Sheet1!$B$9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92:$A$93</c:f>
              <c:numCache>
                <c:formatCode>General</c:formatCode>
                <c:ptCount val="2"/>
                <c:pt idx="0">
                  <c:v>-1.728023094753784</c:v>
                </c:pt>
                <c:pt idx="1">
                  <c:v>-1.728023094753784</c:v>
                </c:pt>
              </c:numCache>
            </c:numRef>
          </c:xVal>
          <c:yVal>
            <c:numRef>
              <c:f>Sheet1!$B$92:$B$93</c:f>
              <c:numCache>
                <c:formatCode>General</c:formatCode>
                <c:ptCount val="2"/>
                <c:pt idx="0">
                  <c:v>0.250104172920640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9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96:$A$97</c:f>
              <c:numCache>
                <c:formatCode>General</c:formatCode>
                <c:ptCount val="2"/>
                <c:pt idx="0">
                  <c:v>0</c:v>
                </c:pt>
                <c:pt idx="1">
                  <c:v>-1.728023094753784</c:v>
                </c:pt>
              </c:numCache>
            </c:numRef>
          </c:xVal>
          <c:yVal>
            <c:numRef>
              <c:f>Sheet1!$B$96:$B$97</c:f>
              <c:numCache>
                <c:formatCode>General</c:formatCode>
                <c:ptCount val="2"/>
                <c:pt idx="0">
                  <c:v>0.25010417292064047</c:v>
                </c:pt>
                <c:pt idx="1">
                  <c:v>0.25010417292064047</c:v>
                </c:pt>
              </c:numCache>
            </c:numRef>
          </c:yVal>
          <c:smooth val="0"/>
          <c:extLst>
            <c:ext xmlns:c16="http://schemas.microsoft.com/office/drawing/2014/chart" uri="{C3380CC4-5D6E-409C-BE32-E72D297353CC}">
              <c16:uniqueId val="{0000000D-096C-4121-9522-6AB7243CCAAE}"/>
            </c:ext>
          </c:extLst>
        </c:ser>
        <c:ser>
          <c:idx val="5"/>
          <c:order val="5"/>
          <c:tx>
            <c:strRef>
              <c:f>Sheet1!$B$9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0:$A$101</c:f>
              <c:numCache>
                <c:formatCode>General</c:formatCode>
                <c:ptCount val="2"/>
                <c:pt idx="0">
                  <c:v>-1.728023094753784</c:v>
                </c:pt>
                <c:pt idx="1">
                  <c:v>-1.728023094753784</c:v>
                </c:pt>
              </c:numCache>
            </c:numRef>
          </c:xVal>
          <c:yVal>
            <c:numRef>
              <c:f>Sheet1!$B$100:$B$101</c:f>
              <c:numCache>
                <c:formatCode>General</c:formatCode>
                <c:ptCount val="2"/>
                <c:pt idx="0">
                  <c:v>0.250104172920640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0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04:$A$105</c:f>
              <c:numCache>
                <c:formatCode>General</c:formatCode>
                <c:ptCount val="2"/>
                <c:pt idx="0">
                  <c:v>0</c:v>
                </c:pt>
                <c:pt idx="1">
                  <c:v>2.4159907608399696</c:v>
                </c:pt>
              </c:numCache>
            </c:numRef>
          </c:xVal>
          <c:yVal>
            <c:numRef>
              <c:f>Sheet1!$B$104:$B$105</c:f>
              <c:numCache>
                <c:formatCode>General</c:formatCode>
                <c:ptCount val="2"/>
                <c:pt idx="0">
                  <c:v>0.09492287869159399</c:v>
                </c:pt>
                <c:pt idx="1">
                  <c:v>0.09492287869159399</c:v>
                </c:pt>
              </c:numCache>
            </c:numRef>
          </c:yVal>
          <c:smooth val="0"/>
          <c:extLst>
            <c:ext xmlns:c16="http://schemas.microsoft.com/office/drawing/2014/chart" uri="{C3380CC4-5D6E-409C-BE32-E72D297353CC}">
              <c16:uniqueId val="{00000015-096C-4121-9522-6AB7243CCAAE}"/>
            </c:ext>
          </c:extLst>
        </c:ser>
        <c:ser>
          <c:idx val="7"/>
          <c:order val="7"/>
          <c:tx>
            <c:strRef>
              <c:f>Sheet1!$B$10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8:$A$109</c:f>
              <c:numCache>
                <c:formatCode>General</c:formatCode>
                <c:ptCount val="2"/>
                <c:pt idx="0">
                  <c:v>2.4159907608399696</c:v>
                </c:pt>
                <c:pt idx="1">
                  <c:v>2.4159907608399696</c:v>
                </c:pt>
              </c:numCache>
            </c:numRef>
          </c:xVal>
          <c:yVal>
            <c:numRef>
              <c:f>Sheet1!$B$108:$B$109</c:f>
              <c:numCache>
                <c:formatCode>General</c:formatCode>
                <c:ptCount val="2"/>
                <c:pt idx="0">
                  <c:v>0.0949228786915939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1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12:$A$138</c:f>
              <c:numCache>
                <c:formatCode>General</c:formatCode>
                <c:ptCount val="27"/>
                <c:pt idx="0">
                  <c:v>1.991447227535079</c:v>
                </c:pt>
                <c:pt idx="1">
                  <c:v>1.7425018247390285</c:v>
                </c:pt>
                <c:pt idx="2">
                  <c:v>0.9712137543395603</c:v>
                </c:pt>
                <c:pt idx="3">
                  <c:v>1.2892192475527773</c:v>
                </c:pt>
                <c:pt idx="4">
                  <c:v>4.171988866269113</c:v>
                </c:pt>
                <c:pt idx="5">
                  <c:v>1.015918565815324</c:v>
                </c:pt>
                <c:pt idx="6">
                  <c:v>3.3713707765009744</c:v>
                </c:pt>
                <c:pt idx="7">
                  <c:v>1.3047715973760103</c:v>
                </c:pt>
                <c:pt idx="8">
                  <c:v>0.8393005399263512</c:v>
                </c:pt>
                <c:pt idx="9">
                  <c:v>1.3919928969885367</c:v>
                </c:pt>
                <c:pt idx="10">
                  <c:v>1.6708382879186274</c:v>
                </c:pt>
                <c:pt idx="11">
                  <c:v>3.033425972602648</c:v>
                </c:pt>
                <c:pt idx="12">
                  <c:v>1.0758304425647796</c:v>
                </c:pt>
                <c:pt idx="13">
                  <c:v>1.7608055702355339</c:v>
                </c:pt>
                <c:pt idx="14">
                  <c:v>1.691184763844347</c:v>
                </c:pt>
                <c:pt idx="15">
                  <c:v>2.20947791796052</c:v>
                </c:pt>
                <c:pt idx="16">
                  <c:v>1.4799266722642035</c:v>
                </c:pt>
                <c:pt idx="17">
                  <c:v>1.3148054570444618</c:v>
                </c:pt>
                <c:pt idx="18">
                  <c:v>1.5621238633232297</c:v>
                </c:pt>
                <c:pt idx="19">
                  <c:v>1.3466166876923313</c:v>
                </c:pt>
                <c:pt idx="20">
                  <c:v>1.1591702546296296</c:v>
                </c:pt>
                <c:pt idx="21">
                  <c:v>1.6825002005382723</c:v>
                </c:pt>
                <c:pt idx="22">
                  <c:v>1.287662589800781</c:v>
                </c:pt>
                <c:pt idx="23">
                  <c:v>0.9219323169673406</c:v>
                </c:pt>
                <c:pt idx="24">
                  <c:v>-1.728023094753784</c:v>
                </c:pt>
                <c:pt idx="25">
                  <c:v>-1.728023094753784</c:v>
                </c:pt>
                <c:pt idx="26">
                  <c:v>2.4159907608399696</c:v>
                </c:pt>
              </c:numCache>
            </c:numRef>
          </c:xVal>
          <c:yVal>
            <c:numRef>
              <c:f>Sheet1!$B$112:$B$138</c:f>
              <c:numCache>
                <c:formatCode>General</c:formatCode>
                <c:ptCount val="27"/>
                <c:pt idx="0">
                  <c:v>0.11082080211815208</c:v>
                </c:pt>
                <c:pt idx="1">
                  <c:v>0.12014308508931441</c:v>
                </c:pt>
                <c:pt idx="2">
                  <c:v>0.1490255852832874</c:v>
                </c:pt>
                <c:pt idx="3">
                  <c:v>0.13711720231729885</c:v>
                </c:pt>
                <c:pt idx="4">
                  <c:v>0.029165845013625125</c:v>
                </c:pt>
                <c:pt idx="5">
                  <c:v>0.14735151981323347</c:v>
                </c:pt>
                <c:pt idx="6">
                  <c:v>0.05914666932619381</c:v>
                </c:pt>
                <c:pt idx="7">
                  <c:v>0.13653481194458944</c:v>
                </c:pt>
                <c:pt idx="8">
                  <c:v>0.1539653523911902</c:v>
                </c:pt>
                <c:pt idx="9">
                  <c:v>0.133268627363681</c:v>
                </c:pt>
                <c:pt idx="10">
                  <c:v>0.12282667659753521</c:v>
                </c:pt>
                <c:pt idx="11">
                  <c:v>0.07180172161954806</c:v>
                </c:pt>
                <c:pt idx="12">
                  <c:v>0.1451079938749401</c:v>
                </c:pt>
                <c:pt idx="13">
                  <c:v>0.11945766293235113</c:v>
                </c:pt>
                <c:pt idx="14">
                  <c:v>0.12206476011337788</c:v>
                </c:pt>
                <c:pt idx="15">
                  <c:v>0.10265618542021279</c:v>
                </c:pt>
                <c:pt idx="16">
                  <c:v>0.1299757626365748</c:v>
                </c:pt>
                <c:pt idx="17">
                  <c:v>0.1361590730152031</c:v>
                </c:pt>
                <c:pt idx="18">
                  <c:v>0.12689771634256586</c:v>
                </c:pt>
                <c:pt idx="19">
                  <c:v>0.134967834733919</c:v>
                </c:pt>
                <c:pt idx="20">
                  <c:v>0.14198715973980042</c:v>
                </c:pt>
                <c:pt idx="21">
                  <c:v>0.12238997180923927</c:v>
                </c:pt>
                <c:pt idx="22">
                  <c:v>0.13717549463316558</c:v>
                </c:pt>
                <c:pt idx="23">
                  <c:v>0.1508710321131926</c:v>
                </c:pt>
                <c:pt idx="24">
                  <c:v>0.25010417292064047</c:v>
                </c:pt>
                <c:pt idx="25">
                  <c:v>0.25010417292064047</c:v>
                </c:pt>
                <c:pt idx="26">
                  <c:v>0.0949228786915939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3765690376569"/>
          <c:min val="0.001307189542483660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747989472508397</c:v>
                </c:pt>
                <c:pt idx="1">
                  <c:v>0.6957575235362742</c:v>
                </c:pt>
                <c:pt idx="2">
                  <c:v>0.5806034307346711</c:v>
                </c:pt>
                <c:pt idx="3">
                  <c:v>0.5556109094644375</c:v>
                </c:pt>
                <c:pt idx="4">
                  <c:v>0.7026871936025456</c:v>
                </c:pt>
                <c:pt idx="5">
                  <c:v>0.6734247163549818</c:v>
                </c:pt>
                <c:pt idx="6">
                  <c:v>0.5858446803560975</c:v>
                </c:pt>
                <c:pt idx="7">
                  <c:v>0.5628067023576135</c:v>
                </c:pt>
                <c:pt idx="8">
                  <c:v>0.5272544137717528</c:v>
                </c:pt>
                <c:pt idx="9">
                  <c:v>0.5965846439037271</c:v>
                </c:pt>
                <c:pt idx="10">
                  <c:v>0.6617079206082517</c:v>
                </c:pt>
                <c:pt idx="11">
                  <c:v>0.5979862592513568</c:v>
                </c:pt>
                <c:pt idx="12">
                  <c:v>0.6349979705901423</c:v>
                </c:pt>
                <c:pt idx="13">
                  <c:v>0.6070302886551275</c:v>
                </c:pt>
                <c:pt idx="14">
                  <c:v>0.7896356631842355</c:v>
                </c:pt>
                <c:pt idx="15">
                  <c:v>0.6106191955878953</c:v>
                </c:pt>
                <c:pt idx="16">
                  <c:v>0.779057904402777</c:v>
                </c:pt>
                <c:pt idx="17">
                  <c:v>0.5545520042830319</c:v>
                </c:pt>
                <c:pt idx="18">
                  <c:v>0.6923989971551521</c:v>
                </c:pt>
                <c:pt idx="19">
                  <c:v>0.6056254525292862</c:v>
                </c:pt>
                <c:pt idx="20">
                  <c:v>0.5025582479817726</c:v>
                </c:pt>
                <c:pt idx="21">
                  <c:v>1.04173592518265</c:v>
                </c:pt>
                <c:pt idx="22">
                  <c:v>0.4504958199595201</c:v>
                </c:pt>
                <c:pt idx="23">
                  <c:v>0.5672442259131142</c:v>
                </c:pt>
                <c:pt idx="24">
                  <c:v>0.41505690600212786</c:v>
                </c:pt>
                <c:pt idx="25">
                  <c:v>0.3946222394051386</c:v>
                </c:pt>
                <c:pt idx="26">
                  <c:v>0.48095466105598955</c:v>
                </c:pt>
                <c:pt idx="27">
                  <c:v>0.44948022554693157</c:v>
                </c:pt>
                <c:pt idx="28">
                  <c:v>0.4691137003152086</c:v>
                </c:pt>
                <c:pt idx="29">
                  <c:v>0.45446164032292075</c:v>
                </c:pt>
                <c:pt idx="30">
                  <c:v>0.4353946799821011</c:v>
                </c:pt>
                <c:pt idx="31">
                  <c:v>0.43832270923200745</c:v>
                </c:pt>
                <c:pt idx="32">
                  <c:v>0.573108699259178</c:v>
                </c:pt>
                <c:pt idx="33">
                  <c:v>0.3685069071381823</c:v>
                </c:pt>
                <c:pt idx="34">
                  <c:v>0.4474293992288008</c:v>
                </c:pt>
                <c:pt idx="35">
                  <c:v>0.4390831912380779</c:v>
                </c:pt>
                <c:pt idx="36">
                  <c:v>0.39880092297407294</c:v>
                </c:pt>
                <c:pt idx="37">
                  <c:v>0.3909201026215256</c:v>
                </c:pt>
                <c:pt idx="38">
                  <c:v>0.4068274946604388</c:v>
                </c:pt>
                <c:pt idx="39">
                  <c:v>0.49031784279019075</c:v>
                </c:pt>
                <c:pt idx="40">
                  <c:v>0.5895497794847191</c:v>
                </c:pt>
                <c:pt idx="41">
                  <c:v>0.5374652805752697</c:v>
                </c:pt>
                <c:pt idx="42">
                  <c:v>0.47663478052076347</c:v>
                </c:pt>
                <c:pt idx="43">
                  <c:v>0.4440459611043944</c:v>
                </c:pt>
                <c:pt idx="44">
                  <c:v>0.4983389239983022</c:v>
                </c:pt>
                <c:pt idx="45">
                  <c:v>0.5096998712619772</c:v>
                </c:pt>
                <c:pt idx="46">
                  <c:v>0.5099930051585466</c:v>
                </c:pt>
                <c:pt idx="47">
                  <c:v>0.4316831731047988</c:v>
                </c:pt>
                <c:pt idx="48">
                  <c:v>0.6765224063612504</c:v>
                </c:pt>
                <c:pt idx="49">
                  <c:v>0.615212637475889</c:v>
                </c:pt>
                <c:pt idx="50">
                  <c:v>0.5346880896105064</c:v>
                </c:pt>
                <c:pt idx="51">
                  <c:v>0.4543160089424806</c:v>
                </c:pt>
                <c:pt idx="52">
                  <c:v>0.565997620070585</c:v>
                </c:pt>
                <c:pt idx="53">
                  <c:v>0.5489458437144515</c:v>
                </c:pt>
                <c:pt idx="54">
                  <c:v>0.48695990979009074</c:v>
                </c:pt>
                <c:pt idx="55">
                  <c:v>0.4831894947780877</c:v>
                </c:pt>
                <c:pt idx="56">
                  <c:v>0.4071989038404429</c:v>
                </c:pt>
                <c:pt idx="57">
                  <c:v>0.4293734323597284</c:v>
                </c:pt>
                <c:pt idx="58">
                  <c:v>0.4073158813045478</c:v>
                </c:pt>
                <c:pt idx="59">
                  <c:v>0.5056967122324519</c:v>
                </c:pt>
                <c:pt idx="60">
                  <c:v>0.47971464220787724</c:v>
                </c:pt>
                <c:pt idx="61">
                  <c:v>0.46902708209802374</c:v>
                </c:pt>
                <c:pt idx="62">
                  <c:v>0.43664930127533</c:v>
                </c:pt>
                <c:pt idx="63">
                  <c:v>0.48690288041922986</c:v>
                </c:pt>
                <c:pt idx="64">
                  <c:v>0.44177942174313756</c:v>
                </c:pt>
                <c:pt idx="65">
                  <c:v>0.44101607535170845</c:v>
                </c:pt>
                <c:pt idx="66">
                  <c:v>0.4019808797834312</c:v>
                </c:pt>
                <c:pt idx="67">
                  <c:v>0.43072318091983836</c:v>
                </c:pt>
                <c:pt idx="68">
                  <c:v>0.3285810410574092</c:v>
                </c:pt>
                <c:pt idx="69">
                  <c:v>0.2858948245973769</c:v>
                </c:pt>
                <c:pt idx="70">
                  <c:v>0.3234269738810043</c:v>
                </c:pt>
                <c:pt idx="71">
                  <c:v>0.2622308074810356</c:v>
                </c:pt>
                <c:pt idx="72">
                  <c:v>0.3303595341645634</c:v>
                </c:pt>
                <c:pt idx="73">
                  <c:v>0.24538476384186067</c:v>
                </c:pt>
                <c:pt idx="74">
                  <c:v>0.29575029808297787</c:v>
                </c:pt>
                <c:pt idx="75">
                  <c:v>0.43507788871253217</c:v>
                </c:pt>
                <c:pt idx="76">
                  <c:v>0.42045348771793073</c:v>
                </c:pt>
                <c:pt idx="77">
                  <c:v>0.4920914479055389</c:v>
                </c:pt>
                <c:pt idx="78">
                  <c:v>0.4132823650262374</c:v>
                </c:pt>
                <c:pt idx="79">
                  <c:v>0.5614815525513241</c:v>
                </c:pt>
                <c:pt idx="80">
                  <c:v>0.4610311623815078</c:v>
                </c:pt>
                <c:pt idx="81">
                  <c:v>0.4838575580176655</c:v>
                </c:pt>
                <c:pt idx="82">
                  <c:v>0.4602534070737501</c:v>
                </c:pt>
                <c:pt idx="83">
                  <c:v>0.5058388657265679</c:v>
                </c:pt>
                <c:pt idx="84">
                  <c:v>0.4434823630902043</c:v>
                </c:pt>
                <c:pt idx="85">
                  <c:v>0.42271199035895624</c:v>
                </c:pt>
                <c:pt idx="86">
                  <c:v>0.5927771477649403</c:v>
                </c:pt>
                <c:pt idx="87">
                  <c:v>0.6398344199447181</c:v>
                </c:pt>
                <c:pt idx="88">
                  <c:v>0.5156192340164973</c:v>
                </c:pt>
                <c:pt idx="89">
                  <c:v>0.5005087601060144</c:v>
                </c:pt>
                <c:pt idx="90">
                  <c:v>0.5742802006025928</c:v>
                </c:pt>
                <c:pt idx="91">
                  <c:v>0.48006340660118896</c:v>
                </c:pt>
                <c:pt idx="92">
                  <c:v>0.5857047877062082</c:v>
                </c:pt>
                <c:pt idx="93">
                  <c:v>0.6172877173916985</c:v>
                </c:pt>
                <c:pt idx="94">
                  <c:v>0.5773763695811771</c:v>
                </c:pt>
                <c:pt idx="95">
                  <c:v>0.6031860398382505</c:v>
                </c:pt>
                <c:pt idx="96">
                  <c:v>0.5321799301049969</c:v>
                </c:pt>
                <c:pt idx="97">
                  <c:v>0.561040311575451</c:v>
                </c:pt>
                <c:pt idx="98">
                  <c:v>0.5647489338935017</c:v>
                </c:pt>
                <c:pt idx="99">
                  <c:v>0.6297366681540666</c:v>
                </c:pt>
                <c:pt idx="100">
                  <c:v>0.7651430827561845</c:v>
                </c:pt>
                <c:pt idx="101">
                  <c:v>0.6673163623687458</c:v>
                </c:pt>
                <c:pt idx="102">
                  <c:v>0.6573813528858321</c:v>
                </c:pt>
                <c:pt idx="103">
                  <c:v>0.6634495804473918</c:v>
                </c:pt>
                <c:pt idx="104">
                  <c:v>0.73976559647432</c:v>
                </c:pt>
              </c:numCache>
            </c:numRef>
          </c:xVal>
          <c:yVal>
            <c:numRef>
              <c:f>Sheet1!$B$2:$B$106</c:f>
              <c:numCache>
                <c:formatCode>General</c:formatCode>
                <c:ptCount val="105"/>
                <c:pt idx="0">
                  <c:v>0.00036313292934794946</c:v>
                </c:pt>
                <c:pt idx="1">
                  <c:v>0.0001180052394326308</c:v>
                </c:pt>
                <c:pt idx="2">
                  <c:v>0.0001380738695201933</c:v>
                </c:pt>
                <c:pt idx="3">
                  <c:v>0.00012080796366096453</c:v>
                </c:pt>
                <c:pt idx="4">
                  <c:v>8.474336883138894e-05</c:v>
                </c:pt>
                <c:pt idx="5">
                  <c:v>0.00017300040366760857</c:v>
                </c:pt>
                <c:pt idx="6">
                  <c:v>0.0003105064077231412</c:v>
                </c:pt>
                <c:pt idx="7">
                  <c:v>0.00025602457835952253</c:v>
                </c:pt>
                <c:pt idx="8">
                  <c:v>0.0002340276152586005</c:v>
                </c:pt>
                <c:pt idx="9">
                  <c:v>0.0002367673366305377</c:v>
                </c:pt>
                <c:pt idx="10">
                  <c:v>0.00015051173991571343</c:v>
                </c:pt>
                <c:pt idx="11">
                  <c:v>0.0002527805864509606</c:v>
                </c:pt>
                <c:pt idx="12">
                  <c:v>0.0002554337729890396</c:v>
                </c:pt>
                <c:pt idx="13">
                  <c:v>0.0002448639780601876</c:v>
                </c:pt>
                <c:pt idx="14">
                  <c:v>7.260582298700355e-05</c:v>
                </c:pt>
                <c:pt idx="15">
                  <c:v>0.0001733452748967151</c:v>
                </c:pt>
                <c:pt idx="16">
                  <c:v>6.55780706931602e-05</c:v>
                </c:pt>
                <c:pt idx="17">
                  <c:v>0.00014305639998569435</c:v>
                </c:pt>
                <c:pt idx="18">
                  <c:v>7.898270278808941e-05</c:v>
                </c:pt>
                <c:pt idx="19">
                  <c:v>0.00013928223222990855</c:v>
                </c:pt>
                <c:pt idx="20">
                  <c:v>0.0001914168676543777</c:v>
                </c:pt>
                <c:pt idx="21">
                  <c:v>4.51773209848656e-05</c:v>
                </c:pt>
                <c:pt idx="22">
                  <c:v>0.0003267058713712312</c:v>
                </c:pt>
                <c:pt idx="23">
                  <c:v>0.0002458210422812193</c:v>
                </c:pt>
                <c:pt idx="24">
                  <c:v>0.0004160502958579882</c:v>
                </c:pt>
                <c:pt idx="25">
                  <c:v>0.0005230125523012552</c:v>
                </c:pt>
                <c:pt idx="26">
                  <c:v>0.0004662222015012355</c:v>
                </c:pt>
                <c:pt idx="27">
                  <c:v>0.00022745882995177873</c:v>
                </c:pt>
                <c:pt idx="28">
                  <c:v>0.00023182492581602375</c:v>
                </c:pt>
                <c:pt idx="29">
                  <c:v>0.00036588340515489066</c:v>
                </c:pt>
                <c:pt idx="30">
                  <c:v>0.00026104207998329333</c:v>
                </c:pt>
                <c:pt idx="31">
                  <c:v>0.00030453761039488374</c:v>
                </c:pt>
                <c:pt idx="32">
                  <c:v>0.00020004000800160032</c:v>
                </c:pt>
                <c:pt idx="33">
                  <c:v>0.0005195428023339461</c:v>
                </c:pt>
                <c:pt idx="34">
                  <c:v>0.0005066406108638222</c:v>
                </c:pt>
                <c:pt idx="35">
                  <c:v>0.0005345687811831789</c:v>
                </c:pt>
                <c:pt idx="36">
                  <c:v>0.00033811706364114506</c:v>
                </c:pt>
                <c:pt idx="37">
                  <c:v>0.00026327336551118914</c:v>
                </c:pt>
                <c:pt idx="38">
                  <c:v>0.00021714583514288196</c:v>
                </c:pt>
                <c:pt idx="39">
                  <c:v>0.00027820280984837946</c:v>
                </c:pt>
                <c:pt idx="40">
                  <c:v>0.00015428527347064721</c:v>
                </c:pt>
                <c:pt idx="41">
                  <c:v>0.00016618196925633567</c:v>
                </c:pt>
                <c:pt idx="42">
                  <c:v>0.00010635280771412365</c:v>
                </c:pt>
                <c:pt idx="43">
                  <c:v>0.00022198262193188305</c:v>
                </c:pt>
                <c:pt idx="44">
                  <c:v>0.00019422085068732602</c:v>
                </c:pt>
                <c:pt idx="45">
                  <c:v>0.0001392065228199264</c:v>
                </c:pt>
                <c:pt idx="46">
                  <c:v>0.0002866479390013186</c:v>
                </c:pt>
                <c:pt idx="47">
                  <c:v>0.0003465937536103516</c:v>
                </c:pt>
                <c:pt idx="48">
                  <c:v>0.00017395085888236573</c:v>
                </c:pt>
                <c:pt idx="49">
                  <c:v>0.0001764757786993735</c:v>
                </c:pt>
                <c:pt idx="50">
                  <c:v>0.0002607124899905026</c:v>
                </c:pt>
                <c:pt idx="51">
                  <c:v>0.00033724537973829757</c:v>
                </c:pt>
                <c:pt idx="52">
                  <c:v>0.00011712573447595994</c:v>
                </c:pt>
                <c:pt idx="53">
                  <c:v>0.00014421690222094028</c:v>
                </c:pt>
                <c:pt idx="54">
                  <c:v>0.00034161082643542243</c:v>
                </c:pt>
                <c:pt idx="55">
                  <c:v>0.0002166553825321598</c:v>
                </c:pt>
                <c:pt idx="56">
                  <c:v>0.00021784119376974185</c:v>
                </c:pt>
                <c:pt idx="57">
                  <c:v>0.00014241633040588654</c:v>
                </c:pt>
                <c:pt idx="58">
                  <c:v>0.00015347848012453683</c:v>
                </c:pt>
                <c:pt idx="59">
                  <c:v>0.0001909798736594682</c:v>
                </c:pt>
                <c:pt idx="60">
                  <c:v>0.00033729521362030194</c:v>
                </c:pt>
                <c:pt idx="61">
                  <c:v>0.00034526661056084244</c:v>
                </c:pt>
                <c:pt idx="62">
                  <c:v>0.00037922679869377434</c:v>
                </c:pt>
                <c:pt idx="63">
                  <c:v>0.0003265902061360536</c:v>
                </c:pt>
                <c:pt idx="64">
                  <c:v>0.00044982569254413917</c:v>
                </c:pt>
                <c:pt idx="65">
                  <c:v>0.0003264639869414405</c:v>
                </c:pt>
                <c:pt idx="66">
                  <c:v>0.00035840026985432084</c:v>
                </c:pt>
                <c:pt idx="67">
                  <c:v>0.00026140943252369025</c:v>
                </c:pt>
                <c:pt idx="68">
                  <c:v>0.00042267659956675646</c:v>
                </c:pt>
                <c:pt idx="69">
                  <c:v>0.00044499212706236737</c:v>
                </c:pt>
                <c:pt idx="70">
                  <c:v>0.00035560728025086475</c:v>
                </c:pt>
                <c:pt idx="71">
                  <c:v>0.00037821482602118004</c:v>
                </c:pt>
                <c:pt idx="72">
                  <c:v>0.0005287857756626346</c:v>
                </c:pt>
                <c:pt idx="73">
                  <c:v>0.0008655011251514627</c:v>
                </c:pt>
                <c:pt idx="74">
                  <c:v>0.0009342052582410249</c:v>
                </c:pt>
                <c:pt idx="75">
                  <c:v>0.0009785118791342127</c:v>
                </c:pt>
                <c:pt idx="76">
                  <c:v>0.001377582968065122</c:v>
                </c:pt>
                <c:pt idx="77">
                  <c:v>0.0012530804895367778</c:v>
                </c:pt>
                <c:pt idx="78">
                  <c:v>0.0017800442605599924</c:v>
                </c:pt>
                <c:pt idx="79">
                  <c:v>0.0012622012790306295</c:v>
                </c:pt>
                <c:pt idx="80">
                  <c:v>0.001277737552706674</c:v>
                </c:pt>
                <c:pt idx="81">
                  <c:v>0.001474607970076248</c:v>
                </c:pt>
                <c:pt idx="82">
                  <c:v>0.0015154298310066127</c:v>
                </c:pt>
                <c:pt idx="83">
                  <c:v>0.0012142329215499947</c:v>
                </c:pt>
                <c:pt idx="84">
                  <c:v>0.0013257471137380545</c:v>
                </c:pt>
                <c:pt idx="85">
                  <c:v>0.0011378252696151183</c:v>
                </c:pt>
                <c:pt idx="86">
                  <c:v>0.0010361927318481238</c:v>
                </c:pt>
                <c:pt idx="87">
                  <c:v>0.0009866450544416647</c:v>
                </c:pt>
                <c:pt idx="88">
                  <c:v>0.001400131262305841</c:v>
                </c:pt>
                <c:pt idx="89">
                  <c:v>0.0016241520970669723</c:v>
                </c:pt>
                <c:pt idx="90">
                  <c:v>0.0014310387367382185</c:v>
                </c:pt>
                <c:pt idx="91">
                  <c:v>0.0016291193446285608</c:v>
                </c:pt>
                <c:pt idx="92">
                  <c:v>0.001333790632978926</c:v>
                </c:pt>
                <c:pt idx="93">
                  <c:v>0.001266577261212934</c:v>
                </c:pt>
                <c:pt idx="94">
                  <c:v>0.0014334499768118387</c:v>
                </c:pt>
                <c:pt idx="95">
                  <c:v>0.0014944036109670927</c:v>
                </c:pt>
                <c:pt idx="96">
                  <c:v>0.0018807514049660793</c:v>
                </c:pt>
                <c:pt idx="97">
                  <c:v>0.002286209818876998</c:v>
                </c:pt>
                <c:pt idx="98">
                  <c:v>0.002183143382668936</c:v>
                </c:pt>
                <c:pt idx="99">
                  <c:v>0.0020329456784956203</c:v>
                </c:pt>
                <c:pt idx="100">
                  <c:v>0.0015614231564438318</c:v>
                </c:pt>
                <c:pt idx="101">
                  <c:v>0.0020515565070020514</c:v>
                </c:pt>
                <c:pt idx="102">
                  <c:v>0.0016952933303591344</c:v>
                </c:pt>
                <c:pt idx="103">
                  <c:v>0.001670790770467187</c:v>
                </c:pt>
                <c:pt idx="104">
                  <c:v>0.001277385457087079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570901701869049</c:v>
                </c:pt>
                <c:pt idx="1">
                  <c:v>0.6878278211701246</c:v>
                </c:pt>
                <c:pt idx="2">
                  <c:v>0.7321423964525585</c:v>
                </c:pt>
                <c:pt idx="3">
                  <c:v>0.6311194615900372</c:v>
                </c:pt>
                <c:pt idx="4">
                  <c:v>0.7537313749686164</c:v>
                </c:pt>
                <c:pt idx="5">
                  <c:v>0.803258136519184</c:v>
                </c:pt>
                <c:pt idx="6">
                  <c:v>0.733405950292105</c:v>
                </c:pt>
                <c:pt idx="7">
                  <c:v>0.6751452196149667</c:v>
                </c:pt>
                <c:pt idx="8">
                  <c:v>0.6706781379642341</c:v>
                </c:pt>
                <c:pt idx="9">
                  <c:v>0.6826295170583118</c:v>
                </c:pt>
                <c:pt idx="10">
                  <c:v>0.7070705865231366</c:v>
                </c:pt>
                <c:pt idx="11">
                  <c:v>0.7073224760220113</c:v>
                </c:pt>
                <c:pt idx="12">
                  <c:v>0.640090916104257</c:v>
                </c:pt>
                <c:pt idx="13">
                  <c:v>0.556846885313277</c:v>
                </c:pt>
                <c:pt idx="14">
                  <c:v>0.5542192333709371</c:v>
                </c:pt>
                <c:pt idx="15">
                  <c:v>0.5593285831090409</c:v>
                </c:pt>
                <c:pt idx="16">
                  <c:v>0.573660284891846</c:v>
                </c:pt>
                <c:pt idx="17">
                  <c:v>0.4206542713737571</c:v>
                </c:pt>
                <c:pt idx="18">
                  <c:v>0.5740862683605752</c:v>
                </c:pt>
                <c:pt idx="19">
                  <c:v>0.6365397312946541</c:v>
                </c:pt>
                <c:pt idx="20">
                  <c:v>0.5732789483120787</c:v>
                </c:pt>
                <c:pt idx="21">
                  <c:v>0.48193186526552306</c:v>
                </c:pt>
                <c:pt idx="22">
                  <c:v>0.5426885694153993</c:v>
                </c:pt>
                <c:pt idx="23">
                  <c:v>0.40587991306471755</c:v>
                </c:pt>
                <c:pt idx="24">
                  <c:v>0.5164542427306748</c:v>
                </c:pt>
                <c:pt idx="25">
                  <c:v>0.4648040508085898</c:v>
                </c:pt>
                <c:pt idx="26">
                  <c:v>0.48197466087698615</c:v>
                </c:pt>
                <c:pt idx="27">
                  <c:v>0.47635137762871893</c:v>
                </c:pt>
                <c:pt idx="28">
                  <c:v>0.500586076186557</c:v>
                </c:pt>
                <c:pt idx="29">
                  <c:v>0.45214909159285127</c:v>
                </c:pt>
                <c:pt idx="30">
                  <c:v>0.43745680704323203</c:v>
                </c:pt>
                <c:pt idx="31">
                  <c:v>0.48371869051077726</c:v>
                </c:pt>
                <c:pt idx="32">
                  <c:v>0.5403735250753909</c:v>
                </c:pt>
                <c:pt idx="33">
                  <c:v>0.5328300683439222</c:v>
                </c:pt>
                <c:pt idx="34">
                  <c:v>0.5988717529912254</c:v>
                </c:pt>
                <c:pt idx="35">
                  <c:v>0.5362376059875177</c:v>
                </c:pt>
                <c:pt idx="36">
                  <c:v>0.49659324439400937</c:v>
                </c:pt>
                <c:pt idx="37">
                  <c:v>0.5272807292453757</c:v>
                </c:pt>
                <c:pt idx="38">
                  <c:v>0.43399694247260673</c:v>
                </c:pt>
                <c:pt idx="39">
                  <c:v>0.42721277801499746</c:v>
                </c:pt>
                <c:pt idx="40">
                  <c:v>0.4111992646840807</c:v>
                </c:pt>
                <c:pt idx="41">
                  <c:v>0.4686551262993973</c:v>
                </c:pt>
                <c:pt idx="42">
                  <c:v>0.4315372805394643</c:v>
                </c:pt>
                <c:pt idx="43">
                  <c:v>0.4957682264345494</c:v>
                </c:pt>
                <c:pt idx="44">
                  <c:v>0.5909511256264609</c:v>
                </c:pt>
                <c:pt idx="45">
                  <c:v>0.644107508383308</c:v>
                </c:pt>
                <c:pt idx="46">
                  <c:v>0.6212747882738747</c:v>
                </c:pt>
                <c:pt idx="47">
                  <c:v>0.6111341914727624</c:v>
                </c:pt>
                <c:pt idx="48">
                  <c:v>0.5886042806300649</c:v>
                </c:pt>
                <c:pt idx="49">
                  <c:v>0.6235936647608807</c:v>
                </c:pt>
                <c:pt idx="50">
                  <c:v>0.7184439940963163</c:v>
                </c:pt>
                <c:pt idx="51">
                  <c:v>0.6740791331810876</c:v>
                </c:pt>
              </c:numCache>
            </c:numRef>
          </c:xVal>
          <c:yVal>
            <c:numRef>
              <c:f>Sheet1!$B$109:$B$160</c:f>
              <c:numCache>
                <c:formatCode>General</c:formatCode>
                <c:ptCount val="52"/>
                <c:pt idx="0">
                  <c:v>0.0012644429910616962</c:v>
                </c:pt>
                <c:pt idx="1">
                  <c:v>0.0014938262960110169</c:v>
                </c:pt>
                <c:pt idx="2">
                  <c:v>0.001452142436232006</c:v>
                </c:pt>
                <c:pt idx="3">
                  <c:v>0.0015529253756400572</c:v>
                </c:pt>
                <c:pt idx="4">
                  <c:v>0.0014792577606647958</c:v>
                </c:pt>
                <c:pt idx="5">
                  <c:v>0.001294398982031987</c:v>
                </c:pt>
                <c:pt idx="6">
                  <c:v>0.0015030272238452094</c:v>
                </c:pt>
                <c:pt idx="7">
                  <c:v>0.0017374957274695227</c:v>
                </c:pt>
                <c:pt idx="8">
                  <c:v>0.0020296009492287515</c:v>
                </c:pt>
                <c:pt idx="9">
                  <c:v>0.0020912710917581003</c:v>
                </c:pt>
                <c:pt idx="10">
                  <c:v>0.0019877971342591315</c:v>
                </c:pt>
                <c:pt idx="11">
                  <c:v>0.0020619415574948453</c:v>
                </c:pt>
                <c:pt idx="12">
                  <c:v>0.0020706369561636745</c:v>
                </c:pt>
                <c:pt idx="13">
                  <c:v>0.0030358964395006557</c:v>
                </c:pt>
                <c:pt idx="14">
                  <c:v>0.003000451395342662</c:v>
                </c:pt>
                <c:pt idx="15">
                  <c:v>0.0029206601259003004</c:v>
                </c:pt>
                <c:pt idx="16">
                  <c:v>0.002713660888165246</c:v>
                </c:pt>
                <c:pt idx="17">
                  <c:v>0.0035899346360957767</c:v>
                </c:pt>
                <c:pt idx="18">
                  <c:v>0.0019464720194647203</c:v>
                </c:pt>
                <c:pt idx="19">
                  <c:v>0.0017023166308933462</c:v>
                </c:pt>
                <c:pt idx="20">
                  <c:v>0.001982521443599288</c:v>
                </c:pt>
                <c:pt idx="21">
                  <c:v>0.002600529737539128</c:v>
                </c:pt>
                <c:pt idx="22">
                  <c:v>0.0022813319095233474</c:v>
                </c:pt>
                <c:pt idx="23">
                  <c:v>0.0023333671502485543</c:v>
                </c:pt>
                <c:pt idx="24">
                  <c:v>0.0021462297896694808</c:v>
                </c:pt>
                <c:pt idx="25">
                  <c:v>0.0024488979959018443</c:v>
                </c:pt>
                <c:pt idx="26">
                  <c:v>0.002502767483274775</c:v>
                </c:pt>
                <c:pt idx="27">
                  <c:v>0.0023880597014925373</c:v>
                </c:pt>
                <c:pt idx="28">
                  <c:v>0.0020101690906940994</c:v>
                </c:pt>
                <c:pt idx="29">
                  <c:v>0.002372093023255814</c:v>
                </c:pt>
                <c:pt idx="30">
                  <c:v>0.0022753679318357864</c:v>
                </c:pt>
                <c:pt idx="31">
                  <c:v>0.0023828865421066884</c:v>
                </c:pt>
                <c:pt idx="32">
                  <c:v>0.0020210769452865597</c:v>
                </c:pt>
                <c:pt idx="33">
                  <c:v>0.0020408979951178517</c:v>
                </c:pt>
                <c:pt idx="34">
                  <c:v>0.0018805829807240243</c:v>
                </c:pt>
                <c:pt idx="35">
                  <c:v>0.002233041695647399</c:v>
                </c:pt>
                <c:pt idx="36">
                  <c:v>0.0025818944650637405</c:v>
                </c:pt>
                <c:pt idx="37">
                  <c:v>0.0026314507090297746</c:v>
                </c:pt>
                <c:pt idx="38">
                  <c:v>0.00295254455658149</c:v>
                </c:pt>
                <c:pt idx="39">
                  <c:v>0.002895313727923233</c:v>
                </c:pt>
                <c:pt idx="40">
                  <c:v>0.00273569882814095</c:v>
                </c:pt>
                <c:pt idx="41">
                  <c:v>0.0022220519500421422</c:v>
                </c:pt>
                <c:pt idx="42">
                  <c:v>0.002549286199864038</c:v>
                </c:pt>
                <c:pt idx="43">
                  <c:v>0.001865371627054321</c:v>
                </c:pt>
                <c:pt idx="44">
                  <c:v>0.0014163927416553088</c:v>
                </c:pt>
                <c:pt idx="45">
                  <c:v>0.0011781673403887952</c:v>
                </c:pt>
                <c:pt idx="46">
                  <c:v>0.0012636695018226002</c:v>
                </c:pt>
                <c:pt idx="47">
                  <c:v>0.0013500835221161988</c:v>
                </c:pt>
                <c:pt idx="48">
                  <c:v>0.0014853395061728396</c:v>
                </c:pt>
                <c:pt idx="49">
                  <c:v>0.0013697667884237145</c:v>
                </c:pt>
                <c:pt idx="50">
                  <c:v>0.0011509642261527259</c:v>
                </c:pt>
                <c:pt idx="51">
                  <c:v>0.001246118242775481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825941144993455</c:v>
                </c:pt>
              </c:numCache>
            </c:numRef>
          </c:xVal>
          <c:yVal>
            <c:numRef>
              <c:f>Sheet1!$B$163:$B$164</c:f>
              <c:numCache>
                <c:formatCode>General</c:formatCode>
                <c:ptCount val="2"/>
                <c:pt idx="0">
                  <c:v>0.002438776158167452</c:v>
                </c:pt>
                <c:pt idx="1">
                  <c:v>0.00243877615816745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825941144993455</c:v>
                </c:pt>
                <c:pt idx="1">
                  <c:v>0.4825941144993455</c:v>
                </c:pt>
              </c:numCache>
            </c:numRef>
          </c:xVal>
          <c:yVal>
            <c:numRef>
              <c:f>Sheet1!$B$167:$B$168</c:f>
              <c:numCache>
                <c:formatCode>General</c:formatCode>
                <c:ptCount val="2"/>
                <c:pt idx="0">
                  <c:v>0.0024387761581674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825941144993455</c:v>
                </c:pt>
              </c:numCache>
            </c:numRef>
          </c:xVal>
          <c:yVal>
            <c:numRef>
              <c:f>Sheet1!$B$171:$B$172</c:f>
              <c:numCache>
                <c:formatCode>General</c:formatCode>
                <c:ptCount val="2"/>
                <c:pt idx="0">
                  <c:v>0.002438776158167452</c:v>
                </c:pt>
                <c:pt idx="1">
                  <c:v>0.00243877615816745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825941144993455</c:v>
                </c:pt>
                <c:pt idx="1">
                  <c:v>0.4825941144993455</c:v>
                </c:pt>
              </c:numCache>
            </c:numRef>
          </c:xVal>
          <c:yVal>
            <c:numRef>
              <c:f>Sheet1!$B$175:$B$176</c:f>
              <c:numCache>
                <c:formatCode>General</c:formatCode>
                <c:ptCount val="2"/>
                <c:pt idx="0">
                  <c:v>0.00243877615816745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544260749285771</c:v>
                </c:pt>
              </c:numCache>
            </c:numRef>
          </c:xVal>
          <c:yVal>
            <c:numRef>
              <c:f>Sheet1!$B$179:$B$180</c:f>
              <c:numCache>
                <c:formatCode>General</c:formatCode>
                <c:ptCount val="2"/>
                <c:pt idx="0">
                  <c:v>0.0017483249386563344</c:v>
                </c:pt>
                <c:pt idx="1">
                  <c:v>0.001748324938656334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544260749285771</c:v>
                </c:pt>
                <c:pt idx="1">
                  <c:v>0.6544260749285771</c:v>
                </c:pt>
              </c:numCache>
            </c:numRef>
          </c:xVal>
          <c:yVal>
            <c:numRef>
              <c:f>Sheet1!$B$183:$B$184</c:f>
              <c:numCache>
                <c:formatCode>General</c:formatCode>
                <c:ptCount val="2"/>
                <c:pt idx="0">
                  <c:v>0.001748324938656334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570901701869049</c:v>
                </c:pt>
                <c:pt idx="1">
                  <c:v>0.6878278211701246</c:v>
                </c:pt>
                <c:pt idx="2">
                  <c:v>0.7321423964525585</c:v>
                </c:pt>
                <c:pt idx="3">
                  <c:v>0.6311194615900372</c:v>
                </c:pt>
                <c:pt idx="4">
                  <c:v>0.7537313749686164</c:v>
                </c:pt>
                <c:pt idx="5">
                  <c:v>0.803258136519184</c:v>
                </c:pt>
                <c:pt idx="6">
                  <c:v>0.733405950292105</c:v>
                </c:pt>
                <c:pt idx="7">
                  <c:v>0.6751452196149667</c:v>
                </c:pt>
                <c:pt idx="8">
                  <c:v>0.6706781379642341</c:v>
                </c:pt>
                <c:pt idx="9">
                  <c:v>0.6826295170583118</c:v>
                </c:pt>
                <c:pt idx="10">
                  <c:v>0.7070705865231366</c:v>
                </c:pt>
                <c:pt idx="11">
                  <c:v>0.7073224760220113</c:v>
                </c:pt>
                <c:pt idx="12">
                  <c:v>0.640090916104257</c:v>
                </c:pt>
                <c:pt idx="13">
                  <c:v>0.556846885313277</c:v>
                </c:pt>
                <c:pt idx="14">
                  <c:v>0.5542192333709371</c:v>
                </c:pt>
                <c:pt idx="15">
                  <c:v>0.5593285831090409</c:v>
                </c:pt>
                <c:pt idx="16">
                  <c:v>0.573660284891846</c:v>
                </c:pt>
                <c:pt idx="17">
                  <c:v>0.4206542713737571</c:v>
                </c:pt>
                <c:pt idx="18">
                  <c:v>0.5740862683605752</c:v>
                </c:pt>
                <c:pt idx="19">
                  <c:v>0.6365397312946541</c:v>
                </c:pt>
                <c:pt idx="20">
                  <c:v>0.5732789483120787</c:v>
                </c:pt>
                <c:pt idx="21">
                  <c:v>0.48193186526552306</c:v>
                </c:pt>
                <c:pt idx="22">
                  <c:v>0.5426885694153993</c:v>
                </c:pt>
                <c:pt idx="23">
                  <c:v>0.40587991306471755</c:v>
                </c:pt>
                <c:pt idx="24">
                  <c:v>0.5164542427306748</c:v>
                </c:pt>
                <c:pt idx="25">
                  <c:v>0.4648040508085898</c:v>
                </c:pt>
                <c:pt idx="26">
                  <c:v>0.48197466087698615</c:v>
                </c:pt>
                <c:pt idx="27">
                  <c:v>0.47635137762871893</c:v>
                </c:pt>
                <c:pt idx="28">
                  <c:v>0.500586076186557</c:v>
                </c:pt>
                <c:pt idx="29">
                  <c:v>0.45214909159285127</c:v>
                </c:pt>
                <c:pt idx="30">
                  <c:v>0.43745680704323203</c:v>
                </c:pt>
                <c:pt idx="31">
                  <c:v>0.48371869051077726</c:v>
                </c:pt>
                <c:pt idx="32">
                  <c:v>0.5403735250753909</c:v>
                </c:pt>
                <c:pt idx="33">
                  <c:v>0.5328300683439222</c:v>
                </c:pt>
                <c:pt idx="34">
                  <c:v>0.5988717529912254</c:v>
                </c:pt>
                <c:pt idx="35">
                  <c:v>0.5362376059875177</c:v>
                </c:pt>
                <c:pt idx="36">
                  <c:v>0.49659324439400937</c:v>
                </c:pt>
                <c:pt idx="37">
                  <c:v>0.5272807292453757</c:v>
                </c:pt>
                <c:pt idx="38">
                  <c:v>0.43399694247260673</c:v>
                </c:pt>
                <c:pt idx="39">
                  <c:v>0.42721277801499746</c:v>
                </c:pt>
                <c:pt idx="40">
                  <c:v>0.4111992646840807</c:v>
                </c:pt>
                <c:pt idx="41">
                  <c:v>0.4686551262993973</c:v>
                </c:pt>
                <c:pt idx="42">
                  <c:v>0.4315372805394643</c:v>
                </c:pt>
                <c:pt idx="43">
                  <c:v>0.4957682264345494</c:v>
                </c:pt>
                <c:pt idx="44">
                  <c:v>0.5909511256264609</c:v>
                </c:pt>
                <c:pt idx="45">
                  <c:v>0.644107508383308</c:v>
                </c:pt>
                <c:pt idx="46">
                  <c:v>0.6212747882738747</c:v>
                </c:pt>
                <c:pt idx="47">
                  <c:v>0.6111341914727624</c:v>
                </c:pt>
                <c:pt idx="48">
                  <c:v>0.5886042806300649</c:v>
                </c:pt>
                <c:pt idx="49">
                  <c:v>0.6235936647608807</c:v>
                </c:pt>
                <c:pt idx="50">
                  <c:v>0.7184439940963163</c:v>
                </c:pt>
                <c:pt idx="51">
                  <c:v>0.6740791331810876</c:v>
                </c:pt>
                <c:pt idx="52">
                  <c:v>0.4825941144993455</c:v>
                </c:pt>
                <c:pt idx="53">
                  <c:v>0.4825941144993455</c:v>
                </c:pt>
                <c:pt idx="54">
                  <c:v>0.6544260749285771</c:v>
                </c:pt>
              </c:numCache>
            </c:numRef>
          </c:xVal>
          <c:yVal>
            <c:numRef>
              <c:f>Sheet1!$B$187:$B$241</c:f>
              <c:numCache>
                <c:formatCode>General</c:formatCode>
                <c:ptCount val="55"/>
                <c:pt idx="0">
                  <c:v>0.0013358024393840782</c:v>
                </c:pt>
                <c:pt idx="1">
                  <c:v>0.0016141108124328512</c:v>
                </c:pt>
                <c:pt idx="2">
                  <c:v>0.001436047008298608</c:v>
                </c:pt>
                <c:pt idx="3">
                  <c:v>0.0018419750347273525</c:v>
                </c:pt>
                <c:pt idx="4">
                  <c:v>0.0013492986728482277</c:v>
                </c:pt>
                <c:pt idx="5">
                  <c:v>0.0011502913820880833</c:v>
                </c:pt>
                <c:pt idx="6">
                  <c:v>0.0014309698254086874</c:v>
                </c:pt>
                <c:pt idx="7">
                  <c:v>0.0016650717494346664</c:v>
                </c:pt>
                <c:pt idx="8">
                  <c:v>0.0016830212738752856</c:v>
                </c:pt>
                <c:pt idx="9">
                  <c:v>0.0016349985180984634</c:v>
                </c:pt>
                <c:pt idx="10">
                  <c:v>0.001536789976590876</c:v>
                </c:pt>
                <c:pt idx="11">
                  <c:v>0.0015357778400171816</c:v>
                </c:pt>
                <c:pt idx="12">
                  <c:v>0.0018059261431552713</c:v>
                </c:pt>
                <c:pt idx="13">
                  <c:v>0.0021404153873743315</c:v>
                </c:pt>
                <c:pt idx="14">
                  <c:v>0.0021509737577933576</c:v>
                </c:pt>
                <c:pt idx="15">
                  <c:v>0.0021304434865401503</c:v>
                </c:pt>
                <c:pt idx="16">
                  <c:v>0.0020728561730456807</c:v>
                </c:pt>
                <c:pt idx="17">
                  <c:v>0.0026876614069626147</c:v>
                </c:pt>
                <c:pt idx="18">
                  <c:v>0.0020711444960983833</c:v>
                </c:pt>
                <c:pt idx="19">
                  <c:v>0.0018201954320371228</c:v>
                </c:pt>
                <c:pt idx="20">
                  <c:v>0.002074388450893683</c:v>
                </c:pt>
                <c:pt idx="21">
                  <c:v>0.0024414371927617778</c:v>
                </c:pt>
                <c:pt idx="22">
                  <c:v>0.0021973060057057176</c:v>
                </c:pt>
                <c:pt idx="23">
                  <c:v>0.0027470273926994285</c:v>
                </c:pt>
                <c:pt idx="24">
                  <c:v>0.00230272017200676</c:v>
                </c:pt>
                <c:pt idx="25">
                  <c:v>0.0025102597817016287</c:v>
                </c:pt>
                <c:pt idx="26">
                  <c:v>0.0024412652324230224</c:v>
                </c:pt>
                <c:pt idx="27">
                  <c:v>0.0024638605794511533</c:v>
                </c:pt>
                <c:pt idx="28">
                  <c:v>0.002366481272761377</c:v>
                </c:pt>
                <c:pt idx="29">
                  <c:v>0.0025611096468928524</c:v>
                </c:pt>
                <c:pt idx="30">
                  <c:v>0.002620145845742873</c:v>
                </c:pt>
                <c:pt idx="31">
                  <c:v>0.0024342574127804682</c:v>
                </c:pt>
                <c:pt idx="32">
                  <c:v>0.0022066082634684078</c:v>
                </c:pt>
                <c:pt idx="33">
                  <c:v>0.00223691920729144</c:v>
                </c:pt>
                <c:pt idx="34">
                  <c:v>0.0019715520335165776</c:v>
                </c:pt>
                <c:pt idx="35">
                  <c:v>0.002223227118138331</c:v>
                </c:pt>
                <c:pt idx="36">
                  <c:v>0.0023825251773620156</c:v>
                </c:pt>
                <c:pt idx="37">
                  <c:v>0.002259217433642935</c:v>
                </c:pt>
                <c:pt idx="38">
                  <c:v>0.0026340481937470756</c:v>
                </c:pt>
                <c:pt idx="39">
                  <c:v>0.0026613081668709314</c:v>
                </c:pt>
                <c:pt idx="40">
                  <c:v>0.0027256532967313485</c:v>
                </c:pt>
                <c:pt idx="41">
                  <c:v>0.002494785479002553</c:v>
                </c:pt>
                <c:pt idx="42">
                  <c:v>0.002643931550586403</c:v>
                </c:pt>
                <c:pt idx="43">
                  <c:v>0.0023858402454948868</c:v>
                </c:pt>
                <c:pt idx="44">
                  <c:v>0.0020033785156776023</c:v>
                </c:pt>
                <c:pt idx="45">
                  <c:v>0.0017897867647158807</c:v>
                </c:pt>
                <c:pt idx="46">
                  <c:v>0.0018815326739456536</c:v>
                </c:pt>
                <c:pt idx="47">
                  <c:v>0.001922279386084704</c:v>
                </c:pt>
                <c:pt idx="48">
                  <c:v>0.0020128085541041996</c:v>
                </c:pt>
                <c:pt idx="49">
                  <c:v>0.0018722150179382988</c:v>
                </c:pt>
                <c:pt idx="50">
                  <c:v>0.0014910896126464571</c:v>
                </c:pt>
                <c:pt idx="51">
                  <c:v>0.001669355473350388</c:v>
                </c:pt>
                <c:pt idx="52">
                  <c:v>0.002438776158167452</c:v>
                </c:pt>
                <c:pt idx="53">
                  <c:v>0.002438776158167452</c:v>
                </c:pt>
                <c:pt idx="54">
                  <c:v>0.001748324938656334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307921563314932"/>
          <c:min val="3.614185678789248e-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9</c:f>
              <c:numCache>
                <c:formatCode>General</c:formatCode>
                <c:ptCount val="58"/>
                <c:pt idx="0">
                  <c:v>629.85</c:v>
                </c:pt>
                <c:pt idx="1">
                  <c:v>599.8571</c:v>
                </c:pt>
                <c:pt idx="2">
                  <c:v>1419.8861</c:v>
                </c:pt>
                <c:pt idx="3">
                  <c:v>646.0</c:v>
                </c:pt>
                <c:pt idx="4">
                  <c:v>601.6667</c:v>
                </c:pt>
                <c:pt idx="5">
                  <c:v>1810.5333</c:v>
                </c:pt>
                <c:pt idx="6">
                  <c:v>703.6</c:v>
                </c:pt>
                <c:pt idx="7">
                  <c:v>718.1333</c:v>
                </c:pt>
                <c:pt idx="8">
                  <c:v>714.0333</c:v>
                </c:pt>
                <c:pt idx="9">
                  <c:v>678.1299</c:v>
                </c:pt>
                <c:pt idx="10">
                  <c:v>925.4167</c:v>
                </c:pt>
                <c:pt idx="11">
                  <c:v>1304.3588</c:v>
                </c:pt>
                <c:pt idx="12">
                  <c:v>1108.1429</c:v>
                </c:pt>
                <c:pt idx="13">
                  <c:v>1524.5</c:v>
                </c:pt>
                <c:pt idx="14">
                  <c:v>1269.0</c:v>
                </c:pt>
                <c:pt idx="15">
                  <c:v>146.375</c:v>
                </c:pt>
                <c:pt idx="16">
                  <c:v>1773.0714</c:v>
                </c:pt>
                <c:pt idx="17">
                  <c:v>3436.5</c:v>
                </c:pt>
                <c:pt idx="18">
                  <c:v>1666.8182</c:v>
                </c:pt>
                <c:pt idx="19">
                  <c:v>1546.7093</c:v>
                </c:pt>
                <c:pt idx="20">
                  <c:v>1180.3151</c:v>
                </c:pt>
                <c:pt idx="21">
                  <c:v>1639.58</c:v>
                </c:pt>
                <c:pt idx="22">
                  <c:v>2228.6667</c:v>
                </c:pt>
                <c:pt idx="23">
                  <c:v>800.7321</c:v>
                </c:pt>
                <c:pt idx="24">
                  <c:v>1505.4516</c:v>
                </c:pt>
                <c:pt idx="25">
                  <c:v>984.4545</c:v>
                </c:pt>
                <c:pt idx="26">
                  <c:v>873.5297</c:v>
                </c:pt>
                <c:pt idx="27">
                  <c:v>1894.9184</c:v>
                </c:pt>
                <c:pt idx="28">
                  <c:v>1117.3077</c:v>
                </c:pt>
                <c:pt idx="29">
                  <c:v>1129.8571</c:v>
                </c:pt>
                <c:pt idx="30">
                  <c:v>1310.4895</c:v>
                </c:pt>
                <c:pt idx="31">
                  <c:v>1116.6154</c:v>
                </c:pt>
                <c:pt idx="32">
                  <c:v>1335.625</c:v>
                </c:pt>
                <c:pt idx="33">
                  <c:v>7344.0</c:v>
                </c:pt>
                <c:pt idx="34">
                  <c:v>1130.75</c:v>
                </c:pt>
                <c:pt idx="35">
                  <c:v>7044.0</c:v>
                </c:pt>
                <c:pt idx="36">
                  <c:v>2083.1429</c:v>
                </c:pt>
                <c:pt idx="37">
                  <c:v>1374.3333</c:v>
                </c:pt>
                <c:pt idx="38">
                  <c:v>1366.5833</c:v>
                </c:pt>
                <c:pt idx="39">
                  <c:v>1129.0233</c:v>
                </c:pt>
                <c:pt idx="40">
                  <c:v>1097.4</c:v>
                </c:pt>
                <c:pt idx="41">
                  <c:v>1128.2069</c:v>
                </c:pt>
                <c:pt idx="42">
                  <c:v>1214.0</c:v>
                </c:pt>
                <c:pt idx="43">
                  <c:v>1160.4706</c:v>
                </c:pt>
                <c:pt idx="44">
                  <c:v>2249.7273</c:v>
                </c:pt>
                <c:pt idx="45">
                  <c:v>1615.8571</c:v>
                </c:pt>
                <c:pt idx="46">
                  <c:v>4285.75</c:v>
                </c:pt>
                <c:pt idx="47">
                  <c:v>1443.1216</c:v>
                </c:pt>
                <c:pt idx="48">
                  <c:v>2792.0</c:v>
                </c:pt>
                <c:pt idx="49">
                  <c:v>1790.6796</c:v>
                </c:pt>
                <c:pt idx="50">
                  <c:v>1141.8333</c:v>
                </c:pt>
                <c:pt idx="51">
                  <c:v>1423.6154</c:v>
                </c:pt>
                <c:pt idx="52">
                  <c:v>1112.6111</c:v>
                </c:pt>
                <c:pt idx="53">
                  <c:v>597.5082</c:v>
                </c:pt>
                <c:pt idx="54">
                  <c:v>1016.7</c:v>
                </c:pt>
                <c:pt idx="55">
                  <c:v>796.3098</c:v>
                </c:pt>
                <c:pt idx="56">
                  <c:v>1397.76</c:v>
                </c:pt>
                <c:pt idx="57">
                  <c:v>1729.2222</c:v>
                </c:pt>
              </c:numCache>
            </c:numRef>
          </c:xVal>
          <c:yVal>
            <c:numRef>
              <c:f>Sheet1!$B$2:$B$59</c:f>
              <c:numCache>
                <c:formatCode>General</c:formatCode>
                <c:ptCount val="58"/>
                <c:pt idx="0">
                  <c:v>0.01330671989354624</c:v>
                </c:pt>
                <c:pt idx="1">
                  <c:v>0.011824324324324325</c:v>
                </c:pt>
                <c:pt idx="2">
                  <c:v>0.23372781065088757</c:v>
                </c:pt>
                <c:pt idx="3">
                  <c:v>0.06280193236714976</c:v>
                </c:pt>
                <c:pt idx="4">
                  <c:v>0.039473684210526314</c:v>
                </c:pt>
                <c:pt idx="5">
                  <c:v>0.05628517823639775</c:v>
                </c:pt>
                <c:pt idx="6">
                  <c:v>0.046583850931677016</c:v>
                </c:pt>
                <c:pt idx="7">
                  <c:v>0.06342494714587738</c:v>
                </c:pt>
                <c:pt idx="8">
                  <c:v>0.04032258064516129</c:v>
                </c:pt>
                <c:pt idx="9">
                  <c:v>0.30078125</c:v>
                </c:pt>
                <c:pt idx="10">
                  <c:v>0.12</c:v>
                </c:pt>
                <c:pt idx="11">
                  <c:v>0.2503871966959215</c:v>
                </c:pt>
                <c:pt idx="12">
                  <c:v>0.09417040358744394</c:v>
                </c:pt>
                <c:pt idx="13">
                  <c:v>0.027649769585253458</c:v>
                </c:pt>
                <c:pt idx="14">
                  <c:v>0.016203703703703703</c:v>
                </c:pt>
                <c:pt idx="15">
                  <c:v>0.09876543209876543</c:v>
                </c:pt>
                <c:pt idx="16">
                  <c:v>0.029723991507430998</c:v>
                </c:pt>
                <c:pt idx="17">
                  <c:v>0.00392156862745098</c:v>
                </c:pt>
                <c:pt idx="18">
                  <c:v>0.06790123456790123</c:v>
                </c:pt>
                <c:pt idx="19">
                  <c:v>0.04994192799070848</c:v>
                </c:pt>
                <c:pt idx="20">
                  <c:v>0.0863905325443787</c:v>
                </c:pt>
                <c:pt idx="21">
                  <c:v>0.0254841997961264</c:v>
                </c:pt>
                <c:pt idx="22">
                  <c:v>0.00949367088607595</c:v>
                </c:pt>
                <c:pt idx="23">
                  <c:v>0.07239819004524888</c:v>
                </c:pt>
                <c:pt idx="24">
                  <c:v>0.059961315280464215</c:v>
                </c:pt>
                <c:pt idx="25">
                  <c:v>0.00909090909090909</c:v>
                </c:pt>
                <c:pt idx="26">
                  <c:v>0.1600633914421553</c:v>
                </c:pt>
                <c:pt idx="27">
                  <c:v>0.04914744232698094</c:v>
                </c:pt>
                <c:pt idx="28">
                  <c:v>0.052489905787348586</c:v>
                </c:pt>
                <c:pt idx="29">
                  <c:v>0.006517690875232775</c:v>
                </c:pt>
                <c:pt idx="30">
                  <c:v>0.19066666666666668</c:v>
                </c:pt>
                <c:pt idx="31">
                  <c:v>0.23780487804878048</c:v>
                </c:pt>
                <c:pt idx="32">
                  <c:v>0.026272577996715927</c:v>
                </c:pt>
                <c:pt idx="33">
                  <c:v>0.00228310502283105</c:v>
                </c:pt>
                <c:pt idx="34">
                  <c:v>0.07785888077858881</c:v>
                </c:pt>
                <c:pt idx="35">
                  <c:v>0.0016339869281045752</c:v>
                </c:pt>
                <c:pt idx="36">
                  <c:v>0.009510869565217392</c:v>
                </c:pt>
                <c:pt idx="37">
                  <c:v>0.01437125748502994</c:v>
                </c:pt>
                <c:pt idx="38">
                  <c:v>0.08888888888888889</c:v>
                </c:pt>
                <c:pt idx="39">
                  <c:v>0.0730050933786078</c:v>
                </c:pt>
                <c:pt idx="40">
                  <c:v>0.02881844380403458</c:v>
                </c:pt>
                <c:pt idx="41">
                  <c:v>0.07571801566579635</c:v>
                </c:pt>
                <c:pt idx="42">
                  <c:v>0.008915304606240713</c:v>
                </c:pt>
                <c:pt idx="43">
                  <c:v>0.016361886429258902</c:v>
                </c:pt>
                <c:pt idx="44">
                  <c:v>0.022494887525562373</c:v>
                </c:pt>
                <c:pt idx="45">
                  <c:v>0.02666666666666667</c:v>
                </c:pt>
                <c:pt idx="46">
                  <c:v>0.00975609756097561</c:v>
                </c:pt>
                <c:pt idx="47">
                  <c:v>0.2540045766590389</c:v>
                </c:pt>
                <c:pt idx="48">
                  <c:v>0.002621231979030144</c:v>
                </c:pt>
                <c:pt idx="49">
                  <c:v>0.15236686390532544</c:v>
                </c:pt>
                <c:pt idx="50">
                  <c:v>0.008438818565400843</c:v>
                </c:pt>
                <c:pt idx="51">
                  <c:v>0.04391891891891892</c:v>
                </c:pt>
                <c:pt idx="52">
                  <c:v>0.026905829596412557</c:v>
                </c:pt>
                <c:pt idx="53">
                  <c:v>0.09256449165402124</c:v>
                </c:pt>
                <c:pt idx="54">
                  <c:v>0.025252525252525252</c:v>
                </c:pt>
                <c:pt idx="55">
                  <c:v>0.2010928961748634</c:v>
                </c:pt>
                <c:pt idx="56">
                  <c:v>0.05411255411255411</c:v>
                </c:pt>
                <c:pt idx="57">
                  <c:v>0.02278481012658228</c:v>
                </c:pt>
              </c:numCache>
            </c:numRef>
          </c:yVal>
          <c:smooth val="0"/>
          <c:extLst>
            <c:ext xmlns:c16="http://schemas.microsoft.com/office/drawing/2014/chart" uri="{C3380CC4-5D6E-409C-BE32-E72D297353CC}">
              <c16:uniqueId val="{00000000-F32D-48B7-BC20-E66FC6253BAD}"/>
            </c:ext>
          </c:extLst>
        </c:ser>
        <c:ser>
          <c:idx val="1"/>
          <c:order val="1"/>
          <c:tx>
            <c:strRef>
              <c:f>Sheet1!$B$6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2:$A$85</c:f>
              <c:numCache>
                <c:formatCode>General</c:formatCode>
                <c:ptCount val="24"/>
                <c:pt idx="0">
                  <c:v>1247.0568</c:v>
                </c:pt>
                <c:pt idx="1">
                  <c:v>1592.1105</c:v>
                </c:pt>
                <c:pt idx="2">
                  <c:v>881.2308</c:v>
                </c:pt>
                <c:pt idx="3">
                  <c:v>1093.129</c:v>
                </c:pt>
                <c:pt idx="4">
                  <c:v>2398.3333</c:v>
                </c:pt>
                <c:pt idx="5">
                  <c:v>1034.2051</c:v>
                </c:pt>
                <c:pt idx="6">
                  <c:v>2360.0</c:v>
                </c:pt>
                <c:pt idx="7">
                  <c:v>1066.5357</c:v>
                </c:pt>
                <c:pt idx="8">
                  <c:v>768.5</c:v>
                </c:pt>
                <c:pt idx="9">
                  <c:v>1055.8983</c:v>
                </c:pt>
                <c:pt idx="10">
                  <c:v>838.0183</c:v>
                </c:pt>
                <c:pt idx="11">
                  <c:v>1452.0</c:v>
                </c:pt>
                <c:pt idx="12">
                  <c:v>792.7333</c:v>
                </c:pt>
                <c:pt idx="13">
                  <c:v>817.9655</c:v>
                </c:pt>
                <c:pt idx="14">
                  <c:v>774.6071</c:v>
                </c:pt>
                <c:pt idx="15">
                  <c:v>1034.3514</c:v>
                </c:pt>
                <c:pt idx="16">
                  <c:v>1057.5556</c:v>
                </c:pt>
                <c:pt idx="17">
                  <c:v>1033.2258</c:v>
                </c:pt>
                <c:pt idx="18">
                  <c:v>1133.7895</c:v>
                </c:pt>
                <c:pt idx="19">
                  <c:v>907.75</c:v>
                </c:pt>
                <c:pt idx="20">
                  <c:v>1001.5231</c:v>
                </c:pt>
                <c:pt idx="21">
                  <c:v>973.2308</c:v>
                </c:pt>
                <c:pt idx="22">
                  <c:v>1008.7917</c:v>
                </c:pt>
                <c:pt idx="23">
                  <c:v>1067.1515</c:v>
                </c:pt>
              </c:numCache>
            </c:numRef>
          </c:xVal>
          <c:yVal>
            <c:numRef>
              <c:f>Sheet1!$B$62:$B$85</c:f>
              <c:numCache>
                <c:formatCode>General</c:formatCode>
                <c:ptCount val="24"/>
                <c:pt idx="0">
                  <c:v>0.08333333333333333</c:v>
                </c:pt>
                <c:pt idx="1">
                  <c:v>0.21608040201005024</c:v>
                </c:pt>
                <c:pt idx="2">
                  <c:v>0.024714828897338403</c:v>
                </c:pt>
                <c:pt idx="3">
                  <c:v>0.18594687232219365</c:v>
                </c:pt>
                <c:pt idx="4">
                  <c:v>0.006896551724137931</c:v>
                </c:pt>
                <c:pt idx="5">
                  <c:v>0.21666666666666667</c:v>
                </c:pt>
                <c:pt idx="6">
                  <c:v>0.020761245674740483</c:v>
                </c:pt>
                <c:pt idx="7">
                  <c:v>0.0380952380952381</c:v>
                </c:pt>
                <c:pt idx="8">
                  <c:v>0.06153846153846154</c:v>
                </c:pt>
                <c:pt idx="9">
                  <c:v>0.09719934102141681</c:v>
                </c:pt>
                <c:pt idx="10">
                  <c:v>0.1332518337408313</c:v>
                </c:pt>
                <c:pt idx="11">
                  <c:v>0.01090909090909091</c:v>
                </c:pt>
                <c:pt idx="12">
                  <c:v>0.03783102143757881</c:v>
                </c:pt>
                <c:pt idx="13">
                  <c:v>0.04588607594936709</c:v>
                </c:pt>
                <c:pt idx="14">
                  <c:v>0.0681265206812652</c:v>
                </c:pt>
                <c:pt idx="15">
                  <c:v>0.24915824915824916</c:v>
                </c:pt>
                <c:pt idx="16">
                  <c:v>0.7531380753138075</c:v>
                </c:pt>
                <c:pt idx="17">
                  <c:v>0.12180746561886051</c:v>
                </c:pt>
                <c:pt idx="18">
                  <c:v>0.10401459854014598</c:v>
                </c:pt>
                <c:pt idx="19">
                  <c:v>0.04664723032069971</c:v>
                </c:pt>
                <c:pt idx="20">
                  <c:v>0.22491349480968859</c:v>
                </c:pt>
                <c:pt idx="21">
                  <c:v>0.01870503597122302</c:v>
                </c:pt>
                <c:pt idx="22">
                  <c:v>0.04660194174757282</c:v>
                </c:pt>
                <c:pt idx="23">
                  <c:v>0.1286549707602339</c:v>
                </c:pt>
              </c:numCache>
            </c:numRef>
          </c:yVal>
          <c:smooth val="0"/>
          <c:extLst>
            <c:ext xmlns:c16="http://schemas.microsoft.com/office/drawing/2014/chart" uri="{C3380CC4-5D6E-409C-BE32-E72D297353CC}">
              <c16:uniqueId val="{00000002-F32D-48B7-BC20-E66FC6253BAD}"/>
            </c:ext>
          </c:extLst>
        </c:ser>
        <c:ser>
          <c:idx val="2"/>
          <c:order val="2"/>
          <c:tx>
            <c:strRef>
              <c:f>Sheet1!$B$87</c:f>
              <c:strCache>
                <c:ptCount val="1"/>
                <c:pt idx="0">
                  <c:v>Custom Linep3yQ</c:v>
                </c:pt>
              </c:strCache>
            </c:strRef>
          </c:tx>
          <c:spPr>
            <a:ln w="19050" cap="rnd">
              <a:solidFill>
                <a:srgbClr val="C00000"/>
              </a:solidFill>
              <a:prstDash val="sysDot"/>
              <a:round/>
            </a:ln>
            <a:effectLst/>
          </c:spPr>
          <c:marker>
            <c:symbol val="none"/>
          </c:marker>
          <c:xVal>
            <c:numRef>
              <c:f>Sheet1!$A$88:$A$89</c:f>
              <c:numCache>
                <c:formatCode>General</c:formatCode>
                <c:ptCount val="2"/>
                <c:pt idx="0">
                  <c:v>0</c:v>
                </c:pt>
                <c:pt idx="1">
                  <c:v>-1733.1705025026715</c:v>
                </c:pt>
              </c:numCache>
            </c:numRef>
          </c:xVal>
          <c:yVal>
            <c:numRef>
              <c:f>Sheet1!$B$88:$B$89</c:f>
              <c:numCache>
                <c:formatCode>General</c:formatCode>
                <c:ptCount val="2"/>
                <c:pt idx="0">
                  <c:v>0.25010417292064047</c:v>
                </c:pt>
                <c:pt idx="1">
                  <c:v>0.25010417292064047</c:v>
                </c:pt>
              </c:numCache>
            </c:numRef>
          </c:yVal>
          <c:smooth val="0"/>
          <c:extLst>
            <c:ext xmlns:c16="http://schemas.microsoft.com/office/drawing/2014/chart" uri="{C3380CC4-5D6E-409C-BE32-E72D297353CC}">
              <c16:uniqueId val="{00000003-F32D-48B7-BC20-E66FC6253BAD}"/>
            </c:ext>
          </c:extLst>
        </c:ser>
        <c:ser>
          <c:idx val="3"/>
          <c:order val="3"/>
          <c:tx>
            <c:strRef>
              <c:f>Sheet1!$B$9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92:$A$93</c:f>
              <c:numCache>
                <c:formatCode>General</c:formatCode>
                <c:ptCount val="2"/>
                <c:pt idx="0">
                  <c:v>-1733.1705025026715</c:v>
                </c:pt>
                <c:pt idx="1">
                  <c:v>-1733.1705025026715</c:v>
                </c:pt>
              </c:numCache>
            </c:numRef>
          </c:xVal>
          <c:yVal>
            <c:numRef>
              <c:f>Sheet1!$B$92:$B$93</c:f>
              <c:numCache>
                <c:formatCode>General</c:formatCode>
                <c:ptCount val="2"/>
                <c:pt idx="0">
                  <c:v>0.250104172920640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9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96:$A$97</c:f>
              <c:numCache>
                <c:formatCode>General</c:formatCode>
                <c:ptCount val="2"/>
                <c:pt idx="0">
                  <c:v>0</c:v>
                </c:pt>
                <c:pt idx="1">
                  <c:v>-1733.1705025026715</c:v>
                </c:pt>
              </c:numCache>
            </c:numRef>
          </c:xVal>
          <c:yVal>
            <c:numRef>
              <c:f>Sheet1!$B$96:$B$97</c:f>
              <c:numCache>
                <c:formatCode>General</c:formatCode>
                <c:ptCount val="2"/>
                <c:pt idx="0">
                  <c:v>0.25010417292064047</c:v>
                </c:pt>
                <c:pt idx="1">
                  <c:v>0.25010417292064047</c:v>
                </c:pt>
              </c:numCache>
            </c:numRef>
          </c:yVal>
          <c:smooth val="0"/>
          <c:extLst>
            <c:ext xmlns:c16="http://schemas.microsoft.com/office/drawing/2014/chart" uri="{C3380CC4-5D6E-409C-BE32-E72D297353CC}">
              <c16:uniqueId val="{0000000A-F32D-48B7-BC20-E66FC6253BAD}"/>
            </c:ext>
          </c:extLst>
        </c:ser>
        <c:ser>
          <c:idx val="5"/>
          <c:order val="5"/>
          <c:tx>
            <c:strRef>
              <c:f>Sheet1!$B$9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0:$A$101</c:f>
              <c:numCache>
                <c:formatCode>General</c:formatCode>
                <c:ptCount val="2"/>
                <c:pt idx="0">
                  <c:v>-1733.1705025026715</c:v>
                </c:pt>
                <c:pt idx="1">
                  <c:v>-1733.1705025026715</c:v>
                </c:pt>
              </c:numCache>
            </c:numRef>
          </c:xVal>
          <c:yVal>
            <c:numRef>
              <c:f>Sheet1!$B$100:$B$101</c:f>
              <c:numCache>
                <c:formatCode>General</c:formatCode>
                <c:ptCount val="2"/>
                <c:pt idx="0">
                  <c:v>0.250104172920640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0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04:$A$105</c:f>
              <c:numCache>
                <c:formatCode>General</c:formatCode>
                <c:ptCount val="2"/>
                <c:pt idx="0">
                  <c:v>0</c:v>
                </c:pt>
                <c:pt idx="1">
                  <c:v>1763.4416885899916</c:v>
                </c:pt>
              </c:numCache>
            </c:numRef>
          </c:xVal>
          <c:yVal>
            <c:numRef>
              <c:f>Sheet1!$B$104:$B$105</c:f>
              <c:numCache>
                <c:formatCode>General</c:formatCode>
                <c:ptCount val="2"/>
                <c:pt idx="0">
                  <c:v>0.09492287869159399</c:v>
                </c:pt>
                <c:pt idx="1">
                  <c:v>0.09492287869159399</c:v>
                </c:pt>
              </c:numCache>
            </c:numRef>
          </c:yVal>
          <c:smooth val="0"/>
          <c:extLst>
            <c:ext xmlns:c16="http://schemas.microsoft.com/office/drawing/2014/chart" uri="{C3380CC4-5D6E-409C-BE32-E72D297353CC}">
              <c16:uniqueId val="{00000011-F32D-48B7-BC20-E66FC6253BAD}"/>
            </c:ext>
          </c:extLst>
        </c:ser>
        <c:ser>
          <c:idx val="7"/>
          <c:order val="7"/>
          <c:tx>
            <c:strRef>
              <c:f>Sheet1!$B$10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8:$A$109</c:f>
              <c:numCache>
                <c:formatCode>General</c:formatCode>
                <c:ptCount val="2"/>
                <c:pt idx="0">
                  <c:v>1763.4416885899916</c:v>
                </c:pt>
                <c:pt idx="1">
                  <c:v>1763.4416885899916</c:v>
                </c:pt>
              </c:numCache>
            </c:numRef>
          </c:xVal>
          <c:yVal>
            <c:numRef>
              <c:f>Sheet1!$B$108:$B$109</c:f>
              <c:numCache>
                <c:formatCode>General</c:formatCode>
                <c:ptCount val="2"/>
                <c:pt idx="0">
                  <c:v>0.0949228786915939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1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12:$A$138</c:f>
              <c:numCache>
                <c:formatCode>General</c:formatCode>
                <c:ptCount val="27"/>
                <c:pt idx="0">
                  <c:v>1247.0568</c:v>
                </c:pt>
                <c:pt idx="1">
                  <c:v>1592.1105</c:v>
                </c:pt>
                <c:pt idx="2">
                  <c:v>881.2308</c:v>
                </c:pt>
                <c:pt idx="3">
                  <c:v>1093.129</c:v>
                </c:pt>
                <c:pt idx="4">
                  <c:v>2398.3333</c:v>
                </c:pt>
                <c:pt idx="5">
                  <c:v>1034.2051</c:v>
                </c:pt>
                <c:pt idx="6">
                  <c:v>2360.0</c:v>
                </c:pt>
                <c:pt idx="7">
                  <c:v>1066.5357</c:v>
                </c:pt>
                <c:pt idx="8">
                  <c:v>768.5</c:v>
                </c:pt>
                <c:pt idx="9">
                  <c:v>1055.8983</c:v>
                </c:pt>
                <c:pt idx="10">
                  <c:v>838.0183</c:v>
                </c:pt>
                <c:pt idx="11">
                  <c:v>1452.0</c:v>
                </c:pt>
                <c:pt idx="12">
                  <c:v>792.7333</c:v>
                </c:pt>
                <c:pt idx="13">
                  <c:v>817.9655</c:v>
                </c:pt>
                <c:pt idx="14">
                  <c:v>774.6071</c:v>
                </c:pt>
                <c:pt idx="15">
                  <c:v>1034.3514</c:v>
                </c:pt>
                <c:pt idx="16">
                  <c:v>1057.5556</c:v>
                </c:pt>
                <c:pt idx="17">
                  <c:v>1033.2258</c:v>
                </c:pt>
                <c:pt idx="18">
                  <c:v>1133.7895</c:v>
                </c:pt>
                <c:pt idx="19">
                  <c:v>907.75</c:v>
                </c:pt>
                <c:pt idx="20">
                  <c:v>1001.5231</c:v>
                </c:pt>
                <c:pt idx="21">
                  <c:v>973.2308</c:v>
                </c:pt>
                <c:pt idx="22">
                  <c:v>1008.7917</c:v>
                </c:pt>
                <c:pt idx="23">
                  <c:v>1067.1515</c:v>
                </c:pt>
                <c:pt idx="24">
                  <c:v>-1733.1705025026715</c:v>
                </c:pt>
                <c:pt idx="25">
                  <c:v>-1733.1705025026715</c:v>
                </c:pt>
                <c:pt idx="26">
                  <c:v>1763.4416885899916</c:v>
                </c:pt>
              </c:numCache>
            </c:numRef>
          </c:xVal>
          <c:yVal>
            <c:numRef>
              <c:f>Sheet1!$B$112:$B$138</c:f>
              <c:numCache>
                <c:formatCode>General</c:formatCode>
                <c:ptCount val="27"/>
                <c:pt idx="0">
                  <c:v>0.1178402830110807</c:v>
                </c:pt>
                <c:pt idx="1">
                  <c:v>0.10252663745412562</c:v>
                </c:pt>
                <c:pt idx="2">
                  <c:v>0.13407581301559493</c:v>
                </c:pt>
                <c:pt idx="3">
                  <c:v>0.12467167119953332</c:v>
                </c:pt>
                <c:pt idx="4">
                  <c:v>0.06674609025484654</c:v>
                </c:pt>
                <c:pt idx="5">
                  <c:v>0.12728674160577289</c:v>
                </c:pt>
                <c:pt idx="6">
                  <c:v>0.06844734014501849</c:v>
                </c:pt>
                <c:pt idx="7">
                  <c:v>0.12585189436592675</c:v>
                </c:pt>
                <c:pt idx="8">
                  <c:v>0.13907885896047828</c:v>
                </c:pt>
                <c:pt idx="9">
                  <c:v>0.12632398718292176</c:v>
                </c:pt>
                <c:pt idx="10">
                  <c:v>0.13599360409747557</c:v>
                </c:pt>
                <c:pt idx="11">
                  <c:v>0.10874480736741088</c:v>
                </c:pt>
                <c:pt idx="12">
                  <c:v>0.13800337370448662</c:v>
                </c:pt>
                <c:pt idx="13">
                  <c:v>0.13688355679650333</c:v>
                </c:pt>
                <c:pt idx="14">
                  <c:v>0.13880782298903127</c:v>
                </c:pt>
                <c:pt idx="15">
                  <c:v>0.12728024874293736</c:v>
                </c:pt>
                <c:pt idx="16">
                  <c:v>0.12625043542914682</c:v>
                </c:pt>
                <c:pt idx="17">
                  <c:v>0.12733020340054257</c:v>
                </c:pt>
                <c:pt idx="18">
                  <c:v>0.12286713907839225</c:v>
                </c:pt>
                <c:pt idx="19">
                  <c:v>0.13289887844206622</c:v>
                </c:pt>
                <c:pt idx="20">
                  <c:v>0.12873718414295596</c:v>
                </c:pt>
                <c:pt idx="21">
                  <c:v>0.1299928097287446</c:v>
                </c:pt>
                <c:pt idx="22">
                  <c:v>0.12841460025501247</c:v>
                </c:pt>
                <c:pt idx="23">
                  <c:v>0.12582456487218718</c:v>
                </c:pt>
                <c:pt idx="24">
                  <c:v>0.25010417292064047</c:v>
                </c:pt>
                <c:pt idx="25">
                  <c:v>0.25010417292064047</c:v>
                </c:pt>
                <c:pt idx="26">
                  <c:v>0.0949228786915939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81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3765690376569"/>
          <c:min val="0.001307189542483660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0</c:f>
              <c:numCache>
                <c:formatCode>General</c:formatCode>
                <c:ptCount val="79"/>
                <c:pt idx="0">
                  <c:v>0.7705597880138664</c:v>
                </c:pt>
                <c:pt idx="1">
                  <c:v>0.8303684617366657</c:v>
                </c:pt>
                <c:pt idx="2">
                  <c:v>0.9852524249912523</c:v>
                </c:pt>
                <c:pt idx="3">
                  <c:v>0.8495720367285745</c:v>
                </c:pt>
                <c:pt idx="4">
                  <c:v>1.214204811307873</c:v>
                </c:pt>
                <c:pt idx="5">
                  <c:v>1.0851541749092302</c:v>
                </c:pt>
                <c:pt idx="6">
                  <c:v>1.1995890980944797</c:v>
                </c:pt>
                <c:pt idx="7">
                  <c:v>1.3909746411117003</c:v>
                </c:pt>
                <c:pt idx="8">
                  <c:v>0.4229317137858102</c:v>
                </c:pt>
                <c:pt idx="9">
                  <c:v>0.8909035998114994</c:v>
                </c:pt>
                <c:pt idx="10">
                  <c:v>8.09429504950495</c:v>
                </c:pt>
                <c:pt idx="11">
                  <c:v>1.0809688167298113</c:v>
                </c:pt>
                <c:pt idx="12">
                  <c:v>0.7534747364432899</c:v>
                </c:pt>
                <c:pt idx="13">
                  <c:v>0.6873623032839985</c:v>
                </c:pt>
                <c:pt idx="14">
                  <c:v>0.21764560077102318</c:v>
                </c:pt>
                <c:pt idx="15">
                  <c:v>0.855585302755018</c:v>
                </c:pt>
                <c:pt idx="16">
                  <c:v>0.1482735792076284</c:v>
                </c:pt>
                <c:pt idx="17">
                  <c:v>0.6292167924638049</c:v>
                </c:pt>
                <c:pt idx="18">
                  <c:v>0.7734288003044195</c:v>
                </c:pt>
                <c:pt idx="19">
                  <c:v>0.9009202687009348</c:v>
                </c:pt>
                <c:pt idx="20">
                  <c:v>0.9140754030964461</c:v>
                </c:pt>
                <c:pt idx="21">
                  <c:v>0.8752027754950811</c:v>
                </c:pt>
                <c:pt idx="22">
                  <c:v>0.7567473278947764</c:v>
                </c:pt>
                <c:pt idx="23">
                  <c:v>0.8665427057804238</c:v>
                </c:pt>
                <c:pt idx="24">
                  <c:v>1.0509539423595229</c:v>
                </c:pt>
                <c:pt idx="25">
                  <c:v>0.5059148128032042</c:v>
                </c:pt>
                <c:pt idx="26">
                  <c:v>0.5507964459034141</c:v>
                </c:pt>
                <c:pt idx="27">
                  <c:v>1.0665647087440218</c:v>
                </c:pt>
                <c:pt idx="28">
                  <c:v>0.8305152489317719</c:v>
                </c:pt>
                <c:pt idx="29">
                  <c:v>0.6650514596777145</c:v>
                </c:pt>
                <c:pt idx="30">
                  <c:v>0.5665993731944053</c:v>
                </c:pt>
                <c:pt idx="31">
                  <c:v>0.4928838709777674</c:v>
                </c:pt>
                <c:pt idx="32">
                  <c:v>0.7470894615390606</c:v>
                </c:pt>
                <c:pt idx="33">
                  <c:v>0.142021653073878</c:v>
                </c:pt>
                <c:pt idx="34">
                  <c:v>0.6554789403460216</c:v>
                </c:pt>
                <c:pt idx="35">
                  <c:v>0.3443638151281468</c:v>
                </c:pt>
                <c:pt idx="36">
                  <c:v>0.8164409211655439</c:v>
                </c:pt>
                <c:pt idx="37">
                  <c:v>0.3169307657941011</c:v>
                </c:pt>
                <c:pt idx="38">
                  <c:v>0.8993863850246802</c:v>
                </c:pt>
                <c:pt idx="39">
                  <c:v>0.12382189766241224</c:v>
                </c:pt>
                <c:pt idx="40">
                  <c:v>0.6085877889080407</c:v>
                </c:pt>
                <c:pt idx="41">
                  <c:v>0.5367381734134408</c:v>
                </c:pt>
                <c:pt idx="42">
                  <c:v>0.4010877485764079</c:v>
                </c:pt>
                <c:pt idx="43">
                  <c:v>0.3063945740921631</c:v>
                </c:pt>
                <c:pt idx="44">
                  <c:v>0.2789817758685388</c:v>
                </c:pt>
                <c:pt idx="45">
                  <c:v>1.1149433475723571</c:v>
                </c:pt>
                <c:pt idx="46">
                  <c:v>0.2469654672014674</c:v>
                </c:pt>
                <c:pt idx="47">
                  <c:v>0.7417826535417978</c:v>
                </c:pt>
                <c:pt idx="48">
                  <c:v>0.3285567869914841</c:v>
                </c:pt>
                <c:pt idx="49">
                  <c:v>0.7655467319628825</c:v>
                </c:pt>
                <c:pt idx="50">
                  <c:v>0.25446734180534836</c:v>
                </c:pt>
                <c:pt idx="51">
                  <c:v>0.38179034490110253</c:v>
                </c:pt>
                <c:pt idx="52">
                  <c:v>0.3403430116222168</c:v>
                </c:pt>
                <c:pt idx="53">
                  <c:v>0.13347991301584428</c:v>
                </c:pt>
                <c:pt idx="54">
                  <c:v>1.2877224959192421</c:v>
                </c:pt>
                <c:pt idx="55">
                  <c:v>0.4443015427900182</c:v>
                </c:pt>
                <c:pt idx="56">
                  <c:v>0.41231917753983627</c:v>
                </c:pt>
                <c:pt idx="57">
                  <c:v>0.3668167497277961</c:v>
                </c:pt>
                <c:pt idx="58">
                  <c:v>0.1878429992003732</c:v>
                </c:pt>
                <c:pt idx="59">
                  <c:v>0.8329783263674096</c:v>
                </c:pt>
                <c:pt idx="60">
                  <c:v>0.17524624069782427</c:v>
                </c:pt>
                <c:pt idx="61">
                  <c:v>0.19860299179170782</c:v>
                </c:pt>
                <c:pt idx="62">
                  <c:v>0.23690063982941795</c:v>
                </c:pt>
                <c:pt idx="63">
                  <c:v>0.7630401716749586</c:v>
                </c:pt>
                <c:pt idx="64">
                  <c:v>0.43582583516640105</c:v>
                </c:pt>
                <c:pt idx="65">
                  <c:v>0.7639308571350858</c:v>
                </c:pt>
                <c:pt idx="66">
                  <c:v>0.7651596781035047</c:v>
                </c:pt>
                <c:pt idx="67">
                  <c:v>0.8939747796090456</c:v>
                </c:pt>
                <c:pt idx="68">
                  <c:v>1.1607713109454678</c:v>
                </c:pt>
                <c:pt idx="69">
                  <c:v>0.8250940524497646</c:v>
                </c:pt>
                <c:pt idx="70">
                  <c:v>0.4294214688026289</c:v>
                </c:pt>
                <c:pt idx="71">
                  <c:v>0.8142761875527589</c:v>
                </c:pt>
                <c:pt idx="72">
                  <c:v>1.6169992324622269</c:v>
                </c:pt>
                <c:pt idx="73">
                  <c:v>0.6969700491099882</c:v>
                </c:pt>
                <c:pt idx="74">
                  <c:v>0.7405613914822414</c:v>
                </c:pt>
                <c:pt idx="75">
                  <c:v>0.39371725053467715</c:v>
                </c:pt>
                <c:pt idx="76">
                  <c:v>2.7291159407327736</c:v>
                </c:pt>
                <c:pt idx="77">
                  <c:v>1.4151149496751678</c:v>
                </c:pt>
                <c:pt idx="78">
                  <c:v>1.1768239155108453</c:v>
                </c:pt>
              </c:numCache>
            </c:numRef>
          </c:xVal>
          <c:yVal>
            <c:numRef>
              <c:f>Sheet1!$B$2:$B$80</c:f>
              <c:numCache>
                <c:formatCode>General</c:formatCode>
                <c:ptCount val="79"/>
                <c:pt idx="0">
                  <c:v>0.2413793103448276</c:v>
                </c:pt>
                <c:pt idx="1">
                  <c:v>0.1430472388556221</c:v>
                </c:pt>
                <c:pt idx="2">
                  <c:v>0.16554054054054054</c:v>
                </c:pt>
                <c:pt idx="3">
                  <c:v>0.13806706114398423</c:v>
                </c:pt>
                <c:pt idx="4">
                  <c:v>0.020361990950226245</c:v>
                </c:pt>
                <c:pt idx="5">
                  <c:v>0.21818181818181817</c:v>
                </c:pt>
                <c:pt idx="6">
                  <c:v>0.20408163265306123</c:v>
                </c:pt>
                <c:pt idx="7">
                  <c:v>0.19254658385093168</c:v>
                </c:pt>
                <c:pt idx="8">
                  <c:v>0.6501650165016502</c:v>
                </c:pt>
                <c:pt idx="9">
                  <c:v>0.649325626204239</c:v>
                </c:pt>
                <c:pt idx="10">
                  <c:v>0.08879492600422834</c:v>
                </c:pt>
                <c:pt idx="11">
                  <c:v>0.2970430107526882</c:v>
                </c:pt>
                <c:pt idx="12">
                  <c:v>0.11940298507462686</c:v>
                </c:pt>
                <c:pt idx="13">
                  <c:v>0.2711864406779661</c:v>
                </c:pt>
                <c:pt idx="14">
                  <c:v>0.2066115702479339</c:v>
                </c:pt>
                <c:pt idx="15">
                  <c:v>0.2389937106918239</c:v>
                </c:pt>
                <c:pt idx="16">
                  <c:v>0.17901234567901234</c:v>
                </c:pt>
                <c:pt idx="17">
                  <c:v>0.16</c:v>
                </c:pt>
                <c:pt idx="18">
                  <c:v>0.38926174496644295</c:v>
                </c:pt>
                <c:pt idx="19">
                  <c:v>0.5154894671623296</c:v>
                </c:pt>
                <c:pt idx="20">
                  <c:v>0.016129032258064516</c:v>
                </c:pt>
                <c:pt idx="21">
                  <c:v>0.06712962962962964</c:v>
                </c:pt>
                <c:pt idx="22">
                  <c:v>0.16901408450704225</c:v>
                </c:pt>
                <c:pt idx="23">
                  <c:v>0.18609022556390978</c:v>
                </c:pt>
                <c:pt idx="24">
                  <c:v>0.3559670781893004</c:v>
                </c:pt>
                <c:pt idx="25">
                  <c:v>0.09129511677282377</c:v>
                </c:pt>
                <c:pt idx="26">
                  <c:v>0.3784313725490196</c:v>
                </c:pt>
                <c:pt idx="27">
                  <c:v>0.3148148148148148</c:v>
                </c:pt>
                <c:pt idx="28">
                  <c:v>0.1527293844367015</c:v>
                </c:pt>
                <c:pt idx="29">
                  <c:v>0.38224852071005916</c:v>
                </c:pt>
                <c:pt idx="30">
                  <c:v>0.23139653414882771</c:v>
                </c:pt>
                <c:pt idx="31">
                  <c:v>0.24287974683544303</c:v>
                </c:pt>
                <c:pt idx="32">
                  <c:v>0.28248222365869424</c:v>
                </c:pt>
                <c:pt idx="33">
                  <c:v>0.35880077369439073</c:v>
                </c:pt>
                <c:pt idx="34">
                  <c:v>0.10413223140495868</c:v>
                </c:pt>
                <c:pt idx="35">
                  <c:v>0.089540412044374</c:v>
                </c:pt>
                <c:pt idx="36">
                  <c:v>0.12537612838515547</c:v>
                </c:pt>
                <c:pt idx="37">
                  <c:v>0.423956931359354</c:v>
                </c:pt>
                <c:pt idx="38">
                  <c:v>0.24022346368715083</c:v>
                </c:pt>
                <c:pt idx="39">
                  <c:v>0.343042071197411</c:v>
                </c:pt>
                <c:pt idx="40">
                  <c:v>0.2799597180261833</c:v>
                </c:pt>
                <c:pt idx="41">
                  <c:v>0.22133333333333333</c:v>
                </c:pt>
                <c:pt idx="42">
                  <c:v>0.2780487804878049</c:v>
                </c:pt>
                <c:pt idx="43">
                  <c:v>0.4039408866995074</c:v>
                </c:pt>
                <c:pt idx="44">
                  <c:v>0.2831050228310502</c:v>
                </c:pt>
                <c:pt idx="45">
                  <c:v>0.2846715328467153</c:v>
                </c:pt>
                <c:pt idx="46">
                  <c:v>0.46568627450980393</c:v>
                </c:pt>
                <c:pt idx="47">
                  <c:v>0.4157608695652174</c:v>
                </c:pt>
                <c:pt idx="48">
                  <c:v>0.27305389221556886</c:v>
                </c:pt>
                <c:pt idx="49">
                  <c:v>0.37530864197530867</c:v>
                </c:pt>
                <c:pt idx="50">
                  <c:v>0.022304832713754646</c:v>
                </c:pt>
                <c:pt idx="51">
                  <c:v>0.030560271646859084</c:v>
                </c:pt>
                <c:pt idx="52">
                  <c:v>0.13976945244956773</c:v>
                </c:pt>
                <c:pt idx="53">
                  <c:v>0.04699738903394256</c:v>
                </c:pt>
                <c:pt idx="54">
                  <c:v>0.17087667161961367</c:v>
                </c:pt>
                <c:pt idx="55">
                  <c:v>0.2858517805582291</c:v>
                </c:pt>
                <c:pt idx="56">
                  <c:v>0.24726477024070023</c:v>
                </c:pt>
                <c:pt idx="57">
                  <c:v>0.32666666666666666</c:v>
                </c:pt>
                <c:pt idx="58">
                  <c:v>0.22682926829268293</c:v>
                </c:pt>
                <c:pt idx="59">
                  <c:v>0.10755148741418764</c:v>
                </c:pt>
                <c:pt idx="60">
                  <c:v>0.30930537352555704</c:v>
                </c:pt>
                <c:pt idx="61">
                  <c:v>0.5105708245243129</c:v>
                </c:pt>
                <c:pt idx="62">
                  <c:v>0.14053254437869822</c:v>
                </c:pt>
                <c:pt idx="63">
                  <c:v>0.2050561797752809</c:v>
                </c:pt>
                <c:pt idx="64">
                  <c:v>0.24172185430463577</c:v>
                </c:pt>
                <c:pt idx="65">
                  <c:v>0.45364238410596025</c:v>
                </c:pt>
                <c:pt idx="66">
                  <c:v>0.05714285714285714</c:v>
                </c:pt>
                <c:pt idx="67">
                  <c:v>0.34549878345498786</c:v>
                </c:pt>
                <c:pt idx="68">
                  <c:v>0.00906344410876133</c:v>
                </c:pt>
                <c:pt idx="69">
                  <c:v>0.14215686274509803</c:v>
                </c:pt>
                <c:pt idx="70">
                  <c:v>0.030942334739803096</c:v>
                </c:pt>
                <c:pt idx="71">
                  <c:v>0.02027027027027027</c:v>
                </c:pt>
                <c:pt idx="72">
                  <c:v>0.013452914798206279</c:v>
                </c:pt>
                <c:pt idx="73">
                  <c:v>0.125</c:v>
                </c:pt>
                <c:pt idx="74">
                  <c:v>0.11001517450682853</c:v>
                </c:pt>
                <c:pt idx="75">
                  <c:v>0.045454545454545456</c:v>
                </c:pt>
                <c:pt idx="76">
                  <c:v>0.003278688524590164</c:v>
                </c:pt>
                <c:pt idx="77">
                  <c:v>0.049783549783549784</c:v>
                </c:pt>
                <c:pt idx="78">
                  <c:v>0.005063291139240506</c:v>
                </c:pt>
              </c:numCache>
            </c:numRef>
          </c:yVal>
          <c:smooth val="0"/>
          <c:extLst>
            <c:ext xmlns:c16="http://schemas.microsoft.com/office/drawing/2014/chart" uri="{C3380CC4-5D6E-409C-BE32-E72D297353CC}">
              <c16:uniqueId val="{00000000-096C-4121-9522-6AB7243CCAAE}"/>
            </c:ext>
          </c:extLst>
        </c:ser>
        <c:ser>
          <c:idx val="1"/>
          <c:order val="1"/>
          <c:tx>
            <c:strRef>
              <c:f>Sheet1!$B$8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3:$A$107</c:f>
              <c:numCache>
                <c:formatCode>General</c:formatCode>
                <c:ptCount val="25"/>
                <c:pt idx="0">
                  <c:v>0.47322097270332947</c:v>
                </c:pt>
                <c:pt idx="1">
                  <c:v>0.8080974232407288</c:v>
                </c:pt>
                <c:pt idx="2">
                  <c:v>1.2319707325385878</c:v>
                </c:pt>
                <c:pt idx="3">
                  <c:v>3.527026991590204</c:v>
                </c:pt>
                <c:pt idx="4">
                  <c:v>0.6897504786242097</c:v>
                </c:pt>
                <c:pt idx="5">
                  <c:v>0.24258765151515152</c:v>
                </c:pt>
                <c:pt idx="6">
                  <c:v>3.4515444015444015</c:v>
                </c:pt>
                <c:pt idx="7">
                  <c:v>0.30336299611479156</c:v>
                </c:pt>
                <c:pt idx="8">
                  <c:v>0.6824593981772719</c:v>
                </c:pt>
                <c:pt idx="9">
                  <c:v>0.5253346731275907</c:v>
                </c:pt>
                <c:pt idx="10">
                  <c:v>0.7284695905938384</c:v>
                </c:pt>
                <c:pt idx="11">
                  <c:v>1.0726376344602746</c:v>
                </c:pt>
                <c:pt idx="12">
                  <c:v>0.3862119634028405</c:v>
                </c:pt>
                <c:pt idx="13">
                  <c:v>0.5606816121582886</c:v>
                </c:pt>
                <c:pt idx="14">
                  <c:v>0.9151355261650005</c:v>
                </c:pt>
                <c:pt idx="15">
                  <c:v>1.0175032596674898</c:v>
                </c:pt>
                <c:pt idx="16">
                  <c:v>1.0125103248440206</c:v>
                </c:pt>
                <c:pt idx="17">
                  <c:v>1.5818695277471153</c:v>
                </c:pt>
                <c:pt idx="18">
                  <c:v>0.7481354709768558</c:v>
                </c:pt>
                <c:pt idx="19">
                  <c:v>1.1325863184514415</c:v>
                </c:pt>
                <c:pt idx="20">
                  <c:v>1.6633411246469303</c:v>
                </c:pt>
                <c:pt idx="21">
                  <c:v>1.0344315867059768</c:v>
                </c:pt>
                <c:pt idx="22">
                  <c:v>2.9285555560626566</c:v>
                </c:pt>
                <c:pt idx="23">
                  <c:v>0.22494478811791102</c:v>
                </c:pt>
                <c:pt idx="24">
                  <c:v>0.8291888095479683</c:v>
                </c:pt>
              </c:numCache>
            </c:numRef>
          </c:xVal>
          <c:yVal>
            <c:numRef>
              <c:f>Sheet1!$B$83:$B$107</c:f>
              <c:numCache>
                <c:formatCode>General</c:formatCode>
                <c:ptCount val="25"/>
                <c:pt idx="0">
                  <c:v>0.1543560606060606</c:v>
                </c:pt>
                <c:pt idx="1">
                  <c:v>0.02135678391959799</c:v>
                </c:pt>
                <c:pt idx="2">
                  <c:v>0.013710368466152529</c:v>
                </c:pt>
                <c:pt idx="3">
                  <c:v>0.0011111111111111111</c:v>
                </c:pt>
                <c:pt idx="4">
                  <c:v>0.25813449023861174</c:v>
                </c:pt>
                <c:pt idx="5">
                  <c:v>0.18888888888888888</c:v>
                </c:pt>
                <c:pt idx="6">
                  <c:v>0.029850746268656716</c:v>
                </c:pt>
                <c:pt idx="7">
                  <c:v>0.28117359413202936</c:v>
                </c:pt>
                <c:pt idx="8">
                  <c:v>0.582312925170068</c:v>
                </c:pt>
                <c:pt idx="9">
                  <c:v>0.13179571663920922</c:v>
                </c:pt>
                <c:pt idx="10">
                  <c:v>0.2982885085574572</c:v>
                </c:pt>
                <c:pt idx="11">
                  <c:v>0.544766708701135</c:v>
                </c:pt>
                <c:pt idx="12">
                  <c:v>0.00949367088607595</c:v>
                </c:pt>
                <c:pt idx="13">
                  <c:v>0.04572564612326044</c:v>
                </c:pt>
                <c:pt idx="14">
                  <c:v>0.10948905109489052</c:v>
                </c:pt>
                <c:pt idx="15">
                  <c:v>0.11191335740072202</c:v>
                </c:pt>
                <c:pt idx="16">
                  <c:v>0.2049469964664311</c:v>
                </c:pt>
                <c:pt idx="17">
                  <c:v>0.006430868167202572</c:v>
                </c:pt>
                <c:pt idx="18">
                  <c:v>0.2948960302457467</c:v>
                </c:pt>
                <c:pt idx="19">
                  <c:v>0.0412573673870334</c:v>
                </c:pt>
                <c:pt idx="20">
                  <c:v>0.004761904761904762</c:v>
                </c:pt>
                <c:pt idx="21">
                  <c:v>0.025547445255474453</c:v>
                </c:pt>
                <c:pt idx="22">
                  <c:v>0.03206997084548105</c:v>
                </c:pt>
                <c:pt idx="23">
                  <c:v>0.05190311418685121</c:v>
                </c:pt>
                <c:pt idx="24">
                  <c:v>0.1553398058252427</c:v>
                </c:pt>
              </c:numCache>
            </c:numRef>
          </c:yVal>
          <c:smooth val="0"/>
          <c:extLst>
            <c:ext xmlns:c16="http://schemas.microsoft.com/office/drawing/2014/chart" uri="{C3380CC4-5D6E-409C-BE32-E72D297353CC}">
              <c16:uniqueId val="{00000002-096C-4121-9522-6AB7243CCAAE}"/>
            </c:ext>
          </c:extLst>
        </c:ser>
        <c:ser>
          <c:idx val="2"/>
          <c:order val="2"/>
          <c:tx>
            <c:strRef>
              <c:f>Sheet1!$B$10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0:$A$111</c:f>
              <c:numCache>
                <c:formatCode>General</c:formatCode>
                <c:ptCount val="2"/>
                <c:pt idx="0">
                  <c:v>0</c:v>
                </c:pt>
                <c:pt idx="1">
                  <c:v>-1.9111536261806</c:v>
                </c:pt>
              </c:numCache>
            </c:numRef>
          </c:xVal>
          <c:yVal>
            <c:numRef>
              <c:f>Sheet1!$B$110:$B$111</c:f>
              <c:numCache>
                <c:formatCode>General</c:formatCode>
                <c:ptCount val="2"/>
                <c:pt idx="0">
                  <c:v>0.32859123059265954</c:v>
                </c:pt>
                <c:pt idx="1">
                  <c:v>0.32859123059265954</c:v>
                </c:pt>
              </c:numCache>
            </c:numRef>
          </c:yVal>
          <c:smooth val="0"/>
          <c:extLst>
            <c:ext xmlns:c16="http://schemas.microsoft.com/office/drawing/2014/chart" uri="{C3380CC4-5D6E-409C-BE32-E72D297353CC}">
              <c16:uniqueId val="{00000005-096C-4121-9522-6AB7243CCAAE}"/>
            </c:ext>
          </c:extLst>
        </c:ser>
        <c:ser>
          <c:idx val="3"/>
          <c:order val="3"/>
          <c:tx>
            <c:strRef>
              <c:f>Sheet1!$B$1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1.9111536261806</c:v>
                </c:pt>
                <c:pt idx="1">
                  <c:v>-1.9111536261806</c:v>
                </c:pt>
              </c:numCache>
            </c:numRef>
          </c:xVal>
          <c:yVal>
            <c:numRef>
              <c:f>Sheet1!$B$114:$B$115</c:f>
              <c:numCache>
                <c:formatCode>General</c:formatCode>
                <c:ptCount val="2"/>
                <c:pt idx="0">
                  <c:v>0.3285912305926595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8:$A$119</c:f>
              <c:numCache>
                <c:formatCode>General</c:formatCode>
                <c:ptCount val="2"/>
                <c:pt idx="0">
                  <c:v>0</c:v>
                </c:pt>
                <c:pt idx="1">
                  <c:v>-0.3790193383217343</c:v>
                </c:pt>
              </c:numCache>
            </c:numRef>
          </c:xVal>
          <c:yVal>
            <c:numRef>
              <c:f>Sheet1!$B$118:$B$119</c:f>
              <c:numCache>
                <c:formatCode>General</c:formatCode>
                <c:ptCount val="2"/>
                <c:pt idx="0">
                  <c:v>0.23499546430053864</c:v>
                </c:pt>
                <c:pt idx="1">
                  <c:v>0.23499546430053864</c:v>
                </c:pt>
              </c:numCache>
            </c:numRef>
          </c:yVal>
          <c:smooth val="0"/>
          <c:extLst>
            <c:ext xmlns:c16="http://schemas.microsoft.com/office/drawing/2014/chart" uri="{C3380CC4-5D6E-409C-BE32-E72D297353CC}">
              <c16:uniqueId val="{0000000D-096C-4121-9522-6AB7243CCAAE}"/>
            </c:ext>
          </c:extLst>
        </c:ser>
        <c:ser>
          <c:idx val="5"/>
          <c:order val="5"/>
          <c:tx>
            <c:strRef>
              <c:f>Sheet1!$B$1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3790193383217343</c:v>
                </c:pt>
                <c:pt idx="1">
                  <c:v>-0.3790193383217343</c:v>
                </c:pt>
              </c:numCache>
            </c:numRef>
          </c:xVal>
          <c:yVal>
            <c:numRef>
              <c:f>Sheet1!$B$122:$B$123</c:f>
              <c:numCache>
                <c:formatCode>General</c:formatCode>
                <c:ptCount val="2"/>
                <c:pt idx="0">
                  <c:v>0.234995464300538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6:$A$127</c:f>
              <c:numCache>
                <c:formatCode>General</c:formatCode>
                <c:ptCount val="2"/>
                <c:pt idx="0">
                  <c:v>0</c:v>
                </c:pt>
                <c:pt idx="1">
                  <c:v>2.5850582405457576</c:v>
                </c:pt>
              </c:numCache>
            </c:numRef>
          </c:xVal>
          <c:yVal>
            <c:numRef>
              <c:f>Sheet1!$B$126:$B$127</c:f>
              <c:numCache>
                <c:formatCode>General</c:formatCode>
                <c:ptCount val="2"/>
                <c:pt idx="0">
                  <c:v>0.053924448174990834</c:v>
                </c:pt>
                <c:pt idx="1">
                  <c:v>0.053924448174990834</c:v>
                </c:pt>
              </c:numCache>
            </c:numRef>
          </c:yVal>
          <c:smooth val="0"/>
          <c:extLst>
            <c:ext xmlns:c16="http://schemas.microsoft.com/office/drawing/2014/chart" uri="{C3380CC4-5D6E-409C-BE32-E72D297353CC}">
              <c16:uniqueId val="{00000015-096C-4121-9522-6AB7243CCAAE}"/>
            </c:ext>
          </c:extLst>
        </c:ser>
        <c:ser>
          <c:idx val="7"/>
          <c:order val="7"/>
          <c:tx>
            <c:strRef>
              <c:f>Sheet1!$B$1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0:$A$131</c:f>
              <c:numCache>
                <c:formatCode>General</c:formatCode>
                <c:ptCount val="2"/>
                <c:pt idx="0">
                  <c:v>2.5850582405457576</c:v>
                </c:pt>
                <c:pt idx="1">
                  <c:v>2.5850582405457576</c:v>
                </c:pt>
              </c:numCache>
            </c:numRef>
          </c:xVal>
          <c:yVal>
            <c:numRef>
              <c:f>Sheet1!$B$130:$B$131</c:f>
              <c:numCache>
                <c:formatCode>General</c:formatCode>
                <c:ptCount val="2"/>
                <c:pt idx="0">
                  <c:v>0.05392444817499083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4:$A$161</c:f>
              <c:numCache>
                <c:formatCode>General</c:formatCode>
                <c:ptCount val="28"/>
                <c:pt idx="0">
                  <c:v>0.47322097270332947</c:v>
                </c:pt>
                <c:pt idx="1">
                  <c:v>0.8080974232407288</c:v>
                </c:pt>
                <c:pt idx="2">
                  <c:v>1.2319707325385878</c:v>
                </c:pt>
                <c:pt idx="3">
                  <c:v>3.527026991590204</c:v>
                </c:pt>
                <c:pt idx="4">
                  <c:v>0.6897504786242097</c:v>
                </c:pt>
                <c:pt idx="5">
                  <c:v>0.24258765151515152</c:v>
                </c:pt>
                <c:pt idx="6">
                  <c:v>3.4515444015444015</c:v>
                </c:pt>
                <c:pt idx="7">
                  <c:v>0.30336299611479156</c:v>
                </c:pt>
                <c:pt idx="8">
                  <c:v>0.6824593981772719</c:v>
                </c:pt>
                <c:pt idx="9">
                  <c:v>0.5253346731275907</c:v>
                </c:pt>
                <c:pt idx="10">
                  <c:v>0.7284695905938384</c:v>
                </c:pt>
                <c:pt idx="11">
                  <c:v>1.0726376344602746</c:v>
                </c:pt>
                <c:pt idx="12">
                  <c:v>0.3862119634028405</c:v>
                </c:pt>
                <c:pt idx="13">
                  <c:v>0.5606816121582886</c:v>
                </c:pt>
                <c:pt idx="14">
                  <c:v>0.9151355261650005</c:v>
                </c:pt>
                <c:pt idx="15">
                  <c:v>1.0175032596674898</c:v>
                </c:pt>
                <c:pt idx="16">
                  <c:v>1.0125103248440206</c:v>
                </c:pt>
                <c:pt idx="17">
                  <c:v>1.5818695277471153</c:v>
                </c:pt>
                <c:pt idx="18">
                  <c:v>0.7481354709768558</c:v>
                </c:pt>
                <c:pt idx="19">
                  <c:v>1.1325863184514415</c:v>
                </c:pt>
                <c:pt idx="20">
                  <c:v>1.6633411246469303</c:v>
                </c:pt>
                <c:pt idx="21">
                  <c:v>1.0344315867059768</c:v>
                </c:pt>
                <c:pt idx="22">
                  <c:v>2.9285555560626566</c:v>
                </c:pt>
                <c:pt idx="23">
                  <c:v>0.22494478811791102</c:v>
                </c:pt>
                <c:pt idx="24">
                  <c:v>0.8291888095479683</c:v>
                </c:pt>
                <c:pt idx="25">
                  <c:v>-0.3790193383217343</c:v>
                </c:pt>
                <c:pt idx="26">
                  <c:v>-1.9111536261806</c:v>
                </c:pt>
                <c:pt idx="27">
                  <c:v>2.5850582405457576</c:v>
                </c:pt>
              </c:numCache>
            </c:numRef>
          </c:xVal>
          <c:yVal>
            <c:numRef>
              <c:f>Sheet1!$B$134:$B$161</c:f>
              <c:numCache>
                <c:formatCode>General</c:formatCode>
                <c:ptCount val="28"/>
                <c:pt idx="0">
                  <c:v>0.18293339271352507</c:v>
                </c:pt>
                <c:pt idx="1">
                  <c:v>0.16247629685084142</c:v>
                </c:pt>
                <c:pt idx="2">
                  <c:v>0.136582517494234</c:v>
                </c:pt>
                <c:pt idx="3">
                  <c:v>-0.003618998098537357</c:v>
                </c:pt>
                <c:pt idx="4">
                  <c:v>0.16970593269770565</c:v>
                </c:pt>
                <c:pt idx="5">
                  <c:v>0.19702243347200252</c:v>
                </c:pt>
                <c:pt idx="6">
                  <c:v>0.0009921191599399914</c:v>
                </c:pt>
                <c:pt idx="7">
                  <c:v>0.19330975959312185</c:v>
                </c:pt>
                <c:pt idx="8">
                  <c:v>0.1701513337744496</c:v>
                </c:pt>
                <c:pt idx="9">
                  <c:v>0.17974984557658114</c:v>
                </c:pt>
                <c:pt idx="10">
                  <c:v>0.16734064071013957</c:v>
                </c:pt>
                <c:pt idx="11">
                  <c:v>0.14631593546452035</c:v>
                </c:pt>
                <c:pt idx="12">
                  <c:v>0.18824864149056159</c:v>
                </c:pt>
                <c:pt idx="13">
                  <c:v>0.17759055453344263</c:v>
                </c:pt>
                <c:pt idx="14">
                  <c:v>0.15593750103833298</c:v>
                </c:pt>
                <c:pt idx="15">
                  <c:v>0.14968401102986728</c:v>
                </c:pt>
                <c:pt idx="16">
                  <c:v>0.14998902186641888</c:v>
                </c:pt>
                <c:pt idx="17">
                  <c:v>0.11520772931688805</c:v>
                </c:pt>
                <c:pt idx="18">
                  <c:v>0.16613928182218599</c:v>
                </c:pt>
                <c:pt idx="19">
                  <c:v>0.1426537610318871</c:v>
                </c:pt>
                <c:pt idx="20">
                  <c:v>0.11023075268807223</c:v>
                </c:pt>
                <c:pt idx="21">
                  <c:v>0.14864988513518151</c:v>
                </c:pt>
                <c:pt idx="22">
                  <c:v>0.0329407167097682</c:v>
                </c:pt>
                <c:pt idx="23">
                  <c:v>0.19810020931210828</c:v>
                </c:pt>
                <c:pt idx="24">
                  <c:v>0.16118785596205484</c:v>
                </c:pt>
                <c:pt idx="25">
                  <c:v>0.23499546430053864</c:v>
                </c:pt>
                <c:pt idx="26">
                  <c:v>0.32859123059265954</c:v>
                </c:pt>
                <c:pt idx="27">
                  <c:v>0.0539244481749908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801980198019801"/>
          <c:min val="0.000888888888888888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0</c:f>
              <c:numCache>
                <c:formatCode>General</c:formatCode>
                <c:ptCount val="79"/>
                <c:pt idx="0">
                  <c:v>889.3714</c:v>
                </c:pt>
                <c:pt idx="1">
                  <c:v>1031.2512</c:v>
                </c:pt>
                <c:pt idx="2">
                  <c:v>1029.7347</c:v>
                </c:pt>
                <c:pt idx="3">
                  <c:v>887.9286</c:v>
                </c:pt>
                <c:pt idx="4">
                  <c:v>1437.8889</c:v>
                </c:pt>
                <c:pt idx="5">
                  <c:v>1368.9667</c:v>
                </c:pt>
                <c:pt idx="6">
                  <c:v>1350.4</c:v>
                </c:pt>
                <c:pt idx="7">
                  <c:v>1613.6452</c:v>
                </c:pt>
                <c:pt idx="8">
                  <c:v>1931.6701</c:v>
                </c:pt>
                <c:pt idx="9">
                  <c:v>1323.9199</c:v>
                </c:pt>
                <c:pt idx="10">
                  <c:v>1635.0476</c:v>
                </c:pt>
                <c:pt idx="11">
                  <c:v>1071.4751</c:v>
                </c:pt>
                <c:pt idx="12">
                  <c:v>832.875</c:v>
                </c:pt>
                <c:pt idx="13">
                  <c:v>1091.9375</c:v>
                </c:pt>
                <c:pt idx="14">
                  <c:v>994.06</c:v>
                </c:pt>
                <c:pt idx="15">
                  <c:v>1396.1974</c:v>
                </c:pt>
                <c:pt idx="16">
                  <c:v>695.9138</c:v>
                </c:pt>
                <c:pt idx="17">
                  <c:v>1327.3125</c:v>
                </c:pt>
                <c:pt idx="18">
                  <c:v>850.4125</c:v>
                </c:pt>
                <c:pt idx="19">
                  <c:v>1204.9423</c:v>
                </c:pt>
                <c:pt idx="20">
                  <c:v>1184.7143</c:v>
                </c:pt>
                <c:pt idx="21">
                  <c:v>1767.8276</c:v>
                </c:pt>
                <c:pt idx="22">
                  <c:v>1331.2083</c:v>
                </c:pt>
                <c:pt idx="23">
                  <c:v>1173.697</c:v>
                </c:pt>
                <c:pt idx="24">
                  <c:v>1768.9538</c:v>
                </c:pt>
                <c:pt idx="25">
                  <c:v>821.5581</c:v>
                </c:pt>
                <c:pt idx="26">
                  <c:v>1782.5855</c:v>
                </c:pt>
                <c:pt idx="27">
                  <c:v>1305.7908</c:v>
                </c:pt>
                <c:pt idx="28">
                  <c:v>1126.4373</c:v>
                </c:pt>
                <c:pt idx="29">
                  <c:v>1028.9752</c:v>
                </c:pt>
                <c:pt idx="30">
                  <c:v>764.3238</c:v>
                </c:pt>
                <c:pt idx="31">
                  <c:v>634.3583</c:v>
                </c:pt>
                <c:pt idx="32">
                  <c:v>940.119</c:v>
                </c:pt>
                <c:pt idx="33">
                  <c:v>558.3315</c:v>
                </c:pt>
                <c:pt idx="34">
                  <c:v>1007.3968</c:v>
                </c:pt>
                <c:pt idx="35">
                  <c:v>492.7965</c:v>
                </c:pt>
                <c:pt idx="36">
                  <c:v>1871.432</c:v>
                </c:pt>
                <c:pt idx="37">
                  <c:v>791.4635</c:v>
                </c:pt>
                <c:pt idx="38">
                  <c:v>1201.3023</c:v>
                </c:pt>
                <c:pt idx="39">
                  <c:v>504.3491</c:v>
                </c:pt>
                <c:pt idx="40">
                  <c:v>986.6763</c:v>
                </c:pt>
                <c:pt idx="41">
                  <c:v>1145.3012</c:v>
                </c:pt>
                <c:pt idx="42">
                  <c:v>786.7193</c:v>
                </c:pt>
                <c:pt idx="43">
                  <c:v>514.5122</c:v>
                </c:pt>
                <c:pt idx="44">
                  <c:v>531.871</c:v>
                </c:pt>
                <c:pt idx="45">
                  <c:v>1616.7265</c:v>
                </c:pt>
                <c:pt idx="46">
                  <c:v>613.6877</c:v>
                </c:pt>
                <c:pt idx="47">
                  <c:v>1147.415</c:v>
                </c:pt>
                <c:pt idx="48">
                  <c:v>545.0351</c:v>
                </c:pt>
                <c:pt idx="49">
                  <c:v>960.1974</c:v>
                </c:pt>
                <c:pt idx="50">
                  <c:v>565.5</c:v>
                </c:pt>
                <c:pt idx="51">
                  <c:v>518.6111</c:v>
                </c:pt>
                <c:pt idx="52">
                  <c:v>497.134</c:v>
                </c:pt>
                <c:pt idx="53">
                  <c:v>472.6111</c:v>
                </c:pt>
                <c:pt idx="54">
                  <c:v>1929.1739</c:v>
                </c:pt>
                <c:pt idx="55">
                  <c:v>1167.8283</c:v>
                </c:pt>
                <c:pt idx="56">
                  <c:v>1918.1947</c:v>
                </c:pt>
                <c:pt idx="57">
                  <c:v>787.7959</c:v>
                </c:pt>
                <c:pt idx="58">
                  <c:v>850.2688</c:v>
                </c:pt>
                <c:pt idx="59">
                  <c:v>1630.1809</c:v>
                </c:pt>
                <c:pt idx="60">
                  <c:v>823.5212</c:v>
                </c:pt>
                <c:pt idx="61">
                  <c:v>916.5197</c:v>
                </c:pt>
                <c:pt idx="62">
                  <c:v>500.1158</c:v>
                </c:pt>
                <c:pt idx="63">
                  <c:v>1219.3356</c:v>
                </c:pt>
                <c:pt idx="64">
                  <c:v>1167.7466</c:v>
                </c:pt>
                <c:pt idx="65">
                  <c:v>1162.7664</c:v>
                </c:pt>
                <c:pt idx="66">
                  <c:v>1095.5</c:v>
                </c:pt>
                <c:pt idx="67">
                  <c:v>1166.1901</c:v>
                </c:pt>
                <c:pt idx="68">
                  <c:v>1692.3333</c:v>
                </c:pt>
                <c:pt idx="69">
                  <c:v>1121.1293</c:v>
                </c:pt>
                <c:pt idx="70">
                  <c:v>738.4545</c:v>
                </c:pt>
                <c:pt idx="71">
                  <c:v>1061.0833</c:v>
                </c:pt>
                <c:pt idx="72">
                  <c:v>2225.5556</c:v>
                </c:pt>
                <c:pt idx="73">
                  <c:v>923.6452</c:v>
                </c:pt>
                <c:pt idx="74">
                  <c:v>1018.5103</c:v>
                </c:pt>
                <c:pt idx="75">
                  <c:v>504.7778</c:v>
                </c:pt>
                <c:pt idx="76">
                  <c:v>3820.3333</c:v>
                </c:pt>
                <c:pt idx="77">
                  <c:v>1922.1304</c:v>
                </c:pt>
                <c:pt idx="78">
                  <c:v>1730.0</c:v>
                </c:pt>
              </c:numCache>
            </c:numRef>
          </c:xVal>
          <c:yVal>
            <c:numRef>
              <c:f>Sheet1!$B$2:$B$80</c:f>
              <c:numCache>
                <c:formatCode>General</c:formatCode>
                <c:ptCount val="79"/>
                <c:pt idx="0">
                  <c:v>0.2413793103448276</c:v>
                </c:pt>
                <c:pt idx="1">
                  <c:v>0.1430472388556221</c:v>
                </c:pt>
                <c:pt idx="2">
                  <c:v>0.16554054054054054</c:v>
                </c:pt>
                <c:pt idx="3">
                  <c:v>0.13806706114398423</c:v>
                </c:pt>
                <c:pt idx="4">
                  <c:v>0.020361990950226245</c:v>
                </c:pt>
                <c:pt idx="5">
                  <c:v>0.21818181818181817</c:v>
                </c:pt>
                <c:pt idx="6">
                  <c:v>0.20408163265306123</c:v>
                </c:pt>
                <c:pt idx="7">
                  <c:v>0.19254658385093168</c:v>
                </c:pt>
                <c:pt idx="8">
                  <c:v>0.6501650165016502</c:v>
                </c:pt>
                <c:pt idx="9">
                  <c:v>0.649325626204239</c:v>
                </c:pt>
                <c:pt idx="10">
                  <c:v>0.08879492600422834</c:v>
                </c:pt>
                <c:pt idx="11">
                  <c:v>0.2970430107526882</c:v>
                </c:pt>
                <c:pt idx="12">
                  <c:v>0.11940298507462686</c:v>
                </c:pt>
                <c:pt idx="13">
                  <c:v>0.2711864406779661</c:v>
                </c:pt>
                <c:pt idx="14">
                  <c:v>0.2066115702479339</c:v>
                </c:pt>
                <c:pt idx="15">
                  <c:v>0.2389937106918239</c:v>
                </c:pt>
                <c:pt idx="16">
                  <c:v>0.17901234567901234</c:v>
                </c:pt>
                <c:pt idx="17">
                  <c:v>0.16</c:v>
                </c:pt>
                <c:pt idx="18">
                  <c:v>0.38926174496644295</c:v>
                </c:pt>
                <c:pt idx="19">
                  <c:v>0.5154894671623296</c:v>
                </c:pt>
                <c:pt idx="20">
                  <c:v>0.016129032258064516</c:v>
                </c:pt>
                <c:pt idx="21">
                  <c:v>0.06712962962962964</c:v>
                </c:pt>
                <c:pt idx="22">
                  <c:v>0.16901408450704225</c:v>
                </c:pt>
                <c:pt idx="23">
                  <c:v>0.18609022556390978</c:v>
                </c:pt>
                <c:pt idx="24">
                  <c:v>0.3559670781893004</c:v>
                </c:pt>
                <c:pt idx="25">
                  <c:v>0.09129511677282377</c:v>
                </c:pt>
                <c:pt idx="26">
                  <c:v>0.3784313725490196</c:v>
                </c:pt>
                <c:pt idx="27">
                  <c:v>0.3148148148148148</c:v>
                </c:pt>
                <c:pt idx="28">
                  <c:v>0.1527293844367015</c:v>
                </c:pt>
                <c:pt idx="29">
                  <c:v>0.38224852071005916</c:v>
                </c:pt>
                <c:pt idx="30">
                  <c:v>0.23139653414882771</c:v>
                </c:pt>
                <c:pt idx="31">
                  <c:v>0.24287974683544303</c:v>
                </c:pt>
                <c:pt idx="32">
                  <c:v>0.28248222365869424</c:v>
                </c:pt>
                <c:pt idx="33">
                  <c:v>0.35880077369439073</c:v>
                </c:pt>
                <c:pt idx="34">
                  <c:v>0.10413223140495868</c:v>
                </c:pt>
                <c:pt idx="35">
                  <c:v>0.089540412044374</c:v>
                </c:pt>
                <c:pt idx="36">
                  <c:v>0.12537612838515547</c:v>
                </c:pt>
                <c:pt idx="37">
                  <c:v>0.423956931359354</c:v>
                </c:pt>
                <c:pt idx="38">
                  <c:v>0.24022346368715083</c:v>
                </c:pt>
                <c:pt idx="39">
                  <c:v>0.343042071197411</c:v>
                </c:pt>
                <c:pt idx="40">
                  <c:v>0.2799597180261833</c:v>
                </c:pt>
                <c:pt idx="41">
                  <c:v>0.22133333333333333</c:v>
                </c:pt>
                <c:pt idx="42">
                  <c:v>0.2780487804878049</c:v>
                </c:pt>
                <c:pt idx="43">
                  <c:v>0.4039408866995074</c:v>
                </c:pt>
                <c:pt idx="44">
                  <c:v>0.2831050228310502</c:v>
                </c:pt>
                <c:pt idx="45">
                  <c:v>0.2846715328467153</c:v>
                </c:pt>
                <c:pt idx="46">
                  <c:v>0.46568627450980393</c:v>
                </c:pt>
                <c:pt idx="47">
                  <c:v>0.4157608695652174</c:v>
                </c:pt>
                <c:pt idx="48">
                  <c:v>0.27305389221556886</c:v>
                </c:pt>
                <c:pt idx="49">
                  <c:v>0.37530864197530867</c:v>
                </c:pt>
                <c:pt idx="50">
                  <c:v>0.022304832713754646</c:v>
                </c:pt>
                <c:pt idx="51">
                  <c:v>0.030560271646859084</c:v>
                </c:pt>
                <c:pt idx="52">
                  <c:v>0.13976945244956773</c:v>
                </c:pt>
                <c:pt idx="53">
                  <c:v>0.04699738903394256</c:v>
                </c:pt>
                <c:pt idx="54">
                  <c:v>0.17087667161961367</c:v>
                </c:pt>
                <c:pt idx="55">
                  <c:v>0.2858517805582291</c:v>
                </c:pt>
                <c:pt idx="56">
                  <c:v>0.24726477024070023</c:v>
                </c:pt>
                <c:pt idx="57">
                  <c:v>0.32666666666666666</c:v>
                </c:pt>
                <c:pt idx="58">
                  <c:v>0.22682926829268293</c:v>
                </c:pt>
                <c:pt idx="59">
                  <c:v>0.10755148741418764</c:v>
                </c:pt>
                <c:pt idx="60">
                  <c:v>0.30930537352555704</c:v>
                </c:pt>
                <c:pt idx="61">
                  <c:v>0.5105708245243129</c:v>
                </c:pt>
                <c:pt idx="62">
                  <c:v>0.14053254437869822</c:v>
                </c:pt>
                <c:pt idx="63">
                  <c:v>0.2050561797752809</c:v>
                </c:pt>
                <c:pt idx="64">
                  <c:v>0.24172185430463577</c:v>
                </c:pt>
                <c:pt idx="65">
                  <c:v>0.45364238410596025</c:v>
                </c:pt>
                <c:pt idx="66">
                  <c:v>0.05714285714285714</c:v>
                </c:pt>
                <c:pt idx="67">
                  <c:v>0.34549878345498786</c:v>
                </c:pt>
                <c:pt idx="68">
                  <c:v>0.00906344410876133</c:v>
                </c:pt>
                <c:pt idx="69">
                  <c:v>0.14215686274509803</c:v>
                </c:pt>
                <c:pt idx="70">
                  <c:v>0.030942334739803096</c:v>
                </c:pt>
                <c:pt idx="71">
                  <c:v>0.02027027027027027</c:v>
                </c:pt>
                <c:pt idx="72">
                  <c:v>0.013452914798206279</c:v>
                </c:pt>
                <c:pt idx="73">
                  <c:v>0.125</c:v>
                </c:pt>
                <c:pt idx="74">
                  <c:v>0.11001517450682853</c:v>
                </c:pt>
                <c:pt idx="75">
                  <c:v>0.045454545454545456</c:v>
                </c:pt>
                <c:pt idx="76">
                  <c:v>0.003278688524590164</c:v>
                </c:pt>
                <c:pt idx="77">
                  <c:v>0.049783549783549784</c:v>
                </c:pt>
                <c:pt idx="78">
                  <c:v>0.005063291139240506</c:v>
                </c:pt>
              </c:numCache>
            </c:numRef>
          </c:yVal>
          <c:smooth val="0"/>
          <c:extLst>
            <c:ext xmlns:c16="http://schemas.microsoft.com/office/drawing/2014/chart" uri="{C3380CC4-5D6E-409C-BE32-E72D297353CC}">
              <c16:uniqueId val="{00000000-F32D-48B7-BC20-E66FC6253BAD}"/>
            </c:ext>
          </c:extLst>
        </c:ser>
        <c:ser>
          <c:idx val="1"/>
          <c:order val="1"/>
          <c:tx>
            <c:strRef>
              <c:f>Sheet1!$B$8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3:$A$107</c:f>
              <c:numCache>
                <c:formatCode>General</c:formatCode>
                <c:ptCount val="25"/>
                <c:pt idx="0">
                  <c:v>1165.7669</c:v>
                </c:pt>
                <c:pt idx="1">
                  <c:v>1143.5882</c:v>
                </c:pt>
                <c:pt idx="2">
                  <c:v>2284.5</c:v>
                </c:pt>
                <c:pt idx="3">
                  <c:v>5111.0</c:v>
                </c:pt>
                <c:pt idx="4">
                  <c:v>1100.5042</c:v>
                </c:pt>
                <c:pt idx="5">
                  <c:v>960.6471</c:v>
                </c:pt>
                <c:pt idx="6">
                  <c:v>4469.75</c:v>
                </c:pt>
                <c:pt idx="7">
                  <c:v>1082.3739</c:v>
                </c:pt>
                <c:pt idx="8">
                  <c:v>1037.4556</c:v>
                </c:pt>
                <c:pt idx="9">
                  <c:v>1203.175</c:v>
                </c:pt>
                <c:pt idx="10">
                  <c:v>1018.5574</c:v>
                </c:pt>
                <c:pt idx="11">
                  <c:v>1017.831</c:v>
                </c:pt>
                <c:pt idx="12">
                  <c:v>643.1667</c:v>
                </c:pt>
                <c:pt idx="13">
                  <c:v>708.5652</c:v>
                </c:pt>
                <c:pt idx="14">
                  <c:v>1224.1778</c:v>
                </c:pt>
                <c:pt idx="15">
                  <c:v>1495.7419</c:v>
                </c:pt>
                <c:pt idx="16">
                  <c:v>1634.1379</c:v>
                </c:pt>
                <c:pt idx="17">
                  <c:v>2379.0</c:v>
                </c:pt>
                <c:pt idx="18">
                  <c:v>1219.2372</c:v>
                </c:pt>
                <c:pt idx="19">
                  <c:v>1608.8571</c:v>
                </c:pt>
                <c:pt idx="20">
                  <c:v>3695.6667</c:v>
                </c:pt>
                <c:pt idx="21">
                  <c:v>1543.7857</c:v>
                </c:pt>
                <c:pt idx="22">
                  <c:v>3721.7273</c:v>
                </c:pt>
                <c:pt idx="23">
                  <c:v>694.1333</c:v>
                </c:pt>
                <c:pt idx="24">
                  <c:v>1046.025</c:v>
                </c:pt>
              </c:numCache>
            </c:numRef>
          </c:xVal>
          <c:yVal>
            <c:numRef>
              <c:f>Sheet1!$B$83:$B$107</c:f>
              <c:numCache>
                <c:formatCode>General</c:formatCode>
                <c:ptCount val="25"/>
                <c:pt idx="0">
                  <c:v>0.1543560606060606</c:v>
                </c:pt>
                <c:pt idx="1">
                  <c:v>0.02135678391959799</c:v>
                </c:pt>
                <c:pt idx="2">
                  <c:v>0.013710368466152529</c:v>
                </c:pt>
                <c:pt idx="3">
                  <c:v>0.0011111111111111111</c:v>
                </c:pt>
                <c:pt idx="4">
                  <c:v>0.25813449023861174</c:v>
                </c:pt>
                <c:pt idx="5">
                  <c:v>0.18888888888888888</c:v>
                </c:pt>
                <c:pt idx="6">
                  <c:v>0.029850746268656716</c:v>
                </c:pt>
                <c:pt idx="7">
                  <c:v>0.28117359413202936</c:v>
                </c:pt>
                <c:pt idx="8">
                  <c:v>0.582312925170068</c:v>
                </c:pt>
                <c:pt idx="9">
                  <c:v>0.13179571663920922</c:v>
                </c:pt>
                <c:pt idx="10">
                  <c:v>0.2982885085574572</c:v>
                </c:pt>
                <c:pt idx="11">
                  <c:v>0.544766708701135</c:v>
                </c:pt>
                <c:pt idx="12">
                  <c:v>0.00949367088607595</c:v>
                </c:pt>
                <c:pt idx="13">
                  <c:v>0.04572564612326044</c:v>
                </c:pt>
                <c:pt idx="14">
                  <c:v>0.10948905109489052</c:v>
                </c:pt>
                <c:pt idx="15">
                  <c:v>0.11191335740072202</c:v>
                </c:pt>
                <c:pt idx="16">
                  <c:v>0.2049469964664311</c:v>
                </c:pt>
                <c:pt idx="17">
                  <c:v>0.006430868167202572</c:v>
                </c:pt>
                <c:pt idx="18">
                  <c:v>0.2948960302457467</c:v>
                </c:pt>
                <c:pt idx="19">
                  <c:v>0.0412573673870334</c:v>
                </c:pt>
                <c:pt idx="20">
                  <c:v>0.004761904761904762</c:v>
                </c:pt>
                <c:pt idx="21">
                  <c:v>0.025547445255474453</c:v>
                </c:pt>
                <c:pt idx="22">
                  <c:v>0.03206997084548105</c:v>
                </c:pt>
                <c:pt idx="23">
                  <c:v>0.05190311418685121</c:v>
                </c:pt>
                <c:pt idx="24">
                  <c:v>0.1553398058252427</c:v>
                </c:pt>
              </c:numCache>
            </c:numRef>
          </c:yVal>
          <c:smooth val="0"/>
          <c:extLst>
            <c:ext xmlns:c16="http://schemas.microsoft.com/office/drawing/2014/chart" uri="{C3380CC4-5D6E-409C-BE32-E72D297353CC}">
              <c16:uniqueId val="{00000002-F32D-48B7-BC20-E66FC6253BAD}"/>
            </c:ext>
          </c:extLst>
        </c:ser>
        <c:ser>
          <c:idx val="2"/>
          <c:order val="2"/>
          <c:tx>
            <c:strRef>
              <c:f>Sheet1!$B$109</c:f>
              <c:strCache>
                <c:ptCount val="1"/>
                <c:pt idx="0">
                  <c:v>Custom Linep3yQ</c:v>
                </c:pt>
              </c:strCache>
            </c:strRef>
          </c:tx>
          <c:spPr>
            <a:ln w="19050" cap="rnd">
              <a:solidFill>
                <a:srgbClr val="C00000"/>
              </a:solidFill>
              <a:prstDash val="sysDot"/>
              <a:round/>
            </a:ln>
            <a:effectLst/>
          </c:spPr>
          <c:marker>
            <c:symbol val="none"/>
          </c:marker>
          <c:xVal>
            <c:numRef>
              <c:f>Sheet1!$A$110:$A$111</c:f>
              <c:numCache>
                <c:formatCode>General</c:formatCode>
                <c:ptCount val="2"/>
                <c:pt idx="0">
                  <c:v>0</c:v>
                </c:pt>
                <c:pt idx="1">
                  <c:v>-1629.232933416683</c:v>
                </c:pt>
              </c:numCache>
            </c:numRef>
          </c:xVal>
          <c:yVal>
            <c:numRef>
              <c:f>Sheet1!$B$110:$B$111</c:f>
              <c:numCache>
                <c:formatCode>General</c:formatCode>
                <c:ptCount val="2"/>
                <c:pt idx="0">
                  <c:v>0.32859123059265954</c:v>
                </c:pt>
                <c:pt idx="1">
                  <c:v>0.32859123059265954</c:v>
                </c:pt>
              </c:numCache>
            </c:numRef>
          </c:yVal>
          <c:smooth val="0"/>
          <c:extLst>
            <c:ext xmlns:c16="http://schemas.microsoft.com/office/drawing/2014/chart" uri="{C3380CC4-5D6E-409C-BE32-E72D297353CC}">
              <c16:uniqueId val="{00000003-F32D-48B7-BC20-E66FC6253BAD}"/>
            </c:ext>
          </c:extLst>
        </c:ser>
        <c:ser>
          <c:idx val="3"/>
          <c:order val="3"/>
          <c:tx>
            <c:strRef>
              <c:f>Sheet1!$B$1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1629.232933416683</c:v>
                </c:pt>
                <c:pt idx="1">
                  <c:v>-1629.232933416683</c:v>
                </c:pt>
              </c:numCache>
            </c:numRef>
          </c:xVal>
          <c:yVal>
            <c:numRef>
              <c:f>Sheet1!$B$114:$B$115</c:f>
              <c:numCache>
                <c:formatCode>General</c:formatCode>
                <c:ptCount val="2"/>
                <c:pt idx="0">
                  <c:v>0.3285912305926595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8:$A$119</c:f>
              <c:numCache>
                <c:formatCode>General</c:formatCode>
                <c:ptCount val="2"/>
                <c:pt idx="0">
                  <c:v>0</c:v>
                </c:pt>
                <c:pt idx="1">
                  <c:v>73.04330775407618</c:v>
                </c:pt>
              </c:numCache>
            </c:numRef>
          </c:xVal>
          <c:yVal>
            <c:numRef>
              <c:f>Sheet1!$B$118:$B$119</c:f>
              <c:numCache>
                <c:formatCode>General</c:formatCode>
                <c:ptCount val="2"/>
                <c:pt idx="0">
                  <c:v>0.23499546430053864</c:v>
                </c:pt>
                <c:pt idx="1">
                  <c:v>0.23499546430053864</c:v>
                </c:pt>
              </c:numCache>
            </c:numRef>
          </c:yVal>
          <c:smooth val="0"/>
          <c:extLst>
            <c:ext xmlns:c16="http://schemas.microsoft.com/office/drawing/2014/chart" uri="{C3380CC4-5D6E-409C-BE32-E72D297353CC}">
              <c16:uniqueId val="{0000000A-F32D-48B7-BC20-E66FC6253BAD}"/>
            </c:ext>
          </c:extLst>
        </c:ser>
        <c:ser>
          <c:idx val="5"/>
          <c:order val="5"/>
          <c:tx>
            <c:strRef>
              <c:f>Sheet1!$B$1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73.04330775407618</c:v>
                </c:pt>
                <c:pt idx="1">
                  <c:v>73.04330775407618</c:v>
                </c:pt>
              </c:numCache>
            </c:numRef>
          </c:xVal>
          <c:yVal>
            <c:numRef>
              <c:f>Sheet1!$B$122:$B$123</c:f>
              <c:numCache>
                <c:formatCode>General</c:formatCode>
                <c:ptCount val="2"/>
                <c:pt idx="0">
                  <c:v>0.234995464300538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6:$A$127</c:f>
              <c:numCache>
                <c:formatCode>General</c:formatCode>
                <c:ptCount val="2"/>
                <c:pt idx="0">
                  <c:v>0</c:v>
                </c:pt>
                <c:pt idx="1">
                  <c:v>3366.2786850161683</c:v>
                </c:pt>
              </c:numCache>
            </c:numRef>
          </c:xVal>
          <c:yVal>
            <c:numRef>
              <c:f>Sheet1!$B$126:$B$127</c:f>
              <c:numCache>
                <c:formatCode>General</c:formatCode>
                <c:ptCount val="2"/>
                <c:pt idx="0">
                  <c:v>0.053924448174990834</c:v>
                </c:pt>
                <c:pt idx="1">
                  <c:v>0.053924448174990834</c:v>
                </c:pt>
              </c:numCache>
            </c:numRef>
          </c:yVal>
          <c:smooth val="0"/>
          <c:extLst>
            <c:ext xmlns:c16="http://schemas.microsoft.com/office/drawing/2014/chart" uri="{C3380CC4-5D6E-409C-BE32-E72D297353CC}">
              <c16:uniqueId val="{00000011-F32D-48B7-BC20-E66FC6253BAD}"/>
            </c:ext>
          </c:extLst>
        </c:ser>
        <c:ser>
          <c:idx val="7"/>
          <c:order val="7"/>
          <c:tx>
            <c:strRef>
              <c:f>Sheet1!$B$1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0:$A$131</c:f>
              <c:numCache>
                <c:formatCode>General</c:formatCode>
                <c:ptCount val="2"/>
                <c:pt idx="0">
                  <c:v>3366.2786850161683</c:v>
                </c:pt>
                <c:pt idx="1">
                  <c:v>3366.2786850161683</c:v>
                </c:pt>
              </c:numCache>
            </c:numRef>
          </c:xVal>
          <c:yVal>
            <c:numRef>
              <c:f>Sheet1!$B$130:$B$131</c:f>
              <c:numCache>
                <c:formatCode>General</c:formatCode>
                <c:ptCount val="2"/>
                <c:pt idx="0">
                  <c:v>0.05392444817499083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4:$A$161</c:f>
              <c:numCache>
                <c:formatCode>General</c:formatCode>
                <c:ptCount val="28"/>
                <c:pt idx="0">
                  <c:v>1165.7669</c:v>
                </c:pt>
                <c:pt idx="1">
                  <c:v>1143.5882</c:v>
                </c:pt>
                <c:pt idx="2">
                  <c:v>2284.5</c:v>
                </c:pt>
                <c:pt idx="3">
                  <c:v>5111.0</c:v>
                </c:pt>
                <c:pt idx="4">
                  <c:v>1100.5042</c:v>
                </c:pt>
                <c:pt idx="5">
                  <c:v>960.6471</c:v>
                </c:pt>
                <c:pt idx="6">
                  <c:v>4469.75</c:v>
                </c:pt>
                <c:pt idx="7">
                  <c:v>1082.3739</c:v>
                </c:pt>
                <c:pt idx="8">
                  <c:v>1037.4556</c:v>
                </c:pt>
                <c:pt idx="9">
                  <c:v>1203.175</c:v>
                </c:pt>
                <c:pt idx="10">
                  <c:v>1018.5574</c:v>
                </c:pt>
                <c:pt idx="11">
                  <c:v>1017.831</c:v>
                </c:pt>
                <c:pt idx="12">
                  <c:v>643.1667</c:v>
                </c:pt>
                <c:pt idx="13">
                  <c:v>708.5652</c:v>
                </c:pt>
                <c:pt idx="14">
                  <c:v>1224.1778</c:v>
                </c:pt>
                <c:pt idx="15">
                  <c:v>1495.7419</c:v>
                </c:pt>
                <c:pt idx="16">
                  <c:v>1634.1379</c:v>
                </c:pt>
                <c:pt idx="17">
                  <c:v>2379.0</c:v>
                </c:pt>
                <c:pt idx="18">
                  <c:v>1219.2372</c:v>
                </c:pt>
                <c:pt idx="19">
                  <c:v>1608.8571</c:v>
                </c:pt>
                <c:pt idx="20">
                  <c:v>3695.6667</c:v>
                </c:pt>
                <c:pt idx="21">
                  <c:v>1543.7857</c:v>
                </c:pt>
                <c:pt idx="22">
                  <c:v>3721.7273</c:v>
                </c:pt>
                <c:pt idx="23">
                  <c:v>694.1333</c:v>
                </c:pt>
                <c:pt idx="24">
                  <c:v>1046.025</c:v>
                </c:pt>
                <c:pt idx="25">
                  <c:v>73.04330775407618</c:v>
                </c:pt>
                <c:pt idx="26">
                  <c:v>-1629.232933416683</c:v>
                </c:pt>
                <c:pt idx="27">
                  <c:v>3366.2786850161683</c:v>
                </c:pt>
              </c:numCache>
            </c:numRef>
          </c:xVal>
          <c:yVal>
            <c:numRef>
              <c:f>Sheet1!$B$134:$B$161</c:f>
              <c:numCache>
                <c:formatCode>General</c:formatCode>
                <c:ptCount val="28"/>
                <c:pt idx="0">
                  <c:v>0.1749145564618696</c:v>
                </c:pt>
                <c:pt idx="1">
                  <c:v>0.17613400156229314</c:v>
                </c:pt>
                <c:pt idx="2">
                  <c:v>0.1134035753188529</c:v>
                </c:pt>
                <c:pt idx="3">
                  <c:v>-0.042005063435767626</c:v>
                </c:pt>
                <c:pt idx="4">
                  <c:v>0.1785028767761987</c:v>
                </c:pt>
                <c:pt idx="5">
                  <c:v>0.18619259958927806</c:v>
                </c:pt>
                <c:pt idx="6">
                  <c:v>-0.006747398620129741</c:v>
                </c:pt>
                <c:pt idx="7">
                  <c:v>0.179499729860654</c:v>
                </c:pt>
                <c:pt idx="8">
                  <c:v>0.18196945986531404</c:v>
                </c:pt>
                <c:pt idx="9">
                  <c:v>0.1728577576296047</c:v>
                </c:pt>
                <c:pt idx="10">
                  <c:v>0.18300853417520707</c:v>
                </c:pt>
                <c:pt idx="11">
                  <c:v>0.18304847361804852</c:v>
                </c:pt>
                <c:pt idx="12">
                  <c:v>0.20364853335728528</c:v>
                </c:pt>
                <c:pt idx="13">
                  <c:v>0.20005274639050868</c:v>
                </c:pt>
                <c:pt idx="14">
                  <c:v>0.1717029667015893</c:v>
                </c:pt>
                <c:pt idx="15">
                  <c:v>0.15677163568597863</c:v>
                </c:pt>
                <c:pt idx="16">
                  <c:v>0.1491622481151014</c:v>
                </c:pt>
                <c:pt idx="17">
                  <c:v>0.10820770892496942</c:v>
                </c:pt>
                <c:pt idx="18">
                  <c:v>0.17197461429424138</c:v>
                </c:pt>
                <c:pt idx="19">
                  <c:v>0.1505522550900272</c:v>
                </c:pt>
                <c:pt idx="20">
                  <c:v>0.035813801427874686</c:v>
                </c:pt>
                <c:pt idx="21">
                  <c:v>0.15413005721132828</c:v>
                </c:pt>
                <c:pt idx="22">
                  <c:v>0.034380918933224536</c:v>
                </c:pt>
                <c:pt idx="23">
                  <c:v>0.20084625140860274</c:v>
                </c:pt>
                <c:pt idx="24">
                  <c:v>0.18149829100313686</c:v>
                </c:pt>
                <c:pt idx="25">
                  <c:v>0.23499546430053864</c:v>
                </c:pt>
                <c:pt idx="26">
                  <c:v>0.32859123059265954</c:v>
                </c:pt>
                <c:pt idx="27">
                  <c:v>0.0539244481749908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13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801980198019801"/>
          <c:min val="0.000888888888888888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4</c:f>
              <c:numCache>
                <c:formatCode>General</c:formatCode>
                <c:ptCount val="73"/>
                <c:pt idx="0">
                  <c:v>1.0477574336445095</c:v>
                </c:pt>
                <c:pt idx="1">
                  <c:v>1.099277105556915</c:v>
                </c:pt>
                <c:pt idx="2">
                  <c:v>1.0257824627492733</c:v>
                </c:pt>
                <c:pt idx="3">
                  <c:v>0.9413728801106583</c:v>
                </c:pt>
                <c:pt idx="4">
                  <c:v>1.0602335939586285</c:v>
                </c:pt>
                <c:pt idx="5">
                  <c:v>1.1934153081684247</c:v>
                </c:pt>
                <c:pt idx="6">
                  <c:v>0.8287269061315509</c:v>
                </c:pt>
                <c:pt idx="7">
                  <c:v>1.6641808243116656</c:v>
                </c:pt>
                <c:pt idx="8">
                  <c:v>1.0072512785219048</c:v>
                </c:pt>
                <c:pt idx="9">
                  <c:v>1.1458751706019457</c:v>
                </c:pt>
                <c:pt idx="10">
                  <c:v>0.6343757749990707</c:v>
                </c:pt>
                <c:pt idx="11">
                  <c:v>1.6956387624800613</c:v>
                </c:pt>
                <c:pt idx="12">
                  <c:v>1.086869171482843</c:v>
                </c:pt>
                <c:pt idx="13">
                  <c:v>1.4113067084904278</c:v>
                </c:pt>
                <c:pt idx="14">
                  <c:v>1.7870322699471743</c:v>
                </c:pt>
                <c:pt idx="15">
                  <c:v>0.7519120247568524</c:v>
                </c:pt>
                <c:pt idx="16">
                  <c:v>1.3243655023745746</c:v>
                </c:pt>
                <c:pt idx="17">
                  <c:v>1.0170488186983633</c:v>
                </c:pt>
                <c:pt idx="18">
                  <c:v>1.3897595080652039</c:v>
                </c:pt>
                <c:pt idx="19">
                  <c:v>1.3412049094830067</c:v>
                </c:pt>
                <c:pt idx="20">
                  <c:v>1.8396489329861516</c:v>
                </c:pt>
                <c:pt idx="21">
                  <c:v>0.8889467532041748</c:v>
                </c:pt>
                <c:pt idx="22">
                  <c:v>2.052487622337363</c:v>
                </c:pt>
                <c:pt idx="23">
                  <c:v>1.126194605062609</c:v>
                </c:pt>
                <c:pt idx="24">
                  <c:v>1.0753790985576823</c:v>
                </c:pt>
                <c:pt idx="25">
                  <c:v>0.5932387787407788</c:v>
                </c:pt>
                <c:pt idx="26">
                  <c:v>0.5635772271048359</c:v>
                </c:pt>
                <c:pt idx="27">
                  <c:v>0.5273573803663111</c:v>
                </c:pt>
                <c:pt idx="28">
                  <c:v>0.6299124873810251</c:v>
                </c:pt>
                <c:pt idx="29">
                  <c:v>0.9215516806067733</c:v>
                </c:pt>
                <c:pt idx="30">
                  <c:v>0.5660919322366602</c:v>
                </c:pt>
                <c:pt idx="31">
                  <c:v>1.7945992825369603</c:v>
                </c:pt>
                <c:pt idx="32">
                  <c:v>0.762174212073897</c:v>
                </c:pt>
                <c:pt idx="33">
                  <c:v>1.3494981096615366</c:v>
                </c:pt>
                <c:pt idx="34">
                  <c:v>0.3422459490249078</c:v>
                </c:pt>
                <c:pt idx="35">
                  <c:v>1.0600124106187283</c:v>
                </c:pt>
                <c:pt idx="36">
                  <c:v>0.8047714259715412</c:v>
                </c:pt>
                <c:pt idx="37">
                  <c:v>0.6630142363792136</c:v>
                </c:pt>
                <c:pt idx="38">
                  <c:v>0.43041486073084134</c:v>
                </c:pt>
                <c:pt idx="39">
                  <c:v>0.5238646198553645</c:v>
                </c:pt>
                <c:pt idx="40">
                  <c:v>1.5373399557585785</c:v>
                </c:pt>
                <c:pt idx="41">
                  <c:v>0.7090407804249523</c:v>
                </c:pt>
                <c:pt idx="42">
                  <c:v>0.9212741615523129</c:v>
                </c:pt>
                <c:pt idx="43">
                  <c:v>0.4890347085509436</c:v>
                </c:pt>
                <c:pt idx="44">
                  <c:v>1.2625869822485207</c:v>
                </c:pt>
                <c:pt idx="45">
                  <c:v>0.37234567901234567</c:v>
                </c:pt>
                <c:pt idx="46">
                  <c:v>0.3707140854112404</c:v>
                </c:pt>
                <c:pt idx="47">
                  <c:v>0.4174140520458145</c:v>
                </c:pt>
                <c:pt idx="48">
                  <c:v>1.7589589178335703</c:v>
                </c:pt>
                <c:pt idx="49">
                  <c:v>0.47617539547430676</c:v>
                </c:pt>
                <c:pt idx="50">
                  <c:v>2.011069509891927</c:v>
                </c:pt>
                <c:pt idx="51">
                  <c:v>0.9225887990485035</c:v>
                </c:pt>
                <c:pt idx="52">
                  <c:v>0.9976496937186361</c:v>
                </c:pt>
                <c:pt idx="53">
                  <c:v>1.7952069109778597</c:v>
                </c:pt>
                <c:pt idx="54">
                  <c:v>0.405048361332595</c:v>
                </c:pt>
                <c:pt idx="55">
                  <c:v>0.7545889797303561</c:v>
                </c:pt>
                <c:pt idx="56">
                  <c:v>0.43319215982475373</c:v>
                </c:pt>
                <c:pt idx="57">
                  <c:v>1.3751507710171837</c:v>
                </c:pt>
                <c:pt idx="58">
                  <c:v>1.2692372196325348</c:v>
                </c:pt>
                <c:pt idx="59">
                  <c:v>1.2719075116687868</c:v>
                </c:pt>
                <c:pt idx="60">
                  <c:v>0.8984045876286039</c:v>
                </c:pt>
                <c:pt idx="61">
                  <c:v>1.0479221321289884</c:v>
                </c:pt>
                <c:pt idx="62">
                  <c:v>1.4485274450021053</c:v>
                </c:pt>
                <c:pt idx="63">
                  <c:v>0.9671068062233781</c:v>
                </c:pt>
                <c:pt idx="64">
                  <c:v>0.6487357132082912</c:v>
                </c:pt>
                <c:pt idx="65">
                  <c:v>0.9992691122760696</c:v>
                </c:pt>
                <c:pt idx="66">
                  <c:v>2.154877555567196</c:v>
                </c:pt>
                <c:pt idx="67">
                  <c:v>0.8956733221492781</c:v>
                </c:pt>
                <c:pt idx="68">
                  <c:v>0.7981096785158962</c:v>
                </c:pt>
                <c:pt idx="69">
                  <c:v>0.36087842873713805</c:v>
                </c:pt>
                <c:pt idx="70">
                  <c:v>3.708530740358127</c:v>
                </c:pt>
                <c:pt idx="71">
                  <c:v>1.2136413121237066</c:v>
                </c:pt>
                <c:pt idx="72">
                  <c:v>1.532355961861166</c:v>
                </c:pt>
              </c:numCache>
            </c:numRef>
          </c:xVal>
          <c:yVal>
            <c:numRef>
              <c:f>Sheet1!$B$2:$B$74</c:f>
              <c:numCache>
                <c:formatCode>General</c:formatCode>
                <c:ptCount val="73"/>
                <c:pt idx="0">
                  <c:v>0.2413793103448276</c:v>
                </c:pt>
                <c:pt idx="1">
                  <c:v>0.1430472388556221</c:v>
                </c:pt>
                <c:pt idx="2">
                  <c:v>0.16554054054054054</c:v>
                </c:pt>
                <c:pt idx="3">
                  <c:v>0.13806706114398423</c:v>
                </c:pt>
                <c:pt idx="4">
                  <c:v>0.18840579710144928</c:v>
                </c:pt>
                <c:pt idx="5">
                  <c:v>0.21818181818181817</c:v>
                </c:pt>
                <c:pt idx="6">
                  <c:v>0.7694235588972431</c:v>
                </c:pt>
                <c:pt idx="7">
                  <c:v>0.6501650165016502</c:v>
                </c:pt>
                <c:pt idx="8">
                  <c:v>0.649325626204239</c:v>
                </c:pt>
                <c:pt idx="9">
                  <c:v>0.2970430107526882</c:v>
                </c:pt>
                <c:pt idx="10">
                  <c:v>0.11940298507462686</c:v>
                </c:pt>
                <c:pt idx="11">
                  <c:v>0.5182926829268293</c:v>
                </c:pt>
                <c:pt idx="12">
                  <c:v>0.2066115702479339</c:v>
                </c:pt>
                <c:pt idx="13">
                  <c:v>0.2389937106918239</c:v>
                </c:pt>
                <c:pt idx="14">
                  <c:v>0.16</c:v>
                </c:pt>
                <c:pt idx="15">
                  <c:v>0.38926174496644295</c:v>
                </c:pt>
                <c:pt idx="16">
                  <c:v>0.5154894671623296</c:v>
                </c:pt>
                <c:pt idx="17">
                  <c:v>0.016129032258064516</c:v>
                </c:pt>
                <c:pt idx="18">
                  <c:v>0.06712962962962964</c:v>
                </c:pt>
                <c:pt idx="19">
                  <c:v>0.18609022556390978</c:v>
                </c:pt>
                <c:pt idx="20">
                  <c:v>0.3559670781893004</c:v>
                </c:pt>
                <c:pt idx="21">
                  <c:v>0.09129511677282377</c:v>
                </c:pt>
                <c:pt idx="22">
                  <c:v>0.3784313725490196</c:v>
                </c:pt>
                <c:pt idx="23">
                  <c:v>0.1527293844367015</c:v>
                </c:pt>
                <c:pt idx="24">
                  <c:v>0.38224852071005916</c:v>
                </c:pt>
                <c:pt idx="25">
                  <c:v>0.23139653414882771</c:v>
                </c:pt>
                <c:pt idx="26">
                  <c:v>0.24287974683544303</c:v>
                </c:pt>
                <c:pt idx="27">
                  <c:v>0.28248222365869424</c:v>
                </c:pt>
                <c:pt idx="28">
                  <c:v>0.35880077369439073</c:v>
                </c:pt>
                <c:pt idx="29">
                  <c:v>0.10413223140495868</c:v>
                </c:pt>
                <c:pt idx="30">
                  <c:v>0.089540412044374</c:v>
                </c:pt>
                <c:pt idx="31">
                  <c:v>0.12537612838515547</c:v>
                </c:pt>
                <c:pt idx="32">
                  <c:v>0.423956931359354</c:v>
                </c:pt>
                <c:pt idx="33">
                  <c:v>0.24022346368715083</c:v>
                </c:pt>
                <c:pt idx="34">
                  <c:v>0.343042071197411</c:v>
                </c:pt>
                <c:pt idx="35">
                  <c:v>0.2799597180261833</c:v>
                </c:pt>
                <c:pt idx="36">
                  <c:v>0.22133333333333333</c:v>
                </c:pt>
                <c:pt idx="37">
                  <c:v>0.2780487804878049</c:v>
                </c:pt>
                <c:pt idx="38">
                  <c:v>0.4039408866995074</c:v>
                </c:pt>
                <c:pt idx="39">
                  <c:v>0.2831050228310502</c:v>
                </c:pt>
                <c:pt idx="40">
                  <c:v>0.2846715328467153</c:v>
                </c:pt>
                <c:pt idx="41">
                  <c:v>0.46568627450980393</c:v>
                </c:pt>
                <c:pt idx="42">
                  <c:v>0.4157608695652174</c:v>
                </c:pt>
                <c:pt idx="43">
                  <c:v>0.27305389221556886</c:v>
                </c:pt>
                <c:pt idx="44">
                  <c:v>0.37530864197530867</c:v>
                </c:pt>
                <c:pt idx="45">
                  <c:v>0.022304832713754646</c:v>
                </c:pt>
                <c:pt idx="46">
                  <c:v>0.030560271646859084</c:v>
                </c:pt>
                <c:pt idx="47">
                  <c:v>0.13976945244956773</c:v>
                </c:pt>
                <c:pt idx="48">
                  <c:v>0.17087667161961367</c:v>
                </c:pt>
                <c:pt idx="49">
                  <c:v>0.2858517805582291</c:v>
                </c:pt>
                <c:pt idx="50">
                  <c:v>0.24726477024070023</c:v>
                </c:pt>
                <c:pt idx="51">
                  <c:v>0.32666666666666666</c:v>
                </c:pt>
                <c:pt idx="52">
                  <c:v>0.22682926829268293</c:v>
                </c:pt>
                <c:pt idx="53">
                  <c:v>0.10755148741418764</c:v>
                </c:pt>
                <c:pt idx="54">
                  <c:v>0.30930537352555704</c:v>
                </c:pt>
                <c:pt idx="55">
                  <c:v>0.5105708245243129</c:v>
                </c:pt>
                <c:pt idx="56">
                  <c:v>0.14053254437869822</c:v>
                </c:pt>
                <c:pt idx="57">
                  <c:v>0.2050561797752809</c:v>
                </c:pt>
                <c:pt idx="58">
                  <c:v>0.24172185430463577</c:v>
                </c:pt>
                <c:pt idx="59">
                  <c:v>0.45364238410596025</c:v>
                </c:pt>
                <c:pt idx="60">
                  <c:v>0.05714285714285714</c:v>
                </c:pt>
                <c:pt idx="61">
                  <c:v>0.34549878345498786</c:v>
                </c:pt>
                <c:pt idx="62">
                  <c:v>0.00906344410876133</c:v>
                </c:pt>
                <c:pt idx="63">
                  <c:v>0.14215686274509803</c:v>
                </c:pt>
                <c:pt idx="64">
                  <c:v>0.030942334739803096</c:v>
                </c:pt>
                <c:pt idx="65">
                  <c:v>0.02027027027027027</c:v>
                </c:pt>
                <c:pt idx="66">
                  <c:v>0.013452914798206279</c:v>
                </c:pt>
                <c:pt idx="67">
                  <c:v>0.125</c:v>
                </c:pt>
                <c:pt idx="68">
                  <c:v>0.11001517450682853</c:v>
                </c:pt>
                <c:pt idx="69">
                  <c:v>0.045454545454545456</c:v>
                </c:pt>
                <c:pt idx="70">
                  <c:v>0.003278688524590164</c:v>
                </c:pt>
                <c:pt idx="71">
                  <c:v>0.049783549783549784</c:v>
                </c:pt>
                <c:pt idx="72">
                  <c:v>0.005063291139240506</c:v>
                </c:pt>
              </c:numCache>
            </c:numRef>
          </c:yVal>
          <c:smooth val="0"/>
          <c:extLst>
            <c:ext xmlns:c16="http://schemas.microsoft.com/office/drawing/2014/chart" uri="{C3380CC4-5D6E-409C-BE32-E72D297353CC}">
              <c16:uniqueId val="{00000000-096C-4121-9522-6AB7243CCAAE}"/>
            </c:ext>
          </c:extLst>
        </c:ser>
        <c:ser>
          <c:idx val="1"/>
          <c:order val="1"/>
          <c:tx>
            <c:strRef>
              <c:f>Sheet1!$B$7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7:$A$103</c:f>
              <c:numCache>
                <c:formatCode>General</c:formatCode>
                <c:ptCount val="27"/>
                <c:pt idx="0">
                  <c:v>0.8882680521339308</c:v>
                </c:pt>
                <c:pt idx="1">
                  <c:v>1.049762139583454</c:v>
                </c:pt>
                <c:pt idx="2">
                  <c:v>1.8126852259607944</c:v>
                </c:pt>
                <c:pt idx="3">
                  <c:v>4.592683103697681</c:v>
                </c:pt>
                <c:pt idx="4">
                  <c:v>1.0222427278923785</c:v>
                </c:pt>
                <c:pt idx="5">
                  <c:v>0.982916749928096</c:v>
                </c:pt>
                <c:pt idx="6">
                  <c:v>5.277242513718351</c:v>
                </c:pt>
                <c:pt idx="7">
                  <c:v>0.7578124513184428</c:v>
                </c:pt>
                <c:pt idx="8">
                  <c:v>1.073034083813599</c:v>
                </c:pt>
                <c:pt idx="9">
                  <c:v>1.0315731208230259</c:v>
                </c:pt>
                <c:pt idx="10">
                  <c:v>0.6031062990592072</c:v>
                </c:pt>
                <c:pt idx="11">
                  <c:v>0.7495336360832678</c:v>
                </c:pt>
                <c:pt idx="12">
                  <c:v>0.6437798359157262</c:v>
                </c:pt>
                <c:pt idx="13">
                  <c:v>0.5351835510666545</c:v>
                </c:pt>
                <c:pt idx="14">
                  <c:v>0.8732136671758722</c:v>
                </c:pt>
                <c:pt idx="15">
                  <c:v>1.4129874632403996</c:v>
                </c:pt>
                <c:pt idx="16">
                  <c:v>1.3880456038979554</c:v>
                </c:pt>
                <c:pt idx="17">
                  <c:v>1.730780605333787</c:v>
                </c:pt>
                <c:pt idx="18">
                  <c:v>0.9253264879072199</c:v>
                </c:pt>
                <c:pt idx="19">
                  <c:v>7.158571429207505</c:v>
                </c:pt>
                <c:pt idx="20">
                  <c:v>1.447741691303258</c:v>
                </c:pt>
                <c:pt idx="21">
                  <c:v>1.697802803547962</c:v>
                </c:pt>
                <c:pt idx="22">
                  <c:v>3.0609131935020297</c:v>
                </c:pt>
                <c:pt idx="23">
                  <c:v>1.8544881238624065</c:v>
                </c:pt>
                <c:pt idx="24">
                  <c:v>3.407911163658933</c:v>
                </c:pt>
                <c:pt idx="25">
                  <c:v>0.5983778797870735</c:v>
                </c:pt>
                <c:pt idx="26">
                  <c:v>0.8665683916543672</c:v>
                </c:pt>
              </c:numCache>
            </c:numRef>
          </c:xVal>
          <c:yVal>
            <c:numRef>
              <c:f>Sheet1!$B$77:$B$103</c:f>
              <c:numCache>
                <c:formatCode>General</c:formatCode>
                <c:ptCount val="27"/>
                <c:pt idx="0">
                  <c:v>0.1543560606060606</c:v>
                </c:pt>
                <c:pt idx="1">
                  <c:v>0.02135678391959799</c:v>
                </c:pt>
                <c:pt idx="2">
                  <c:v>0.013710368466152529</c:v>
                </c:pt>
                <c:pt idx="3">
                  <c:v>0.0011111111111111111</c:v>
                </c:pt>
                <c:pt idx="4">
                  <c:v>0.25813449023861174</c:v>
                </c:pt>
                <c:pt idx="5">
                  <c:v>0.18888888888888888</c:v>
                </c:pt>
                <c:pt idx="6">
                  <c:v>0.029850746268656716</c:v>
                </c:pt>
                <c:pt idx="7">
                  <c:v>0.28117359413202936</c:v>
                </c:pt>
                <c:pt idx="8">
                  <c:v>0.582312925170068</c:v>
                </c:pt>
                <c:pt idx="9">
                  <c:v>0.13179571663920922</c:v>
                </c:pt>
                <c:pt idx="10">
                  <c:v>0.2982885085574572</c:v>
                </c:pt>
                <c:pt idx="11">
                  <c:v>0.544766708701135</c:v>
                </c:pt>
                <c:pt idx="12">
                  <c:v>0.00949367088607595</c:v>
                </c:pt>
                <c:pt idx="13">
                  <c:v>0.04572564612326044</c:v>
                </c:pt>
                <c:pt idx="14">
                  <c:v>0.10948905109489052</c:v>
                </c:pt>
                <c:pt idx="15">
                  <c:v>0.11191335740072202</c:v>
                </c:pt>
                <c:pt idx="16">
                  <c:v>0.2049469964664311</c:v>
                </c:pt>
                <c:pt idx="17">
                  <c:v>0.006430868167202572</c:v>
                </c:pt>
                <c:pt idx="18">
                  <c:v>0.2948960302457467</c:v>
                </c:pt>
                <c:pt idx="19">
                  <c:v>0.008368200836820083</c:v>
                </c:pt>
                <c:pt idx="20">
                  <c:v>0.0412573673870334</c:v>
                </c:pt>
                <c:pt idx="21">
                  <c:v>0.006289308176100629</c:v>
                </c:pt>
                <c:pt idx="22">
                  <c:v>0.004761904761904762</c:v>
                </c:pt>
                <c:pt idx="23">
                  <c:v>0.025547445255474453</c:v>
                </c:pt>
                <c:pt idx="24">
                  <c:v>0.03206997084548105</c:v>
                </c:pt>
                <c:pt idx="25">
                  <c:v>0.05190311418685121</c:v>
                </c:pt>
                <c:pt idx="26">
                  <c:v>0.1553398058252427</c:v>
                </c:pt>
              </c:numCache>
            </c:numRef>
          </c:yVal>
          <c:smooth val="0"/>
          <c:extLst>
            <c:ext xmlns:c16="http://schemas.microsoft.com/office/drawing/2014/chart" uri="{C3380CC4-5D6E-409C-BE32-E72D297353CC}">
              <c16:uniqueId val="{00000002-096C-4121-9522-6AB7243CCAAE}"/>
            </c:ext>
          </c:extLst>
        </c:ser>
        <c:ser>
          <c:idx val="2"/>
          <c:order val="2"/>
          <c:tx>
            <c:strRef>
              <c:f>Sheet1!$B$10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6:$A$107</c:f>
              <c:numCache>
                <c:formatCode>General</c:formatCode>
                <c:ptCount val="2"/>
                <c:pt idx="0">
                  <c:v>0</c:v>
                </c:pt>
                <c:pt idx="1">
                  <c:v>-7.9142918844589785</c:v>
                </c:pt>
              </c:numCache>
            </c:numRef>
          </c:xVal>
          <c:yVal>
            <c:numRef>
              <c:f>Sheet1!$B$106:$B$107</c:f>
              <c:numCache>
                <c:formatCode>General</c:formatCode>
                <c:ptCount val="2"/>
                <c:pt idx="0">
                  <c:v>0.5168278061075278</c:v>
                </c:pt>
                <c:pt idx="1">
                  <c:v>0.5168278061075278</c:v>
                </c:pt>
              </c:numCache>
            </c:numRef>
          </c:yVal>
          <c:smooth val="0"/>
          <c:extLst>
            <c:ext xmlns:c16="http://schemas.microsoft.com/office/drawing/2014/chart" uri="{C3380CC4-5D6E-409C-BE32-E72D297353CC}">
              <c16:uniqueId val="{00000005-096C-4121-9522-6AB7243CCAAE}"/>
            </c:ext>
          </c:extLst>
        </c:ser>
        <c:ser>
          <c:idx val="3"/>
          <c:order val="3"/>
          <c:tx>
            <c:strRef>
              <c:f>Sheet1!$B$10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0:$A$111</c:f>
              <c:numCache>
                <c:formatCode>General</c:formatCode>
                <c:ptCount val="2"/>
                <c:pt idx="0">
                  <c:v>-7.9142918844589785</c:v>
                </c:pt>
                <c:pt idx="1">
                  <c:v>-7.9142918844589785</c:v>
                </c:pt>
              </c:numCache>
            </c:numRef>
          </c:xVal>
          <c:yVal>
            <c:numRef>
              <c:f>Sheet1!$B$110:$B$111</c:f>
              <c:numCache>
                <c:formatCode>General</c:formatCode>
                <c:ptCount val="2"/>
                <c:pt idx="0">
                  <c:v>0.516827806107527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4:$A$115</c:f>
              <c:numCache>
                <c:formatCode>General</c:formatCode>
                <c:ptCount val="2"/>
                <c:pt idx="0">
                  <c:v>0</c:v>
                </c:pt>
                <c:pt idx="1">
                  <c:v>-0.796959903593152</c:v>
                </c:pt>
              </c:numCache>
            </c:numRef>
          </c:xVal>
          <c:yVal>
            <c:numRef>
              <c:f>Sheet1!$B$114:$B$115</c:f>
              <c:numCache>
                <c:formatCode>General</c:formatCode>
                <c:ptCount val="2"/>
                <c:pt idx="0">
                  <c:v>0.23499546430053864</c:v>
                </c:pt>
                <c:pt idx="1">
                  <c:v>0.23499546430053864</c:v>
                </c:pt>
              </c:numCache>
            </c:numRef>
          </c:yVal>
          <c:smooth val="0"/>
          <c:extLst>
            <c:ext xmlns:c16="http://schemas.microsoft.com/office/drawing/2014/chart" uri="{C3380CC4-5D6E-409C-BE32-E72D297353CC}">
              <c16:uniqueId val="{0000000D-096C-4121-9522-6AB7243CCAAE}"/>
            </c:ext>
          </c:extLst>
        </c:ser>
        <c:ser>
          <c:idx val="5"/>
          <c:order val="5"/>
          <c:tx>
            <c:strRef>
              <c:f>Sheet1!$B$11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8:$A$119</c:f>
              <c:numCache>
                <c:formatCode>General</c:formatCode>
                <c:ptCount val="2"/>
                <c:pt idx="0">
                  <c:v>-0.796959903593152</c:v>
                </c:pt>
                <c:pt idx="1">
                  <c:v>-0.796959903593152</c:v>
                </c:pt>
              </c:numCache>
            </c:numRef>
          </c:xVal>
          <c:yVal>
            <c:numRef>
              <c:f>Sheet1!$B$118:$B$119</c:f>
              <c:numCache>
                <c:formatCode>General</c:formatCode>
                <c:ptCount val="2"/>
                <c:pt idx="0">
                  <c:v>0.234995464300538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2:$A$123</c:f>
              <c:numCache>
                <c:formatCode>General</c:formatCode>
                <c:ptCount val="2"/>
                <c:pt idx="0">
                  <c:v>0</c:v>
                </c:pt>
                <c:pt idx="1">
                  <c:v>3.976262275738454</c:v>
                </c:pt>
              </c:numCache>
            </c:numRef>
          </c:xVal>
          <c:yVal>
            <c:numRef>
              <c:f>Sheet1!$B$122:$B$123</c:f>
              <c:numCache>
                <c:formatCode>General</c:formatCode>
                <c:ptCount val="2"/>
                <c:pt idx="0">
                  <c:v>0.0459852581751758</c:v>
                </c:pt>
                <c:pt idx="1">
                  <c:v>0.0459852581751758</c:v>
                </c:pt>
              </c:numCache>
            </c:numRef>
          </c:yVal>
          <c:smooth val="0"/>
          <c:extLst>
            <c:ext xmlns:c16="http://schemas.microsoft.com/office/drawing/2014/chart" uri="{C3380CC4-5D6E-409C-BE32-E72D297353CC}">
              <c16:uniqueId val="{00000015-096C-4121-9522-6AB7243CCAAE}"/>
            </c:ext>
          </c:extLst>
        </c:ser>
        <c:ser>
          <c:idx val="7"/>
          <c:order val="7"/>
          <c:tx>
            <c:strRef>
              <c:f>Sheet1!$B$12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3.976262275738454</c:v>
                </c:pt>
                <c:pt idx="1">
                  <c:v>3.976262275738454</c:v>
                </c:pt>
              </c:numCache>
            </c:numRef>
          </c:xVal>
          <c:yVal>
            <c:numRef>
              <c:f>Sheet1!$B$126:$B$127</c:f>
              <c:numCache>
                <c:formatCode>General</c:formatCode>
                <c:ptCount val="2"/>
                <c:pt idx="0">
                  <c:v>0.045985258175175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0:$A$159</c:f>
              <c:numCache>
                <c:formatCode>General</c:formatCode>
                <c:ptCount val="30"/>
                <c:pt idx="0">
                  <c:v>0.8882680521339308</c:v>
                </c:pt>
                <c:pt idx="1">
                  <c:v>1.049762139583454</c:v>
                </c:pt>
                <c:pt idx="2">
                  <c:v>1.8126852259607944</c:v>
                </c:pt>
                <c:pt idx="3">
                  <c:v>4.592683103697681</c:v>
                </c:pt>
                <c:pt idx="4">
                  <c:v>1.0222427278923785</c:v>
                </c:pt>
                <c:pt idx="5">
                  <c:v>0.982916749928096</c:v>
                </c:pt>
                <c:pt idx="6">
                  <c:v>5.277242513718351</c:v>
                </c:pt>
                <c:pt idx="7">
                  <c:v>0.7578124513184428</c:v>
                </c:pt>
                <c:pt idx="8">
                  <c:v>1.073034083813599</c:v>
                </c:pt>
                <c:pt idx="9">
                  <c:v>1.0315731208230259</c:v>
                </c:pt>
                <c:pt idx="10">
                  <c:v>0.6031062990592072</c:v>
                </c:pt>
                <c:pt idx="11">
                  <c:v>0.7495336360832678</c:v>
                </c:pt>
                <c:pt idx="12">
                  <c:v>0.6437798359157262</c:v>
                </c:pt>
                <c:pt idx="13">
                  <c:v>0.5351835510666545</c:v>
                </c:pt>
                <c:pt idx="14">
                  <c:v>0.8732136671758722</c:v>
                </c:pt>
                <c:pt idx="15">
                  <c:v>1.4129874632403996</c:v>
                </c:pt>
                <c:pt idx="16">
                  <c:v>1.3880456038979554</c:v>
                </c:pt>
                <c:pt idx="17">
                  <c:v>1.730780605333787</c:v>
                </c:pt>
                <c:pt idx="18">
                  <c:v>0.9253264879072199</c:v>
                </c:pt>
                <c:pt idx="19">
                  <c:v>7.158571429207505</c:v>
                </c:pt>
                <c:pt idx="20">
                  <c:v>1.447741691303258</c:v>
                </c:pt>
                <c:pt idx="21">
                  <c:v>1.697802803547962</c:v>
                </c:pt>
                <c:pt idx="22">
                  <c:v>3.0609131935020297</c:v>
                </c:pt>
                <c:pt idx="23">
                  <c:v>1.8544881238624065</c:v>
                </c:pt>
                <c:pt idx="24">
                  <c:v>3.407911163658933</c:v>
                </c:pt>
                <c:pt idx="25">
                  <c:v>0.5983778797870735</c:v>
                </c:pt>
                <c:pt idx="26">
                  <c:v>0.8665683916543672</c:v>
                </c:pt>
                <c:pt idx="27">
                  <c:v>-0.796959903593152</c:v>
                </c:pt>
                <c:pt idx="28">
                  <c:v>-7.9142918844589785</c:v>
                </c:pt>
                <c:pt idx="29">
                  <c:v>3.976262275738454</c:v>
                </c:pt>
              </c:numCache>
            </c:numRef>
          </c:xVal>
          <c:yVal>
            <c:numRef>
              <c:f>Sheet1!$B$130:$B$159</c:f>
              <c:numCache>
                <c:formatCode>General</c:formatCode>
                <c:ptCount val="30"/>
                <c:pt idx="0">
                  <c:v>0.1682637532439201</c:v>
                </c:pt>
                <c:pt idx="1">
                  <c:v>0.1618689051496845</c:v>
                </c:pt>
                <c:pt idx="2">
                  <c:v>0.1316586521180162</c:v>
                </c:pt>
                <c:pt idx="3">
                  <c:v>0.021576206307228785</c:v>
                </c:pt>
                <c:pt idx="4">
                  <c:v>0.16295861970324155</c:v>
                </c:pt>
                <c:pt idx="5">
                  <c:v>0.16451585104966746</c:v>
                </c:pt>
                <c:pt idx="6">
                  <c:v>-0.005530999335392667</c:v>
                </c:pt>
                <c:pt idx="7">
                  <c:v>0.17342953834127256</c:v>
                </c:pt>
                <c:pt idx="8">
                  <c:v>0.16094738194992145</c:v>
                </c:pt>
                <c:pt idx="9">
                  <c:v>0.16258915450242006</c:v>
                </c:pt>
                <c:pt idx="10">
                  <c:v>0.1795555975584604</c:v>
                </c:pt>
                <c:pt idx="11">
                  <c:v>0.17375736313452225</c:v>
                </c:pt>
                <c:pt idx="12">
                  <c:v>0.1779450055314673</c:v>
                </c:pt>
                <c:pt idx="13">
                  <c:v>0.18224520472869926</c:v>
                </c:pt>
                <c:pt idx="14">
                  <c:v>0.1688598772660396</c:v>
                </c:pt>
                <c:pt idx="15">
                  <c:v>0.14748589704425322</c:v>
                </c:pt>
                <c:pt idx="16">
                  <c:v>0.14847354559660392</c:v>
                </c:pt>
                <c:pt idx="17">
                  <c:v>0.13490191393272144</c:v>
                </c:pt>
                <c:pt idx="18">
                  <c:v>0.166796312106459</c:v>
                </c:pt>
                <c:pt idx="19">
                  <c:v>-0.08002792253455615</c:v>
                </c:pt>
                <c:pt idx="20">
                  <c:v>0.14610969799818063</c:v>
                </c:pt>
                <c:pt idx="21">
                  <c:v>0.13620776999366285</c:v>
                </c:pt>
                <c:pt idx="22">
                  <c:v>0.08223128071720523</c:v>
                </c:pt>
                <c:pt idx="23">
                  <c:v>0.13000333961585908</c:v>
                </c:pt>
                <c:pt idx="24">
                  <c:v>0.06849084388012869</c:v>
                </c:pt>
                <c:pt idx="25">
                  <c:v>0.17974283365761853</c:v>
                </c:pt>
                <c:pt idx="26">
                  <c:v>0.1691230171009122</c:v>
                </c:pt>
                <c:pt idx="27">
                  <c:v>0.23499546430053864</c:v>
                </c:pt>
                <c:pt idx="28">
                  <c:v>0.5168278061075278</c:v>
                </c:pt>
                <c:pt idx="29">
                  <c:v>0.0459852581751757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33082706766917"/>
          <c:min val="0.000888888888888888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4</c:f>
              <c:numCache>
                <c:formatCode>General</c:formatCode>
                <c:ptCount val="73"/>
                <c:pt idx="0">
                  <c:v>889.3714</c:v>
                </c:pt>
                <c:pt idx="1">
                  <c:v>1031.2512</c:v>
                </c:pt>
                <c:pt idx="2">
                  <c:v>1029.7347</c:v>
                </c:pt>
                <c:pt idx="3">
                  <c:v>887.9286</c:v>
                </c:pt>
                <c:pt idx="4">
                  <c:v>979.4615</c:v>
                </c:pt>
                <c:pt idx="5">
                  <c:v>1368.9667</c:v>
                </c:pt>
                <c:pt idx="6">
                  <c:v>1047.1107</c:v>
                </c:pt>
                <c:pt idx="7">
                  <c:v>1931.6701</c:v>
                </c:pt>
                <c:pt idx="8">
                  <c:v>1323.9199</c:v>
                </c:pt>
                <c:pt idx="9">
                  <c:v>1071.4751</c:v>
                </c:pt>
                <c:pt idx="10">
                  <c:v>832.875</c:v>
                </c:pt>
                <c:pt idx="11">
                  <c:v>1764.0059</c:v>
                </c:pt>
                <c:pt idx="12">
                  <c:v>994.06</c:v>
                </c:pt>
                <c:pt idx="13">
                  <c:v>1396.1974</c:v>
                </c:pt>
                <c:pt idx="14">
                  <c:v>1327.3125</c:v>
                </c:pt>
                <c:pt idx="15">
                  <c:v>850.4125</c:v>
                </c:pt>
                <c:pt idx="16">
                  <c:v>1204.9423</c:v>
                </c:pt>
                <c:pt idx="17">
                  <c:v>1184.7143</c:v>
                </c:pt>
                <c:pt idx="18">
                  <c:v>1767.8276</c:v>
                </c:pt>
                <c:pt idx="19">
                  <c:v>1173.697</c:v>
                </c:pt>
                <c:pt idx="20">
                  <c:v>1768.9538</c:v>
                </c:pt>
                <c:pt idx="21">
                  <c:v>821.5581</c:v>
                </c:pt>
                <c:pt idx="22">
                  <c:v>1782.5855</c:v>
                </c:pt>
                <c:pt idx="23">
                  <c:v>1126.4373</c:v>
                </c:pt>
                <c:pt idx="24">
                  <c:v>1028.9752</c:v>
                </c:pt>
                <c:pt idx="25">
                  <c:v>764.3238</c:v>
                </c:pt>
                <c:pt idx="26">
                  <c:v>634.3583</c:v>
                </c:pt>
                <c:pt idx="27">
                  <c:v>940.119</c:v>
                </c:pt>
                <c:pt idx="28">
                  <c:v>558.3315</c:v>
                </c:pt>
                <c:pt idx="29">
                  <c:v>1007.3968</c:v>
                </c:pt>
                <c:pt idx="30">
                  <c:v>492.7965</c:v>
                </c:pt>
                <c:pt idx="31">
                  <c:v>1871.432</c:v>
                </c:pt>
                <c:pt idx="32">
                  <c:v>791.4635</c:v>
                </c:pt>
                <c:pt idx="33">
                  <c:v>1201.3023</c:v>
                </c:pt>
                <c:pt idx="34">
                  <c:v>504.3491</c:v>
                </c:pt>
                <c:pt idx="35">
                  <c:v>986.6763</c:v>
                </c:pt>
                <c:pt idx="36">
                  <c:v>1145.3012</c:v>
                </c:pt>
                <c:pt idx="37">
                  <c:v>786.7193</c:v>
                </c:pt>
                <c:pt idx="38">
                  <c:v>514.5122</c:v>
                </c:pt>
                <c:pt idx="39">
                  <c:v>531.871</c:v>
                </c:pt>
                <c:pt idx="40">
                  <c:v>1616.7265</c:v>
                </c:pt>
                <c:pt idx="41">
                  <c:v>613.6877</c:v>
                </c:pt>
                <c:pt idx="42">
                  <c:v>1147.415</c:v>
                </c:pt>
                <c:pt idx="43">
                  <c:v>545.0351</c:v>
                </c:pt>
                <c:pt idx="44">
                  <c:v>960.1974</c:v>
                </c:pt>
                <c:pt idx="45">
                  <c:v>565.5</c:v>
                </c:pt>
                <c:pt idx="46">
                  <c:v>518.6111</c:v>
                </c:pt>
                <c:pt idx="47">
                  <c:v>497.134</c:v>
                </c:pt>
                <c:pt idx="48">
                  <c:v>1929.1739</c:v>
                </c:pt>
                <c:pt idx="49">
                  <c:v>1167.8283</c:v>
                </c:pt>
                <c:pt idx="50">
                  <c:v>1918.1947</c:v>
                </c:pt>
                <c:pt idx="51">
                  <c:v>787.7959</c:v>
                </c:pt>
                <c:pt idx="52">
                  <c:v>850.2688</c:v>
                </c:pt>
                <c:pt idx="53">
                  <c:v>1630.1809</c:v>
                </c:pt>
                <c:pt idx="54">
                  <c:v>823.5212</c:v>
                </c:pt>
                <c:pt idx="55">
                  <c:v>916.5197</c:v>
                </c:pt>
                <c:pt idx="56">
                  <c:v>500.1158</c:v>
                </c:pt>
                <c:pt idx="57">
                  <c:v>1219.3356</c:v>
                </c:pt>
                <c:pt idx="58">
                  <c:v>1167.7466</c:v>
                </c:pt>
                <c:pt idx="59">
                  <c:v>1162.7664</c:v>
                </c:pt>
                <c:pt idx="60">
                  <c:v>1095.5</c:v>
                </c:pt>
                <c:pt idx="61">
                  <c:v>1166.1901</c:v>
                </c:pt>
                <c:pt idx="62">
                  <c:v>1692.3333</c:v>
                </c:pt>
                <c:pt idx="63">
                  <c:v>1121.1293</c:v>
                </c:pt>
                <c:pt idx="64">
                  <c:v>738.4545</c:v>
                </c:pt>
                <c:pt idx="65">
                  <c:v>1061.0833</c:v>
                </c:pt>
                <c:pt idx="66">
                  <c:v>2225.5556</c:v>
                </c:pt>
                <c:pt idx="67">
                  <c:v>923.6452</c:v>
                </c:pt>
                <c:pt idx="68">
                  <c:v>1018.5103</c:v>
                </c:pt>
                <c:pt idx="69">
                  <c:v>504.7778</c:v>
                </c:pt>
                <c:pt idx="70">
                  <c:v>3820.3333</c:v>
                </c:pt>
                <c:pt idx="71">
                  <c:v>1922.1304</c:v>
                </c:pt>
                <c:pt idx="72">
                  <c:v>1730.0</c:v>
                </c:pt>
              </c:numCache>
            </c:numRef>
          </c:xVal>
          <c:yVal>
            <c:numRef>
              <c:f>Sheet1!$B$2:$B$74</c:f>
              <c:numCache>
                <c:formatCode>General</c:formatCode>
                <c:ptCount val="73"/>
                <c:pt idx="0">
                  <c:v>0.2413793103448276</c:v>
                </c:pt>
                <c:pt idx="1">
                  <c:v>0.1430472388556221</c:v>
                </c:pt>
                <c:pt idx="2">
                  <c:v>0.16554054054054054</c:v>
                </c:pt>
                <c:pt idx="3">
                  <c:v>0.13806706114398423</c:v>
                </c:pt>
                <c:pt idx="4">
                  <c:v>0.18840579710144928</c:v>
                </c:pt>
                <c:pt idx="5">
                  <c:v>0.21818181818181817</c:v>
                </c:pt>
                <c:pt idx="6">
                  <c:v>0.7694235588972431</c:v>
                </c:pt>
                <c:pt idx="7">
                  <c:v>0.6501650165016502</c:v>
                </c:pt>
                <c:pt idx="8">
                  <c:v>0.649325626204239</c:v>
                </c:pt>
                <c:pt idx="9">
                  <c:v>0.2970430107526882</c:v>
                </c:pt>
                <c:pt idx="10">
                  <c:v>0.11940298507462686</c:v>
                </c:pt>
                <c:pt idx="11">
                  <c:v>0.5182926829268293</c:v>
                </c:pt>
                <c:pt idx="12">
                  <c:v>0.2066115702479339</c:v>
                </c:pt>
                <c:pt idx="13">
                  <c:v>0.2389937106918239</c:v>
                </c:pt>
                <c:pt idx="14">
                  <c:v>0.16</c:v>
                </c:pt>
                <c:pt idx="15">
                  <c:v>0.38926174496644295</c:v>
                </c:pt>
                <c:pt idx="16">
                  <c:v>0.5154894671623296</c:v>
                </c:pt>
                <c:pt idx="17">
                  <c:v>0.016129032258064516</c:v>
                </c:pt>
                <c:pt idx="18">
                  <c:v>0.06712962962962964</c:v>
                </c:pt>
                <c:pt idx="19">
                  <c:v>0.18609022556390978</c:v>
                </c:pt>
                <c:pt idx="20">
                  <c:v>0.3559670781893004</c:v>
                </c:pt>
                <c:pt idx="21">
                  <c:v>0.09129511677282377</c:v>
                </c:pt>
                <c:pt idx="22">
                  <c:v>0.3784313725490196</c:v>
                </c:pt>
                <c:pt idx="23">
                  <c:v>0.1527293844367015</c:v>
                </c:pt>
                <c:pt idx="24">
                  <c:v>0.38224852071005916</c:v>
                </c:pt>
                <c:pt idx="25">
                  <c:v>0.23139653414882771</c:v>
                </c:pt>
                <c:pt idx="26">
                  <c:v>0.24287974683544303</c:v>
                </c:pt>
                <c:pt idx="27">
                  <c:v>0.28248222365869424</c:v>
                </c:pt>
                <c:pt idx="28">
                  <c:v>0.35880077369439073</c:v>
                </c:pt>
                <c:pt idx="29">
                  <c:v>0.10413223140495868</c:v>
                </c:pt>
                <c:pt idx="30">
                  <c:v>0.089540412044374</c:v>
                </c:pt>
                <c:pt idx="31">
                  <c:v>0.12537612838515547</c:v>
                </c:pt>
                <c:pt idx="32">
                  <c:v>0.423956931359354</c:v>
                </c:pt>
                <c:pt idx="33">
                  <c:v>0.24022346368715083</c:v>
                </c:pt>
                <c:pt idx="34">
                  <c:v>0.343042071197411</c:v>
                </c:pt>
                <c:pt idx="35">
                  <c:v>0.2799597180261833</c:v>
                </c:pt>
                <c:pt idx="36">
                  <c:v>0.22133333333333333</c:v>
                </c:pt>
                <c:pt idx="37">
                  <c:v>0.2780487804878049</c:v>
                </c:pt>
                <c:pt idx="38">
                  <c:v>0.4039408866995074</c:v>
                </c:pt>
                <c:pt idx="39">
                  <c:v>0.2831050228310502</c:v>
                </c:pt>
                <c:pt idx="40">
                  <c:v>0.2846715328467153</c:v>
                </c:pt>
                <c:pt idx="41">
                  <c:v>0.46568627450980393</c:v>
                </c:pt>
                <c:pt idx="42">
                  <c:v>0.4157608695652174</c:v>
                </c:pt>
                <c:pt idx="43">
                  <c:v>0.27305389221556886</c:v>
                </c:pt>
                <c:pt idx="44">
                  <c:v>0.37530864197530867</c:v>
                </c:pt>
                <c:pt idx="45">
                  <c:v>0.022304832713754646</c:v>
                </c:pt>
                <c:pt idx="46">
                  <c:v>0.030560271646859084</c:v>
                </c:pt>
                <c:pt idx="47">
                  <c:v>0.13976945244956773</c:v>
                </c:pt>
                <c:pt idx="48">
                  <c:v>0.17087667161961367</c:v>
                </c:pt>
                <c:pt idx="49">
                  <c:v>0.2858517805582291</c:v>
                </c:pt>
                <c:pt idx="50">
                  <c:v>0.24726477024070023</c:v>
                </c:pt>
                <c:pt idx="51">
                  <c:v>0.32666666666666666</c:v>
                </c:pt>
                <c:pt idx="52">
                  <c:v>0.22682926829268293</c:v>
                </c:pt>
                <c:pt idx="53">
                  <c:v>0.10755148741418764</c:v>
                </c:pt>
                <c:pt idx="54">
                  <c:v>0.30930537352555704</c:v>
                </c:pt>
                <c:pt idx="55">
                  <c:v>0.5105708245243129</c:v>
                </c:pt>
                <c:pt idx="56">
                  <c:v>0.14053254437869822</c:v>
                </c:pt>
                <c:pt idx="57">
                  <c:v>0.2050561797752809</c:v>
                </c:pt>
                <c:pt idx="58">
                  <c:v>0.24172185430463577</c:v>
                </c:pt>
                <c:pt idx="59">
                  <c:v>0.45364238410596025</c:v>
                </c:pt>
                <c:pt idx="60">
                  <c:v>0.05714285714285714</c:v>
                </c:pt>
                <c:pt idx="61">
                  <c:v>0.34549878345498786</c:v>
                </c:pt>
                <c:pt idx="62">
                  <c:v>0.00906344410876133</c:v>
                </c:pt>
                <c:pt idx="63">
                  <c:v>0.14215686274509803</c:v>
                </c:pt>
                <c:pt idx="64">
                  <c:v>0.030942334739803096</c:v>
                </c:pt>
                <c:pt idx="65">
                  <c:v>0.02027027027027027</c:v>
                </c:pt>
                <c:pt idx="66">
                  <c:v>0.013452914798206279</c:v>
                </c:pt>
                <c:pt idx="67">
                  <c:v>0.125</c:v>
                </c:pt>
                <c:pt idx="68">
                  <c:v>0.11001517450682853</c:v>
                </c:pt>
                <c:pt idx="69">
                  <c:v>0.045454545454545456</c:v>
                </c:pt>
                <c:pt idx="70">
                  <c:v>0.003278688524590164</c:v>
                </c:pt>
                <c:pt idx="71">
                  <c:v>0.049783549783549784</c:v>
                </c:pt>
                <c:pt idx="72">
                  <c:v>0.005063291139240506</c:v>
                </c:pt>
              </c:numCache>
            </c:numRef>
          </c:yVal>
          <c:smooth val="0"/>
          <c:extLst>
            <c:ext xmlns:c16="http://schemas.microsoft.com/office/drawing/2014/chart" uri="{C3380CC4-5D6E-409C-BE32-E72D297353CC}">
              <c16:uniqueId val="{00000000-F32D-48B7-BC20-E66FC6253BAD}"/>
            </c:ext>
          </c:extLst>
        </c:ser>
        <c:ser>
          <c:idx val="1"/>
          <c:order val="1"/>
          <c:tx>
            <c:strRef>
              <c:f>Sheet1!$B$7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7:$A$103</c:f>
              <c:numCache>
                <c:formatCode>General</c:formatCode>
                <c:ptCount val="27"/>
                <c:pt idx="0">
                  <c:v>1165.7669</c:v>
                </c:pt>
                <c:pt idx="1">
                  <c:v>1143.5882</c:v>
                </c:pt>
                <c:pt idx="2">
                  <c:v>2284.5</c:v>
                </c:pt>
                <c:pt idx="3">
                  <c:v>5111.0</c:v>
                </c:pt>
                <c:pt idx="4">
                  <c:v>1100.5042</c:v>
                </c:pt>
                <c:pt idx="5">
                  <c:v>960.6471</c:v>
                </c:pt>
                <c:pt idx="6">
                  <c:v>4469.75</c:v>
                </c:pt>
                <c:pt idx="7">
                  <c:v>1082.3739</c:v>
                </c:pt>
                <c:pt idx="8">
                  <c:v>1037.4556</c:v>
                </c:pt>
                <c:pt idx="9">
                  <c:v>1203.175</c:v>
                </c:pt>
                <c:pt idx="10">
                  <c:v>1018.5574</c:v>
                </c:pt>
                <c:pt idx="11">
                  <c:v>1017.831</c:v>
                </c:pt>
                <c:pt idx="12">
                  <c:v>643.1667</c:v>
                </c:pt>
                <c:pt idx="13">
                  <c:v>708.5652</c:v>
                </c:pt>
                <c:pt idx="14">
                  <c:v>1224.1778</c:v>
                </c:pt>
                <c:pt idx="15">
                  <c:v>1495.7419</c:v>
                </c:pt>
                <c:pt idx="16">
                  <c:v>1634.1379</c:v>
                </c:pt>
                <c:pt idx="17">
                  <c:v>2379.0</c:v>
                </c:pt>
                <c:pt idx="18">
                  <c:v>1219.2372</c:v>
                </c:pt>
                <c:pt idx="19">
                  <c:v>3215.5</c:v>
                </c:pt>
                <c:pt idx="20">
                  <c:v>1608.8571</c:v>
                </c:pt>
                <c:pt idx="21">
                  <c:v>1828.0</c:v>
                </c:pt>
                <c:pt idx="22">
                  <c:v>3695.6667</c:v>
                </c:pt>
                <c:pt idx="23">
                  <c:v>1543.7857</c:v>
                </c:pt>
                <c:pt idx="24">
                  <c:v>3721.7273</c:v>
                </c:pt>
                <c:pt idx="25">
                  <c:v>694.1333</c:v>
                </c:pt>
                <c:pt idx="26">
                  <c:v>1046.025</c:v>
                </c:pt>
              </c:numCache>
            </c:numRef>
          </c:xVal>
          <c:yVal>
            <c:numRef>
              <c:f>Sheet1!$B$77:$B$103</c:f>
              <c:numCache>
                <c:formatCode>General</c:formatCode>
                <c:ptCount val="27"/>
                <c:pt idx="0">
                  <c:v>0.1543560606060606</c:v>
                </c:pt>
                <c:pt idx="1">
                  <c:v>0.02135678391959799</c:v>
                </c:pt>
                <c:pt idx="2">
                  <c:v>0.013710368466152529</c:v>
                </c:pt>
                <c:pt idx="3">
                  <c:v>0.0011111111111111111</c:v>
                </c:pt>
                <c:pt idx="4">
                  <c:v>0.25813449023861174</c:v>
                </c:pt>
                <c:pt idx="5">
                  <c:v>0.18888888888888888</c:v>
                </c:pt>
                <c:pt idx="6">
                  <c:v>0.029850746268656716</c:v>
                </c:pt>
                <c:pt idx="7">
                  <c:v>0.28117359413202936</c:v>
                </c:pt>
                <c:pt idx="8">
                  <c:v>0.582312925170068</c:v>
                </c:pt>
                <c:pt idx="9">
                  <c:v>0.13179571663920922</c:v>
                </c:pt>
                <c:pt idx="10">
                  <c:v>0.2982885085574572</c:v>
                </c:pt>
                <c:pt idx="11">
                  <c:v>0.544766708701135</c:v>
                </c:pt>
                <c:pt idx="12">
                  <c:v>0.00949367088607595</c:v>
                </c:pt>
                <c:pt idx="13">
                  <c:v>0.04572564612326044</c:v>
                </c:pt>
                <c:pt idx="14">
                  <c:v>0.10948905109489052</c:v>
                </c:pt>
                <c:pt idx="15">
                  <c:v>0.11191335740072202</c:v>
                </c:pt>
                <c:pt idx="16">
                  <c:v>0.2049469964664311</c:v>
                </c:pt>
                <c:pt idx="17">
                  <c:v>0.006430868167202572</c:v>
                </c:pt>
                <c:pt idx="18">
                  <c:v>0.2948960302457467</c:v>
                </c:pt>
                <c:pt idx="19">
                  <c:v>0.008368200836820083</c:v>
                </c:pt>
                <c:pt idx="20">
                  <c:v>0.0412573673870334</c:v>
                </c:pt>
                <c:pt idx="21">
                  <c:v>0.006289308176100629</c:v>
                </c:pt>
                <c:pt idx="22">
                  <c:v>0.004761904761904762</c:v>
                </c:pt>
                <c:pt idx="23">
                  <c:v>0.025547445255474453</c:v>
                </c:pt>
                <c:pt idx="24">
                  <c:v>0.03206997084548105</c:v>
                </c:pt>
                <c:pt idx="25">
                  <c:v>0.05190311418685121</c:v>
                </c:pt>
                <c:pt idx="26">
                  <c:v>0.1553398058252427</c:v>
                </c:pt>
              </c:numCache>
            </c:numRef>
          </c:yVal>
          <c:smooth val="0"/>
          <c:extLst>
            <c:ext xmlns:c16="http://schemas.microsoft.com/office/drawing/2014/chart" uri="{C3380CC4-5D6E-409C-BE32-E72D297353CC}">
              <c16:uniqueId val="{00000002-F32D-48B7-BC20-E66FC6253BAD}"/>
            </c:ext>
          </c:extLst>
        </c:ser>
        <c:ser>
          <c:idx val="2"/>
          <c:order val="2"/>
          <c:tx>
            <c:strRef>
              <c:f>Sheet1!$B$105</c:f>
              <c:strCache>
                <c:ptCount val="1"/>
                <c:pt idx="0">
                  <c:v>Custom Linep3yQ</c:v>
                </c:pt>
              </c:strCache>
            </c:strRef>
          </c:tx>
          <c:spPr>
            <a:ln w="19050" cap="rnd">
              <a:solidFill>
                <a:srgbClr val="C00000"/>
              </a:solidFill>
              <a:prstDash val="sysDot"/>
              <a:round/>
            </a:ln>
            <a:effectLst/>
          </c:spPr>
          <c:marker>
            <c:symbol val="none"/>
          </c:marker>
          <c:xVal>
            <c:numRef>
              <c:f>Sheet1!$A$106:$A$107</c:f>
              <c:numCache>
                <c:formatCode>General</c:formatCode>
                <c:ptCount val="2"/>
                <c:pt idx="0">
                  <c:v>0</c:v>
                </c:pt>
                <c:pt idx="1">
                  <c:v>-4913.1823309692645</c:v>
                </c:pt>
              </c:numCache>
            </c:numRef>
          </c:xVal>
          <c:yVal>
            <c:numRef>
              <c:f>Sheet1!$B$106:$B$107</c:f>
              <c:numCache>
                <c:formatCode>General</c:formatCode>
                <c:ptCount val="2"/>
                <c:pt idx="0">
                  <c:v>0.5168278061075278</c:v>
                </c:pt>
                <c:pt idx="1">
                  <c:v>0.5168278061075278</c:v>
                </c:pt>
              </c:numCache>
            </c:numRef>
          </c:yVal>
          <c:smooth val="0"/>
          <c:extLst>
            <c:ext xmlns:c16="http://schemas.microsoft.com/office/drawing/2014/chart" uri="{C3380CC4-5D6E-409C-BE32-E72D297353CC}">
              <c16:uniqueId val="{00000003-F32D-48B7-BC20-E66FC6253BAD}"/>
            </c:ext>
          </c:extLst>
        </c:ser>
        <c:ser>
          <c:idx val="3"/>
          <c:order val="3"/>
          <c:tx>
            <c:strRef>
              <c:f>Sheet1!$B$10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0:$A$111</c:f>
              <c:numCache>
                <c:formatCode>General</c:formatCode>
                <c:ptCount val="2"/>
                <c:pt idx="0">
                  <c:v>-4913.1823309692645</c:v>
                </c:pt>
                <c:pt idx="1">
                  <c:v>-4913.1823309692645</c:v>
                </c:pt>
              </c:numCache>
            </c:numRef>
          </c:xVal>
          <c:yVal>
            <c:numRef>
              <c:f>Sheet1!$B$110:$B$111</c:f>
              <c:numCache>
                <c:formatCode>General</c:formatCode>
                <c:ptCount val="2"/>
                <c:pt idx="0">
                  <c:v>0.516827806107527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4:$A$115</c:f>
              <c:numCache>
                <c:formatCode>General</c:formatCode>
                <c:ptCount val="2"/>
                <c:pt idx="0">
                  <c:v>0</c:v>
                </c:pt>
                <c:pt idx="1">
                  <c:v>17.678438327210966</c:v>
                </c:pt>
              </c:numCache>
            </c:numRef>
          </c:xVal>
          <c:yVal>
            <c:numRef>
              <c:f>Sheet1!$B$114:$B$115</c:f>
              <c:numCache>
                <c:formatCode>General</c:formatCode>
                <c:ptCount val="2"/>
                <c:pt idx="0">
                  <c:v>0.23499546430053864</c:v>
                </c:pt>
                <c:pt idx="1">
                  <c:v>0.23499546430053864</c:v>
                </c:pt>
              </c:numCache>
            </c:numRef>
          </c:yVal>
          <c:smooth val="0"/>
          <c:extLst>
            <c:ext xmlns:c16="http://schemas.microsoft.com/office/drawing/2014/chart" uri="{C3380CC4-5D6E-409C-BE32-E72D297353CC}">
              <c16:uniqueId val="{0000000A-F32D-48B7-BC20-E66FC6253BAD}"/>
            </c:ext>
          </c:extLst>
        </c:ser>
        <c:ser>
          <c:idx val="5"/>
          <c:order val="5"/>
          <c:tx>
            <c:strRef>
              <c:f>Sheet1!$B$11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8:$A$119</c:f>
              <c:numCache>
                <c:formatCode>General</c:formatCode>
                <c:ptCount val="2"/>
                <c:pt idx="0">
                  <c:v>17.678438327210966</c:v>
                </c:pt>
                <c:pt idx="1">
                  <c:v>17.678438327210966</c:v>
                </c:pt>
              </c:numCache>
            </c:numRef>
          </c:xVal>
          <c:yVal>
            <c:numRef>
              <c:f>Sheet1!$B$118:$B$119</c:f>
              <c:numCache>
                <c:formatCode>General</c:formatCode>
                <c:ptCount val="2"/>
                <c:pt idx="0">
                  <c:v>0.234995464300538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2:$A$123</c:f>
              <c:numCache>
                <c:formatCode>General</c:formatCode>
                <c:ptCount val="2"/>
                <c:pt idx="0">
                  <c:v>0</c:v>
                </c:pt>
                <c:pt idx="1">
                  <c:v>3324.548772671074</c:v>
                </c:pt>
              </c:numCache>
            </c:numRef>
          </c:xVal>
          <c:yVal>
            <c:numRef>
              <c:f>Sheet1!$B$122:$B$123</c:f>
              <c:numCache>
                <c:formatCode>General</c:formatCode>
                <c:ptCount val="2"/>
                <c:pt idx="0">
                  <c:v>0.0459852581751758</c:v>
                </c:pt>
                <c:pt idx="1">
                  <c:v>0.0459852581751758</c:v>
                </c:pt>
              </c:numCache>
            </c:numRef>
          </c:yVal>
          <c:smooth val="0"/>
          <c:extLst>
            <c:ext xmlns:c16="http://schemas.microsoft.com/office/drawing/2014/chart" uri="{C3380CC4-5D6E-409C-BE32-E72D297353CC}">
              <c16:uniqueId val="{00000011-F32D-48B7-BC20-E66FC6253BAD}"/>
            </c:ext>
          </c:extLst>
        </c:ser>
        <c:ser>
          <c:idx val="7"/>
          <c:order val="7"/>
          <c:tx>
            <c:strRef>
              <c:f>Sheet1!$B$12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3324.548772671074</c:v>
                </c:pt>
                <c:pt idx="1">
                  <c:v>3324.548772671074</c:v>
                </c:pt>
              </c:numCache>
            </c:numRef>
          </c:xVal>
          <c:yVal>
            <c:numRef>
              <c:f>Sheet1!$B$126:$B$127</c:f>
              <c:numCache>
                <c:formatCode>General</c:formatCode>
                <c:ptCount val="2"/>
                <c:pt idx="0">
                  <c:v>0.045985258175175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0:$A$159</c:f>
              <c:numCache>
                <c:formatCode>General</c:formatCode>
                <c:ptCount val="30"/>
                <c:pt idx="0">
                  <c:v>1165.7669</c:v>
                </c:pt>
                <c:pt idx="1">
                  <c:v>1143.5882</c:v>
                </c:pt>
                <c:pt idx="2">
                  <c:v>2284.5</c:v>
                </c:pt>
                <c:pt idx="3">
                  <c:v>5111.0</c:v>
                </c:pt>
                <c:pt idx="4">
                  <c:v>1100.5042</c:v>
                </c:pt>
                <c:pt idx="5">
                  <c:v>960.6471</c:v>
                </c:pt>
                <c:pt idx="6">
                  <c:v>4469.75</c:v>
                </c:pt>
                <c:pt idx="7">
                  <c:v>1082.3739</c:v>
                </c:pt>
                <c:pt idx="8">
                  <c:v>1037.4556</c:v>
                </c:pt>
                <c:pt idx="9">
                  <c:v>1203.175</c:v>
                </c:pt>
                <c:pt idx="10">
                  <c:v>1018.5574</c:v>
                </c:pt>
                <c:pt idx="11">
                  <c:v>1017.831</c:v>
                </c:pt>
                <c:pt idx="12">
                  <c:v>643.1667</c:v>
                </c:pt>
                <c:pt idx="13">
                  <c:v>708.5652</c:v>
                </c:pt>
                <c:pt idx="14">
                  <c:v>1224.1778</c:v>
                </c:pt>
                <c:pt idx="15">
                  <c:v>1495.7419</c:v>
                </c:pt>
                <c:pt idx="16">
                  <c:v>1634.1379</c:v>
                </c:pt>
                <c:pt idx="17">
                  <c:v>2379.0</c:v>
                </c:pt>
                <c:pt idx="18">
                  <c:v>1219.2372</c:v>
                </c:pt>
                <c:pt idx="19">
                  <c:v>3215.5</c:v>
                </c:pt>
                <c:pt idx="20">
                  <c:v>1608.8571</c:v>
                </c:pt>
                <c:pt idx="21">
                  <c:v>1828.0</c:v>
                </c:pt>
                <c:pt idx="22">
                  <c:v>3695.6667</c:v>
                </c:pt>
                <c:pt idx="23">
                  <c:v>1543.7857</c:v>
                </c:pt>
                <c:pt idx="24">
                  <c:v>3721.7273</c:v>
                </c:pt>
                <c:pt idx="25">
                  <c:v>694.1333</c:v>
                </c:pt>
                <c:pt idx="26">
                  <c:v>1046.025</c:v>
                </c:pt>
                <c:pt idx="27">
                  <c:v>17.678438327210966</c:v>
                </c:pt>
                <c:pt idx="28">
                  <c:v>-4913.1823309692645</c:v>
                </c:pt>
                <c:pt idx="29">
                  <c:v>3324.548772671074</c:v>
                </c:pt>
              </c:numCache>
            </c:numRef>
          </c:xVal>
          <c:yVal>
            <c:numRef>
              <c:f>Sheet1!$B$130:$B$159</c:f>
              <c:numCache>
                <c:formatCode>General</c:formatCode>
                <c:ptCount val="30"/>
                <c:pt idx="0">
                  <c:v>0.16937437400944289</c:v>
                </c:pt>
                <c:pt idx="1">
                  <c:v>0.1706420380648055</c:v>
                </c:pt>
                <c:pt idx="2">
                  <c:v>0.10543114296279174</c:v>
                </c:pt>
                <c:pt idx="3">
                  <c:v>-0.056122620444547744</c:v>
                </c:pt>
                <c:pt idx="4">
                  <c:v>0.17310458267568177</c:v>
                </c:pt>
                <c:pt idx="5">
                  <c:v>0.1810983703439063</c:v>
                </c:pt>
                <c:pt idx="6">
                  <c:v>-0.01947080697030168</c:v>
                </c:pt>
                <c:pt idx="7">
                  <c:v>0.17414085304423088</c:v>
                </c:pt>
                <c:pt idx="8">
                  <c:v>0.17670824041761135</c:v>
                </c:pt>
                <c:pt idx="9">
                  <c:v>0.16723624581665392</c:v>
                </c:pt>
                <c:pt idx="10">
                  <c:v>0.17778840151141095</c:v>
                </c:pt>
                <c:pt idx="11">
                  <c:v>0.17782992022846</c:v>
                </c:pt>
                <c:pt idx="12">
                  <c:v>0.1992445417318658</c:v>
                </c:pt>
                <c:pt idx="13">
                  <c:v>0.19550657116890988</c:v>
                </c:pt>
                <c:pt idx="14">
                  <c:v>0.16603579247078742</c:v>
                </c:pt>
                <c:pt idx="15">
                  <c:v>0.15051405096669151</c:v>
                </c:pt>
                <c:pt idx="16">
                  <c:v>0.14260377513420533</c:v>
                </c:pt>
                <c:pt idx="17">
                  <c:v>0.10002982308237654</c:v>
                </c:pt>
                <c:pt idx="18">
                  <c:v>0.1663181814760909</c:v>
                </c:pt>
                <c:pt idx="19">
                  <c:v>0.05221813969647898</c:v>
                </c:pt>
                <c:pt idx="20">
                  <c:v>0.14404874537370588</c:v>
                </c:pt>
                <c:pt idx="21">
                  <c:v>0.13152323317876574</c:v>
                </c:pt>
                <c:pt idx="22">
                  <c:v>0.0247733360708349</c:v>
                </c:pt>
                <c:pt idx="23">
                  <c:v>0.1477680199394884</c:v>
                </c:pt>
                <c:pt idx="24">
                  <c:v>0.02328379493987673</c:v>
                </c:pt>
                <c:pt idx="25">
                  <c:v>0.1963314527390915</c:v>
                </c:pt>
                <c:pt idx="26">
                  <c:v>0.17621844072889992</c:v>
                </c:pt>
                <c:pt idx="27">
                  <c:v>0.23499546430053864</c:v>
                </c:pt>
                <c:pt idx="28">
                  <c:v>0.5168278061075278</c:v>
                </c:pt>
                <c:pt idx="29">
                  <c:v>0.0459852581751757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13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33082706766917"/>
          <c:min val="0.000888888888888888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1</c:f>
              <c:numCache>
                <c:formatCode>General</c:formatCode>
                <c:ptCount val="70"/>
                <c:pt idx="0">
                  <c:v>1.4283692854906935</c:v>
                </c:pt>
                <c:pt idx="1">
                  <c:v>1.6027049111436922</c:v>
                </c:pt>
                <c:pt idx="2">
                  <c:v>1.3211158970696542</c:v>
                </c:pt>
                <c:pt idx="3">
                  <c:v>1.7110542115424794</c:v>
                </c:pt>
                <c:pt idx="4">
                  <c:v>2.2329086596807564</c:v>
                </c:pt>
                <c:pt idx="5">
                  <c:v>1.7929200160771703</c:v>
                </c:pt>
                <c:pt idx="6">
                  <c:v>1.9821952832740348</c:v>
                </c:pt>
                <c:pt idx="7">
                  <c:v>2.3075149435149434</c:v>
                </c:pt>
                <c:pt idx="8">
                  <c:v>2.454321453912713</c:v>
                </c:pt>
                <c:pt idx="9">
                  <c:v>1.5332416371995534</c:v>
                </c:pt>
                <c:pt idx="10">
                  <c:v>1.3576759489345942</c:v>
                </c:pt>
                <c:pt idx="11">
                  <c:v>1.8350348710192421</c:v>
                </c:pt>
                <c:pt idx="12">
                  <c:v>4.045668889713004</c:v>
                </c:pt>
                <c:pt idx="13">
                  <c:v>1.535913563878482</c:v>
                </c:pt>
                <c:pt idx="14">
                  <c:v>1.880137699268439</c:v>
                </c:pt>
                <c:pt idx="15">
                  <c:v>0.9150060514899288</c:v>
                </c:pt>
                <c:pt idx="16">
                  <c:v>2.2892592273197656</c:v>
                </c:pt>
                <c:pt idx="17">
                  <c:v>1.819165343954958</c:v>
                </c:pt>
                <c:pt idx="18">
                  <c:v>1.7494505663627413</c:v>
                </c:pt>
                <c:pt idx="19">
                  <c:v>1.6512783837487288</c:v>
                </c:pt>
                <c:pt idx="20">
                  <c:v>2.3347206553914726</c:v>
                </c:pt>
                <c:pt idx="21">
                  <c:v>2.4921749075119823</c:v>
                </c:pt>
                <c:pt idx="22">
                  <c:v>3.762530681697331</c:v>
                </c:pt>
                <c:pt idx="23">
                  <c:v>1.094984923863612</c:v>
                </c:pt>
                <c:pt idx="24">
                  <c:v>3.162214440896745</c:v>
                </c:pt>
                <c:pt idx="25">
                  <c:v>2.4228152205374833</c:v>
                </c:pt>
                <c:pt idx="26">
                  <c:v>1.7248389563048634</c:v>
                </c:pt>
                <c:pt idx="27">
                  <c:v>1.1671899864709325</c:v>
                </c:pt>
                <c:pt idx="28">
                  <c:v>1.1699582804919395</c:v>
                </c:pt>
                <c:pt idx="29">
                  <c:v>1.1416654473583663</c:v>
                </c:pt>
                <c:pt idx="30">
                  <c:v>1.8226997435747303</c:v>
                </c:pt>
                <c:pt idx="31">
                  <c:v>1.0921319685746633</c:v>
                </c:pt>
                <c:pt idx="32">
                  <c:v>1.4248791133189846</c:v>
                </c:pt>
                <c:pt idx="33">
                  <c:v>0.7406357308779962</c:v>
                </c:pt>
                <c:pt idx="34">
                  <c:v>3.0603957481602615</c:v>
                </c:pt>
                <c:pt idx="35">
                  <c:v>0.845421242682336</c:v>
                </c:pt>
                <c:pt idx="36">
                  <c:v>1.4410495734259117</c:v>
                </c:pt>
                <c:pt idx="37">
                  <c:v>0.7492522320135319</c:v>
                </c:pt>
                <c:pt idx="38">
                  <c:v>1.6090533990778406</c:v>
                </c:pt>
                <c:pt idx="39">
                  <c:v>1.0791759945130315</c:v>
                </c:pt>
                <c:pt idx="40">
                  <c:v>1.3689037668837438</c:v>
                </c:pt>
                <c:pt idx="41">
                  <c:v>0.8053566785939846</c:v>
                </c:pt>
                <c:pt idx="42">
                  <c:v>2.414655059625335</c:v>
                </c:pt>
                <c:pt idx="43">
                  <c:v>0.8649579985905567</c:v>
                </c:pt>
                <c:pt idx="44">
                  <c:v>2.088697299036962</c:v>
                </c:pt>
                <c:pt idx="45">
                  <c:v>0.5818786059470784</c:v>
                </c:pt>
                <c:pt idx="46">
                  <c:v>0.8045496307164174</c:v>
                </c:pt>
                <c:pt idx="47">
                  <c:v>1.2770086724417282</c:v>
                </c:pt>
                <c:pt idx="48">
                  <c:v>1.0426912051834423</c:v>
                </c:pt>
                <c:pt idx="49">
                  <c:v>0.6745736661818016</c:v>
                </c:pt>
                <c:pt idx="50">
                  <c:v>2.3307877400742645</c:v>
                </c:pt>
                <c:pt idx="51">
                  <c:v>2.3232314933273863</c:v>
                </c:pt>
                <c:pt idx="52">
                  <c:v>2.8812909937702536</c:v>
                </c:pt>
                <c:pt idx="53">
                  <c:v>1.2510473486884657</c:v>
                </c:pt>
                <c:pt idx="54">
                  <c:v>1.1440838281052899</c:v>
                </c:pt>
                <c:pt idx="55">
                  <c:v>2.43534051843393</c:v>
                </c:pt>
                <c:pt idx="56">
                  <c:v>1.7246361969934094</c:v>
                </c:pt>
                <c:pt idx="57">
                  <c:v>2.2866248172174033</c:v>
                </c:pt>
                <c:pt idx="58">
                  <c:v>0.7500419176350714</c:v>
                </c:pt>
                <c:pt idx="59">
                  <c:v>1.7038267421025473</c:v>
                </c:pt>
                <c:pt idx="60">
                  <c:v>1.7689458400301756</c:v>
                </c:pt>
                <c:pt idx="61">
                  <c:v>1.331328735323833</c:v>
                </c:pt>
                <c:pt idx="62">
                  <c:v>1.8287000996658103</c:v>
                </c:pt>
                <c:pt idx="63">
                  <c:v>3.9165671491024767</c:v>
                </c:pt>
                <c:pt idx="64">
                  <c:v>1.507970497729992</c:v>
                </c:pt>
                <c:pt idx="65">
                  <c:v>1.342102305243291</c:v>
                </c:pt>
                <c:pt idx="66">
                  <c:v>0.5796376554141434</c:v>
                </c:pt>
                <c:pt idx="67">
                  <c:v>3.9273536879979436</c:v>
                </c:pt>
                <c:pt idx="68">
                  <c:v>2.0520633581222567</c:v>
                </c:pt>
                <c:pt idx="69">
                  <c:v>3.1596147899924585</c:v>
                </c:pt>
              </c:numCache>
            </c:numRef>
          </c:xVal>
          <c:yVal>
            <c:numRef>
              <c:f>Sheet1!$B$2:$B$71</c:f>
              <c:numCache>
                <c:formatCode>General</c:formatCode>
                <c:ptCount val="70"/>
                <c:pt idx="0">
                  <c:v>0.1430472388556221</c:v>
                </c:pt>
                <c:pt idx="1">
                  <c:v>0.16554054054054054</c:v>
                </c:pt>
                <c:pt idx="2">
                  <c:v>0.13806706114398423</c:v>
                </c:pt>
                <c:pt idx="3">
                  <c:v>0.18840579710144928</c:v>
                </c:pt>
                <c:pt idx="4">
                  <c:v>0.020361990950226245</c:v>
                </c:pt>
                <c:pt idx="5">
                  <c:v>0.7960526315789473</c:v>
                </c:pt>
                <c:pt idx="6">
                  <c:v>0.21818181818181817</c:v>
                </c:pt>
                <c:pt idx="7">
                  <c:v>0.19254658385093168</c:v>
                </c:pt>
                <c:pt idx="8">
                  <c:v>0.08879492600422834</c:v>
                </c:pt>
                <c:pt idx="9">
                  <c:v>0.2970430107526882</c:v>
                </c:pt>
                <c:pt idx="10">
                  <c:v>0.11940298507462686</c:v>
                </c:pt>
                <c:pt idx="11">
                  <c:v>0.2711864406779661</c:v>
                </c:pt>
                <c:pt idx="12">
                  <c:v>0.5182926829268293</c:v>
                </c:pt>
                <c:pt idx="13">
                  <c:v>0.2066115702479339</c:v>
                </c:pt>
                <c:pt idx="14">
                  <c:v>0.2389937106918239</c:v>
                </c:pt>
                <c:pt idx="15">
                  <c:v>0.17901234567901234</c:v>
                </c:pt>
                <c:pt idx="16">
                  <c:v>0.16</c:v>
                </c:pt>
                <c:pt idx="17">
                  <c:v>0.38926174496644295</c:v>
                </c:pt>
                <c:pt idx="18">
                  <c:v>0.5154894671623296</c:v>
                </c:pt>
                <c:pt idx="19">
                  <c:v>0.016129032258064516</c:v>
                </c:pt>
                <c:pt idx="20">
                  <c:v>0.06712962962962964</c:v>
                </c:pt>
                <c:pt idx="21">
                  <c:v>0.18609022556390978</c:v>
                </c:pt>
                <c:pt idx="22">
                  <c:v>0.3559670781893004</c:v>
                </c:pt>
                <c:pt idx="23">
                  <c:v>0.09129511677282377</c:v>
                </c:pt>
                <c:pt idx="24">
                  <c:v>0.3784313725490196</c:v>
                </c:pt>
                <c:pt idx="25">
                  <c:v>0.3148148148148148</c:v>
                </c:pt>
                <c:pt idx="26">
                  <c:v>0.1527293844367015</c:v>
                </c:pt>
                <c:pt idx="27">
                  <c:v>0.38224852071005916</c:v>
                </c:pt>
                <c:pt idx="28">
                  <c:v>0.23139653414882771</c:v>
                </c:pt>
                <c:pt idx="29">
                  <c:v>0.24287974683544303</c:v>
                </c:pt>
                <c:pt idx="30">
                  <c:v>0.28248222365869424</c:v>
                </c:pt>
                <c:pt idx="31">
                  <c:v>0.35880077369439073</c:v>
                </c:pt>
                <c:pt idx="32">
                  <c:v>0.10413223140495868</c:v>
                </c:pt>
                <c:pt idx="33">
                  <c:v>0.089540412044374</c:v>
                </c:pt>
                <c:pt idx="34">
                  <c:v>0.12537612838515547</c:v>
                </c:pt>
                <c:pt idx="35">
                  <c:v>0.423956931359354</c:v>
                </c:pt>
                <c:pt idx="36">
                  <c:v>0.24022346368715083</c:v>
                </c:pt>
                <c:pt idx="37">
                  <c:v>0.343042071197411</c:v>
                </c:pt>
                <c:pt idx="38">
                  <c:v>0.22133333333333333</c:v>
                </c:pt>
                <c:pt idx="39">
                  <c:v>0.2780487804878049</c:v>
                </c:pt>
                <c:pt idx="40">
                  <c:v>0.4039408866995074</c:v>
                </c:pt>
                <c:pt idx="41">
                  <c:v>0.2831050228310502</c:v>
                </c:pt>
                <c:pt idx="42">
                  <c:v>0.2846715328467153</c:v>
                </c:pt>
                <c:pt idx="43">
                  <c:v>0.46568627450980393</c:v>
                </c:pt>
                <c:pt idx="44">
                  <c:v>0.4157608695652174</c:v>
                </c:pt>
                <c:pt idx="45">
                  <c:v>0.27305389221556886</c:v>
                </c:pt>
                <c:pt idx="46">
                  <c:v>0.37530864197530867</c:v>
                </c:pt>
                <c:pt idx="47">
                  <c:v>0.030560271646859084</c:v>
                </c:pt>
                <c:pt idx="48">
                  <c:v>0.13976945244956773</c:v>
                </c:pt>
                <c:pt idx="49">
                  <c:v>0.04699738903394256</c:v>
                </c:pt>
                <c:pt idx="50">
                  <c:v>0.17087667161961367</c:v>
                </c:pt>
                <c:pt idx="51">
                  <c:v>0.2858517805582291</c:v>
                </c:pt>
                <c:pt idx="52">
                  <c:v>0.24726477024070023</c:v>
                </c:pt>
                <c:pt idx="53">
                  <c:v>0.32666666666666666</c:v>
                </c:pt>
                <c:pt idx="54">
                  <c:v>0.22682926829268293</c:v>
                </c:pt>
                <c:pt idx="55">
                  <c:v>0.10755148741418764</c:v>
                </c:pt>
                <c:pt idx="56">
                  <c:v>0.30930537352555704</c:v>
                </c:pt>
                <c:pt idx="57">
                  <c:v>0.5105708245243129</c:v>
                </c:pt>
                <c:pt idx="58">
                  <c:v>0.14053254437869822</c:v>
                </c:pt>
                <c:pt idx="59">
                  <c:v>0.2050561797752809</c:v>
                </c:pt>
                <c:pt idx="60">
                  <c:v>0.24172185430463577</c:v>
                </c:pt>
                <c:pt idx="61">
                  <c:v>0.030942334739803096</c:v>
                </c:pt>
                <c:pt idx="62">
                  <c:v>0.02027027027027027</c:v>
                </c:pt>
                <c:pt idx="63">
                  <c:v>0.013452914798206279</c:v>
                </c:pt>
                <c:pt idx="64">
                  <c:v>0.125</c:v>
                </c:pt>
                <c:pt idx="65">
                  <c:v>0.11001517450682853</c:v>
                </c:pt>
                <c:pt idx="66">
                  <c:v>0.045454545454545456</c:v>
                </c:pt>
                <c:pt idx="67">
                  <c:v>0.003278688524590164</c:v>
                </c:pt>
                <c:pt idx="68">
                  <c:v>0.049783549783549784</c:v>
                </c:pt>
                <c:pt idx="69">
                  <c:v>0.005063291139240506</c:v>
                </c:pt>
              </c:numCache>
            </c:numRef>
          </c:yVal>
          <c:smooth val="0"/>
          <c:extLst>
            <c:ext xmlns:c16="http://schemas.microsoft.com/office/drawing/2014/chart" uri="{C3380CC4-5D6E-409C-BE32-E72D297353CC}">
              <c16:uniqueId val="{00000000-096C-4121-9522-6AB7243CCAAE}"/>
            </c:ext>
          </c:extLst>
        </c:ser>
        <c:ser>
          <c:idx val="1"/>
          <c:order val="1"/>
          <c:tx>
            <c:strRef>
              <c:f>Sheet1!$B$7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4:$A$95</c:f>
              <c:numCache>
                <c:formatCode>General</c:formatCode>
                <c:ptCount val="22"/>
                <c:pt idx="0">
                  <c:v>1.8616339375697752</c:v>
                </c:pt>
                <c:pt idx="1">
                  <c:v>1.2516119485739343</c:v>
                </c:pt>
                <c:pt idx="2">
                  <c:v>2.694303573534615</c:v>
                </c:pt>
                <c:pt idx="3">
                  <c:v>0.9436611984282908</c:v>
                </c:pt>
                <c:pt idx="4">
                  <c:v>5.406559091492443</c:v>
                </c:pt>
                <c:pt idx="5">
                  <c:v>1.1643436962134253</c:v>
                </c:pt>
                <c:pt idx="6">
                  <c:v>1.2691957713358188</c:v>
                </c:pt>
                <c:pt idx="7">
                  <c:v>1.5861480730049309</c:v>
                </c:pt>
                <c:pt idx="8">
                  <c:v>2.0307965856626864</c:v>
                </c:pt>
                <c:pt idx="9">
                  <c:v>1.3813139616894512</c:v>
                </c:pt>
                <c:pt idx="10">
                  <c:v>1.3845223398175186</c:v>
                </c:pt>
                <c:pt idx="11">
                  <c:v>2.672723815204498</c:v>
                </c:pt>
                <c:pt idx="12">
                  <c:v>2.539459932088285</c:v>
                </c:pt>
                <c:pt idx="13">
                  <c:v>3.493347274189869</c:v>
                </c:pt>
                <c:pt idx="14">
                  <c:v>4.964129521421607</c:v>
                </c:pt>
                <c:pt idx="15">
                  <c:v>2.011112907216495</c:v>
                </c:pt>
                <c:pt idx="16">
                  <c:v>4.499720123145815</c:v>
                </c:pt>
                <c:pt idx="17">
                  <c:v>2.047310563368363</c:v>
                </c:pt>
                <c:pt idx="18">
                  <c:v>2.1270125378892257</c:v>
                </c:pt>
                <c:pt idx="19">
                  <c:v>5.521057658187964</c:v>
                </c:pt>
                <c:pt idx="20">
                  <c:v>0.8033950231481481</c:v>
                </c:pt>
                <c:pt idx="21">
                  <c:v>1.335188682159421</c:v>
                </c:pt>
              </c:numCache>
            </c:numRef>
          </c:xVal>
          <c:yVal>
            <c:numRef>
              <c:f>Sheet1!$B$74:$B$95</c:f>
              <c:numCache>
                <c:formatCode>General</c:formatCode>
                <c:ptCount val="22"/>
                <c:pt idx="0">
                  <c:v>0.1543560606060606</c:v>
                </c:pt>
                <c:pt idx="1">
                  <c:v>0.02135678391959799</c:v>
                </c:pt>
                <c:pt idx="2">
                  <c:v>0.013710368466152529</c:v>
                </c:pt>
                <c:pt idx="3">
                  <c:v>0.18888888888888888</c:v>
                </c:pt>
                <c:pt idx="4">
                  <c:v>0.029850746268656716</c:v>
                </c:pt>
                <c:pt idx="5">
                  <c:v>0.28117359413202936</c:v>
                </c:pt>
                <c:pt idx="6">
                  <c:v>0.582312925170068</c:v>
                </c:pt>
                <c:pt idx="7">
                  <c:v>0.13179571663920922</c:v>
                </c:pt>
                <c:pt idx="8">
                  <c:v>0.2982885085574572</c:v>
                </c:pt>
                <c:pt idx="9">
                  <c:v>0.544766708701135</c:v>
                </c:pt>
                <c:pt idx="10">
                  <c:v>0.00949367088607595</c:v>
                </c:pt>
                <c:pt idx="11">
                  <c:v>0.10948905109489052</c:v>
                </c:pt>
                <c:pt idx="12">
                  <c:v>0.11191335740072202</c:v>
                </c:pt>
                <c:pt idx="13">
                  <c:v>0.2049469964664311</c:v>
                </c:pt>
                <c:pt idx="14">
                  <c:v>0.006430868167202572</c:v>
                </c:pt>
                <c:pt idx="15">
                  <c:v>0.2948960302457467</c:v>
                </c:pt>
                <c:pt idx="16">
                  <c:v>0.008368200836820083</c:v>
                </c:pt>
                <c:pt idx="17">
                  <c:v>0.0412573673870334</c:v>
                </c:pt>
                <c:pt idx="18">
                  <c:v>0.025547445255474453</c:v>
                </c:pt>
                <c:pt idx="19">
                  <c:v>0.03206997084548105</c:v>
                </c:pt>
                <c:pt idx="20">
                  <c:v>0.05190311418685121</c:v>
                </c:pt>
                <c:pt idx="21">
                  <c:v>0.1553398058252427</c:v>
                </c:pt>
              </c:numCache>
            </c:numRef>
          </c:yVal>
          <c:smooth val="0"/>
          <c:extLst>
            <c:ext xmlns:c16="http://schemas.microsoft.com/office/drawing/2014/chart" uri="{C3380CC4-5D6E-409C-BE32-E72D297353CC}">
              <c16:uniqueId val="{00000002-096C-4121-9522-6AB7243CCAAE}"/>
            </c:ext>
          </c:extLst>
        </c:ser>
        <c:ser>
          <c:idx val="2"/>
          <c:order val="2"/>
          <c:tx>
            <c:strRef>
              <c:f>Sheet1!$B$9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98:$A$99</c:f>
              <c:numCache>
                <c:formatCode>General</c:formatCode>
                <c:ptCount val="2"/>
                <c:pt idx="0">
                  <c:v>0</c:v>
                </c:pt>
                <c:pt idx="1">
                  <c:v>-0.028948944915417635</c:v>
                </c:pt>
              </c:numCache>
            </c:numRef>
          </c:xVal>
          <c:yVal>
            <c:numRef>
              <c:f>Sheet1!$B$98:$B$99</c:f>
              <c:numCache>
                <c:formatCode>General</c:formatCode>
                <c:ptCount val="2"/>
                <c:pt idx="0">
                  <c:v>0.26398164049008</c:v>
                </c:pt>
                <c:pt idx="1">
                  <c:v>0.26398164049008</c:v>
                </c:pt>
              </c:numCache>
            </c:numRef>
          </c:yVal>
          <c:smooth val="0"/>
          <c:extLst>
            <c:ext xmlns:c16="http://schemas.microsoft.com/office/drawing/2014/chart" uri="{C3380CC4-5D6E-409C-BE32-E72D297353CC}">
              <c16:uniqueId val="{00000005-096C-4121-9522-6AB7243CCAAE}"/>
            </c:ext>
          </c:extLst>
        </c:ser>
        <c:ser>
          <c:idx val="3"/>
          <c:order val="3"/>
          <c:tx>
            <c:strRef>
              <c:f>Sheet1!$B$10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2:$A$103</c:f>
              <c:numCache>
                <c:formatCode>General</c:formatCode>
                <c:ptCount val="2"/>
                <c:pt idx="0">
                  <c:v>-0.028948944915417635</c:v>
                </c:pt>
                <c:pt idx="1">
                  <c:v>-0.028948944915417635</c:v>
                </c:pt>
              </c:numCache>
            </c:numRef>
          </c:xVal>
          <c:yVal>
            <c:numRef>
              <c:f>Sheet1!$B$102:$B$103</c:f>
              <c:numCache>
                <c:formatCode>General</c:formatCode>
                <c:ptCount val="2"/>
                <c:pt idx="0">
                  <c:v>0.2639816404900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06:$A$107</c:f>
              <c:numCache>
                <c:formatCode>General</c:formatCode>
                <c:ptCount val="2"/>
                <c:pt idx="0">
                  <c:v>0</c:v>
                </c:pt>
                <c:pt idx="1">
                  <c:v>0.0848958660902057</c:v>
                </c:pt>
              </c:numCache>
            </c:numRef>
          </c:xVal>
          <c:yVal>
            <c:numRef>
              <c:f>Sheet1!$B$106:$B$107</c:f>
              <c:numCache>
                <c:formatCode>General</c:formatCode>
                <c:ptCount val="2"/>
                <c:pt idx="0">
                  <c:v>0.2586541915726984</c:v>
                </c:pt>
                <c:pt idx="1">
                  <c:v>0.2586541915726984</c:v>
                </c:pt>
              </c:numCache>
            </c:numRef>
          </c:yVal>
          <c:smooth val="0"/>
          <c:extLst>
            <c:ext xmlns:c16="http://schemas.microsoft.com/office/drawing/2014/chart" uri="{C3380CC4-5D6E-409C-BE32-E72D297353CC}">
              <c16:uniqueId val="{0000000D-096C-4121-9522-6AB7243CCAAE}"/>
            </c:ext>
          </c:extLst>
        </c:ser>
        <c:ser>
          <c:idx val="5"/>
          <c:order val="5"/>
          <c:tx>
            <c:strRef>
              <c:f>Sheet1!$B$10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0:$A$111</c:f>
              <c:numCache>
                <c:formatCode>General</c:formatCode>
                <c:ptCount val="2"/>
                <c:pt idx="0">
                  <c:v>0.0848958660902057</c:v>
                </c:pt>
                <c:pt idx="1">
                  <c:v>0.0848958660902057</c:v>
                </c:pt>
              </c:numCache>
            </c:numRef>
          </c:xVal>
          <c:yVal>
            <c:numRef>
              <c:f>Sheet1!$B$110:$B$111</c:f>
              <c:numCache>
                <c:formatCode>General</c:formatCode>
                <c:ptCount val="2"/>
                <c:pt idx="0">
                  <c:v>0.25865419157269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4:$A$115</c:f>
              <c:numCache>
                <c:formatCode>General</c:formatCode>
                <c:ptCount val="2"/>
                <c:pt idx="0">
                  <c:v>0</c:v>
                </c:pt>
                <c:pt idx="1">
                  <c:v>4.197219450650257</c:v>
                </c:pt>
              </c:numCache>
            </c:numRef>
          </c:xVal>
          <c:yVal>
            <c:numRef>
              <c:f>Sheet1!$B$114:$B$115</c:f>
              <c:numCache>
                <c:formatCode>General</c:formatCode>
                <c:ptCount val="2"/>
                <c:pt idx="0">
                  <c:v>0.06621508402826234</c:v>
                </c:pt>
                <c:pt idx="1">
                  <c:v>0.06621508402826234</c:v>
                </c:pt>
              </c:numCache>
            </c:numRef>
          </c:yVal>
          <c:smooth val="0"/>
          <c:extLst>
            <c:ext xmlns:c16="http://schemas.microsoft.com/office/drawing/2014/chart" uri="{C3380CC4-5D6E-409C-BE32-E72D297353CC}">
              <c16:uniqueId val="{00000015-096C-4121-9522-6AB7243CCAAE}"/>
            </c:ext>
          </c:extLst>
        </c:ser>
        <c:ser>
          <c:idx val="7"/>
          <c:order val="7"/>
          <c:tx>
            <c:strRef>
              <c:f>Sheet1!$B$11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8:$A$119</c:f>
              <c:numCache>
                <c:formatCode>General</c:formatCode>
                <c:ptCount val="2"/>
                <c:pt idx="0">
                  <c:v>4.197219450650257</c:v>
                </c:pt>
                <c:pt idx="1">
                  <c:v>4.197219450650257</c:v>
                </c:pt>
              </c:numCache>
            </c:numRef>
          </c:xVal>
          <c:yVal>
            <c:numRef>
              <c:f>Sheet1!$B$118:$B$119</c:f>
              <c:numCache>
                <c:formatCode>General</c:formatCode>
                <c:ptCount val="2"/>
                <c:pt idx="0">
                  <c:v>0.0662150840282623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2:$A$146</c:f>
              <c:numCache>
                <c:formatCode>General</c:formatCode>
                <c:ptCount val="25"/>
                <c:pt idx="0">
                  <c:v>1.8616339375697752</c:v>
                </c:pt>
                <c:pt idx="1">
                  <c:v>1.2516119485739343</c:v>
                </c:pt>
                <c:pt idx="2">
                  <c:v>2.694303573534615</c:v>
                </c:pt>
                <c:pt idx="3">
                  <c:v>0.9436611984282908</c:v>
                </c:pt>
                <c:pt idx="4">
                  <c:v>5.406559091492443</c:v>
                </c:pt>
                <c:pt idx="5">
                  <c:v>1.1643436962134253</c:v>
                </c:pt>
                <c:pt idx="6">
                  <c:v>1.2691957713358188</c:v>
                </c:pt>
                <c:pt idx="7">
                  <c:v>1.5861480730049309</c:v>
                </c:pt>
                <c:pt idx="8">
                  <c:v>2.0307965856626864</c:v>
                </c:pt>
                <c:pt idx="9">
                  <c:v>1.3813139616894512</c:v>
                </c:pt>
                <c:pt idx="10">
                  <c:v>1.3845223398175186</c:v>
                </c:pt>
                <c:pt idx="11">
                  <c:v>2.672723815204498</c:v>
                </c:pt>
                <c:pt idx="12">
                  <c:v>2.539459932088285</c:v>
                </c:pt>
                <c:pt idx="13">
                  <c:v>3.493347274189869</c:v>
                </c:pt>
                <c:pt idx="14">
                  <c:v>4.964129521421607</c:v>
                </c:pt>
                <c:pt idx="15">
                  <c:v>2.011112907216495</c:v>
                </c:pt>
                <c:pt idx="16">
                  <c:v>4.499720123145815</c:v>
                </c:pt>
                <c:pt idx="17">
                  <c:v>2.047310563368363</c:v>
                </c:pt>
                <c:pt idx="18">
                  <c:v>2.1270125378892257</c:v>
                </c:pt>
                <c:pt idx="19">
                  <c:v>5.521057658187964</c:v>
                </c:pt>
                <c:pt idx="20">
                  <c:v>0.8033950231481481</c:v>
                </c:pt>
                <c:pt idx="21">
                  <c:v>1.335188682159421</c:v>
                </c:pt>
                <c:pt idx="22">
                  <c:v>0.0848958660902057</c:v>
                </c:pt>
                <c:pt idx="23">
                  <c:v>-0.028948944915417635</c:v>
                </c:pt>
                <c:pt idx="24">
                  <c:v>4.197219450650257</c:v>
                </c:pt>
              </c:numCache>
            </c:numRef>
          </c:xVal>
          <c:yVal>
            <c:numRef>
              <c:f>Sheet1!$B$122:$B$146</c:f>
              <c:numCache>
                <c:formatCode>General</c:formatCode>
                <c:ptCount val="25"/>
                <c:pt idx="0">
                  <c:v>0.17551046959043864</c:v>
                </c:pt>
                <c:pt idx="1">
                  <c:v>0.20405688252000398</c:v>
                </c:pt>
                <c:pt idx="2">
                  <c:v>0.1365451016349481</c:v>
                </c:pt>
                <c:pt idx="3">
                  <c:v>0.21846765694159104</c:v>
                </c:pt>
                <c:pt idx="4">
                  <c:v>0.009623175240842219</c:v>
                </c:pt>
                <c:pt idx="5">
                  <c:v>0.2081406624696831</c:v>
                </c:pt>
                <c:pt idx="6">
                  <c:v>0.2032340350251664</c:v>
                </c:pt>
                <c:pt idx="7">
                  <c:v>0.18840202659655825</c:v>
                </c:pt>
                <c:pt idx="8">
                  <c:v>0.1675943831348209</c:v>
                </c:pt>
                <c:pt idx="9">
                  <c:v>0.19798738454946985</c:v>
                </c:pt>
                <c:pt idx="10">
                  <c:v>0.19783724621260634</c:v>
                </c:pt>
                <c:pt idx="11">
                  <c:v>0.13755494177731048</c:v>
                </c:pt>
                <c:pt idx="12">
                  <c:v>0.1437911199883531</c:v>
                </c:pt>
                <c:pt idx="13">
                  <c:v>0.09915328324292555</c:v>
                </c:pt>
                <c:pt idx="14">
                  <c:v>0.030326981705723954</c:v>
                </c:pt>
                <c:pt idx="15">
                  <c:v>0.1685154948701908</c:v>
                </c:pt>
                <c:pt idx="16">
                  <c:v>0.05205934986736099</c:v>
                </c:pt>
                <c:pt idx="17">
                  <c:v>0.1668215998004498</c:v>
                </c:pt>
                <c:pt idx="18">
                  <c:v>0.16309188920473922</c:v>
                </c:pt>
                <c:pt idx="19">
                  <c:v>0.004265133360886297</c:v>
                </c:pt>
                <c:pt idx="20">
                  <c:v>0.22503151239570163</c:v>
                </c:pt>
                <c:pt idx="21">
                  <c:v>0.20014584981745684</c:v>
                </c:pt>
                <c:pt idx="22">
                  <c:v>0.2586541915726984</c:v>
                </c:pt>
                <c:pt idx="23">
                  <c:v>0.26398164049008</c:v>
                </c:pt>
                <c:pt idx="24">
                  <c:v>0.0662150840282623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552631578947368"/>
          <c:min val="0.00262295081967213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1</c:f>
              <c:numCache>
                <c:formatCode>General</c:formatCode>
                <c:ptCount val="70"/>
                <c:pt idx="0">
                  <c:v>1031.2512</c:v>
                </c:pt>
                <c:pt idx="1">
                  <c:v>1029.7347</c:v>
                </c:pt>
                <c:pt idx="2">
                  <c:v>887.9286</c:v>
                </c:pt>
                <c:pt idx="3">
                  <c:v>979.4615</c:v>
                </c:pt>
                <c:pt idx="4">
                  <c:v>1437.8889</c:v>
                </c:pt>
                <c:pt idx="5">
                  <c:v>892.157</c:v>
                </c:pt>
                <c:pt idx="6">
                  <c:v>1368.9667</c:v>
                </c:pt>
                <c:pt idx="7">
                  <c:v>1613.6452</c:v>
                </c:pt>
                <c:pt idx="8">
                  <c:v>1635.0476</c:v>
                </c:pt>
                <c:pt idx="9">
                  <c:v>1071.4751</c:v>
                </c:pt>
                <c:pt idx="10">
                  <c:v>832.875</c:v>
                </c:pt>
                <c:pt idx="11">
                  <c:v>1091.9375</c:v>
                </c:pt>
                <c:pt idx="12">
                  <c:v>1764.0059</c:v>
                </c:pt>
                <c:pt idx="13">
                  <c:v>994.06</c:v>
                </c:pt>
                <c:pt idx="14">
                  <c:v>1396.1974</c:v>
                </c:pt>
                <c:pt idx="15">
                  <c:v>695.9138</c:v>
                </c:pt>
                <c:pt idx="16">
                  <c:v>1327.3125</c:v>
                </c:pt>
                <c:pt idx="17">
                  <c:v>850.4125</c:v>
                </c:pt>
                <c:pt idx="18">
                  <c:v>1204.9423</c:v>
                </c:pt>
                <c:pt idx="19">
                  <c:v>1184.7143</c:v>
                </c:pt>
                <c:pt idx="20">
                  <c:v>1767.8276</c:v>
                </c:pt>
                <c:pt idx="21">
                  <c:v>1173.697</c:v>
                </c:pt>
                <c:pt idx="22">
                  <c:v>1768.9538</c:v>
                </c:pt>
                <c:pt idx="23">
                  <c:v>821.5581</c:v>
                </c:pt>
                <c:pt idx="24">
                  <c:v>1782.5855</c:v>
                </c:pt>
                <c:pt idx="25">
                  <c:v>1305.7908</c:v>
                </c:pt>
                <c:pt idx="26">
                  <c:v>1126.4373</c:v>
                </c:pt>
                <c:pt idx="27">
                  <c:v>1028.9752</c:v>
                </c:pt>
                <c:pt idx="28">
                  <c:v>764.3238</c:v>
                </c:pt>
                <c:pt idx="29">
                  <c:v>634.3583</c:v>
                </c:pt>
                <c:pt idx="30">
                  <c:v>940.119</c:v>
                </c:pt>
                <c:pt idx="31">
                  <c:v>558.3315</c:v>
                </c:pt>
                <c:pt idx="32">
                  <c:v>1007.3968</c:v>
                </c:pt>
                <c:pt idx="33">
                  <c:v>492.7965</c:v>
                </c:pt>
                <c:pt idx="34">
                  <c:v>1871.432</c:v>
                </c:pt>
                <c:pt idx="35">
                  <c:v>791.4635</c:v>
                </c:pt>
                <c:pt idx="36">
                  <c:v>1201.3023</c:v>
                </c:pt>
                <c:pt idx="37">
                  <c:v>504.3491</c:v>
                </c:pt>
                <c:pt idx="38">
                  <c:v>1145.3012</c:v>
                </c:pt>
                <c:pt idx="39">
                  <c:v>786.7193</c:v>
                </c:pt>
                <c:pt idx="40">
                  <c:v>514.5122</c:v>
                </c:pt>
                <c:pt idx="41">
                  <c:v>531.871</c:v>
                </c:pt>
                <c:pt idx="42">
                  <c:v>1616.7265</c:v>
                </c:pt>
                <c:pt idx="43">
                  <c:v>613.6877</c:v>
                </c:pt>
                <c:pt idx="44">
                  <c:v>1147.415</c:v>
                </c:pt>
                <c:pt idx="45">
                  <c:v>545.0351</c:v>
                </c:pt>
                <c:pt idx="46">
                  <c:v>960.1974</c:v>
                </c:pt>
                <c:pt idx="47">
                  <c:v>518.6111</c:v>
                </c:pt>
                <c:pt idx="48">
                  <c:v>497.134</c:v>
                </c:pt>
                <c:pt idx="49">
                  <c:v>472.6111</c:v>
                </c:pt>
                <c:pt idx="50">
                  <c:v>1929.1739</c:v>
                </c:pt>
                <c:pt idx="51">
                  <c:v>1167.8283</c:v>
                </c:pt>
                <c:pt idx="52">
                  <c:v>1918.1947</c:v>
                </c:pt>
                <c:pt idx="53">
                  <c:v>787.7959</c:v>
                </c:pt>
                <c:pt idx="54">
                  <c:v>850.2688</c:v>
                </c:pt>
                <c:pt idx="55">
                  <c:v>1630.1809</c:v>
                </c:pt>
                <c:pt idx="56">
                  <c:v>823.5212</c:v>
                </c:pt>
                <c:pt idx="57">
                  <c:v>916.5197</c:v>
                </c:pt>
                <c:pt idx="58">
                  <c:v>500.1158</c:v>
                </c:pt>
                <c:pt idx="59">
                  <c:v>1219.3356</c:v>
                </c:pt>
                <c:pt idx="60">
                  <c:v>1167.7466</c:v>
                </c:pt>
                <c:pt idx="61">
                  <c:v>738.4545</c:v>
                </c:pt>
                <c:pt idx="62">
                  <c:v>1061.0833</c:v>
                </c:pt>
                <c:pt idx="63">
                  <c:v>2225.5556</c:v>
                </c:pt>
                <c:pt idx="64">
                  <c:v>923.6452</c:v>
                </c:pt>
                <c:pt idx="65">
                  <c:v>1018.5103</c:v>
                </c:pt>
                <c:pt idx="66">
                  <c:v>504.7778</c:v>
                </c:pt>
                <c:pt idx="67">
                  <c:v>3820.3333</c:v>
                </c:pt>
                <c:pt idx="68">
                  <c:v>1922.1304</c:v>
                </c:pt>
                <c:pt idx="69">
                  <c:v>1730.0</c:v>
                </c:pt>
              </c:numCache>
            </c:numRef>
          </c:xVal>
          <c:yVal>
            <c:numRef>
              <c:f>Sheet1!$B$2:$B$71</c:f>
              <c:numCache>
                <c:formatCode>General</c:formatCode>
                <c:ptCount val="70"/>
                <c:pt idx="0">
                  <c:v>0.1430472388556221</c:v>
                </c:pt>
                <c:pt idx="1">
                  <c:v>0.16554054054054054</c:v>
                </c:pt>
                <c:pt idx="2">
                  <c:v>0.13806706114398423</c:v>
                </c:pt>
                <c:pt idx="3">
                  <c:v>0.18840579710144928</c:v>
                </c:pt>
                <c:pt idx="4">
                  <c:v>0.020361990950226245</c:v>
                </c:pt>
                <c:pt idx="5">
                  <c:v>0.7960526315789473</c:v>
                </c:pt>
                <c:pt idx="6">
                  <c:v>0.21818181818181817</c:v>
                </c:pt>
                <c:pt idx="7">
                  <c:v>0.19254658385093168</c:v>
                </c:pt>
                <c:pt idx="8">
                  <c:v>0.08879492600422834</c:v>
                </c:pt>
                <c:pt idx="9">
                  <c:v>0.2970430107526882</c:v>
                </c:pt>
                <c:pt idx="10">
                  <c:v>0.11940298507462686</c:v>
                </c:pt>
                <c:pt idx="11">
                  <c:v>0.2711864406779661</c:v>
                </c:pt>
                <c:pt idx="12">
                  <c:v>0.5182926829268293</c:v>
                </c:pt>
                <c:pt idx="13">
                  <c:v>0.2066115702479339</c:v>
                </c:pt>
                <c:pt idx="14">
                  <c:v>0.2389937106918239</c:v>
                </c:pt>
                <c:pt idx="15">
                  <c:v>0.17901234567901234</c:v>
                </c:pt>
                <c:pt idx="16">
                  <c:v>0.16</c:v>
                </c:pt>
                <c:pt idx="17">
                  <c:v>0.38926174496644295</c:v>
                </c:pt>
                <c:pt idx="18">
                  <c:v>0.5154894671623296</c:v>
                </c:pt>
                <c:pt idx="19">
                  <c:v>0.016129032258064516</c:v>
                </c:pt>
                <c:pt idx="20">
                  <c:v>0.06712962962962964</c:v>
                </c:pt>
                <c:pt idx="21">
                  <c:v>0.18609022556390978</c:v>
                </c:pt>
                <c:pt idx="22">
                  <c:v>0.3559670781893004</c:v>
                </c:pt>
                <c:pt idx="23">
                  <c:v>0.09129511677282377</c:v>
                </c:pt>
                <c:pt idx="24">
                  <c:v>0.3784313725490196</c:v>
                </c:pt>
                <c:pt idx="25">
                  <c:v>0.3148148148148148</c:v>
                </c:pt>
                <c:pt idx="26">
                  <c:v>0.1527293844367015</c:v>
                </c:pt>
                <c:pt idx="27">
                  <c:v>0.38224852071005916</c:v>
                </c:pt>
                <c:pt idx="28">
                  <c:v>0.23139653414882771</c:v>
                </c:pt>
                <c:pt idx="29">
                  <c:v>0.24287974683544303</c:v>
                </c:pt>
                <c:pt idx="30">
                  <c:v>0.28248222365869424</c:v>
                </c:pt>
                <c:pt idx="31">
                  <c:v>0.35880077369439073</c:v>
                </c:pt>
                <c:pt idx="32">
                  <c:v>0.10413223140495868</c:v>
                </c:pt>
                <c:pt idx="33">
                  <c:v>0.089540412044374</c:v>
                </c:pt>
                <c:pt idx="34">
                  <c:v>0.12537612838515547</c:v>
                </c:pt>
                <c:pt idx="35">
                  <c:v>0.423956931359354</c:v>
                </c:pt>
                <c:pt idx="36">
                  <c:v>0.24022346368715083</c:v>
                </c:pt>
                <c:pt idx="37">
                  <c:v>0.343042071197411</c:v>
                </c:pt>
                <c:pt idx="38">
                  <c:v>0.22133333333333333</c:v>
                </c:pt>
                <c:pt idx="39">
                  <c:v>0.2780487804878049</c:v>
                </c:pt>
                <c:pt idx="40">
                  <c:v>0.4039408866995074</c:v>
                </c:pt>
                <c:pt idx="41">
                  <c:v>0.2831050228310502</c:v>
                </c:pt>
                <c:pt idx="42">
                  <c:v>0.2846715328467153</c:v>
                </c:pt>
                <c:pt idx="43">
                  <c:v>0.46568627450980393</c:v>
                </c:pt>
                <c:pt idx="44">
                  <c:v>0.4157608695652174</c:v>
                </c:pt>
                <c:pt idx="45">
                  <c:v>0.27305389221556886</c:v>
                </c:pt>
                <c:pt idx="46">
                  <c:v>0.37530864197530867</c:v>
                </c:pt>
                <c:pt idx="47">
                  <c:v>0.030560271646859084</c:v>
                </c:pt>
                <c:pt idx="48">
                  <c:v>0.13976945244956773</c:v>
                </c:pt>
                <c:pt idx="49">
                  <c:v>0.04699738903394256</c:v>
                </c:pt>
                <c:pt idx="50">
                  <c:v>0.17087667161961367</c:v>
                </c:pt>
                <c:pt idx="51">
                  <c:v>0.2858517805582291</c:v>
                </c:pt>
                <c:pt idx="52">
                  <c:v>0.24726477024070023</c:v>
                </c:pt>
                <c:pt idx="53">
                  <c:v>0.32666666666666666</c:v>
                </c:pt>
                <c:pt idx="54">
                  <c:v>0.22682926829268293</c:v>
                </c:pt>
                <c:pt idx="55">
                  <c:v>0.10755148741418764</c:v>
                </c:pt>
                <c:pt idx="56">
                  <c:v>0.30930537352555704</c:v>
                </c:pt>
                <c:pt idx="57">
                  <c:v>0.5105708245243129</c:v>
                </c:pt>
                <c:pt idx="58">
                  <c:v>0.14053254437869822</c:v>
                </c:pt>
                <c:pt idx="59">
                  <c:v>0.2050561797752809</c:v>
                </c:pt>
                <c:pt idx="60">
                  <c:v>0.24172185430463577</c:v>
                </c:pt>
                <c:pt idx="61">
                  <c:v>0.030942334739803096</c:v>
                </c:pt>
                <c:pt idx="62">
                  <c:v>0.02027027027027027</c:v>
                </c:pt>
                <c:pt idx="63">
                  <c:v>0.013452914798206279</c:v>
                </c:pt>
                <c:pt idx="64">
                  <c:v>0.125</c:v>
                </c:pt>
                <c:pt idx="65">
                  <c:v>0.11001517450682853</c:v>
                </c:pt>
                <c:pt idx="66">
                  <c:v>0.045454545454545456</c:v>
                </c:pt>
                <c:pt idx="67">
                  <c:v>0.003278688524590164</c:v>
                </c:pt>
                <c:pt idx="68">
                  <c:v>0.049783549783549784</c:v>
                </c:pt>
                <c:pt idx="69">
                  <c:v>0.005063291139240506</c:v>
                </c:pt>
              </c:numCache>
            </c:numRef>
          </c:yVal>
          <c:smooth val="0"/>
          <c:extLst>
            <c:ext xmlns:c16="http://schemas.microsoft.com/office/drawing/2014/chart" uri="{C3380CC4-5D6E-409C-BE32-E72D297353CC}">
              <c16:uniqueId val="{00000000-F32D-48B7-BC20-E66FC6253BAD}"/>
            </c:ext>
          </c:extLst>
        </c:ser>
        <c:ser>
          <c:idx val="1"/>
          <c:order val="1"/>
          <c:tx>
            <c:strRef>
              <c:f>Sheet1!$B$7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4:$A$95</c:f>
              <c:numCache>
                <c:formatCode>General</c:formatCode>
                <c:ptCount val="22"/>
                <c:pt idx="0">
                  <c:v>1165.7669</c:v>
                </c:pt>
                <c:pt idx="1">
                  <c:v>1143.5882</c:v>
                </c:pt>
                <c:pt idx="2">
                  <c:v>2284.5</c:v>
                </c:pt>
                <c:pt idx="3">
                  <c:v>960.6471</c:v>
                </c:pt>
                <c:pt idx="4">
                  <c:v>4469.75</c:v>
                </c:pt>
                <c:pt idx="5">
                  <c:v>1082.3739</c:v>
                </c:pt>
                <c:pt idx="6">
                  <c:v>1037.4556</c:v>
                </c:pt>
                <c:pt idx="7">
                  <c:v>1203.175</c:v>
                </c:pt>
                <c:pt idx="8">
                  <c:v>1018.5574</c:v>
                </c:pt>
                <c:pt idx="9">
                  <c:v>1017.831</c:v>
                </c:pt>
                <c:pt idx="10">
                  <c:v>643.1667</c:v>
                </c:pt>
                <c:pt idx="11">
                  <c:v>1224.1778</c:v>
                </c:pt>
                <c:pt idx="12">
                  <c:v>1495.7419</c:v>
                </c:pt>
                <c:pt idx="13">
                  <c:v>1634.1379</c:v>
                </c:pt>
                <c:pt idx="14">
                  <c:v>2379.0</c:v>
                </c:pt>
                <c:pt idx="15">
                  <c:v>1219.2372</c:v>
                </c:pt>
                <c:pt idx="16">
                  <c:v>3215.5</c:v>
                </c:pt>
                <c:pt idx="17">
                  <c:v>1608.8571</c:v>
                </c:pt>
                <c:pt idx="18">
                  <c:v>1543.7857</c:v>
                </c:pt>
                <c:pt idx="19">
                  <c:v>3721.7273</c:v>
                </c:pt>
                <c:pt idx="20">
                  <c:v>694.1333</c:v>
                </c:pt>
                <c:pt idx="21">
                  <c:v>1046.025</c:v>
                </c:pt>
              </c:numCache>
            </c:numRef>
          </c:xVal>
          <c:yVal>
            <c:numRef>
              <c:f>Sheet1!$B$74:$B$95</c:f>
              <c:numCache>
                <c:formatCode>General</c:formatCode>
                <c:ptCount val="22"/>
                <c:pt idx="0">
                  <c:v>0.1543560606060606</c:v>
                </c:pt>
                <c:pt idx="1">
                  <c:v>0.02135678391959799</c:v>
                </c:pt>
                <c:pt idx="2">
                  <c:v>0.013710368466152529</c:v>
                </c:pt>
                <c:pt idx="3">
                  <c:v>0.18888888888888888</c:v>
                </c:pt>
                <c:pt idx="4">
                  <c:v>0.029850746268656716</c:v>
                </c:pt>
                <c:pt idx="5">
                  <c:v>0.28117359413202936</c:v>
                </c:pt>
                <c:pt idx="6">
                  <c:v>0.582312925170068</c:v>
                </c:pt>
                <c:pt idx="7">
                  <c:v>0.13179571663920922</c:v>
                </c:pt>
                <c:pt idx="8">
                  <c:v>0.2982885085574572</c:v>
                </c:pt>
                <c:pt idx="9">
                  <c:v>0.544766708701135</c:v>
                </c:pt>
                <c:pt idx="10">
                  <c:v>0.00949367088607595</c:v>
                </c:pt>
                <c:pt idx="11">
                  <c:v>0.10948905109489052</c:v>
                </c:pt>
                <c:pt idx="12">
                  <c:v>0.11191335740072202</c:v>
                </c:pt>
                <c:pt idx="13">
                  <c:v>0.2049469964664311</c:v>
                </c:pt>
                <c:pt idx="14">
                  <c:v>0.006430868167202572</c:v>
                </c:pt>
                <c:pt idx="15">
                  <c:v>0.2948960302457467</c:v>
                </c:pt>
                <c:pt idx="16">
                  <c:v>0.008368200836820083</c:v>
                </c:pt>
                <c:pt idx="17">
                  <c:v>0.0412573673870334</c:v>
                </c:pt>
                <c:pt idx="18">
                  <c:v>0.025547445255474453</c:v>
                </c:pt>
                <c:pt idx="19">
                  <c:v>0.03206997084548105</c:v>
                </c:pt>
                <c:pt idx="20">
                  <c:v>0.05190311418685121</c:v>
                </c:pt>
                <c:pt idx="21">
                  <c:v>0.1553398058252427</c:v>
                </c:pt>
              </c:numCache>
            </c:numRef>
          </c:yVal>
          <c:smooth val="0"/>
          <c:extLst>
            <c:ext xmlns:c16="http://schemas.microsoft.com/office/drawing/2014/chart" uri="{C3380CC4-5D6E-409C-BE32-E72D297353CC}">
              <c16:uniqueId val="{00000002-F32D-48B7-BC20-E66FC6253BAD}"/>
            </c:ext>
          </c:extLst>
        </c:ser>
        <c:ser>
          <c:idx val="2"/>
          <c:order val="2"/>
          <c:tx>
            <c:strRef>
              <c:f>Sheet1!$B$97</c:f>
              <c:strCache>
                <c:ptCount val="1"/>
                <c:pt idx="0">
                  <c:v>Custom Linep3yQ</c:v>
                </c:pt>
              </c:strCache>
            </c:strRef>
          </c:tx>
          <c:spPr>
            <a:ln w="19050" cap="rnd">
              <a:solidFill>
                <a:srgbClr val="C00000"/>
              </a:solidFill>
              <a:prstDash val="sysDot"/>
              <a:round/>
            </a:ln>
            <a:effectLst/>
          </c:spPr>
          <c:marker>
            <c:symbol val="none"/>
          </c:marker>
          <c:xVal>
            <c:numRef>
              <c:f>Sheet1!$A$98:$A$99</c:f>
              <c:numCache>
                <c:formatCode>General</c:formatCode>
                <c:ptCount val="2"/>
                <c:pt idx="0">
                  <c:v>0</c:v>
                </c:pt>
                <c:pt idx="1">
                  <c:v>-51.74251278390936</c:v>
                </c:pt>
              </c:numCache>
            </c:numRef>
          </c:xVal>
          <c:yVal>
            <c:numRef>
              <c:f>Sheet1!$B$98:$B$99</c:f>
              <c:numCache>
                <c:formatCode>General</c:formatCode>
                <c:ptCount val="2"/>
                <c:pt idx="0">
                  <c:v>0.26398164049008</c:v>
                </c:pt>
                <c:pt idx="1">
                  <c:v>0.26398164049008</c:v>
                </c:pt>
              </c:numCache>
            </c:numRef>
          </c:yVal>
          <c:smooth val="0"/>
          <c:extLst>
            <c:ext xmlns:c16="http://schemas.microsoft.com/office/drawing/2014/chart" uri="{C3380CC4-5D6E-409C-BE32-E72D297353CC}">
              <c16:uniqueId val="{00000003-F32D-48B7-BC20-E66FC6253BAD}"/>
            </c:ext>
          </c:extLst>
        </c:ser>
        <c:ser>
          <c:idx val="3"/>
          <c:order val="3"/>
          <c:tx>
            <c:strRef>
              <c:f>Sheet1!$B$10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2:$A$103</c:f>
              <c:numCache>
                <c:formatCode>General</c:formatCode>
                <c:ptCount val="2"/>
                <c:pt idx="0">
                  <c:v>-51.74251278390936</c:v>
                </c:pt>
                <c:pt idx="1">
                  <c:v>-51.74251278390936</c:v>
                </c:pt>
              </c:numCache>
            </c:numRef>
          </c:xVal>
          <c:yVal>
            <c:numRef>
              <c:f>Sheet1!$B$102:$B$103</c:f>
              <c:numCache>
                <c:formatCode>General</c:formatCode>
                <c:ptCount val="2"/>
                <c:pt idx="0">
                  <c:v>0.2639816404900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06:$A$107</c:f>
              <c:numCache>
                <c:formatCode>General</c:formatCode>
                <c:ptCount val="2"/>
                <c:pt idx="0">
                  <c:v>0</c:v>
                </c:pt>
                <c:pt idx="1">
                  <c:v>26.69561187489261</c:v>
                </c:pt>
              </c:numCache>
            </c:numRef>
          </c:xVal>
          <c:yVal>
            <c:numRef>
              <c:f>Sheet1!$B$106:$B$107</c:f>
              <c:numCache>
                <c:formatCode>General</c:formatCode>
                <c:ptCount val="2"/>
                <c:pt idx="0">
                  <c:v>0.2586541915726984</c:v>
                </c:pt>
                <c:pt idx="1">
                  <c:v>0.2586541915726984</c:v>
                </c:pt>
              </c:numCache>
            </c:numRef>
          </c:yVal>
          <c:smooth val="0"/>
          <c:extLst>
            <c:ext xmlns:c16="http://schemas.microsoft.com/office/drawing/2014/chart" uri="{C3380CC4-5D6E-409C-BE32-E72D297353CC}">
              <c16:uniqueId val="{0000000A-F32D-48B7-BC20-E66FC6253BAD}"/>
            </c:ext>
          </c:extLst>
        </c:ser>
        <c:ser>
          <c:idx val="5"/>
          <c:order val="5"/>
          <c:tx>
            <c:strRef>
              <c:f>Sheet1!$B$10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0:$A$111</c:f>
              <c:numCache>
                <c:formatCode>General</c:formatCode>
                <c:ptCount val="2"/>
                <c:pt idx="0">
                  <c:v>26.69561187489261</c:v>
                </c:pt>
                <c:pt idx="1">
                  <c:v>26.69561187489261</c:v>
                </c:pt>
              </c:numCache>
            </c:numRef>
          </c:xVal>
          <c:yVal>
            <c:numRef>
              <c:f>Sheet1!$B$110:$B$111</c:f>
              <c:numCache>
                <c:formatCode>General</c:formatCode>
                <c:ptCount val="2"/>
                <c:pt idx="0">
                  <c:v>0.25865419157269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4:$A$115</c:f>
              <c:numCache>
                <c:formatCode>General</c:formatCode>
                <c:ptCount val="2"/>
                <c:pt idx="0">
                  <c:v>0</c:v>
                </c:pt>
                <c:pt idx="1">
                  <c:v>2860.052241077077</c:v>
                </c:pt>
              </c:numCache>
            </c:numRef>
          </c:xVal>
          <c:yVal>
            <c:numRef>
              <c:f>Sheet1!$B$114:$B$115</c:f>
              <c:numCache>
                <c:formatCode>General</c:formatCode>
                <c:ptCount val="2"/>
                <c:pt idx="0">
                  <c:v>0.06621508402826234</c:v>
                </c:pt>
                <c:pt idx="1">
                  <c:v>0.06621508402826234</c:v>
                </c:pt>
              </c:numCache>
            </c:numRef>
          </c:yVal>
          <c:smooth val="0"/>
          <c:extLst>
            <c:ext xmlns:c16="http://schemas.microsoft.com/office/drawing/2014/chart" uri="{C3380CC4-5D6E-409C-BE32-E72D297353CC}">
              <c16:uniqueId val="{00000011-F32D-48B7-BC20-E66FC6253BAD}"/>
            </c:ext>
          </c:extLst>
        </c:ser>
        <c:ser>
          <c:idx val="7"/>
          <c:order val="7"/>
          <c:tx>
            <c:strRef>
              <c:f>Sheet1!$B$11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8:$A$119</c:f>
              <c:numCache>
                <c:formatCode>General</c:formatCode>
                <c:ptCount val="2"/>
                <c:pt idx="0">
                  <c:v>2860.052241077077</c:v>
                </c:pt>
                <c:pt idx="1">
                  <c:v>2860.052241077077</c:v>
                </c:pt>
              </c:numCache>
            </c:numRef>
          </c:xVal>
          <c:yVal>
            <c:numRef>
              <c:f>Sheet1!$B$118:$B$119</c:f>
              <c:numCache>
                <c:formatCode>General</c:formatCode>
                <c:ptCount val="2"/>
                <c:pt idx="0">
                  <c:v>0.0662150840282623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2:$A$146</c:f>
              <c:numCache>
                <c:formatCode>General</c:formatCode>
                <c:ptCount val="25"/>
                <c:pt idx="0">
                  <c:v>1165.7669</c:v>
                </c:pt>
                <c:pt idx="1">
                  <c:v>1143.5882</c:v>
                </c:pt>
                <c:pt idx="2">
                  <c:v>2284.5</c:v>
                </c:pt>
                <c:pt idx="3">
                  <c:v>960.6471</c:v>
                </c:pt>
                <c:pt idx="4">
                  <c:v>4469.75</c:v>
                </c:pt>
                <c:pt idx="5">
                  <c:v>1082.3739</c:v>
                </c:pt>
                <c:pt idx="6">
                  <c:v>1037.4556</c:v>
                </c:pt>
                <c:pt idx="7">
                  <c:v>1203.175</c:v>
                </c:pt>
                <c:pt idx="8">
                  <c:v>1018.5574</c:v>
                </c:pt>
                <c:pt idx="9">
                  <c:v>1017.831</c:v>
                </c:pt>
                <c:pt idx="10">
                  <c:v>643.1667</c:v>
                </c:pt>
                <c:pt idx="11">
                  <c:v>1224.1778</c:v>
                </c:pt>
                <c:pt idx="12">
                  <c:v>1495.7419</c:v>
                </c:pt>
                <c:pt idx="13">
                  <c:v>1634.1379</c:v>
                </c:pt>
                <c:pt idx="14">
                  <c:v>2379.0</c:v>
                </c:pt>
                <c:pt idx="15">
                  <c:v>1219.2372</c:v>
                </c:pt>
                <c:pt idx="16">
                  <c:v>3215.5</c:v>
                </c:pt>
                <c:pt idx="17">
                  <c:v>1608.8571</c:v>
                </c:pt>
                <c:pt idx="18">
                  <c:v>1543.7857</c:v>
                </c:pt>
                <c:pt idx="19">
                  <c:v>3721.7273</c:v>
                </c:pt>
                <c:pt idx="20">
                  <c:v>694.1333</c:v>
                </c:pt>
                <c:pt idx="21">
                  <c:v>1046.025</c:v>
                </c:pt>
                <c:pt idx="22">
                  <c:v>26.69561187489261</c:v>
                </c:pt>
                <c:pt idx="23">
                  <c:v>-51.74251278390936</c:v>
                </c:pt>
                <c:pt idx="24">
                  <c:v>2860.052241077077</c:v>
                </c:pt>
              </c:numCache>
            </c:numRef>
          </c:xVal>
          <c:yVal>
            <c:numRef>
              <c:f>Sheet1!$B$122:$B$146</c:f>
              <c:numCache>
                <c:formatCode>General</c:formatCode>
                <c:ptCount val="25"/>
                <c:pt idx="0">
                  <c:v>0.18128946457113854</c:v>
                </c:pt>
                <c:pt idx="1">
                  <c:v>0.1827958225038135</c:v>
                </c:pt>
                <c:pt idx="2">
                  <c:v>0.10530608954325119</c:v>
                </c:pt>
                <c:pt idx="3">
                  <c:v>0.1952210222313573</c:v>
                </c:pt>
                <c:pt idx="4">
                  <c:v>-0.04311418181520854</c:v>
                </c:pt>
                <c:pt idx="5">
                  <c:v>0.18695344429400595</c:v>
                </c:pt>
                <c:pt idx="6">
                  <c:v>0.1900042559974544</c:v>
                </c:pt>
                <c:pt idx="7">
                  <c:v>0.17874873909212957</c:v>
                </c:pt>
                <c:pt idx="8">
                  <c:v>0.19128780523538436</c:v>
                </c:pt>
                <c:pt idx="9">
                  <c:v>0.1913371416889319</c:v>
                </c:pt>
                <c:pt idx="10">
                  <c:v>0.2167840137055558</c:v>
                </c:pt>
                <c:pt idx="11">
                  <c:v>0.1773222472603998</c:v>
                </c:pt>
                <c:pt idx="12">
                  <c:v>0.15887785077797634</c:v>
                </c:pt>
                <c:pt idx="13">
                  <c:v>0.14947811533584138</c:v>
                </c:pt>
                <c:pt idx="14">
                  <c:v>0.09888773208146218</c:v>
                </c:pt>
                <c:pt idx="15">
                  <c:v>0.17765780849717985</c:v>
                </c:pt>
                <c:pt idx="16">
                  <c:v>0.04207338269747793</c:v>
                </c:pt>
                <c:pt idx="17">
                  <c:v>0.15119516519107945</c:v>
                </c:pt>
                <c:pt idx="18">
                  <c:v>0.15561475784440282</c:v>
                </c:pt>
                <c:pt idx="19">
                  <c:v>0.007690866630638726</c:v>
                </c:pt>
                <c:pt idx="20">
                  <c:v>0.21332240674881492</c:v>
                </c:pt>
                <c:pt idx="21">
                  <c:v>0.18942222983414164</c:v>
                </c:pt>
                <c:pt idx="22">
                  <c:v>0.2586541915726984</c:v>
                </c:pt>
                <c:pt idx="23">
                  <c:v>0.26398164049008</c:v>
                </c:pt>
                <c:pt idx="24">
                  <c:v>0.0662150840282623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36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552631578947368"/>
          <c:min val="0.00262295081967213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c:f>
              <c:numCache>
                <c:formatCode>General</c:formatCode>
                <c:ptCount val="6"/>
                <c:pt idx="0">
                  <c:v>1.090065208488093</c:v>
                </c:pt>
                <c:pt idx="1">
                  <c:v>1.173144798046696</c:v>
                </c:pt>
                <c:pt idx="2">
                  <c:v>1.3293770860450165</c:v>
                </c:pt>
                <c:pt idx="3">
                  <c:v>1.4913036915067515</c:v>
                </c:pt>
                <c:pt idx="4">
                  <c:v>1.312644350583748</c:v>
                </c:pt>
                <c:pt idx="5">
                  <c:v>0.8393814668077446</c:v>
                </c:pt>
              </c:numCache>
            </c:numRef>
          </c:xVal>
          <c:yVal>
            <c:numRef>
              <c:f>Sheet1!$B$2:$B$7</c:f>
              <c:numCache>
                <c:formatCode>General</c:formatCode>
                <c:ptCount val="6"/>
                <c:pt idx="0">
                  <c:v>0.006666666666666667</c:v>
                </c:pt>
                <c:pt idx="1">
                  <c:v>0.0049261083743842365</c:v>
                </c:pt>
                <c:pt idx="2">
                  <c:v>0.007299270072992700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096C-4121-9522-6AB7243CCAAE}"/>
            </c:ext>
          </c:extLst>
        </c:ser>
        <c:ser>
          <c:idx val="1"/>
          <c:order val="1"/>
          <c:tx>
            <c:strRef>
              <c:f>Sheet1!$B$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A$11</c:f>
              <c:numCache>
                <c:formatCode>General</c:formatCode>
                <c:ptCount val="2"/>
                <c:pt idx="0">
                  <c:v>0.8507482758215444</c:v>
                </c:pt>
                <c:pt idx="1">
                  <c:v>0.6765779675557466</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096C-4121-9522-6AB7243CCAAE}"/>
            </c:ext>
          </c:extLst>
        </c:ser>
        <c:ser>
          <c:idx val="2"/>
          <c:order val="2"/>
          <c:tx>
            <c:strRef>
              <c:f>Sheet1!$B$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A$15</c:f>
              <c:numCache>
                <c:formatCode>General</c:formatCode>
                <c:ptCount val="2"/>
                <c:pt idx="0">
                  <c:v>0</c:v>
                </c:pt>
                <c:pt idx="1">
                  <c:v>0.6765779675557465</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5-096C-4121-9522-6AB7243CCAAE}"/>
            </c:ext>
          </c:extLst>
        </c:ser>
        <c:ser>
          <c:idx val="3"/>
          <c:order val="3"/>
          <c:tx>
            <c:strRef>
              <c:f>Sheet1!$B$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A$19</c:f>
              <c:numCache>
                <c:formatCode>General</c:formatCode>
                <c:ptCount val="2"/>
                <c:pt idx="0">
                  <c:v>0.6765779675557465</c:v>
                </c:pt>
                <c:pt idx="1">
                  <c:v>0.6765779675557465</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2:$A$23</c:f>
              <c:numCache>
                <c:formatCode>General</c:formatCode>
                <c:ptCount val="2"/>
                <c:pt idx="0">
                  <c:v>0</c:v>
                </c:pt>
                <c:pt idx="1">
                  <c:v>0.6765779675557465</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D-096C-4121-9522-6AB7243CCAAE}"/>
            </c:ext>
          </c:extLst>
        </c:ser>
        <c:ser>
          <c:idx val="5"/>
          <c:order val="5"/>
          <c:tx>
            <c:strRef>
              <c:f>Sheet1!$B$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6:$A$27</c:f>
              <c:numCache>
                <c:formatCode>General</c:formatCode>
                <c:ptCount val="2"/>
                <c:pt idx="0">
                  <c:v>0.6765779675557465</c:v>
                </c:pt>
                <c:pt idx="1">
                  <c:v>0.6765779675557465</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9</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0:$A$34</c:f>
              <c:numCache>
                <c:formatCode>General</c:formatCode>
                <c:ptCount val="5"/>
                <c:pt idx="0">
                  <c:v>0.8507482758215444</c:v>
                </c:pt>
                <c:pt idx="1">
                  <c:v>0.6765779675557466</c:v>
                </c:pt>
                <c:pt idx="2">
                  <c:v>0.6765779675557465</c:v>
                </c:pt>
                <c:pt idx="3">
                  <c:v>0.6765779675557465</c:v>
                </c:pt>
                <c:pt idx="4">
                  <c:v>0</c:v>
                </c:pt>
              </c:numCache>
            </c:numRef>
          </c:xVal>
          <c:yVal>
            <c:numRef>
              <c:f>Sheet1!$B$30:$B$34</c:f>
              <c:numCache>
                <c:formatCode>General</c:formatCode>
                <c:ptCount val="5"/>
                <c:pt idx="0">
                  <c:v>0.005454545454545462</c:v>
                </c:pt>
                <c:pt idx="1">
                  <c:v>0.0101010101010101</c:v>
                </c:pt>
                <c:pt idx="2">
                  <c:v>0.010101010101010104</c:v>
                </c:pt>
                <c:pt idx="3">
                  <c:v>0.010101010101010104</c:v>
                </c:pt>
                <c:pt idx="4">
                  <c:v>0.02815055963747383</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c:f>
              <c:numCache>
                <c:formatCode>General</c:formatCode>
                <c:ptCount val="6"/>
                <c:pt idx="0">
                  <c:v>2326.0</c:v>
                </c:pt>
                <c:pt idx="1">
                  <c:v>1970.0</c:v>
                </c:pt>
                <c:pt idx="2">
                  <c:v>1927.6667</c:v>
                </c:pt>
                <c:pt idx="3">
                  <c:v>2306.8</c:v>
                </c:pt>
                <c:pt idx="4">
                  <c:v>1859.6667</c:v>
                </c:pt>
                <c:pt idx="5">
                  <c:v>1772.0</c:v>
                </c:pt>
              </c:numCache>
            </c:numRef>
          </c:xVal>
          <c:yVal>
            <c:numRef>
              <c:f>Sheet1!$B$2:$B$7</c:f>
              <c:numCache>
                <c:formatCode>General</c:formatCode>
                <c:ptCount val="6"/>
                <c:pt idx="0">
                  <c:v>0.006666666666666667</c:v>
                </c:pt>
                <c:pt idx="1">
                  <c:v>0.0049261083743842365</c:v>
                </c:pt>
                <c:pt idx="2">
                  <c:v>0.007299270072992700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F32D-48B7-BC20-E66FC6253BAD}"/>
            </c:ext>
          </c:extLst>
        </c:ser>
        <c:ser>
          <c:idx val="1"/>
          <c:order val="1"/>
          <c:tx>
            <c:strRef>
              <c:f>Sheet1!$B$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A$11</c:f>
              <c:numCache>
                <c:formatCode>General</c:formatCode>
                <c:ptCount val="2"/>
                <c:pt idx="0">
                  <c:v>1715.6667</c:v>
                </c:pt>
                <c:pt idx="1">
                  <c:v>876.6667</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F32D-48B7-BC20-E66FC6253BAD}"/>
            </c:ext>
          </c:extLst>
        </c:ser>
        <c:ser>
          <c:idx val="2"/>
          <c:order val="2"/>
          <c:tx>
            <c:strRef>
              <c:f>Sheet1!$B$13</c:f>
              <c:strCache>
                <c:ptCount val="1"/>
                <c:pt idx="0">
                  <c:v>Custom Linep3yQ</c:v>
                </c:pt>
              </c:strCache>
            </c:strRef>
          </c:tx>
          <c:spPr>
            <a:ln w="19050" cap="rnd">
              <a:solidFill>
                <a:srgbClr val="C00000"/>
              </a:solidFill>
              <a:prstDash val="sysDot"/>
              <a:round/>
            </a:ln>
            <a:effectLst/>
          </c:spPr>
          <c:marker>
            <c:symbol val="none"/>
          </c:marker>
          <c:xVal>
            <c:numRef>
              <c:f>Sheet1!$A$14:$A$15</c:f>
              <c:numCache>
                <c:formatCode>General</c:formatCode>
                <c:ptCount val="2"/>
                <c:pt idx="0">
                  <c:v>0</c:v>
                </c:pt>
                <c:pt idx="1">
                  <c:v>876.6666999999995</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3-F32D-48B7-BC20-E66FC6253BAD}"/>
            </c:ext>
          </c:extLst>
        </c:ser>
        <c:ser>
          <c:idx val="3"/>
          <c:order val="3"/>
          <c:tx>
            <c:strRef>
              <c:f>Sheet1!$B$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A$19</c:f>
              <c:numCache>
                <c:formatCode>General</c:formatCode>
                <c:ptCount val="2"/>
                <c:pt idx="0">
                  <c:v>876.6666999999995</c:v>
                </c:pt>
                <c:pt idx="1">
                  <c:v>876.6666999999995</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2:$A$23</c:f>
              <c:numCache>
                <c:formatCode>General</c:formatCode>
                <c:ptCount val="2"/>
                <c:pt idx="0">
                  <c:v>0</c:v>
                </c:pt>
                <c:pt idx="1">
                  <c:v>876.6666999999995</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A-F32D-48B7-BC20-E66FC6253BAD}"/>
            </c:ext>
          </c:extLst>
        </c:ser>
        <c:ser>
          <c:idx val="5"/>
          <c:order val="5"/>
          <c:tx>
            <c:strRef>
              <c:f>Sheet1!$B$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6:$A$27</c:f>
              <c:numCache>
                <c:formatCode>General</c:formatCode>
                <c:ptCount val="2"/>
                <c:pt idx="0">
                  <c:v>876.6666999999995</c:v>
                </c:pt>
                <c:pt idx="1">
                  <c:v>876.6666999999995</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9</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0:$A$34</c:f>
              <c:numCache>
                <c:formatCode>General</c:formatCode>
                <c:ptCount val="5"/>
                <c:pt idx="0">
                  <c:v>1715.6667</c:v>
                </c:pt>
                <c:pt idx="1">
                  <c:v>876.6667</c:v>
                </c:pt>
                <c:pt idx="2">
                  <c:v>876.6666999999995</c:v>
                </c:pt>
                <c:pt idx="3">
                  <c:v>876.6666999999995</c:v>
                </c:pt>
                <c:pt idx="4">
                  <c:v>0</c:v>
                </c:pt>
              </c:numCache>
            </c:numRef>
          </c:xVal>
          <c:yVal>
            <c:numRef>
              <c:f>Sheet1!$B$30:$B$34</c:f>
              <c:numCache>
                <c:formatCode>General</c:formatCode>
                <c:ptCount val="5"/>
                <c:pt idx="0">
                  <c:v>0.0054545454545454515</c:v>
                </c:pt>
                <c:pt idx="1">
                  <c:v>0.0101010101010101</c:v>
                </c:pt>
                <c:pt idx="2">
                  <c:v>0.010101010101010102</c:v>
                </c:pt>
                <c:pt idx="3">
                  <c:v>0.010101010101010102</c:v>
                </c:pt>
                <c:pt idx="4">
                  <c:v>0.014956076642467583</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9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c:f>
              <c:numCache>
                <c:formatCode>General</c:formatCode>
                <c:ptCount val="6"/>
                <c:pt idx="0">
                  <c:v>1.6344157648746063</c:v>
                </c:pt>
                <c:pt idx="1">
                  <c:v>1.6480022740758282</c:v>
                </c:pt>
                <c:pt idx="2">
                  <c:v>1.8330119777805862</c:v>
                </c:pt>
                <c:pt idx="3">
                  <c:v>1.8521591890195577</c:v>
                </c:pt>
                <c:pt idx="4">
                  <c:v>2.2269659910086297</c:v>
                </c:pt>
                <c:pt idx="5">
                  <c:v>1.5348775367814087</c:v>
                </c:pt>
              </c:numCache>
            </c:numRef>
          </c:xVal>
          <c:yVal>
            <c:numRef>
              <c:f>Sheet1!$B$2:$B$7</c:f>
              <c:numCache>
                <c:formatCode>General</c:formatCode>
                <c:ptCount val="6"/>
                <c:pt idx="0">
                  <c:v>0.006666666666666667</c:v>
                </c:pt>
                <c:pt idx="1">
                  <c:v>0.0049261083743842365</c:v>
                </c:pt>
                <c:pt idx="2">
                  <c:v>0.007299270072992700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096C-4121-9522-6AB7243CCAAE}"/>
            </c:ext>
          </c:extLst>
        </c:ser>
        <c:ser>
          <c:idx val="1"/>
          <c:order val="1"/>
          <c:tx>
            <c:strRef>
              <c:f>Sheet1!$B$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A$11</c:f>
              <c:numCache>
                <c:formatCode>General</c:formatCode>
                <c:ptCount val="2"/>
                <c:pt idx="0">
                  <c:v>1.2864556839395145</c:v>
                </c:pt>
                <c:pt idx="1">
                  <c:v>0.6117647805912676</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096C-4121-9522-6AB7243CCAAE}"/>
            </c:ext>
          </c:extLst>
        </c:ser>
        <c:ser>
          <c:idx val="2"/>
          <c:order val="2"/>
          <c:tx>
            <c:strRef>
              <c:f>Sheet1!$B$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A$15</c:f>
              <c:numCache>
                <c:formatCode>General</c:formatCode>
                <c:ptCount val="2"/>
                <c:pt idx="0">
                  <c:v>0</c:v>
                </c:pt>
                <c:pt idx="1">
                  <c:v>0.6117647805912674</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5-096C-4121-9522-6AB7243CCAAE}"/>
            </c:ext>
          </c:extLst>
        </c:ser>
        <c:ser>
          <c:idx val="3"/>
          <c:order val="3"/>
          <c:tx>
            <c:strRef>
              <c:f>Sheet1!$B$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A$19</c:f>
              <c:numCache>
                <c:formatCode>General</c:formatCode>
                <c:ptCount val="2"/>
                <c:pt idx="0">
                  <c:v>0.6117647805912674</c:v>
                </c:pt>
                <c:pt idx="1">
                  <c:v>0.6117647805912674</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2:$A$23</c:f>
              <c:numCache>
                <c:formatCode>General</c:formatCode>
                <c:ptCount val="2"/>
                <c:pt idx="0">
                  <c:v>0</c:v>
                </c:pt>
                <c:pt idx="1">
                  <c:v>0.6117647805912674</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D-096C-4121-9522-6AB7243CCAAE}"/>
            </c:ext>
          </c:extLst>
        </c:ser>
        <c:ser>
          <c:idx val="5"/>
          <c:order val="5"/>
          <c:tx>
            <c:strRef>
              <c:f>Sheet1!$B$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6:$A$27</c:f>
              <c:numCache>
                <c:formatCode>General</c:formatCode>
                <c:ptCount val="2"/>
                <c:pt idx="0">
                  <c:v>0.6117647805912674</c:v>
                </c:pt>
                <c:pt idx="1">
                  <c:v>0.6117647805912674</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9</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0:$A$34</c:f>
              <c:numCache>
                <c:formatCode>General</c:formatCode>
                <c:ptCount val="5"/>
                <c:pt idx="0">
                  <c:v>1.2864556839395145</c:v>
                </c:pt>
                <c:pt idx="1">
                  <c:v>0.6117647805912676</c:v>
                </c:pt>
                <c:pt idx="2">
                  <c:v>0.6117647805912674</c:v>
                </c:pt>
                <c:pt idx="3">
                  <c:v>0.6117647805912674</c:v>
                </c:pt>
                <c:pt idx="4">
                  <c:v>0</c:v>
                </c:pt>
              </c:numCache>
            </c:numRef>
          </c:xVal>
          <c:yVal>
            <c:numRef>
              <c:f>Sheet1!$B$30:$B$34</c:f>
              <c:numCache>
                <c:formatCode>General</c:formatCode>
                <c:ptCount val="5"/>
                <c:pt idx="0">
                  <c:v>0.0054545454545454515</c:v>
                </c:pt>
                <c:pt idx="1">
                  <c:v>0.0101010101010101</c:v>
                </c:pt>
                <c:pt idx="2">
                  <c:v>0.010101010101010102</c:v>
                </c:pt>
                <c:pt idx="3">
                  <c:v>0.010101010101010102</c:v>
                </c:pt>
                <c:pt idx="4">
                  <c:v>0.014314114814387756</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34.3125</c:v>
                </c:pt>
                <c:pt idx="1">
                  <c:v>3740.2</c:v>
                </c:pt>
                <c:pt idx="2">
                  <c:v>3175.8333</c:v>
                </c:pt>
                <c:pt idx="3">
                  <c:v>3027.4</c:v>
                </c:pt>
                <c:pt idx="4">
                  <c:v>3982.3333</c:v>
                </c:pt>
                <c:pt idx="5">
                  <c:v>3848.6667</c:v>
                </c:pt>
                <c:pt idx="6">
                  <c:v>3216.6364</c:v>
                </c:pt>
                <c:pt idx="7">
                  <c:v>3208.875</c:v>
                </c:pt>
                <c:pt idx="8">
                  <c:v>3023.0</c:v>
                </c:pt>
                <c:pt idx="9">
                  <c:v>3233.3333</c:v>
                </c:pt>
                <c:pt idx="10">
                  <c:v>3528.3333</c:v>
                </c:pt>
                <c:pt idx="11">
                  <c:v>3129.7</c:v>
                </c:pt>
                <c:pt idx="12">
                  <c:v>3208.4545</c:v>
                </c:pt>
                <c:pt idx="13">
                  <c:v>3153.0</c:v>
                </c:pt>
                <c:pt idx="14">
                  <c:v>3951.0</c:v>
                </c:pt>
                <c:pt idx="15">
                  <c:v>3128.3333</c:v>
                </c:pt>
                <c:pt idx="16">
                  <c:v>4342.0</c:v>
                </c:pt>
                <c:pt idx="17">
                  <c:v>3291.5</c:v>
                </c:pt>
                <c:pt idx="18">
                  <c:v>4434.0</c:v>
                </c:pt>
                <c:pt idx="19">
                  <c:v>3808.0</c:v>
                </c:pt>
                <c:pt idx="20">
                  <c:v>3044.2</c:v>
                </c:pt>
                <c:pt idx="21">
                  <c:v>6720.0</c:v>
                </c:pt>
                <c:pt idx="22">
                  <c:v>3122.1429</c:v>
                </c:pt>
                <c:pt idx="23">
                  <c:v>3924.6</c:v>
                </c:pt>
                <c:pt idx="24">
                  <c:v>2808.3333</c:v>
                </c:pt>
                <c:pt idx="25">
                  <c:v>2765.0</c:v>
                </c:pt>
                <c:pt idx="26">
                  <c:v>3202.0</c:v>
                </c:pt>
                <c:pt idx="27">
                  <c:v>3106.4</c:v>
                </c:pt>
                <c:pt idx="28">
                  <c:v>3346.6</c:v>
                </c:pt>
                <c:pt idx="29">
                  <c:v>3119.6667</c:v>
                </c:pt>
                <c:pt idx="30">
                  <c:v>3099.8</c:v>
                </c:pt>
                <c:pt idx="31">
                  <c:v>3342.0</c:v>
                </c:pt>
                <c:pt idx="32">
                  <c:v>4329.0</c:v>
                </c:pt>
                <c:pt idx="33">
                  <c:v>2663.4615</c:v>
                </c:pt>
                <c:pt idx="34">
                  <c:v>3005.3571</c:v>
                </c:pt>
                <c:pt idx="35">
                  <c:v>2884.4444</c:v>
                </c:pt>
                <c:pt idx="36">
                  <c:v>2882.1111</c:v>
                </c:pt>
                <c:pt idx="37">
                  <c:v>3050.0</c:v>
                </c:pt>
                <c:pt idx="38">
                  <c:v>3066.2</c:v>
                </c:pt>
                <c:pt idx="39">
                  <c:v>3735.1667</c:v>
                </c:pt>
                <c:pt idx="40">
                  <c:v>4272.75</c:v>
                </c:pt>
                <c:pt idx="41">
                  <c:v>4003.25</c:v>
                </c:pt>
                <c:pt idx="42">
                  <c:v>3549.6667</c:v>
                </c:pt>
                <c:pt idx="43">
                  <c:v>3104.1429</c:v>
                </c:pt>
                <c:pt idx="44">
                  <c:v>3004.2222</c:v>
                </c:pt>
                <c:pt idx="45">
                  <c:v>3138.1429</c:v>
                </c:pt>
                <c:pt idx="46">
                  <c:v>2995.8667</c:v>
                </c:pt>
                <c:pt idx="47">
                  <c:v>2660.1667</c:v>
                </c:pt>
                <c:pt idx="48">
                  <c:v>3669.0</c:v>
                </c:pt>
                <c:pt idx="49">
                  <c:v>3025.0556</c:v>
                </c:pt>
                <c:pt idx="50">
                  <c:v>3099.3571</c:v>
                </c:pt>
                <c:pt idx="51">
                  <c:v>2739.4667</c:v>
                </c:pt>
                <c:pt idx="52">
                  <c:v>3202.5</c:v>
                </c:pt>
                <c:pt idx="53">
                  <c:v>3334.5</c:v>
                </c:pt>
                <c:pt idx="54">
                  <c:v>2909.6923</c:v>
                </c:pt>
                <c:pt idx="55">
                  <c:v>3116.0</c:v>
                </c:pt>
                <c:pt idx="56">
                  <c:v>2599.75</c:v>
                </c:pt>
                <c:pt idx="57">
                  <c:v>2696.8333</c:v>
                </c:pt>
                <c:pt idx="58">
                  <c:v>2451.5714</c:v>
                </c:pt>
                <c:pt idx="59">
                  <c:v>2641.6154</c:v>
                </c:pt>
                <c:pt idx="60">
                  <c:v>2559.1905</c:v>
                </c:pt>
                <c:pt idx="61">
                  <c:v>2616.8125</c:v>
                </c:pt>
                <c:pt idx="62">
                  <c:v>2355.3889</c:v>
                </c:pt>
                <c:pt idx="63">
                  <c:v>2616.8235</c:v>
                </c:pt>
                <c:pt idx="64">
                  <c:v>2307.1667</c:v>
                </c:pt>
                <c:pt idx="65">
                  <c:v>2335.0625</c:v>
                </c:pt>
                <c:pt idx="66">
                  <c:v>2205.0588</c:v>
                </c:pt>
                <c:pt idx="67">
                  <c:v>2366.9167</c:v>
                </c:pt>
                <c:pt idx="68">
                  <c:v>1907.25</c:v>
                </c:pt>
                <c:pt idx="69">
                  <c:v>1806.8462</c:v>
                </c:pt>
                <c:pt idx="70">
                  <c:v>2093.8182</c:v>
                </c:pt>
                <c:pt idx="71">
                  <c:v>1689.1818</c:v>
                </c:pt>
                <c:pt idx="72">
                  <c:v>2030.4375</c:v>
                </c:pt>
                <c:pt idx="73">
                  <c:v>1540.12</c:v>
                </c:pt>
                <c:pt idx="74">
                  <c:v>1899.0714</c:v>
                </c:pt>
                <c:pt idx="75">
                  <c:v>2853.48</c:v>
                </c:pt>
                <c:pt idx="76">
                  <c:v>2875.1212</c:v>
                </c:pt>
                <c:pt idx="77">
                  <c:v>3425.6333</c:v>
                </c:pt>
                <c:pt idx="78">
                  <c:v>2855.7568</c:v>
                </c:pt>
                <c:pt idx="79">
                  <c:v>3978.3</c:v>
                </c:pt>
                <c:pt idx="80">
                  <c:v>3440.1333</c:v>
                </c:pt>
                <c:pt idx="81">
                  <c:v>3386.2927</c:v>
                </c:pt>
                <c:pt idx="82">
                  <c:v>3334.303</c:v>
                </c:pt>
                <c:pt idx="83">
                  <c:v>3918.6087</c:v>
                </c:pt>
                <c:pt idx="84">
                  <c:v>3499.875</c:v>
                </c:pt>
                <c:pt idx="85">
                  <c:v>3327.3478</c:v>
                </c:pt>
                <c:pt idx="86">
                  <c:v>4500.5714</c:v>
                </c:pt>
                <c:pt idx="87">
                  <c:v>4381.2143</c:v>
                </c:pt>
                <c:pt idx="88">
                  <c:v>3936.9063</c:v>
                </c:pt>
                <c:pt idx="89">
                  <c:v>3929.9118</c:v>
                </c:pt>
                <c:pt idx="90">
                  <c:v>4465.6207</c:v>
                </c:pt>
                <c:pt idx="91">
                  <c:v>3604.8857</c:v>
                </c:pt>
                <c:pt idx="92">
                  <c:v>4148.6286</c:v>
                </c:pt>
                <c:pt idx="93">
                  <c:v>4459.8824</c:v>
                </c:pt>
                <c:pt idx="94">
                  <c:v>4274.8824</c:v>
                </c:pt>
                <c:pt idx="95">
                  <c:v>4202.5714</c:v>
                </c:pt>
                <c:pt idx="96">
                  <c:v>3518.4405</c:v>
                </c:pt>
                <c:pt idx="97">
                  <c:v>3508.6293</c:v>
                </c:pt>
                <c:pt idx="98">
                  <c:v>3336.811</c:v>
                </c:pt>
                <c:pt idx="99">
                  <c:v>3491.1985</c:v>
                </c:pt>
                <c:pt idx="100">
                  <c:v>3901.069</c:v>
                </c:pt>
                <c:pt idx="101">
                  <c:v>3699.9652</c:v>
                </c:pt>
                <c:pt idx="102">
                  <c:v>3851.6974</c:v>
                </c:pt>
                <c:pt idx="103">
                  <c:v>3939.1392</c:v>
                </c:pt>
                <c:pt idx="104">
                  <c:v>4226.3208</c:v>
                </c:pt>
              </c:numCache>
            </c:numRef>
          </c:xVal>
          <c:yVal>
            <c:numRef>
              <c:f>Sheet1!$B$2:$B$106</c:f>
              <c:numCache>
                <c:formatCode>General</c:formatCode>
                <c:ptCount val="105"/>
                <c:pt idx="0">
                  <c:v>0.00036313292934794946</c:v>
                </c:pt>
                <c:pt idx="1">
                  <c:v>0.0001180052394326308</c:v>
                </c:pt>
                <c:pt idx="2">
                  <c:v>0.0001380738695201933</c:v>
                </c:pt>
                <c:pt idx="3">
                  <c:v>0.00012080796366096453</c:v>
                </c:pt>
                <c:pt idx="4">
                  <c:v>8.474336883138894e-05</c:v>
                </c:pt>
                <c:pt idx="5">
                  <c:v>0.00017300040366760857</c:v>
                </c:pt>
                <c:pt idx="6">
                  <c:v>0.0003105064077231412</c:v>
                </c:pt>
                <c:pt idx="7">
                  <c:v>0.00025602457835952253</c:v>
                </c:pt>
                <c:pt idx="8">
                  <c:v>0.0002340276152586005</c:v>
                </c:pt>
                <c:pt idx="9">
                  <c:v>0.0002367673366305377</c:v>
                </c:pt>
                <c:pt idx="10">
                  <c:v>0.00015051173991571343</c:v>
                </c:pt>
                <c:pt idx="11">
                  <c:v>0.0002527805864509606</c:v>
                </c:pt>
                <c:pt idx="12">
                  <c:v>0.0002554337729890396</c:v>
                </c:pt>
                <c:pt idx="13">
                  <c:v>0.0002448639780601876</c:v>
                </c:pt>
                <c:pt idx="14">
                  <c:v>7.260582298700355e-05</c:v>
                </c:pt>
                <c:pt idx="15">
                  <c:v>0.0001733452748967151</c:v>
                </c:pt>
                <c:pt idx="16">
                  <c:v>6.55780706931602e-05</c:v>
                </c:pt>
                <c:pt idx="17">
                  <c:v>0.00014305639998569435</c:v>
                </c:pt>
                <c:pt idx="18">
                  <c:v>7.898270278808941e-05</c:v>
                </c:pt>
                <c:pt idx="19">
                  <c:v>0.00013928223222990855</c:v>
                </c:pt>
                <c:pt idx="20">
                  <c:v>0.0001914168676543777</c:v>
                </c:pt>
                <c:pt idx="21">
                  <c:v>4.51773209848656e-05</c:v>
                </c:pt>
                <c:pt idx="22">
                  <c:v>0.0003267058713712312</c:v>
                </c:pt>
                <c:pt idx="23">
                  <c:v>0.0002458210422812193</c:v>
                </c:pt>
                <c:pt idx="24">
                  <c:v>0.0004160502958579882</c:v>
                </c:pt>
                <c:pt idx="25">
                  <c:v>0.0005230125523012552</c:v>
                </c:pt>
                <c:pt idx="26">
                  <c:v>0.0004662222015012355</c:v>
                </c:pt>
                <c:pt idx="27">
                  <c:v>0.00022745882995177873</c:v>
                </c:pt>
                <c:pt idx="28">
                  <c:v>0.00023182492581602375</c:v>
                </c:pt>
                <c:pt idx="29">
                  <c:v>0.00036588340515489066</c:v>
                </c:pt>
                <c:pt idx="30">
                  <c:v>0.00026104207998329333</c:v>
                </c:pt>
                <c:pt idx="31">
                  <c:v>0.00030453761039488374</c:v>
                </c:pt>
                <c:pt idx="32">
                  <c:v>0.00020004000800160032</c:v>
                </c:pt>
                <c:pt idx="33">
                  <c:v>0.0005195428023339461</c:v>
                </c:pt>
                <c:pt idx="34">
                  <c:v>0.0005066406108638222</c:v>
                </c:pt>
                <c:pt idx="35">
                  <c:v>0.0005345687811831789</c:v>
                </c:pt>
                <c:pt idx="36">
                  <c:v>0.00033811706364114506</c:v>
                </c:pt>
                <c:pt idx="37">
                  <c:v>0.00026327336551118914</c:v>
                </c:pt>
                <c:pt idx="38">
                  <c:v>0.00021714583514288196</c:v>
                </c:pt>
                <c:pt idx="39">
                  <c:v>0.00027820280984837946</c:v>
                </c:pt>
                <c:pt idx="40">
                  <c:v>0.00015428527347064721</c:v>
                </c:pt>
                <c:pt idx="41">
                  <c:v>0.00016618196925633567</c:v>
                </c:pt>
                <c:pt idx="42">
                  <c:v>0.00010635280771412365</c:v>
                </c:pt>
                <c:pt idx="43">
                  <c:v>0.00022198262193188305</c:v>
                </c:pt>
                <c:pt idx="44">
                  <c:v>0.00019422085068732602</c:v>
                </c:pt>
                <c:pt idx="45">
                  <c:v>0.0001392065228199264</c:v>
                </c:pt>
                <c:pt idx="46">
                  <c:v>0.0002866479390013186</c:v>
                </c:pt>
                <c:pt idx="47">
                  <c:v>0.0003465937536103516</c:v>
                </c:pt>
                <c:pt idx="48">
                  <c:v>0.00017395085888236573</c:v>
                </c:pt>
                <c:pt idx="49">
                  <c:v>0.0001764757786993735</c:v>
                </c:pt>
                <c:pt idx="50">
                  <c:v>0.0002607124899905026</c:v>
                </c:pt>
                <c:pt idx="51">
                  <c:v>0.00033724537973829757</c:v>
                </c:pt>
                <c:pt idx="52">
                  <c:v>0.00011712573447595994</c:v>
                </c:pt>
                <c:pt idx="53">
                  <c:v>0.00014421690222094028</c:v>
                </c:pt>
                <c:pt idx="54">
                  <c:v>0.00034161082643542243</c:v>
                </c:pt>
                <c:pt idx="55">
                  <c:v>0.0002166553825321598</c:v>
                </c:pt>
                <c:pt idx="56">
                  <c:v>0.00021784119376974185</c:v>
                </c:pt>
                <c:pt idx="57">
                  <c:v>0.00014241633040588654</c:v>
                </c:pt>
                <c:pt idx="58">
                  <c:v>0.00015347848012453683</c:v>
                </c:pt>
                <c:pt idx="59">
                  <c:v>0.0001909798736594682</c:v>
                </c:pt>
                <c:pt idx="60">
                  <c:v>0.00033729521362030194</c:v>
                </c:pt>
                <c:pt idx="61">
                  <c:v>0.00034526661056084244</c:v>
                </c:pt>
                <c:pt idx="62">
                  <c:v>0.00037922679869377434</c:v>
                </c:pt>
                <c:pt idx="63">
                  <c:v>0.0003265902061360536</c:v>
                </c:pt>
                <c:pt idx="64">
                  <c:v>0.00044982569254413917</c:v>
                </c:pt>
                <c:pt idx="65">
                  <c:v>0.0003264639869414405</c:v>
                </c:pt>
                <c:pt idx="66">
                  <c:v>0.00035840026985432084</c:v>
                </c:pt>
                <c:pt idx="67">
                  <c:v>0.00026140943252369025</c:v>
                </c:pt>
                <c:pt idx="68">
                  <c:v>0.00042267659956675646</c:v>
                </c:pt>
                <c:pt idx="69">
                  <c:v>0.00044499212706236737</c:v>
                </c:pt>
                <c:pt idx="70">
                  <c:v>0.00035560728025086475</c:v>
                </c:pt>
                <c:pt idx="71">
                  <c:v>0.00037821482602118004</c:v>
                </c:pt>
                <c:pt idx="72">
                  <c:v>0.0005287857756626346</c:v>
                </c:pt>
                <c:pt idx="73">
                  <c:v>0.0008655011251514627</c:v>
                </c:pt>
                <c:pt idx="74">
                  <c:v>0.0009342052582410249</c:v>
                </c:pt>
                <c:pt idx="75">
                  <c:v>0.0009785118791342127</c:v>
                </c:pt>
                <c:pt idx="76">
                  <c:v>0.001377582968065122</c:v>
                </c:pt>
                <c:pt idx="77">
                  <c:v>0.0012530804895367778</c:v>
                </c:pt>
                <c:pt idx="78">
                  <c:v>0.0017800442605599924</c:v>
                </c:pt>
                <c:pt idx="79">
                  <c:v>0.0012622012790306295</c:v>
                </c:pt>
                <c:pt idx="80">
                  <c:v>0.001277737552706674</c:v>
                </c:pt>
                <c:pt idx="81">
                  <c:v>0.001474607970076248</c:v>
                </c:pt>
                <c:pt idx="82">
                  <c:v>0.0015154298310066127</c:v>
                </c:pt>
                <c:pt idx="83">
                  <c:v>0.0012142329215499947</c:v>
                </c:pt>
                <c:pt idx="84">
                  <c:v>0.0013257471137380545</c:v>
                </c:pt>
                <c:pt idx="85">
                  <c:v>0.0011378252696151183</c:v>
                </c:pt>
                <c:pt idx="86">
                  <c:v>0.0010361927318481238</c:v>
                </c:pt>
                <c:pt idx="87">
                  <c:v>0.0009866450544416647</c:v>
                </c:pt>
                <c:pt idx="88">
                  <c:v>0.001400131262305841</c:v>
                </c:pt>
                <c:pt idx="89">
                  <c:v>0.0016241520970669723</c:v>
                </c:pt>
                <c:pt idx="90">
                  <c:v>0.0014310387367382185</c:v>
                </c:pt>
                <c:pt idx="91">
                  <c:v>0.0016291193446285608</c:v>
                </c:pt>
                <c:pt idx="92">
                  <c:v>0.001333790632978926</c:v>
                </c:pt>
                <c:pt idx="93">
                  <c:v>0.001266577261212934</c:v>
                </c:pt>
                <c:pt idx="94">
                  <c:v>0.0014334499768118387</c:v>
                </c:pt>
                <c:pt idx="95">
                  <c:v>0.0014944036109670927</c:v>
                </c:pt>
                <c:pt idx="96">
                  <c:v>0.0018807514049660793</c:v>
                </c:pt>
                <c:pt idx="97">
                  <c:v>0.002286209818876998</c:v>
                </c:pt>
                <c:pt idx="98">
                  <c:v>0.002183143382668936</c:v>
                </c:pt>
                <c:pt idx="99">
                  <c:v>0.0020329456784956203</c:v>
                </c:pt>
                <c:pt idx="100">
                  <c:v>0.0015614231564438318</c:v>
                </c:pt>
                <c:pt idx="101">
                  <c:v>0.0020515565070020514</c:v>
                </c:pt>
                <c:pt idx="102">
                  <c:v>0.0016952933303591344</c:v>
                </c:pt>
                <c:pt idx="103">
                  <c:v>0.001670790770467187</c:v>
                </c:pt>
                <c:pt idx="104">
                  <c:v>0.001277385457087079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numCache>
            </c:numRef>
          </c:xVal>
          <c:yVal>
            <c:numRef>
              <c:f>Sheet1!$B$109:$B$160</c:f>
              <c:numCache>
                <c:formatCode>General</c:formatCode>
                <c:ptCount val="52"/>
                <c:pt idx="0">
                  <c:v>0.0012644429910616962</c:v>
                </c:pt>
                <c:pt idx="1">
                  <c:v>0.0014938262960110169</c:v>
                </c:pt>
                <c:pt idx="2">
                  <c:v>0.001452142436232006</c:v>
                </c:pt>
                <c:pt idx="3">
                  <c:v>0.0015529253756400572</c:v>
                </c:pt>
                <c:pt idx="4">
                  <c:v>0.0014792577606647958</c:v>
                </c:pt>
                <c:pt idx="5">
                  <c:v>0.001294398982031987</c:v>
                </c:pt>
                <c:pt idx="6">
                  <c:v>0.0015030272238452094</c:v>
                </c:pt>
                <c:pt idx="7">
                  <c:v>0.0017374957274695227</c:v>
                </c:pt>
                <c:pt idx="8">
                  <c:v>0.0020296009492287515</c:v>
                </c:pt>
                <c:pt idx="9">
                  <c:v>0.0020912710917581003</c:v>
                </c:pt>
                <c:pt idx="10">
                  <c:v>0.0019877971342591315</c:v>
                </c:pt>
                <c:pt idx="11">
                  <c:v>0.0020619415574948453</c:v>
                </c:pt>
                <c:pt idx="12">
                  <c:v>0.0020706369561636745</c:v>
                </c:pt>
                <c:pt idx="13">
                  <c:v>0.0030358964395006557</c:v>
                </c:pt>
                <c:pt idx="14">
                  <c:v>0.003000451395342662</c:v>
                </c:pt>
                <c:pt idx="15">
                  <c:v>0.0029206601259003004</c:v>
                </c:pt>
                <c:pt idx="16">
                  <c:v>0.002713660888165246</c:v>
                </c:pt>
                <c:pt idx="17">
                  <c:v>0.0035899346360957767</c:v>
                </c:pt>
                <c:pt idx="18">
                  <c:v>0.0019464720194647203</c:v>
                </c:pt>
                <c:pt idx="19">
                  <c:v>0.0017023166308933462</c:v>
                </c:pt>
                <c:pt idx="20">
                  <c:v>0.001982521443599288</c:v>
                </c:pt>
                <c:pt idx="21">
                  <c:v>0.002600529737539128</c:v>
                </c:pt>
                <c:pt idx="22">
                  <c:v>0.0022813319095233474</c:v>
                </c:pt>
                <c:pt idx="23">
                  <c:v>0.0023333671502485543</c:v>
                </c:pt>
                <c:pt idx="24">
                  <c:v>0.0021462297896694808</c:v>
                </c:pt>
                <c:pt idx="25">
                  <c:v>0.0024488979959018443</c:v>
                </c:pt>
                <c:pt idx="26">
                  <c:v>0.002502767483274775</c:v>
                </c:pt>
                <c:pt idx="27">
                  <c:v>0.0023880597014925373</c:v>
                </c:pt>
                <c:pt idx="28">
                  <c:v>0.0020101690906940994</c:v>
                </c:pt>
                <c:pt idx="29">
                  <c:v>0.002372093023255814</c:v>
                </c:pt>
                <c:pt idx="30">
                  <c:v>0.0022753679318357864</c:v>
                </c:pt>
                <c:pt idx="31">
                  <c:v>0.0023828865421066884</c:v>
                </c:pt>
                <c:pt idx="32">
                  <c:v>0.0020210769452865597</c:v>
                </c:pt>
                <c:pt idx="33">
                  <c:v>0.0020408979951178517</c:v>
                </c:pt>
                <c:pt idx="34">
                  <c:v>0.0018805829807240243</c:v>
                </c:pt>
                <c:pt idx="35">
                  <c:v>0.002233041695647399</c:v>
                </c:pt>
                <c:pt idx="36">
                  <c:v>0.0025818944650637405</c:v>
                </c:pt>
                <c:pt idx="37">
                  <c:v>0.0026314507090297746</c:v>
                </c:pt>
                <c:pt idx="38">
                  <c:v>0.00295254455658149</c:v>
                </c:pt>
                <c:pt idx="39">
                  <c:v>0.002895313727923233</c:v>
                </c:pt>
                <c:pt idx="40">
                  <c:v>0.00273569882814095</c:v>
                </c:pt>
                <c:pt idx="41">
                  <c:v>0.0022220519500421422</c:v>
                </c:pt>
                <c:pt idx="42">
                  <c:v>0.002549286199864038</c:v>
                </c:pt>
                <c:pt idx="43">
                  <c:v>0.001865371627054321</c:v>
                </c:pt>
                <c:pt idx="44">
                  <c:v>0.0014163927416553088</c:v>
                </c:pt>
                <c:pt idx="45">
                  <c:v>0.0011781673403887952</c:v>
                </c:pt>
                <c:pt idx="46">
                  <c:v>0.0012636695018226002</c:v>
                </c:pt>
                <c:pt idx="47">
                  <c:v>0.0013500835221161988</c:v>
                </c:pt>
                <c:pt idx="48">
                  <c:v>0.0014853395061728396</c:v>
                </c:pt>
                <c:pt idx="49">
                  <c:v>0.0013697667884237145</c:v>
                </c:pt>
                <c:pt idx="50">
                  <c:v>0.0011509642261527259</c:v>
                </c:pt>
                <c:pt idx="51">
                  <c:v>0.001246118242775481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87.205006589772</c:v>
                </c:pt>
              </c:numCache>
            </c:numRef>
          </c:xVal>
          <c:yVal>
            <c:numRef>
              <c:f>Sheet1!$B$163:$B$164</c:f>
              <c:numCache>
                <c:formatCode>General</c:formatCode>
                <c:ptCount val="2"/>
                <c:pt idx="0">
                  <c:v>0.002438776158167452</c:v>
                </c:pt>
                <c:pt idx="1">
                  <c:v>0.00243877615816745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87.205006589772</c:v>
                </c:pt>
                <c:pt idx="1">
                  <c:v>3587.205006589772</c:v>
                </c:pt>
              </c:numCache>
            </c:numRef>
          </c:xVal>
          <c:yVal>
            <c:numRef>
              <c:f>Sheet1!$B$167:$B$168</c:f>
              <c:numCache>
                <c:formatCode>General</c:formatCode>
                <c:ptCount val="2"/>
                <c:pt idx="0">
                  <c:v>0.0024387761581674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87.205006589772</c:v>
                </c:pt>
              </c:numCache>
            </c:numRef>
          </c:xVal>
          <c:yVal>
            <c:numRef>
              <c:f>Sheet1!$B$171:$B$172</c:f>
              <c:numCache>
                <c:formatCode>General</c:formatCode>
                <c:ptCount val="2"/>
                <c:pt idx="0">
                  <c:v>0.002438776158167452</c:v>
                </c:pt>
                <c:pt idx="1">
                  <c:v>0.00243877615816745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87.205006589772</c:v>
                </c:pt>
                <c:pt idx="1">
                  <c:v>3587.205006589772</c:v>
                </c:pt>
              </c:numCache>
            </c:numRef>
          </c:xVal>
          <c:yVal>
            <c:numRef>
              <c:f>Sheet1!$B$175:$B$176</c:f>
              <c:numCache>
                <c:formatCode>General</c:formatCode>
                <c:ptCount val="2"/>
                <c:pt idx="0">
                  <c:v>0.00243877615816745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40.3533240195775</c:v>
                </c:pt>
              </c:numCache>
            </c:numRef>
          </c:xVal>
          <c:yVal>
            <c:numRef>
              <c:f>Sheet1!$B$179:$B$180</c:f>
              <c:numCache>
                <c:formatCode>General</c:formatCode>
                <c:ptCount val="2"/>
                <c:pt idx="0">
                  <c:v>0.0017483249386563344</c:v>
                </c:pt>
                <c:pt idx="1">
                  <c:v>0.001748324938656334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40.3533240195775</c:v>
                </c:pt>
                <c:pt idx="1">
                  <c:v>4240.3533240195775</c:v>
                </c:pt>
              </c:numCache>
            </c:numRef>
          </c:xVal>
          <c:yVal>
            <c:numRef>
              <c:f>Sheet1!$B$183:$B$184</c:f>
              <c:numCache>
                <c:formatCode>General</c:formatCode>
                <c:ptCount val="2"/>
                <c:pt idx="0">
                  <c:v>0.001748324938656334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pt idx="52">
                  <c:v>3587.205006589772</c:v>
                </c:pt>
                <c:pt idx="53">
                  <c:v>3587.205006589772</c:v>
                </c:pt>
                <c:pt idx="54">
                  <c:v>4240.3533240195775</c:v>
                </c:pt>
              </c:numCache>
            </c:numRef>
          </c:xVal>
          <c:yVal>
            <c:numRef>
              <c:f>Sheet1!$B$187:$B$241</c:f>
              <c:numCache>
                <c:formatCode>General</c:formatCode>
                <c:ptCount val="55"/>
                <c:pt idx="0">
                  <c:v>0.0015734729617521296</c:v>
                </c:pt>
                <c:pt idx="1">
                  <c:v>0.002099544127916712</c:v>
                </c:pt>
                <c:pt idx="2">
                  <c:v>0.0016888720083328484</c:v>
                </c:pt>
                <c:pt idx="3">
                  <c:v>0.002326281852149114</c:v>
                </c:pt>
                <c:pt idx="4">
                  <c:v>0.0014454471297744515</c:v>
                </c:pt>
                <c:pt idx="5">
                  <c:v>0.0011295709350772525</c:v>
                </c:pt>
                <c:pt idx="6">
                  <c:v>0.001567872697113927</c:v>
                </c:pt>
                <c:pt idx="7">
                  <c:v>0.0017020122332478595</c:v>
                </c:pt>
                <c:pt idx="8">
                  <c:v>0.001823021587035077</c:v>
                </c:pt>
                <c:pt idx="9">
                  <c:v>0.0018986780681290536</c:v>
                </c:pt>
                <c:pt idx="10">
                  <c:v>0.0017903075508207533</c:v>
                </c:pt>
                <c:pt idx="11">
                  <c:v>0.0019112908996416454</c:v>
                </c:pt>
                <c:pt idx="12">
                  <c:v>0.0021646601407494586</c:v>
                </c:pt>
                <c:pt idx="13">
                  <c:v>0.0026226682759869545</c:v>
                </c:pt>
                <c:pt idx="14">
                  <c:v>0.00257813878818276</c:v>
                </c:pt>
                <c:pt idx="15">
                  <c:v>0.002380574619139657</c:v>
                </c:pt>
                <c:pt idx="16">
                  <c:v>0.0021346191190818554</c:v>
                </c:pt>
                <c:pt idx="17">
                  <c:v>0.0031554458692597577</c:v>
                </c:pt>
                <c:pt idx="18">
                  <c:v>0.0019060980461425335</c:v>
                </c:pt>
                <c:pt idx="19">
                  <c:v>0.0015748263828247264</c:v>
                </c:pt>
                <c:pt idx="20">
                  <c:v>0.0017303608178794345</c:v>
                </c:pt>
                <c:pt idx="21">
                  <c:v>0.002346887088068071</c:v>
                </c:pt>
                <c:pt idx="22">
                  <c:v>0.002129888646569351</c:v>
                </c:pt>
                <c:pt idx="23">
                  <c:v>0.0029066042407848657</c:v>
                </c:pt>
                <c:pt idx="24">
                  <c:v>0.0019418680887450211</c:v>
                </c:pt>
                <c:pt idx="25">
                  <c:v>0.00241577952942518</c:v>
                </c:pt>
                <c:pt idx="26">
                  <c:v>0.0021941493497169944</c:v>
                </c:pt>
                <c:pt idx="27">
                  <c:v>0.0023075899897687024</c:v>
                </c:pt>
                <c:pt idx="28">
                  <c:v>0.0021994843848409315</c:v>
                </c:pt>
                <c:pt idx="29">
                  <c:v>0.002442848268010835</c:v>
                </c:pt>
                <c:pt idx="30">
                  <c:v>0.00245932537409257</c:v>
                </c:pt>
                <c:pt idx="31">
                  <c:v>0.0021274810729593873</c:v>
                </c:pt>
                <c:pt idx="32">
                  <c:v>0.001517669052511118</c:v>
                </c:pt>
                <c:pt idx="33">
                  <c:v>0.0018182191251645743</c:v>
                </c:pt>
                <c:pt idx="34">
                  <c:v>0.001678012820667268</c:v>
                </c:pt>
                <c:pt idx="35">
                  <c:v>0.0019858382583507386</c:v>
                </c:pt>
                <c:pt idx="36">
                  <c:v>0.001818005377026733</c:v>
                </c:pt>
                <c:pt idx="37">
                  <c:v>0.00185347001984177</c:v>
                </c:pt>
                <c:pt idx="38">
                  <c:v>0.0024212526234353793</c:v>
                </c:pt>
                <c:pt idx="39">
                  <c:v>0.002757848222196376</c:v>
                </c:pt>
                <c:pt idx="40">
                  <c:v>0.0028252491835946275</c:v>
                </c:pt>
                <c:pt idx="41">
                  <c:v>0.0024974074273393402</c:v>
                </c:pt>
                <c:pt idx="42">
                  <c:v>0.0027350900710571987</c:v>
                </c:pt>
                <c:pt idx="43">
                  <c:v>0.002353184518368523</c:v>
                </c:pt>
                <c:pt idx="44">
                  <c:v>0.0018667559148526991</c:v>
                </c:pt>
                <c:pt idx="45">
                  <c:v>0.001688005598966996</c:v>
                </c:pt>
                <c:pt idx="46">
                  <c:v>0.0016077162168398563</c:v>
                </c:pt>
                <c:pt idx="47">
                  <c:v>0.0016944811527156503</c:v>
                </c:pt>
                <c:pt idx="48">
                  <c:v>0.0020472709742661637</c:v>
                </c:pt>
                <c:pt idx="49">
                  <c:v>0.0021380681598797613</c:v>
                </c:pt>
                <c:pt idx="50">
                  <c:v>0.0019893964988649607</c:v>
                </c:pt>
                <c:pt idx="51">
                  <c:v>0.0017534806071885217</c:v>
                </c:pt>
                <c:pt idx="52">
                  <c:v>0.002438776158167452</c:v>
                </c:pt>
                <c:pt idx="53">
                  <c:v>0.002438776158167452</c:v>
                </c:pt>
                <c:pt idx="54">
                  <c:v>0.00174832493865633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64.0"/>
          <c:min val="123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307921563314932"/>
          <c:min val="3.614185678789248e-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c:f>
              <c:numCache>
                <c:formatCode>General</c:formatCode>
                <c:ptCount val="6"/>
                <c:pt idx="0">
                  <c:v>2326.0</c:v>
                </c:pt>
                <c:pt idx="1">
                  <c:v>1970.0</c:v>
                </c:pt>
                <c:pt idx="2">
                  <c:v>1927.6667</c:v>
                </c:pt>
                <c:pt idx="3">
                  <c:v>2306.8</c:v>
                </c:pt>
                <c:pt idx="4">
                  <c:v>1859.6667</c:v>
                </c:pt>
                <c:pt idx="5">
                  <c:v>1772.0</c:v>
                </c:pt>
              </c:numCache>
            </c:numRef>
          </c:xVal>
          <c:yVal>
            <c:numRef>
              <c:f>Sheet1!$B$2:$B$7</c:f>
              <c:numCache>
                <c:formatCode>General</c:formatCode>
                <c:ptCount val="6"/>
                <c:pt idx="0">
                  <c:v>0.006666666666666667</c:v>
                </c:pt>
                <c:pt idx="1">
                  <c:v>0.0049261083743842365</c:v>
                </c:pt>
                <c:pt idx="2">
                  <c:v>0.007299270072992700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F32D-48B7-BC20-E66FC6253BAD}"/>
            </c:ext>
          </c:extLst>
        </c:ser>
        <c:ser>
          <c:idx val="1"/>
          <c:order val="1"/>
          <c:tx>
            <c:strRef>
              <c:f>Sheet1!$B$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A$11</c:f>
              <c:numCache>
                <c:formatCode>General</c:formatCode>
                <c:ptCount val="2"/>
                <c:pt idx="0">
                  <c:v>1715.6667</c:v>
                </c:pt>
                <c:pt idx="1">
                  <c:v>876.6667</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F32D-48B7-BC20-E66FC6253BAD}"/>
            </c:ext>
          </c:extLst>
        </c:ser>
        <c:ser>
          <c:idx val="2"/>
          <c:order val="2"/>
          <c:tx>
            <c:strRef>
              <c:f>Sheet1!$B$13</c:f>
              <c:strCache>
                <c:ptCount val="1"/>
                <c:pt idx="0">
                  <c:v>Custom Linep3yQ</c:v>
                </c:pt>
              </c:strCache>
            </c:strRef>
          </c:tx>
          <c:spPr>
            <a:ln w="19050" cap="rnd">
              <a:solidFill>
                <a:srgbClr val="C00000"/>
              </a:solidFill>
              <a:prstDash val="sysDot"/>
              <a:round/>
            </a:ln>
            <a:effectLst/>
          </c:spPr>
          <c:marker>
            <c:symbol val="none"/>
          </c:marker>
          <c:xVal>
            <c:numRef>
              <c:f>Sheet1!$A$14:$A$15</c:f>
              <c:numCache>
                <c:formatCode>General</c:formatCode>
                <c:ptCount val="2"/>
                <c:pt idx="0">
                  <c:v>0</c:v>
                </c:pt>
                <c:pt idx="1">
                  <c:v>876.6666999999995</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3-F32D-48B7-BC20-E66FC6253BAD}"/>
            </c:ext>
          </c:extLst>
        </c:ser>
        <c:ser>
          <c:idx val="3"/>
          <c:order val="3"/>
          <c:tx>
            <c:strRef>
              <c:f>Sheet1!$B$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A$19</c:f>
              <c:numCache>
                <c:formatCode>General</c:formatCode>
                <c:ptCount val="2"/>
                <c:pt idx="0">
                  <c:v>876.6666999999995</c:v>
                </c:pt>
                <c:pt idx="1">
                  <c:v>876.6666999999995</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2:$A$23</c:f>
              <c:numCache>
                <c:formatCode>General</c:formatCode>
                <c:ptCount val="2"/>
                <c:pt idx="0">
                  <c:v>0</c:v>
                </c:pt>
                <c:pt idx="1">
                  <c:v>876.6666999999995</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A-F32D-48B7-BC20-E66FC6253BAD}"/>
            </c:ext>
          </c:extLst>
        </c:ser>
        <c:ser>
          <c:idx val="5"/>
          <c:order val="5"/>
          <c:tx>
            <c:strRef>
              <c:f>Sheet1!$B$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6:$A$27</c:f>
              <c:numCache>
                <c:formatCode>General</c:formatCode>
                <c:ptCount val="2"/>
                <c:pt idx="0">
                  <c:v>876.6666999999995</c:v>
                </c:pt>
                <c:pt idx="1">
                  <c:v>876.6666999999995</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9</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0:$A$34</c:f>
              <c:numCache>
                <c:formatCode>General</c:formatCode>
                <c:ptCount val="5"/>
                <c:pt idx="0">
                  <c:v>1715.6667</c:v>
                </c:pt>
                <c:pt idx="1">
                  <c:v>876.6667</c:v>
                </c:pt>
                <c:pt idx="2">
                  <c:v>876.6666999999995</c:v>
                </c:pt>
                <c:pt idx="3">
                  <c:v>876.6666999999995</c:v>
                </c:pt>
                <c:pt idx="4">
                  <c:v>0</c:v>
                </c:pt>
              </c:numCache>
            </c:numRef>
          </c:xVal>
          <c:yVal>
            <c:numRef>
              <c:f>Sheet1!$B$30:$B$34</c:f>
              <c:numCache>
                <c:formatCode>General</c:formatCode>
                <c:ptCount val="5"/>
                <c:pt idx="0">
                  <c:v>0.0054545454545454515</c:v>
                </c:pt>
                <c:pt idx="1">
                  <c:v>0.0101010101010101</c:v>
                </c:pt>
                <c:pt idx="2">
                  <c:v>0.010101010101010102</c:v>
                </c:pt>
                <c:pt idx="3">
                  <c:v>0.010101010101010102</c:v>
                </c:pt>
                <c:pt idx="4">
                  <c:v>0.014956076642467583</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9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c:f>
              <c:numCache>
                <c:formatCode>General</c:formatCode>
                <c:ptCount val="6"/>
                <c:pt idx="0">
                  <c:v>3.2678374965948316</c:v>
                </c:pt>
                <c:pt idx="1">
                  <c:v>5.241353695327294</c:v>
                </c:pt>
                <c:pt idx="2">
                  <c:v>2.879058486655766</c:v>
                </c:pt>
                <c:pt idx="3">
                  <c:v>4.199184191786289</c:v>
                </c:pt>
                <c:pt idx="4">
                  <c:v>2.724231947520131</c:v>
                </c:pt>
                <c:pt idx="5">
                  <c:v>2.657533071439348</c:v>
                </c:pt>
              </c:numCache>
            </c:numRef>
          </c:xVal>
          <c:yVal>
            <c:numRef>
              <c:f>Sheet1!$B$2:$B$7</c:f>
              <c:numCache>
                <c:formatCode>General</c:formatCode>
                <c:ptCount val="6"/>
                <c:pt idx="0">
                  <c:v>0.006666666666666667</c:v>
                </c:pt>
                <c:pt idx="1">
                  <c:v>0.0049261083743842365</c:v>
                </c:pt>
                <c:pt idx="2">
                  <c:v>0.007299270072992700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096C-4121-9522-6AB7243CCAAE}"/>
            </c:ext>
          </c:extLst>
        </c:ser>
        <c:ser>
          <c:idx val="1"/>
          <c:order val="1"/>
          <c:tx>
            <c:strRef>
              <c:f>Sheet1!$B$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A$11</c:f>
              <c:numCache>
                <c:formatCode>General</c:formatCode>
                <c:ptCount val="2"/>
                <c:pt idx="0">
                  <c:v>3.5842616584776006</c:v>
                </c:pt>
                <c:pt idx="1">
                  <c:v>1.872647646690786</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096C-4121-9522-6AB7243CCAAE}"/>
            </c:ext>
          </c:extLst>
        </c:ser>
        <c:ser>
          <c:idx val="2"/>
          <c:order val="2"/>
          <c:tx>
            <c:strRef>
              <c:f>Sheet1!$B$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A$15</c:f>
              <c:numCache>
                <c:formatCode>General</c:formatCode>
                <c:ptCount val="2"/>
                <c:pt idx="0">
                  <c:v>0</c:v>
                </c:pt>
                <c:pt idx="1">
                  <c:v>1.8726476466907864</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5-096C-4121-9522-6AB7243CCAAE}"/>
            </c:ext>
          </c:extLst>
        </c:ser>
        <c:ser>
          <c:idx val="3"/>
          <c:order val="3"/>
          <c:tx>
            <c:strRef>
              <c:f>Sheet1!$B$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A$19</c:f>
              <c:numCache>
                <c:formatCode>General</c:formatCode>
                <c:ptCount val="2"/>
                <c:pt idx="0">
                  <c:v>1.8726476466907864</c:v>
                </c:pt>
                <c:pt idx="1">
                  <c:v>1.8726476466907864</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2:$A$23</c:f>
              <c:numCache>
                <c:formatCode>General</c:formatCode>
                <c:ptCount val="2"/>
                <c:pt idx="0">
                  <c:v>0</c:v>
                </c:pt>
                <c:pt idx="1">
                  <c:v>1.8726476466907864</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D-096C-4121-9522-6AB7243CCAAE}"/>
            </c:ext>
          </c:extLst>
        </c:ser>
        <c:ser>
          <c:idx val="5"/>
          <c:order val="5"/>
          <c:tx>
            <c:strRef>
              <c:f>Sheet1!$B$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6:$A$27</c:f>
              <c:numCache>
                <c:formatCode>General</c:formatCode>
                <c:ptCount val="2"/>
                <c:pt idx="0">
                  <c:v>1.8726476466907864</c:v>
                </c:pt>
                <c:pt idx="1">
                  <c:v>1.8726476466907864</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9</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0:$A$34</c:f>
              <c:numCache>
                <c:formatCode>General</c:formatCode>
                <c:ptCount val="5"/>
                <c:pt idx="0">
                  <c:v>3.5842616584776006</c:v>
                </c:pt>
                <c:pt idx="1">
                  <c:v>1.872647646690786</c:v>
                </c:pt>
                <c:pt idx="2">
                  <c:v>1.8726476466907864</c:v>
                </c:pt>
                <c:pt idx="3">
                  <c:v>1.8726476466907864</c:v>
                </c:pt>
                <c:pt idx="4">
                  <c:v>0</c:v>
                </c:pt>
              </c:numCache>
            </c:numRef>
          </c:xVal>
          <c:yVal>
            <c:numRef>
              <c:f>Sheet1!$B$30:$B$34</c:f>
              <c:numCache>
                <c:formatCode>General</c:formatCode>
                <c:ptCount val="5"/>
                <c:pt idx="0">
                  <c:v>0.005454545454545453</c:v>
                </c:pt>
                <c:pt idx="1">
                  <c:v>0.010101010101010104</c:v>
                </c:pt>
                <c:pt idx="2">
                  <c:v>0.010101010101010102</c:v>
                </c:pt>
                <c:pt idx="3">
                  <c:v>0.010101010101010102</c:v>
                </c:pt>
                <c:pt idx="4">
                  <c:v>0.015184627684013224</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c:f>
              <c:numCache>
                <c:formatCode>General</c:formatCode>
                <c:ptCount val="6"/>
                <c:pt idx="0">
                  <c:v>2326.0</c:v>
                </c:pt>
                <c:pt idx="1">
                  <c:v>1970.0</c:v>
                </c:pt>
                <c:pt idx="2">
                  <c:v>1927.6667</c:v>
                </c:pt>
                <c:pt idx="3">
                  <c:v>2306.8</c:v>
                </c:pt>
                <c:pt idx="4">
                  <c:v>1859.6667</c:v>
                </c:pt>
                <c:pt idx="5">
                  <c:v>1772.0</c:v>
                </c:pt>
              </c:numCache>
            </c:numRef>
          </c:xVal>
          <c:yVal>
            <c:numRef>
              <c:f>Sheet1!$B$2:$B$7</c:f>
              <c:numCache>
                <c:formatCode>General</c:formatCode>
                <c:ptCount val="6"/>
                <c:pt idx="0">
                  <c:v>0.006666666666666667</c:v>
                </c:pt>
                <c:pt idx="1">
                  <c:v>0.0049261083743842365</c:v>
                </c:pt>
                <c:pt idx="2">
                  <c:v>0.007299270072992700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F32D-48B7-BC20-E66FC6253BAD}"/>
            </c:ext>
          </c:extLst>
        </c:ser>
        <c:ser>
          <c:idx val="1"/>
          <c:order val="1"/>
          <c:tx>
            <c:strRef>
              <c:f>Sheet1!$B$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A$11</c:f>
              <c:numCache>
                <c:formatCode>General</c:formatCode>
                <c:ptCount val="2"/>
                <c:pt idx="0">
                  <c:v>1715.6667</c:v>
                </c:pt>
                <c:pt idx="1">
                  <c:v>876.6667</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F32D-48B7-BC20-E66FC6253BAD}"/>
            </c:ext>
          </c:extLst>
        </c:ser>
        <c:ser>
          <c:idx val="2"/>
          <c:order val="2"/>
          <c:tx>
            <c:strRef>
              <c:f>Sheet1!$B$13</c:f>
              <c:strCache>
                <c:ptCount val="1"/>
                <c:pt idx="0">
                  <c:v>Custom Linep3yQ</c:v>
                </c:pt>
              </c:strCache>
            </c:strRef>
          </c:tx>
          <c:spPr>
            <a:ln w="19050" cap="rnd">
              <a:solidFill>
                <a:srgbClr val="C00000"/>
              </a:solidFill>
              <a:prstDash val="sysDot"/>
              <a:round/>
            </a:ln>
            <a:effectLst/>
          </c:spPr>
          <c:marker>
            <c:symbol val="none"/>
          </c:marker>
          <c:xVal>
            <c:numRef>
              <c:f>Sheet1!$A$14:$A$15</c:f>
              <c:numCache>
                <c:formatCode>General</c:formatCode>
                <c:ptCount val="2"/>
                <c:pt idx="0">
                  <c:v>0</c:v>
                </c:pt>
                <c:pt idx="1">
                  <c:v>876.6666999999995</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3-F32D-48B7-BC20-E66FC6253BAD}"/>
            </c:ext>
          </c:extLst>
        </c:ser>
        <c:ser>
          <c:idx val="3"/>
          <c:order val="3"/>
          <c:tx>
            <c:strRef>
              <c:f>Sheet1!$B$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A$19</c:f>
              <c:numCache>
                <c:formatCode>General</c:formatCode>
                <c:ptCount val="2"/>
                <c:pt idx="0">
                  <c:v>876.6666999999995</c:v>
                </c:pt>
                <c:pt idx="1">
                  <c:v>876.6666999999995</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2:$A$23</c:f>
              <c:numCache>
                <c:formatCode>General</c:formatCode>
                <c:ptCount val="2"/>
                <c:pt idx="0">
                  <c:v>0</c:v>
                </c:pt>
                <c:pt idx="1">
                  <c:v>876.6666999999995</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A-F32D-48B7-BC20-E66FC6253BAD}"/>
            </c:ext>
          </c:extLst>
        </c:ser>
        <c:ser>
          <c:idx val="5"/>
          <c:order val="5"/>
          <c:tx>
            <c:strRef>
              <c:f>Sheet1!$B$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6:$A$27</c:f>
              <c:numCache>
                <c:formatCode>General</c:formatCode>
                <c:ptCount val="2"/>
                <c:pt idx="0">
                  <c:v>876.6666999999995</c:v>
                </c:pt>
                <c:pt idx="1">
                  <c:v>876.6666999999995</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9</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0:$A$34</c:f>
              <c:numCache>
                <c:formatCode>General</c:formatCode>
                <c:ptCount val="5"/>
                <c:pt idx="0">
                  <c:v>1715.6667</c:v>
                </c:pt>
                <c:pt idx="1">
                  <c:v>876.6667</c:v>
                </c:pt>
                <c:pt idx="2">
                  <c:v>876.6666999999995</c:v>
                </c:pt>
                <c:pt idx="3">
                  <c:v>876.6666999999995</c:v>
                </c:pt>
                <c:pt idx="4">
                  <c:v>0</c:v>
                </c:pt>
              </c:numCache>
            </c:numRef>
          </c:xVal>
          <c:yVal>
            <c:numRef>
              <c:f>Sheet1!$B$30:$B$34</c:f>
              <c:numCache>
                <c:formatCode>General</c:formatCode>
                <c:ptCount val="5"/>
                <c:pt idx="0">
                  <c:v>0.0054545454545454515</c:v>
                </c:pt>
                <c:pt idx="1">
                  <c:v>0.0101010101010101</c:v>
                </c:pt>
                <c:pt idx="2">
                  <c:v>0.010101010101010102</c:v>
                </c:pt>
                <c:pt idx="3">
                  <c:v>0.010101010101010102</c:v>
                </c:pt>
                <c:pt idx="4">
                  <c:v>0.014956076642467583</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9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287753156331203</c:v>
                </c:pt>
                <c:pt idx="1">
                  <c:v>0.6449963671546636</c:v>
                </c:pt>
                <c:pt idx="2">
                  <c:v>0.6326230160733184</c:v>
                </c:pt>
                <c:pt idx="3">
                  <c:v>0.6338119060957934</c:v>
                </c:pt>
                <c:pt idx="4">
                  <c:v>0.6371933943712045</c:v>
                </c:pt>
                <c:pt idx="5">
                  <c:v>0.6436346576092165</c:v>
                </c:pt>
                <c:pt idx="6">
                  <c:v>0.6004176980187368</c:v>
                </c:pt>
                <c:pt idx="7">
                  <c:v>0.5926268673755725</c:v>
                </c:pt>
                <c:pt idx="8">
                  <c:v>0.6050406646066233</c:v>
                </c:pt>
                <c:pt idx="9">
                  <c:v>0.6363770305474985</c:v>
                </c:pt>
                <c:pt idx="10">
                  <c:v>0.6446156552760249</c:v>
                </c:pt>
                <c:pt idx="11">
                  <c:v>0.694246021931155</c:v>
                </c:pt>
                <c:pt idx="12">
                  <c:v>0.7224131166078782</c:v>
                </c:pt>
                <c:pt idx="13">
                  <c:v>0.7244062257554714</c:v>
                </c:pt>
                <c:pt idx="14">
                  <c:v>0.7250410629877798</c:v>
                </c:pt>
                <c:pt idx="15">
                  <c:v>0.7362509512130686</c:v>
                </c:pt>
                <c:pt idx="16">
                  <c:v>0.7463048012741006</c:v>
                </c:pt>
                <c:pt idx="17">
                  <c:v>0.7478518751534269</c:v>
                </c:pt>
                <c:pt idx="18">
                  <c:v>0.7703758778976509</c:v>
                </c:pt>
                <c:pt idx="19">
                  <c:v>0.7644878254090426</c:v>
                </c:pt>
                <c:pt idx="20">
                  <c:v>0.7969082157983485</c:v>
                </c:pt>
                <c:pt idx="21">
                  <c:v>0.717895109929208</c:v>
                </c:pt>
                <c:pt idx="22">
                  <c:v>0.6580070127167572</c:v>
                </c:pt>
                <c:pt idx="23">
                  <c:v>0.6394993900195959</c:v>
                </c:pt>
                <c:pt idx="24">
                  <c:v>0.6189011246908348</c:v>
                </c:pt>
                <c:pt idx="25">
                  <c:v>0.5942982401599494</c:v>
                </c:pt>
                <c:pt idx="26">
                  <c:v>0.5905027912737707</c:v>
                </c:pt>
                <c:pt idx="27">
                  <c:v>0.6123834052458408</c:v>
                </c:pt>
                <c:pt idx="28">
                  <c:v>0.6044949102431018</c:v>
                </c:pt>
                <c:pt idx="29">
                  <c:v>0.6007213643860589</c:v>
                </c:pt>
                <c:pt idx="30">
                  <c:v>0.5950603269734289</c:v>
                </c:pt>
                <c:pt idx="31">
                  <c:v>0.5937942644738132</c:v>
                </c:pt>
                <c:pt idx="32">
                  <c:v>0.5674777949440224</c:v>
                </c:pt>
                <c:pt idx="33">
                  <c:v>0.5661604592817416</c:v>
                </c:pt>
                <c:pt idx="34">
                  <c:v>0.6052902298454574</c:v>
                </c:pt>
                <c:pt idx="35">
                  <c:v>0.6585574980104811</c:v>
                </c:pt>
                <c:pt idx="36">
                  <c:v>0.7090339885363609</c:v>
                </c:pt>
                <c:pt idx="37">
                  <c:v>0.677678276295772</c:v>
                </c:pt>
                <c:pt idx="38">
                  <c:v>0.7283918117156318</c:v>
                </c:pt>
                <c:pt idx="39">
                  <c:v>0.7444859595315617</c:v>
                </c:pt>
                <c:pt idx="40">
                  <c:v>0.7277373419516168</c:v>
                </c:pt>
                <c:pt idx="41">
                  <c:v>0.7177183280432257</c:v>
                </c:pt>
                <c:pt idx="42">
                  <c:v>0.7363509577890427</c:v>
                </c:pt>
                <c:pt idx="43">
                  <c:v>0.745987547068077</c:v>
                </c:pt>
                <c:pt idx="44">
                  <c:v>0.735420292888238</c:v>
                </c:pt>
                <c:pt idx="45">
                  <c:v>0.7385332974562526</c:v>
                </c:pt>
                <c:pt idx="46">
                  <c:v>0.7408663540694193</c:v>
                </c:pt>
                <c:pt idx="47">
                  <c:v>0.7437632991513623</c:v>
                </c:pt>
                <c:pt idx="48">
                  <c:v>0.7517821828477088</c:v>
                </c:pt>
                <c:pt idx="49">
                  <c:v>0.7497257118160194</c:v>
                </c:pt>
                <c:pt idx="50">
                  <c:v>0.7088517330973124</c:v>
                </c:pt>
                <c:pt idx="51">
                  <c:v>0.7102138904588748</c:v>
                </c:pt>
                <c:pt idx="52">
                  <c:v>0.716844138424947</c:v>
                </c:pt>
                <c:pt idx="53">
                  <c:v>0.6834681721662792</c:v>
                </c:pt>
                <c:pt idx="54">
                  <c:v>0.6495013348967981</c:v>
                </c:pt>
                <c:pt idx="55">
                  <c:v>0.663409462023408</c:v>
                </c:pt>
                <c:pt idx="56">
                  <c:v>0.6623934841381198</c:v>
                </c:pt>
                <c:pt idx="57">
                  <c:v>0.6601146335176796</c:v>
                </c:pt>
                <c:pt idx="58">
                  <c:v>0.6400102264966715</c:v>
                </c:pt>
                <c:pt idx="59">
                  <c:v>0.6464185142284643</c:v>
                </c:pt>
                <c:pt idx="60">
                  <c:v>0.6428506937147008</c:v>
                </c:pt>
                <c:pt idx="61">
                  <c:v>0.6926230021722166</c:v>
                </c:pt>
                <c:pt idx="62">
                  <c:v>0.6945283594659679</c:v>
                </c:pt>
                <c:pt idx="63">
                  <c:v>0.7118403472913842</c:v>
                </c:pt>
                <c:pt idx="64">
                  <c:v>0.7708384603207868</c:v>
                </c:pt>
                <c:pt idx="65">
                  <c:v>0.7740181871864492</c:v>
                </c:pt>
                <c:pt idx="66">
                  <c:v>0.7655779827697272</c:v>
                </c:pt>
                <c:pt idx="67">
                  <c:v>0.7892334422823526</c:v>
                </c:pt>
                <c:pt idx="68">
                  <c:v>0.8001164448441359</c:v>
                </c:pt>
                <c:pt idx="69">
                  <c:v>0.8059052344842759</c:v>
                </c:pt>
                <c:pt idx="70">
                  <c:v>0.7756681595555667</c:v>
                </c:pt>
                <c:pt idx="71">
                  <c:v>0.7505643414313559</c:v>
                </c:pt>
                <c:pt idx="72">
                  <c:v>0.81643839453129</c:v>
                </c:pt>
                <c:pt idx="73">
                  <c:v>0.7695122662147343</c:v>
                </c:pt>
                <c:pt idx="74">
                  <c:v>0.7525616946087873</c:v>
                </c:pt>
                <c:pt idx="75">
                  <c:v>0.7162276418684047</c:v>
                </c:pt>
                <c:pt idx="76">
                  <c:v>0.7052179126713692</c:v>
                </c:pt>
                <c:pt idx="77">
                  <c:v>0.7186477941002793</c:v>
                </c:pt>
                <c:pt idx="78">
                  <c:v>0.7444396149732921</c:v>
                </c:pt>
                <c:pt idx="79">
                  <c:v>0.7243542641092819</c:v>
                </c:pt>
                <c:pt idx="80">
                  <c:v>0.7582339507462815</c:v>
                </c:pt>
                <c:pt idx="81">
                  <c:v>0.7503306829714617</c:v>
                </c:pt>
                <c:pt idx="82">
                  <c:v>0.7361704633057242</c:v>
                </c:pt>
                <c:pt idx="83">
                  <c:v>0.6955105154783364</c:v>
                </c:pt>
                <c:pt idx="84">
                  <c:v>0.7136797905240774</c:v>
                </c:pt>
                <c:pt idx="85">
                  <c:v>0.6994522510259197</c:v>
                </c:pt>
                <c:pt idx="86">
                  <c:v>0.7215640546299966</c:v>
                </c:pt>
                <c:pt idx="87">
                  <c:v>0.7383825777813955</c:v>
                </c:pt>
                <c:pt idx="88">
                  <c:v>0.7205883913681799</c:v>
                </c:pt>
                <c:pt idx="89">
                  <c:v>0.695463591189584</c:v>
                </c:pt>
                <c:pt idx="90">
                  <c:v>0.7231414465266486</c:v>
                </c:pt>
                <c:pt idx="91">
                  <c:v>0.7551369413996786</c:v>
                </c:pt>
                <c:pt idx="92">
                  <c:v>0.7510489562918906</c:v>
                </c:pt>
                <c:pt idx="93">
                  <c:v>0.76724729925919</c:v>
                </c:pt>
                <c:pt idx="94">
                  <c:v>0.7569204304252577</c:v>
                </c:pt>
                <c:pt idx="95">
                  <c:v>0.7638830924894304</c:v>
                </c:pt>
                <c:pt idx="96">
                  <c:v>0.786147700912063</c:v>
                </c:pt>
                <c:pt idx="97">
                  <c:v>0.8155919659311534</c:v>
                </c:pt>
                <c:pt idx="98">
                  <c:v>0.8234271074818712</c:v>
                </c:pt>
                <c:pt idx="99">
                  <c:v>0.8090436470323574</c:v>
                </c:pt>
                <c:pt idx="100">
                  <c:v>0.7992875995367509</c:v>
                </c:pt>
                <c:pt idx="101">
                  <c:v>0.738206216760703</c:v>
                </c:pt>
                <c:pt idx="102">
                  <c:v>0.7333629015644816</c:v>
                </c:pt>
                <c:pt idx="103">
                  <c:v>0.7553558122484452</c:v>
                </c:pt>
                <c:pt idx="104">
                  <c:v>0.7509868485126386</c:v>
                </c:pt>
              </c:numCache>
            </c:numRef>
          </c:xVal>
          <c:yVal>
            <c:numRef>
              <c:f>Sheet1!$B$2:$B$106</c:f>
              <c:numCache>
                <c:formatCode>General</c:formatCode>
                <c:ptCount val="105"/>
                <c:pt idx="0">
                  <c:v>0.2389593520782396</c:v>
                </c:pt>
                <c:pt idx="1">
                  <c:v>0.23479694908266338</c:v>
                </c:pt>
                <c:pt idx="2">
                  <c:v>0.23689880723355136</c:v>
                </c:pt>
                <c:pt idx="3">
                  <c:v>0.23595784252944824</c:v>
                </c:pt>
                <c:pt idx="4">
                  <c:v>0.23779589431293585</c:v>
                </c:pt>
                <c:pt idx="5">
                  <c:v>0.24517480424916463</c:v>
                </c:pt>
                <c:pt idx="6">
                  <c:v>0.2730293253719844</c:v>
                </c:pt>
                <c:pt idx="7">
                  <c:v>0.2803520726859739</c:v>
                </c:pt>
                <c:pt idx="8">
                  <c:v>0.27182166069367675</c:v>
                </c:pt>
                <c:pt idx="9">
                  <c:v>0.2534750613246116</c:v>
                </c:pt>
                <c:pt idx="10">
                  <c:v>0.24879308884560006</c:v>
                </c:pt>
                <c:pt idx="11">
                  <c:v>0.22092457420924574</c:v>
                </c:pt>
                <c:pt idx="12">
                  <c:v>0.20868990036793583</c:v>
                </c:pt>
                <c:pt idx="13">
                  <c:v>0.19740652146544127</c:v>
                </c:pt>
                <c:pt idx="14">
                  <c:v>0.1827898852104475</c:v>
                </c:pt>
                <c:pt idx="15">
                  <c:v>0.1754871896330003</c:v>
                </c:pt>
                <c:pt idx="16">
                  <c:v>0.16985849860771723</c:v>
                </c:pt>
                <c:pt idx="17">
                  <c:v>0.16062531141006478</c:v>
                </c:pt>
                <c:pt idx="18">
                  <c:v>0.1563905612068369</c:v>
                </c:pt>
                <c:pt idx="19">
                  <c:v>0.15889917274142026</c:v>
                </c:pt>
                <c:pt idx="20">
                  <c:v>0.1541974479516454</c:v>
                </c:pt>
                <c:pt idx="21">
                  <c:v>0.16999311768754302</c:v>
                </c:pt>
                <c:pt idx="22">
                  <c:v>0.1977642610554003</c:v>
                </c:pt>
                <c:pt idx="23">
                  <c:v>0.20794412920122218</c:v>
                </c:pt>
                <c:pt idx="24">
                  <c:v>0.20918974684548847</c:v>
                </c:pt>
                <c:pt idx="25">
                  <c:v>0.2173082173082173</c:v>
                </c:pt>
                <c:pt idx="26">
                  <c:v>0.23575</c:v>
                </c:pt>
                <c:pt idx="27">
                  <c:v>0.2292655903767015</c:v>
                </c:pt>
                <c:pt idx="28">
                  <c:v>0.23493781295428848</c:v>
                </c:pt>
                <c:pt idx="29">
                  <c:v>0.22743031479683817</c:v>
                </c:pt>
                <c:pt idx="30">
                  <c:v>0.23199709776890984</c:v>
                </c:pt>
                <c:pt idx="31">
                  <c:v>0.24313387860525182</c:v>
                </c:pt>
                <c:pt idx="32">
                  <c:v>0.2487016250628246</c:v>
                </c:pt>
                <c:pt idx="33">
                  <c:v>0.241206995963867</c:v>
                </c:pt>
                <c:pt idx="34">
                  <c:v>0.23499744999149996</c:v>
                </c:pt>
                <c:pt idx="35">
                  <c:v>0.2397726065242801</c:v>
                </c:pt>
                <c:pt idx="36">
                  <c:v>0.21667641515565086</c:v>
                </c:pt>
                <c:pt idx="37">
                  <c:v>0.21587417702999268</c:v>
                </c:pt>
                <c:pt idx="38">
                  <c:v>0.20234780645646774</c:v>
                </c:pt>
                <c:pt idx="39">
                  <c:v>0.19492449011365406</c:v>
                </c:pt>
                <c:pt idx="40">
                  <c:v>0.19796473042159154</c:v>
                </c:pt>
                <c:pt idx="41">
                  <c:v>0.19218924972004478</c:v>
                </c:pt>
                <c:pt idx="42">
                  <c:v>0.18860652776105022</c:v>
                </c:pt>
                <c:pt idx="43">
                  <c:v>0.18170534268753372</c:v>
                </c:pt>
                <c:pt idx="44">
                  <c:v>0.18682186512841642</c:v>
                </c:pt>
                <c:pt idx="45">
                  <c:v>0.20375351698976596</c:v>
                </c:pt>
                <c:pt idx="46">
                  <c:v>0.20569952854268642</c:v>
                </c:pt>
                <c:pt idx="47">
                  <c:v>0.20028822862048876</c:v>
                </c:pt>
                <c:pt idx="48">
                  <c:v>0.19804154435655544</c:v>
                </c:pt>
                <c:pt idx="49">
                  <c:v>0.20889913471862565</c:v>
                </c:pt>
                <c:pt idx="50">
                  <c:v>0.20385839926866942</c:v>
                </c:pt>
                <c:pt idx="51">
                  <c:v>0.19360383769738157</c:v>
                </c:pt>
                <c:pt idx="52">
                  <c:v>0.19804000267576427</c:v>
                </c:pt>
                <c:pt idx="53">
                  <c:v>0.1912751677852349</c:v>
                </c:pt>
                <c:pt idx="54">
                  <c:v>0.19710236504784256</c:v>
                </c:pt>
                <c:pt idx="55">
                  <c:v>0.19466494369577256</c:v>
                </c:pt>
                <c:pt idx="56">
                  <c:v>0.19578327785014715</c:v>
                </c:pt>
                <c:pt idx="57">
                  <c:v>0.19458476459890886</c:v>
                </c:pt>
                <c:pt idx="58">
                  <c:v>0.20910996332060783</c:v>
                </c:pt>
                <c:pt idx="59">
                  <c:v>0.2117414565961344</c:v>
                </c:pt>
                <c:pt idx="60">
                  <c:v>0.21837361681302847</c:v>
                </c:pt>
                <c:pt idx="61">
                  <c:v>0.21279012532656846</c:v>
                </c:pt>
                <c:pt idx="62">
                  <c:v>0.22075055187637968</c:v>
                </c:pt>
                <c:pt idx="63">
                  <c:v>0.22964336567436008</c:v>
                </c:pt>
                <c:pt idx="64">
                  <c:v>0.21302431858984822</c:v>
                </c:pt>
                <c:pt idx="65">
                  <c:v>0.20235818992989166</c:v>
                </c:pt>
                <c:pt idx="66">
                  <c:v>0.20488280544620607</c:v>
                </c:pt>
                <c:pt idx="67">
                  <c:v>0.19276786055578915</c:v>
                </c:pt>
                <c:pt idx="68">
                  <c:v>0.18068291783788765</c:v>
                </c:pt>
                <c:pt idx="69">
                  <c:v>0.1754751832211166</c:v>
                </c:pt>
                <c:pt idx="70">
                  <c:v>0.17706260305907773</c:v>
                </c:pt>
                <c:pt idx="71">
                  <c:v>0.1802403204272363</c:v>
                </c:pt>
                <c:pt idx="72">
                  <c:v>0.17245917329664415</c:v>
                </c:pt>
                <c:pt idx="73">
                  <c:v>0.17803153182378512</c:v>
                </c:pt>
                <c:pt idx="74">
                  <c:v>0.1799819657348963</c:v>
                </c:pt>
                <c:pt idx="75">
                  <c:v>0.19434877345891616</c:v>
                </c:pt>
                <c:pt idx="76">
                  <c:v>0.1975468535730611</c:v>
                </c:pt>
                <c:pt idx="77">
                  <c:v>0.18945790262763354</c:v>
                </c:pt>
                <c:pt idx="78">
                  <c:v>0.18950131233595802</c:v>
                </c:pt>
                <c:pt idx="79">
                  <c:v>0.16537878240774176</c:v>
                </c:pt>
                <c:pt idx="80">
                  <c:v>0.1596820809248555</c:v>
                </c:pt>
                <c:pt idx="81">
                  <c:v>0.17309978104472942</c:v>
                </c:pt>
                <c:pt idx="82">
                  <c:v>0.17310046519219782</c:v>
                </c:pt>
                <c:pt idx="83">
                  <c:v>0.17823709333580498</c:v>
                </c:pt>
                <c:pt idx="84">
                  <c:v>0.1805594800791184</c:v>
                </c:pt>
                <c:pt idx="85">
                  <c:v>0.18766821629557132</c:v>
                </c:pt>
                <c:pt idx="86">
                  <c:v>0.19693586403672</c:v>
                </c:pt>
                <c:pt idx="87">
                  <c:v>0.20539703341871687</c:v>
                </c:pt>
                <c:pt idx="88">
                  <c:v>0.19569202566452795</c:v>
                </c:pt>
                <c:pt idx="89">
                  <c:v>0.2036229453203623</c:v>
                </c:pt>
                <c:pt idx="90">
                  <c:v>0.18808049535603716</c:v>
                </c:pt>
                <c:pt idx="91">
                  <c:v>0.17474179192207573</c:v>
                </c:pt>
                <c:pt idx="92">
                  <c:v>0.18472906403940886</c:v>
                </c:pt>
                <c:pt idx="93">
                  <c:v>0.182525668694003</c:v>
                </c:pt>
                <c:pt idx="94">
                  <c:v>0.1874908451735755</c:v>
                </c:pt>
                <c:pt idx="95">
                  <c:v>0.1882099596231494</c:v>
                </c:pt>
                <c:pt idx="96">
                  <c:v>0.18701722574796012</c:v>
                </c:pt>
                <c:pt idx="97">
                  <c:v>0.1931076411109689</c:v>
                </c:pt>
                <c:pt idx="98">
                  <c:v>0.1941404090657822</c:v>
                </c:pt>
                <c:pt idx="99">
                  <c:v>0.19707116917417347</c:v>
                </c:pt>
                <c:pt idx="100">
                  <c:v>0.19811237384895455</c:v>
                </c:pt>
                <c:pt idx="101">
                  <c:v>0.20455465902364559</c:v>
                </c:pt>
                <c:pt idx="102">
                  <c:v>0.19864805931094637</c:v>
                </c:pt>
                <c:pt idx="103">
                  <c:v>0.19270317617488003</c:v>
                </c:pt>
                <c:pt idx="104">
                  <c:v>0.18921014228383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424658996321497</c:v>
                </c:pt>
                <c:pt idx="1">
                  <c:v>0.7093044904020367</c:v>
                </c:pt>
                <c:pt idx="2">
                  <c:v>0.715331729992549</c:v>
                </c:pt>
                <c:pt idx="3">
                  <c:v>0.68039787060338</c:v>
                </c:pt>
                <c:pt idx="4">
                  <c:v>0.6981174730743572</c:v>
                </c:pt>
                <c:pt idx="5">
                  <c:v>0.7076350061926492</c:v>
                </c:pt>
                <c:pt idx="6">
                  <c:v>0.7080107181904383</c:v>
                </c:pt>
                <c:pt idx="7">
                  <c:v>0.705193135975692</c:v>
                </c:pt>
                <c:pt idx="8">
                  <c:v>0.7311276963505575</c:v>
                </c:pt>
                <c:pt idx="9">
                  <c:v>0.7135700616807275</c:v>
                </c:pt>
                <c:pt idx="10">
                  <c:v>0.728419889625339</c:v>
                </c:pt>
                <c:pt idx="11">
                  <c:v>0.703089332568123</c:v>
                </c:pt>
                <c:pt idx="12">
                  <c:v>0.7163472804571528</c:v>
                </c:pt>
                <c:pt idx="13">
                  <c:v>0.697264026108134</c:v>
                </c:pt>
                <c:pt idx="14">
                  <c:v>0.6840735359690052</c:v>
                </c:pt>
                <c:pt idx="15">
                  <c:v>0.6896929534057198</c:v>
                </c:pt>
                <c:pt idx="16">
                  <c:v>0.7081999135293238</c:v>
                </c:pt>
                <c:pt idx="17">
                  <c:v>0.6744089123772242</c:v>
                </c:pt>
                <c:pt idx="18">
                  <c:v>0.6936714059744595</c:v>
                </c:pt>
                <c:pt idx="19">
                  <c:v>0.7166483438354574</c:v>
                </c:pt>
                <c:pt idx="20">
                  <c:v>0.6765338873016732</c:v>
                </c:pt>
                <c:pt idx="21">
                  <c:v>0.6351299512773158</c:v>
                </c:pt>
                <c:pt idx="22">
                  <c:v>0.6502330859009959</c:v>
                </c:pt>
                <c:pt idx="23">
                  <c:v>0.6675442303982833</c:v>
                </c:pt>
                <c:pt idx="24">
                  <c:v>0.6713698530458309</c:v>
                </c:pt>
                <c:pt idx="25">
                  <c:v>0.6966286535982263</c:v>
                </c:pt>
                <c:pt idx="26">
                  <c:v>0.6717244302378141</c:v>
                </c:pt>
                <c:pt idx="27">
                  <c:v>0.6883314372418643</c:v>
                </c:pt>
                <c:pt idx="28">
                  <c:v>0.700144823906797</c:v>
                </c:pt>
                <c:pt idx="29">
                  <c:v>0.6588122002852931</c:v>
                </c:pt>
                <c:pt idx="30">
                  <c:v>0.658429635989739</c:v>
                </c:pt>
                <c:pt idx="31">
                  <c:v>0.665449889118045</c:v>
                </c:pt>
                <c:pt idx="32">
                  <c:v>0.6731638978131573</c:v>
                </c:pt>
                <c:pt idx="33">
                  <c:v>0.6906794729748552</c:v>
                </c:pt>
                <c:pt idx="34">
                  <c:v>0.720545076378648</c:v>
                </c:pt>
                <c:pt idx="35">
                  <c:v>0.7048103903715672</c:v>
                </c:pt>
                <c:pt idx="36">
                  <c:v>0.6569502482427144</c:v>
                </c:pt>
                <c:pt idx="37">
                  <c:v>0.6487308130233559</c:v>
                </c:pt>
                <c:pt idx="38">
                  <c:v>0.6619090906940679</c:v>
                </c:pt>
                <c:pt idx="39">
                  <c:v>0.6972181304143468</c:v>
                </c:pt>
                <c:pt idx="40">
                  <c:v>0.716729319134465</c:v>
                </c:pt>
                <c:pt idx="41">
                  <c:v>0.736101407783586</c:v>
                </c:pt>
                <c:pt idx="42">
                  <c:v>0.7028813218045523</c:v>
                </c:pt>
                <c:pt idx="43">
                  <c:v>0.7661535604700622</c:v>
                </c:pt>
                <c:pt idx="44">
                  <c:v>0.8051235230948134</c:v>
                </c:pt>
                <c:pt idx="45">
                  <c:v>0.8016529699436091</c:v>
                </c:pt>
                <c:pt idx="46">
                  <c:v>0.7636814213842088</c:v>
                </c:pt>
                <c:pt idx="47">
                  <c:v>0.7667019542467135</c:v>
                </c:pt>
                <c:pt idx="48">
                  <c:v>0.8170686325597435</c:v>
                </c:pt>
                <c:pt idx="49">
                  <c:v>0.8460965989326548</c:v>
                </c:pt>
                <c:pt idx="50">
                  <c:v>0.8261876841211604</c:v>
                </c:pt>
                <c:pt idx="51">
                  <c:v>0.7892731141640285</c:v>
                </c:pt>
              </c:numCache>
            </c:numRef>
          </c:xVal>
          <c:yVal>
            <c:numRef>
              <c:f>Sheet1!$B$109:$B$160</c:f>
              <c:numCache>
                <c:formatCode>General</c:formatCode>
                <c:ptCount val="52"/>
                <c:pt idx="0">
                  <c:v>0.18943460188062472</c:v>
                </c:pt>
                <c:pt idx="1">
                  <c:v>0.19163673678809645</c:v>
                </c:pt>
                <c:pt idx="2">
                  <c:v>0.2083756631674004</c:v>
                </c:pt>
                <c:pt idx="3">
                  <c:v>0.22480319540853919</c:v>
                </c:pt>
                <c:pt idx="4">
                  <c:v>0.2069812591624074</c:v>
                </c:pt>
                <c:pt idx="5">
                  <c:v>0.21231043710972347</c:v>
                </c:pt>
                <c:pt idx="6">
                  <c:v>0.22477950736146737</c:v>
                </c:pt>
                <c:pt idx="7">
                  <c:v>0.2227314390467461</c:v>
                </c:pt>
                <c:pt idx="8">
                  <c:v>0.2055039895782446</c:v>
                </c:pt>
                <c:pt idx="9">
                  <c:v>0.21405400009981534</c:v>
                </c:pt>
                <c:pt idx="10">
                  <c:v>0.21438666601686243</c:v>
                </c:pt>
                <c:pt idx="11">
                  <c:v>0.2180893121111073</c:v>
                </c:pt>
                <c:pt idx="12">
                  <c:v>0.2160894219393791</c:v>
                </c:pt>
                <c:pt idx="13">
                  <c:v>0.21450535933930767</c:v>
                </c:pt>
                <c:pt idx="14">
                  <c:v>0.21879497265662476</c:v>
                </c:pt>
                <c:pt idx="15">
                  <c:v>0.212037949090155</c:v>
                </c:pt>
                <c:pt idx="16">
                  <c:v>0.2085702060028119</c:v>
                </c:pt>
                <c:pt idx="17">
                  <c:v>0.22129086336965634</c:v>
                </c:pt>
                <c:pt idx="18">
                  <c:v>0.21707811210324904</c:v>
                </c:pt>
                <c:pt idx="19">
                  <c:v>0.20475629509645119</c:v>
                </c:pt>
                <c:pt idx="20">
                  <c:v>0.1984010442160222</c:v>
                </c:pt>
                <c:pt idx="21">
                  <c:v>0.21474949122977033</c:v>
                </c:pt>
                <c:pt idx="22">
                  <c:v>0.20707981398880138</c:v>
                </c:pt>
                <c:pt idx="23">
                  <c:v>0.20803028793464182</c:v>
                </c:pt>
                <c:pt idx="24">
                  <c:v>0.20723684210526316</c:v>
                </c:pt>
                <c:pt idx="25">
                  <c:v>0.21182266009852216</c:v>
                </c:pt>
                <c:pt idx="26">
                  <c:v>0.20519641748692027</c:v>
                </c:pt>
                <c:pt idx="27">
                  <c:v>0.20855057351407716</c:v>
                </c:pt>
                <c:pt idx="28">
                  <c:v>0.1977886977886978</c:v>
                </c:pt>
                <c:pt idx="29">
                  <c:v>0.2037409317367363</c:v>
                </c:pt>
                <c:pt idx="30">
                  <c:v>0.2049438202247191</c:v>
                </c:pt>
                <c:pt idx="31">
                  <c:v>0.19889027073567397</c:v>
                </c:pt>
                <c:pt idx="32">
                  <c:v>0.19384283461953364</c:v>
                </c:pt>
                <c:pt idx="33">
                  <c:v>0.2046677471636953</c:v>
                </c:pt>
                <c:pt idx="34">
                  <c:v>0.21873328340644058</c:v>
                </c:pt>
                <c:pt idx="35">
                  <c:v>0.20943775100401607</c:v>
                </c:pt>
                <c:pt idx="36">
                  <c:v>0.20617036959039697</c:v>
                </c:pt>
                <c:pt idx="37">
                  <c:v>0.2103603173086113</c:v>
                </c:pt>
                <c:pt idx="38">
                  <c:v>0.20922324938901285</c:v>
                </c:pt>
                <c:pt idx="39">
                  <c:v>0.2053940291527009</c:v>
                </c:pt>
                <c:pt idx="40">
                  <c:v>0.19499924913650699</c:v>
                </c:pt>
                <c:pt idx="41">
                  <c:v>0.19658362989323844</c:v>
                </c:pt>
                <c:pt idx="42">
                  <c:v>0.20137707573916566</c:v>
                </c:pt>
                <c:pt idx="43">
                  <c:v>0.18635077793493635</c:v>
                </c:pt>
                <c:pt idx="44">
                  <c:v>0.1860071559810463</c:v>
                </c:pt>
                <c:pt idx="45">
                  <c:v>0.20335794405792987</c:v>
                </c:pt>
                <c:pt idx="46">
                  <c:v>0.221686847949051</c:v>
                </c:pt>
                <c:pt idx="47">
                  <c:v>0.22292597629687197</c:v>
                </c:pt>
                <c:pt idx="48">
                  <c:v>0.21374488513709444</c:v>
                </c:pt>
                <c:pt idx="49">
                  <c:v>0.21709691070672874</c:v>
                </c:pt>
                <c:pt idx="50">
                  <c:v>0.21337942252948353</c:v>
                </c:pt>
                <c:pt idx="51">
                  <c:v>0.2129150614566134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1.446799500663403</c:v>
                </c:pt>
              </c:numCache>
            </c:numRef>
          </c:xVal>
          <c:yVal>
            <c:numRef>
              <c:f>Sheet1!$B$163:$B$164</c:f>
              <c:numCache>
                <c:formatCode>General</c:formatCode>
                <c:ptCount val="2"/>
                <c:pt idx="0">
                  <c:v>0.2505318564708487</c:v>
                </c:pt>
                <c:pt idx="1">
                  <c:v>0.250531856470848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1.446799500663403</c:v>
                </c:pt>
                <c:pt idx="1">
                  <c:v>-11.446799500663403</c:v>
                </c:pt>
              </c:numCache>
            </c:numRef>
          </c:xVal>
          <c:yVal>
            <c:numRef>
              <c:f>Sheet1!$B$167:$B$168</c:f>
              <c:numCache>
                <c:formatCode>General</c:formatCode>
                <c:ptCount val="2"/>
                <c:pt idx="0">
                  <c:v>0.250531856470848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9676327562331132</c:v>
                </c:pt>
              </c:numCache>
            </c:numRef>
          </c:xVal>
          <c:yVal>
            <c:numRef>
              <c:f>Sheet1!$B$171:$B$172</c:f>
              <c:numCache>
                <c:formatCode>General</c:formatCode>
                <c:ptCount val="2"/>
                <c:pt idx="0">
                  <c:v>0.21428406995748003</c:v>
                </c:pt>
                <c:pt idx="1">
                  <c:v>0.2142840699574800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9676327562331132</c:v>
                </c:pt>
                <c:pt idx="1">
                  <c:v>-0.9676327562331132</c:v>
                </c:pt>
              </c:numCache>
            </c:numRef>
          </c:xVal>
          <c:yVal>
            <c:numRef>
              <c:f>Sheet1!$B$175:$B$176</c:f>
              <c:numCache>
                <c:formatCode>General</c:formatCode>
                <c:ptCount val="2"/>
                <c:pt idx="0">
                  <c:v>0.2142840699574800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4757787758956382</c:v>
                </c:pt>
              </c:numCache>
            </c:numRef>
          </c:xVal>
          <c:yVal>
            <c:numRef>
              <c:f>Sheet1!$B$179:$B$180</c:f>
              <c:numCache>
                <c:formatCode>General</c:formatCode>
                <c:ptCount val="2"/>
                <c:pt idx="0">
                  <c:v>0.20583222815164368</c:v>
                </c:pt>
                <c:pt idx="1">
                  <c:v>0.2058322281516436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4757787758956382</c:v>
                </c:pt>
                <c:pt idx="1">
                  <c:v>1.4757787758956382</c:v>
                </c:pt>
              </c:numCache>
            </c:numRef>
          </c:xVal>
          <c:yVal>
            <c:numRef>
              <c:f>Sheet1!$B$183:$B$184</c:f>
              <c:numCache>
                <c:formatCode>General</c:formatCode>
                <c:ptCount val="2"/>
                <c:pt idx="0">
                  <c:v>0.2058322281516436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424658996321497</c:v>
                </c:pt>
                <c:pt idx="1">
                  <c:v>0.7093044904020367</c:v>
                </c:pt>
                <c:pt idx="2">
                  <c:v>0.715331729992549</c:v>
                </c:pt>
                <c:pt idx="3">
                  <c:v>0.68039787060338</c:v>
                </c:pt>
                <c:pt idx="4">
                  <c:v>0.6981174730743572</c:v>
                </c:pt>
                <c:pt idx="5">
                  <c:v>0.7076350061926492</c:v>
                </c:pt>
                <c:pt idx="6">
                  <c:v>0.7080107181904383</c:v>
                </c:pt>
                <c:pt idx="7">
                  <c:v>0.705193135975692</c:v>
                </c:pt>
                <c:pt idx="8">
                  <c:v>0.7311276963505575</c:v>
                </c:pt>
                <c:pt idx="9">
                  <c:v>0.7135700616807275</c:v>
                </c:pt>
                <c:pt idx="10">
                  <c:v>0.728419889625339</c:v>
                </c:pt>
                <c:pt idx="11">
                  <c:v>0.703089332568123</c:v>
                </c:pt>
                <c:pt idx="12">
                  <c:v>0.7163472804571528</c:v>
                </c:pt>
                <c:pt idx="13">
                  <c:v>0.697264026108134</c:v>
                </c:pt>
                <c:pt idx="14">
                  <c:v>0.6840735359690052</c:v>
                </c:pt>
                <c:pt idx="15">
                  <c:v>0.6896929534057198</c:v>
                </c:pt>
                <c:pt idx="16">
                  <c:v>0.7081999135293238</c:v>
                </c:pt>
                <c:pt idx="17">
                  <c:v>0.6744089123772242</c:v>
                </c:pt>
                <c:pt idx="18">
                  <c:v>0.6936714059744595</c:v>
                </c:pt>
                <c:pt idx="19">
                  <c:v>0.7166483438354574</c:v>
                </c:pt>
                <c:pt idx="20">
                  <c:v>0.6765338873016732</c:v>
                </c:pt>
                <c:pt idx="21">
                  <c:v>0.6351299512773158</c:v>
                </c:pt>
                <c:pt idx="22">
                  <c:v>0.6502330859009959</c:v>
                </c:pt>
                <c:pt idx="23">
                  <c:v>0.6675442303982833</c:v>
                </c:pt>
                <c:pt idx="24">
                  <c:v>0.6713698530458309</c:v>
                </c:pt>
                <c:pt idx="25">
                  <c:v>0.6966286535982263</c:v>
                </c:pt>
                <c:pt idx="26">
                  <c:v>0.6717244302378141</c:v>
                </c:pt>
                <c:pt idx="27">
                  <c:v>0.6883314372418643</c:v>
                </c:pt>
                <c:pt idx="28">
                  <c:v>0.700144823906797</c:v>
                </c:pt>
                <c:pt idx="29">
                  <c:v>0.6588122002852931</c:v>
                </c:pt>
                <c:pt idx="30">
                  <c:v>0.658429635989739</c:v>
                </c:pt>
                <c:pt idx="31">
                  <c:v>0.665449889118045</c:v>
                </c:pt>
                <c:pt idx="32">
                  <c:v>0.6731638978131573</c:v>
                </c:pt>
                <c:pt idx="33">
                  <c:v>0.6906794729748552</c:v>
                </c:pt>
                <c:pt idx="34">
                  <c:v>0.720545076378648</c:v>
                </c:pt>
                <c:pt idx="35">
                  <c:v>0.7048103903715672</c:v>
                </c:pt>
                <c:pt idx="36">
                  <c:v>0.6569502482427144</c:v>
                </c:pt>
                <c:pt idx="37">
                  <c:v>0.6487308130233559</c:v>
                </c:pt>
                <c:pt idx="38">
                  <c:v>0.6619090906940679</c:v>
                </c:pt>
                <c:pt idx="39">
                  <c:v>0.6972181304143468</c:v>
                </c:pt>
                <c:pt idx="40">
                  <c:v>0.716729319134465</c:v>
                </c:pt>
                <c:pt idx="41">
                  <c:v>0.736101407783586</c:v>
                </c:pt>
                <c:pt idx="42">
                  <c:v>0.7028813218045523</c:v>
                </c:pt>
                <c:pt idx="43">
                  <c:v>0.7661535604700622</c:v>
                </c:pt>
                <c:pt idx="44">
                  <c:v>0.8051235230948134</c:v>
                </c:pt>
                <c:pt idx="45">
                  <c:v>0.8016529699436091</c:v>
                </c:pt>
                <c:pt idx="46">
                  <c:v>0.7636814213842088</c:v>
                </c:pt>
                <c:pt idx="47">
                  <c:v>0.7667019542467135</c:v>
                </c:pt>
                <c:pt idx="48">
                  <c:v>0.8170686325597435</c:v>
                </c:pt>
                <c:pt idx="49">
                  <c:v>0.8460965989326548</c:v>
                </c:pt>
                <c:pt idx="50">
                  <c:v>0.8261876841211604</c:v>
                </c:pt>
                <c:pt idx="51">
                  <c:v>0.7892731141640285</c:v>
                </c:pt>
                <c:pt idx="52">
                  <c:v>-0.9676327562331132</c:v>
                </c:pt>
                <c:pt idx="53">
                  <c:v>-11.446799500663403</c:v>
                </c:pt>
                <c:pt idx="54">
                  <c:v>1.4757787758956382</c:v>
                </c:pt>
              </c:numCache>
            </c:numRef>
          </c:xVal>
          <c:yVal>
            <c:numRef>
              <c:f>Sheet1!$B$187:$B$241</c:f>
              <c:numCache>
                <c:formatCode>General</c:formatCode>
                <c:ptCount val="55"/>
                <c:pt idx="0">
                  <c:v>0.2083687817951317</c:v>
                </c:pt>
                <c:pt idx="1">
                  <c:v>0.20848348821326312</c:v>
                </c:pt>
                <c:pt idx="2">
                  <c:v>0.20846263979093432</c:v>
                </c:pt>
                <c:pt idx="3">
                  <c:v>0.2085834771731527</c:v>
                </c:pt>
                <c:pt idx="4">
                  <c:v>0.20852218447850107</c:v>
                </c:pt>
                <c:pt idx="5">
                  <c:v>0.20848926301470347</c:v>
                </c:pt>
                <c:pt idx="6">
                  <c:v>0.2084879634143995</c:v>
                </c:pt>
                <c:pt idx="7">
                  <c:v>0.20849770952504884</c:v>
                </c:pt>
                <c:pt idx="8">
                  <c:v>0.20840800101761567</c:v>
                </c:pt>
                <c:pt idx="9">
                  <c:v>0.20846873346025285</c:v>
                </c:pt>
                <c:pt idx="10">
                  <c:v>0.2084173674111934</c:v>
                </c:pt>
                <c:pt idx="11">
                  <c:v>0.20850498665104975</c:v>
                </c:pt>
                <c:pt idx="12">
                  <c:v>0.20845912696807997</c:v>
                </c:pt>
                <c:pt idx="13">
                  <c:v>0.20852513657995977</c:v>
                </c:pt>
                <c:pt idx="14">
                  <c:v>0.20857076292432766</c:v>
                </c:pt>
                <c:pt idx="15">
                  <c:v>0.20855132517240108</c:v>
                </c:pt>
                <c:pt idx="16">
                  <c:v>0.20848730898142592</c:v>
                </c:pt>
                <c:pt idx="17">
                  <c:v>0.2086041931789682</c:v>
                </c:pt>
                <c:pt idx="18">
                  <c:v>0.20853756357256376</c:v>
                </c:pt>
                <c:pt idx="19">
                  <c:v>0.20845808557983508</c:v>
                </c:pt>
                <c:pt idx="20">
                  <c:v>0.2085968428199858</c:v>
                </c:pt>
                <c:pt idx="21">
                  <c:v>0.20874006041260804</c:v>
                </c:pt>
                <c:pt idx="22">
                  <c:v>0.2086878181673157</c:v>
                </c:pt>
                <c:pt idx="23">
                  <c:v>0.20862793834238846</c:v>
                </c:pt>
                <c:pt idx="24">
                  <c:v>0.2086147053863347</c:v>
                </c:pt>
                <c:pt idx="25">
                  <c:v>0.2085273343546166</c:v>
                </c:pt>
                <c:pt idx="26">
                  <c:v>0.2086134788920274</c:v>
                </c:pt>
                <c:pt idx="27">
                  <c:v>0.2085560347021228</c:v>
                </c:pt>
                <c:pt idx="28">
                  <c:v>0.20851517180450188</c:v>
                </c:pt>
                <c:pt idx="29">
                  <c:v>0.20865814272514935</c:v>
                </c:pt>
                <c:pt idx="30">
                  <c:v>0.20865946602777932</c:v>
                </c:pt>
                <c:pt idx="31">
                  <c:v>0.20863518273857604</c:v>
                </c:pt>
                <c:pt idx="32">
                  <c:v>0.2086084997257791</c:v>
                </c:pt>
                <c:pt idx="33">
                  <c:v>0.20854791276838028</c:v>
                </c:pt>
                <c:pt idx="34">
                  <c:v>0.20844460665228579</c:v>
                </c:pt>
                <c:pt idx="35">
                  <c:v>0.2084990334548312</c:v>
                </c:pt>
                <c:pt idx="36">
                  <c:v>0.20866458327923</c:v>
                </c:pt>
                <c:pt idx="37">
                  <c:v>0.20869301457919476</c:v>
                </c:pt>
                <c:pt idx="38">
                  <c:v>0.20864743047816156</c:v>
                </c:pt>
                <c:pt idx="39">
                  <c:v>0.20852529533469197</c:v>
                </c:pt>
                <c:pt idx="40">
                  <c:v>0.20845780548358098</c:v>
                </c:pt>
                <c:pt idx="41">
                  <c:v>0.2083907967842448</c:v>
                </c:pt>
                <c:pt idx="42">
                  <c:v>0.2085057061672035</c:v>
                </c:pt>
                <c:pt idx="43">
                  <c:v>0.20828684538797318</c:v>
                </c:pt>
                <c:pt idx="44">
                  <c:v>0.20815204699034232</c:v>
                </c:pt>
                <c:pt idx="45">
                  <c:v>0.2081640517491916</c:v>
                </c:pt>
                <c:pt idx="46">
                  <c:v>0.2082953965993434</c:v>
                </c:pt>
                <c:pt idx="47">
                  <c:v>0.20828494847564932</c:v>
                </c:pt>
                <c:pt idx="48">
                  <c:v>0.20811072845917247</c:v>
                </c:pt>
                <c:pt idx="49">
                  <c:v>0.2080103197574442</c:v>
                </c:pt>
                <c:pt idx="50">
                  <c:v>0.20807918535634148</c:v>
                </c:pt>
                <c:pt idx="51">
                  <c:v>0.20820687408233204</c:v>
                </c:pt>
                <c:pt idx="52">
                  <c:v>0.21428406995748003</c:v>
                </c:pt>
                <c:pt idx="53">
                  <c:v>0.2505318564708487</c:v>
                </c:pt>
                <c:pt idx="54">
                  <c:v>0.2058322281516436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42248722316864"/>
          <c:min val="0.1233579583613163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2.6043</c:v>
                </c:pt>
                <c:pt idx="1">
                  <c:v>876.6323</c:v>
                </c:pt>
                <c:pt idx="2">
                  <c:v>911.1551</c:v>
                </c:pt>
                <c:pt idx="3">
                  <c:v>925.7721</c:v>
                </c:pt>
                <c:pt idx="4">
                  <c:v>930.7482</c:v>
                </c:pt>
                <c:pt idx="5">
                  <c:v>922.7364</c:v>
                </c:pt>
                <c:pt idx="6">
                  <c:v>872.0113</c:v>
                </c:pt>
                <c:pt idx="7">
                  <c:v>885.5919</c:v>
                </c:pt>
                <c:pt idx="8">
                  <c:v>888.882</c:v>
                </c:pt>
                <c:pt idx="9">
                  <c:v>872.4829</c:v>
                </c:pt>
                <c:pt idx="10">
                  <c:v>865.817</c:v>
                </c:pt>
                <c:pt idx="11">
                  <c:v>931.8931</c:v>
                </c:pt>
                <c:pt idx="12">
                  <c:v>939.3623</c:v>
                </c:pt>
                <c:pt idx="13">
                  <c:v>945.3954</c:v>
                </c:pt>
                <c:pt idx="14">
                  <c:v>953.6439</c:v>
                </c:pt>
                <c:pt idx="15">
                  <c:v>969.5476</c:v>
                </c:pt>
                <c:pt idx="16">
                  <c:v>991.3707</c:v>
                </c:pt>
                <c:pt idx="17">
                  <c:v>1017.5138</c:v>
                </c:pt>
                <c:pt idx="18">
                  <c:v>1058.1947</c:v>
                </c:pt>
                <c:pt idx="19">
                  <c:v>1063.6722</c:v>
                </c:pt>
                <c:pt idx="20">
                  <c:v>1093.8406</c:v>
                </c:pt>
                <c:pt idx="21">
                  <c:v>1108.3406</c:v>
                </c:pt>
                <c:pt idx="22">
                  <c:v>1059.9098</c:v>
                </c:pt>
                <c:pt idx="23">
                  <c:v>1050.6998</c:v>
                </c:pt>
                <c:pt idx="24">
                  <c:v>1052.7458</c:v>
                </c:pt>
                <c:pt idx="25">
                  <c:v>1027.5101</c:v>
                </c:pt>
                <c:pt idx="26">
                  <c:v>1011.3722</c:v>
                </c:pt>
                <c:pt idx="27">
                  <c:v>1028.1256</c:v>
                </c:pt>
                <c:pt idx="28">
                  <c:v>1023.2723</c:v>
                </c:pt>
                <c:pt idx="29">
                  <c:v>1005.2878</c:v>
                </c:pt>
                <c:pt idx="30">
                  <c:v>1008.6892</c:v>
                </c:pt>
                <c:pt idx="31">
                  <c:v>989.1239</c:v>
                </c:pt>
                <c:pt idx="32">
                  <c:v>977.6285</c:v>
                </c:pt>
                <c:pt idx="33">
                  <c:v>941.2271</c:v>
                </c:pt>
                <c:pt idx="34">
                  <c:v>953.1225</c:v>
                </c:pt>
                <c:pt idx="35">
                  <c:v>987.6614</c:v>
                </c:pt>
                <c:pt idx="36">
                  <c:v>1076.9937</c:v>
                </c:pt>
                <c:pt idx="37">
                  <c:v>1081.8702</c:v>
                </c:pt>
                <c:pt idx="38">
                  <c:v>1144.6705</c:v>
                </c:pt>
                <c:pt idx="39">
                  <c:v>1158.5252</c:v>
                </c:pt>
                <c:pt idx="40">
                  <c:v>1148.5003</c:v>
                </c:pt>
                <c:pt idx="41">
                  <c:v>1186.201</c:v>
                </c:pt>
                <c:pt idx="42">
                  <c:v>1208.5581</c:v>
                </c:pt>
                <c:pt idx="43">
                  <c:v>1216.1227</c:v>
                </c:pt>
                <c:pt idx="44">
                  <c:v>1132.884</c:v>
                </c:pt>
                <c:pt idx="45">
                  <c:v>1097.0486</c:v>
                </c:pt>
                <c:pt idx="46">
                  <c:v>1096.5677</c:v>
                </c:pt>
                <c:pt idx="47">
                  <c:v>1079.5043</c:v>
                </c:pt>
                <c:pt idx="48">
                  <c:v>1088.401</c:v>
                </c:pt>
                <c:pt idx="49">
                  <c:v>1052.9549</c:v>
                </c:pt>
                <c:pt idx="50">
                  <c:v>1044.3626</c:v>
                </c:pt>
                <c:pt idx="51">
                  <c:v>1064.9533</c:v>
                </c:pt>
                <c:pt idx="52">
                  <c:v>1066.5982</c:v>
                </c:pt>
                <c:pt idx="53">
                  <c:v>1142.773</c:v>
                </c:pt>
                <c:pt idx="54">
                  <c:v>1128.7357</c:v>
                </c:pt>
                <c:pt idx="55">
                  <c:v>1144.0735</c:v>
                </c:pt>
                <c:pt idx="56">
                  <c:v>1161.348</c:v>
                </c:pt>
                <c:pt idx="57">
                  <c:v>1128.1435</c:v>
                </c:pt>
                <c:pt idx="58">
                  <c:v>1100.9694</c:v>
                </c:pt>
                <c:pt idx="59">
                  <c:v>1083.4335</c:v>
                </c:pt>
                <c:pt idx="60">
                  <c:v>1101.4643</c:v>
                </c:pt>
                <c:pt idx="61">
                  <c:v>1133.1802</c:v>
                </c:pt>
                <c:pt idx="62">
                  <c:v>1077.1723</c:v>
                </c:pt>
                <c:pt idx="63">
                  <c:v>1103.7837</c:v>
                </c:pt>
                <c:pt idx="64">
                  <c:v>1118.5354</c:v>
                </c:pt>
                <c:pt idx="65">
                  <c:v>1106.8087</c:v>
                </c:pt>
                <c:pt idx="66">
                  <c:v>1110.3682</c:v>
                </c:pt>
                <c:pt idx="67">
                  <c:v>1132.4642</c:v>
                </c:pt>
                <c:pt idx="68">
                  <c:v>1159.9969</c:v>
                </c:pt>
                <c:pt idx="69">
                  <c:v>1190.1922</c:v>
                </c:pt>
                <c:pt idx="70">
                  <c:v>1167.0873</c:v>
                </c:pt>
                <c:pt idx="71">
                  <c:v>1233.9912</c:v>
                </c:pt>
                <c:pt idx="72">
                  <c:v>1323.4259</c:v>
                </c:pt>
                <c:pt idx="73">
                  <c:v>1294.9267</c:v>
                </c:pt>
                <c:pt idx="74">
                  <c:v>1281.6593</c:v>
                </c:pt>
                <c:pt idx="75">
                  <c:v>1233.0492</c:v>
                </c:pt>
                <c:pt idx="76">
                  <c:v>1207.2538</c:v>
                </c:pt>
                <c:pt idx="77">
                  <c:v>1207.88</c:v>
                </c:pt>
                <c:pt idx="78">
                  <c:v>1271.0125</c:v>
                </c:pt>
                <c:pt idx="79">
                  <c:v>1246.3288</c:v>
                </c:pt>
                <c:pt idx="80">
                  <c:v>1253.2253</c:v>
                </c:pt>
                <c:pt idx="81">
                  <c:v>1225.5049</c:v>
                </c:pt>
                <c:pt idx="82">
                  <c:v>1230.3508</c:v>
                </c:pt>
                <c:pt idx="83">
                  <c:v>1187.5029</c:v>
                </c:pt>
                <c:pt idx="84">
                  <c:v>1210.0767</c:v>
                </c:pt>
                <c:pt idx="85">
                  <c:v>1189.6393</c:v>
                </c:pt>
                <c:pt idx="86">
                  <c:v>1187.354</c:v>
                </c:pt>
                <c:pt idx="87">
                  <c:v>1190.172</c:v>
                </c:pt>
                <c:pt idx="88">
                  <c:v>1242.5066</c:v>
                </c:pt>
                <c:pt idx="89">
                  <c:v>1226.9135</c:v>
                </c:pt>
                <c:pt idx="90">
                  <c:v>1304.1472</c:v>
                </c:pt>
                <c:pt idx="91">
                  <c:v>1307.3926</c:v>
                </c:pt>
                <c:pt idx="92">
                  <c:v>1242.1643</c:v>
                </c:pt>
                <c:pt idx="93">
                  <c:v>1284.4174</c:v>
                </c:pt>
                <c:pt idx="94">
                  <c:v>1266.4449</c:v>
                </c:pt>
                <c:pt idx="95">
                  <c:v>1225.7909</c:v>
                </c:pt>
                <c:pt idx="96">
                  <c:v>1195.1809</c:v>
                </c:pt>
                <c:pt idx="97">
                  <c:v>1174.6454</c:v>
                </c:pt>
                <c:pt idx="98">
                  <c:v>1162.5787</c:v>
                </c:pt>
                <c:pt idx="99">
                  <c:v>1120.9807</c:v>
                </c:pt>
                <c:pt idx="100">
                  <c:v>1121.8517</c:v>
                </c:pt>
                <c:pt idx="101">
                  <c:v>1130.0274</c:v>
                </c:pt>
                <c:pt idx="102">
                  <c:v>1140.2487</c:v>
                </c:pt>
                <c:pt idx="103">
                  <c:v>1135.6579</c:v>
                </c:pt>
                <c:pt idx="104">
                  <c:v>1183.6327</c:v>
                </c:pt>
              </c:numCache>
            </c:numRef>
          </c:xVal>
          <c:yVal>
            <c:numRef>
              <c:f>Sheet1!$B$2:$B$106</c:f>
              <c:numCache>
                <c:formatCode>General</c:formatCode>
                <c:ptCount val="105"/>
                <c:pt idx="0">
                  <c:v>0.2389593520782396</c:v>
                </c:pt>
                <c:pt idx="1">
                  <c:v>0.23479694908266338</c:v>
                </c:pt>
                <c:pt idx="2">
                  <c:v>0.23689880723355136</c:v>
                </c:pt>
                <c:pt idx="3">
                  <c:v>0.23595784252944824</c:v>
                </c:pt>
                <c:pt idx="4">
                  <c:v>0.23779589431293585</c:v>
                </c:pt>
                <c:pt idx="5">
                  <c:v>0.24517480424916463</c:v>
                </c:pt>
                <c:pt idx="6">
                  <c:v>0.2730293253719844</c:v>
                </c:pt>
                <c:pt idx="7">
                  <c:v>0.2803520726859739</c:v>
                </c:pt>
                <c:pt idx="8">
                  <c:v>0.27182166069367675</c:v>
                </c:pt>
                <c:pt idx="9">
                  <c:v>0.2534750613246116</c:v>
                </c:pt>
                <c:pt idx="10">
                  <c:v>0.24879308884560006</c:v>
                </c:pt>
                <c:pt idx="11">
                  <c:v>0.22092457420924574</c:v>
                </c:pt>
                <c:pt idx="12">
                  <c:v>0.20868990036793583</c:v>
                </c:pt>
                <c:pt idx="13">
                  <c:v>0.19740652146544127</c:v>
                </c:pt>
                <c:pt idx="14">
                  <c:v>0.1827898852104475</c:v>
                </c:pt>
                <c:pt idx="15">
                  <c:v>0.1754871896330003</c:v>
                </c:pt>
                <c:pt idx="16">
                  <c:v>0.16985849860771723</c:v>
                </c:pt>
                <c:pt idx="17">
                  <c:v>0.16062531141006478</c:v>
                </c:pt>
                <c:pt idx="18">
                  <c:v>0.1563905612068369</c:v>
                </c:pt>
                <c:pt idx="19">
                  <c:v>0.15889917274142026</c:v>
                </c:pt>
                <c:pt idx="20">
                  <c:v>0.1541974479516454</c:v>
                </c:pt>
                <c:pt idx="21">
                  <c:v>0.16999311768754302</c:v>
                </c:pt>
                <c:pt idx="22">
                  <c:v>0.1977642610554003</c:v>
                </c:pt>
                <c:pt idx="23">
                  <c:v>0.20794412920122218</c:v>
                </c:pt>
                <c:pt idx="24">
                  <c:v>0.20918974684548847</c:v>
                </c:pt>
                <c:pt idx="25">
                  <c:v>0.2173082173082173</c:v>
                </c:pt>
                <c:pt idx="26">
                  <c:v>0.23575</c:v>
                </c:pt>
                <c:pt idx="27">
                  <c:v>0.2292655903767015</c:v>
                </c:pt>
                <c:pt idx="28">
                  <c:v>0.23493781295428848</c:v>
                </c:pt>
                <c:pt idx="29">
                  <c:v>0.22743031479683817</c:v>
                </c:pt>
                <c:pt idx="30">
                  <c:v>0.23199709776890984</c:v>
                </c:pt>
                <c:pt idx="31">
                  <c:v>0.24313387860525182</c:v>
                </c:pt>
                <c:pt idx="32">
                  <c:v>0.2487016250628246</c:v>
                </c:pt>
                <c:pt idx="33">
                  <c:v>0.241206995963867</c:v>
                </c:pt>
                <c:pt idx="34">
                  <c:v>0.23499744999149996</c:v>
                </c:pt>
                <c:pt idx="35">
                  <c:v>0.2397726065242801</c:v>
                </c:pt>
                <c:pt idx="36">
                  <c:v>0.21667641515565086</c:v>
                </c:pt>
                <c:pt idx="37">
                  <c:v>0.21587417702999268</c:v>
                </c:pt>
                <c:pt idx="38">
                  <c:v>0.20234780645646774</c:v>
                </c:pt>
                <c:pt idx="39">
                  <c:v>0.19492449011365406</c:v>
                </c:pt>
                <c:pt idx="40">
                  <c:v>0.19796473042159154</c:v>
                </c:pt>
                <c:pt idx="41">
                  <c:v>0.19218924972004478</c:v>
                </c:pt>
                <c:pt idx="42">
                  <c:v>0.18860652776105022</c:v>
                </c:pt>
                <c:pt idx="43">
                  <c:v>0.18170534268753372</c:v>
                </c:pt>
                <c:pt idx="44">
                  <c:v>0.18682186512841642</c:v>
                </c:pt>
                <c:pt idx="45">
                  <c:v>0.20375351698976596</c:v>
                </c:pt>
                <c:pt idx="46">
                  <c:v>0.20569952854268642</c:v>
                </c:pt>
                <c:pt idx="47">
                  <c:v>0.20028822862048876</c:v>
                </c:pt>
                <c:pt idx="48">
                  <c:v>0.19804154435655544</c:v>
                </c:pt>
                <c:pt idx="49">
                  <c:v>0.20889913471862565</c:v>
                </c:pt>
                <c:pt idx="50">
                  <c:v>0.20385839926866942</c:v>
                </c:pt>
                <c:pt idx="51">
                  <c:v>0.19360383769738157</c:v>
                </c:pt>
                <c:pt idx="52">
                  <c:v>0.19804000267576427</c:v>
                </c:pt>
                <c:pt idx="53">
                  <c:v>0.1912751677852349</c:v>
                </c:pt>
                <c:pt idx="54">
                  <c:v>0.19710236504784256</c:v>
                </c:pt>
                <c:pt idx="55">
                  <c:v>0.19466494369577256</c:v>
                </c:pt>
                <c:pt idx="56">
                  <c:v>0.19578327785014715</c:v>
                </c:pt>
                <c:pt idx="57">
                  <c:v>0.19458476459890886</c:v>
                </c:pt>
                <c:pt idx="58">
                  <c:v>0.20910996332060783</c:v>
                </c:pt>
                <c:pt idx="59">
                  <c:v>0.2117414565961344</c:v>
                </c:pt>
                <c:pt idx="60">
                  <c:v>0.21837361681302847</c:v>
                </c:pt>
                <c:pt idx="61">
                  <c:v>0.21279012532656846</c:v>
                </c:pt>
                <c:pt idx="62">
                  <c:v>0.22075055187637968</c:v>
                </c:pt>
                <c:pt idx="63">
                  <c:v>0.22964336567436008</c:v>
                </c:pt>
                <c:pt idx="64">
                  <c:v>0.21302431858984822</c:v>
                </c:pt>
                <c:pt idx="65">
                  <c:v>0.20235818992989166</c:v>
                </c:pt>
                <c:pt idx="66">
                  <c:v>0.20488280544620607</c:v>
                </c:pt>
                <c:pt idx="67">
                  <c:v>0.19276786055578915</c:v>
                </c:pt>
                <c:pt idx="68">
                  <c:v>0.18068291783788765</c:v>
                </c:pt>
                <c:pt idx="69">
                  <c:v>0.1754751832211166</c:v>
                </c:pt>
                <c:pt idx="70">
                  <c:v>0.17706260305907773</c:v>
                </c:pt>
                <c:pt idx="71">
                  <c:v>0.1802403204272363</c:v>
                </c:pt>
                <c:pt idx="72">
                  <c:v>0.17245917329664415</c:v>
                </c:pt>
                <c:pt idx="73">
                  <c:v>0.17803153182378512</c:v>
                </c:pt>
                <c:pt idx="74">
                  <c:v>0.1799819657348963</c:v>
                </c:pt>
                <c:pt idx="75">
                  <c:v>0.19434877345891616</c:v>
                </c:pt>
                <c:pt idx="76">
                  <c:v>0.1975468535730611</c:v>
                </c:pt>
                <c:pt idx="77">
                  <c:v>0.18945790262763354</c:v>
                </c:pt>
                <c:pt idx="78">
                  <c:v>0.18950131233595802</c:v>
                </c:pt>
                <c:pt idx="79">
                  <c:v>0.16537878240774176</c:v>
                </c:pt>
                <c:pt idx="80">
                  <c:v>0.1596820809248555</c:v>
                </c:pt>
                <c:pt idx="81">
                  <c:v>0.17309978104472942</c:v>
                </c:pt>
                <c:pt idx="82">
                  <c:v>0.17310046519219782</c:v>
                </c:pt>
                <c:pt idx="83">
                  <c:v>0.17823709333580498</c:v>
                </c:pt>
                <c:pt idx="84">
                  <c:v>0.1805594800791184</c:v>
                </c:pt>
                <c:pt idx="85">
                  <c:v>0.18766821629557132</c:v>
                </c:pt>
                <c:pt idx="86">
                  <c:v>0.19693586403672</c:v>
                </c:pt>
                <c:pt idx="87">
                  <c:v>0.20539703341871687</c:v>
                </c:pt>
                <c:pt idx="88">
                  <c:v>0.19569202566452795</c:v>
                </c:pt>
                <c:pt idx="89">
                  <c:v>0.2036229453203623</c:v>
                </c:pt>
                <c:pt idx="90">
                  <c:v>0.18808049535603716</c:v>
                </c:pt>
                <c:pt idx="91">
                  <c:v>0.17474179192207573</c:v>
                </c:pt>
                <c:pt idx="92">
                  <c:v>0.18472906403940886</c:v>
                </c:pt>
                <c:pt idx="93">
                  <c:v>0.182525668694003</c:v>
                </c:pt>
                <c:pt idx="94">
                  <c:v>0.1874908451735755</c:v>
                </c:pt>
                <c:pt idx="95">
                  <c:v>0.1882099596231494</c:v>
                </c:pt>
                <c:pt idx="96">
                  <c:v>0.18701722574796012</c:v>
                </c:pt>
                <c:pt idx="97">
                  <c:v>0.1931076411109689</c:v>
                </c:pt>
                <c:pt idx="98">
                  <c:v>0.1941404090657822</c:v>
                </c:pt>
                <c:pt idx="99">
                  <c:v>0.19707116917417347</c:v>
                </c:pt>
                <c:pt idx="100">
                  <c:v>0.19811237384895455</c:v>
                </c:pt>
                <c:pt idx="101">
                  <c:v>0.20455465902364559</c:v>
                </c:pt>
                <c:pt idx="102">
                  <c:v>0.19864805931094637</c:v>
                </c:pt>
                <c:pt idx="103">
                  <c:v>0.19270317617488003</c:v>
                </c:pt>
                <c:pt idx="104">
                  <c:v>0.18921014228383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3.1947</c:v>
                </c:pt>
                <c:pt idx="1">
                  <c:v>1223.3554</c:v>
                </c:pt>
                <c:pt idx="2">
                  <c:v>1223.8808</c:v>
                </c:pt>
                <c:pt idx="3">
                  <c:v>1201.5972</c:v>
                </c:pt>
                <c:pt idx="4">
                  <c:v>1237.3691</c:v>
                </c:pt>
                <c:pt idx="5">
                  <c:v>1225.4903</c:v>
                </c:pt>
                <c:pt idx="6">
                  <c:v>1128.0145</c:v>
                </c:pt>
                <c:pt idx="7">
                  <c:v>1164.7522</c:v>
                </c:pt>
                <c:pt idx="8">
                  <c:v>1228.3199</c:v>
                </c:pt>
                <c:pt idx="9">
                  <c:v>1182.7909</c:v>
                </c:pt>
                <c:pt idx="10">
                  <c:v>1208.2139</c:v>
                </c:pt>
                <c:pt idx="11">
                  <c:v>1061.5415</c:v>
                </c:pt>
                <c:pt idx="12">
                  <c:v>1106.6107</c:v>
                </c:pt>
                <c:pt idx="13">
                  <c:v>1177.5337</c:v>
                </c:pt>
                <c:pt idx="14">
                  <c:v>1154.3076</c:v>
                </c:pt>
                <c:pt idx="15">
                  <c:v>1181.8555</c:v>
                </c:pt>
                <c:pt idx="16">
                  <c:v>1213.9305</c:v>
                </c:pt>
                <c:pt idx="17">
                  <c:v>1151.6649</c:v>
                </c:pt>
                <c:pt idx="18">
                  <c:v>1168.3923</c:v>
                </c:pt>
                <c:pt idx="19">
                  <c:v>1296.7688</c:v>
                </c:pt>
                <c:pt idx="20">
                  <c:v>1291.7895</c:v>
                </c:pt>
                <c:pt idx="21">
                  <c:v>1193.7491</c:v>
                </c:pt>
                <c:pt idx="22">
                  <c:v>1227.8181</c:v>
                </c:pt>
                <c:pt idx="23">
                  <c:v>1249.3137</c:v>
                </c:pt>
                <c:pt idx="24">
                  <c:v>1258.4938</c:v>
                </c:pt>
                <c:pt idx="25">
                  <c:v>1217.6731</c:v>
                </c:pt>
                <c:pt idx="26">
                  <c:v>1213.6672</c:v>
                </c:pt>
                <c:pt idx="27">
                  <c:v>1215.4127</c:v>
                </c:pt>
                <c:pt idx="28">
                  <c:v>1245.791</c:v>
                </c:pt>
                <c:pt idx="29">
                  <c:v>1253.6903</c:v>
                </c:pt>
                <c:pt idx="30">
                  <c:v>1242.2987</c:v>
                </c:pt>
                <c:pt idx="31">
                  <c:v>1228.582</c:v>
                </c:pt>
                <c:pt idx="32">
                  <c:v>1250.1802</c:v>
                </c:pt>
                <c:pt idx="33">
                  <c:v>1247.0691</c:v>
                </c:pt>
                <c:pt idx="34">
                  <c:v>1262.4243</c:v>
                </c:pt>
                <c:pt idx="35">
                  <c:v>1298.7312</c:v>
                </c:pt>
                <c:pt idx="36">
                  <c:v>1337.2671</c:v>
                </c:pt>
                <c:pt idx="37">
                  <c:v>1315.9705</c:v>
                </c:pt>
                <c:pt idx="38">
                  <c:v>1343.2656</c:v>
                </c:pt>
                <c:pt idx="39">
                  <c:v>1284.2949</c:v>
                </c:pt>
                <c:pt idx="40">
                  <c:v>1310.501</c:v>
                </c:pt>
                <c:pt idx="41">
                  <c:v>1348.9511</c:v>
                </c:pt>
                <c:pt idx="42">
                  <c:v>1333.1323</c:v>
                </c:pt>
                <c:pt idx="43">
                  <c:v>1350.814</c:v>
                </c:pt>
                <c:pt idx="44">
                  <c:v>1266.5973</c:v>
                </c:pt>
                <c:pt idx="45">
                  <c:v>1215.7703</c:v>
                </c:pt>
                <c:pt idx="46">
                  <c:v>1202.2351</c:v>
                </c:pt>
                <c:pt idx="47">
                  <c:v>1172.6195</c:v>
                </c:pt>
                <c:pt idx="48">
                  <c:v>1170.5027</c:v>
                </c:pt>
                <c:pt idx="49">
                  <c:v>1192.3805</c:v>
                </c:pt>
                <c:pt idx="50">
                  <c:v>1149.5915</c:v>
                </c:pt>
                <c:pt idx="51">
                  <c:v>1111.0791</c:v>
                </c:pt>
              </c:numCache>
            </c:numRef>
          </c:xVal>
          <c:yVal>
            <c:numRef>
              <c:f>Sheet1!$B$109:$B$160</c:f>
              <c:numCache>
                <c:formatCode>General</c:formatCode>
                <c:ptCount val="52"/>
                <c:pt idx="0">
                  <c:v>0.18943460188062472</c:v>
                </c:pt>
                <c:pt idx="1">
                  <c:v>0.19163673678809645</c:v>
                </c:pt>
                <c:pt idx="2">
                  <c:v>0.2083756631674004</c:v>
                </c:pt>
                <c:pt idx="3">
                  <c:v>0.22480319540853919</c:v>
                </c:pt>
                <c:pt idx="4">
                  <c:v>0.2069812591624074</c:v>
                </c:pt>
                <c:pt idx="5">
                  <c:v>0.21231043710972347</c:v>
                </c:pt>
                <c:pt idx="6">
                  <c:v>0.22477950736146737</c:v>
                </c:pt>
                <c:pt idx="7">
                  <c:v>0.2227314390467461</c:v>
                </c:pt>
                <c:pt idx="8">
                  <c:v>0.2055039895782446</c:v>
                </c:pt>
                <c:pt idx="9">
                  <c:v>0.21405400009981534</c:v>
                </c:pt>
                <c:pt idx="10">
                  <c:v>0.21438666601686243</c:v>
                </c:pt>
                <c:pt idx="11">
                  <c:v>0.2180893121111073</c:v>
                </c:pt>
                <c:pt idx="12">
                  <c:v>0.2160894219393791</c:v>
                </c:pt>
                <c:pt idx="13">
                  <c:v>0.21450535933930767</c:v>
                </c:pt>
                <c:pt idx="14">
                  <c:v>0.21879497265662476</c:v>
                </c:pt>
                <c:pt idx="15">
                  <c:v>0.212037949090155</c:v>
                </c:pt>
                <c:pt idx="16">
                  <c:v>0.2085702060028119</c:v>
                </c:pt>
                <c:pt idx="17">
                  <c:v>0.22129086336965634</c:v>
                </c:pt>
                <c:pt idx="18">
                  <c:v>0.21707811210324904</c:v>
                </c:pt>
                <c:pt idx="19">
                  <c:v>0.20475629509645119</c:v>
                </c:pt>
                <c:pt idx="20">
                  <c:v>0.1984010442160222</c:v>
                </c:pt>
                <c:pt idx="21">
                  <c:v>0.21474949122977033</c:v>
                </c:pt>
                <c:pt idx="22">
                  <c:v>0.20707981398880138</c:v>
                </c:pt>
                <c:pt idx="23">
                  <c:v>0.20803028793464182</c:v>
                </c:pt>
                <c:pt idx="24">
                  <c:v>0.20723684210526316</c:v>
                </c:pt>
                <c:pt idx="25">
                  <c:v>0.21182266009852216</c:v>
                </c:pt>
                <c:pt idx="26">
                  <c:v>0.20519641748692027</c:v>
                </c:pt>
                <c:pt idx="27">
                  <c:v>0.20855057351407716</c:v>
                </c:pt>
                <c:pt idx="28">
                  <c:v>0.1977886977886978</c:v>
                </c:pt>
                <c:pt idx="29">
                  <c:v>0.2037409317367363</c:v>
                </c:pt>
                <c:pt idx="30">
                  <c:v>0.2049438202247191</c:v>
                </c:pt>
                <c:pt idx="31">
                  <c:v>0.19889027073567397</c:v>
                </c:pt>
                <c:pt idx="32">
                  <c:v>0.19384283461953364</c:v>
                </c:pt>
                <c:pt idx="33">
                  <c:v>0.2046677471636953</c:v>
                </c:pt>
                <c:pt idx="34">
                  <c:v>0.21873328340644058</c:v>
                </c:pt>
                <c:pt idx="35">
                  <c:v>0.20943775100401607</c:v>
                </c:pt>
                <c:pt idx="36">
                  <c:v>0.20617036959039697</c:v>
                </c:pt>
                <c:pt idx="37">
                  <c:v>0.2103603173086113</c:v>
                </c:pt>
                <c:pt idx="38">
                  <c:v>0.20922324938901285</c:v>
                </c:pt>
                <c:pt idx="39">
                  <c:v>0.2053940291527009</c:v>
                </c:pt>
                <c:pt idx="40">
                  <c:v>0.19499924913650699</c:v>
                </c:pt>
                <c:pt idx="41">
                  <c:v>0.19658362989323844</c:v>
                </c:pt>
                <c:pt idx="42">
                  <c:v>0.20137707573916566</c:v>
                </c:pt>
                <c:pt idx="43">
                  <c:v>0.18635077793493635</c:v>
                </c:pt>
                <c:pt idx="44">
                  <c:v>0.1860071559810463</c:v>
                </c:pt>
                <c:pt idx="45">
                  <c:v>0.20335794405792987</c:v>
                </c:pt>
                <c:pt idx="46">
                  <c:v>0.221686847949051</c:v>
                </c:pt>
                <c:pt idx="47">
                  <c:v>0.22292597629687197</c:v>
                </c:pt>
                <c:pt idx="48">
                  <c:v>0.21374488513709444</c:v>
                </c:pt>
                <c:pt idx="49">
                  <c:v>0.21709691070672874</c:v>
                </c:pt>
                <c:pt idx="50">
                  <c:v>0.21337942252948353</c:v>
                </c:pt>
                <c:pt idx="51">
                  <c:v>0.2129150614566134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63.9794001276802</c:v>
                </c:pt>
              </c:numCache>
            </c:numRef>
          </c:xVal>
          <c:yVal>
            <c:numRef>
              <c:f>Sheet1!$B$163:$B$164</c:f>
              <c:numCache>
                <c:formatCode>General</c:formatCode>
                <c:ptCount val="2"/>
                <c:pt idx="0">
                  <c:v>0.2505318564708487</c:v>
                </c:pt>
                <c:pt idx="1">
                  <c:v>0.250531856470848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63.9794001276802</c:v>
                </c:pt>
                <c:pt idx="1">
                  <c:v>763.9794001276802</c:v>
                </c:pt>
              </c:numCache>
            </c:numRef>
          </c:xVal>
          <c:yVal>
            <c:numRef>
              <c:f>Sheet1!$B$167:$B$168</c:f>
              <c:numCache>
                <c:formatCode>General</c:formatCode>
                <c:ptCount val="2"/>
                <c:pt idx="0">
                  <c:v>0.250531856470848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62.2067621265917</c:v>
                </c:pt>
              </c:numCache>
            </c:numRef>
          </c:xVal>
          <c:yVal>
            <c:numRef>
              <c:f>Sheet1!$B$171:$B$172</c:f>
              <c:numCache>
                <c:formatCode>General</c:formatCode>
                <c:ptCount val="2"/>
                <c:pt idx="0">
                  <c:v>0.21428406995748003</c:v>
                </c:pt>
                <c:pt idx="1">
                  <c:v>0.2142840699574800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62.2067621265917</c:v>
                </c:pt>
                <c:pt idx="1">
                  <c:v>1162.2067621265917</c:v>
                </c:pt>
              </c:numCache>
            </c:numRef>
          </c:xVal>
          <c:yVal>
            <c:numRef>
              <c:f>Sheet1!$B$175:$B$176</c:f>
              <c:numCache>
                <c:formatCode>General</c:formatCode>
                <c:ptCount val="2"/>
                <c:pt idx="0">
                  <c:v>0.2142840699574800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55.0608365437702</c:v>
                </c:pt>
              </c:numCache>
            </c:numRef>
          </c:xVal>
          <c:yVal>
            <c:numRef>
              <c:f>Sheet1!$B$179:$B$180</c:f>
              <c:numCache>
                <c:formatCode>General</c:formatCode>
                <c:ptCount val="2"/>
                <c:pt idx="0">
                  <c:v>0.20583222815164368</c:v>
                </c:pt>
                <c:pt idx="1">
                  <c:v>0.2058322281516436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55.0608365437702</c:v>
                </c:pt>
                <c:pt idx="1">
                  <c:v>1255.0608365437702</c:v>
                </c:pt>
              </c:numCache>
            </c:numRef>
          </c:xVal>
          <c:yVal>
            <c:numRef>
              <c:f>Sheet1!$B$183:$B$184</c:f>
              <c:numCache>
                <c:formatCode>General</c:formatCode>
                <c:ptCount val="2"/>
                <c:pt idx="0">
                  <c:v>0.2058322281516436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3.1947</c:v>
                </c:pt>
                <c:pt idx="1">
                  <c:v>1223.3554</c:v>
                </c:pt>
                <c:pt idx="2">
                  <c:v>1223.8808</c:v>
                </c:pt>
                <c:pt idx="3">
                  <c:v>1201.5972</c:v>
                </c:pt>
                <c:pt idx="4">
                  <c:v>1237.3691</c:v>
                </c:pt>
                <c:pt idx="5">
                  <c:v>1225.4903</c:v>
                </c:pt>
                <c:pt idx="6">
                  <c:v>1128.0145</c:v>
                </c:pt>
                <c:pt idx="7">
                  <c:v>1164.7522</c:v>
                </c:pt>
                <c:pt idx="8">
                  <c:v>1228.3199</c:v>
                </c:pt>
                <c:pt idx="9">
                  <c:v>1182.7909</c:v>
                </c:pt>
                <c:pt idx="10">
                  <c:v>1208.2139</c:v>
                </c:pt>
                <c:pt idx="11">
                  <c:v>1061.5415</c:v>
                </c:pt>
                <c:pt idx="12">
                  <c:v>1106.6107</c:v>
                </c:pt>
                <c:pt idx="13">
                  <c:v>1177.5337</c:v>
                </c:pt>
                <c:pt idx="14">
                  <c:v>1154.3076</c:v>
                </c:pt>
                <c:pt idx="15">
                  <c:v>1181.8555</c:v>
                </c:pt>
                <c:pt idx="16">
                  <c:v>1213.9305</c:v>
                </c:pt>
                <c:pt idx="17">
                  <c:v>1151.6649</c:v>
                </c:pt>
                <c:pt idx="18">
                  <c:v>1168.3923</c:v>
                </c:pt>
                <c:pt idx="19">
                  <c:v>1296.7688</c:v>
                </c:pt>
                <c:pt idx="20">
                  <c:v>1291.7895</c:v>
                </c:pt>
                <c:pt idx="21">
                  <c:v>1193.7491</c:v>
                </c:pt>
                <c:pt idx="22">
                  <c:v>1227.8181</c:v>
                </c:pt>
                <c:pt idx="23">
                  <c:v>1249.3137</c:v>
                </c:pt>
                <c:pt idx="24">
                  <c:v>1258.4938</c:v>
                </c:pt>
                <c:pt idx="25">
                  <c:v>1217.6731</c:v>
                </c:pt>
                <c:pt idx="26">
                  <c:v>1213.6672</c:v>
                </c:pt>
                <c:pt idx="27">
                  <c:v>1215.4127</c:v>
                </c:pt>
                <c:pt idx="28">
                  <c:v>1245.791</c:v>
                </c:pt>
                <c:pt idx="29">
                  <c:v>1253.6903</c:v>
                </c:pt>
                <c:pt idx="30">
                  <c:v>1242.2987</c:v>
                </c:pt>
                <c:pt idx="31">
                  <c:v>1228.582</c:v>
                </c:pt>
                <c:pt idx="32">
                  <c:v>1250.1802</c:v>
                </c:pt>
                <c:pt idx="33">
                  <c:v>1247.0691</c:v>
                </c:pt>
                <c:pt idx="34">
                  <c:v>1262.4243</c:v>
                </c:pt>
                <c:pt idx="35">
                  <c:v>1298.7312</c:v>
                </c:pt>
                <c:pt idx="36">
                  <c:v>1337.2671</c:v>
                </c:pt>
                <c:pt idx="37">
                  <c:v>1315.9705</c:v>
                </c:pt>
                <c:pt idx="38">
                  <c:v>1343.2656</c:v>
                </c:pt>
                <c:pt idx="39">
                  <c:v>1284.2949</c:v>
                </c:pt>
                <c:pt idx="40">
                  <c:v>1310.501</c:v>
                </c:pt>
                <c:pt idx="41">
                  <c:v>1348.9511</c:v>
                </c:pt>
                <c:pt idx="42">
                  <c:v>1333.1323</c:v>
                </c:pt>
                <c:pt idx="43">
                  <c:v>1350.814</c:v>
                </c:pt>
                <c:pt idx="44">
                  <c:v>1266.5973</c:v>
                </c:pt>
                <c:pt idx="45">
                  <c:v>1215.7703</c:v>
                </c:pt>
                <c:pt idx="46">
                  <c:v>1202.2351</c:v>
                </c:pt>
                <c:pt idx="47">
                  <c:v>1172.6195</c:v>
                </c:pt>
                <c:pt idx="48">
                  <c:v>1170.5027</c:v>
                </c:pt>
                <c:pt idx="49">
                  <c:v>1192.3805</c:v>
                </c:pt>
                <c:pt idx="50">
                  <c:v>1149.5915</c:v>
                </c:pt>
                <c:pt idx="51">
                  <c:v>1111.0791</c:v>
                </c:pt>
                <c:pt idx="52">
                  <c:v>1162.2067621265917</c:v>
                </c:pt>
                <c:pt idx="53">
                  <c:v>763.9794001276802</c:v>
                </c:pt>
                <c:pt idx="54">
                  <c:v>1255.0608365437702</c:v>
                </c:pt>
              </c:numCache>
            </c:numRef>
          </c:xVal>
          <c:yVal>
            <c:numRef>
              <c:f>Sheet1!$B$187:$B$241</c:f>
              <c:numCache>
                <c:formatCode>General</c:formatCode>
                <c:ptCount val="55"/>
                <c:pt idx="0">
                  <c:v>0.2096430029109689</c:v>
                </c:pt>
                <c:pt idx="1">
                  <c:v>0.20871814711357298</c:v>
                </c:pt>
                <c:pt idx="2">
                  <c:v>0.20867032371204042</c:v>
                </c:pt>
                <c:pt idx="3">
                  <c:v>0.21069864032869598</c:v>
                </c:pt>
                <c:pt idx="4">
                  <c:v>0.20744258030341545</c:v>
                </c:pt>
                <c:pt idx="5">
                  <c:v>0.20852382244678225</c:v>
                </c:pt>
                <c:pt idx="6">
                  <c:v>0.21739634685315257</c:v>
                </c:pt>
                <c:pt idx="7">
                  <c:v>0.21405237696643287</c:v>
                </c:pt>
                <c:pt idx="8">
                  <c:v>0.20826626421119693</c:v>
                </c:pt>
                <c:pt idx="9">
                  <c:v>0.21241044321457658</c:v>
                </c:pt>
                <c:pt idx="10">
                  <c:v>0.21009636948568028</c:v>
                </c:pt>
                <c:pt idx="11">
                  <c:v>0.22344690827316305</c:v>
                </c:pt>
                <c:pt idx="12">
                  <c:v>0.21934458157283757</c:v>
                </c:pt>
                <c:pt idx="13">
                  <c:v>0.21288896850299865</c:v>
                </c:pt>
                <c:pt idx="14">
                  <c:v>0.21500307414885944</c:v>
                </c:pt>
                <c:pt idx="15">
                  <c:v>0.21249558598159896</c:v>
                </c:pt>
                <c:pt idx="16">
                  <c:v>0.2095760283033411</c:v>
                </c:pt>
                <c:pt idx="17">
                  <c:v>0.21524362021515195</c:v>
                </c:pt>
                <c:pt idx="18">
                  <c:v>0.2137210447168732</c:v>
                </c:pt>
                <c:pt idx="19">
                  <c:v>0.20203585075637837</c:v>
                </c:pt>
                <c:pt idx="20">
                  <c:v>0.20248908079682573</c:v>
                </c:pt>
                <c:pt idx="21">
                  <c:v>0.21141299670016084</c:v>
                </c:pt>
                <c:pt idx="22">
                  <c:v>0.20831193947364277</c:v>
                </c:pt>
                <c:pt idx="23">
                  <c:v>0.20635534885700177</c:v>
                </c:pt>
                <c:pt idx="24">
                  <c:v>0.20551975005911632</c:v>
                </c:pt>
                <c:pt idx="25">
                  <c:v>0.20923536621240896</c:v>
                </c:pt>
                <c:pt idx="26">
                  <c:v>0.20959999461781295</c:v>
                </c:pt>
                <c:pt idx="27">
                  <c:v>0.2094411142459533</c:v>
                </c:pt>
                <c:pt idx="28">
                  <c:v>0.2066759950248334</c:v>
                </c:pt>
                <c:pt idx="29">
                  <c:v>0.20595697828382442</c:v>
                </c:pt>
                <c:pt idx="30">
                  <c:v>0.20699387409824818</c:v>
                </c:pt>
                <c:pt idx="31">
                  <c:v>0.20824240712413625</c:v>
                </c:pt>
                <c:pt idx="32">
                  <c:v>0.20627647756383855</c:v>
                </c:pt>
                <c:pt idx="33">
                  <c:v>0.20655965872963208</c:v>
                </c:pt>
                <c:pt idx="34">
                  <c:v>0.20516198477604874</c:v>
                </c:pt>
                <c:pt idx="35">
                  <c:v>0.20185722752994617</c:v>
                </c:pt>
                <c:pt idx="36">
                  <c:v>0.1983495803675587</c:v>
                </c:pt>
                <c:pt idx="37">
                  <c:v>0.20028805743851075</c:v>
                </c:pt>
                <c:pt idx="38">
                  <c:v>0.1978035798458742</c:v>
                </c:pt>
                <c:pt idx="39">
                  <c:v>0.20317126059341095</c:v>
                </c:pt>
                <c:pt idx="40">
                  <c:v>0.2007859068764291</c:v>
                </c:pt>
                <c:pt idx="41">
                  <c:v>0.19728606947394173</c:v>
                </c:pt>
                <c:pt idx="42">
                  <c:v>0.19872594161738133</c:v>
                </c:pt>
                <c:pt idx="43">
                  <c:v>0.197116503020354</c:v>
                </c:pt>
                <c:pt idx="44">
                  <c:v>0.2047821464536366</c:v>
                </c:pt>
                <c:pt idx="45">
                  <c:v>0.20940856447741876</c:v>
                </c:pt>
                <c:pt idx="46">
                  <c:v>0.21064057685736437</c:v>
                </c:pt>
                <c:pt idx="47">
                  <c:v>0.21333627295638896</c:v>
                </c:pt>
                <c:pt idx="48">
                  <c:v>0.2135289501097276</c:v>
                </c:pt>
                <c:pt idx="49">
                  <c:v>0.21153757056262268</c:v>
                </c:pt>
                <c:pt idx="50">
                  <c:v>0.21543234697711922</c:v>
                </c:pt>
                <c:pt idx="51">
                  <c:v>0.2189378551027042</c:v>
                </c:pt>
                <c:pt idx="52">
                  <c:v>0.21428406995748003</c:v>
                </c:pt>
                <c:pt idx="53">
                  <c:v>0.2505318564708487</c:v>
                </c:pt>
                <c:pt idx="54">
                  <c:v>0.2058322281516436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1.0"/>
          <c:min val="61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42248722316864"/>
          <c:min val="0.1233579583613163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7115581873397162</c:v>
                </c:pt>
                <c:pt idx="1">
                  <c:v>0.207300688122593</c:v>
                </c:pt>
                <c:pt idx="2">
                  <c:v>0.1980371017493784</c:v>
                </c:pt>
                <c:pt idx="3">
                  <c:v>0.19999278898197925</c:v>
                </c:pt>
                <c:pt idx="4">
                  <c:v>0.18902199556191945</c:v>
                </c:pt>
                <c:pt idx="5">
                  <c:v>0.19077629782257513</c:v>
                </c:pt>
                <c:pt idx="6">
                  <c:v>0.19608881196950173</c:v>
                </c:pt>
                <c:pt idx="7">
                  <c:v>0.18395372134034113</c:v>
                </c:pt>
                <c:pt idx="8">
                  <c:v>0.16912327527011467</c:v>
                </c:pt>
                <c:pt idx="9">
                  <c:v>0.1779881667475602</c:v>
                </c:pt>
                <c:pt idx="10">
                  <c:v>0.1839801094590035</c:v>
                </c:pt>
                <c:pt idx="11">
                  <c:v>0.20011440469968905</c:v>
                </c:pt>
                <c:pt idx="12">
                  <c:v>0.20670660690227968</c:v>
                </c:pt>
                <c:pt idx="13">
                  <c:v>0.19935162960312303</c:v>
                </c:pt>
                <c:pt idx="14">
                  <c:v>0.19691920295500667</c:v>
                </c:pt>
                <c:pt idx="15">
                  <c:v>0.2147221706820805</c:v>
                </c:pt>
                <c:pt idx="16">
                  <c:v>0.20094985972417692</c:v>
                </c:pt>
                <c:pt idx="17">
                  <c:v>0.19720676444720556</c:v>
                </c:pt>
                <c:pt idx="18">
                  <c:v>0.1969488923812037</c:v>
                </c:pt>
                <c:pt idx="19">
                  <c:v>0.19723217999526496</c:v>
                </c:pt>
                <c:pt idx="20">
                  <c:v>0.202268668281674</c:v>
                </c:pt>
                <c:pt idx="21">
                  <c:v>0.18327158334084465</c:v>
                </c:pt>
                <c:pt idx="22">
                  <c:v>0.16932703406592303</c:v>
                </c:pt>
                <c:pt idx="23">
                  <c:v>0.1595017908166785</c:v>
                </c:pt>
                <c:pt idx="24">
                  <c:v>0.1796548527678451</c:v>
                </c:pt>
                <c:pt idx="25">
                  <c:v>0.17433061181180676</c:v>
                </c:pt>
                <c:pt idx="26">
                  <c:v>0.1652659985568813</c:v>
                </c:pt>
                <c:pt idx="27">
                  <c:v>0.16992691176114025</c:v>
                </c:pt>
                <c:pt idx="28">
                  <c:v>0.16024844333364247</c:v>
                </c:pt>
                <c:pt idx="29">
                  <c:v>0.17574147966017237</c:v>
                </c:pt>
                <c:pt idx="30">
                  <c:v>0.1700388763908986</c:v>
                </c:pt>
                <c:pt idx="31">
                  <c:v>0.1608304504278741</c:v>
                </c:pt>
                <c:pt idx="32">
                  <c:v>0.15511663713887963</c:v>
                </c:pt>
                <c:pt idx="33">
                  <c:v>0.1662151772938804</c:v>
                </c:pt>
                <c:pt idx="34">
                  <c:v>0.18182632765902706</c:v>
                </c:pt>
                <c:pt idx="35">
                  <c:v>0.1796299137235288</c:v>
                </c:pt>
                <c:pt idx="36">
                  <c:v>0.15702378726007094</c:v>
                </c:pt>
                <c:pt idx="37">
                  <c:v>0.16043683798888317</c:v>
                </c:pt>
                <c:pt idx="38">
                  <c:v>0.17658203890236354</c:v>
                </c:pt>
                <c:pt idx="39">
                  <c:v>0.1875459141587108</c:v>
                </c:pt>
                <c:pt idx="40">
                  <c:v>0.2062796909767593</c:v>
                </c:pt>
                <c:pt idx="41">
                  <c:v>0.20551442450335572</c:v>
                </c:pt>
                <c:pt idx="42">
                  <c:v>0.18901957748296208</c:v>
                </c:pt>
                <c:pt idx="43">
                  <c:v>0.20136840532231218</c:v>
                </c:pt>
                <c:pt idx="44">
                  <c:v>0.2155970297012368</c:v>
                </c:pt>
                <c:pt idx="45">
                  <c:v>0.22482930227675801</c:v>
                </c:pt>
                <c:pt idx="46">
                  <c:v>0.2308709149134772</c:v>
                </c:pt>
                <c:pt idx="47">
                  <c:v>0.20206432358464987</c:v>
                </c:pt>
                <c:pt idx="48">
                  <c:v>0.25618808161131706</c:v>
                </c:pt>
                <c:pt idx="49">
                  <c:v>0.25836775644294463</c:v>
                </c:pt>
                <c:pt idx="50">
                  <c:v>0.20904779403242854</c:v>
                </c:pt>
                <c:pt idx="51">
                  <c:v>0.1940374186870127</c:v>
                </c:pt>
                <c:pt idx="52">
                  <c:v>0.21722734266724097</c:v>
                </c:pt>
                <c:pt idx="53">
                  <c:v>0.22627361264396448</c:v>
                </c:pt>
                <c:pt idx="54">
                  <c:v>0.22022647196897566</c:v>
                </c:pt>
                <c:pt idx="55">
                  <c:v>0.19669355309697917</c:v>
                </c:pt>
                <c:pt idx="56">
                  <c:v>0.2063614741024211</c:v>
                </c:pt>
                <c:pt idx="57">
                  <c:v>0.20295270132294477</c:v>
                </c:pt>
                <c:pt idx="58">
                  <c:v>0.21189288307275622</c:v>
                </c:pt>
                <c:pt idx="59">
                  <c:v>0.23585046028057327</c:v>
                </c:pt>
                <c:pt idx="60">
                  <c:v>0.22610692833378943</c:v>
                </c:pt>
                <c:pt idx="61">
                  <c:v>0.2237204126706858</c:v>
                </c:pt>
                <c:pt idx="62">
                  <c:v>0.2497772248466278</c:v>
                </c:pt>
                <c:pt idx="63">
                  <c:v>0.24395672173020783</c:v>
                </c:pt>
                <c:pt idx="64">
                  <c:v>0.2485757460553211</c:v>
                </c:pt>
                <c:pt idx="65">
                  <c:v>0.21586965756784252</c:v>
                </c:pt>
                <c:pt idx="66">
                  <c:v>0.21560128929535344</c:v>
                </c:pt>
                <c:pt idx="67">
                  <c:v>0.24803669193004793</c:v>
                </c:pt>
                <c:pt idx="68">
                  <c:v>0.2196373758299972</c:v>
                </c:pt>
                <c:pt idx="69">
                  <c:v>0.19223105270901147</c:v>
                </c:pt>
                <c:pt idx="70">
                  <c:v>0.17865546788349443</c:v>
                </c:pt>
                <c:pt idx="71">
                  <c:v>0.19948873937041972</c:v>
                </c:pt>
                <c:pt idx="72">
                  <c:v>0.2274448715201371</c:v>
                </c:pt>
                <c:pt idx="73">
                  <c:v>0.20835810776379657</c:v>
                </c:pt>
                <c:pt idx="74">
                  <c:v>0.21410012623404862</c:v>
                </c:pt>
                <c:pt idx="75">
                  <c:v>0.1992840509155767</c:v>
                </c:pt>
                <c:pt idx="76">
                  <c:v>0.1758675900760442</c:v>
                </c:pt>
                <c:pt idx="77">
                  <c:v>0.18839424801422405</c:v>
                </c:pt>
                <c:pt idx="78">
                  <c:v>0.1892765790734745</c:v>
                </c:pt>
                <c:pt idx="79">
                  <c:v>0.18111746091830402</c:v>
                </c:pt>
                <c:pt idx="80">
                  <c:v>0.1749949961545724</c:v>
                </c:pt>
                <c:pt idx="81">
                  <c:v>0.19779782099496276</c:v>
                </c:pt>
                <c:pt idx="82">
                  <c:v>0.19914165285279314</c:v>
                </c:pt>
                <c:pt idx="83">
                  <c:v>0.17419974957545242</c:v>
                </c:pt>
                <c:pt idx="84">
                  <c:v>0.16370497147249646</c:v>
                </c:pt>
                <c:pt idx="85">
                  <c:v>0.17698142766540423</c:v>
                </c:pt>
                <c:pt idx="86">
                  <c:v>0.1896707420619344</c:v>
                </c:pt>
                <c:pt idx="87">
                  <c:v>0.19777638412660115</c:v>
                </c:pt>
                <c:pt idx="88">
                  <c:v>0.16577270845230324</c:v>
                </c:pt>
                <c:pt idx="89">
                  <c:v>0.15861306456447696</c:v>
                </c:pt>
                <c:pt idx="90">
                  <c:v>0.17628194379568343</c:v>
                </c:pt>
                <c:pt idx="91">
                  <c:v>0.18943998678520377</c:v>
                </c:pt>
                <c:pt idx="92">
                  <c:v>0.19271168948826808</c:v>
                </c:pt>
                <c:pt idx="93">
                  <c:v>0.1781129545881908</c:v>
                </c:pt>
                <c:pt idx="94">
                  <c:v>0.17979772450933743</c:v>
                </c:pt>
                <c:pt idx="95">
                  <c:v>0.17091147145314547</c:v>
                </c:pt>
                <c:pt idx="96">
                  <c:v>0.1879527619605963</c:v>
                </c:pt>
                <c:pt idx="97">
                  <c:v>0.19500924456843213</c:v>
                </c:pt>
                <c:pt idx="98">
                  <c:v>0.19975071423872237</c:v>
                </c:pt>
                <c:pt idx="99">
                  <c:v>0.2131470569645983</c:v>
                </c:pt>
                <c:pt idx="100">
                  <c:v>0.22272472058398754</c:v>
                </c:pt>
                <c:pt idx="101">
                  <c:v>0.2137070334461175</c:v>
                </c:pt>
                <c:pt idx="102">
                  <c:v>0.1982974899813351</c:v>
                </c:pt>
                <c:pt idx="103">
                  <c:v>0.19373973465048708</c:v>
                </c:pt>
                <c:pt idx="104">
                  <c:v>0.20257135980586277</c:v>
                </c:pt>
              </c:numCache>
            </c:numRef>
          </c:xVal>
          <c:yVal>
            <c:numRef>
              <c:f>Sheet1!$B$2:$B$106</c:f>
              <c:numCache>
                <c:formatCode>General</c:formatCode>
                <c:ptCount val="105"/>
                <c:pt idx="0">
                  <c:v>0.2389593520782396</c:v>
                </c:pt>
                <c:pt idx="1">
                  <c:v>0.23479694908266338</c:v>
                </c:pt>
                <c:pt idx="2">
                  <c:v>0.23689880723355136</c:v>
                </c:pt>
                <c:pt idx="3">
                  <c:v>0.23595784252944824</c:v>
                </c:pt>
                <c:pt idx="4">
                  <c:v>0.23779589431293585</c:v>
                </c:pt>
                <c:pt idx="5">
                  <c:v>0.24517480424916463</c:v>
                </c:pt>
                <c:pt idx="6">
                  <c:v>0.2730293253719844</c:v>
                </c:pt>
                <c:pt idx="7">
                  <c:v>0.2803520726859739</c:v>
                </c:pt>
                <c:pt idx="8">
                  <c:v>0.27182166069367675</c:v>
                </c:pt>
                <c:pt idx="9">
                  <c:v>0.2534750613246116</c:v>
                </c:pt>
                <c:pt idx="10">
                  <c:v>0.24879308884560006</c:v>
                </c:pt>
                <c:pt idx="11">
                  <c:v>0.22092457420924574</c:v>
                </c:pt>
                <c:pt idx="12">
                  <c:v>0.20868990036793583</c:v>
                </c:pt>
                <c:pt idx="13">
                  <c:v>0.19740652146544127</c:v>
                </c:pt>
                <c:pt idx="14">
                  <c:v>0.1827898852104475</c:v>
                </c:pt>
                <c:pt idx="15">
                  <c:v>0.1754871896330003</c:v>
                </c:pt>
                <c:pt idx="16">
                  <c:v>0.16985849860771723</c:v>
                </c:pt>
                <c:pt idx="17">
                  <c:v>0.16062531141006478</c:v>
                </c:pt>
                <c:pt idx="18">
                  <c:v>0.1563905612068369</c:v>
                </c:pt>
                <c:pt idx="19">
                  <c:v>0.15889917274142026</c:v>
                </c:pt>
                <c:pt idx="20">
                  <c:v>0.1541974479516454</c:v>
                </c:pt>
                <c:pt idx="21">
                  <c:v>0.16999311768754302</c:v>
                </c:pt>
                <c:pt idx="22">
                  <c:v>0.1977642610554003</c:v>
                </c:pt>
                <c:pt idx="23">
                  <c:v>0.20794412920122218</c:v>
                </c:pt>
                <c:pt idx="24">
                  <c:v>0.20918974684548847</c:v>
                </c:pt>
                <c:pt idx="25">
                  <c:v>0.2173082173082173</c:v>
                </c:pt>
                <c:pt idx="26">
                  <c:v>0.23575</c:v>
                </c:pt>
                <c:pt idx="27">
                  <c:v>0.2292655903767015</c:v>
                </c:pt>
                <c:pt idx="28">
                  <c:v>0.23493781295428848</c:v>
                </c:pt>
                <c:pt idx="29">
                  <c:v>0.22743031479683817</c:v>
                </c:pt>
                <c:pt idx="30">
                  <c:v>0.23199709776890984</c:v>
                </c:pt>
                <c:pt idx="31">
                  <c:v>0.24313387860525182</c:v>
                </c:pt>
                <c:pt idx="32">
                  <c:v>0.2487016250628246</c:v>
                </c:pt>
                <c:pt idx="33">
                  <c:v>0.241206995963867</c:v>
                </c:pt>
                <c:pt idx="34">
                  <c:v>0.23499744999149996</c:v>
                </c:pt>
                <c:pt idx="35">
                  <c:v>0.2397726065242801</c:v>
                </c:pt>
                <c:pt idx="36">
                  <c:v>0.21667641515565086</c:v>
                </c:pt>
                <c:pt idx="37">
                  <c:v>0.21587417702999268</c:v>
                </c:pt>
                <c:pt idx="38">
                  <c:v>0.20234780645646774</c:v>
                </c:pt>
                <c:pt idx="39">
                  <c:v>0.19492449011365406</c:v>
                </c:pt>
                <c:pt idx="40">
                  <c:v>0.19796473042159154</c:v>
                </c:pt>
                <c:pt idx="41">
                  <c:v>0.19218924972004478</c:v>
                </c:pt>
                <c:pt idx="42">
                  <c:v>0.18860652776105022</c:v>
                </c:pt>
                <c:pt idx="43">
                  <c:v>0.18170534268753372</c:v>
                </c:pt>
                <c:pt idx="44">
                  <c:v>0.18682186512841642</c:v>
                </c:pt>
                <c:pt idx="45">
                  <c:v>0.20375351698976596</c:v>
                </c:pt>
                <c:pt idx="46">
                  <c:v>0.20569952854268642</c:v>
                </c:pt>
                <c:pt idx="47">
                  <c:v>0.20028822862048876</c:v>
                </c:pt>
                <c:pt idx="48">
                  <c:v>0.19804154435655544</c:v>
                </c:pt>
                <c:pt idx="49">
                  <c:v>0.20889913471862565</c:v>
                </c:pt>
                <c:pt idx="50">
                  <c:v>0.20385839926866942</c:v>
                </c:pt>
                <c:pt idx="51">
                  <c:v>0.19360383769738157</c:v>
                </c:pt>
                <c:pt idx="52">
                  <c:v>0.19804000267576427</c:v>
                </c:pt>
                <c:pt idx="53">
                  <c:v>0.1912751677852349</c:v>
                </c:pt>
                <c:pt idx="54">
                  <c:v>0.19710236504784256</c:v>
                </c:pt>
                <c:pt idx="55">
                  <c:v>0.19466494369577256</c:v>
                </c:pt>
                <c:pt idx="56">
                  <c:v>0.19578327785014715</c:v>
                </c:pt>
                <c:pt idx="57">
                  <c:v>0.19458476459890886</c:v>
                </c:pt>
                <c:pt idx="58">
                  <c:v>0.20910996332060783</c:v>
                </c:pt>
                <c:pt idx="59">
                  <c:v>0.2117414565961344</c:v>
                </c:pt>
                <c:pt idx="60">
                  <c:v>0.21837361681302847</c:v>
                </c:pt>
                <c:pt idx="61">
                  <c:v>0.21279012532656846</c:v>
                </c:pt>
                <c:pt idx="62">
                  <c:v>0.22075055187637968</c:v>
                </c:pt>
                <c:pt idx="63">
                  <c:v>0.22964336567436008</c:v>
                </c:pt>
                <c:pt idx="64">
                  <c:v>0.21302431858984822</c:v>
                </c:pt>
                <c:pt idx="65">
                  <c:v>0.20235818992989166</c:v>
                </c:pt>
                <c:pt idx="66">
                  <c:v>0.20488280544620607</c:v>
                </c:pt>
                <c:pt idx="67">
                  <c:v>0.19276786055578915</c:v>
                </c:pt>
                <c:pt idx="68">
                  <c:v>0.18068291783788765</c:v>
                </c:pt>
                <c:pt idx="69">
                  <c:v>0.1754751832211166</c:v>
                </c:pt>
                <c:pt idx="70">
                  <c:v>0.17706260305907773</c:v>
                </c:pt>
                <c:pt idx="71">
                  <c:v>0.1802403204272363</c:v>
                </c:pt>
                <c:pt idx="72">
                  <c:v>0.17245917329664415</c:v>
                </c:pt>
                <c:pt idx="73">
                  <c:v>0.17803153182378512</c:v>
                </c:pt>
                <c:pt idx="74">
                  <c:v>0.1799819657348963</c:v>
                </c:pt>
                <c:pt idx="75">
                  <c:v>0.19434877345891616</c:v>
                </c:pt>
                <c:pt idx="76">
                  <c:v>0.1975468535730611</c:v>
                </c:pt>
                <c:pt idx="77">
                  <c:v>0.18945790262763354</c:v>
                </c:pt>
                <c:pt idx="78">
                  <c:v>0.18950131233595802</c:v>
                </c:pt>
                <c:pt idx="79">
                  <c:v>0.16537878240774176</c:v>
                </c:pt>
                <c:pt idx="80">
                  <c:v>0.1596820809248555</c:v>
                </c:pt>
                <c:pt idx="81">
                  <c:v>0.17309978104472942</c:v>
                </c:pt>
                <c:pt idx="82">
                  <c:v>0.17310046519219782</c:v>
                </c:pt>
                <c:pt idx="83">
                  <c:v>0.17823709333580498</c:v>
                </c:pt>
                <c:pt idx="84">
                  <c:v>0.1805594800791184</c:v>
                </c:pt>
                <c:pt idx="85">
                  <c:v>0.18766821629557132</c:v>
                </c:pt>
                <c:pt idx="86">
                  <c:v>0.19693586403672</c:v>
                </c:pt>
                <c:pt idx="87">
                  <c:v>0.20539703341871687</c:v>
                </c:pt>
                <c:pt idx="88">
                  <c:v>0.19569202566452795</c:v>
                </c:pt>
                <c:pt idx="89">
                  <c:v>0.2036229453203623</c:v>
                </c:pt>
                <c:pt idx="90">
                  <c:v>0.18808049535603716</c:v>
                </c:pt>
                <c:pt idx="91">
                  <c:v>0.17474179192207573</c:v>
                </c:pt>
                <c:pt idx="92">
                  <c:v>0.18472906403940886</c:v>
                </c:pt>
                <c:pt idx="93">
                  <c:v>0.182525668694003</c:v>
                </c:pt>
                <c:pt idx="94">
                  <c:v>0.1874908451735755</c:v>
                </c:pt>
                <c:pt idx="95">
                  <c:v>0.1882099596231494</c:v>
                </c:pt>
                <c:pt idx="96">
                  <c:v>0.18701722574796012</c:v>
                </c:pt>
                <c:pt idx="97">
                  <c:v>0.1931076411109689</c:v>
                </c:pt>
                <c:pt idx="98">
                  <c:v>0.1941404090657822</c:v>
                </c:pt>
                <c:pt idx="99">
                  <c:v>0.19707116917417347</c:v>
                </c:pt>
                <c:pt idx="100">
                  <c:v>0.19811237384895455</c:v>
                </c:pt>
                <c:pt idx="101">
                  <c:v>0.20455465902364559</c:v>
                </c:pt>
                <c:pt idx="102">
                  <c:v>0.19864805931094637</c:v>
                </c:pt>
                <c:pt idx="103">
                  <c:v>0.19270317617488003</c:v>
                </c:pt>
                <c:pt idx="104">
                  <c:v>0.18921014228383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2455044922131812</c:v>
                </c:pt>
                <c:pt idx="1">
                  <c:v>0.23580830048493007</c:v>
                </c:pt>
                <c:pt idx="2">
                  <c:v>0.22936151566356267</c:v>
                </c:pt>
                <c:pt idx="3">
                  <c:v>0.22172066375158178</c:v>
                </c:pt>
                <c:pt idx="4">
                  <c:v>0.20865009628091727</c:v>
                </c:pt>
                <c:pt idx="5">
                  <c:v>0.22567149078974963</c:v>
                </c:pt>
                <c:pt idx="6">
                  <c:v>0.211266566302603</c:v>
                </c:pt>
                <c:pt idx="7">
                  <c:v>0.19280146328543996</c:v>
                </c:pt>
                <c:pt idx="8">
                  <c:v>0.23629730601965668</c:v>
                </c:pt>
                <c:pt idx="9">
                  <c:v>0.22106262714282693</c:v>
                </c:pt>
                <c:pt idx="10">
                  <c:v>0.21650038659442591</c:v>
                </c:pt>
                <c:pt idx="11">
                  <c:v>0.19694836039617744</c:v>
                </c:pt>
                <c:pt idx="12">
                  <c:v>0.19913277847696711</c:v>
                </c:pt>
                <c:pt idx="13">
                  <c:v>0.20816327778888735</c:v>
                </c:pt>
                <c:pt idx="14">
                  <c:v>0.20321373460179323</c:v>
                </c:pt>
                <c:pt idx="15">
                  <c:v>0.19893114792475555</c:v>
                </c:pt>
                <c:pt idx="16">
                  <c:v>0.18652495469558053</c:v>
                </c:pt>
                <c:pt idx="17">
                  <c:v>0.1718650963674443</c:v>
                </c:pt>
                <c:pt idx="18">
                  <c:v>0.1625697651721035</c:v>
                </c:pt>
                <c:pt idx="19">
                  <c:v>0.1900184293590812</c:v>
                </c:pt>
                <c:pt idx="20">
                  <c:v>0.17251632367851064</c:v>
                </c:pt>
                <c:pt idx="21">
                  <c:v>0.15605666811134397</c:v>
                </c:pt>
                <c:pt idx="22">
                  <c:v>0.15803753636061496</c:v>
                </c:pt>
                <c:pt idx="23">
                  <c:v>0.17967454857318643</c:v>
                </c:pt>
                <c:pt idx="24">
                  <c:v>0.16821265349263048</c:v>
                </c:pt>
                <c:pt idx="25">
                  <c:v>0.16284806684629521</c:v>
                </c:pt>
                <c:pt idx="26">
                  <c:v>0.16423422845323876</c:v>
                </c:pt>
                <c:pt idx="27">
                  <c:v>0.16650361474419723</c:v>
                </c:pt>
                <c:pt idx="28">
                  <c:v>0.1836700895727667</c:v>
                </c:pt>
                <c:pt idx="29">
                  <c:v>0.16568670182453699</c:v>
                </c:pt>
                <c:pt idx="30">
                  <c:v>0.16375026649154611</c:v>
                </c:pt>
                <c:pt idx="31">
                  <c:v>0.1596695169466281</c:v>
                </c:pt>
                <c:pt idx="32">
                  <c:v>0.17435985093182116</c:v>
                </c:pt>
                <c:pt idx="33">
                  <c:v>0.18218119728341542</c:v>
                </c:pt>
                <c:pt idx="34">
                  <c:v>0.2021074580058756</c:v>
                </c:pt>
                <c:pt idx="35">
                  <c:v>0.165888854353136</c:v>
                </c:pt>
                <c:pt idx="36">
                  <c:v>0.14444790351658016</c:v>
                </c:pt>
                <c:pt idx="37">
                  <c:v>0.1472637463633516</c:v>
                </c:pt>
                <c:pt idx="38">
                  <c:v>0.15313634294481443</c:v>
                </c:pt>
                <c:pt idx="39">
                  <c:v>0.16030294843763981</c:v>
                </c:pt>
                <c:pt idx="40">
                  <c:v>0.17369084683070113</c:v>
                </c:pt>
                <c:pt idx="41">
                  <c:v>0.17803631417841276</c:v>
                </c:pt>
                <c:pt idx="42">
                  <c:v>0.17344360094486547</c:v>
                </c:pt>
                <c:pt idx="43">
                  <c:v>0.19320832849709638</c:v>
                </c:pt>
                <c:pt idx="44">
                  <c:v>0.1886598899103296</c:v>
                </c:pt>
                <c:pt idx="45">
                  <c:v>0.1901637188823562</c:v>
                </c:pt>
                <c:pt idx="46">
                  <c:v>0.17851936070730448</c:v>
                </c:pt>
                <c:pt idx="47">
                  <c:v>0.16640666117370145</c:v>
                </c:pt>
                <c:pt idx="48">
                  <c:v>0.1713810776341167</c:v>
                </c:pt>
                <c:pt idx="49">
                  <c:v>0.20529167398315729</c:v>
                </c:pt>
                <c:pt idx="50">
                  <c:v>0.21913162466333233</c:v>
                </c:pt>
                <c:pt idx="51">
                  <c:v>0.18212204215971003</c:v>
                </c:pt>
              </c:numCache>
            </c:numRef>
          </c:xVal>
          <c:yVal>
            <c:numRef>
              <c:f>Sheet1!$B$109:$B$160</c:f>
              <c:numCache>
                <c:formatCode>General</c:formatCode>
                <c:ptCount val="52"/>
                <c:pt idx="0">
                  <c:v>0.18943460188062472</c:v>
                </c:pt>
                <c:pt idx="1">
                  <c:v>0.19163673678809645</c:v>
                </c:pt>
                <c:pt idx="2">
                  <c:v>0.2083756631674004</c:v>
                </c:pt>
                <c:pt idx="3">
                  <c:v>0.22480319540853919</c:v>
                </c:pt>
                <c:pt idx="4">
                  <c:v>0.2069812591624074</c:v>
                </c:pt>
                <c:pt idx="5">
                  <c:v>0.21231043710972347</c:v>
                </c:pt>
                <c:pt idx="6">
                  <c:v>0.22477950736146737</c:v>
                </c:pt>
                <c:pt idx="7">
                  <c:v>0.2227314390467461</c:v>
                </c:pt>
                <c:pt idx="8">
                  <c:v>0.2055039895782446</c:v>
                </c:pt>
                <c:pt idx="9">
                  <c:v>0.21405400009981534</c:v>
                </c:pt>
                <c:pt idx="10">
                  <c:v>0.21438666601686243</c:v>
                </c:pt>
                <c:pt idx="11">
                  <c:v>0.2180893121111073</c:v>
                </c:pt>
                <c:pt idx="12">
                  <c:v>0.2160894219393791</c:v>
                </c:pt>
                <c:pt idx="13">
                  <c:v>0.21450535933930767</c:v>
                </c:pt>
                <c:pt idx="14">
                  <c:v>0.21879497265662476</c:v>
                </c:pt>
                <c:pt idx="15">
                  <c:v>0.212037949090155</c:v>
                </c:pt>
                <c:pt idx="16">
                  <c:v>0.2085702060028119</c:v>
                </c:pt>
                <c:pt idx="17">
                  <c:v>0.22129086336965634</c:v>
                </c:pt>
                <c:pt idx="18">
                  <c:v>0.21707811210324904</c:v>
                </c:pt>
                <c:pt idx="19">
                  <c:v>0.20475629509645119</c:v>
                </c:pt>
                <c:pt idx="20">
                  <c:v>0.1984010442160222</c:v>
                </c:pt>
                <c:pt idx="21">
                  <c:v>0.21474949122977033</c:v>
                </c:pt>
                <c:pt idx="22">
                  <c:v>0.20707981398880138</c:v>
                </c:pt>
                <c:pt idx="23">
                  <c:v>0.20803028793464182</c:v>
                </c:pt>
                <c:pt idx="24">
                  <c:v>0.20723684210526316</c:v>
                </c:pt>
                <c:pt idx="25">
                  <c:v>0.21182266009852216</c:v>
                </c:pt>
                <c:pt idx="26">
                  <c:v>0.20519641748692027</c:v>
                </c:pt>
                <c:pt idx="27">
                  <c:v>0.20855057351407716</c:v>
                </c:pt>
                <c:pt idx="28">
                  <c:v>0.1977886977886978</c:v>
                </c:pt>
                <c:pt idx="29">
                  <c:v>0.2037409317367363</c:v>
                </c:pt>
                <c:pt idx="30">
                  <c:v>0.2049438202247191</c:v>
                </c:pt>
                <c:pt idx="31">
                  <c:v>0.19889027073567397</c:v>
                </c:pt>
                <c:pt idx="32">
                  <c:v>0.19384283461953364</c:v>
                </c:pt>
                <c:pt idx="33">
                  <c:v>0.2046677471636953</c:v>
                </c:pt>
                <c:pt idx="34">
                  <c:v>0.21873328340644058</c:v>
                </c:pt>
                <c:pt idx="35">
                  <c:v>0.20943775100401607</c:v>
                </c:pt>
                <c:pt idx="36">
                  <c:v>0.20617036959039697</c:v>
                </c:pt>
                <c:pt idx="37">
                  <c:v>0.2103603173086113</c:v>
                </c:pt>
                <c:pt idx="38">
                  <c:v>0.20922324938901285</c:v>
                </c:pt>
                <c:pt idx="39">
                  <c:v>0.2053940291527009</c:v>
                </c:pt>
                <c:pt idx="40">
                  <c:v>0.19499924913650699</c:v>
                </c:pt>
                <c:pt idx="41">
                  <c:v>0.19658362989323844</c:v>
                </c:pt>
                <c:pt idx="42">
                  <c:v>0.20137707573916566</c:v>
                </c:pt>
                <c:pt idx="43">
                  <c:v>0.18635077793493635</c:v>
                </c:pt>
                <c:pt idx="44">
                  <c:v>0.1860071559810463</c:v>
                </c:pt>
                <c:pt idx="45">
                  <c:v>0.20335794405792987</c:v>
                </c:pt>
                <c:pt idx="46">
                  <c:v>0.221686847949051</c:v>
                </c:pt>
                <c:pt idx="47">
                  <c:v>0.22292597629687197</c:v>
                </c:pt>
                <c:pt idx="48">
                  <c:v>0.21374488513709444</c:v>
                </c:pt>
                <c:pt idx="49">
                  <c:v>0.21709691070672874</c:v>
                </c:pt>
                <c:pt idx="50">
                  <c:v>0.21337942252948353</c:v>
                </c:pt>
                <c:pt idx="51">
                  <c:v>0.2129150614566134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6774886383353154</c:v>
                </c:pt>
              </c:numCache>
            </c:numRef>
          </c:xVal>
          <c:yVal>
            <c:numRef>
              <c:f>Sheet1!$B$163:$B$164</c:f>
              <c:numCache>
                <c:formatCode>General</c:formatCode>
                <c:ptCount val="2"/>
                <c:pt idx="0">
                  <c:v>0.2505318564708487</c:v>
                </c:pt>
                <c:pt idx="1">
                  <c:v>0.250531856470848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6774886383353154</c:v>
                </c:pt>
                <c:pt idx="1">
                  <c:v>1.6774886383353154</c:v>
                </c:pt>
              </c:numCache>
            </c:numRef>
          </c:xVal>
          <c:yVal>
            <c:numRef>
              <c:f>Sheet1!$B$167:$B$168</c:f>
              <c:numCache>
                <c:formatCode>General</c:formatCode>
                <c:ptCount val="2"/>
                <c:pt idx="0">
                  <c:v>0.250531856470848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922217647791035</c:v>
                </c:pt>
              </c:numCache>
            </c:numRef>
          </c:xVal>
          <c:yVal>
            <c:numRef>
              <c:f>Sheet1!$B$171:$B$172</c:f>
              <c:numCache>
                <c:formatCode>General</c:formatCode>
                <c:ptCount val="2"/>
                <c:pt idx="0">
                  <c:v>0.21428406995748003</c:v>
                </c:pt>
                <c:pt idx="1">
                  <c:v>0.2142840699574800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922217647791035</c:v>
                </c:pt>
                <c:pt idx="1">
                  <c:v>0.3922217647791035</c:v>
                </c:pt>
              </c:numCache>
            </c:numRef>
          </c:xVal>
          <c:yVal>
            <c:numRef>
              <c:f>Sheet1!$B$175:$B$176</c:f>
              <c:numCache>
                <c:formatCode>General</c:formatCode>
                <c:ptCount val="2"/>
                <c:pt idx="0">
                  <c:v>0.2142840699574800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9253802299882634</c:v>
                </c:pt>
              </c:numCache>
            </c:numRef>
          </c:xVal>
          <c:yVal>
            <c:numRef>
              <c:f>Sheet1!$B$179:$B$180</c:f>
              <c:numCache>
                <c:formatCode>General</c:formatCode>
                <c:ptCount val="2"/>
                <c:pt idx="0">
                  <c:v>0.20583222815164368</c:v>
                </c:pt>
                <c:pt idx="1">
                  <c:v>0.2058322281516436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9253802299882634</c:v>
                </c:pt>
                <c:pt idx="1">
                  <c:v>0.09253802299882634</c:v>
                </c:pt>
              </c:numCache>
            </c:numRef>
          </c:xVal>
          <c:yVal>
            <c:numRef>
              <c:f>Sheet1!$B$183:$B$184</c:f>
              <c:numCache>
                <c:formatCode>General</c:formatCode>
                <c:ptCount val="2"/>
                <c:pt idx="0">
                  <c:v>0.2058322281516436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2455044922131812</c:v>
                </c:pt>
                <c:pt idx="1">
                  <c:v>0.23580830048493007</c:v>
                </c:pt>
                <c:pt idx="2">
                  <c:v>0.22936151566356267</c:v>
                </c:pt>
                <c:pt idx="3">
                  <c:v>0.22172066375158178</c:v>
                </c:pt>
                <c:pt idx="4">
                  <c:v>0.20865009628091727</c:v>
                </c:pt>
                <c:pt idx="5">
                  <c:v>0.22567149078974963</c:v>
                </c:pt>
                <c:pt idx="6">
                  <c:v>0.211266566302603</c:v>
                </c:pt>
                <c:pt idx="7">
                  <c:v>0.19280146328543996</c:v>
                </c:pt>
                <c:pt idx="8">
                  <c:v>0.23629730601965668</c:v>
                </c:pt>
                <c:pt idx="9">
                  <c:v>0.22106262714282693</c:v>
                </c:pt>
                <c:pt idx="10">
                  <c:v>0.21650038659442591</c:v>
                </c:pt>
                <c:pt idx="11">
                  <c:v>0.19694836039617744</c:v>
                </c:pt>
                <c:pt idx="12">
                  <c:v>0.19913277847696711</c:v>
                </c:pt>
                <c:pt idx="13">
                  <c:v>0.20816327778888735</c:v>
                </c:pt>
                <c:pt idx="14">
                  <c:v>0.20321373460179323</c:v>
                </c:pt>
                <c:pt idx="15">
                  <c:v>0.19893114792475555</c:v>
                </c:pt>
                <c:pt idx="16">
                  <c:v>0.18652495469558053</c:v>
                </c:pt>
                <c:pt idx="17">
                  <c:v>0.1718650963674443</c:v>
                </c:pt>
                <c:pt idx="18">
                  <c:v>0.1625697651721035</c:v>
                </c:pt>
                <c:pt idx="19">
                  <c:v>0.1900184293590812</c:v>
                </c:pt>
                <c:pt idx="20">
                  <c:v>0.17251632367851064</c:v>
                </c:pt>
                <c:pt idx="21">
                  <c:v>0.15605666811134397</c:v>
                </c:pt>
                <c:pt idx="22">
                  <c:v>0.15803753636061496</c:v>
                </c:pt>
                <c:pt idx="23">
                  <c:v>0.17967454857318643</c:v>
                </c:pt>
                <c:pt idx="24">
                  <c:v>0.16821265349263048</c:v>
                </c:pt>
                <c:pt idx="25">
                  <c:v>0.16284806684629521</c:v>
                </c:pt>
                <c:pt idx="26">
                  <c:v>0.16423422845323876</c:v>
                </c:pt>
                <c:pt idx="27">
                  <c:v>0.16650361474419723</c:v>
                </c:pt>
                <c:pt idx="28">
                  <c:v>0.1836700895727667</c:v>
                </c:pt>
                <c:pt idx="29">
                  <c:v>0.16568670182453699</c:v>
                </c:pt>
                <c:pt idx="30">
                  <c:v>0.16375026649154611</c:v>
                </c:pt>
                <c:pt idx="31">
                  <c:v>0.1596695169466281</c:v>
                </c:pt>
                <c:pt idx="32">
                  <c:v>0.17435985093182116</c:v>
                </c:pt>
                <c:pt idx="33">
                  <c:v>0.18218119728341542</c:v>
                </c:pt>
                <c:pt idx="34">
                  <c:v>0.2021074580058756</c:v>
                </c:pt>
                <c:pt idx="35">
                  <c:v>0.165888854353136</c:v>
                </c:pt>
                <c:pt idx="36">
                  <c:v>0.14444790351658016</c:v>
                </c:pt>
                <c:pt idx="37">
                  <c:v>0.1472637463633516</c:v>
                </c:pt>
                <c:pt idx="38">
                  <c:v>0.15313634294481443</c:v>
                </c:pt>
                <c:pt idx="39">
                  <c:v>0.16030294843763981</c:v>
                </c:pt>
                <c:pt idx="40">
                  <c:v>0.17369084683070113</c:v>
                </c:pt>
                <c:pt idx="41">
                  <c:v>0.17803631417841276</c:v>
                </c:pt>
                <c:pt idx="42">
                  <c:v>0.17344360094486547</c:v>
                </c:pt>
                <c:pt idx="43">
                  <c:v>0.19320832849709638</c:v>
                </c:pt>
                <c:pt idx="44">
                  <c:v>0.1886598899103296</c:v>
                </c:pt>
                <c:pt idx="45">
                  <c:v>0.1901637188823562</c:v>
                </c:pt>
                <c:pt idx="46">
                  <c:v>0.17851936070730448</c:v>
                </c:pt>
                <c:pt idx="47">
                  <c:v>0.16640666117370145</c:v>
                </c:pt>
                <c:pt idx="48">
                  <c:v>0.1713810776341167</c:v>
                </c:pt>
                <c:pt idx="49">
                  <c:v>0.20529167398315729</c:v>
                </c:pt>
                <c:pt idx="50">
                  <c:v>0.21913162466333233</c:v>
                </c:pt>
                <c:pt idx="51">
                  <c:v>0.18212204215971003</c:v>
                </c:pt>
                <c:pt idx="52">
                  <c:v>0.3922217647791035</c:v>
                </c:pt>
                <c:pt idx="53">
                  <c:v>1.6774886383353154</c:v>
                </c:pt>
                <c:pt idx="54">
                  <c:v>0.09253802299882634</c:v>
                </c:pt>
              </c:numCache>
            </c:numRef>
          </c:xVal>
          <c:yVal>
            <c:numRef>
              <c:f>Sheet1!$B$187:$B$241</c:f>
              <c:numCache>
                <c:formatCode>General</c:formatCode>
                <c:ptCount val="55"/>
                <c:pt idx="0">
                  <c:v>0.20955531348222925</c:v>
                </c:pt>
                <c:pt idx="1">
                  <c:v>0.20987281344865533</c:v>
                </c:pt>
                <c:pt idx="2">
                  <c:v>0.20969099776141525</c:v>
                </c:pt>
                <c:pt idx="3">
                  <c:v>0.20947550635291157</c:v>
                </c:pt>
                <c:pt idx="4">
                  <c:v>0.2091068831906462</c:v>
                </c:pt>
                <c:pt idx="5">
                  <c:v>0.20958692969850398</c:v>
                </c:pt>
                <c:pt idx="6">
                  <c:v>0.20918067428315468</c:v>
                </c:pt>
                <c:pt idx="7">
                  <c:v>0.20865991153272173</c:v>
                </c:pt>
                <c:pt idx="8">
                  <c:v>0.20988660464532533</c:v>
                </c:pt>
                <c:pt idx="9">
                  <c:v>0.2094569480511278</c:v>
                </c:pt>
                <c:pt idx="10">
                  <c:v>0.20932828129341116</c:v>
                </c:pt>
                <c:pt idx="11">
                  <c:v>0.20877686455178385</c:v>
                </c:pt>
                <c:pt idx="12">
                  <c:v>0.20883847068345773</c:v>
                </c:pt>
                <c:pt idx="13">
                  <c:v>0.2090931536741287</c:v>
                </c:pt>
                <c:pt idx="14">
                  <c:v>0.20895356399942708</c:v>
                </c:pt>
                <c:pt idx="15">
                  <c:v>0.20883278419035542</c:v>
                </c:pt>
                <c:pt idx="16">
                  <c:v>0.20848289806719528</c:v>
                </c:pt>
                <c:pt idx="17">
                  <c:v>0.20806945287077142</c:v>
                </c:pt>
                <c:pt idx="18">
                  <c:v>0.20780730094911837</c:v>
                </c:pt>
                <c:pt idx="19">
                  <c:v>0.20858142291553441</c:v>
                </c:pt>
                <c:pt idx="20">
                  <c:v>0.2080878191330854</c:v>
                </c:pt>
                <c:pt idx="21">
                  <c:v>0.2076236150884955</c:v>
                </c:pt>
                <c:pt idx="22">
                  <c:v>0.20767948059852145</c:v>
                </c:pt>
                <c:pt idx="23">
                  <c:v>0.20828969923529247</c:v>
                </c:pt>
                <c:pt idx="24">
                  <c:v>0.20796644471557624</c:v>
                </c:pt>
                <c:pt idx="25">
                  <c:v>0.20781514976237261</c:v>
                </c:pt>
                <c:pt idx="26">
                  <c:v>0.20785424303633407</c:v>
                </c:pt>
                <c:pt idx="27">
                  <c:v>0.20791824548709625</c:v>
                </c:pt>
                <c:pt idx="28">
                  <c:v>0.20840238362803457</c:v>
                </c:pt>
                <c:pt idx="29">
                  <c:v>0.20789520647028106</c:v>
                </c:pt>
                <c:pt idx="30">
                  <c:v>0.20784059408121902</c:v>
                </c:pt>
                <c:pt idx="31">
                  <c:v>0.20772550659132719</c:v>
                </c:pt>
                <c:pt idx="32">
                  <c:v>0.20813981127859577</c:v>
                </c:pt>
                <c:pt idx="33">
                  <c:v>0.2083603930882049</c:v>
                </c:pt>
                <c:pt idx="34">
                  <c:v>0.20892236419283547</c:v>
                </c:pt>
                <c:pt idx="35">
                  <c:v>0.20790090768444178</c:v>
                </c:pt>
                <c:pt idx="36">
                  <c:v>0.20729621847587554</c:v>
                </c:pt>
                <c:pt idx="37">
                  <c:v>0.20737563238785364</c:v>
                </c:pt>
                <c:pt idx="38">
                  <c:v>0.20754125451003205</c:v>
                </c:pt>
                <c:pt idx="39">
                  <c:v>0.20774337096636825</c:v>
                </c:pt>
                <c:pt idx="40">
                  <c:v>0.20812094366570313</c:v>
                </c:pt>
                <c:pt idx="41">
                  <c:v>0.20824349686921398</c:v>
                </c:pt>
                <c:pt idx="42">
                  <c:v>0.20811397070446802</c:v>
                </c:pt>
                <c:pt idx="43">
                  <c:v>0.20867138616389388</c:v>
                </c:pt>
                <c:pt idx="44">
                  <c:v>0.20854310865651046</c:v>
                </c:pt>
                <c:pt idx="45">
                  <c:v>0.20858552044868542</c:v>
                </c:pt>
                <c:pt idx="46">
                  <c:v>0.2082571200068016</c:v>
                </c:pt>
                <c:pt idx="47">
                  <c:v>0.2079155111504403</c:v>
                </c:pt>
                <c:pt idx="48">
                  <c:v>0.20805580231455223</c:v>
                </c:pt>
                <c:pt idx="49">
                  <c:v>0.20901216716164428</c:v>
                </c:pt>
                <c:pt idx="50">
                  <c:v>0.20940248888231733</c:v>
                </c:pt>
                <c:pt idx="51">
                  <c:v>0.20835872476364184</c:v>
                </c:pt>
                <c:pt idx="52">
                  <c:v>0.21428406995748003</c:v>
                </c:pt>
                <c:pt idx="53">
                  <c:v>0.2505318564708487</c:v>
                </c:pt>
                <c:pt idx="54">
                  <c:v>0.2058322281516436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42248722316864"/>
          <c:min val="0.1233579583613163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2.6043</c:v>
                </c:pt>
                <c:pt idx="1">
                  <c:v>876.6323</c:v>
                </c:pt>
                <c:pt idx="2">
                  <c:v>911.1551</c:v>
                </c:pt>
                <c:pt idx="3">
                  <c:v>925.7721</c:v>
                </c:pt>
                <c:pt idx="4">
                  <c:v>930.7482</c:v>
                </c:pt>
                <c:pt idx="5">
                  <c:v>922.7364</c:v>
                </c:pt>
                <c:pt idx="6">
                  <c:v>872.0113</c:v>
                </c:pt>
                <c:pt idx="7">
                  <c:v>885.5919</c:v>
                </c:pt>
                <c:pt idx="8">
                  <c:v>888.882</c:v>
                </c:pt>
                <c:pt idx="9">
                  <c:v>872.4829</c:v>
                </c:pt>
                <c:pt idx="10">
                  <c:v>865.817</c:v>
                </c:pt>
                <c:pt idx="11">
                  <c:v>931.8931</c:v>
                </c:pt>
                <c:pt idx="12">
                  <c:v>939.3623</c:v>
                </c:pt>
                <c:pt idx="13">
                  <c:v>945.3954</c:v>
                </c:pt>
                <c:pt idx="14">
                  <c:v>953.6439</c:v>
                </c:pt>
                <c:pt idx="15">
                  <c:v>969.5476</c:v>
                </c:pt>
                <c:pt idx="16">
                  <c:v>991.3707</c:v>
                </c:pt>
                <c:pt idx="17">
                  <c:v>1017.5138</c:v>
                </c:pt>
                <c:pt idx="18">
                  <c:v>1058.1947</c:v>
                </c:pt>
                <c:pt idx="19">
                  <c:v>1063.6722</c:v>
                </c:pt>
                <c:pt idx="20">
                  <c:v>1093.8406</c:v>
                </c:pt>
                <c:pt idx="21">
                  <c:v>1108.3406</c:v>
                </c:pt>
                <c:pt idx="22">
                  <c:v>1059.9098</c:v>
                </c:pt>
                <c:pt idx="23">
                  <c:v>1050.6998</c:v>
                </c:pt>
                <c:pt idx="24">
                  <c:v>1052.7458</c:v>
                </c:pt>
                <c:pt idx="25">
                  <c:v>1027.5101</c:v>
                </c:pt>
                <c:pt idx="26">
                  <c:v>1011.3722</c:v>
                </c:pt>
                <c:pt idx="27">
                  <c:v>1028.1256</c:v>
                </c:pt>
                <c:pt idx="28">
                  <c:v>1023.2723</c:v>
                </c:pt>
                <c:pt idx="29">
                  <c:v>1005.2878</c:v>
                </c:pt>
                <c:pt idx="30">
                  <c:v>1008.6892</c:v>
                </c:pt>
                <c:pt idx="31">
                  <c:v>989.1239</c:v>
                </c:pt>
                <c:pt idx="32">
                  <c:v>977.6285</c:v>
                </c:pt>
                <c:pt idx="33">
                  <c:v>941.2271</c:v>
                </c:pt>
                <c:pt idx="34">
                  <c:v>953.1225</c:v>
                </c:pt>
                <c:pt idx="35">
                  <c:v>987.6614</c:v>
                </c:pt>
                <c:pt idx="36">
                  <c:v>1076.9937</c:v>
                </c:pt>
                <c:pt idx="37">
                  <c:v>1081.8702</c:v>
                </c:pt>
                <c:pt idx="38">
                  <c:v>1144.6705</c:v>
                </c:pt>
                <c:pt idx="39">
                  <c:v>1158.5252</c:v>
                </c:pt>
                <c:pt idx="40">
                  <c:v>1148.5003</c:v>
                </c:pt>
                <c:pt idx="41">
                  <c:v>1186.201</c:v>
                </c:pt>
                <c:pt idx="42">
                  <c:v>1208.5581</c:v>
                </c:pt>
                <c:pt idx="43">
                  <c:v>1216.1227</c:v>
                </c:pt>
                <c:pt idx="44">
                  <c:v>1132.884</c:v>
                </c:pt>
                <c:pt idx="45">
                  <c:v>1097.0486</c:v>
                </c:pt>
                <c:pt idx="46">
                  <c:v>1096.5677</c:v>
                </c:pt>
                <c:pt idx="47">
                  <c:v>1079.5043</c:v>
                </c:pt>
                <c:pt idx="48">
                  <c:v>1088.401</c:v>
                </c:pt>
                <c:pt idx="49">
                  <c:v>1052.9549</c:v>
                </c:pt>
                <c:pt idx="50">
                  <c:v>1044.3626</c:v>
                </c:pt>
                <c:pt idx="51">
                  <c:v>1064.9533</c:v>
                </c:pt>
                <c:pt idx="52">
                  <c:v>1066.5982</c:v>
                </c:pt>
                <c:pt idx="53">
                  <c:v>1142.773</c:v>
                </c:pt>
                <c:pt idx="54">
                  <c:v>1128.7357</c:v>
                </c:pt>
                <c:pt idx="55">
                  <c:v>1144.0735</c:v>
                </c:pt>
                <c:pt idx="56">
                  <c:v>1161.348</c:v>
                </c:pt>
                <c:pt idx="57">
                  <c:v>1128.1435</c:v>
                </c:pt>
                <c:pt idx="58">
                  <c:v>1100.9694</c:v>
                </c:pt>
                <c:pt idx="59">
                  <c:v>1083.4335</c:v>
                </c:pt>
                <c:pt idx="60">
                  <c:v>1101.4643</c:v>
                </c:pt>
                <c:pt idx="61">
                  <c:v>1133.1802</c:v>
                </c:pt>
                <c:pt idx="62">
                  <c:v>1077.1723</c:v>
                </c:pt>
                <c:pt idx="63">
                  <c:v>1103.7837</c:v>
                </c:pt>
                <c:pt idx="64">
                  <c:v>1118.5354</c:v>
                </c:pt>
                <c:pt idx="65">
                  <c:v>1106.8087</c:v>
                </c:pt>
                <c:pt idx="66">
                  <c:v>1110.3682</c:v>
                </c:pt>
                <c:pt idx="67">
                  <c:v>1132.4642</c:v>
                </c:pt>
                <c:pt idx="68">
                  <c:v>1159.9969</c:v>
                </c:pt>
                <c:pt idx="69">
                  <c:v>1190.1922</c:v>
                </c:pt>
                <c:pt idx="70">
                  <c:v>1167.0873</c:v>
                </c:pt>
                <c:pt idx="71">
                  <c:v>1233.9912</c:v>
                </c:pt>
                <c:pt idx="72">
                  <c:v>1323.4259</c:v>
                </c:pt>
                <c:pt idx="73">
                  <c:v>1294.9267</c:v>
                </c:pt>
                <c:pt idx="74">
                  <c:v>1281.6593</c:v>
                </c:pt>
                <c:pt idx="75">
                  <c:v>1233.0492</c:v>
                </c:pt>
                <c:pt idx="76">
                  <c:v>1207.2538</c:v>
                </c:pt>
                <c:pt idx="77">
                  <c:v>1207.88</c:v>
                </c:pt>
                <c:pt idx="78">
                  <c:v>1271.0125</c:v>
                </c:pt>
                <c:pt idx="79">
                  <c:v>1246.3288</c:v>
                </c:pt>
                <c:pt idx="80">
                  <c:v>1253.2253</c:v>
                </c:pt>
                <c:pt idx="81">
                  <c:v>1225.5049</c:v>
                </c:pt>
                <c:pt idx="82">
                  <c:v>1230.3508</c:v>
                </c:pt>
                <c:pt idx="83">
                  <c:v>1187.5029</c:v>
                </c:pt>
                <c:pt idx="84">
                  <c:v>1210.0767</c:v>
                </c:pt>
                <c:pt idx="85">
                  <c:v>1189.6393</c:v>
                </c:pt>
                <c:pt idx="86">
                  <c:v>1187.354</c:v>
                </c:pt>
                <c:pt idx="87">
                  <c:v>1190.172</c:v>
                </c:pt>
                <c:pt idx="88">
                  <c:v>1242.5066</c:v>
                </c:pt>
                <c:pt idx="89">
                  <c:v>1226.9135</c:v>
                </c:pt>
                <c:pt idx="90">
                  <c:v>1304.1472</c:v>
                </c:pt>
                <c:pt idx="91">
                  <c:v>1307.3926</c:v>
                </c:pt>
                <c:pt idx="92">
                  <c:v>1242.1643</c:v>
                </c:pt>
                <c:pt idx="93">
                  <c:v>1284.4174</c:v>
                </c:pt>
                <c:pt idx="94">
                  <c:v>1266.4449</c:v>
                </c:pt>
                <c:pt idx="95">
                  <c:v>1225.7909</c:v>
                </c:pt>
                <c:pt idx="96">
                  <c:v>1195.1809</c:v>
                </c:pt>
                <c:pt idx="97">
                  <c:v>1174.6454</c:v>
                </c:pt>
                <c:pt idx="98">
                  <c:v>1162.5787</c:v>
                </c:pt>
                <c:pt idx="99">
                  <c:v>1120.9807</c:v>
                </c:pt>
                <c:pt idx="100">
                  <c:v>1121.8517</c:v>
                </c:pt>
                <c:pt idx="101">
                  <c:v>1130.0274</c:v>
                </c:pt>
                <c:pt idx="102">
                  <c:v>1140.2487</c:v>
                </c:pt>
                <c:pt idx="103">
                  <c:v>1135.6579</c:v>
                </c:pt>
                <c:pt idx="104">
                  <c:v>1183.6327</c:v>
                </c:pt>
              </c:numCache>
            </c:numRef>
          </c:xVal>
          <c:yVal>
            <c:numRef>
              <c:f>Sheet1!$B$2:$B$106</c:f>
              <c:numCache>
                <c:formatCode>General</c:formatCode>
                <c:ptCount val="105"/>
                <c:pt idx="0">
                  <c:v>0.2389593520782396</c:v>
                </c:pt>
                <c:pt idx="1">
                  <c:v>0.23479694908266338</c:v>
                </c:pt>
                <c:pt idx="2">
                  <c:v>0.23689880723355136</c:v>
                </c:pt>
                <c:pt idx="3">
                  <c:v>0.23595784252944824</c:v>
                </c:pt>
                <c:pt idx="4">
                  <c:v>0.23779589431293585</c:v>
                </c:pt>
                <c:pt idx="5">
                  <c:v>0.24517480424916463</c:v>
                </c:pt>
                <c:pt idx="6">
                  <c:v>0.2730293253719844</c:v>
                </c:pt>
                <c:pt idx="7">
                  <c:v>0.2803520726859739</c:v>
                </c:pt>
                <c:pt idx="8">
                  <c:v>0.27182166069367675</c:v>
                </c:pt>
                <c:pt idx="9">
                  <c:v>0.2534750613246116</c:v>
                </c:pt>
                <c:pt idx="10">
                  <c:v>0.24879308884560006</c:v>
                </c:pt>
                <c:pt idx="11">
                  <c:v>0.22092457420924574</c:v>
                </c:pt>
                <c:pt idx="12">
                  <c:v>0.20868990036793583</c:v>
                </c:pt>
                <c:pt idx="13">
                  <c:v>0.19740652146544127</c:v>
                </c:pt>
                <c:pt idx="14">
                  <c:v>0.1827898852104475</c:v>
                </c:pt>
                <c:pt idx="15">
                  <c:v>0.1754871896330003</c:v>
                </c:pt>
                <c:pt idx="16">
                  <c:v>0.16985849860771723</c:v>
                </c:pt>
                <c:pt idx="17">
                  <c:v>0.16062531141006478</c:v>
                </c:pt>
                <c:pt idx="18">
                  <c:v>0.1563905612068369</c:v>
                </c:pt>
                <c:pt idx="19">
                  <c:v>0.15889917274142026</c:v>
                </c:pt>
                <c:pt idx="20">
                  <c:v>0.1541974479516454</c:v>
                </c:pt>
                <c:pt idx="21">
                  <c:v>0.16999311768754302</c:v>
                </c:pt>
                <c:pt idx="22">
                  <c:v>0.1977642610554003</c:v>
                </c:pt>
                <c:pt idx="23">
                  <c:v>0.20794412920122218</c:v>
                </c:pt>
                <c:pt idx="24">
                  <c:v>0.20918974684548847</c:v>
                </c:pt>
                <c:pt idx="25">
                  <c:v>0.2173082173082173</c:v>
                </c:pt>
                <c:pt idx="26">
                  <c:v>0.23575</c:v>
                </c:pt>
                <c:pt idx="27">
                  <c:v>0.2292655903767015</c:v>
                </c:pt>
                <c:pt idx="28">
                  <c:v>0.23493781295428848</c:v>
                </c:pt>
                <c:pt idx="29">
                  <c:v>0.22743031479683817</c:v>
                </c:pt>
                <c:pt idx="30">
                  <c:v>0.23199709776890984</c:v>
                </c:pt>
                <c:pt idx="31">
                  <c:v>0.24313387860525182</c:v>
                </c:pt>
                <c:pt idx="32">
                  <c:v>0.2487016250628246</c:v>
                </c:pt>
                <c:pt idx="33">
                  <c:v>0.241206995963867</c:v>
                </c:pt>
                <c:pt idx="34">
                  <c:v>0.23499744999149996</c:v>
                </c:pt>
                <c:pt idx="35">
                  <c:v>0.2397726065242801</c:v>
                </c:pt>
                <c:pt idx="36">
                  <c:v>0.21667641515565086</c:v>
                </c:pt>
                <c:pt idx="37">
                  <c:v>0.21587417702999268</c:v>
                </c:pt>
                <c:pt idx="38">
                  <c:v>0.20234780645646774</c:v>
                </c:pt>
                <c:pt idx="39">
                  <c:v>0.19492449011365406</c:v>
                </c:pt>
                <c:pt idx="40">
                  <c:v>0.19796473042159154</c:v>
                </c:pt>
                <c:pt idx="41">
                  <c:v>0.19218924972004478</c:v>
                </c:pt>
                <c:pt idx="42">
                  <c:v>0.18860652776105022</c:v>
                </c:pt>
                <c:pt idx="43">
                  <c:v>0.18170534268753372</c:v>
                </c:pt>
                <c:pt idx="44">
                  <c:v>0.18682186512841642</c:v>
                </c:pt>
                <c:pt idx="45">
                  <c:v>0.20375351698976596</c:v>
                </c:pt>
                <c:pt idx="46">
                  <c:v>0.20569952854268642</c:v>
                </c:pt>
                <c:pt idx="47">
                  <c:v>0.20028822862048876</c:v>
                </c:pt>
                <c:pt idx="48">
                  <c:v>0.19804154435655544</c:v>
                </c:pt>
                <c:pt idx="49">
                  <c:v>0.20889913471862565</c:v>
                </c:pt>
                <c:pt idx="50">
                  <c:v>0.20385839926866942</c:v>
                </c:pt>
                <c:pt idx="51">
                  <c:v>0.19360383769738157</c:v>
                </c:pt>
                <c:pt idx="52">
                  <c:v>0.19804000267576427</c:v>
                </c:pt>
                <c:pt idx="53">
                  <c:v>0.1912751677852349</c:v>
                </c:pt>
                <c:pt idx="54">
                  <c:v>0.19710236504784256</c:v>
                </c:pt>
                <c:pt idx="55">
                  <c:v>0.19466494369577256</c:v>
                </c:pt>
                <c:pt idx="56">
                  <c:v>0.19578327785014715</c:v>
                </c:pt>
                <c:pt idx="57">
                  <c:v>0.19458476459890886</c:v>
                </c:pt>
                <c:pt idx="58">
                  <c:v>0.20910996332060783</c:v>
                </c:pt>
                <c:pt idx="59">
                  <c:v>0.2117414565961344</c:v>
                </c:pt>
                <c:pt idx="60">
                  <c:v>0.21837361681302847</c:v>
                </c:pt>
                <c:pt idx="61">
                  <c:v>0.21279012532656846</c:v>
                </c:pt>
                <c:pt idx="62">
                  <c:v>0.22075055187637968</c:v>
                </c:pt>
                <c:pt idx="63">
                  <c:v>0.22964336567436008</c:v>
                </c:pt>
                <c:pt idx="64">
                  <c:v>0.21302431858984822</c:v>
                </c:pt>
                <c:pt idx="65">
                  <c:v>0.20235818992989166</c:v>
                </c:pt>
                <c:pt idx="66">
                  <c:v>0.20488280544620607</c:v>
                </c:pt>
                <c:pt idx="67">
                  <c:v>0.19276786055578915</c:v>
                </c:pt>
                <c:pt idx="68">
                  <c:v>0.18068291783788765</c:v>
                </c:pt>
                <c:pt idx="69">
                  <c:v>0.1754751832211166</c:v>
                </c:pt>
                <c:pt idx="70">
                  <c:v>0.17706260305907773</c:v>
                </c:pt>
                <c:pt idx="71">
                  <c:v>0.1802403204272363</c:v>
                </c:pt>
                <c:pt idx="72">
                  <c:v>0.17245917329664415</c:v>
                </c:pt>
                <c:pt idx="73">
                  <c:v>0.17803153182378512</c:v>
                </c:pt>
                <c:pt idx="74">
                  <c:v>0.1799819657348963</c:v>
                </c:pt>
                <c:pt idx="75">
                  <c:v>0.19434877345891616</c:v>
                </c:pt>
                <c:pt idx="76">
                  <c:v>0.1975468535730611</c:v>
                </c:pt>
                <c:pt idx="77">
                  <c:v>0.18945790262763354</c:v>
                </c:pt>
                <c:pt idx="78">
                  <c:v>0.18950131233595802</c:v>
                </c:pt>
                <c:pt idx="79">
                  <c:v>0.16537878240774176</c:v>
                </c:pt>
                <c:pt idx="80">
                  <c:v>0.1596820809248555</c:v>
                </c:pt>
                <c:pt idx="81">
                  <c:v>0.17309978104472942</c:v>
                </c:pt>
                <c:pt idx="82">
                  <c:v>0.17310046519219782</c:v>
                </c:pt>
                <c:pt idx="83">
                  <c:v>0.17823709333580498</c:v>
                </c:pt>
                <c:pt idx="84">
                  <c:v>0.1805594800791184</c:v>
                </c:pt>
                <c:pt idx="85">
                  <c:v>0.18766821629557132</c:v>
                </c:pt>
                <c:pt idx="86">
                  <c:v>0.19693586403672</c:v>
                </c:pt>
                <c:pt idx="87">
                  <c:v>0.20539703341871687</c:v>
                </c:pt>
                <c:pt idx="88">
                  <c:v>0.19569202566452795</c:v>
                </c:pt>
                <c:pt idx="89">
                  <c:v>0.2036229453203623</c:v>
                </c:pt>
                <c:pt idx="90">
                  <c:v>0.18808049535603716</c:v>
                </c:pt>
                <c:pt idx="91">
                  <c:v>0.17474179192207573</c:v>
                </c:pt>
                <c:pt idx="92">
                  <c:v>0.18472906403940886</c:v>
                </c:pt>
                <c:pt idx="93">
                  <c:v>0.182525668694003</c:v>
                </c:pt>
                <c:pt idx="94">
                  <c:v>0.1874908451735755</c:v>
                </c:pt>
                <c:pt idx="95">
                  <c:v>0.1882099596231494</c:v>
                </c:pt>
                <c:pt idx="96">
                  <c:v>0.18701722574796012</c:v>
                </c:pt>
                <c:pt idx="97">
                  <c:v>0.1931076411109689</c:v>
                </c:pt>
                <c:pt idx="98">
                  <c:v>0.1941404090657822</c:v>
                </c:pt>
                <c:pt idx="99">
                  <c:v>0.19707116917417347</c:v>
                </c:pt>
                <c:pt idx="100">
                  <c:v>0.19811237384895455</c:v>
                </c:pt>
                <c:pt idx="101">
                  <c:v>0.20455465902364559</c:v>
                </c:pt>
                <c:pt idx="102">
                  <c:v>0.19864805931094637</c:v>
                </c:pt>
                <c:pt idx="103">
                  <c:v>0.19270317617488003</c:v>
                </c:pt>
                <c:pt idx="104">
                  <c:v>0.18921014228383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3.1947</c:v>
                </c:pt>
                <c:pt idx="1">
                  <c:v>1223.3554</c:v>
                </c:pt>
                <c:pt idx="2">
                  <c:v>1223.8808</c:v>
                </c:pt>
                <c:pt idx="3">
                  <c:v>1201.5972</c:v>
                </c:pt>
                <c:pt idx="4">
                  <c:v>1237.3691</c:v>
                </c:pt>
                <c:pt idx="5">
                  <c:v>1225.4903</c:v>
                </c:pt>
                <c:pt idx="6">
                  <c:v>1128.0145</c:v>
                </c:pt>
                <c:pt idx="7">
                  <c:v>1164.7522</c:v>
                </c:pt>
                <c:pt idx="8">
                  <c:v>1228.3199</c:v>
                </c:pt>
                <c:pt idx="9">
                  <c:v>1182.7909</c:v>
                </c:pt>
                <c:pt idx="10">
                  <c:v>1208.2139</c:v>
                </c:pt>
                <c:pt idx="11">
                  <c:v>1061.5415</c:v>
                </c:pt>
                <c:pt idx="12">
                  <c:v>1106.6107</c:v>
                </c:pt>
                <c:pt idx="13">
                  <c:v>1177.5337</c:v>
                </c:pt>
                <c:pt idx="14">
                  <c:v>1154.3076</c:v>
                </c:pt>
                <c:pt idx="15">
                  <c:v>1181.8555</c:v>
                </c:pt>
                <c:pt idx="16">
                  <c:v>1213.9305</c:v>
                </c:pt>
                <c:pt idx="17">
                  <c:v>1151.6649</c:v>
                </c:pt>
                <c:pt idx="18">
                  <c:v>1168.3923</c:v>
                </c:pt>
                <c:pt idx="19">
                  <c:v>1296.7688</c:v>
                </c:pt>
                <c:pt idx="20">
                  <c:v>1291.7895</c:v>
                </c:pt>
                <c:pt idx="21">
                  <c:v>1193.7491</c:v>
                </c:pt>
                <c:pt idx="22">
                  <c:v>1227.8181</c:v>
                </c:pt>
                <c:pt idx="23">
                  <c:v>1249.3137</c:v>
                </c:pt>
                <c:pt idx="24">
                  <c:v>1258.4938</c:v>
                </c:pt>
                <c:pt idx="25">
                  <c:v>1217.6731</c:v>
                </c:pt>
                <c:pt idx="26">
                  <c:v>1213.6672</c:v>
                </c:pt>
                <c:pt idx="27">
                  <c:v>1215.4127</c:v>
                </c:pt>
                <c:pt idx="28">
                  <c:v>1245.791</c:v>
                </c:pt>
                <c:pt idx="29">
                  <c:v>1253.6903</c:v>
                </c:pt>
                <c:pt idx="30">
                  <c:v>1242.2987</c:v>
                </c:pt>
                <c:pt idx="31">
                  <c:v>1228.582</c:v>
                </c:pt>
                <c:pt idx="32">
                  <c:v>1250.1802</c:v>
                </c:pt>
                <c:pt idx="33">
                  <c:v>1247.0691</c:v>
                </c:pt>
                <c:pt idx="34">
                  <c:v>1262.4243</c:v>
                </c:pt>
                <c:pt idx="35">
                  <c:v>1298.7312</c:v>
                </c:pt>
                <c:pt idx="36">
                  <c:v>1337.2671</c:v>
                </c:pt>
                <c:pt idx="37">
                  <c:v>1315.9705</c:v>
                </c:pt>
                <c:pt idx="38">
                  <c:v>1343.2656</c:v>
                </c:pt>
                <c:pt idx="39">
                  <c:v>1284.2949</c:v>
                </c:pt>
                <c:pt idx="40">
                  <c:v>1310.501</c:v>
                </c:pt>
                <c:pt idx="41">
                  <c:v>1348.9511</c:v>
                </c:pt>
                <c:pt idx="42">
                  <c:v>1333.1323</c:v>
                </c:pt>
                <c:pt idx="43">
                  <c:v>1350.814</c:v>
                </c:pt>
                <c:pt idx="44">
                  <c:v>1266.5973</c:v>
                </c:pt>
                <c:pt idx="45">
                  <c:v>1215.7703</c:v>
                </c:pt>
                <c:pt idx="46">
                  <c:v>1202.2351</c:v>
                </c:pt>
                <c:pt idx="47">
                  <c:v>1172.6195</c:v>
                </c:pt>
                <c:pt idx="48">
                  <c:v>1170.5027</c:v>
                </c:pt>
                <c:pt idx="49">
                  <c:v>1192.3805</c:v>
                </c:pt>
                <c:pt idx="50">
                  <c:v>1149.5915</c:v>
                </c:pt>
                <c:pt idx="51">
                  <c:v>1111.0791</c:v>
                </c:pt>
              </c:numCache>
            </c:numRef>
          </c:xVal>
          <c:yVal>
            <c:numRef>
              <c:f>Sheet1!$B$109:$B$160</c:f>
              <c:numCache>
                <c:formatCode>General</c:formatCode>
                <c:ptCount val="52"/>
                <c:pt idx="0">
                  <c:v>0.18943460188062472</c:v>
                </c:pt>
                <c:pt idx="1">
                  <c:v>0.19163673678809645</c:v>
                </c:pt>
                <c:pt idx="2">
                  <c:v>0.2083756631674004</c:v>
                </c:pt>
                <c:pt idx="3">
                  <c:v>0.22480319540853919</c:v>
                </c:pt>
                <c:pt idx="4">
                  <c:v>0.2069812591624074</c:v>
                </c:pt>
                <c:pt idx="5">
                  <c:v>0.21231043710972347</c:v>
                </c:pt>
                <c:pt idx="6">
                  <c:v>0.22477950736146737</c:v>
                </c:pt>
                <c:pt idx="7">
                  <c:v>0.2227314390467461</c:v>
                </c:pt>
                <c:pt idx="8">
                  <c:v>0.2055039895782446</c:v>
                </c:pt>
                <c:pt idx="9">
                  <c:v>0.21405400009981534</c:v>
                </c:pt>
                <c:pt idx="10">
                  <c:v>0.21438666601686243</c:v>
                </c:pt>
                <c:pt idx="11">
                  <c:v>0.2180893121111073</c:v>
                </c:pt>
                <c:pt idx="12">
                  <c:v>0.2160894219393791</c:v>
                </c:pt>
                <c:pt idx="13">
                  <c:v>0.21450535933930767</c:v>
                </c:pt>
                <c:pt idx="14">
                  <c:v>0.21879497265662476</c:v>
                </c:pt>
                <c:pt idx="15">
                  <c:v>0.212037949090155</c:v>
                </c:pt>
                <c:pt idx="16">
                  <c:v>0.2085702060028119</c:v>
                </c:pt>
                <c:pt idx="17">
                  <c:v>0.22129086336965634</c:v>
                </c:pt>
                <c:pt idx="18">
                  <c:v>0.21707811210324904</c:v>
                </c:pt>
                <c:pt idx="19">
                  <c:v>0.20475629509645119</c:v>
                </c:pt>
                <c:pt idx="20">
                  <c:v>0.1984010442160222</c:v>
                </c:pt>
                <c:pt idx="21">
                  <c:v>0.21474949122977033</c:v>
                </c:pt>
                <c:pt idx="22">
                  <c:v>0.20707981398880138</c:v>
                </c:pt>
                <c:pt idx="23">
                  <c:v>0.20803028793464182</c:v>
                </c:pt>
                <c:pt idx="24">
                  <c:v>0.20723684210526316</c:v>
                </c:pt>
                <c:pt idx="25">
                  <c:v>0.21182266009852216</c:v>
                </c:pt>
                <c:pt idx="26">
                  <c:v>0.20519641748692027</c:v>
                </c:pt>
                <c:pt idx="27">
                  <c:v>0.20855057351407716</c:v>
                </c:pt>
                <c:pt idx="28">
                  <c:v>0.1977886977886978</c:v>
                </c:pt>
                <c:pt idx="29">
                  <c:v>0.2037409317367363</c:v>
                </c:pt>
                <c:pt idx="30">
                  <c:v>0.2049438202247191</c:v>
                </c:pt>
                <c:pt idx="31">
                  <c:v>0.19889027073567397</c:v>
                </c:pt>
                <c:pt idx="32">
                  <c:v>0.19384283461953364</c:v>
                </c:pt>
                <c:pt idx="33">
                  <c:v>0.2046677471636953</c:v>
                </c:pt>
                <c:pt idx="34">
                  <c:v>0.21873328340644058</c:v>
                </c:pt>
                <c:pt idx="35">
                  <c:v>0.20943775100401607</c:v>
                </c:pt>
                <c:pt idx="36">
                  <c:v>0.20617036959039697</c:v>
                </c:pt>
                <c:pt idx="37">
                  <c:v>0.2103603173086113</c:v>
                </c:pt>
                <c:pt idx="38">
                  <c:v>0.20922324938901285</c:v>
                </c:pt>
                <c:pt idx="39">
                  <c:v>0.2053940291527009</c:v>
                </c:pt>
                <c:pt idx="40">
                  <c:v>0.19499924913650699</c:v>
                </c:pt>
                <c:pt idx="41">
                  <c:v>0.19658362989323844</c:v>
                </c:pt>
                <c:pt idx="42">
                  <c:v>0.20137707573916566</c:v>
                </c:pt>
                <c:pt idx="43">
                  <c:v>0.18635077793493635</c:v>
                </c:pt>
                <c:pt idx="44">
                  <c:v>0.1860071559810463</c:v>
                </c:pt>
                <c:pt idx="45">
                  <c:v>0.20335794405792987</c:v>
                </c:pt>
                <c:pt idx="46">
                  <c:v>0.221686847949051</c:v>
                </c:pt>
                <c:pt idx="47">
                  <c:v>0.22292597629687197</c:v>
                </c:pt>
                <c:pt idx="48">
                  <c:v>0.21374488513709444</c:v>
                </c:pt>
                <c:pt idx="49">
                  <c:v>0.21709691070672874</c:v>
                </c:pt>
                <c:pt idx="50">
                  <c:v>0.21337942252948353</c:v>
                </c:pt>
                <c:pt idx="51">
                  <c:v>0.2129150614566134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63.9794001276802</c:v>
                </c:pt>
              </c:numCache>
            </c:numRef>
          </c:xVal>
          <c:yVal>
            <c:numRef>
              <c:f>Sheet1!$B$163:$B$164</c:f>
              <c:numCache>
                <c:formatCode>General</c:formatCode>
                <c:ptCount val="2"/>
                <c:pt idx="0">
                  <c:v>0.2505318564708487</c:v>
                </c:pt>
                <c:pt idx="1">
                  <c:v>0.250531856470848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63.9794001276802</c:v>
                </c:pt>
                <c:pt idx="1">
                  <c:v>763.9794001276802</c:v>
                </c:pt>
              </c:numCache>
            </c:numRef>
          </c:xVal>
          <c:yVal>
            <c:numRef>
              <c:f>Sheet1!$B$167:$B$168</c:f>
              <c:numCache>
                <c:formatCode>General</c:formatCode>
                <c:ptCount val="2"/>
                <c:pt idx="0">
                  <c:v>0.250531856470848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62.2067621265917</c:v>
                </c:pt>
              </c:numCache>
            </c:numRef>
          </c:xVal>
          <c:yVal>
            <c:numRef>
              <c:f>Sheet1!$B$171:$B$172</c:f>
              <c:numCache>
                <c:formatCode>General</c:formatCode>
                <c:ptCount val="2"/>
                <c:pt idx="0">
                  <c:v>0.21428406995748003</c:v>
                </c:pt>
                <c:pt idx="1">
                  <c:v>0.2142840699574800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62.2067621265917</c:v>
                </c:pt>
                <c:pt idx="1">
                  <c:v>1162.2067621265917</c:v>
                </c:pt>
              </c:numCache>
            </c:numRef>
          </c:xVal>
          <c:yVal>
            <c:numRef>
              <c:f>Sheet1!$B$175:$B$176</c:f>
              <c:numCache>
                <c:formatCode>General</c:formatCode>
                <c:ptCount val="2"/>
                <c:pt idx="0">
                  <c:v>0.2142840699574800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55.0608365437702</c:v>
                </c:pt>
              </c:numCache>
            </c:numRef>
          </c:xVal>
          <c:yVal>
            <c:numRef>
              <c:f>Sheet1!$B$179:$B$180</c:f>
              <c:numCache>
                <c:formatCode>General</c:formatCode>
                <c:ptCount val="2"/>
                <c:pt idx="0">
                  <c:v>0.20583222815164368</c:v>
                </c:pt>
                <c:pt idx="1">
                  <c:v>0.2058322281516436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55.0608365437702</c:v>
                </c:pt>
                <c:pt idx="1">
                  <c:v>1255.0608365437702</c:v>
                </c:pt>
              </c:numCache>
            </c:numRef>
          </c:xVal>
          <c:yVal>
            <c:numRef>
              <c:f>Sheet1!$B$183:$B$184</c:f>
              <c:numCache>
                <c:formatCode>General</c:formatCode>
                <c:ptCount val="2"/>
                <c:pt idx="0">
                  <c:v>0.2058322281516436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3.1947</c:v>
                </c:pt>
                <c:pt idx="1">
                  <c:v>1223.3554</c:v>
                </c:pt>
                <c:pt idx="2">
                  <c:v>1223.8808</c:v>
                </c:pt>
                <c:pt idx="3">
                  <c:v>1201.5972</c:v>
                </c:pt>
                <c:pt idx="4">
                  <c:v>1237.3691</c:v>
                </c:pt>
                <c:pt idx="5">
                  <c:v>1225.4903</c:v>
                </c:pt>
                <c:pt idx="6">
                  <c:v>1128.0145</c:v>
                </c:pt>
                <c:pt idx="7">
                  <c:v>1164.7522</c:v>
                </c:pt>
                <c:pt idx="8">
                  <c:v>1228.3199</c:v>
                </c:pt>
                <c:pt idx="9">
                  <c:v>1182.7909</c:v>
                </c:pt>
                <c:pt idx="10">
                  <c:v>1208.2139</c:v>
                </c:pt>
                <c:pt idx="11">
                  <c:v>1061.5415</c:v>
                </c:pt>
                <c:pt idx="12">
                  <c:v>1106.6107</c:v>
                </c:pt>
                <c:pt idx="13">
                  <c:v>1177.5337</c:v>
                </c:pt>
                <c:pt idx="14">
                  <c:v>1154.3076</c:v>
                </c:pt>
                <c:pt idx="15">
                  <c:v>1181.8555</c:v>
                </c:pt>
                <c:pt idx="16">
                  <c:v>1213.9305</c:v>
                </c:pt>
                <c:pt idx="17">
                  <c:v>1151.6649</c:v>
                </c:pt>
                <c:pt idx="18">
                  <c:v>1168.3923</c:v>
                </c:pt>
                <c:pt idx="19">
                  <c:v>1296.7688</c:v>
                </c:pt>
                <c:pt idx="20">
                  <c:v>1291.7895</c:v>
                </c:pt>
                <c:pt idx="21">
                  <c:v>1193.7491</c:v>
                </c:pt>
                <c:pt idx="22">
                  <c:v>1227.8181</c:v>
                </c:pt>
                <c:pt idx="23">
                  <c:v>1249.3137</c:v>
                </c:pt>
                <c:pt idx="24">
                  <c:v>1258.4938</c:v>
                </c:pt>
                <c:pt idx="25">
                  <c:v>1217.6731</c:v>
                </c:pt>
                <c:pt idx="26">
                  <c:v>1213.6672</c:v>
                </c:pt>
                <c:pt idx="27">
                  <c:v>1215.4127</c:v>
                </c:pt>
                <c:pt idx="28">
                  <c:v>1245.791</c:v>
                </c:pt>
                <c:pt idx="29">
                  <c:v>1253.6903</c:v>
                </c:pt>
                <c:pt idx="30">
                  <c:v>1242.2987</c:v>
                </c:pt>
                <c:pt idx="31">
                  <c:v>1228.582</c:v>
                </c:pt>
                <c:pt idx="32">
                  <c:v>1250.1802</c:v>
                </c:pt>
                <c:pt idx="33">
                  <c:v>1247.0691</c:v>
                </c:pt>
                <c:pt idx="34">
                  <c:v>1262.4243</c:v>
                </c:pt>
                <c:pt idx="35">
                  <c:v>1298.7312</c:v>
                </c:pt>
                <c:pt idx="36">
                  <c:v>1337.2671</c:v>
                </c:pt>
                <c:pt idx="37">
                  <c:v>1315.9705</c:v>
                </c:pt>
                <c:pt idx="38">
                  <c:v>1343.2656</c:v>
                </c:pt>
                <c:pt idx="39">
                  <c:v>1284.2949</c:v>
                </c:pt>
                <c:pt idx="40">
                  <c:v>1310.501</c:v>
                </c:pt>
                <c:pt idx="41">
                  <c:v>1348.9511</c:v>
                </c:pt>
                <c:pt idx="42">
                  <c:v>1333.1323</c:v>
                </c:pt>
                <c:pt idx="43">
                  <c:v>1350.814</c:v>
                </c:pt>
                <c:pt idx="44">
                  <c:v>1266.5973</c:v>
                </c:pt>
                <c:pt idx="45">
                  <c:v>1215.7703</c:v>
                </c:pt>
                <c:pt idx="46">
                  <c:v>1202.2351</c:v>
                </c:pt>
                <c:pt idx="47">
                  <c:v>1172.6195</c:v>
                </c:pt>
                <c:pt idx="48">
                  <c:v>1170.5027</c:v>
                </c:pt>
                <c:pt idx="49">
                  <c:v>1192.3805</c:v>
                </c:pt>
                <c:pt idx="50">
                  <c:v>1149.5915</c:v>
                </c:pt>
                <c:pt idx="51">
                  <c:v>1111.0791</c:v>
                </c:pt>
                <c:pt idx="52">
                  <c:v>1162.2067621265917</c:v>
                </c:pt>
                <c:pt idx="53">
                  <c:v>763.9794001276802</c:v>
                </c:pt>
                <c:pt idx="54">
                  <c:v>1255.0608365437702</c:v>
                </c:pt>
              </c:numCache>
            </c:numRef>
          </c:xVal>
          <c:yVal>
            <c:numRef>
              <c:f>Sheet1!$B$187:$B$241</c:f>
              <c:numCache>
                <c:formatCode>General</c:formatCode>
                <c:ptCount val="55"/>
                <c:pt idx="0">
                  <c:v>0.2096430029109689</c:v>
                </c:pt>
                <c:pt idx="1">
                  <c:v>0.20871814711357298</c:v>
                </c:pt>
                <c:pt idx="2">
                  <c:v>0.20867032371204042</c:v>
                </c:pt>
                <c:pt idx="3">
                  <c:v>0.21069864032869598</c:v>
                </c:pt>
                <c:pt idx="4">
                  <c:v>0.20744258030341545</c:v>
                </c:pt>
                <c:pt idx="5">
                  <c:v>0.20852382244678225</c:v>
                </c:pt>
                <c:pt idx="6">
                  <c:v>0.21739634685315257</c:v>
                </c:pt>
                <c:pt idx="7">
                  <c:v>0.21405237696643287</c:v>
                </c:pt>
                <c:pt idx="8">
                  <c:v>0.20826626421119693</c:v>
                </c:pt>
                <c:pt idx="9">
                  <c:v>0.21241044321457658</c:v>
                </c:pt>
                <c:pt idx="10">
                  <c:v>0.21009636948568028</c:v>
                </c:pt>
                <c:pt idx="11">
                  <c:v>0.22344690827316305</c:v>
                </c:pt>
                <c:pt idx="12">
                  <c:v>0.21934458157283757</c:v>
                </c:pt>
                <c:pt idx="13">
                  <c:v>0.21288896850299865</c:v>
                </c:pt>
                <c:pt idx="14">
                  <c:v>0.21500307414885944</c:v>
                </c:pt>
                <c:pt idx="15">
                  <c:v>0.21249558598159896</c:v>
                </c:pt>
                <c:pt idx="16">
                  <c:v>0.2095760283033411</c:v>
                </c:pt>
                <c:pt idx="17">
                  <c:v>0.21524362021515195</c:v>
                </c:pt>
                <c:pt idx="18">
                  <c:v>0.2137210447168732</c:v>
                </c:pt>
                <c:pt idx="19">
                  <c:v>0.20203585075637837</c:v>
                </c:pt>
                <c:pt idx="20">
                  <c:v>0.20248908079682573</c:v>
                </c:pt>
                <c:pt idx="21">
                  <c:v>0.21141299670016084</c:v>
                </c:pt>
                <c:pt idx="22">
                  <c:v>0.20831193947364277</c:v>
                </c:pt>
                <c:pt idx="23">
                  <c:v>0.20635534885700177</c:v>
                </c:pt>
                <c:pt idx="24">
                  <c:v>0.20551975005911632</c:v>
                </c:pt>
                <c:pt idx="25">
                  <c:v>0.20923536621240896</c:v>
                </c:pt>
                <c:pt idx="26">
                  <c:v>0.20959999461781295</c:v>
                </c:pt>
                <c:pt idx="27">
                  <c:v>0.2094411142459533</c:v>
                </c:pt>
                <c:pt idx="28">
                  <c:v>0.2066759950248334</c:v>
                </c:pt>
                <c:pt idx="29">
                  <c:v>0.20595697828382442</c:v>
                </c:pt>
                <c:pt idx="30">
                  <c:v>0.20699387409824818</c:v>
                </c:pt>
                <c:pt idx="31">
                  <c:v>0.20824240712413625</c:v>
                </c:pt>
                <c:pt idx="32">
                  <c:v>0.20627647756383855</c:v>
                </c:pt>
                <c:pt idx="33">
                  <c:v>0.20655965872963208</c:v>
                </c:pt>
                <c:pt idx="34">
                  <c:v>0.20516198477604874</c:v>
                </c:pt>
                <c:pt idx="35">
                  <c:v>0.20185722752994617</c:v>
                </c:pt>
                <c:pt idx="36">
                  <c:v>0.1983495803675587</c:v>
                </c:pt>
                <c:pt idx="37">
                  <c:v>0.20028805743851075</c:v>
                </c:pt>
                <c:pt idx="38">
                  <c:v>0.1978035798458742</c:v>
                </c:pt>
                <c:pt idx="39">
                  <c:v>0.20317126059341095</c:v>
                </c:pt>
                <c:pt idx="40">
                  <c:v>0.2007859068764291</c:v>
                </c:pt>
                <c:pt idx="41">
                  <c:v>0.19728606947394173</c:v>
                </c:pt>
                <c:pt idx="42">
                  <c:v>0.19872594161738133</c:v>
                </c:pt>
                <c:pt idx="43">
                  <c:v>0.197116503020354</c:v>
                </c:pt>
                <c:pt idx="44">
                  <c:v>0.2047821464536366</c:v>
                </c:pt>
                <c:pt idx="45">
                  <c:v>0.20940856447741876</c:v>
                </c:pt>
                <c:pt idx="46">
                  <c:v>0.21064057685736437</c:v>
                </c:pt>
                <c:pt idx="47">
                  <c:v>0.21333627295638896</c:v>
                </c:pt>
                <c:pt idx="48">
                  <c:v>0.2135289501097276</c:v>
                </c:pt>
                <c:pt idx="49">
                  <c:v>0.21153757056262268</c:v>
                </c:pt>
                <c:pt idx="50">
                  <c:v>0.21543234697711922</c:v>
                </c:pt>
                <c:pt idx="51">
                  <c:v>0.2189378551027042</c:v>
                </c:pt>
                <c:pt idx="52">
                  <c:v>0.21428406995748003</c:v>
                </c:pt>
                <c:pt idx="53">
                  <c:v>0.2505318564708487</c:v>
                </c:pt>
                <c:pt idx="54">
                  <c:v>0.2058322281516436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1.0"/>
          <c:min val="61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42248722316864"/>
          <c:min val="0.1233579583613163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5192592705404563</c:v>
                </c:pt>
                <c:pt idx="1">
                  <c:v>0.4088443209344178</c:v>
                </c:pt>
                <c:pt idx="2">
                  <c:v>0.42932553837257814</c:v>
                </c:pt>
                <c:pt idx="3">
                  <c:v>0.42467925038963367</c:v>
                </c:pt>
                <c:pt idx="4">
                  <c:v>0.46164429111437055</c:v>
                </c:pt>
                <c:pt idx="5">
                  <c:v>0.452406435675069</c:v>
                </c:pt>
                <c:pt idx="6">
                  <c:v>0.43429247476018973</c:v>
                </c:pt>
                <c:pt idx="7">
                  <c:v>0.4039086178495583</c:v>
                </c:pt>
                <c:pt idx="8">
                  <c:v>0.4006864051728855</c:v>
                </c:pt>
                <c:pt idx="9">
                  <c:v>0.43448214489887543</c:v>
                </c:pt>
                <c:pt idx="10">
                  <c:v>0.4543367713326158</c:v>
                </c:pt>
                <c:pt idx="11">
                  <c:v>0.4508727687039438</c:v>
                </c:pt>
                <c:pt idx="12">
                  <c:v>0.4285882578438243</c:v>
                </c:pt>
                <c:pt idx="13">
                  <c:v>0.39428751598907463</c:v>
                </c:pt>
                <c:pt idx="14">
                  <c:v>0.3267456816203839</c:v>
                </c:pt>
                <c:pt idx="15">
                  <c:v>0.3370968109808267</c:v>
                </c:pt>
                <c:pt idx="16">
                  <c:v>0.3692676982380635</c:v>
                </c:pt>
                <c:pt idx="17">
                  <c:v>0.3898426206570492</c:v>
                </c:pt>
                <c:pt idx="18">
                  <c:v>0.37571125689039686</c:v>
                </c:pt>
                <c:pt idx="19">
                  <c:v>0.4079021340623022</c:v>
                </c:pt>
                <c:pt idx="20">
                  <c:v>0.45912886867718583</c:v>
                </c:pt>
                <c:pt idx="21">
                  <c:v>0.43996746194002073</c:v>
                </c:pt>
                <c:pt idx="22">
                  <c:v>0.38071794068664006</c:v>
                </c:pt>
                <c:pt idx="23">
                  <c:v>0.36155282269851563</c:v>
                </c:pt>
                <c:pt idx="24">
                  <c:v>0.36100750833458295</c:v>
                </c:pt>
                <c:pt idx="25">
                  <c:v>0.3449491481132289</c:v>
                </c:pt>
                <c:pt idx="26">
                  <c:v>0.3294078631564212</c:v>
                </c:pt>
                <c:pt idx="27">
                  <c:v>0.3245570936672252</c:v>
                </c:pt>
                <c:pt idx="28">
                  <c:v>0.33845232770084194</c:v>
                </c:pt>
                <c:pt idx="29">
                  <c:v>0.3195591079790074</c:v>
                </c:pt>
                <c:pt idx="30">
                  <c:v>0.30556067925409197</c:v>
                </c:pt>
                <c:pt idx="31">
                  <c:v>0.3162733393836614</c:v>
                </c:pt>
                <c:pt idx="32">
                  <c:v>0.3173836983031245</c:v>
                </c:pt>
                <c:pt idx="33">
                  <c:v>0.31979257570519587</c:v>
                </c:pt>
                <c:pt idx="34">
                  <c:v>0.33436659093225246</c:v>
                </c:pt>
                <c:pt idx="35">
                  <c:v>0.36536655777254784</c:v>
                </c:pt>
                <c:pt idx="36">
                  <c:v>0.3507714329683107</c:v>
                </c:pt>
                <c:pt idx="37">
                  <c:v>0.4016604601071382</c:v>
                </c:pt>
                <c:pt idx="38">
                  <c:v>0.3928212713584698</c:v>
                </c:pt>
                <c:pt idx="39">
                  <c:v>0.394296979863145</c:v>
                </c:pt>
                <c:pt idx="40">
                  <c:v>0.39554886583926196</c:v>
                </c:pt>
                <c:pt idx="41">
                  <c:v>0.42783745768246756</c:v>
                </c:pt>
                <c:pt idx="42">
                  <c:v>0.4307298058287825</c:v>
                </c:pt>
                <c:pt idx="43">
                  <c:v>0.45838725404925995</c:v>
                </c:pt>
                <c:pt idx="44">
                  <c:v>0.44427579669395156</c:v>
                </c:pt>
                <c:pt idx="45">
                  <c:v>0.4664533095181981</c:v>
                </c:pt>
                <c:pt idx="46">
                  <c:v>0.48322484837745844</c:v>
                </c:pt>
                <c:pt idx="47">
                  <c:v>0.49738595807857094</c:v>
                </c:pt>
                <c:pt idx="48">
                  <c:v>0.4899337478200242</c:v>
                </c:pt>
                <c:pt idx="49">
                  <c:v>0.4153734114442367</c:v>
                </c:pt>
                <c:pt idx="50">
                  <c:v>0.3132516742197897</c:v>
                </c:pt>
                <c:pt idx="51">
                  <c:v>0.292456911655795</c:v>
                </c:pt>
                <c:pt idx="52">
                  <c:v>0.27654095681932456</c:v>
                </c:pt>
                <c:pt idx="53">
                  <c:v>0.26039735278007625</c:v>
                </c:pt>
                <c:pt idx="54">
                  <c:v>0.2355281826317116</c:v>
                </c:pt>
                <c:pt idx="55">
                  <c:v>0.2763951392562714</c:v>
                </c:pt>
                <c:pt idx="56">
                  <c:v>0.36325458148533546</c:v>
                </c:pt>
                <c:pt idx="57">
                  <c:v>0.49478194251066915</c:v>
                </c:pt>
                <c:pt idx="58">
                  <c:v>0.4476241413946136</c:v>
                </c:pt>
                <c:pt idx="59">
                  <c:v>0.3927081847221304</c:v>
                </c:pt>
                <c:pt idx="60">
                  <c:v>0.3510802753935526</c:v>
                </c:pt>
                <c:pt idx="61">
                  <c:v>0.3352297674561704</c:v>
                </c:pt>
                <c:pt idx="62">
                  <c:v>0.4087400446263626</c:v>
                </c:pt>
                <c:pt idx="63">
                  <c:v>0.4023733378341875</c:v>
                </c:pt>
                <c:pt idx="64">
                  <c:v>0.40643401935117013</c:v>
                </c:pt>
                <c:pt idx="65">
                  <c:v>0.37852075743227603</c:v>
                </c:pt>
                <c:pt idx="66">
                  <c:v>0.38774973278584923</c:v>
                </c:pt>
                <c:pt idx="67">
                  <c:v>0.432653277665174</c:v>
                </c:pt>
                <c:pt idx="68">
                  <c:v>0.4026859712060015</c:v>
                </c:pt>
                <c:pt idx="69">
                  <c:v>0.40885491704333643</c:v>
                </c:pt>
                <c:pt idx="70">
                  <c:v>0.3971184829207931</c:v>
                </c:pt>
                <c:pt idx="71">
                  <c:v>0.39853741538891824</c:v>
                </c:pt>
                <c:pt idx="72">
                  <c:v>0.435651365378528</c:v>
                </c:pt>
                <c:pt idx="73">
                  <c:v>0.40760385059185855</c:v>
                </c:pt>
                <c:pt idx="74">
                  <c:v>0.3971395439043543</c:v>
                </c:pt>
                <c:pt idx="75">
                  <c:v>0.36699968152961027</c:v>
                </c:pt>
                <c:pt idx="76">
                  <c:v>0.37088293208109596</c:v>
                </c:pt>
                <c:pt idx="77">
                  <c:v>0.379164629265245</c:v>
                </c:pt>
                <c:pt idx="78">
                  <c:v>0.4141303603736078</c:v>
                </c:pt>
                <c:pt idx="79">
                  <c:v>0.39769235909051137</c:v>
                </c:pt>
                <c:pt idx="80">
                  <c:v>0.3962124661315841</c:v>
                </c:pt>
                <c:pt idx="81">
                  <c:v>0.41331412523620864</c:v>
                </c:pt>
                <c:pt idx="82">
                  <c:v>0.4400725075632439</c:v>
                </c:pt>
                <c:pt idx="83">
                  <c:v>0.3779789763354863</c:v>
                </c:pt>
                <c:pt idx="84">
                  <c:v>0.36070441285529853</c:v>
                </c:pt>
                <c:pt idx="85">
                  <c:v>0.3351825240433251</c:v>
                </c:pt>
                <c:pt idx="86">
                  <c:v>0.3259531933504949</c:v>
                </c:pt>
                <c:pt idx="87">
                  <c:v>0.31763330664531625</c:v>
                </c:pt>
                <c:pt idx="88">
                  <c:v>0.30085796487387506</c:v>
                </c:pt>
                <c:pt idx="89">
                  <c:v>0.3007178152572722</c:v>
                </c:pt>
                <c:pt idx="90">
                  <c:v>0.3051954741249894</c:v>
                </c:pt>
                <c:pt idx="91">
                  <c:v>0.3194260930718204</c:v>
                </c:pt>
                <c:pt idx="92">
                  <c:v>0.31355434004670735</c:v>
                </c:pt>
                <c:pt idx="93">
                  <c:v>0.33030374700659854</c:v>
                </c:pt>
                <c:pt idx="94">
                  <c:v>0.3163956013976475</c:v>
                </c:pt>
                <c:pt idx="95">
                  <c:v>0.4034683593109573</c:v>
                </c:pt>
                <c:pt idx="96">
                  <c:v>0.38425998741489853</c:v>
                </c:pt>
                <c:pt idx="97">
                  <c:v>0.3667160108434601</c:v>
                </c:pt>
                <c:pt idx="98">
                  <c:v>0.4012274831711564</c:v>
                </c:pt>
                <c:pt idx="99">
                  <c:v>0.44519220283067684</c:v>
                </c:pt>
                <c:pt idx="100">
                  <c:v>0.4260513009270765</c:v>
                </c:pt>
                <c:pt idx="101">
                  <c:v>0.39238559832543607</c:v>
                </c:pt>
                <c:pt idx="102">
                  <c:v>0.3838035039608466</c:v>
                </c:pt>
                <c:pt idx="103">
                  <c:v>0.36353195348897654</c:v>
                </c:pt>
                <c:pt idx="104">
                  <c:v>0.35348635700114356</c:v>
                </c:pt>
              </c:numCache>
            </c:numRef>
          </c:xVal>
          <c:yVal>
            <c:numRef>
              <c:f>Sheet1!$B$2:$B$106</c:f>
              <c:numCache>
                <c:formatCode>General</c:formatCode>
                <c:ptCount val="105"/>
                <c:pt idx="0">
                  <c:v>0.2389593520782396</c:v>
                </c:pt>
                <c:pt idx="1">
                  <c:v>0.23479694908266338</c:v>
                </c:pt>
                <c:pt idx="2">
                  <c:v>0.23689880723355136</c:v>
                </c:pt>
                <c:pt idx="3">
                  <c:v>0.23595784252944824</c:v>
                </c:pt>
                <c:pt idx="4">
                  <c:v>0.23779589431293585</c:v>
                </c:pt>
                <c:pt idx="5">
                  <c:v>0.24517480424916463</c:v>
                </c:pt>
                <c:pt idx="6">
                  <c:v>0.2730293253719844</c:v>
                </c:pt>
                <c:pt idx="7">
                  <c:v>0.2803520726859739</c:v>
                </c:pt>
                <c:pt idx="8">
                  <c:v>0.27182166069367675</c:v>
                </c:pt>
                <c:pt idx="9">
                  <c:v>0.2534750613246116</c:v>
                </c:pt>
                <c:pt idx="10">
                  <c:v>0.24879308884560006</c:v>
                </c:pt>
                <c:pt idx="11">
                  <c:v>0.22092457420924574</c:v>
                </c:pt>
                <c:pt idx="12">
                  <c:v>0.20868990036793583</c:v>
                </c:pt>
                <c:pt idx="13">
                  <c:v>0.19740652146544127</c:v>
                </c:pt>
                <c:pt idx="14">
                  <c:v>0.1827898852104475</c:v>
                </c:pt>
                <c:pt idx="15">
                  <c:v>0.1754871896330003</c:v>
                </c:pt>
                <c:pt idx="16">
                  <c:v>0.16985849860771723</c:v>
                </c:pt>
                <c:pt idx="17">
                  <c:v>0.16062531141006478</c:v>
                </c:pt>
                <c:pt idx="18">
                  <c:v>0.1563905612068369</c:v>
                </c:pt>
                <c:pt idx="19">
                  <c:v>0.15889917274142026</c:v>
                </c:pt>
                <c:pt idx="20">
                  <c:v>0.1541974479516454</c:v>
                </c:pt>
                <c:pt idx="21">
                  <c:v>0.16999311768754302</c:v>
                </c:pt>
                <c:pt idx="22">
                  <c:v>0.1977642610554003</c:v>
                </c:pt>
                <c:pt idx="23">
                  <c:v>0.20794412920122218</c:v>
                </c:pt>
                <c:pt idx="24">
                  <c:v>0.20918974684548847</c:v>
                </c:pt>
                <c:pt idx="25">
                  <c:v>0.2173082173082173</c:v>
                </c:pt>
                <c:pt idx="26">
                  <c:v>0.23575</c:v>
                </c:pt>
                <c:pt idx="27">
                  <c:v>0.2292655903767015</c:v>
                </c:pt>
                <c:pt idx="28">
                  <c:v>0.23493781295428848</c:v>
                </c:pt>
                <c:pt idx="29">
                  <c:v>0.22743031479683817</c:v>
                </c:pt>
                <c:pt idx="30">
                  <c:v>0.23199709776890984</c:v>
                </c:pt>
                <c:pt idx="31">
                  <c:v>0.24313387860525182</c:v>
                </c:pt>
                <c:pt idx="32">
                  <c:v>0.2487016250628246</c:v>
                </c:pt>
                <c:pt idx="33">
                  <c:v>0.241206995963867</c:v>
                </c:pt>
                <c:pt idx="34">
                  <c:v>0.23499744999149996</c:v>
                </c:pt>
                <c:pt idx="35">
                  <c:v>0.2397726065242801</c:v>
                </c:pt>
                <c:pt idx="36">
                  <c:v>0.21667641515565086</c:v>
                </c:pt>
                <c:pt idx="37">
                  <c:v>0.21587417702999268</c:v>
                </c:pt>
                <c:pt idx="38">
                  <c:v>0.20234780645646774</c:v>
                </c:pt>
                <c:pt idx="39">
                  <c:v>0.19492449011365406</c:v>
                </c:pt>
                <c:pt idx="40">
                  <c:v>0.19796473042159154</c:v>
                </c:pt>
                <c:pt idx="41">
                  <c:v>0.19218924972004478</c:v>
                </c:pt>
                <c:pt idx="42">
                  <c:v>0.18860652776105022</c:v>
                </c:pt>
                <c:pt idx="43">
                  <c:v>0.18170534268753372</c:v>
                </c:pt>
                <c:pt idx="44">
                  <c:v>0.18682186512841642</c:v>
                </c:pt>
                <c:pt idx="45">
                  <c:v>0.20375351698976596</c:v>
                </c:pt>
                <c:pt idx="46">
                  <c:v>0.20569952854268642</c:v>
                </c:pt>
                <c:pt idx="47">
                  <c:v>0.20028822862048876</c:v>
                </c:pt>
                <c:pt idx="48">
                  <c:v>0.19804154435655544</c:v>
                </c:pt>
                <c:pt idx="49">
                  <c:v>0.20889913471862565</c:v>
                </c:pt>
                <c:pt idx="50">
                  <c:v>0.20385839926866942</c:v>
                </c:pt>
                <c:pt idx="51">
                  <c:v>0.19360383769738157</c:v>
                </c:pt>
                <c:pt idx="52">
                  <c:v>0.19804000267576427</c:v>
                </c:pt>
                <c:pt idx="53">
                  <c:v>0.1912751677852349</c:v>
                </c:pt>
                <c:pt idx="54">
                  <c:v>0.19710236504784256</c:v>
                </c:pt>
                <c:pt idx="55">
                  <c:v>0.19466494369577256</c:v>
                </c:pt>
                <c:pt idx="56">
                  <c:v>0.19578327785014715</c:v>
                </c:pt>
                <c:pt idx="57">
                  <c:v>0.19458476459890886</c:v>
                </c:pt>
                <c:pt idx="58">
                  <c:v>0.20910996332060783</c:v>
                </c:pt>
                <c:pt idx="59">
                  <c:v>0.2117414565961344</c:v>
                </c:pt>
                <c:pt idx="60">
                  <c:v>0.21837361681302847</c:v>
                </c:pt>
                <c:pt idx="61">
                  <c:v>0.21279012532656846</c:v>
                </c:pt>
                <c:pt idx="62">
                  <c:v>0.22075055187637968</c:v>
                </c:pt>
                <c:pt idx="63">
                  <c:v>0.22964336567436008</c:v>
                </c:pt>
                <c:pt idx="64">
                  <c:v>0.21302431858984822</c:v>
                </c:pt>
                <c:pt idx="65">
                  <c:v>0.20235818992989166</c:v>
                </c:pt>
                <c:pt idx="66">
                  <c:v>0.20488280544620607</c:v>
                </c:pt>
                <c:pt idx="67">
                  <c:v>0.19276786055578915</c:v>
                </c:pt>
                <c:pt idx="68">
                  <c:v>0.18068291783788765</c:v>
                </c:pt>
                <c:pt idx="69">
                  <c:v>0.1754751832211166</c:v>
                </c:pt>
                <c:pt idx="70">
                  <c:v>0.17706260305907773</c:v>
                </c:pt>
                <c:pt idx="71">
                  <c:v>0.1802403204272363</c:v>
                </c:pt>
                <c:pt idx="72">
                  <c:v>0.17245917329664415</c:v>
                </c:pt>
                <c:pt idx="73">
                  <c:v>0.17803153182378512</c:v>
                </c:pt>
                <c:pt idx="74">
                  <c:v>0.1799819657348963</c:v>
                </c:pt>
                <c:pt idx="75">
                  <c:v>0.19434877345891616</c:v>
                </c:pt>
                <c:pt idx="76">
                  <c:v>0.1975468535730611</c:v>
                </c:pt>
                <c:pt idx="77">
                  <c:v>0.18945790262763354</c:v>
                </c:pt>
                <c:pt idx="78">
                  <c:v>0.18950131233595802</c:v>
                </c:pt>
                <c:pt idx="79">
                  <c:v>0.16537878240774176</c:v>
                </c:pt>
                <c:pt idx="80">
                  <c:v>0.1596820809248555</c:v>
                </c:pt>
                <c:pt idx="81">
                  <c:v>0.17309978104472942</c:v>
                </c:pt>
                <c:pt idx="82">
                  <c:v>0.17310046519219782</c:v>
                </c:pt>
                <c:pt idx="83">
                  <c:v>0.17823709333580498</c:v>
                </c:pt>
                <c:pt idx="84">
                  <c:v>0.1805594800791184</c:v>
                </c:pt>
                <c:pt idx="85">
                  <c:v>0.18766821629557132</c:v>
                </c:pt>
                <c:pt idx="86">
                  <c:v>0.19693586403672</c:v>
                </c:pt>
                <c:pt idx="87">
                  <c:v>0.20539703341871687</c:v>
                </c:pt>
                <c:pt idx="88">
                  <c:v>0.19569202566452795</c:v>
                </c:pt>
                <c:pt idx="89">
                  <c:v>0.2036229453203623</c:v>
                </c:pt>
                <c:pt idx="90">
                  <c:v>0.18808049535603716</c:v>
                </c:pt>
                <c:pt idx="91">
                  <c:v>0.17474179192207573</c:v>
                </c:pt>
                <c:pt idx="92">
                  <c:v>0.18472906403940886</c:v>
                </c:pt>
                <c:pt idx="93">
                  <c:v>0.182525668694003</c:v>
                </c:pt>
                <c:pt idx="94">
                  <c:v>0.1874908451735755</c:v>
                </c:pt>
                <c:pt idx="95">
                  <c:v>0.1882099596231494</c:v>
                </c:pt>
                <c:pt idx="96">
                  <c:v>0.18701722574796012</c:v>
                </c:pt>
                <c:pt idx="97">
                  <c:v>0.1931076411109689</c:v>
                </c:pt>
                <c:pt idx="98">
                  <c:v>0.1941404090657822</c:v>
                </c:pt>
                <c:pt idx="99">
                  <c:v>0.19707116917417347</c:v>
                </c:pt>
                <c:pt idx="100">
                  <c:v>0.19811237384895455</c:v>
                </c:pt>
                <c:pt idx="101">
                  <c:v>0.20455465902364559</c:v>
                </c:pt>
                <c:pt idx="102">
                  <c:v>0.19864805931094637</c:v>
                </c:pt>
                <c:pt idx="103">
                  <c:v>0.19270317617488003</c:v>
                </c:pt>
                <c:pt idx="104">
                  <c:v>0.18921014228383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6114299339494205</c:v>
                </c:pt>
                <c:pt idx="1">
                  <c:v>0.3873000708936298</c:v>
                </c:pt>
                <c:pt idx="2">
                  <c:v>0.3820593907981648</c:v>
                </c:pt>
                <c:pt idx="3">
                  <c:v>0.3928314115737897</c:v>
                </c:pt>
                <c:pt idx="4">
                  <c:v>0.3788529324099264</c:v>
                </c:pt>
                <c:pt idx="5">
                  <c:v>0.3442164742437809</c:v>
                </c:pt>
                <c:pt idx="6">
                  <c:v>0.3817650313818329</c:v>
                </c:pt>
                <c:pt idx="7">
                  <c:v>0.40433139733681583</c:v>
                </c:pt>
                <c:pt idx="8">
                  <c:v>0.38399553905888506</c:v>
                </c:pt>
                <c:pt idx="9">
                  <c:v>0.37375473903989287</c:v>
                </c:pt>
                <c:pt idx="10">
                  <c:v>0.40585846357835065</c:v>
                </c:pt>
                <c:pt idx="11">
                  <c:v>0.3933093634572939</c:v>
                </c:pt>
                <c:pt idx="12">
                  <c:v>0.4306034031581687</c:v>
                </c:pt>
                <c:pt idx="13">
                  <c:v>0.4662574119443138</c:v>
                </c:pt>
                <c:pt idx="14">
                  <c:v>0.46271673343939584</c:v>
                </c:pt>
                <c:pt idx="15">
                  <c:v>0.4182206329782375</c:v>
                </c:pt>
                <c:pt idx="16">
                  <c:v>0.40841212286372497</c:v>
                </c:pt>
                <c:pt idx="17">
                  <c:v>0.3615366690253962</c:v>
                </c:pt>
                <c:pt idx="18">
                  <c:v>0.34364634052617943</c:v>
                </c:pt>
                <c:pt idx="19">
                  <c:v>0.37413959239384303</c:v>
                </c:pt>
                <c:pt idx="20">
                  <c:v>0.3671007269721992</c:v>
                </c:pt>
                <c:pt idx="21">
                  <c:v>0.32902284372529056</c:v>
                </c:pt>
                <c:pt idx="22">
                  <c:v>0.3425784819744796</c:v>
                </c:pt>
                <c:pt idx="23">
                  <c:v>0.34749217455814974</c:v>
                </c:pt>
                <c:pt idx="24">
                  <c:v>0.35559554168868956</c:v>
                </c:pt>
                <c:pt idx="25">
                  <c:v>0.341564029228451</c:v>
                </c:pt>
                <c:pt idx="26">
                  <c:v>0.33176409259849765</c:v>
                </c:pt>
                <c:pt idx="27">
                  <c:v>0.3417764603402426</c:v>
                </c:pt>
                <c:pt idx="28">
                  <c:v>0.39966761068423373</c:v>
                </c:pt>
                <c:pt idx="29">
                  <c:v>0.40116972743478824</c:v>
                </c:pt>
                <c:pt idx="30">
                  <c:v>0.3901704396163581</c:v>
                </c:pt>
                <c:pt idx="31">
                  <c:v>0.31304263631319756</c:v>
                </c:pt>
                <c:pt idx="32">
                  <c:v>0.30662849978244777</c:v>
                </c:pt>
                <c:pt idx="33">
                  <c:v>0.2912450017583497</c:v>
                </c:pt>
                <c:pt idx="34">
                  <c:v>0.31013649993375575</c:v>
                </c:pt>
                <c:pt idx="35">
                  <c:v>0.3196693457335247</c:v>
                </c:pt>
                <c:pt idx="36">
                  <c:v>0.32660839234963845</c:v>
                </c:pt>
                <c:pt idx="37">
                  <c:v>0.3172495152253649</c:v>
                </c:pt>
                <c:pt idx="38">
                  <c:v>0.33482972376999454</c:v>
                </c:pt>
                <c:pt idx="39">
                  <c:v>0.33918580610442856</c:v>
                </c:pt>
                <c:pt idx="40">
                  <c:v>0.33964335168667326</c:v>
                </c:pt>
                <c:pt idx="41">
                  <c:v>0.3507557982373271</c:v>
                </c:pt>
                <c:pt idx="42">
                  <c:v>0.3340316147963876</c:v>
                </c:pt>
                <c:pt idx="43">
                  <c:v>0.37446303865234626</c:v>
                </c:pt>
                <c:pt idx="44">
                  <c:v>0.4010726134553277</c:v>
                </c:pt>
                <c:pt idx="45">
                  <c:v>0.4131012846615327</c:v>
                </c:pt>
                <c:pt idx="46">
                  <c:v>0.37875671618252105</c:v>
                </c:pt>
                <c:pt idx="47">
                  <c:v>0.40714754624073757</c:v>
                </c:pt>
                <c:pt idx="48">
                  <c:v>0.4178464838058534</c:v>
                </c:pt>
                <c:pt idx="49">
                  <c:v>0.4503347672850234</c:v>
                </c:pt>
                <c:pt idx="50">
                  <c:v>0.45783645901821635</c:v>
                </c:pt>
                <c:pt idx="51">
                  <c:v>0.3857956005974093</c:v>
                </c:pt>
              </c:numCache>
            </c:numRef>
          </c:xVal>
          <c:yVal>
            <c:numRef>
              <c:f>Sheet1!$B$109:$B$160</c:f>
              <c:numCache>
                <c:formatCode>General</c:formatCode>
                <c:ptCount val="52"/>
                <c:pt idx="0">
                  <c:v>0.18943460188062472</c:v>
                </c:pt>
                <c:pt idx="1">
                  <c:v>0.19163673678809645</c:v>
                </c:pt>
                <c:pt idx="2">
                  <c:v>0.2083756631674004</c:v>
                </c:pt>
                <c:pt idx="3">
                  <c:v>0.22480319540853919</c:v>
                </c:pt>
                <c:pt idx="4">
                  <c:v>0.2069812591624074</c:v>
                </c:pt>
                <c:pt idx="5">
                  <c:v>0.21231043710972347</c:v>
                </c:pt>
                <c:pt idx="6">
                  <c:v>0.22477950736146737</c:v>
                </c:pt>
                <c:pt idx="7">
                  <c:v>0.2227314390467461</c:v>
                </c:pt>
                <c:pt idx="8">
                  <c:v>0.2055039895782446</c:v>
                </c:pt>
                <c:pt idx="9">
                  <c:v>0.21405400009981534</c:v>
                </c:pt>
                <c:pt idx="10">
                  <c:v>0.21438666601686243</c:v>
                </c:pt>
                <c:pt idx="11">
                  <c:v>0.2180893121111073</c:v>
                </c:pt>
                <c:pt idx="12">
                  <c:v>0.2160894219393791</c:v>
                </c:pt>
                <c:pt idx="13">
                  <c:v>0.21450535933930767</c:v>
                </c:pt>
                <c:pt idx="14">
                  <c:v>0.21879497265662476</c:v>
                </c:pt>
                <c:pt idx="15">
                  <c:v>0.212037949090155</c:v>
                </c:pt>
                <c:pt idx="16">
                  <c:v>0.2085702060028119</c:v>
                </c:pt>
                <c:pt idx="17">
                  <c:v>0.22129086336965634</c:v>
                </c:pt>
                <c:pt idx="18">
                  <c:v>0.21707811210324904</c:v>
                </c:pt>
                <c:pt idx="19">
                  <c:v>0.20475629509645119</c:v>
                </c:pt>
                <c:pt idx="20">
                  <c:v>0.1984010442160222</c:v>
                </c:pt>
                <c:pt idx="21">
                  <c:v>0.21474949122977033</c:v>
                </c:pt>
                <c:pt idx="22">
                  <c:v>0.20707981398880138</c:v>
                </c:pt>
                <c:pt idx="23">
                  <c:v>0.20803028793464182</c:v>
                </c:pt>
                <c:pt idx="24">
                  <c:v>0.20723684210526316</c:v>
                </c:pt>
                <c:pt idx="25">
                  <c:v>0.21182266009852216</c:v>
                </c:pt>
                <c:pt idx="26">
                  <c:v>0.20519641748692027</c:v>
                </c:pt>
                <c:pt idx="27">
                  <c:v>0.20855057351407716</c:v>
                </c:pt>
                <c:pt idx="28">
                  <c:v>0.1977886977886978</c:v>
                </c:pt>
                <c:pt idx="29">
                  <c:v>0.2037409317367363</c:v>
                </c:pt>
                <c:pt idx="30">
                  <c:v>0.2049438202247191</c:v>
                </c:pt>
                <c:pt idx="31">
                  <c:v>0.19889027073567397</c:v>
                </c:pt>
                <c:pt idx="32">
                  <c:v>0.19384283461953364</c:v>
                </c:pt>
                <c:pt idx="33">
                  <c:v>0.2046677471636953</c:v>
                </c:pt>
                <c:pt idx="34">
                  <c:v>0.21873328340644058</c:v>
                </c:pt>
                <c:pt idx="35">
                  <c:v>0.20943775100401607</c:v>
                </c:pt>
                <c:pt idx="36">
                  <c:v>0.20617036959039697</c:v>
                </c:pt>
                <c:pt idx="37">
                  <c:v>0.2103603173086113</c:v>
                </c:pt>
                <c:pt idx="38">
                  <c:v>0.20922324938901285</c:v>
                </c:pt>
                <c:pt idx="39">
                  <c:v>0.2053940291527009</c:v>
                </c:pt>
                <c:pt idx="40">
                  <c:v>0.19499924913650699</c:v>
                </c:pt>
                <c:pt idx="41">
                  <c:v>0.19658362989323844</c:v>
                </c:pt>
                <c:pt idx="42">
                  <c:v>0.20137707573916566</c:v>
                </c:pt>
                <c:pt idx="43">
                  <c:v>0.18635077793493635</c:v>
                </c:pt>
                <c:pt idx="44">
                  <c:v>0.1860071559810463</c:v>
                </c:pt>
                <c:pt idx="45">
                  <c:v>0.20335794405792987</c:v>
                </c:pt>
                <c:pt idx="46">
                  <c:v>0.221686847949051</c:v>
                </c:pt>
                <c:pt idx="47">
                  <c:v>0.22292597629687197</c:v>
                </c:pt>
                <c:pt idx="48">
                  <c:v>0.21374488513709444</c:v>
                </c:pt>
                <c:pt idx="49">
                  <c:v>0.21709691070672874</c:v>
                </c:pt>
                <c:pt idx="50">
                  <c:v>0.21337942252948353</c:v>
                </c:pt>
                <c:pt idx="51">
                  <c:v>0.2129150614566134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0512954825344476</c:v>
                </c:pt>
              </c:numCache>
            </c:numRef>
          </c:xVal>
          <c:yVal>
            <c:numRef>
              <c:f>Sheet1!$B$163:$B$164</c:f>
              <c:numCache>
                <c:formatCode>General</c:formatCode>
                <c:ptCount val="2"/>
                <c:pt idx="0">
                  <c:v>0.2505318564708487</c:v>
                </c:pt>
                <c:pt idx="1">
                  <c:v>0.250531856470848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0512954825344476</c:v>
                </c:pt>
                <c:pt idx="1">
                  <c:v>1.0512954825344476</c:v>
                </c:pt>
              </c:numCache>
            </c:numRef>
          </c:xVal>
          <c:yVal>
            <c:numRef>
              <c:f>Sheet1!$B$167:$B$168</c:f>
              <c:numCache>
                <c:formatCode>General</c:formatCode>
                <c:ptCount val="2"/>
                <c:pt idx="0">
                  <c:v>0.250531856470848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6624284604327093</c:v>
                </c:pt>
              </c:numCache>
            </c:numRef>
          </c:xVal>
          <c:yVal>
            <c:numRef>
              <c:f>Sheet1!$B$171:$B$172</c:f>
              <c:numCache>
                <c:formatCode>General</c:formatCode>
                <c:ptCount val="2"/>
                <c:pt idx="0">
                  <c:v>0.21428406995748003</c:v>
                </c:pt>
                <c:pt idx="1">
                  <c:v>0.2142840699574800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6624284604327093</c:v>
                </c:pt>
                <c:pt idx="1">
                  <c:v>0.46624284604327093</c:v>
                </c:pt>
              </c:numCache>
            </c:numRef>
          </c:xVal>
          <c:yVal>
            <c:numRef>
              <c:f>Sheet1!$B$175:$B$176</c:f>
              <c:numCache>
                <c:formatCode>General</c:formatCode>
                <c:ptCount val="2"/>
                <c:pt idx="0">
                  <c:v>0.2142840699574800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298270036610827</c:v>
                </c:pt>
              </c:numCache>
            </c:numRef>
          </c:xVal>
          <c:yVal>
            <c:numRef>
              <c:f>Sheet1!$B$179:$B$180</c:f>
              <c:numCache>
                <c:formatCode>General</c:formatCode>
                <c:ptCount val="2"/>
                <c:pt idx="0">
                  <c:v>0.20583222815164368</c:v>
                </c:pt>
                <c:pt idx="1">
                  <c:v>0.2058322281516436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298270036610827</c:v>
                </c:pt>
                <c:pt idx="1">
                  <c:v>0.3298270036610827</c:v>
                </c:pt>
              </c:numCache>
            </c:numRef>
          </c:xVal>
          <c:yVal>
            <c:numRef>
              <c:f>Sheet1!$B$183:$B$184</c:f>
              <c:numCache>
                <c:formatCode>General</c:formatCode>
                <c:ptCount val="2"/>
                <c:pt idx="0">
                  <c:v>0.2058322281516436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6114299339494205</c:v>
                </c:pt>
                <c:pt idx="1">
                  <c:v>0.3873000708936298</c:v>
                </c:pt>
                <c:pt idx="2">
                  <c:v>0.3820593907981648</c:v>
                </c:pt>
                <c:pt idx="3">
                  <c:v>0.3928314115737897</c:v>
                </c:pt>
                <c:pt idx="4">
                  <c:v>0.3788529324099264</c:v>
                </c:pt>
                <c:pt idx="5">
                  <c:v>0.3442164742437809</c:v>
                </c:pt>
                <c:pt idx="6">
                  <c:v>0.3817650313818329</c:v>
                </c:pt>
                <c:pt idx="7">
                  <c:v>0.40433139733681583</c:v>
                </c:pt>
                <c:pt idx="8">
                  <c:v>0.38399553905888506</c:v>
                </c:pt>
                <c:pt idx="9">
                  <c:v>0.37375473903989287</c:v>
                </c:pt>
                <c:pt idx="10">
                  <c:v>0.40585846357835065</c:v>
                </c:pt>
                <c:pt idx="11">
                  <c:v>0.3933093634572939</c:v>
                </c:pt>
                <c:pt idx="12">
                  <c:v>0.4306034031581687</c:v>
                </c:pt>
                <c:pt idx="13">
                  <c:v>0.4662574119443138</c:v>
                </c:pt>
                <c:pt idx="14">
                  <c:v>0.46271673343939584</c:v>
                </c:pt>
                <c:pt idx="15">
                  <c:v>0.4182206329782375</c:v>
                </c:pt>
                <c:pt idx="16">
                  <c:v>0.40841212286372497</c:v>
                </c:pt>
                <c:pt idx="17">
                  <c:v>0.3615366690253962</c:v>
                </c:pt>
                <c:pt idx="18">
                  <c:v>0.34364634052617943</c:v>
                </c:pt>
                <c:pt idx="19">
                  <c:v>0.37413959239384303</c:v>
                </c:pt>
                <c:pt idx="20">
                  <c:v>0.3671007269721992</c:v>
                </c:pt>
                <c:pt idx="21">
                  <c:v>0.32902284372529056</c:v>
                </c:pt>
                <c:pt idx="22">
                  <c:v>0.3425784819744796</c:v>
                </c:pt>
                <c:pt idx="23">
                  <c:v>0.34749217455814974</c:v>
                </c:pt>
                <c:pt idx="24">
                  <c:v>0.35559554168868956</c:v>
                </c:pt>
                <c:pt idx="25">
                  <c:v>0.341564029228451</c:v>
                </c:pt>
                <c:pt idx="26">
                  <c:v>0.33176409259849765</c:v>
                </c:pt>
                <c:pt idx="27">
                  <c:v>0.3417764603402426</c:v>
                </c:pt>
                <c:pt idx="28">
                  <c:v>0.39966761068423373</c:v>
                </c:pt>
                <c:pt idx="29">
                  <c:v>0.40116972743478824</c:v>
                </c:pt>
                <c:pt idx="30">
                  <c:v>0.3901704396163581</c:v>
                </c:pt>
                <c:pt idx="31">
                  <c:v>0.31304263631319756</c:v>
                </c:pt>
                <c:pt idx="32">
                  <c:v>0.30662849978244777</c:v>
                </c:pt>
                <c:pt idx="33">
                  <c:v>0.2912450017583497</c:v>
                </c:pt>
                <c:pt idx="34">
                  <c:v>0.31013649993375575</c:v>
                </c:pt>
                <c:pt idx="35">
                  <c:v>0.3196693457335247</c:v>
                </c:pt>
                <c:pt idx="36">
                  <c:v>0.32660839234963845</c:v>
                </c:pt>
                <c:pt idx="37">
                  <c:v>0.3172495152253649</c:v>
                </c:pt>
                <c:pt idx="38">
                  <c:v>0.33482972376999454</c:v>
                </c:pt>
                <c:pt idx="39">
                  <c:v>0.33918580610442856</c:v>
                </c:pt>
                <c:pt idx="40">
                  <c:v>0.33964335168667326</c:v>
                </c:pt>
                <c:pt idx="41">
                  <c:v>0.3507557982373271</c:v>
                </c:pt>
                <c:pt idx="42">
                  <c:v>0.3340316147963876</c:v>
                </c:pt>
                <c:pt idx="43">
                  <c:v>0.37446303865234626</c:v>
                </c:pt>
                <c:pt idx="44">
                  <c:v>0.4010726134553277</c:v>
                </c:pt>
                <c:pt idx="45">
                  <c:v>0.4131012846615327</c:v>
                </c:pt>
                <c:pt idx="46">
                  <c:v>0.37875671618252105</c:v>
                </c:pt>
                <c:pt idx="47">
                  <c:v>0.40714754624073757</c:v>
                </c:pt>
                <c:pt idx="48">
                  <c:v>0.4178464838058534</c:v>
                </c:pt>
                <c:pt idx="49">
                  <c:v>0.4503347672850234</c:v>
                </c:pt>
                <c:pt idx="50">
                  <c:v>0.45783645901821635</c:v>
                </c:pt>
                <c:pt idx="51">
                  <c:v>0.3857956005974093</c:v>
                </c:pt>
                <c:pt idx="52">
                  <c:v>0.46624284604327093</c:v>
                </c:pt>
                <c:pt idx="53">
                  <c:v>1.0512954825344476</c:v>
                </c:pt>
                <c:pt idx="54">
                  <c:v>0.3298270036610827</c:v>
                </c:pt>
              </c:numCache>
            </c:numRef>
          </c:xVal>
          <c:yVal>
            <c:numRef>
              <c:f>Sheet1!$B$187:$B$241</c:f>
              <c:numCache>
                <c:formatCode>General</c:formatCode>
                <c:ptCount val="55"/>
                <c:pt idx="0">
                  <c:v>0.2077724558158342</c:v>
                </c:pt>
                <c:pt idx="1">
                  <c:v>0.20939305557361407</c:v>
                </c:pt>
                <c:pt idx="2">
                  <c:v>0.20906836162056297</c:v>
                </c:pt>
                <c:pt idx="3">
                  <c:v>0.2097357578256877</c:v>
                </c:pt>
                <c:pt idx="4">
                  <c:v>0.20886970083028275</c:v>
                </c:pt>
                <c:pt idx="5">
                  <c:v>0.20672374871781057</c:v>
                </c:pt>
                <c:pt idx="6">
                  <c:v>0.2090501241550498</c:v>
                </c:pt>
                <c:pt idx="7">
                  <c:v>0.21044825615976065</c:v>
                </c:pt>
                <c:pt idx="8">
                  <c:v>0.20918831850039815</c:v>
                </c:pt>
                <c:pt idx="9">
                  <c:v>0.20855383484942133</c:v>
                </c:pt>
                <c:pt idx="10">
                  <c:v>0.21054286776846462</c:v>
                </c:pt>
                <c:pt idx="11">
                  <c:v>0.20976537002937048</c:v>
                </c:pt>
                <c:pt idx="12">
                  <c:v>0.2120759764688285</c:v>
                </c:pt>
                <c:pt idx="13">
                  <c:v>0.2142849724090518</c:v>
                </c:pt>
                <c:pt idx="14">
                  <c:v>0.21406560452562776</c:v>
                </c:pt>
                <c:pt idx="15">
                  <c:v>0.2113087839430103</c:v>
                </c:pt>
                <c:pt idx="16">
                  <c:v>0.21070108344143257</c:v>
                </c:pt>
                <c:pt idx="17">
                  <c:v>0.20779684656175718</c:v>
                </c:pt>
                <c:pt idx="18">
                  <c:v>0.20668842525460282</c:v>
                </c:pt>
                <c:pt idx="19">
                  <c:v>0.20857767899837962</c:v>
                </c:pt>
                <c:pt idx="20">
                  <c:v>0.20814157585964277</c:v>
                </c:pt>
                <c:pt idx="21">
                  <c:v>0.2057824052539126</c:v>
                </c:pt>
                <c:pt idx="22">
                  <c:v>0.2066222645258167</c:v>
                </c:pt>
                <c:pt idx="23">
                  <c:v>0.20692669949227271</c:v>
                </c:pt>
                <c:pt idx="24">
                  <c:v>0.20742875538172034</c:v>
                </c:pt>
                <c:pt idx="25">
                  <c:v>0.20655941263135047</c:v>
                </c:pt>
                <c:pt idx="26">
                  <c:v>0.2059522433124708</c:v>
                </c:pt>
                <c:pt idx="27">
                  <c:v>0.20657257410966667</c:v>
                </c:pt>
                <c:pt idx="28">
                  <c:v>0.2101593044785229</c:v>
                </c:pt>
                <c:pt idx="29">
                  <c:v>0.21025237030524718</c:v>
                </c:pt>
                <c:pt idx="30">
                  <c:v>0.2095708934401351</c:v>
                </c:pt>
                <c:pt idx="31">
                  <c:v>0.20479232827522073</c:v>
                </c:pt>
                <c:pt idx="32">
                  <c:v>0.2043949311230113</c:v>
                </c:pt>
                <c:pt idx="33">
                  <c:v>0.2034418241418162</c:v>
                </c:pt>
                <c:pt idx="34">
                  <c:v>0.20461227437153692</c:v>
                </c:pt>
                <c:pt idx="35">
                  <c:v>0.20520289568979516</c:v>
                </c:pt>
                <c:pt idx="36">
                  <c:v>0.205632814409341</c:v>
                </c:pt>
                <c:pt idx="37">
                  <c:v>0.2050529715732501</c:v>
                </c:pt>
                <c:pt idx="38">
                  <c:v>0.2061421789478345</c:v>
                </c:pt>
                <c:pt idx="39">
                  <c:v>0.20641206636076917</c:v>
                </c:pt>
                <c:pt idx="40">
                  <c:v>0.20644041426239526</c:v>
                </c:pt>
                <c:pt idx="41">
                  <c:v>0.2071289020412473</c:v>
                </c:pt>
                <c:pt idx="42">
                  <c:v>0.20609273094626113</c:v>
                </c:pt>
                <c:pt idx="43">
                  <c:v>0.20859771858147952</c:v>
                </c:pt>
                <c:pt idx="44">
                  <c:v>0.21024635346748696</c:v>
                </c:pt>
                <c:pt idx="45">
                  <c:v>0.2109916072766775</c:v>
                </c:pt>
                <c:pt idx="46">
                  <c:v>0.20886373961405608</c:v>
                </c:pt>
                <c:pt idx="47">
                  <c:v>0.2106227347585948</c:v>
                </c:pt>
                <c:pt idx="48">
                  <c:v>0.2112856029871803</c:v>
                </c:pt>
                <c:pt idx="49">
                  <c:v>0.21329846181438178</c:v>
                </c:pt>
                <c:pt idx="50">
                  <c:v>0.21376324003000474</c:v>
                </c:pt>
                <c:pt idx="51">
                  <c:v>0.209299843929547</c:v>
                </c:pt>
                <c:pt idx="52">
                  <c:v>0.21428406995748003</c:v>
                </c:pt>
                <c:pt idx="53">
                  <c:v>0.2505318564708487</c:v>
                </c:pt>
                <c:pt idx="54">
                  <c:v>0.2058322281516436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42248722316864"/>
          <c:min val="0.1233579583613163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2.6043</c:v>
                </c:pt>
                <c:pt idx="1">
                  <c:v>876.6323</c:v>
                </c:pt>
                <c:pt idx="2">
                  <c:v>911.1551</c:v>
                </c:pt>
                <c:pt idx="3">
                  <c:v>925.7721</c:v>
                </c:pt>
                <c:pt idx="4">
                  <c:v>930.7482</c:v>
                </c:pt>
                <c:pt idx="5">
                  <c:v>922.7364</c:v>
                </c:pt>
                <c:pt idx="6">
                  <c:v>872.0113</c:v>
                </c:pt>
                <c:pt idx="7">
                  <c:v>885.5919</c:v>
                </c:pt>
                <c:pt idx="8">
                  <c:v>888.882</c:v>
                </c:pt>
                <c:pt idx="9">
                  <c:v>872.4829</c:v>
                </c:pt>
                <c:pt idx="10">
                  <c:v>865.817</c:v>
                </c:pt>
                <c:pt idx="11">
                  <c:v>931.8931</c:v>
                </c:pt>
                <c:pt idx="12">
                  <c:v>939.3623</c:v>
                </c:pt>
                <c:pt idx="13">
                  <c:v>945.3954</c:v>
                </c:pt>
                <c:pt idx="14">
                  <c:v>953.6439</c:v>
                </c:pt>
                <c:pt idx="15">
                  <c:v>969.5476</c:v>
                </c:pt>
                <c:pt idx="16">
                  <c:v>991.3707</c:v>
                </c:pt>
                <c:pt idx="17">
                  <c:v>1017.5138</c:v>
                </c:pt>
                <c:pt idx="18">
                  <c:v>1058.1947</c:v>
                </c:pt>
                <c:pt idx="19">
                  <c:v>1063.6722</c:v>
                </c:pt>
                <c:pt idx="20">
                  <c:v>1093.8406</c:v>
                </c:pt>
                <c:pt idx="21">
                  <c:v>1108.3406</c:v>
                </c:pt>
                <c:pt idx="22">
                  <c:v>1059.9098</c:v>
                </c:pt>
                <c:pt idx="23">
                  <c:v>1050.6998</c:v>
                </c:pt>
                <c:pt idx="24">
                  <c:v>1052.7458</c:v>
                </c:pt>
                <c:pt idx="25">
                  <c:v>1027.5101</c:v>
                </c:pt>
                <c:pt idx="26">
                  <c:v>1011.3722</c:v>
                </c:pt>
                <c:pt idx="27">
                  <c:v>1028.1256</c:v>
                </c:pt>
                <c:pt idx="28">
                  <c:v>1023.2723</c:v>
                </c:pt>
                <c:pt idx="29">
                  <c:v>1005.2878</c:v>
                </c:pt>
                <c:pt idx="30">
                  <c:v>1008.6892</c:v>
                </c:pt>
                <c:pt idx="31">
                  <c:v>989.1239</c:v>
                </c:pt>
                <c:pt idx="32">
                  <c:v>977.6285</c:v>
                </c:pt>
                <c:pt idx="33">
                  <c:v>941.2271</c:v>
                </c:pt>
                <c:pt idx="34">
                  <c:v>953.1225</c:v>
                </c:pt>
                <c:pt idx="35">
                  <c:v>987.6614</c:v>
                </c:pt>
                <c:pt idx="36">
                  <c:v>1076.9937</c:v>
                </c:pt>
                <c:pt idx="37">
                  <c:v>1081.8702</c:v>
                </c:pt>
                <c:pt idx="38">
                  <c:v>1144.6705</c:v>
                </c:pt>
                <c:pt idx="39">
                  <c:v>1158.5252</c:v>
                </c:pt>
                <c:pt idx="40">
                  <c:v>1148.5003</c:v>
                </c:pt>
                <c:pt idx="41">
                  <c:v>1186.201</c:v>
                </c:pt>
                <c:pt idx="42">
                  <c:v>1208.5581</c:v>
                </c:pt>
                <c:pt idx="43">
                  <c:v>1216.1227</c:v>
                </c:pt>
                <c:pt idx="44">
                  <c:v>1132.884</c:v>
                </c:pt>
                <c:pt idx="45">
                  <c:v>1097.0486</c:v>
                </c:pt>
                <c:pt idx="46">
                  <c:v>1096.5677</c:v>
                </c:pt>
                <c:pt idx="47">
                  <c:v>1079.5043</c:v>
                </c:pt>
                <c:pt idx="48">
                  <c:v>1088.401</c:v>
                </c:pt>
                <c:pt idx="49">
                  <c:v>1052.9549</c:v>
                </c:pt>
                <c:pt idx="50">
                  <c:v>1044.3626</c:v>
                </c:pt>
                <c:pt idx="51">
                  <c:v>1064.9533</c:v>
                </c:pt>
                <c:pt idx="52">
                  <c:v>1066.5982</c:v>
                </c:pt>
                <c:pt idx="53">
                  <c:v>1142.773</c:v>
                </c:pt>
                <c:pt idx="54">
                  <c:v>1128.7357</c:v>
                </c:pt>
                <c:pt idx="55">
                  <c:v>1144.0735</c:v>
                </c:pt>
                <c:pt idx="56">
                  <c:v>1161.348</c:v>
                </c:pt>
                <c:pt idx="57">
                  <c:v>1128.1435</c:v>
                </c:pt>
                <c:pt idx="58">
                  <c:v>1100.9694</c:v>
                </c:pt>
                <c:pt idx="59">
                  <c:v>1083.4335</c:v>
                </c:pt>
                <c:pt idx="60">
                  <c:v>1101.4643</c:v>
                </c:pt>
                <c:pt idx="61">
                  <c:v>1133.1802</c:v>
                </c:pt>
                <c:pt idx="62">
                  <c:v>1077.1723</c:v>
                </c:pt>
                <c:pt idx="63">
                  <c:v>1103.7837</c:v>
                </c:pt>
                <c:pt idx="64">
                  <c:v>1118.5354</c:v>
                </c:pt>
                <c:pt idx="65">
                  <c:v>1106.8087</c:v>
                </c:pt>
                <c:pt idx="66">
                  <c:v>1110.3682</c:v>
                </c:pt>
                <c:pt idx="67">
                  <c:v>1132.4642</c:v>
                </c:pt>
                <c:pt idx="68">
                  <c:v>1159.9969</c:v>
                </c:pt>
                <c:pt idx="69">
                  <c:v>1190.1922</c:v>
                </c:pt>
                <c:pt idx="70">
                  <c:v>1167.0873</c:v>
                </c:pt>
                <c:pt idx="71">
                  <c:v>1233.9912</c:v>
                </c:pt>
                <c:pt idx="72">
                  <c:v>1323.4259</c:v>
                </c:pt>
                <c:pt idx="73">
                  <c:v>1294.9267</c:v>
                </c:pt>
                <c:pt idx="74">
                  <c:v>1281.6593</c:v>
                </c:pt>
                <c:pt idx="75">
                  <c:v>1233.0492</c:v>
                </c:pt>
                <c:pt idx="76">
                  <c:v>1207.2538</c:v>
                </c:pt>
                <c:pt idx="77">
                  <c:v>1207.88</c:v>
                </c:pt>
                <c:pt idx="78">
                  <c:v>1271.0125</c:v>
                </c:pt>
                <c:pt idx="79">
                  <c:v>1246.3288</c:v>
                </c:pt>
                <c:pt idx="80">
                  <c:v>1253.2253</c:v>
                </c:pt>
                <c:pt idx="81">
                  <c:v>1225.5049</c:v>
                </c:pt>
                <c:pt idx="82">
                  <c:v>1230.3508</c:v>
                </c:pt>
                <c:pt idx="83">
                  <c:v>1187.5029</c:v>
                </c:pt>
                <c:pt idx="84">
                  <c:v>1210.0767</c:v>
                </c:pt>
                <c:pt idx="85">
                  <c:v>1189.6393</c:v>
                </c:pt>
                <c:pt idx="86">
                  <c:v>1187.354</c:v>
                </c:pt>
                <c:pt idx="87">
                  <c:v>1190.172</c:v>
                </c:pt>
                <c:pt idx="88">
                  <c:v>1242.5066</c:v>
                </c:pt>
                <c:pt idx="89">
                  <c:v>1226.9135</c:v>
                </c:pt>
                <c:pt idx="90">
                  <c:v>1304.1472</c:v>
                </c:pt>
                <c:pt idx="91">
                  <c:v>1307.3926</c:v>
                </c:pt>
                <c:pt idx="92">
                  <c:v>1242.1643</c:v>
                </c:pt>
                <c:pt idx="93">
                  <c:v>1284.4174</c:v>
                </c:pt>
                <c:pt idx="94">
                  <c:v>1266.4449</c:v>
                </c:pt>
                <c:pt idx="95">
                  <c:v>1225.7909</c:v>
                </c:pt>
                <c:pt idx="96">
                  <c:v>1195.1809</c:v>
                </c:pt>
                <c:pt idx="97">
                  <c:v>1174.6454</c:v>
                </c:pt>
                <c:pt idx="98">
                  <c:v>1162.5787</c:v>
                </c:pt>
                <c:pt idx="99">
                  <c:v>1120.9807</c:v>
                </c:pt>
                <c:pt idx="100">
                  <c:v>1121.8517</c:v>
                </c:pt>
                <c:pt idx="101">
                  <c:v>1130.0274</c:v>
                </c:pt>
                <c:pt idx="102">
                  <c:v>1140.2487</c:v>
                </c:pt>
                <c:pt idx="103">
                  <c:v>1135.6579</c:v>
                </c:pt>
                <c:pt idx="104">
                  <c:v>1183.6327</c:v>
                </c:pt>
              </c:numCache>
            </c:numRef>
          </c:xVal>
          <c:yVal>
            <c:numRef>
              <c:f>Sheet1!$B$2:$B$106</c:f>
              <c:numCache>
                <c:formatCode>General</c:formatCode>
                <c:ptCount val="105"/>
                <c:pt idx="0">
                  <c:v>0.2389593520782396</c:v>
                </c:pt>
                <c:pt idx="1">
                  <c:v>0.23479694908266338</c:v>
                </c:pt>
                <c:pt idx="2">
                  <c:v>0.23689880723355136</c:v>
                </c:pt>
                <c:pt idx="3">
                  <c:v>0.23595784252944824</c:v>
                </c:pt>
                <c:pt idx="4">
                  <c:v>0.23779589431293585</c:v>
                </c:pt>
                <c:pt idx="5">
                  <c:v>0.24517480424916463</c:v>
                </c:pt>
                <c:pt idx="6">
                  <c:v>0.2730293253719844</c:v>
                </c:pt>
                <c:pt idx="7">
                  <c:v>0.2803520726859739</c:v>
                </c:pt>
                <c:pt idx="8">
                  <c:v>0.27182166069367675</c:v>
                </c:pt>
                <c:pt idx="9">
                  <c:v>0.2534750613246116</c:v>
                </c:pt>
                <c:pt idx="10">
                  <c:v>0.24879308884560006</c:v>
                </c:pt>
                <c:pt idx="11">
                  <c:v>0.22092457420924574</c:v>
                </c:pt>
                <c:pt idx="12">
                  <c:v>0.20868990036793583</c:v>
                </c:pt>
                <c:pt idx="13">
                  <c:v>0.19740652146544127</c:v>
                </c:pt>
                <c:pt idx="14">
                  <c:v>0.1827898852104475</c:v>
                </c:pt>
                <c:pt idx="15">
                  <c:v>0.1754871896330003</c:v>
                </c:pt>
                <c:pt idx="16">
                  <c:v>0.16985849860771723</c:v>
                </c:pt>
                <c:pt idx="17">
                  <c:v>0.16062531141006478</c:v>
                </c:pt>
                <c:pt idx="18">
                  <c:v>0.1563905612068369</c:v>
                </c:pt>
                <c:pt idx="19">
                  <c:v>0.15889917274142026</c:v>
                </c:pt>
                <c:pt idx="20">
                  <c:v>0.1541974479516454</c:v>
                </c:pt>
                <c:pt idx="21">
                  <c:v>0.16999311768754302</c:v>
                </c:pt>
                <c:pt idx="22">
                  <c:v>0.1977642610554003</c:v>
                </c:pt>
                <c:pt idx="23">
                  <c:v>0.20794412920122218</c:v>
                </c:pt>
                <c:pt idx="24">
                  <c:v>0.20918974684548847</c:v>
                </c:pt>
                <c:pt idx="25">
                  <c:v>0.2173082173082173</c:v>
                </c:pt>
                <c:pt idx="26">
                  <c:v>0.23575</c:v>
                </c:pt>
                <c:pt idx="27">
                  <c:v>0.2292655903767015</c:v>
                </c:pt>
                <c:pt idx="28">
                  <c:v>0.23493781295428848</c:v>
                </c:pt>
                <c:pt idx="29">
                  <c:v>0.22743031479683817</c:v>
                </c:pt>
                <c:pt idx="30">
                  <c:v>0.23199709776890984</c:v>
                </c:pt>
                <c:pt idx="31">
                  <c:v>0.24313387860525182</c:v>
                </c:pt>
                <c:pt idx="32">
                  <c:v>0.2487016250628246</c:v>
                </c:pt>
                <c:pt idx="33">
                  <c:v>0.241206995963867</c:v>
                </c:pt>
                <c:pt idx="34">
                  <c:v>0.23499744999149996</c:v>
                </c:pt>
                <c:pt idx="35">
                  <c:v>0.2397726065242801</c:v>
                </c:pt>
                <c:pt idx="36">
                  <c:v>0.21667641515565086</c:v>
                </c:pt>
                <c:pt idx="37">
                  <c:v>0.21587417702999268</c:v>
                </c:pt>
                <c:pt idx="38">
                  <c:v>0.20234780645646774</c:v>
                </c:pt>
                <c:pt idx="39">
                  <c:v>0.19492449011365406</c:v>
                </c:pt>
                <c:pt idx="40">
                  <c:v>0.19796473042159154</c:v>
                </c:pt>
                <c:pt idx="41">
                  <c:v>0.19218924972004478</c:v>
                </c:pt>
                <c:pt idx="42">
                  <c:v>0.18860652776105022</c:v>
                </c:pt>
                <c:pt idx="43">
                  <c:v>0.18170534268753372</c:v>
                </c:pt>
                <c:pt idx="44">
                  <c:v>0.18682186512841642</c:v>
                </c:pt>
                <c:pt idx="45">
                  <c:v>0.20375351698976596</c:v>
                </c:pt>
                <c:pt idx="46">
                  <c:v>0.20569952854268642</c:v>
                </c:pt>
                <c:pt idx="47">
                  <c:v>0.20028822862048876</c:v>
                </c:pt>
                <c:pt idx="48">
                  <c:v>0.19804154435655544</c:v>
                </c:pt>
                <c:pt idx="49">
                  <c:v>0.20889913471862565</c:v>
                </c:pt>
                <c:pt idx="50">
                  <c:v>0.20385839926866942</c:v>
                </c:pt>
                <c:pt idx="51">
                  <c:v>0.19360383769738157</c:v>
                </c:pt>
                <c:pt idx="52">
                  <c:v>0.19804000267576427</c:v>
                </c:pt>
                <c:pt idx="53">
                  <c:v>0.1912751677852349</c:v>
                </c:pt>
                <c:pt idx="54">
                  <c:v>0.19710236504784256</c:v>
                </c:pt>
                <c:pt idx="55">
                  <c:v>0.19466494369577256</c:v>
                </c:pt>
                <c:pt idx="56">
                  <c:v>0.19578327785014715</c:v>
                </c:pt>
                <c:pt idx="57">
                  <c:v>0.19458476459890886</c:v>
                </c:pt>
                <c:pt idx="58">
                  <c:v>0.20910996332060783</c:v>
                </c:pt>
                <c:pt idx="59">
                  <c:v>0.2117414565961344</c:v>
                </c:pt>
                <c:pt idx="60">
                  <c:v>0.21837361681302847</c:v>
                </c:pt>
                <c:pt idx="61">
                  <c:v>0.21279012532656846</c:v>
                </c:pt>
                <c:pt idx="62">
                  <c:v>0.22075055187637968</c:v>
                </c:pt>
                <c:pt idx="63">
                  <c:v>0.22964336567436008</c:v>
                </c:pt>
                <c:pt idx="64">
                  <c:v>0.21302431858984822</c:v>
                </c:pt>
                <c:pt idx="65">
                  <c:v>0.20235818992989166</c:v>
                </c:pt>
                <c:pt idx="66">
                  <c:v>0.20488280544620607</c:v>
                </c:pt>
                <c:pt idx="67">
                  <c:v>0.19276786055578915</c:v>
                </c:pt>
                <c:pt idx="68">
                  <c:v>0.18068291783788765</c:v>
                </c:pt>
                <c:pt idx="69">
                  <c:v>0.1754751832211166</c:v>
                </c:pt>
                <c:pt idx="70">
                  <c:v>0.17706260305907773</c:v>
                </c:pt>
                <c:pt idx="71">
                  <c:v>0.1802403204272363</c:v>
                </c:pt>
                <c:pt idx="72">
                  <c:v>0.17245917329664415</c:v>
                </c:pt>
                <c:pt idx="73">
                  <c:v>0.17803153182378512</c:v>
                </c:pt>
                <c:pt idx="74">
                  <c:v>0.1799819657348963</c:v>
                </c:pt>
                <c:pt idx="75">
                  <c:v>0.19434877345891616</c:v>
                </c:pt>
                <c:pt idx="76">
                  <c:v>0.1975468535730611</c:v>
                </c:pt>
                <c:pt idx="77">
                  <c:v>0.18945790262763354</c:v>
                </c:pt>
                <c:pt idx="78">
                  <c:v>0.18950131233595802</c:v>
                </c:pt>
                <c:pt idx="79">
                  <c:v>0.16537878240774176</c:v>
                </c:pt>
                <c:pt idx="80">
                  <c:v>0.1596820809248555</c:v>
                </c:pt>
                <c:pt idx="81">
                  <c:v>0.17309978104472942</c:v>
                </c:pt>
                <c:pt idx="82">
                  <c:v>0.17310046519219782</c:v>
                </c:pt>
                <c:pt idx="83">
                  <c:v>0.17823709333580498</c:v>
                </c:pt>
                <c:pt idx="84">
                  <c:v>0.1805594800791184</c:v>
                </c:pt>
                <c:pt idx="85">
                  <c:v>0.18766821629557132</c:v>
                </c:pt>
                <c:pt idx="86">
                  <c:v>0.19693586403672</c:v>
                </c:pt>
                <c:pt idx="87">
                  <c:v>0.20539703341871687</c:v>
                </c:pt>
                <c:pt idx="88">
                  <c:v>0.19569202566452795</c:v>
                </c:pt>
                <c:pt idx="89">
                  <c:v>0.2036229453203623</c:v>
                </c:pt>
                <c:pt idx="90">
                  <c:v>0.18808049535603716</c:v>
                </c:pt>
                <c:pt idx="91">
                  <c:v>0.17474179192207573</c:v>
                </c:pt>
                <c:pt idx="92">
                  <c:v>0.18472906403940886</c:v>
                </c:pt>
                <c:pt idx="93">
                  <c:v>0.182525668694003</c:v>
                </c:pt>
                <c:pt idx="94">
                  <c:v>0.1874908451735755</c:v>
                </c:pt>
                <c:pt idx="95">
                  <c:v>0.1882099596231494</c:v>
                </c:pt>
                <c:pt idx="96">
                  <c:v>0.18701722574796012</c:v>
                </c:pt>
                <c:pt idx="97">
                  <c:v>0.1931076411109689</c:v>
                </c:pt>
                <c:pt idx="98">
                  <c:v>0.1941404090657822</c:v>
                </c:pt>
                <c:pt idx="99">
                  <c:v>0.19707116917417347</c:v>
                </c:pt>
                <c:pt idx="100">
                  <c:v>0.19811237384895455</c:v>
                </c:pt>
                <c:pt idx="101">
                  <c:v>0.20455465902364559</c:v>
                </c:pt>
                <c:pt idx="102">
                  <c:v>0.19864805931094637</c:v>
                </c:pt>
                <c:pt idx="103">
                  <c:v>0.19270317617488003</c:v>
                </c:pt>
                <c:pt idx="104">
                  <c:v>0.18921014228383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3.1947</c:v>
                </c:pt>
                <c:pt idx="1">
                  <c:v>1223.3554</c:v>
                </c:pt>
                <c:pt idx="2">
                  <c:v>1223.8808</c:v>
                </c:pt>
                <c:pt idx="3">
                  <c:v>1201.5972</c:v>
                </c:pt>
                <c:pt idx="4">
                  <c:v>1237.3691</c:v>
                </c:pt>
                <c:pt idx="5">
                  <c:v>1225.4903</c:v>
                </c:pt>
                <c:pt idx="6">
                  <c:v>1128.0145</c:v>
                </c:pt>
                <c:pt idx="7">
                  <c:v>1164.7522</c:v>
                </c:pt>
                <c:pt idx="8">
                  <c:v>1228.3199</c:v>
                </c:pt>
                <c:pt idx="9">
                  <c:v>1182.7909</c:v>
                </c:pt>
                <c:pt idx="10">
                  <c:v>1208.2139</c:v>
                </c:pt>
                <c:pt idx="11">
                  <c:v>1061.5415</c:v>
                </c:pt>
                <c:pt idx="12">
                  <c:v>1106.6107</c:v>
                </c:pt>
                <c:pt idx="13">
                  <c:v>1177.5337</c:v>
                </c:pt>
                <c:pt idx="14">
                  <c:v>1154.3076</c:v>
                </c:pt>
                <c:pt idx="15">
                  <c:v>1181.8555</c:v>
                </c:pt>
                <c:pt idx="16">
                  <c:v>1213.9305</c:v>
                </c:pt>
                <c:pt idx="17">
                  <c:v>1151.6649</c:v>
                </c:pt>
                <c:pt idx="18">
                  <c:v>1168.3923</c:v>
                </c:pt>
                <c:pt idx="19">
                  <c:v>1296.7688</c:v>
                </c:pt>
                <c:pt idx="20">
                  <c:v>1291.7895</c:v>
                </c:pt>
                <c:pt idx="21">
                  <c:v>1193.7491</c:v>
                </c:pt>
                <c:pt idx="22">
                  <c:v>1227.8181</c:v>
                </c:pt>
                <c:pt idx="23">
                  <c:v>1249.3137</c:v>
                </c:pt>
                <c:pt idx="24">
                  <c:v>1258.4938</c:v>
                </c:pt>
                <c:pt idx="25">
                  <c:v>1217.6731</c:v>
                </c:pt>
                <c:pt idx="26">
                  <c:v>1213.6672</c:v>
                </c:pt>
                <c:pt idx="27">
                  <c:v>1215.4127</c:v>
                </c:pt>
                <c:pt idx="28">
                  <c:v>1245.791</c:v>
                </c:pt>
                <c:pt idx="29">
                  <c:v>1253.6903</c:v>
                </c:pt>
                <c:pt idx="30">
                  <c:v>1242.2987</c:v>
                </c:pt>
                <c:pt idx="31">
                  <c:v>1228.582</c:v>
                </c:pt>
                <c:pt idx="32">
                  <c:v>1250.1802</c:v>
                </c:pt>
                <c:pt idx="33">
                  <c:v>1247.0691</c:v>
                </c:pt>
                <c:pt idx="34">
                  <c:v>1262.4243</c:v>
                </c:pt>
                <c:pt idx="35">
                  <c:v>1298.7312</c:v>
                </c:pt>
                <c:pt idx="36">
                  <c:v>1337.2671</c:v>
                </c:pt>
                <c:pt idx="37">
                  <c:v>1315.9705</c:v>
                </c:pt>
                <c:pt idx="38">
                  <c:v>1343.2656</c:v>
                </c:pt>
                <c:pt idx="39">
                  <c:v>1284.2949</c:v>
                </c:pt>
                <c:pt idx="40">
                  <c:v>1310.501</c:v>
                </c:pt>
                <c:pt idx="41">
                  <c:v>1348.9511</c:v>
                </c:pt>
                <c:pt idx="42">
                  <c:v>1333.1323</c:v>
                </c:pt>
                <c:pt idx="43">
                  <c:v>1350.814</c:v>
                </c:pt>
                <c:pt idx="44">
                  <c:v>1266.5973</c:v>
                </c:pt>
                <c:pt idx="45">
                  <c:v>1215.7703</c:v>
                </c:pt>
                <c:pt idx="46">
                  <c:v>1202.2351</c:v>
                </c:pt>
                <c:pt idx="47">
                  <c:v>1172.6195</c:v>
                </c:pt>
                <c:pt idx="48">
                  <c:v>1170.5027</c:v>
                </c:pt>
                <c:pt idx="49">
                  <c:v>1192.3805</c:v>
                </c:pt>
                <c:pt idx="50">
                  <c:v>1149.5915</c:v>
                </c:pt>
                <c:pt idx="51">
                  <c:v>1111.0791</c:v>
                </c:pt>
              </c:numCache>
            </c:numRef>
          </c:xVal>
          <c:yVal>
            <c:numRef>
              <c:f>Sheet1!$B$109:$B$160</c:f>
              <c:numCache>
                <c:formatCode>General</c:formatCode>
                <c:ptCount val="52"/>
                <c:pt idx="0">
                  <c:v>0.18943460188062472</c:v>
                </c:pt>
                <c:pt idx="1">
                  <c:v>0.19163673678809645</c:v>
                </c:pt>
                <c:pt idx="2">
                  <c:v>0.2083756631674004</c:v>
                </c:pt>
                <c:pt idx="3">
                  <c:v>0.22480319540853919</c:v>
                </c:pt>
                <c:pt idx="4">
                  <c:v>0.2069812591624074</c:v>
                </c:pt>
                <c:pt idx="5">
                  <c:v>0.21231043710972347</c:v>
                </c:pt>
                <c:pt idx="6">
                  <c:v>0.22477950736146737</c:v>
                </c:pt>
                <c:pt idx="7">
                  <c:v>0.2227314390467461</c:v>
                </c:pt>
                <c:pt idx="8">
                  <c:v>0.2055039895782446</c:v>
                </c:pt>
                <c:pt idx="9">
                  <c:v>0.21405400009981534</c:v>
                </c:pt>
                <c:pt idx="10">
                  <c:v>0.21438666601686243</c:v>
                </c:pt>
                <c:pt idx="11">
                  <c:v>0.2180893121111073</c:v>
                </c:pt>
                <c:pt idx="12">
                  <c:v>0.2160894219393791</c:v>
                </c:pt>
                <c:pt idx="13">
                  <c:v>0.21450535933930767</c:v>
                </c:pt>
                <c:pt idx="14">
                  <c:v>0.21879497265662476</c:v>
                </c:pt>
                <c:pt idx="15">
                  <c:v>0.212037949090155</c:v>
                </c:pt>
                <c:pt idx="16">
                  <c:v>0.2085702060028119</c:v>
                </c:pt>
                <c:pt idx="17">
                  <c:v>0.22129086336965634</c:v>
                </c:pt>
                <c:pt idx="18">
                  <c:v>0.21707811210324904</c:v>
                </c:pt>
                <c:pt idx="19">
                  <c:v>0.20475629509645119</c:v>
                </c:pt>
                <c:pt idx="20">
                  <c:v>0.1984010442160222</c:v>
                </c:pt>
                <c:pt idx="21">
                  <c:v>0.21474949122977033</c:v>
                </c:pt>
                <c:pt idx="22">
                  <c:v>0.20707981398880138</c:v>
                </c:pt>
                <c:pt idx="23">
                  <c:v>0.20803028793464182</c:v>
                </c:pt>
                <c:pt idx="24">
                  <c:v>0.20723684210526316</c:v>
                </c:pt>
                <c:pt idx="25">
                  <c:v>0.21182266009852216</c:v>
                </c:pt>
                <c:pt idx="26">
                  <c:v>0.20519641748692027</c:v>
                </c:pt>
                <c:pt idx="27">
                  <c:v>0.20855057351407716</c:v>
                </c:pt>
                <c:pt idx="28">
                  <c:v>0.1977886977886978</c:v>
                </c:pt>
                <c:pt idx="29">
                  <c:v>0.2037409317367363</c:v>
                </c:pt>
                <c:pt idx="30">
                  <c:v>0.2049438202247191</c:v>
                </c:pt>
                <c:pt idx="31">
                  <c:v>0.19889027073567397</c:v>
                </c:pt>
                <c:pt idx="32">
                  <c:v>0.19384283461953364</c:v>
                </c:pt>
                <c:pt idx="33">
                  <c:v>0.2046677471636953</c:v>
                </c:pt>
                <c:pt idx="34">
                  <c:v>0.21873328340644058</c:v>
                </c:pt>
                <c:pt idx="35">
                  <c:v>0.20943775100401607</c:v>
                </c:pt>
                <c:pt idx="36">
                  <c:v>0.20617036959039697</c:v>
                </c:pt>
                <c:pt idx="37">
                  <c:v>0.2103603173086113</c:v>
                </c:pt>
                <c:pt idx="38">
                  <c:v>0.20922324938901285</c:v>
                </c:pt>
                <c:pt idx="39">
                  <c:v>0.2053940291527009</c:v>
                </c:pt>
                <c:pt idx="40">
                  <c:v>0.19499924913650699</c:v>
                </c:pt>
                <c:pt idx="41">
                  <c:v>0.19658362989323844</c:v>
                </c:pt>
                <c:pt idx="42">
                  <c:v>0.20137707573916566</c:v>
                </c:pt>
                <c:pt idx="43">
                  <c:v>0.18635077793493635</c:v>
                </c:pt>
                <c:pt idx="44">
                  <c:v>0.1860071559810463</c:v>
                </c:pt>
                <c:pt idx="45">
                  <c:v>0.20335794405792987</c:v>
                </c:pt>
                <c:pt idx="46">
                  <c:v>0.221686847949051</c:v>
                </c:pt>
                <c:pt idx="47">
                  <c:v>0.22292597629687197</c:v>
                </c:pt>
                <c:pt idx="48">
                  <c:v>0.21374488513709444</c:v>
                </c:pt>
                <c:pt idx="49">
                  <c:v>0.21709691070672874</c:v>
                </c:pt>
                <c:pt idx="50">
                  <c:v>0.21337942252948353</c:v>
                </c:pt>
                <c:pt idx="51">
                  <c:v>0.2129150614566134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63.9794001276802</c:v>
                </c:pt>
              </c:numCache>
            </c:numRef>
          </c:xVal>
          <c:yVal>
            <c:numRef>
              <c:f>Sheet1!$B$163:$B$164</c:f>
              <c:numCache>
                <c:formatCode>General</c:formatCode>
                <c:ptCount val="2"/>
                <c:pt idx="0">
                  <c:v>0.2505318564708487</c:v>
                </c:pt>
                <c:pt idx="1">
                  <c:v>0.250531856470848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63.9794001276802</c:v>
                </c:pt>
                <c:pt idx="1">
                  <c:v>763.9794001276802</c:v>
                </c:pt>
              </c:numCache>
            </c:numRef>
          </c:xVal>
          <c:yVal>
            <c:numRef>
              <c:f>Sheet1!$B$167:$B$168</c:f>
              <c:numCache>
                <c:formatCode>General</c:formatCode>
                <c:ptCount val="2"/>
                <c:pt idx="0">
                  <c:v>0.250531856470848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62.2067621265917</c:v>
                </c:pt>
              </c:numCache>
            </c:numRef>
          </c:xVal>
          <c:yVal>
            <c:numRef>
              <c:f>Sheet1!$B$171:$B$172</c:f>
              <c:numCache>
                <c:formatCode>General</c:formatCode>
                <c:ptCount val="2"/>
                <c:pt idx="0">
                  <c:v>0.21428406995748003</c:v>
                </c:pt>
                <c:pt idx="1">
                  <c:v>0.2142840699574800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62.2067621265917</c:v>
                </c:pt>
                <c:pt idx="1">
                  <c:v>1162.2067621265917</c:v>
                </c:pt>
              </c:numCache>
            </c:numRef>
          </c:xVal>
          <c:yVal>
            <c:numRef>
              <c:f>Sheet1!$B$175:$B$176</c:f>
              <c:numCache>
                <c:formatCode>General</c:formatCode>
                <c:ptCount val="2"/>
                <c:pt idx="0">
                  <c:v>0.2142840699574800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55.0608365437702</c:v>
                </c:pt>
              </c:numCache>
            </c:numRef>
          </c:xVal>
          <c:yVal>
            <c:numRef>
              <c:f>Sheet1!$B$179:$B$180</c:f>
              <c:numCache>
                <c:formatCode>General</c:formatCode>
                <c:ptCount val="2"/>
                <c:pt idx="0">
                  <c:v>0.20583222815164368</c:v>
                </c:pt>
                <c:pt idx="1">
                  <c:v>0.2058322281516436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55.0608365437702</c:v>
                </c:pt>
                <c:pt idx="1">
                  <c:v>1255.0608365437702</c:v>
                </c:pt>
              </c:numCache>
            </c:numRef>
          </c:xVal>
          <c:yVal>
            <c:numRef>
              <c:f>Sheet1!$B$183:$B$184</c:f>
              <c:numCache>
                <c:formatCode>General</c:formatCode>
                <c:ptCount val="2"/>
                <c:pt idx="0">
                  <c:v>0.2058322281516436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3.1947</c:v>
                </c:pt>
                <c:pt idx="1">
                  <c:v>1223.3554</c:v>
                </c:pt>
                <c:pt idx="2">
                  <c:v>1223.8808</c:v>
                </c:pt>
                <c:pt idx="3">
                  <c:v>1201.5972</c:v>
                </c:pt>
                <c:pt idx="4">
                  <c:v>1237.3691</c:v>
                </c:pt>
                <c:pt idx="5">
                  <c:v>1225.4903</c:v>
                </c:pt>
                <c:pt idx="6">
                  <c:v>1128.0145</c:v>
                </c:pt>
                <c:pt idx="7">
                  <c:v>1164.7522</c:v>
                </c:pt>
                <c:pt idx="8">
                  <c:v>1228.3199</c:v>
                </c:pt>
                <c:pt idx="9">
                  <c:v>1182.7909</c:v>
                </c:pt>
                <c:pt idx="10">
                  <c:v>1208.2139</c:v>
                </c:pt>
                <c:pt idx="11">
                  <c:v>1061.5415</c:v>
                </c:pt>
                <c:pt idx="12">
                  <c:v>1106.6107</c:v>
                </c:pt>
                <c:pt idx="13">
                  <c:v>1177.5337</c:v>
                </c:pt>
                <c:pt idx="14">
                  <c:v>1154.3076</c:v>
                </c:pt>
                <c:pt idx="15">
                  <c:v>1181.8555</c:v>
                </c:pt>
                <c:pt idx="16">
                  <c:v>1213.9305</c:v>
                </c:pt>
                <c:pt idx="17">
                  <c:v>1151.6649</c:v>
                </c:pt>
                <c:pt idx="18">
                  <c:v>1168.3923</c:v>
                </c:pt>
                <c:pt idx="19">
                  <c:v>1296.7688</c:v>
                </c:pt>
                <c:pt idx="20">
                  <c:v>1291.7895</c:v>
                </c:pt>
                <c:pt idx="21">
                  <c:v>1193.7491</c:v>
                </c:pt>
                <c:pt idx="22">
                  <c:v>1227.8181</c:v>
                </c:pt>
                <c:pt idx="23">
                  <c:v>1249.3137</c:v>
                </c:pt>
                <c:pt idx="24">
                  <c:v>1258.4938</c:v>
                </c:pt>
                <c:pt idx="25">
                  <c:v>1217.6731</c:v>
                </c:pt>
                <c:pt idx="26">
                  <c:v>1213.6672</c:v>
                </c:pt>
                <c:pt idx="27">
                  <c:v>1215.4127</c:v>
                </c:pt>
                <c:pt idx="28">
                  <c:v>1245.791</c:v>
                </c:pt>
                <c:pt idx="29">
                  <c:v>1253.6903</c:v>
                </c:pt>
                <c:pt idx="30">
                  <c:v>1242.2987</c:v>
                </c:pt>
                <c:pt idx="31">
                  <c:v>1228.582</c:v>
                </c:pt>
                <c:pt idx="32">
                  <c:v>1250.1802</c:v>
                </c:pt>
                <c:pt idx="33">
                  <c:v>1247.0691</c:v>
                </c:pt>
                <c:pt idx="34">
                  <c:v>1262.4243</c:v>
                </c:pt>
                <c:pt idx="35">
                  <c:v>1298.7312</c:v>
                </c:pt>
                <c:pt idx="36">
                  <c:v>1337.2671</c:v>
                </c:pt>
                <c:pt idx="37">
                  <c:v>1315.9705</c:v>
                </c:pt>
                <c:pt idx="38">
                  <c:v>1343.2656</c:v>
                </c:pt>
                <c:pt idx="39">
                  <c:v>1284.2949</c:v>
                </c:pt>
                <c:pt idx="40">
                  <c:v>1310.501</c:v>
                </c:pt>
                <c:pt idx="41">
                  <c:v>1348.9511</c:v>
                </c:pt>
                <c:pt idx="42">
                  <c:v>1333.1323</c:v>
                </c:pt>
                <c:pt idx="43">
                  <c:v>1350.814</c:v>
                </c:pt>
                <c:pt idx="44">
                  <c:v>1266.5973</c:v>
                </c:pt>
                <c:pt idx="45">
                  <c:v>1215.7703</c:v>
                </c:pt>
                <c:pt idx="46">
                  <c:v>1202.2351</c:v>
                </c:pt>
                <c:pt idx="47">
                  <c:v>1172.6195</c:v>
                </c:pt>
                <c:pt idx="48">
                  <c:v>1170.5027</c:v>
                </c:pt>
                <c:pt idx="49">
                  <c:v>1192.3805</c:v>
                </c:pt>
                <c:pt idx="50">
                  <c:v>1149.5915</c:v>
                </c:pt>
                <c:pt idx="51">
                  <c:v>1111.0791</c:v>
                </c:pt>
                <c:pt idx="52">
                  <c:v>1162.2067621265917</c:v>
                </c:pt>
                <c:pt idx="53">
                  <c:v>763.9794001276802</c:v>
                </c:pt>
                <c:pt idx="54">
                  <c:v>1255.0608365437702</c:v>
                </c:pt>
              </c:numCache>
            </c:numRef>
          </c:xVal>
          <c:yVal>
            <c:numRef>
              <c:f>Sheet1!$B$187:$B$241</c:f>
              <c:numCache>
                <c:formatCode>General</c:formatCode>
                <c:ptCount val="55"/>
                <c:pt idx="0">
                  <c:v>0.2096430029109689</c:v>
                </c:pt>
                <c:pt idx="1">
                  <c:v>0.20871814711357298</c:v>
                </c:pt>
                <c:pt idx="2">
                  <c:v>0.20867032371204042</c:v>
                </c:pt>
                <c:pt idx="3">
                  <c:v>0.21069864032869598</c:v>
                </c:pt>
                <c:pt idx="4">
                  <c:v>0.20744258030341545</c:v>
                </c:pt>
                <c:pt idx="5">
                  <c:v>0.20852382244678225</c:v>
                </c:pt>
                <c:pt idx="6">
                  <c:v>0.21739634685315257</c:v>
                </c:pt>
                <c:pt idx="7">
                  <c:v>0.21405237696643287</c:v>
                </c:pt>
                <c:pt idx="8">
                  <c:v>0.20826626421119693</c:v>
                </c:pt>
                <c:pt idx="9">
                  <c:v>0.21241044321457658</c:v>
                </c:pt>
                <c:pt idx="10">
                  <c:v>0.21009636948568028</c:v>
                </c:pt>
                <c:pt idx="11">
                  <c:v>0.22344690827316305</c:v>
                </c:pt>
                <c:pt idx="12">
                  <c:v>0.21934458157283757</c:v>
                </c:pt>
                <c:pt idx="13">
                  <c:v>0.21288896850299865</c:v>
                </c:pt>
                <c:pt idx="14">
                  <c:v>0.21500307414885944</c:v>
                </c:pt>
                <c:pt idx="15">
                  <c:v>0.21249558598159896</c:v>
                </c:pt>
                <c:pt idx="16">
                  <c:v>0.2095760283033411</c:v>
                </c:pt>
                <c:pt idx="17">
                  <c:v>0.21524362021515195</c:v>
                </c:pt>
                <c:pt idx="18">
                  <c:v>0.2137210447168732</c:v>
                </c:pt>
                <c:pt idx="19">
                  <c:v>0.20203585075637837</c:v>
                </c:pt>
                <c:pt idx="20">
                  <c:v>0.20248908079682573</c:v>
                </c:pt>
                <c:pt idx="21">
                  <c:v>0.21141299670016084</c:v>
                </c:pt>
                <c:pt idx="22">
                  <c:v>0.20831193947364277</c:v>
                </c:pt>
                <c:pt idx="23">
                  <c:v>0.20635534885700177</c:v>
                </c:pt>
                <c:pt idx="24">
                  <c:v>0.20551975005911632</c:v>
                </c:pt>
                <c:pt idx="25">
                  <c:v>0.20923536621240896</c:v>
                </c:pt>
                <c:pt idx="26">
                  <c:v>0.20959999461781295</c:v>
                </c:pt>
                <c:pt idx="27">
                  <c:v>0.2094411142459533</c:v>
                </c:pt>
                <c:pt idx="28">
                  <c:v>0.2066759950248334</c:v>
                </c:pt>
                <c:pt idx="29">
                  <c:v>0.20595697828382442</c:v>
                </c:pt>
                <c:pt idx="30">
                  <c:v>0.20699387409824818</c:v>
                </c:pt>
                <c:pt idx="31">
                  <c:v>0.20824240712413625</c:v>
                </c:pt>
                <c:pt idx="32">
                  <c:v>0.20627647756383855</c:v>
                </c:pt>
                <c:pt idx="33">
                  <c:v>0.20655965872963208</c:v>
                </c:pt>
                <c:pt idx="34">
                  <c:v>0.20516198477604874</c:v>
                </c:pt>
                <c:pt idx="35">
                  <c:v>0.20185722752994617</c:v>
                </c:pt>
                <c:pt idx="36">
                  <c:v>0.1983495803675587</c:v>
                </c:pt>
                <c:pt idx="37">
                  <c:v>0.20028805743851075</c:v>
                </c:pt>
                <c:pt idx="38">
                  <c:v>0.1978035798458742</c:v>
                </c:pt>
                <c:pt idx="39">
                  <c:v>0.20317126059341095</c:v>
                </c:pt>
                <c:pt idx="40">
                  <c:v>0.2007859068764291</c:v>
                </c:pt>
                <c:pt idx="41">
                  <c:v>0.19728606947394173</c:v>
                </c:pt>
                <c:pt idx="42">
                  <c:v>0.19872594161738133</c:v>
                </c:pt>
                <c:pt idx="43">
                  <c:v>0.197116503020354</c:v>
                </c:pt>
                <c:pt idx="44">
                  <c:v>0.2047821464536366</c:v>
                </c:pt>
                <c:pt idx="45">
                  <c:v>0.20940856447741876</c:v>
                </c:pt>
                <c:pt idx="46">
                  <c:v>0.21064057685736437</c:v>
                </c:pt>
                <c:pt idx="47">
                  <c:v>0.21333627295638896</c:v>
                </c:pt>
                <c:pt idx="48">
                  <c:v>0.2135289501097276</c:v>
                </c:pt>
                <c:pt idx="49">
                  <c:v>0.21153757056262268</c:v>
                </c:pt>
                <c:pt idx="50">
                  <c:v>0.21543234697711922</c:v>
                </c:pt>
                <c:pt idx="51">
                  <c:v>0.2189378551027042</c:v>
                </c:pt>
                <c:pt idx="52">
                  <c:v>0.21428406995748003</c:v>
                </c:pt>
                <c:pt idx="53">
                  <c:v>0.2505318564708487</c:v>
                </c:pt>
                <c:pt idx="54">
                  <c:v>0.2058322281516436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1.0"/>
          <c:min val="61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3642248722316864"/>
          <c:min val="0.1233579583613163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58932161463589</c:v>
                </c:pt>
                <c:pt idx="1">
                  <c:v>0.6772884074525752</c:v>
                </c:pt>
                <c:pt idx="2">
                  <c:v>0.6793283367631031</c:v>
                </c:pt>
                <c:pt idx="3">
                  <c:v>0.6838005514973317</c:v>
                </c:pt>
                <c:pt idx="4">
                  <c:v>0.6866365482241148</c:v>
                </c:pt>
                <c:pt idx="5">
                  <c:v>0.6999241368332694</c:v>
                </c:pt>
                <c:pt idx="6">
                  <c:v>0.6590341621537804</c:v>
                </c:pt>
                <c:pt idx="7">
                  <c:v>0.6597062040155388</c:v>
                </c:pt>
                <c:pt idx="8">
                  <c:v>0.6658875195124291</c:v>
                </c:pt>
                <c:pt idx="9">
                  <c:v>0.6998048235333848</c:v>
                </c:pt>
                <c:pt idx="10">
                  <c:v>0.7186590828158504</c:v>
                </c:pt>
                <c:pt idx="11">
                  <c:v>0.750154286313679</c:v>
                </c:pt>
                <c:pt idx="12">
                  <c:v>0.769672935368271</c:v>
                </c:pt>
                <c:pt idx="13">
                  <c:v>0.7485739571859585</c:v>
                </c:pt>
                <c:pt idx="14">
                  <c:v>0.7457284913119203</c:v>
                </c:pt>
                <c:pt idx="15">
                  <c:v>0.7486721365515577</c:v>
                </c:pt>
                <c:pt idx="16">
                  <c:v>0.7409541932668882</c:v>
                </c:pt>
                <c:pt idx="17">
                  <c:v>0.7362448569803216</c:v>
                </c:pt>
                <c:pt idx="18">
                  <c:v>0.7643611355580772</c:v>
                </c:pt>
                <c:pt idx="19">
                  <c:v>0.7742366834807595</c:v>
                </c:pt>
                <c:pt idx="20">
                  <c:v>0.7788983797602445</c:v>
                </c:pt>
                <c:pt idx="21">
                  <c:v>0.7045264792741694</c:v>
                </c:pt>
                <c:pt idx="22">
                  <c:v>0.6696706208389931</c:v>
                </c:pt>
                <c:pt idx="23">
                  <c:v>0.6456522675908927</c:v>
                </c:pt>
                <c:pt idx="24">
                  <c:v>0.6142759997857721</c:v>
                </c:pt>
                <c:pt idx="25">
                  <c:v>0.5950517624341152</c:v>
                </c:pt>
                <c:pt idx="26">
                  <c:v>0.6054876931608508</c:v>
                </c:pt>
                <c:pt idx="27">
                  <c:v>0.6281382602335349</c:v>
                </c:pt>
                <c:pt idx="28">
                  <c:v>0.6187590251353342</c:v>
                </c:pt>
                <c:pt idx="29">
                  <c:v>0.5535664656091062</c:v>
                </c:pt>
                <c:pt idx="30">
                  <c:v>0.5749393798292388</c:v>
                </c:pt>
                <c:pt idx="31">
                  <c:v>0.5975515688342565</c:v>
                </c:pt>
                <c:pt idx="32">
                  <c:v>0.5621603417026902</c:v>
                </c:pt>
                <c:pt idx="33">
                  <c:v>0.5421411978688871</c:v>
                </c:pt>
                <c:pt idx="34">
                  <c:v>0.632878073445609</c:v>
                </c:pt>
                <c:pt idx="35">
                  <c:v>0.7033943007912401</c:v>
                </c:pt>
                <c:pt idx="36">
                  <c:v>0.7478069852040793</c:v>
                </c:pt>
                <c:pt idx="37">
                  <c:v>0.7071650776169396</c:v>
                </c:pt>
                <c:pt idx="38">
                  <c:v>0.7562399149146187</c:v>
                </c:pt>
                <c:pt idx="39">
                  <c:v>0.7665640345852957</c:v>
                </c:pt>
                <c:pt idx="40">
                  <c:v>0.7712828266641626</c:v>
                </c:pt>
                <c:pt idx="41">
                  <c:v>0.7545224475565984</c:v>
                </c:pt>
                <c:pt idx="42">
                  <c:v>0.7878399785533242</c:v>
                </c:pt>
                <c:pt idx="43">
                  <c:v>0.7918999815055466</c:v>
                </c:pt>
                <c:pt idx="44">
                  <c:v>0.7299710040761257</c:v>
                </c:pt>
                <c:pt idx="45">
                  <c:v>0.714817734758193</c:v>
                </c:pt>
                <c:pt idx="46">
                  <c:v>0.7139052130664947</c:v>
                </c:pt>
                <c:pt idx="47">
                  <c:v>0.7145121938111975</c:v>
                </c:pt>
                <c:pt idx="48">
                  <c:v>0.7196327488008899</c:v>
                </c:pt>
                <c:pt idx="49">
                  <c:v>0.7250539800712519</c:v>
                </c:pt>
                <c:pt idx="50">
                  <c:v>0.6919413757808915</c:v>
                </c:pt>
                <c:pt idx="51">
                  <c:v>0.6981261868678027</c:v>
                </c:pt>
                <c:pt idx="52">
                  <c:v>0.710423042928525</c:v>
                </c:pt>
                <c:pt idx="53">
                  <c:v>0.664002744463466</c:v>
                </c:pt>
                <c:pt idx="54">
                  <c:v>0.643892334302558</c:v>
                </c:pt>
                <c:pt idx="55">
                  <c:v>0.6553256644106009</c:v>
                </c:pt>
                <c:pt idx="56">
                  <c:v>0.6587249466707733</c:v>
                </c:pt>
                <c:pt idx="57">
                  <c:v>0.6612497341299342</c:v>
                </c:pt>
                <c:pt idx="58">
                  <c:v>0.6426328299376388</c:v>
                </c:pt>
                <c:pt idx="59">
                  <c:v>0.6492921655710985</c:v>
                </c:pt>
                <c:pt idx="60">
                  <c:v>0.6516763889191243</c:v>
                </c:pt>
                <c:pt idx="61">
                  <c:v>0.6848680805786694</c:v>
                </c:pt>
                <c:pt idx="62">
                  <c:v>0.7080954158982351</c:v>
                </c:pt>
                <c:pt idx="63">
                  <c:v>0.7265960650086608</c:v>
                </c:pt>
                <c:pt idx="64">
                  <c:v>0.7746421537916367</c:v>
                </c:pt>
                <c:pt idx="65">
                  <c:v>0.7731918656279183</c:v>
                </c:pt>
                <c:pt idx="66">
                  <c:v>0.7317472094455614</c:v>
                </c:pt>
                <c:pt idx="67">
                  <c:v>0.7254935617771187</c:v>
                </c:pt>
                <c:pt idx="68">
                  <c:v>0.7067593673020919</c:v>
                </c:pt>
                <c:pt idx="69">
                  <c:v>0.6974324010560665</c:v>
                </c:pt>
                <c:pt idx="70">
                  <c:v>0.6566226372220156</c:v>
                </c:pt>
                <c:pt idx="71">
                  <c:v>0.6392358178670257</c:v>
                </c:pt>
                <c:pt idx="72">
                  <c:v>0.6822782417441952</c:v>
                </c:pt>
                <c:pt idx="73">
                  <c:v>0.6532545466635774</c:v>
                </c:pt>
                <c:pt idx="74">
                  <c:v>0.620129412779487</c:v>
                </c:pt>
                <c:pt idx="75">
                  <c:v>0.613968123855853</c:v>
                </c:pt>
                <c:pt idx="76">
                  <c:v>0.6330002039853551</c:v>
                </c:pt>
                <c:pt idx="77">
                  <c:v>0.6250158186642925</c:v>
                </c:pt>
                <c:pt idx="78">
                  <c:v>0.6567383451685963</c:v>
                </c:pt>
                <c:pt idx="79">
                  <c:v>0.4150281990648996</c:v>
                </c:pt>
                <c:pt idx="80">
                  <c:v>0.4373406588273845</c:v>
                </c:pt>
                <c:pt idx="81">
                  <c:v>0.5745513462917465</c:v>
                </c:pt>
                <c:pt idx="82">
                  <c:v>0.5589780248158722</c:v>
                </c:pt>
                <c:pt idx="83">
                  <c:v>0.5606763941847615</c:v>
                </c:pt>
                <c:pt idx="84">
                  <c:v>0.5689966363041704</c:v>
                </c:pt>
                <c:pt idx="85">
                  <c:v>0.5990980444911254</c:v>
                </c:pt>
                <c:pt idx="86">
                  <c:v>0.6918962555609803</c:v>
                </c:pt>
                <c:pt idx="87">
                  <c:v>0.7245526854753715</c:v>
                </c:pt>
                <c:pt idx="88">
                  <c:v>0.6746911852934635</c:v>
                </c:pt>
                <c:pt idx="89">
                  <c:v>0.6314890137347587</c:v>
                </c:pt>
                <c:pt idx="90">
                  <c:v>0.653541504327075</c:v>
                </c:pt>
                <c:pt idx="91">
                  <c:v>0.6915465885857349</c:v>
                </c:pt>
                <c:pt idx="92">
                  <c:v>0.7185220755304156</c:v>
                </c:pt>
                <c:pt idx="93">
                  <c:v>0.7427286920319186</c:v>
                </c:pt>
                <c:pt idx="94">
                  <c:v>0.7414405100401361</c:v>
                </c:pt>
                <c:pt idx="95">
                  <c:v>0.7695555492268602</c:v>
                </c:pt>
                <c:pt idx="96">
                  <c:v>0.768427324936442</c:v>
                </c:pt>
                <c:pt idx="97">
                  <c:v>0.8240291213263155</c:v>
                </c:pt>
                <c:pt idx="98">
                  <c:v>0.835070109806222</c:v>
                </c:pt>
                <c:pt idx="99">
                  <c:v>0.8203883519670384</c:v>
                </c:pt>
                <c:pt idx="100">
                  <c:v>0.8162948692418482</c:v>
                </c:pt>
                <c:pt idx="101">
                  <c:v>0.7572842692004252</c:v>
                </c:pt>
                <c:pt idx="102">
                  <c:v>0.7664125389538184</c:v>
                </c:pt>
                <c:pt idx="103">
                  <c:v>0.6985592236008589</c:v>
                </c:pt>
                <c:pt idx="104">
                  <c:v>0.7231587832039668</c:v>
                </c:pt>
              </c:numCache>
            </c:numRef>
          </c:xVal>
          <c:yVal>
            <c:numRef>
              <c:f>Sheet1!$B$2:$B$106</c:f>
              <c:numCache>
                <c:formatCode>General</c:formatCode>
                <c:ptCount val="105"/>
                <c:pt idx="0">
                  <c:v>0.21030715158924204</c:v>
                </c:pt>
                <c:pt idx="1">
                  <c:v>0.21298701298701297</c:v>
                </c:pt>
                <c:pt idx="2">
                  <c:v>0.19188149288187764</c:v>
                </c:pt>
                <c:pt idx="3">
                  <c:v>0.19090721223393264</c:v>
                </c:pt>
                <c:pt idx="4">
                  <c:v>0.19040369315391414</c:v>
                </c:pt>
                <c:pt idx="5">
                  <c:v>0.18118797067477932</c:v>
                </c:pt>
                <c:pt idx="6">
                  <c:v>0.20359223768478837</c:v>
                </c:pt>
                <c:pt idx="7">
                  <c:v>0.20028392958546282</c:v>
                </c:pt>
                <c:pt idx="8">
                  <c:v>0.21053270971268906</c:v>
                </c:pt>
                <c:pt idx="9">
                  <c:v>0.21039721134397726</c:v>
                </c:pt>
                <c:pt idx="10">
                  <c:v>0.22042008977725078</c:v>
                </c:pt>
                <c:pt idx="11">
                  <c:v>0.21358106613581065</c:v>
                </c:pt>
                <c:pt idx="12">
                  <c:v>0.21567654719087187</c:v>
                </c:pt>
                <c:pt idx="13">
                  <c:v>0.22556548743128121</c:v>
                </c:pt>
                <c:pt idx="14">
                  <c:v>0.21514723007818998</c:v>
                </c:pt>
                <c:pt idx="15">
                  <c:v>0.21337422099119596</c:v>
                </c:pt>
                <c:pt idx="16">
                  <c:v>0.2021367278513383</c:v>
                </c:pt>
                <c:pt idx="17">
                  <c:v>0.1916417538614848</c:v>
                </c:pt>
                <c:pt idx="18">
                  <c:v>0.17514358867898416</c:v>
                </c:pt>
                <c:pt idx="19">
                  <c:v>0.16184781718404456</c:v>
                </c:pt>
                <c:pt idx="20">
                  <c:v>0.174278038952317</c:v>
                </c:pt>
                <c:pt idx="21">
                  <c:v>0.17816586373021334</c:v>
                </c:pt>
                <c:pt idx="22">
                  <c:v>0.17713299358868978</c:v>
                </c:pt>
                <c:pt idx="23">
                  <c:v>0.18507202095154954</c:v>
                </c:pt>
                <c:pt idx="24">
                  <c:v>0.18752479961907786</c:v>
                </c:pt>
                <c:pt idx="25">
                  <c:v>0.18773318773318773</c:v>
                </c:pt>
                <c:pt idx="26">
                  <c:v>0.192</c:v>
                </c:pt>
                <c:pt idx="27">
                  <c:v>0.17932890155112377</c:v>
                </c:pt>
                <c:pt idx="28">
                  <c:v>0.17864642222581167</c:v>
                </c:pt>
                <c:pt idx="29">
                  <c:v>0.20309249757315212</c:v>
                </c:pt>
                <c:pt idx="30">
                  <c:v>0.18293125340105207</c:v>
                </c:pt>
                <c:pt idx="31">
                  <c:v>0.17864829961256995</c:v>
                </c:pt>
                <c:pt idx="32">
                  <c:v>0.1871335232032166</c:v>
                </c:pt>
                <c:pt idx="33">
                  <c:v>0.20930232558139536</c:v>
                </c:pt>
                <c:pt idx="34">
                  <c:v>0.1992973309911033</c:v>
                </c:pt>
                <c:pt idx="35">
                  <c:v>0.1956752736159813</c:v>
                </c:pt>
                <c:pt idx="36">
                  <c:v>0.15181646844739066</c:v>
                </c:pt>
                <c:pt idx="37">
                  <c:v>0.14250182882223847</c:v>
                </c:pt>
                <c:pt idx="38">
                  <c:v>0.13718112724809994</c:v>
                </c:pt>
                <c:pt idx="39">
                  <c:v>0.13833099797602366</c:v>
                </c:pt>
                <c:pt idx="40">
                  <c:v>0.13867644270273688</c:v>
                </c:pt>
                <c:pt idx="41">
                  <c:v>0.1270996640537514</c:v>
                </c:pt>
                <c:pt idx="42">
                  <c:v>0.13326508490906902</c:v>
                </c:pt>
                <c:pt idx="43">
                  <c:v>0.13675121424716677</c:v>
                </c:pt>
                <c:pt idx="44">
                  <c:v>0.16124158769399807</c:v>
                </c:pt>
                <c:pt idx="45">
                  <c:v>0.1861608385121974</c:v>
                </c:pt>
                <c:pt idx="46">
                  <c:v>0.1937179063691781</c:v>
                </c:pt>
                <c:pt idx="47">
                  <c:v>0.19532088430993774</c:v>
                </c:pt>
                <c:pt idx="48">
                  <c:v>0.21233782239451454</c:v>
                </c:pt>
                <c:pt idx="49">
                  <c:v>0.24603675866860356</c:v>
                </c:pt>
                <c:pt idx="50">
                  <c:v>0.20786180373861235</c:v>
                </c:pt>
                <c:pt idx="51">
                  <c:v>0.18664801119328403</c:v>
                </c:pt>
                <c:pt idx="52">
                  <c:v>0.19997993176801124</c:v>
                </c:pt>
                <c:pt idx="53">
                  <c:v>0.1882059256834179</c:v>
                </c:pt>
                <c:pt idx="54">
                  <c:v>0.1853673948366131</c:v>
                </c:pt>
                <c:pt idx="55">
                  <c:v>0.17528152113716078</c:v>
                </c:pt>
                <c:pt idx="56">
                  <c:v>0.1852655955999421</c:v>
                </c:pt>
                <c:pt idx="57">
                  <c:v>0.18023843200646594</c:v>
                </c:pt>
                <c:pt idx="58">
                  <c:v>0.19915412830301668</c:v>
                </c:pt>
                <c:pt idx="59">
                  <c:v>0.2092832698703427</c:v>
                </c:pt>
                <c:pt idx="60">
                  <c:v>0.22389277072401512</c:v>
                </c:pt>
                <c:pt idx="61">
                  <c:v>0.222672371360418</c:v>
                </c:pt>
                <c:pt idx="62">
                  <c:v>0.22107099622587767</c:v>
                </c:pt>
                <c:pt idx="63">
                  <c:v>0.23888208218815193</c:v>
                </c:pt>
                <c:pt idx="64">
                  <c:v>0.22448180186061695</c:v>
                </c:pt>
                <c:pt idx="65">
                  <c:v>0.2092982083421854</c:v>
                </c:pt>
                <c:pt idx="66">
                  <c:v>0.21225035212539275</c:v>
                </c:pt>
                <c:pt idx="67">
                  <c:v>0.20886051756431329</c:v>
                </c:pt>
                <c:pt idx="68">
                  <c:v>0.18994516381733562</c:v>
                </c:pt>
                <c:pt idx="69">
                  <c:v>0.17577310373592325</c:v>
                </c:pt>
                <c:pt idx="70">
                  <c:v>0.16404162165235686</c:v>
                </c:pt>
                <c:pt idx="71">
                  <c:v>0.17445482866043613</c:v>
                </c:pt>
                <c:pt idx="72">
                  <c:v>0.17299754740683138</c:v>
                </c:pt>
                <c:pt idx="73">
                  <c:v>0.17705832738597288</c:v>
                </c:pt>
                <c:pt idx="74">
                  <c:v>0.17853922452660054</c:v>
                </c:pt>
                <c:pt idx="75">
                  <c:v>0.18282139593730232</c:v>
                </c:pt>
                <c:pt idx="76">
                  <c:v>0.1749961907664178</c:v>
                </c:pt>
                <c:pt idx="77">
                  <c:v>0.17296614850469502</c:v>
                </c:pt>
                <c:pt idx="78">
                  <c:v>0.15853018372703412</c:v>
                </c:pt>
                <c:pt idx="79">
                  <c:v>0.2261861775113743</c:v>
                </c:pt>
                <c:pt idx="80">
                  <c:v>0.2101878612716763</c:v>
                </c:pt>
                <c:pt idx="81">
                  <c:v>0.1694088207694714</c:v>
                </c:pt>
                <c:pt idx="82">
                  <c:v>0.16926466987676486</c:v>
                </c:pt>
                <c:pt idx="83">
                  <c:v>0.14987487255538048</c:v>
                </c:pt>
                <c:pt idx="84">
                  <c:v>0.1537157389092964</c:v>
                </c:pt>
                <c:pt idx="85">
                  <c:v>0.15863306418726042</c:v>
                </c:pt>
                <c:pt idx="86">
                  <c:v>0.1524004465947153</c:v>
                </c:pt>
                <c:pt idx="87">
                  <c:v>0.1689402513850003</c:v>
                </c:pt>
                <c:pt idx="88">
                  <c:v>0.14848762603116408</c:v>
                </c:pt>
                <c:pt idx="89">
                  <c:v>0.14441462596444146</c:v>
                </c:pt>
                <c:pt idx="90">
                  <c:v>0.14172686618507052</c:v>
                </c:pt>
                <c:pt idx="91">
                  <c:v>0.13393232009404651</c:v>
                </c:pt>
                <c:pt idx="92">
                  <c:v>0.14259086672879775</c:v>
                </c:pt>
                <c:pt idx="93">
                  <c:v>0.13648551435484926</c:v>
                </c:pt>
                <c:pt idx="94">
                  <c:v>0.14039841804599384</c:v>
                </c:pt>
                <c:pt idx="95">
                  <c:v>0.14438761776581427</c:v>
                </c:pt>
                <c:pt idx="96">
                  <c:v>0.1441160471441523</c:v>
                </c:pt>
                <c:pt idx="97">
                  <c:v>0.1554780494048381</c:v>
                </c:pt>
                <c:pt idx="98">
                  <c:v>0.17081260364842454</c:v>
                </c:pt>
                <c:pt idx="99">
                  <c:v>0.17867754563033533</c:v>
                </c:pt>
                <c:pt idx="100">
                  <c:v>0.19638028243694658</c:v>
                </c:pt>
                <c:pt idx="101">
                  <c:v>0.18430480700333343</c:v>
                </c:pt>
                <c:pt idx="102">
                  <c:v>0.15521151330135194</c:v>
                </c:pt>
                <c:pt idx="103">
                  <c:v>0.17430878208545966</c:v>
                </c:pt>
                <c:pt idx="104">
                  <c:v>0.1768059102517329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426798521646751</c:v>
                </c:pt>
                <c:pt idx="1">
                  <c:v>0.6980769053483473</c:v>
                </c:pt>
                <c:pt idx="2">
                  <c:v>0.6981189619011349</c:v>
                </c:pt>
                <c:pt idx="3">
                  <c:v>0.689318940302762</c:v>
                </c:pt>
                <c:pt idx="4">
                  <c:v>0.6875674213038231</c:v>
                </c:pt>
                <c:pt idx="5">
                  <c:v>0.7097470145852495</c:v>
                </c:pt>
                <c:pt idx="6">
                  <c:v>0.722530149225777</c:v>
                </c:pt>
                <c:pt idx="7">
                  <c:v>0.7375392048197279</c:v>
                </c:pt>
                <c:pt idx="8">
                  <c:v>0.7726580290276148</c:v>
                </c:pt>
                <c:pt idx="9">
                  <c:v>0.7585658024286183</c:v>
                </c:pt>
                <c:pt idx="10">
                  <c:v>0.7701429415646608</c:v>
                </c:pt>
                <c:pt idx="11">
                  <c:v>0.7389471425321287</c:v>
                </c:pt>
                <c:pt idx="12">
                  <c:v>0.7420845232420272</c:v>
                </c:pt>
                <c:pt idx="13">
                  <c:v>0.7201355264832247</c:v>
                </c:pt>
                <c:pt idx="14">
                  <c:v>0.718693604159007</c:v>
                </c:pt>
                <c:pt idx="15">
                  <c:v>0.7292658026982547</c:v>
                </c:pt>
                <c:pt idx="16">
                  <c:v>0.7561420753697363</c:v>
                </c:pt>
                <c:pt idx="17">
                  <c:v>0.7444165883531295</c:v>
                </c:pt>
                <c:pt idx="18">
                  <c:v>0.7554961383253068</c:v>
                </c:pt>
                <c:pt idx="19">
                  <c:v>0.7703162507955966</c:v>
                </c:pt>
                <c:pt idx="20">
                  <c:v>0.7299546271355665</c:v>
                </c:pt>
                <c:pt idx="21">
                  <c:v>0.6875306724768975</c:v>
                </c:pt>
                <c:pt idx="22">
                  <c:v>0.6521251314295627</c:v>
                </c:pt>
                <c:pt idx="23">
                  <c:v>0.6586406035350121</c:v>
                </c:pt>
                <c:pt idx="24">
                  <c:v>0.6620728951744567</c:v>
                </c:pt>
                <c:pt idx="25">
                  <c:v>0.6763146460299385</c:v>
                </c:pt>
                <c:pt idx="26">
                  <c:v>0.7006286773368043</c:v>
                </c:pt>
                <c:pt idx="27">
                  <c:v>0.7294382812032774</c:v>
                </c:pt>
                <c:pt idx="28">
                  <c:v>0.7086518304355907</c:v>
                </c:pt>
                <c:pt idx="29">
                  <c:v>0.6691539029683038</c:v>
                </c:pt>
                <c:pt idx="30">
                  <c:v>0.6476039347876783</c:v>
                </c:pt>
                <c:pt idx="31">
                  <c:v>0.6133382138762147</c:v>
                </c:pt>
                <c:pt idx="32">
                  <c:v>0.6327244788389392</c:v>
                </c:pt>
                <c:pt idx="33">
                  <c:v>0.6829877681184624</c:v>
                </c:pt>
                <c:pt idx="34">
                  <c:v>0.7213932301915132</c:v>
                </c:pt>
                <c:pt idx="35">
                  <c:v>0.6722221996100761</c:v>
                </c:pt>
                <c:pt idx="36">
                  <c:v>0.6219567773776001</c:v>
                </c:pt>
                <c:pt idx="37">
                  <c:v>0.6663846727698355</c:v>
                </c:pt>
                <c:pt idx="38">
                  <c:v>0.6528054271529523</c:v>
                </c:pt>
                <c:pt idx="39">
                  <c:v>0.6856067396174454</c:v>
                </c:pt>
                <c:pt idx="40">
                  <c:v>0.7096898448529686</c:v>
                </c:pt>
                <c:pt idx="41">
                  <c:v>0.7454437954742583</c:v>
                </c:pt>
                <c:pt idx="42">
                  <c:v>0.7133992422605183</c:v>
                </c:pt>
                <c:pt idx="43">
                  <c:v>0.7653773757788291</c:v>
                </c:pt>
                <c:pt idx="44">
                  <c:v>0.8242857072026608</c:v>
                </c:pt>
                <c:pt idx="45">
                  <c:v>0.8206109631062484</c:v>
                </c:pt>
                <c:pt idx="46">
                  <c:v>0.7912282232964183</c:v>
                </c:pt>
                <c:pt idx="47">
                  <c:v>0.7948638230905526</c:v>
                </c:pt>
                <c:pt idx="48">
                  <c:v>0.8395538487473678</c:v>
                </c:pt>
                <c:pt idx="49">
                  <c:v>0.8709578695330916</c:v>
                </c:pt>
                <c:pt idx="50">
                  <c:v>0.7906432403067581</c:v>
                </c:pt>
                <c:pt idx="51">
                  <c:v>0.7584439995183717</c:v>
                </c:pt>
              </c:numCache>
            </c:numRef>
          </c:xVal>
          <c:yVal>
            <c:numRef>
              <c:f>Sheet1!$B$109:$B$160</c:f>
              <c:numCache>
                <c:formatCode>General</c:formatCode>
                <c:ptCount val="52"/>
                <c:pt idx="0">
                  <c:v>0.1695790790588805</c:v>
                </c:pt>
                <c:pt idx="1">
                  <c:v>0.17791174961518727</c:v>
                </c:pt>
                <c:pt idx="2">
                  <c:v>0.1852353538774128</c:v>
                </c:pt>
                <c:pt idx="3">
                  <c:v>0.1991701244813278</c:v>
                </c:pt>
                <c:pt idx="4">
                  <c:v>0.1874479971472721</c:v>
                </c:pt>
                <c:pt idx="5">
                  <c:v>0.18587300300056767</c:v>
                </c:pt>
                <c:pt idx="6">
                  <c:v>0.18391370041111774</c:v>
                </c:pt>
                <c:pt idx="7">
                  <c:v>0.17661247527618312</c:v>
                </c:pt>
                <c:pt idx="8">
                  <c:v>0.17646420235575097</c:v>
                </c:pt>
                <c:pt idx="9">
                  <c:v>0.18555672006787444</c:v>
                </c:pt>
                <c:pt idx="10">
                  <c:v>0.1925045080169599</c:v>
                </c:pt>
                <c:pt idx="11">
                  <c:v>0.2061260270205232</c:v>
                </c:pt>
                <c:pt idx="12">
                  <c:v>0.20658426141231184</c:v>
                </c:pt>
                <c:pt idx="13">
                  <c:v>0.19522052363380776</c:v>
                </c:pt>
                <c:pt idx="14">
                  <c:v>0.19821548498512903</c:v>
                </c:pt>
                <c:pt idx="15">
                  <c:v>0.18580538130540722</c:v>
                </c:pt>
                <c:pt idx="16">
                  <c:v>0.16675835931291644</c:v>
                </c:pt>
                <c:pt idx="17">
                  <c:v>0.1526210587400864</c:v>
                </c:pt>
                <c:pt idx="18">
                  <c:v>0.14812035716965558</c:v>
                </c:pt>
                <c:pt idx="19">
                  <c:v>0.15454277720512444</c:v>
                </c:pt>
                <c:pt idx="20">
                  <c:v>0.14374286180453583</c:v>
                </c:pt>
                <c:pt idx="21">
                  <c:v>0.1542785153600155</c:v>
                </c:pt>
                <c:pt idx="22">
                  <c:v>0.16029230331213817</c:v>
                </c:pt>
                <c:pt idx="23">
                  <c:v>0.1641924877951579</c:v>
                </c:pt>
                <c:pt idx="24">
                  <c:v>0.15807748538011696</c:v>
                </c:pt>
                <c:pt idx="25">
                  <c:v>0.1643002028397566</c:v>
                </c:pt>
                <c:pt idx="26">
                  <c:v>0.14259111465815377</c:v>
                </c:pt>
                <c:pt idx="27">
                  <c:v>0.14253629582096736</c:v>
                </c:pt>
                <c:pt idx="28">
                  <c:v>0.1532013296719179</c:v>
                </c:pt>
                <c:pt idx="29">
                  <c:v>0.1561052355563325</c:v>
                </c:pt>
                <c:pt idx="30">
                  <c:v>0.1652134831460674</c:v>
                </c:pt>
                <c:pt idx="31">
                  <c:v>0.16674638859657515</c:v>
                </c:pt>
                <c:pt idx="32">
                  <c:v>0.16969546095759688</c:v>
                </c:pt>
                <c:pt idx="33">
                  <c:v>0.18638573743922204</c:v>
                </c:pt>
                <c:pt idx="34">
                  <c:v>0.20878356691986732</c:v>
                </c:pt>
                <c:pt idx="35">
                  <c:v>0.20040160642570282</c:v>
                </c:pt>
                <c:pt idx="36">
                  <c:v>0.16900073707486574</c:v>
                </c:pt>
                <c:pt idx="37">
                  <c:v>0.14900124247347796</c:v>
                </c:pt>
                <c:pt idx="38">
                  <c:v>0.1543937944958028</c:v>
                </c:pt>
                <c:pt idx="39">
                  <c:v>0.17405877309221296</c:v>
                </c:pt>
                <c:pt idx="40">
                  <c:v>0.15430244781498723</c:v>
                </c:pt>
                <c:pt idx="41">
                  <c:v>0.15501779359430606</c:v>
                </c:pt>
                <c:pt idx="42">
                  <c:v>0.15447549615228837</c:v>
                </c:pt>
                <c:pt idx="43">
                  <c:v>0.1453913248467704</c:v>
                </c:pt>
                <c:pt idx="44">
                  <c:v>0.13828449859781453</c:v>
                </c:pt>
                <c:pt idx="45">
                  <c:v>0.1537342041743575</c:v>
                </c:pt>
                <c:pt idx="46">
                  <c:v>0.1493275233586123</c:v>
                </c:pt>
                <c:pt idx="47">
                  <c:v>0.15100058286380416</c:v>
                </c:pt>
                <c:pt idx="48">
                  <c:v>0.14215291426362084</c:v>
                </c:pt>
                <c:pt idx="49">
                  <c:v>0.1594824980351853</c:v>
                </c:pt>
                <c:pt idx="50">
                  <c:v>0.1933509556730378</c:v>
                </c:pt>
                <c:pt idx="51">
                  <c:v>0.1802605026600623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1089155351674006</c:v>
                </c:pt>
              </c:numCache>
            </c:numRef>
          </c:xVal>
          <c:yVal>
            <c:numRef>
              <c:f>Sheet1!$B$163:$B$164</c:f>
              <c:numCache>
                <c:formatCode>General</c:formatCode>
                <c:ptCount val="2"/>
                <c:pt idx="0">
                  <c:v>0.1999656435326154</c:v>
                </c:pt>
                <c:pt idx="1">
                  <c:v>0.199965643532615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1089155351674006</c:v>
                </c:pt>
                <c:pt idx="1">
                  <c:v>0.11089155351674006</c:v>
                </c:pt>
              </c:numCache>
            </c:numRef>
          </c:xVal>
          <c:yVal>
            <c:numRef>
              <c:f>Sheet1!$B$167:$B$168</c:f>
              <c:numCache>
                <c:formatCode>General</c:formatCode>
                <c:ptCount val="2"/>
                <c:pt idx="0">
                  <c:v>0.199965643532615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576764961671917</c:v>
                </c:pt>
              </c:numCache>
            </c:numRef>
          </c:xVal>
          <c:yVal>
            <c:numRef>
              <c:f>Sheet1!$B$171:$B$172</c:f>
              <c:numCache>
                <c:formatCode>General</c:formatCode>
                <c:ptCount val="2"/>
                <c:pt idx="0">
                  <c:v>0.1824675205804111</c:v>
                </c:pt>
                <c:pt idx="1">
                  <c:v>0.182467520580411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576764961671917</c:v>
                </c:pt>
                <c:pt idx="1">
                  <c:v>0.4576764961671917</c:v>
                </c:pt>
              </c:numCache>
            </c:numRef>
          </c:xVal>
          <c:yVal>
            <c:numRef>
              <c:f>Sheet1!$B$175:$B$176</c:f>
              <c:numCache>
                <c:formatCode>General</c:formatCode>
                <c:ptCount val="2"/>
                <c:pt idx="0">
                  <c:v>0.182467520580411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47401942483279</c:v>
                </c:pt>
              </c:numCache>
            </c:numRef>
          </c:xVal>
          <c:yVal>
            <c:numRef>
              <c:f>Sheet1!$B$179:$B$180</c:f>
              <c:numCache>
                <c:formatCode>General</c:formatCode>
                <c:ptCount val="2"/>
                <c:pt idx="0">
                  <c:v>0.15775688577900457</c:v>
                </c:pt>
                <c:pt idx="1">
                  <c:v>0.1577568857790045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47401942483279</c:v>
                </c:pt>
                <c:pt idx="1">
                  <c:v>0.947401942483279</c:v>
                </c:pt>
              </c:numCache>
            </c:numRef>
          </c:xVal>
          <c:yVal>
            <c:numRef>
              <c:f>Sheet1!$B$183:$B$184</c:f>
              <c:numCache>
                <c:formatCode>General</c:formatCode>
                <c:ptCount val="2"/>
                <c:pt idx="0">
                  <c:v>0.1577568857790045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426798521646751</c:v>
                </c:pt>
                <c:pt idx="1">
                  <c:v>0.6980769053483473</c:v>
                </c:pt>
                <c:pt idx="2">
                  <c:v>0.6981189619011349</c:v>
                </c:pt>
                <c:pt idx="3">
                  <c:v>0.689318940302762</c:v>
                </c:pt>
                <c:pt idx="4">
                  <c:v>0.6875674213038231</c:v>
                </c:pt>
                <c:pt idx="5">
                  <c:v>0.7097470145852495</c:v>
                </c:pt>
                <c:pt idx="6">
                  <c:v>0.722530149225777</c:v>
                </c:pt>
                <c:pt idx="7">
                  <c:v>0.7375392048197279</c:v>
                </c:pt>
                <c:pt idx="8">
                  <c:v>0.7726580290276148</c:v>
                </c:pt>
                <c:pt idx="9">
                  <c:v>0.7585658024286183</c:v>
                </c:pt>
                <c:pt idx="10">
                  <c:v>0.7701429415646608</c:v>
                </c:pt>
                <c:pt idx="11">
                  <c:v>0.7389471425321287</c:v>
                </c:pt>
                <c:pt idx="12">
                  <c:v>0.7420845232420272</c:v>
                </c:pt>
                <c:pt idx="13">
                  <c:v>0.7201355264832247</c:v>
                </c:pt>
                <c:pt idx="14">
                  <c:v>0.718693604159007</c:v>
                </c:pt>
                <c:pt idx="15">
                  <c:v>0.7292658026982547</c:v>
                </c:pt>
                <c:pt idx="16">
                  <c:v>0.7561420753697363</c:v>
                </c:pt>
                <c:pt idx="17">
                  <c:v>0.7444165883531295</c:v>
                </c:pt>
                <c:pt idx="18">
                  <c:v>0.7554961383253068</c:v>
                </c:pt>
                <c:pt idx="19">
                  <c:v>0.7703162507955966</c:v>
                </c:pt>
                <c:pt idx="20">
                  <c:v>0.7299546271355665</c:v>
                </c:pt>
                <c:pt idx="21">
                  <c:v>0.6875306724768975</c:v>
                </c:pt>
                <c:pt idx="22">
                  <c:v>0.6521251314295627</c:v>
                </c:pt>
                <c:pt idx="23">
                  <c:v>0.6586406035350121</c:v>
                </c:pt>
                <c:pt idx="24">
                  <c:v>0.6620728951744567</c:v>
                </c:pt>
                <c:pt idx="25">
                  <c:v>0.6763146460299385</c:v>
                </c:pt>
                <c:pt idx="26">
                  <c:v>0.7006286773368043</c:v>
                </c:pt>
                <c:pt idx="27">
                  <c:v>0.7294382812032774</c:v>
                </c:pt>
                <c:pt idx="28">
                  <c:v>0.7086518304355907</c:v>
                </c:pt>
                <c:pt idx="29">
                  <c:v>0.6691539029683038</c:v>
                </c:pt>
                <c:pt idx="30">
                  <c:v>0.6476039347876783</c:v>
                </c:pt>
                <c:pt idx="31">
                  <c:v>0.6133382138762147</c:v>
                </c:pt>
                <c:pt idx="32">
                  <c:v>0.6327244788389392</c:v>
                </c:pt>
                <c:pt idx="33">
                  <c:v>0.6829877681184624</c:v>
                </c:pt>
                <c:pt idx="34">
                  <c:v>0.7213932301915132</c:v>
                </c:pt>
                <c:pt idx="35">
                  <c:v>0.6722221996100761</c:v>
                </c:pt>
                <c:pt idx="36">
                  <c:v>0.6219567773776001</c:v>
                </c:pt>
                <c:pt idx="37">
                  <c:v>0.6663846727698355</c:v>
                </c:pt>
                <c:pt idx="38">
                  <c:v>0.6528054271529523</c:v>
                </c:pt>
                <c:pt idx="39">
                  <c:v>0.6856067396174454</c:v>
                </c:pt>
                <c:pt idx="40">
                  <c:v>0.7096898448529686</c:v>
                </c:pt>
                <c:pt idx="41">
                  <c:v>0.7454437954742583</c:v>
                </c:pt>
                <c:pt idx="42">
                  <c:v>0.7133992422605183</c:v>
                </c:pt>
                <c:pt idx="43">
                  <c:v>0.7653773757788291</c:v>
                </c:pt>
                <c:pt idx="44">
                  <c:v>0.8242857072026608</c:v>
                </c:pt>
                <c:pt idx="45">
                  <c:v>0.8206109631062484</c:v>
                </c:pt>
                <c:pt idx="46">
                  <c:v>0.7912282232964183</c:v>
                </c:pt>
                <c:pt idx="47">
                  <c:v>0.7948638230905526</c:v>
                </c:pt>
                <c:pt idx="48">
                  <c:v>0.8395538487473678</c:v>
                </c:pt>
                <c:pt idx="49">
                  <c:v>0.8709578695330916</c:v>
                </c:pt>
                <c:pt idx="50">
                  <c:v>0.7906432403067581</c:v>
                </c:pt>
                <c:pt idx="51">
                  <c:v>0.7584439995183717</c:v>
                </c:pt>
                <c:pt idx="52">
                  <c:v>0.4576764961671917</c:v>
                </c:pt>
                <c:pt idx="53">
                  <c:v>0.11089155351674006</c:v>
                </c:pt>
                <c:pt idx="54">
                  <c:v>0.947401942483279</c:v>
                </c:pt>
              </c:numCache>
            </c:numRef>
          </c:xVal>
          <c:yVal>
            <c:numRef>
              <c:f>Sheet1!$B$187:$B$241</c:f>
              <c:numCache>
                <c:formatCode>General</c:formatCode>
                <c:ptCount val="55"/>
                <c:pt idx="0">
                  <c:v>0.168086781535286</c:v>
                </c:pt>
                <c:pt idx="1">
                  <c:v>0.1703373632400673</c:v>
                </c:pt>
                <c:pt idx="2">
                  <c:v>0.1703352411446672</c:v>
                </c:pt>
                <c:pt idx="3">
                  <c:v>0.17077927386054434</c:v>
                </c:pt>
                <c:pt idx="4">
                  <c:v>0.17086765225022388</c:v>
                </c:pt>
                <c:pt idx="5">
                  <c:v>0.16974851124224916</c:v>
                </c:pt>
                <c:pt idx="6">
                  <c:v>0.1691034980535422</c:v>
                </c:pt>
                <c:pt idx="7">
                  <c:v>0.16834616903524005</c:v>
                </c:pt>
                <c:pt idx="8">
                  <c:v>0.16657413851041458</c:v>
                </c:pt>
                <c:pt idx="9">
                  <c:v>0.16728520604355174</c:v>
                </c:pt>
                <c:pt idx="10">
                  <c:v>0.16670104514403586</c:v>
                </c:pt>
                <c:pt idx="11">
                  <c:v>0.16827512711798626</c:v>
                </c:pt>
                <c:pt idx="12">
                  <c:v>0.1681168207250094</c:v>
                </c:pt>
                <c:pt idx="13">
                  <c:v>0.16922432626151762</c:v>
                </c:pt>
                <c:pt idx="14">
                  <c:v>0.16929708297904938</c:v>
                </c:pt>
                <c:pt idx="15">
                  <c:v>0.16876362951218032</c:v>
                </c:pt>
                <c:pt idx="16">
                  <c:v>0.1674075028011755</c:v>
                </c:pt>
                <c:pt idx="17">
                  <c:v>0.16799914905871755</c:v>
                </c:pt>
                <c:pt idx="18">
                  <c:v>0.16744009558255876</c:v>
                </c:pt>
                <c:pt idx="19">
                  <c:v>0.16669230028271492</c:v>
                </c:pt>
                <c:pt idx="20">
                  <c:v>0.16872887271275172</c:v>
                </c:pt>
                <c:pt idx="21">
                  <c:v>0.17086950652765293</c:v>
                </c:pt>
                <c:pt idx="22">
                  <c:v>0.1726560042507102</c:v>
                </c:pt>
                <c:pt idx="23">
                  <c:v>0.17232724565144275</c:v>
                </c:pt>
                <c:pt idx="24">
                  <c:v>0.17215405860169428</c:v>
                </c:pt>
                <c:pt idx="25">
                  <c:v>0.17143544635279084</c:v>
                </c:pt>
                <c:pt idx="26">
                  <c:v>0.1702086055735471</c:v>
                </c:pt>
                <c:pt idx="27">
                  <c:v>0.16875492656774327</c:v>
                </c:pt>
                <c:pt idx="28">
                  <c:v>0.1698037721966596</c:v>
                </c:pt>
                <c:pt idx="29">
                  <c:v>0.17179676412386816</c:v>
                </c:pt>
                <c:pt idx="30">
                  <c:v>0.1728841354207839</c:v>
                </c:pt>
                <c:pt idx="31">
                  <c:v>0.1746131199406195</c:v>
                </c:pt>
                <c:pt idx="32">
                  <c:v>0.1736349250821314</c:v>
                </c:pt>
                <c:pt idx="33">
                  <c:v>0.17109873302871276</c:v>
                </c:pt>
                <c:pt idx="34">
                  <c:v>0.16916086487257476</c:v>
                </c:pt>
                <c:pt idx="35">
                  <c:v>0.17164194358442597</c:v>
                </c:pt>
                <c:pt idx="36">
                  <c:v>0.17417824326268186</c:v>
                </c:pt>
                <c:pt idx="37">
                  <c:v>0.17193649432704655</c:v>
                </c:pt>
                <c:pt idx="38">
                  <c:v>0.17262167779431695</c:v>
                </c:pt>
                <c:pt idx="39">
                  <c:v>0.17096658459992786</c:v>
                </c:pt>
                <c:pt idx="40">
                  <c:v>0.16975139592056576</c:v>
                </c:pt>
                <c:pt idx="41">
                  <c:v>0.16794731809868357</c:v>
                </c:pt>
                <c:pt idx="42">
                  <c:v>0.16956422662936238</c:v>
                </c:pt>
                <c:pt idx="43">
                  <c:v>0.16694150672642166</c:v>
                </c:pt>
                <c:pt idx="44">
                  <c:v>0.16396910193201164</c:v>
                </c:pt>
                <c:pt idx="45">
                  <c:v>0.1641545226816136</c:v>
                </c:pt>
                <c:pt idx="46">
                  <c:v>0.16563712106069972</c:v>
                </c:pt>
                <c:pt idx="47">
                  <c:v>0.16545367545975592</c:v>
                </c:pt>
                <c:pt idx="48">
                  <c:v>0.16319869991870903</c:v>
                </c:pt>
                <c:pt idx="49">
                  <c:v>0.1616141114625255</c:v>
                </c:pt>
                <c:pt idx="50">
                  <c:v>0.16566663821389496</c:v>
                </c:pt>
                <c:pt idx="51">
                  <c:v>0.1672913519917672</c:v>
                </c:pt>
                <c:pt idx="52">
                  <c:v>0.1824675205804111</c:v>
                </c:pt>
                <c:pt idx="53">
                  <c:v>0.1999656435326154</c:v>
                </c:pt>
                <c:pt idx="54">
                  <c:v>0.1577568857790045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524411040232423"/>
          <c:min val="0.1016797312430011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757796290199556</c:v>
                </c:pt>
                <c:pt idx="1">
                  <c:v>0.4628041489237477</c:v>
                </c:pt>
                <c:pt idx="2">
                  <c:v>0.38446014072173446</c:v>
                </c:pt>
                <c:pt idx="3">
                  <c:v>0.35175891716814156</c:v>
                </c:pt>
                <c:pt idx="4">
                  <c:v>0.4738002254467367</c:v>
                </c:pt>
                <c:pt idx="5">
                  <c:v>0.4533538046957952</c:v>
                </c:pt>
                <c:pt idx="6">
                  <c:v>0.3826111561089854</c:v>
                </c:pt>
                <c:pt idx="7">
                  <c:v>0.3705433469462413</c:v>
                </c:pt>
                <c:pt idx="8">
                  <c:v>0.3429108068346446</c:v>
                </c:pt>
                <c:pt idx="9">
                  <c:v>0.3700728161384834</c:v>
                </c:pt>
                <c:pt idx="10">
                  <c:v>0.4105856936900441</c:v>
                </c:pt>
                <c:pt idx="11">
                  <c:v>0.3585705827809404</c:v>
                </c:pt>
                <c:pt idx="12">
                  <c:v>0.36818381933961564</c:v>
                </c:pt>
                <c:pt idx="13">
                  <c:v>0.3509468781627863</c:v>
                </c:pt>
                <c:pt idx="14">
                  <c:v>0.45281543930340823</c:v>
                </c:pt>
                <c:pt idx="15">
                  <c:v>0.34873740855425034</c:v>
                </c:pt>
                <c:pt idx="16">
                  <c:v>0.46110060956183757</c:v>
                </c:pt>
                <c:pt idx="17">
                  <c:v>0.3308692794935684</c:v>
                </c:pt>
                <c:pt idx="18">
                  <c:v>0.4520749475418715</c:v>
                </c:pt>
                <c:pt idx="19">
                  <c:v>0.39151200734323544</c:v>
                </c:pt>
                <c:pt idx="20">
                  <c:v>0.3109370826749549</c:v>
                </c:pt>
                <c:pt idx="21">
                  <c:v>0.6731403401245915</c:v>
                </c:pt>
                <c:pt idx="22">
                  <c:v>0.2976496979561086</c:v>
                </c:pt>
                <c:pt idx="23">
                  <c:v>0.37245069004732534</c:v>
                </c:pt>
                <c:pt idx="24">
                  <c:v>0.26431540899620987</c:v>
                </c:pt>
                <c:pt idx="25">
                  <c:v>0.26149917315190924</c:v>
                </c:pt>
                <c:pt idx="26">
                  <c:v>0.32315937071646045</c:v>
                </c:pt>
                <c:pt idx="27">
                  <c:v>0.3028535533723378</c:v>
                </c:pt>
                <c:pt idx="28">
                  <c:v>0.32989183902733227</c:v>
                </c:pt>
                <c:pt idx="29">
                  <c:v>0.3150002897403532</c:v>
                </c:pt>
                <c:pt idx="30">
                  <c:v>0.3107940784694389</c:v>
                </c:pt>
                <c:pt idx="31">
                  <c:v>0.3319287971214245</c:v>
                </c:pt>
                <c:pt idx="32">
                  <c:v>0.41423490650099054</c:v>
                </c:pt>
                <c:pt idx="33">
                  <c:v>0.26772668533017185</c:v>
                </c:pt>
                <c:pt idx="34">
                  <c:v>0.30284769472871326</c:v>
                </c:pt>
                <c:pt idx="35">
                  <c:v>0.29706319385598234</c:v>
                </c:pt>
                <c:pt idx="36">
                  <c:v>0.2764260661381704</c:v>
                </c:pt>
                <c:pt idx="37">
                  <c:v>0.29576472860347286</c:v>
                </c:pt>
                <c:pt idx="38">
                  <c:v>0.3022153622035641</c:v>
                </c:pt>
                <c:pt idx="39">
                  <c:v>0.3714222459546191</c:v>
                </c:pt>
                <c:pt idx="40">
                  <c:v>0.4384263658467857</c:v>
                </c:pt>
                <c:pt idx="41">
                  <c:v>0.40391221710430236</c:v>
                </c:pt>
                <c:pt idx="42">
                  <c:v>0.35409378985768397</c:v>
                </c:pt>
                <c:pt idx="43">
                  <c:v>0.3325542701120131</c:v>
                </c:pt>
                <c:pt idx="44">
                  <c:v>0.31412438865814607</c:v>
                </c:pt>
                <c:pt idx="45">
                  <c:v>0.32972355714372287</c:v>
                </c:pt>
                <c:pt idx="46">
                  <c:v>0.32290314788638147</c:v>
                </c:pt>
                <c:pt idx="47">
                  <c:v>0.28081627161178613</c:v>
                </c:pt>
                <c:pt idx="48">
                  <c:v>0.40198244727045374</c:v>
                </c:pt>
                <c:pt idx="49">
                  <c:v>0.36140260101151445</c:v>
                </c:pt>
                <c:pt idx="50">
                  <c:v>0.33502576979867676</c:v>
                </c:pt>
                <c:pt idx="51">
                  <c:v>0.289414445287396</c:v>
                </c:pt>
                <c:pt idx="52">
                  <c:v>0.346286506761632</c:v>
                </c:pt>
                <c:pt idx="53">
                  <c:v>0.3681227491810966</c:v>
                </c:pt>
                <c:pt idx="54">
                  <c:v>0.3106814159349675</c:v>
                </c:pt>
                <c:pt idx="55">
                  <c:v>0.3225071598970006</c:v>
                </c:pt>
                <c:pt idx="56">
                  <c:v>0.2656429383702661</c:v>
                </c:pt>
                <c:pt idx="57">
                  <c:v>0.27461627309831593</c:v>
                </c:pt>
                <c:pt idx="58">
                  <c:v>0.2542125125468082</c:v>
                </c:pt>
                <c:pt idx="59">
                  <c:v>0.2790736654995597</c:v>
                </c:pt>
                <c:pt idx="60">
                  <c:v>0.268918701020759</c:v>
                </c:pt>
                <c:pt idx="61">
                  <c:v>0.2737559057627205</c:v>
                </c:pt>
                <c:pt idx="62">
                  <c:v>0.23714254511853505</c:v>
                </c:pt>
                <c:pt idx="63">
                  <c:v>0.2639295570995596</c:v>
                </c:pt>
                <c:pt idx="64">
                  <c:v>0.24411929276418154</c:v>
                </c:pt>
                <c:pt idx="65">
                  <c:v>0.23834651718354308</c:v>
                </c:pt>
                <c:pt idx="66">
                  <c:v>0.2265580172023124</c:v>
                </c:pt>
                <c:pt idx="67">
                  <c:v>0.24465330001576296</c:v>
                </c:pt>
                <c:pt idx="68">
                  <c:v>0.19304592748094734</c:v>
                </c:pt>
                <c:pt idx="69">
                  <c:v>0.176563179849313</c:v>
                </c:pt>
                <c:pt idx="70">
                  <c:v>0.20307472912435054</c:v>
                </c:pt>
                <c:pt idx="71">
                  <c:v>0.16223163758083553</c:v>
                </c:pt>
                <c:pt idx="72">
                  <c:v>0.19452391567685787</c:v>
                </c:pt>
                <c:pt idx="73">
                  <c:v>0.14680309877576517</c:v>
                </c:pt>
                <c:pt idx="74">
                  <c:v>0.17895765692151802</c:v>
                </c:pt>
                <c:pt idx="75">
                  <c:v>0.263458454217155</c:v>
                </c:pt>
                <c:pt idx="76">
                  <c:v>0.2696262522486116</c:v>
                </c:pt>
                <c:pt idx="77">
                  <c:v>0.32061905869345786</c:v>
                </c:pt>
                <c:pt idx="78">
                  <c:v>0.2604182509138167</c:v>
                </c:pt>
                <c:pt idx="79">
                  <c:v>0.35928586292538545</c:v>
                </c:pt>
                <c:pt idx="80">
                  <c:v>0.3076168461232913</c:v>
                </c:pt>
                <c:pt idx="81">
                  <c:v>0.3125101209781216</c:v>
                </c:pt>
                <c:pt idx="82">
                  <c:v>0.30392184431163377</c:v>
                </c:pt>
                <c:pt idx="83">
                  <c:v>0.34588059648585534</c:v>
                </c:pt>
                <c:pt idx="84">
                  <c:v>0.31672456372234875</c:v>
                </c:pt>
                <c:pt idx="85">
                  <c:v>0.29491410458714823</c:v>
                </c:pt>
                <c:pt idx="86">
                  <c:v>0.41163178237548076</c:v>
                </c:pt>
                <c:pt idx="87">
                  <c:v>0.39163835882287756</c:v>
                </c:pt>
                <c:pt idx="88">
                  <c:v>0.3540152075496147</c:v>
                </c:pt>
                <c:pt idx="89">
                  <c:v>0.3449667359017862</c:v>
                </c:pt>
                <c:pt idx="90">
                  <c:v>0.3946074947859846</c:v>
                </c:pt>
                <c:pt idx="91">
                  <c:v>0.32520142514368267</c:v>
                </c:pt>
                <c:pt idx="92">
                  <c:v>0.37901946314473167</c:v>
                </c:pt>
                <c:pt idx="93">
                  <c:v>0.40278913725277127</c:v>
                </c:pt>
                <c:pt idx="94">
                  <c:v>0.3803106404049563</c:v>
                </c:pt>
                <c:pt idx="95">
                  <c:v>0.37500153143472664</c:v>
                </c:pt>
                <c:pt idx="96">
                  <c:v>0.3246901360006343</c:v>
                </c:pt>
                <c:pt idx="97">
                  <c:v>0.3225030917241651</c:v>
                </c:pt>
                <c:pt idx="98">
                  <c:v>0.30813889394274324</c:v>
                </c:pt>
                <c:pt idx="99">
                  <c:v>0.33189219567981354</c:v>
                </c:pt>
                <c:pt idx="100">
                  <c:v>0.3834245237211544</c:v>
                </c:pt>
                <c:pt idx="101">
                  <c:v>0.3565584660872415</c:v>
                </c:pt>
                <c:pt idx="102">
                  <c:v>0.36414604485149316</c:v>
                </c:pt>
                <c:pt idx="103">
                  <c:v>0.3734641332516172</c:v>
                </c:pt>
                <c:pt idx="104">
                  <c:v>0.39511335910368844</c:v>
                </c:pt>
              </c:numCache>
            </c:numRef>
          </c:xVal>
          <c:yVal>
            <c:numRef>
              <c:f>Sheet1!$B$2:$B$106</c:f>
              <c:numCache>
                <c:formatCode>General</c:formatCode>
                <c:ptCount val="105"/>
                <c:pt idx="0">
                  <c:v>0.00036313292934794946</c:v>
                </c:pt>
                <c:pt idx="1">
                  <c:v>0.0001180052394326308</c:v>
                </c:pt>
                <c:pt idx="2">
                  <c:v>0.0001380738695201933</c:v>
                </c:pt>
                <c:pt idx="3">
                  <c:v>0.00012080796366096453</c:v>
                </c:pt>
                <c:pt idx="4">
                  <c:v>8.474336883138894e-05</c:v>
                </c:pt>
                <c:pt idx="5">
                  <c:v>0.00017300040366760857</c:v>
                </c:pt>
                <c:pt idx="6">
                  <c:v>0.0003105064077231412</c:v>
                </c:pt>
                <c:pt idx="7">
                  <c:v>0.00025602457835952253</c:v>
                </c:pt>
                <c:pt idx="8">
                  <c:v>0.0002340276152586005</c:v>
                </c:pt>
                <c:pt idx="9">
                  <c:v>0.0002367673366305377</c:v>
                </c:pt>
                <c:pt idx="10">
                  <c:v>0.00015051173991571343</c:v>
                </c:pt>
                <c:pt idx="11">
                  <c:v>0.0002527805864509606</c:v>
                </c:pt>
                <c:pt idx="12">
                  <c:v>0.0002554337729890396</c:v>
                </c:pt>
                <c:pt idx="13">
                  <c:v>0.0002448639780601876</c:v>
                </c:pt>
                <c:pt idx="14">
                  <c:v>7.260582298700355e-05</c:v>
                </c:pt>
                <c:pt idx="15">
                  <c:v>0.0001733452748967151</c:v>
                </c:pt>
                <c:pt idx="16">
                  <c:v>6.55780706931602e-05</c:v>
                </c:pt>
                <c:pt idx="17">
                  <c:v>0.00014305639998569435</c:v>
                </c:pt>
                <c:pt idx="18">
                  <c:v>7.898270278808941e-05</c:v>
                </c:pt>
                <c:pt idx="19">
                  <c:v>0.00013928223222990855</c:v>
                </c:pt>
                <c:pt idx="20">
                  <c:v>0.0001914168676543777</c:v>
                </c:pt>
                <c:pt idx="21">
                  <c:v>4.51773209848656e-05</c:v>
                </c:pt>
                <c:pt idx="22">
                  <c:v>0.0003267058713712312</c:v>
                </c:pt>
                <c:pt idx="23">
                  <c:v>0.0002458210422812193</c:v>
                </c:pt>
                <c:pt idx="24">
                  <c:v>0.0004160502958579882</c:v>
                </c:pt>
                <c:pt idx="25">
                  <c:v>0.0005230125523012552</c:v>
                </c:pt>
                <c:pt idx="26">
                  <c:v>0.0004662222015012355</c:v>
                </c:pt>
                <c:pt idx="27">
                  <c:v>0.00022745882995177873</c:v>
                </c:pt>
                <c:pt idx="28">
                  <c:v>0.00023182492581602375</c:v>
                </c:pt>
                <c:pt idx="29">
                  <c:v>0.00036588340515489066</c:v>
                </c:pt>
                <c:pt idx="30">
                  <c:v>0.00026104207998329333</c:v>
                </c:pt>
                <c:pt idx="31">
                  <c:v>0.00030453761039488374</c:v>
                </c:pt>
                <c:pt idx="32">
                  <c:v>0.00020004000800160032</c:v>
                </c:pt>
                <c:pt idx="33">
                  <c:v>0.0005195428023339461</c:v>
                </c:pt>
                <c:pt idx="34">
                  <c:v>0.0005066406108638222</c:v>
                </c:pt>
                <c:pt idx="35">
                  <c:v>0.0005345687811831789</c:v>
                </c:pt>
                <c:pt idx="36">
                  <c:v>0.00033811706364114506</c:v>
                </c:pt>
                <c:pt idx="37">
                  <c:v>0.00026327336551118914</c:v>
                </c:pt>
                <c:pt idx="38">
                  <c:v>0.00021714583514288196</c:v>
                </c:pt>
                <c:pt idx="39">
                  <c:v>0.00027820280984837946</c:v>
                </c:pt>
                <c:pt idx="40">
                  <c:v>0.00015428527347064721</c:v>
                </c:pt>
                <c:pt idx="41">
                  <c:v>0.00016618196925633567</c:v>
                </c:pt>
                <c:pt idx="42">
                  <c:v>0.00010635280771412365</c:v>
                </c:pt>
                <c:pt idx="43">
                  <c:v>0.00022198262193188305</c:v>
                </c:pt>
                <c:pt idx="44">
                  <c:v>0.00019422085068732602</c:v>
                </c:pt>
                <c:pt idx="45">
                  <c:v>0.0001392065228199264</c:v>
                </c:pt>
                <c:pt idx="46">
                  <c:v>0.0002866479390013186</c:v>
                </c:pt>
                <c:pt idx="47">
                  <c:v>0.0003465937536103516</c:v>
                </c:pt>
                <c:pt idx="48">
                  <c:v>0.00017395085888236573</c:v>
                </c:pt>
                <c:pt idx="49">
                  <c:v>0.0001764757786993735</c:v>
                </c:pt>
                <c:pt idx="50">
                  <c:v>0.0002607124899905026</c:v>
                </c:pt>
                <c:pt idx="51">
                  <c:v>0.00033724537973829757</c:v>
                </c:pt>
                <c:pt idx="52">
                  <c:v>0.00011712573447595994</c:v>
                </c:pt>
                <c:pt idx="53">
                  <c:v>0.00014421690222094028</c:v>
                </c:pt>
                <c:pt idx="54">
                  <c:v>0.00034161082643542243</c:v>
                </c:pt>
                <c:pt idx="55">
                  <c:v>0.0002166553825321598</c:v>
                </c:pt>
                <c:pt idx="56">
                  <c:v>0.00021784119376974185</c:v>
                </c:pt>
                <c:pt idx="57">
                  <c:v>0.00014241633040588654</c:v>
                </c:pt>
                <c:pt idx="58">
                  <c:v>0.00015347848012453683</c:v>
                </c:pt>
                <c:pt idx="59">
                  <c:v>0.0001909798736594682</c:v>
                </c:pt>
                <c:pt idx="60">
                  <c:v>0.00033729521362030194</c:v>
                </c:pt>
                <c:pt idx="61">
                  <c:v>0.00034526661056084244</c:v>
                </c:pt>
                <c:pt idx="62">
                  <c:v>0.00037922679869377434</c:v>
                </c:pt>
                <c:pt idx="63">
                  <c:v>0.0003265902061360536</c:v>
                </c:pt>
                <c:pt idx="64">
                  <c:v>0.00044982569254413917</c:v>
                </c:pt>
                <c:pt idx="65">
                  <c:v>0.0003264639869414405</c:v>
                </c:pt>
                <c:pt idx="66">
                  <c:v>0.00035840026985432084</c:v>
                </c:pt>
                <c:pt idx="67">
                  <c:v>0.00026140943252369025</c:v>
                </c:pt>
                <c:pt idx="68">
                  <c:v>0.00042267659956675646</c:v>
                </c:pt>
                <c:pt idx="69">
                  <c:v>0.00044499212706236737</c:v>
                </c:pt>
                <c:pt idx="70">
                  <c:v>0.00035560728025086475</c:v>
                </c:pt>
                <c:pt idx="71">
                  <c:v>0.00037821482602118004</c:v>
                </c:pt>
                <c:pt idx="72">
                  <c:v>0.0005287857756626346</c:v>
                </c:pt>
                <c:pt idx="73">
                  <c:v>0.0008655011251514627</c:v>
                </c:pt>
                <c:pt idx="74">
                  <c:v>0.0009342052582410249</c:v>
                </c:pt>
                <c:pt idx="75">
                  <c:v>0.0009785118791342127</c:v>
                </c:pt>
                <c:pt idx="76">
                  <c:v>0.001377582968065122</c:v>
                </c:pt>
                <c:pt idx="77">
                  <c:v>0.0012530804895367778</c:v>
                </c:pt>
                <c:pt idx="78">
                  <c:v>0.0017800442605599924</c:v>
                </c:pt>
                <c:pt idx="79">
                  <c:v>0.0012622012790306295</c:v>
                </c:pt>
                <c:pt idx="80">
                  <c:v>0.001277737552706674</c:v>
                </c:pt>
                <c:pt idx="81">
                  <c:v>0.001474607970076248</c:v>
                </c:pt>
                <c:pt idx="82">
                  <c:v>0.0015154298310066127</c:v>
                </c:pt>
                <c:pt idx="83">
                  <c:v>0.0012142329215499947</c:v>
                </c:pt>
                <c:pt idx="84">
                  <c:v>0.0013257471137380545</c:v>
                </c:pt>
                <c:pt idx="85">
                  <c:v>0.0011378252696151183</c:v>
                </c:pt>
                <c:pt idx="86">
                  <c:v>0.0010361927318481238</c:v>
                </c:pt>
                <c:pt idx="87">
                  <c:v>0.0009866450544416647</c:v>
                </c:pt>
                <c:pt idx="88">
                  <c:v>0.001400131262305841</c:v>
                </c:pt>
                <c:pt idx="89">
                  <c:v>0.0016241520970669723</c:v>
                </c:pt>
                <c:pt idx="90">
                  <c:v>0.0014310387367382185</c:v>
                </c:pt>
                <c:pt idx="91">
                  <c:v>0.0016291193446285608</c:v>
                </c:pt>
                <c:pt idx="92">
                  <c:v>0.001333790632978926</c:v>
                </c:pt>
                <c:pt idx="93">
                  <c:v>0.001266577261212934</c:v>
                </c:pt>
                <c:pt idx="94">
                  <c:v>0.0014334499768118387</c:v>
                </c:pt>
                <c:pt idx="95">
                  <c:v>0.0014944036109670927</c:v>
                </c:pt>
                <c:pt idx="96">
                  <c:v>0.0018807514049660793</c:v>
                </c:pt>
                <c:pt idx="97">
                  <c:v>0.002286209818876998</c:v>
                </c:pt>
                <c:pt idx="98">
                  <c:v>0.002183143382668936</c:v>
                </c:pt>
                <c:pt idx="99">
                  <c:v>0.0020329456784956203</c:v>
                </c:pt>
                <c:pt idx="100">
                  <c:v>0.0015614231564438318</c:v>
                </c:pt>
                <c:pt idx="101">
                  <c:v>0.0020515565070020514</c:v>
                </c:pt>
                <c:pt idx="102">
                  <c:v>0.0016952933303591344</c:v>
                </c:pt>
                <c:pt idx="103">
                  <c:v>0.001670790770467187</c:v>
                </c:pt>
                <c:pt idx="104">
                  <c:v>0.001277385457087079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257266506575914</c:v>
                </c:pt>
                <c:pt idx="1">
                  <c:v>0.38583283219908765</c:v>
                </c:pt>
                <c:pt idx="2">
                  <c:v>0.4165550117207275</c:v>
                </c:pt>
                <c:pt idx="3">
                  <c:v>0.36120571240325106</c:v>
                </c:pt>
                <c:pt idx="4">
                  <c:v>0.4384090614084758</c:v>
                </c:pt>
                <c:pt idx="5">
                  <c:v>0.4395901482057836</c:v>
                </c:pt>
                <c:pt idx="6">
                  <c:v>0.4037624486493216</c:v>
                </c:pt>
                <c:pt idx="7">
                  <c:v>0.40001255827049176</c:v>
                </c:pt>
                <c:pt idx="8">
                  <c:v>0.3949739708575036</c:v>
                </c:pt>
                <c:pt idx="9">
                  <c:v>0.40226258929423386</c:v>
                </c:pt>
                <c:pt idx="10">
                  <c:v>0.4080536152966835</c:v>
                </c:pt>
                <c:pt idx="11">
                  <c:v>0.3950196509663558</c:v>
                </c:pt>
                <c:pt idx="12">
                  <c:v>0.3707014623288489</c:v>
                </c:pt>
                <c:pt idx="13">
                  <c:v>0.3255326511753249</c:v>
                </c:pt>
                <c:pt idx="14">
                  <c:v>0.32707542076992124</c:v>
                </c:pt>
                <c:pt idx="15">
                  <c:v>0.33629223350382087</c:v>
                </c:pt>
                <c:pt idx="16">
                  <c:v>0.3574687599360829</c:v>
                </c:pt>
                <c:pt idx="17">
                  <c:v>0.26777200649282445</c:v>
                </c:pt>
                <c:pt idx="18">
                  <c:v>0.37084970062921013</c:v>
                </c:pt>
                <c:pt idx="19">
                  <c:v>0.4106142378300756</c:v>
                </c:pt>
                <c:pt idx="20">
                  <c:v>0.3897319001241648</c:v>
                </c:pt>
                <c:pt idx="21">
                  <c:v>0.34462878912155037</c:v>
                </c:pt>
                <c:pt idx="22">
                  <c:v>0.3628036345974602</c:v>
                </c:pt>
                <c:pt idx="23">
                  <c:v>0.29888038051671006</c:v>
                </c:pt>
                <c:pt idx="24">
                  <c:v>0.37564715597919535</c:v>
                </c:pt>
                <c:pt idx="25">
                  <c:v>0.3336476720073733</c:v>
                </c:pt>
                <c:pt idx="26">
                  <c:v>0.3472434797788414</c:v>
                </c:pt>
                <c:pt idx="27">
                  <c:v>0.3376591412655736</c:v>
                </c:pt>
                <c:pt idx="28">
                  <c:v>0.3523131438514282</c:v>
                </c:pt>
                <c:pt idx="29">
                  <c:v>0.33351005546871726</c:v>
                </c:pt>
                <c:pt idx="30">
                  <c:v>0.33681899662894577</c:v>
                </c:pt>
                <c:pt idx="31">
                  <c:v>0.3621461401293167</c:v>
                </c:pt>
                <c:pt idx="32">
                  <c:v>0.42110342104601517</c:v>
                </c:pt>
                <c:pt idx="33">
                  <c:v>0.40159187858054685</c:v>
                </c:pt>
                <c:pt idx="34">
                  <c:v>0.3998361966990574</c:v>
                </c:pt>
                <c:pt idx="35">
                  <c:v>0.36495760134205574</c:v>
                </c:pt>
                <c:pt idx="36">
                  <c:v>0.3792665513783268</c:v>
                </c:pt>
                <c:pt idx="37">
                  <c:v>0.37249479844868527</c:v>
                </c:pt>
                <c:pt idx="38">
                  <c:v>0.32334584298722824</c:v>
                </c:pt>
                <c:pt idx="39">
                  <c:v>0.2974751345012834</c:v>
                </c:pt>
                <c:pt idx="40">
                  <c:v>0.29713955809323916</c:v>
                </c:pt>
                <c:pt idx="41">
                  <c:v>0.32861720706134334</c:v>
                </c:pt>
                <c:pt idx="42">
                  <c:v>0.30397799173233914</c:v>
                </c:pt>
                <c:pt idx="43">
                  <c:v>0.34447710405962306</c:v>
                </c:pt>
                <c:pt idx="44">
                  <c:v>0.4004415728056739</c:v>
                </c:pt>
                <c:pt idx="45">
                  <c:v>0.4255195242125961</c:v>
                </c:pt>
                <c:pt idx="46">
                  <c:v>0.42779864096020004</c:v>
                </c:pt>
                <c:pt idx="47">
                  <c:v>0.4159479437567575</c:v>
                </c:pt>
                <c:pt idx="48">
                  <c:v>0.3883195211696021</c:v>
                </c:pt>
                <c:pt idx="49">
                  <c:v>0.3920998547171309</c:v>
                </c:pt>
                <c:pt idx="50">
                  <c:v>0.42063278514902974</c:v>
                </c:pt>
                <c:pt idx="51">
                  <c:v>0.4224067584822856</c:v>
                </c:pt>
              </c:numCache>
            </c:numRef>
          </c:xVal>
          <c:yVal>
            <c:numRef>
              <c:f>Sheet1!$B$109:$B$160</c:f>
              <c:numCache>
                <c:formatCode>General</c:formatCode>
                <c:ptCount val="52"/>
                <c:pt idx="0">
                  <c:v>0.0012644429910616962</c:v>
                </c:pt>
                <c:pt idx="1">
                  <c:v>0.0014938262960110169</c:v>
                </c:pt>
                <c:pt idx="2">
                  <c:v>0.001452142436232006</c:v>
                </c:pt>
                <c:pt idx="3">
                  <c:v>0.0015529253756400572</c:v>
                </c:pt>
                <c:pt idx="4">
                  <c:v>0.0014792577606647958</c:v>
                </c:pt>
                <c:pt idx="5">
                  <c:v>0.001294398982031987</c:v>
                </c:pt>
                <c:pt idx="6">
                  <c:v>0.0015030272238452094</c:v>
                </c:pt>
                <c:pt idx="7">
                  <c:v>0.0017374957274695227</c:v>
                </c:pt>
                <c:pt idx="8">
                  <c:v>0.0020296009492287515</c:v>
                </c:pt>
                <c:pt idx="9">
                  <c:v>0.0020912710917581003</c:v>
                </c:pt>
                <c:pt idx="10">
                  <c:v>0.0019877971342591315</c:v>
                </c:pt>
                <c:pt idx="11">
                  <c:v>0.0020619415574948453</c:v>
                </c:pt>
                <c:pt idx="12">
                  <c:v>0.0020706369561636745</c:v>
                </c:pt>
                <c:pt idx="13">
                  <c:v>0.0030358964395006557</c:v>
                </c:pt>
                <c:pt idx="14">
                  <c:v>0.003000451395342662</c:v>
                </c:pt>
                <c:pt idx="15">
                  <c:v>0.0029206601259003004</c:v>
                </c:pt>
                <c:pt idx="16">
                  <c:v>0.002713660888165246</c:v>
                </c:pt>
                <c:pt idx="17">
                  <c:v>0.0035899346360957767</c:v>
                </c:pt>
                <c:pt idx="18">
                  <c:v>0.0019464720194647203</c:v>
                </c:pt>
                <c:pt idx="19">
                  <c:v>0.0017023166308933462</c:v>
                </c:pt>
                <c:pt idx="20">
                  <c:v>0.001982521443599288</c:v>
                </c:pt>
                <c:pt idx="21">
                  <c:v>0.002600529737539128</c:v>
                </c:pt>
                <c:pt idx="22">
                  <c:v>0.0022813319095233474</c:v>
                </c:pt>
                <c:pt idx="23">
                  <c:v>0.0023333671502485543</c:v>
                </c:pt>
                <c:pt idx="24">
                  <c:v>0.0021462297896694808</c:v>
                </c:pt>
                <c:pt idx="25">
                  <c:v>0.0024488979959018443</c:v>
                </c:pt>
                <c:pt idx="26">
                  <c:v>0.002502767483274775</c:v>
                </c:pt>
                <c:pt idx="27">
                  <c:v>0.0023880597014925373</c:v>
                </c:pt>
                <c:pt idx="28">
                  <c:v>0.0020101690906940994</c:v>
                </c:pt>
                <c:pt idx="29">
                  <c:v>0.002372093023255814</c:v>
                </c:pt>
                <c:pt idx="30">
                  <c:v>0.0022753679318357864</c:v>
                </c:pt>
                <c:pt idx="31">
                  <c:v>0.0023828865421066884</c:v>
                </c:pt>
                <c:pt idx="32">
                  <c:v>0.0020210769452865597</c:v>
                </c:pt>
                <c:pt idx="33">
                  <c:v>0.0020408979951178517</c:v>
                </c:pt>
                <c:pt idx="34">
                  <c:v>0.0018805829807240243</c:v>
                </c:pt>
                <c:pt idx="35">
                  <c:v>0.002233041695647399</c:v>
                </c:pt>
                <c:pt idx="36">
                  <c:v>0.0025818944650637405</c:v>
                </c:pt>
                <c:pt idx="37">
                  <c:v>0.0026314507090297746</c:v>
                </c:pt>
                <c:pt idx="38">
                  <c:v>0.00295254455658149</c:v>
                </c:pt>
                <c:pt idx="39">
                  <c:v>0.002895313727923233</c:v>
                </c:pt>
                <c:pt idx="40">
                  <c:v>0.00273569882814095</c:v>
                </c:pt>
                <c:pt idx="41">
                  <c:v>0.0022220519500421422</c:v>
                </c:pt>
                <c:pt idx="42">
                  <c:v>0.002549286199864038</c:v>
                </c:pt>
                <c:pt idx="43">
                  <c:v>0.001865371627054321</c:v>
                </c:pt>
                <c:pt idx="44">
                  <c:v>0.0014163927416553088</c:v>
                </c:pt>
                <c:pt idx="45">
                  <c:v>0.0011781673403887952</c:v>
                </c:pt>
                <c:pt idx="46">
                  <c:v>0.0012636695018226002</c:v>
                </c:pt>
                <c:pt idx="47">
                  <c:v>0.0013500835221161988</c:v>
                </c:pt>
                <c:pt idx="48">
                  <c:v>0.0014853395061728396</c:v>
                </c:pt>
                <c:pt idx="49">
                  <c:v>0.0013697667884237145</c:v>
                </c:pt>
                <c:pt idx="50">
                  <c:v>0.0011509642261527259</c:v>
                </c:pt>
                <c:pt idx="51">
                  <c:v>0.001246118242775481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401758822476731</c:v>
                </c:pt>
              </c:numCache>
            </c:numRef>
          </c:xVal>
          <c:yVal>
            <c:numRef>
              <c:f>Sheet1!$B$163:$B$164</c:f>
              <c:numCache>
                <c:formatCode>General</c:formatCode>
                <c:ptCount val="2"/>
                <c:pt idx="0">
                  <c:v>0.002438776158167452</c:v>
                </c:pt>
                <c:pt idx="1">
                  <c:v>0.00243877615816745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401758822476731</c:v>
                </c:pt>
                <c:pt idx="1">
                  <c:v>0.3401758822476731</c:v>
                </c:pt>
              </c:numCache>
            </c:numRef>
          </c:xVal>
          <c:yVal>
            <c:numRef>
              <c:f>Sheet1!$B$167:$B$168</c:f>
              <c:numCache>
                <c:formatCode>General</c:formatCode>
                <c:ptCount val="2"/>
                <c:pt idx="0">
                  <c:v>0.0024387761581674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401758822476731</c:v>
                </c:pt>
              </c:numCache>
            </c:numRef>
          </c:xVal>
          <c:yVal>
            <c:numRef>
              <c:f>Sheet1!$B$171:$B$172</c:f>
              <c:numCache>
                <c:formatCode>General</c:formatCode>
                <c:ptCount val="2"/>
                <c:pt idx="0">
                  <c:v>0.002438776158167452</c:v>
                </c:pt>
                <c:pt idx="1">
                  <c:v>0.00243877615816745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401758822476731</c:v>
                </c:pt>
                <c:pt idx="1">
                  <c:v>0.3401758822476731</c:v>
                </c:pt>
              </c:numCache>
            </c:numRef>
          </c:xVal>
          <c:yVal>
            <c:numRef>
              <c:f>Sheet1!$B$175:$B$176</c:f>
              <c:numCache>
                <c:formatCode>General</c:formatCode>
                <c:ptCount val="2"/>
                <c:pt idx="0">
                  <c:v>0.00243877615816745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998778918679443</c:v>
                </c:pt>
              </c:numCache>
            </c:numRef>
          </c:xVal>
          <c:yVal>
            <c:numRef>
              <c:f>Sheet1!$B$179:$B$180</c:f>
              <c:numCache>
                <c:formatCode>General</c:formatCode>
                <c:ptCount val="2"/>
                <c:pt idx="0">
                  <c:v>0.0017483249386563344</c:v>
                </c:pt>
                <c:pt idx="1">
                  <c:v>0.001748324938656334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998778918679443</c:v>
                </c:pt>
                <c:pt idx="1">
                  <c:v>0.3998778918679443</c:v>
                </c:pt>
              </c:numCache>
            </c:numRef>
          </c:xVal>
          <c:yVal>
            <c:numRef>
              <c:f>Sheet1!$B$183:$B$184</c:f>
              <c:numCache>
                <c:formatCode>General</c:formatCode>
                <c:ptCount val="2"/>
                <c:pt idx="0">
                  <c:v>0.001748324938656334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257266506575914</c:v>
                </c:pt>
                <c:pt idx="1">
                  <c:v>0.38583283219908765</c:v>
                </c:pt>
                <c:pt idx="2">
                  <c:v>0.4165550117207275</c:v>
                </c:pt>
                <c:pt idx="3">
                  <c:v>0.36120571240325106</c:v>
                </c:pt>
                <c:pt idx="4">
                  <c:v>0.4384090614084758</c:v>
                </c:pt>
                <c:pt idx="5">
                  <c:v>0.4395901482057836</c:v>
                </c:pt>
                <c:pt idx="6">
                  <c:v>0.4037624486493216</c:v>
                </c:pt>
                <c:pt idx="7">
                  <c:v>0.40001255827049176</c:v>
                </c:pt>
                <c:pt idx="8">
                  <c:v>0.3949739708575036</c:v>
                </c:pt>
                <c:pt idx="9">
                  <c:v>0.40226258929423386</c:v>
                </c:pt>
                <c:pt idx="10">
                  <c:v>0.4080536152966835</c:v>
                </c:pt>
                <c:pt idx="11">
                  <c:v>0.3950196509663558</c:v>
                </c:pt>
                <c:pt idx="12">
                  <c:v>0.3707014623288489</c:v>
                </c:pt>
                <c:pt idx="13">
                  <c:v>0.3255326511753249</c:v>
                </c:pt>
                <c:pt idx="14">
                  <c:v>0.32707542076992124</c:v>
                </c:pt>
                <c:pt idx="15">
                  <c:v>0.33629223350382087</c:v>
                </c:pt>
                <c:pt idx="16">
                  <c:v>0.3574687599360829</c:v>
                </c:pt>
                <c:pt idx="17">
                  <c:v>0.26777200649282445</c:v>
                </c:pt>
                <c:pt idx="18">
                  <c:v>0.37084970062921013</c:v>
                </c:pt>
                <c:pt idx="19">
                  <c:v>0.4106142378300756</c:v>
                </c:pt>
                <c:pt idx="20">
                  <c:v>0.3897319001241648</c:v>
                </c:pt>
                <c:pt idx="21">
                  <c:v>0.34462878912155037</c:v>
                </c:pt>
                <c:pt idx="22">
                  <c:v>0.3628036345974602</c:v>
                </c:pt>
                <c:pt idx="23">
                  <c:v>0.29888038051671006</c:v>
                </c:pt>
                <c:pt idx="24">
                  <c:v>0.37564715597919535</c:v>
                </c:pt>
                <c:pt idx="25">
                  <c:v>0.3336476720073733</c:v>
                </c:pt>
                <c:pt idx="26">
                  <c:v>0.3472434797788414</c:v>
                </c:pt>
                <c:pt idx="27">
                  <c:v>0.3376591412655736</c:v>
                </c:pt>
                <c:pt idx="28">
                  <c:v>0.3523131438514282</c:v>
                </c:pt>
                <c:pt idx="29">
                  <c:v>0.33351005546871726</c:v>
                </c:pt>
                <c:pt idx="30">
                  <c:v>0.33681899662894577</c:v>
                </c:pt>
                <c:pt idx="31">
                  <c:v>0.3621461401293167</c:v>
                </c:pt>
                <c:pt idx="32">
                  <c:v>0.42110342104601517</c:v>
                </c:pt>
                <c:pt idx="33">
                  <c:v>0.40159187858054685</c:v>
                </c:pt>
                <c:pt idx="34">
                  <c:v>0.3998361966990574</c:v>
                </c:pt>
                <c:pt idx="35">
                  <c:v>0.36495760134205574</c:v>
                </c:pt>
                <c:pt idx="36">
                  <c:v>0.3792665513783268</c:v>
                </c:pt>
                <c:pt idx="37">
                  <c:v>0.37249479844868527</c:v>
                </c:pt>
                <c:pt idx="38">
                  <c:v>0.32334584298722824</c:v>
                </c:pt>
                <c:pt idx="39">
                  <c:v>0.2974751345012834</c:v>
                </c:pt>
                <c:pt idx="40">
                  <c:v>0.29713955809323916</c:v>
                </c:pt>
                <c:pt idx="41">
                  <c:v>0.32861720706134334</c:v>
                </c:pt>
                <c:pt idx="42">
                  <c:v>0.30397799173233914</c:v>
                </c:pt>
                <c:pt idx="43">
                  <c:v>0.34447710405962306</c:v>
                </c:pt>
                <c:pt idx="44">
                  <c:v>0.4004415728056739</c:v>
                </c:pt>
                <c:pt idx="45">
                  <c:v>0.4255195242125961</c:v>
                </c:pt>
                <c:pt idx="46">
                  <c:v>0.42779864096020004</c:v>
                </c:pt>
                <c:pt idx="47">
                  <c:v>0.4159479437567575</c:v>
                </c:pt>
                <c:pt idx="48">
                  <c:v>0.3883195211696021</c:v>
                </c:pt>
                <c:pt idx="49">
                  <c:v>0.3920998547171309</c:v>
                </c:pt>
                <c:pt idx="50">
                  <c:v>0.42063278514902974</c:v>
                </c:pt>
                <c:pt idx="51">
                  <c:v>0.4224067584822856</c:v>
                </c:pt>
                <c:pt idx="52">
                  <c:v>0.3401758822476731</c:v>
                </c:pt>
                <c:pt idx="53">
                  <c:v>0.3401758822476731</c:v>
                </c:pt>
                <c:pt idx="54">
                  <c:v>0.3998778918679443</c:v>
                </c:pt>
              </c:numCache>
            </c:numRef>
          </c:xVal>
          <c:yVal>
            <c:numRef>
              <c:f>Sheet1!$B$187:$B$241</c:f>
              <c:numCache>
                <c:formatCode>General</c:formatCode>
                <c:ptCount val="55"/>
                <c:pt idx="0">
                  <c:v>0.001449385135077249</c:v>
                </c:pt>
                <c:pt idx="1">
                  <c:v>0.0019107554604787655</c:v>
                </c:pt>
                <c:pt idx="2">
                  <c:v>0.0015554547519821237</c:v>
                </c:pt>
                <c:pt idx="3">
                  <c:v>0.0021955670606951224</c:v>
                </c:pt>
                <c:pt idx="4">
                  <c:v>0.0013027135904343729</c:v>
                </c:pt>
                <c:pt idx="5">
                  <c:v>0.001289054371511317</c:v>
                </c:pt>
                <c:pt idx="6">
                  <c:v>0.0017034002035591182</c:v>
                </c:pt>
                <c:pt idx="7">
                  <c:v>0.001746767527399034</c:v>
                </c:pt>
                <c:pt idx="8">
                  <c:v>0.001805038578005843</c:v>
                </c:pt>
                <c:pt idx="9">
                  <c:v>0.0017207460136482956</c:v>
                </c:pt>
                <c:pt idx="10">
                  <c:v>0.0016537730425365445</c:v>
                </c:pt>
                <c:pt idx="11">
                  <c:v>0.001804510289476445</c:v>
                </c:pt>
                <c:pt idx="12">
                  <c:v>0.0020857491138956312</c:v>
                </c:pt>
                <c:pt idx="13">
                  <c:v>0.002608124507005159</c:v>
                </c:pt>
                <c:pt idx="14">
                  <c:v>0.0025902824418085457</c:v>
                </c:pt>
                <c:pt idx="15">
                  <c:v>0.0024836903918490443</c:v>
                </c:pt>
                <c:pt idx="16">
                  <c:v>0.0022387847581331532</c:v>
                </c:pt>
                <c:pt idx="17">
                  <c:v>0.00327612392301208</c:v>
                </c:pt>
                <c:pt idx="18">
                  <c:v>0.002084034744213377</c:v>
                </c:pt>
                <c:pt idx="19">
                  <c:v>0.001624159551095748</c:v>
                </c:pt>
                <c:pt idx="20">
                  <c:v>0.0018656629046175958</c:v>
                </c:pt>
                <c:pt idx="21">
                  <c:v>0.0023872784782569562</c:v>
                </c:pt>
                <c:pt idx="22">
                  <c:v>0.002177087158013572</c:v>
                </c:pt>
                <c:pt idx="23">
                  <c:v>0.0029163568914093974</c:v>
                </c:pt>
                <c:pt idx="24">
                  <c:v>0.002028552375730043</c:v>
                </c:pt>
                <c:pt idx="25">
                  <c:v>0.0025142746338520875</c:v>
                </c:pt>
                <c:pt idx="26">
                  <c:v>0.0023570396912470475</c:v>
                </c:pt>
                <c:pt idx="27">
                  <c:v>0.0024678821613210566</c:v>
                </c:pt>
                <c:pt idx="28">
                  <c:v>0.002298409240384624</c:v>
                </c:pt>
                <c:pt idx="29">
                  <c:v>0.002515866163308873</c:v>
                </c:pt>
                <c:pt idx="30">
                  <c:v>0.002477598398556871</c:v>
                </c:pt>
                <c:pt idx="31">
                  <c:v>0.0021846910537658077</c:v>
                </c:pt>
                <c:pt idx="32">
                  <c:v>0.0015028525902549862</c:v>
                </c:pt>
                <c:pt idx="33">
                  <c:v>0.0017285027547220026</c:v>
                </c:pt>
                <c:pt idx="34">
                  <c:v>0.0017488071415233527</c:v>
                </c:pt>
                <c:pt idx="35">
                  <c:v>0.002152176623593514</c:v>
                </c:pt>
                <c:pt idx="36">
                  <c:v>0.001986694220818374</c:v>
                </c:pt>
                <c:pt idx="37">
                  <c:v>0.002065009257418272</c:v>
                </c:pt>
                <c:pt idx="38">
                  <c:v>0.002633414851332121</c:v>
                </c:pt>
                <c:pt idx="39">
                  <c:v>0.0029326085022217587</c:v>
                </c:pt>
                <c:pt idx="40">
                  <c:v>0.0029364894292064113</c:v>
                </c:pt>
                <c:pt idx="41">
                  <c:v>0.002572451748471609</c:v>
                </c:pt>
                <c:pt idx="42">
                  <c:v>0.0028574032330181466</c:v>
                </c:pt>
                <c:pt idx="43">
                  <c:v>0.002389032709591135</c:v>
                </c:pt>
                <c:pt idx="44">
                  <c:v>0.0017418059924207557</c:v>
                </c:pt>
                <c:pt idx="45">
                  <c:v>0.0014517805436648264</c:v>
                </c:pt>
                <c:pt idx="46">
                  <c:v>0.0014254226547461748</c:v>
                </c:pt>
                <c:pt idx="47">
                  <c:v>0.0015624754673435525</c:v>
                </c:pt>
                <c:pt idx="48">
                  <c:v>0.001881997007569777</c:v>
                </c:pt>
                <c:pt idx="49">
                  <c:v>0.0018382776097697444</c:v>
                </c:pt>
                <c:pt idx="50">
                  <c:v>0.0015082954745244794</c:v>
                </c:pt>
                <c:pt idx="51">
                  <c:v>0.0014877795478560607</c:v>
                </c:pt>
                <c:pt idx="52">
                  <c:v>0.0024387761581674515</c:v>
                </c:pt>
                <c:pt idx="53">
                  <c:v>0.0024387761581674515</c:v>
                </c:pt>
                <c:pt idx="54">
                  <c:v>0.00174832493865633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307921563314932"/>
          <c:min val="3.614185678789248e-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5.4024</c:v>
                </c:pt>
                <c:pt idx="1">
                  <c:v>920.5213</c:v>
                </c:pt>
                <c:pt idx="2">
                  <c:v>978.4239</c:v>
                </c:pt>
                <c:pt idx="3">
                  <c:v>998.7876</c:v>
                </c:pt>
                <c:pt idx="4">
                  <c:v>1002.9698</c:v>
                </c:pt>
                <c:pt idx="5">
                  <c:v>1003.4349</c:v>
                </c:pt>
                <c:pt idx="6">
                  <c:v>957.1424</c:v>
                </c:pt>
                <c:pt idx="7">
                  <c:v>985.8319</c:v>
                </c:pt>
                <c:pt idx="8">
                  <c:v>978.2738</c:v>
                </c:pt>
                <c:pt idx="9">
                  <c:v>959.4434</c:v>
                </c:pt>
                <c:pt idx="10">
                  <c:v>965.2686</c:v>
                </c:pt>
                <c:pt idx="11">
                  <c:v>1006.9393</c:v>
                </c:pt>
                <c:pt idx="12">
                  <c:v>1000.8148</c:v>
                </c:pt>
                <c:pt idx="13">
                  <c:v>976.9358</c:v>
                </c:pt>
                <c:pt idx="14">
                  <c:v>980.854</c:v>
                </c:pt>
                <c:pt idx="15">
                  <c:v>985.9047</c:v>
                </c:pt>
                <c:pt idx="16">
                  <c:v>984.2631</c:v>
                </c:pt>
                <c:pt idx="17">
                  <c:v>1001.7215</c:v>
                </c:pt>
                <c:pt idx="18">
                  <c:v>1049.9328</c:v>
                </c:pt>
                <c:pt idx="19">
                  <c:v>1077.2363</c:v>
                </c:pt>
                <c:pt idx="20">
                  <c:v>1069.1202</c:v>
                </c:pt>
                <c:pt idx="21">
                  <c:v>1087.7011</c:v>
                </c:pt>
                <c:pt idx="22">
                  <c:v>1078.6974</c:v>
                </c:pt>
                <c:pt idx="23">
                  <c:v>1060.809</c:v>
                </c:pt>
                <c:pt idx="24">
                  <c:v>1044.8785</c:v>
                </c:pt>
                <c:pt idx="25">
                  <c:v>1028.8129</c:v>
                </c:pt>
                <c:pt idx="26">
                  <c:v>1037.0373</c:v>
                </c:pt>
                <c:pt idx="27">
                  <c:v>1054.5763</c:v>
                </c:pt>
                <c:pt idx="28">
                  <c:v>1047.4182</c:v>
                </c:pt>
                <c:pt idx="29">
                  <c:v>926.3756</c:v>
                </c:pt>
                <c:pt idx="30">
                  <c:v>974.5821</c:v>
                </c:pt>
                <c:pt idx="31">
                  <c:v>995.3827</c:v>
                </c:pt>
                <c:pt idx="32">
                  <c:v>968.4678</c:v>
                </c:pt>
                <c:pt idx="33">
                  <c:v>901.2957</c:v>
                </c:pt>
                <c:pt idx="34">
                  <c:v>996.5638</c:v>
                </c:pt>
                <c:pt idx="35">
                  <c:v>1054.9047</c:v>
                </c:pt>
                <c:pt idx="36">
                  <c:v>1135.8883</c:v>
                </c:pt>
                <c:pt idx="37">
                  <c:v>1128.944</c:v>
                </c:pt>
                <c:pt idx="38">
                  <c:v>1188.4339</c:v>
                </c:pt>
                <c:pt idx="39">
                  <c:v>1192.8818</c:v>
                </c:pt>
                <c:pt idx="40">
                  <c:v>1217.2229</c:v>
                </c:pt>
                <c:pt idx="41">
                  <c:v>1247.0286</c:v>
                </c:pt>
                <c:pt idx="42">
                  <c:v>1293.066</c:v>
                </c:pt>
                <c:pt idx="43">
                  <c:v>1290.97</c:v>
                </c:pt>
                <c:pt idx="44">
                  <c:v>1124.4896</c:v>
                </c:pt>
                <c:pt idx="45">
                  <c:v>1061.8205</c:v>
                </c:pt>
                <c:pt idx="46">
                  <c:v>1056.6621</c:v>
                </c:pt>
                <c:pt idx="47">
                  <c:v>1037.049</c:v>
                </c:pt>
                <c:pt idx="48">
                  <c:v>1041.8563</c:v>
                </c:pt>
                <c:pt idx="49">
                  <c:v>1018.3046</c:v>
                </c:pt>
                <c:pt idx="50">
                  <c:v>1019.4483</c:v>
                </c:pt>
                <c:pt idx="51">
                  <c:v>1046.828</c:v>
                </c:pt>
                <c:pt idx="52">
                  <c:v>1057.0442</c:v>
                </c:pt>
                <c:pt idx="53">
                  <c:v>1110.2264</c:v>
                </c:pt>
                <c:pt idx="54">
                  <c:v>1118.9881</c:v>
                </c:pt>
                <c:pt idx="55">
                  <c:v>1130.1327</c:v>
                </c:pt>
                <c:pt idx="56">
                  <c:v>1154.9161</c:v>
                </c:pt>
                <c:pt idx="57">
                  <c:v>1130.0834</c:v>
                </c:pt>
                <c:pt idx="58">
                  <c:v>1105.4809</c:v>
                </c:pt>
                <c:pt idx="59">
                  <c:v>1088.2499</c:v>
                </c:pt>
                <c:pt idx="60">
                  <c:v>1116.5863</c:v>
                </c:pt>
                <c:pt idx="61">
                  <c:v>1120.4926</c:v>
                </c:pt>
                <c:pt idx="62">
                  <c:v>1098.214</c:v>
                </c:pt>
                <c:pt idx="63">
                  <c:v>1126.664</c:v>
                </c:pt>
                <c:pt idx="64">
                  <c:v>1124.0548</c:v>
                </c:pt>
                <c:pt idx="65">
                  <c:v>1105.6271</c:v>
                </c:pt>
                <c:pt idx="66">
                  <c:v>1061.3012</c:v>
                </c:pt>
                <c:pt idx="67">
                  <c:v>1041.0044</c:v>
                </c:pt>
                <c:pt idx="68">
                  <c:v>1024.6492</c:v>
                </c:pt>
                <c:pt idx="69">
                  <c:v>1029.9953</c:v>
                </c:pt>
                <c:pt idx="70">
                  <c:v>987.9688</c:v>
                </c:pt>
                <c:pt idx="71">
                  <c:v>1050.9577</c:v>
                </c:pt>
                <c:pt idx="72">
                  <c:v>1105.9557</c:v>
                </c:pt>
                <c:pt idx="73">
                  <c:v>1099.2895</c:v>
                </c:pt>
                <c:pt idx="74">
                  <c:v>1056.1189</c:v>
                </c:pt>
                <c:pt idx="75">
                  <c:v>1057.0004</c:v>
                </c:pt>
                <c:pt idx="76">
                  <c:v>1083.6252</c:v>
                </c:pt>
                <c:pt idx="77">
                  <c:v>1050.5064</c:v>
                </c:pt>
                <c:pt idx="78">
                  <c:v>1121.2765</c:v>
                </c:pt>
                <c:pt idx="79">
                  <c:v>714.1003</c:v>
                </c:pt>
                <c:pt idx="80">
                  <c:v>722.846</c:v>
                </c:pt>
                <c:pt idx="81">
                  <c:v>938.4069</c:v>
                </c:pt>
                <c:pt idx="82">
                  <c:v>934.2117</c:v>
                </c:pt>
                <c:pt idx="83">
                  <c:v>957.2894</c:v>
                </c:pt>
                <c:pt idx="84">
                  <c:v>964.7598</c:v>
                </c:pt>
                <c:pt idx="85">
                  <c:v>1018.9553</c:v>
                </c:pt>
                <c:pt idx="86">
                  <c:v>1138.5348</c:v>
                </c:pt>
                <c:pt idx="87">
                  <c:v>1167.8801</c:v>
                </c:pt>
                <c:pt idx="88">
                  <c:v>1163.3663</c:v>
                </c:pt>
                <c:pt idx="89">
                  <c:v>1114.0517</c:v>
                </c:pt>
                <c:pt idx="90">
                  <c:v>1178.6274</c:v>
                </c:pt>
                <c:pt idx="91">
                  <c:v>1197.2966</c:v>
                </c:pt>
                <c:pt idx="92">
                  <c:v>1188.3679</c:v>
                </c:pt>
                <c:pt idx="93">
                  <c:v>1243.3718</c:v>
                </c:pt>
                <c:pt idx="94">
                  <c:v>1240.5446</c:v>
                </c:pt>
                <c:pt idx="95">
                  <c:v>1234.8934</c:v>
                </c:pt>
                <c:pt idx="96">
                  <c:v>1168.2406</c:v>
                </c:pt>
                <c:pt idx="97">
                  <c:v>1186.7969</c:v>
                </c:pt>
                <c:pt idx="98">
                  <c:v>1179.0172</c:v>
                </c:pt>
                <c:pt idx="99">
                  <c:v>1136.6995</c:v>
                </c:pt>
                <c:pt idx="100">
                  <c:v>1145.7225</c:v>
                </c:pt>
                <c:pt idx="101">
                  <c:v>1159.2316</c:v>
                </c:pt>
                <c:pt idx="102">
                  <c:v>1191.635</c:v>
                </c:pt>
                <c:pt idx="103">
                  <c:v>1050.2657</c:v>
                </c:pt>
                <c:pt idx="104">
                  <c:v>1139.7728</c:v>
                </c:pt>
              </c:numCache>
            </c:numRef>
          </c:xVal>
          <c:yVal>
            <c:numRef>
              <c:f>Sheet1!$B$2:$B$106</c:f>
              <c:numCache>
                <c:formatCode>General</c:formatCode>
                <c:ptCount val="105"/>
                <c:pt idx="0">
                  <c:v>0.21030715158924204</c:v>
                </c:pt>
                <c:pt idx="1">
                  <c:v>0.21298701298701297</c:v>
                </c:pt>
                <c:pt idx="2">
                  <c:v>0.19188149288187764</c:v>
                </c:pt>
                <c:pt idx="3">
                  <c:v>0.19090721223393264</c:v>
                </c:pt>
                <c:pt idx="4">
                  <c:v>0.19040369315391414</c:v>
                </c:pt>
                <c:pt idx="5">
                  <c:v>0.18118797067477932</c:v>
                </c:pt>
                <c:pt idx="6">
                  <c:v>0.20359223768478837</c:v>
                </c:pt>
                <c:pt idx="7">
                  <c:v>0.20028392958546282</c:v>
                </c:pt>
                <c:pt idx="8">
                  <c:v>0.21053270971268906</c:v>
                </c:pt>
                <c:pt idx="9">
                  <c:v>0.21039721134397726</c:v>
                </c:pt>
                <c:pt idx="10">
                  <c:v>0.22042008977725078</c:v>
                </c:pt>
                <c:pt idx="11">
                  <c:v>0.21358106613581065</c:v>
                </c:pt>
                <c:pt idx="12">
                  <c:v>0.21567654719087187</c:v>
                </c:pt>
                <c:pt idx="13">
                  <c:v>0.22556548743128121</c:v>
                </c:pt>
                <c:pt idx="14">
                  <c:v>0.21514723007818998</c:v>
                </c:pt>
                <c:pt idx="15">
                  <c:v>0.21337422099119596</c:v>
                </c:pt>
                <c:pt idx="16">
                  <c:v>0.2021367278513383</c:v>
                </c:pt>
                <c:pt idx="17">
                  <c:v>0.1916417538614848</c:v>
                </c:pt>
                <c:pt idx="18">
                  <c:v>0.17514358867898416</c:v>
                </c:pt>
                <c:pt idx="19">
                  <c:v>0.16184781718404456</c:v>
                </c:pt>
                <c:pt idx="20">
                  <c:v>0.174278038952317</c:v>
                </c:pt>
                <c:pt idx="21">
                  <c:v>0.17816586373021334</c:v>
                </c:pt>
                <c:pt idx="22">
                  <c:v>0.17713299358868978</c:v>
                </c:pt>
                <c:pt idx="23">
                  <c:v>0.18507202095154954</c:v>
                </c:pt>
                <c:pt idx="24">
                  <c:v>0.18752479961907786</c:v>
                </c:pt>
                <c:pt idx="25">
                  <c:v>0.18773318773318773</c:v>
                </c:pt>
                <c:pt idx="26">
                  <c:v>0.192</c:v>
                </c:pt>
                <c:pt idx="27">
                  <c:v>0.17932890155112377</c:v>
                </c:pt>
                <c:pt idx="28">
                  <c:v>0.17864642222581167</c:v>
                </c:pt>
                <c:pt idx="29">
                  <c:v>0.20309249757315212</c:v>
                </c:pt>
                <c:pt idx="30">
                  <c:v>0.18293125340105207</c:v>
                </c:pt>
                <c:pt idx="31">
                  <c:v>0.17864829961256995</c:v>
                </c:pt>
                <c:pt idx="32">
                  <c:v>0.1871335232032166</c:v>
                </c:pt>
                <c:pt idx="33">
                  <c:v>0.20930232558139536</c:v>
                </c:pt>
                <c:pt idx="34">
                  <c:v>0.1992973309911033</c:v>
                </c:pt>
                <c:pt idx="35">
                  <c:v>0.1956752736159813</c:v>
                </c:pt>
                <c:pt idx="36">
                  <c:v>0.15181646844739066</c:v>
                </c:pt>
                <c:pt idx="37">
                  <c:v>0.14250182882223847</c:v>
                </c:pt>
                <c:pt idx="38">
                  <c:v>0.13718112724809994</c:v>
                </c:pt>
                <c:pt idx="39">
                  <c:v>0.13833099797602366</c:v>
                </c:pt>
                <c:pt idx="40">
                  <c:v>0.13867644270273688</c:v>
                </c:pt>
                <c:pt idx="41">
                  <c:v>0.1270996640537514</c:v>
                </c:pt>
                <c:pt idx="42">
                  <c:v>0.13326508490906902</c:v>
                </c:pt>
                <c:pt idx="43">
                  <c:v>0.13675121424716677</c:v>
                </c:pt>
                <c:pt idx="44">
                  <c:v>0.16124158769399807</c:v>
                </c:pt>
                <c:pt idx="45">
                  <c:v>0.1861608385121974</c:v>
                </c:pt>
                <c:pt idx="46">
                  <c:v>0.1937179063691781</c:v>
                </c:pt>
                <c:pt idx="47">
                  <c:v>0.19532088430993774</c:v>
                </c:pt>
                <c:pt idx="48">
                  <c:v>0.21233782239451454</c:v>
                </c:pt>
                <c:pt idx="49">
                  <c:v>0.24603675866860356</c:v>
                </c:pt>
                <c:pt idx="50">
                  <c:v>0.20786180373861235</c:v>
                </c:pt>
                <c:pt idx="51">
                  <c:v>0.18664801119328403</c:v>
                </c:pt>
                <c:pt idx="52">
                  <c:v>0.19997993176801124</c:v>
                </c:pt>
                <c:pt idx="53">
                  <c:v>0.1882059256834179</c:v>
                </c:pt>
                <c:pt idx="54">
                  <c:v>0.1853673948366131</c:v>
                </c:pt>
                <c:pt idx="55">
                  <c:v>0.17528152113716078</c:v>
                </c:pt>
                <c:pt idx="56">
                  <c:v>0.1852655955999421</c:v>
                </c:pt>
                <c:pt idx="57">
                  <c:v>0.18023843200646594</c:v>
                </c:pt>
                <c:pt idx="58">
                  <c:v>0.19915412830301668</c:v>
                </c:pt>
                <c:pt idx="59">
                  <c:v>0.2092832698703427</c:v>
                </c:pt>
                <c:pt idx="60">
                  <c:v>0.22389277072401512</c:v>
                </c:pt>
                <c:pt idx="61">
                  <c:v>0.222672371360418</c:v>
                </c:pt>
                <c:pt idx="62">
                  <c:v>0.22107099622587767</c:v>
                </c:pt>
                <c:pt idx="63">
                  <c:v>0.23888208218815193</c:v>
                </c:pt>
                <c:pt idx="64">
                  <c:v>0.22448180186061695</c:v>
                </c:pt>
                <c:pt idx="65">
                  <c:v>0.2092982083421854</c:v>
                </c:pt>
                <c:pt idx="66">
                  <c:v>0.21225035212539275</c:v>
                </c:pt>
                <c:pt idx="67">
                  <c:v>0.20886051756431329</c:v>
                </c:pt>
                <c:pt idx="68">
                  <c:v>0.18994516381733562</c:v>
                </c:pt>
                <c:pt idx="69">
                  <c:v>0.17577310373592325</c:v>
                </c:pt>
                <c:pt idx="70">
                  <c:v>0.16404162165235686</c:v>
                </c:pt>
                <c:pt idx="71">
                  <c:v>0.17445482866043613</c:v>
                </c:pt>
                <c:pt idx="72">
                  <c:v>0.17299754740683138</c:v>
                </c:pt>
                <c:pt idx="73">
                  <c:v>0.17705832738597288</c:v>
                </c:pt>
                <c:pt idx="74">
                  <c:v>0.17853922452660054</c:v>
                </c:pt>
                <c:pt idx="75">
                  <c:v>0.18282139593730232</c:v>
                </c:pt>
                <c:pt idx="76">
                  <c:v>0.1749961907664178</c:v>
                </c:pt>
                <c:pt idx="77">
                  <c:v>0.17296614850469502</c:v>
                </c:pt>
                <c:pt idx="78">
                  <c:v>0.15853018372703412</c:v>
                </c:pt>
                <c:pt idx="79">
                  <c:v>0.2261861775113743</c:v>
                </c:pt>
                <c:pt idx="80">
                  <c:v>0.2101878612716763</c:v>
                </c:pt>
                <c:pt idx="81">
                  <c:v>0.1694088207694714</c:v>
                </c:pt>
                <c:pt idx="82">
                  <c:v>0.16926466987676486</c:v>
                </c:pt>
                <c:pt idx="83">
                  <c:v>0.14987487255538048</c:v>
                </c:pt>
                <c:pt idx="84">
                  <c:v>0.1537157389092964</c:v>
                </c:pt>
                <c:pt idx="85">
                  <c:v>0.15863306418726042</c:v>
                </c:pt>
                <c:pt idx="86">
                  <c:v>0.1524004465947153</c:v>
                </c:pt>
                <c:pt idx="87">
                  <c:v>0.1689402513850003</c:v>
                </c:pt>
                <c:pt idx="88">
                  <c:v>0.14848762603116408</c:v>
                </c:pt>
                <c:pt idx="89">
                  <c:v>0.14441462596444146</c:v>
                </c:pt>
                <c:pt idx="90">
                  <c:v>0.14172686618507052</c:v>
                </c:pt>
                <c:pt idx="91">
                  <c:v>0.13393232009404651</c:v>
                </c:pt>
                <c:pt idx="92">
                  <c:v>0.14259086672879775</c:v>
                </c:pt>
                <c:pt idx="93">
                  <c:v>0.13648551435484926</c:v>
                </c:pt>
                <c:pt idx="94">
                  <c:v>0.14039841804599384</c:v>
                </c:pt>
                <c:pt idx="95">
                  <c:v>0.14438761776581427</c:v>
                </c:pt>
                <c:pt idx="96">
                  <c:v>0.1441160471441523</c:v>
                </c:pt>
                <c:pt idx="97">
                  <c:v>0.1554780494048381</c:v>
                </c:pt>
                <c:pt idx="98">
                  <c:v>0.17081260364842454</c:v>
                </c:pt>
                <c:pt idx="99">
                  <c:v>0.17867754563033533</c:v>
                </c:pt>
                <c:pt idx="100">
                  <c:v>0.19638028243694658</c:v>
                </c:pt>
                <c:pt idx="101">
                  <c:v>0.18430480700333343</c:v>
                </c:pt>
                <c:pt idx="102">
                  <c:v>0.15521151330135194</c:v>
                </c:pt>
                <c:pt idx="103">
                  <c:v>0.17430878208545966</c:v>
                </c:pt>
                <c:pt idx="104">
                  <c:v>0.1768059102517329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3.5443</c:v>
                </c:pt>
                <c:pt idx="1">
                  <c:v>1203.9909</c:v>
                </c:pt>
                <c:pt idx="2">
                  <c:v>1194.431</c:v>
                </c:pt>
                <c:pt idx="3">
                  <c:v>1217.352</c:v>
                </c:pt>
                <c:pt idx="4">
                  <c:v>1218.6698</c:v>
                </c:pt>
                <c:pt idx="5">
                  <c:v>1229.1479</c:v>
                </c:pt>
                <c:pt idx="6">
                  <c:v>1151.1471</c:v>
                </c:pt>
                <c:pt idx="7">
                  <c:v>1218.1775</c:v>
                </c:pt>
                <c:pt idx="8">
                  <c:v>1298.0923</c:v>
                </c:pt>
                <c:pt idx="9">
                  <c:v>1257.3744</c:v>
                </c:pt>
                <c:pt idx="10">
                  <c:v>1277.419</c:v>
                </c:pt>
                <c:pt idx="11">
                  <c:v>1115.6805</c:v>
                </c:pt>
                <c:pt idx="12">
                  <c:v>1146.3695</c:v>
                </c:pt>
                <c:pt idx="13">
                  <c:v>1216.1589</c:v>
                </c:pt>
                <c:pt idx="14">
                  <c:v>1212.7256</c:v>
                </c:pt>
                <c:pt idx="15">
                  <c:v>1249.6674</c:v>
                </c:pt>
                <c:pt idx="16">
                  <c:v>1296.1085</c:v>
                </c:pt>
                <c:pt idx="17">
                  <c:v>1271.2146</c:v>
                </c:pt>
                <c:pt idx="18">
                  <c:v>1272.5274</c:v>
                </c:pt>
                <c:pt idx="19">
                  <c:v>1393.8804</c:v>
                </c:pt>
                <c:pt idx="20">
                  <c:v>1393.7923</c:v>
                </c:pt>
                <c:pt idx="21">
                  <c:v>1292.2381</c:v>
                </c:pt>
                <c:pt idx="22">
                  <c:v>1231.3908</c:v>
                </c:pt>
                <c:pt idx="23">
                  <c:v>1232.6505</c:v>
                </c:pt>
                <c:pt idx="24">
                  <c:v>1241.0665</c:v>
                </c:pt>
                <c:pt idx="25">
                  <c:v>1182.1652</c:v>
                </c:pt>
                <c:pt idx="26">
                  <c:v>1265.8912</c:v>
                </c:pt>
                <c:pt idx="27">
                  <c:v>1287.9966</c:v>
                </c:pt>
                <c:pt idx="28">
                  <c:v>1260.9278</c:v>
                </c:pt>
                <c:pt idx="29">
                  <c:v>1273.3701</c:v>
                </c:pt>
                <c:pt idx="30">
                  <c:v>1221.8732</c:v>
                </c:pt>
                <c:pt idx="31">
                  <c:v>1132.3712</c:v>
                </c:pt>
                <c:pt idx="32">
                  <c:v>1175.0773</c:v>
                </c:pt>
                <c:pt idx="33">
                  <c:v>1233.1812</c:v>
                </c:pt>
                <c:pt idx="34">
                  <c:v>1263.9103</c:v>
                </c:pt>
                <c:pt idx="35">
                  <c:v>1238.682</c:v>
                </c:pt>
                <c:pt idx="36">
                  <c:v>1266.0355</c:v>
                </c:pt>
                <c:pt idx="37">
                  <c:v>1351.7819</c:v>
                </c:pt>
                <c:pt idx="38">
                  <c:v>1324.7908</c:v>
                </c:pt>
                <c:pt idx="39">
                  <c:v>1262.9064</c:v>
                </c:pt>
                <c:pt idx="40">
                  <c:v>1297.6297</c:v>
                </c:pt>
                <c:pt idx="41">
                  <c:v>1366.0716</c:v>
                </c:pt>
                <c:pt idx="42">
                  <c:v>1353.0813</c:v>
                </c:pt>
                <c:pt idx="43">
                  <c:v>1349.4455</c:v>
                </c:pt>
                <c:pt idx="44">
                  <c:v>1296.7427</c:v>
                </c:pt>
                <c:pt idx="45">
                  <c:v>1244.5216</c:v>
                </c:pt>
                <c:pt idx="46">
                  <c:v>1245.601</c:v>
                </c:pt>
                <c:pt idx="47">
                  <c:v>1215.6912</c:v>
                </c:pt>
                <c:pt idx="48">
                  <c:v>1202.7142</c:v>
                </c:pt>
                <c:pt idx="49">
                  <c:v>1227.4168</c:v>
                </c:pt>
                <c:pt idx="50">
                  <c:v>1100.1335</c:v>
                </c:pt>
                <c:pt idx="51">
                  <c:v>1067.6802</c:v>
                </c:pt>
              </c:numCache>
            </c:numRef>
          </c:xVal>
          <c:yVal>
            <c:numRef>
              <c:f>Sheet1!$B$109:$B$160</c:f>
              <c:numCache>
                <c:formatCode>General</c:formatCode>
                <c:ptCount val="52"/>
                <c:pt idx="0">
                  <c:v>0.1695790790588805</c:v>
                </c:pt>
                <c:pt idx="1">
                  <c:v>0.17791174961518727</c:v>
                </c:pt>
                <c:pt idx="2">
                  <c:v>0.1852353538774128</c:v>
                </c:pt>
                <c:pt idx="3">
                  <c:v>0.1991701244813278</c:v>
                </c:pt>
                <c:pt idx="4">
                  <c:v>0.1874479971472721</c:v>
                </c:pt>
                <c:pt idx="5">
                  <c:v>0.18587300300056767</c:v>
                </c:pt>
                <c:pt idx="6">
                  <c:v>0.18391370041111774</c:v>
                </c:pt>
                <c:pt idx="7">
                  <c:v>0.17661247527618312</c:v>
                </c:pt>
                <c:pt idx="8">
                  <c:v>0.17646420235575097</c:v>
                </c:pt>
                <c:pt idx="9">
                  <c:v>0.18555672006787444</c:v>
                </c:pt>
                <c:pt idx="10">
                  <c:v>0.1925045080169599</c:v>
                </c:pt>
                <c:pt idx="11">
                  <c:v>0.2061260270205232</c:v>
                </c:pt>
                <c:pt idx="12">
                  <c:v>0.20658426141231184</c:v>
                </c:pt>
                <c:pt idx="13">
                  <c:v>0.19522052363380776</c:v>
                </c:pt>
                <c:pt idx="14">
                  <c:v>0.19821548498512903</c:v>
                </c:pt>
                <c:pt idx="15">
                  <c:v>0.18580538130540722</c:v>
                </c:pt>
                <c:pt idx="16">
                  <c:v>0.16675835931291644</c:v>
                </c:pt>
                <c:pt idx="17">
                  <c:v>0.1526210587400864</c:v>
                </c:pt>
                <c:pt idx="18">
                  <c:v>0.14812035716965558</c:v>
                </c:pt>
                <c:pt idx="19">
                  <c:v>0.15454277720512444</c:v>
                </c:pt>
                <c:pt idx="20">
                  <c:v>0.14374286180453583</c:v>
                </c:pt>
                <c:pt idx="21">
                  <c:v>0.1542785153600155</c:v>
                </c:pt>
                <c:pt idx="22">
                  <c:v>0.16029230331213817</c:v>
                </c:pt>
                <c:pt idx="23">
                  <c:v>0.1641924877951579</c:v>
                </c:pt>
                <c:pt idx="24">
                  <c:v>0.15807748538011696</c:v>
                </c:pt>
                <c:pt idx="25">
                  <c:v>0.1643002028397566</c:v>
                </c:pt>
                <c:pt idx="26">
                  <c:v>0.14259111465815377</c:v>
                </c:pt>
                <c:pt idx="27">
                  <c:v>0.14253629582096736</c:v>
                </c:pt>
                <c:pt idx="28">
                  <c:v>0.1532013296719179</c:v>
                </c:pt>
                <c:pt idx="29">
                  <c:v>0.1561052355563325</c:v>
                </c:pt>
                <c:pt idx="30">
                  <c:v>0.1652134831460674</c:v>
                </c:pt>
                <c:pt idx="31">
                  <c:v>0.16674638859657515</c:v>
                </c:pt>
                <c:pt idx="32">
                  <c:v>0.16969546095759688</c:v>
                </c:pt>
                <c:pt idx="33">
                  <c:v>0.18638573743922204</c:v>
                </c:pt>
                <c:pt idx="34">
                  <c:v>0.20878356691986732</c:v>
                </c:pt>
                <c:pt idx="35">
                  <c:v>0.20040160642570282</c:v>
                </c:pt>
                <c:pt idx="36">
                  <c:v>0.16900073707486574</c:v>
                </c:pt>
                <c:pt idx="37">
                  <c:v>0.14900124247347796</c:v>
                </c:pt>
                <c:pt idx="38">
                  <c:v>0.1543937944958028</c:v>
                </c:pt>
                <c:pt idx="39">
                  <c:v>0.17405877309221296</c:v>
                </c:pt>
                <c:pt idx="40">
                  <c:v>0.15430244781498723</c:v>
                </c:pt>
                <c:pt idx="41">
                  <c:v>0.15501779359430606</c:v>
                </c:pt>
                <c:pt idx="42">
                  <c:v>0.15447549615228837</c:v>
                </c:pt>
                <c:pt idx="43">
                  <c:v>0.1453913248467704</c:v>
                </c:pt>
                <c:pt idx="44">
                  <c:v>0.13828449859781453</c:v>
                </c:pt>
                <c:pt idx="45">
                  <c:v>0.1537342041743575</c:v>
                </c:pt>
                <c:pt idx="46">
                  <c:v>0.1493275233586123</c:v>
                </c:pt>
                <c:pt idx="47">
                  <c:v>0.15100058286380416</c:v>
                </c:pt>
                <c:pt idx="48">
                  <c:v>0.14215291426362084</c:v>
                </c:pt>
                <c:pt idx="49">
                  <c:v>0.1594824980351853</c:v>
                </c:pt>
                <c:pt idx="50">
                  <c:v>0.1933509556730378</c:v>
                </c:pt>
                <c:pt idx="51">
                  <c:v>0.1802605026600623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43.3986731415837</c:v>
                </c:pt>
              </c:numCache>
            </c:numRef>
          </c:xVal>
          <c:yVal>
            <c:numRef>
              <c:f>Sheet1!$B$163:$B$164</c:f>
              <c:numCache>
                <c:formatCode>General</c:formatCode>
                <c:ptCount val="2"/>
                <c:pt idx="0">
                  <c:v>0.1999656435326154</c:v>
                </c:pt>
                <c:pt idx="1">
                  <c:v>0.199965643532615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43.3986731415837</c:v>
                </c:pt>
                <c:pt idx="1">
                  <c:v>1043.3986731415837</c:v>
                </c:pt>
              </c:numCache>
            </c:numRef>
          </c:xVal>
          <c:yVal>
            <c:numRef>
              <c:f>Sheet1!$B$167:$B$168</c:f>
              <c:numCache>
                <c:formatCode>General</c:formatCode>
                <c:ptCount val="2"/>
                <c:pt idx="0">
                  <c:v>0.199965643532615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57.8854626100606</c:v>
                </c:pt>
              </c:numCache>
            </c:numRef>
          </c:xVal>
          <c:yVal>
            <c:numRef>
              <c:f>Sheet1!$B$171:$B$172</c:f>
              <c:numCache>
                <c:formatCode>General</c:formatCode>
                <c:ptCount val="2"/>
                <c:pt idx="0">
                  <c:v>0.1824675205804111</c:v>
                </c:pt>
                <c:pt idx="1">
                  <c:v>0.182467520580411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57.8854626100606</c:v>
                </c:pt>
                <c:pt idx="1">
                  <c:v>1157.8854626100606</c:v>
                </c:pt>
              </c:numCache>
            </c:numRef>
          </c:xVal>
          <c:yVal>
            <c:numRef>
              <c:f>Sheet1!$B$175:$B$176</c:f>
              <c:numCache>
                <c:formatCode>General</c:formatCode>
                <c:ptCount val="2"/>
                <c:pt idx="0">
                  <c:v>0.182467520580411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19.562303712875</c:v>
                </c:pt>
              </c:numCache>
            </c:numRef>
          </c:xVal>
          <c:yVal>
            <c:numRef>
              <c:f>Sheet1!$B$179:$B$180</c:f>
              <c:numCache>
                <c:formatCode>General</c:formatCode>
                <c:ptCount val="2"/>
                <c:pt idx="0">
                  <c:v>0.15775688577900457</c:v>
                </c:pt>
                <c:pt idx="1">
                  <c:v>0.1577568857790045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19.562303712875</c:v>
                </c:pt>
                <c:pt idx="1">
                  <c:v>1319.562303712875</c:v>
                </c:pt>
              </c:numCache>
            </c:numRef>
          </c:xVal>
          <c:yVal>
            <c:numRef>
              <c:f>Sheet1!$B$183:$B$184</c:f>
              <c:numCache>
                <c:formatCode>General</c:formatCode>
                <c:ptCount val="2"/>
                <c:pt idx="0">
                  <c:v>0.1577568857790045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3.5443</c:v>
                </c:pt>
                <c:pt idx="1">
                  <c:v>1203.9909</c:v>
                </c:pt>
                <c:pt idx="2">
                  <c:v>1194.431</c:v>
                </c:pt>
                <c:pt idx="3">
                  <c:v>1217.352</c:v>
                </c:pt>
                <c:pt idx="4">
                  <c:v>1218.6698</c:v>
                </c:pt>
                <c:pt idx="5">
                  <c:v>1229.1479</c:v>
                </c:pt>
                <c:pt idx="6">
                  <c:v>1151.1471</c:v>
                </c:pt>
                <c:pt idx="7">
                  <c:v>1218.1775</c:v>
                </c:pt>
                <c:pt idx="8">
                  <c:v>1298.0923</c:v>
                </c:pt>
                <c:pt idx="9">
                  <c:v>1257.3744</c:v>
                </c:pt>
                <c:pt idx="10">
                  <c:v>1277.419</c:v>
                </c:pt>
                <c:pt idx="11">
                  <c:v>1115.6805</c:v>
                </c:pt>
                <c:pt idx="12">
                  <c:v>1146.3695</c:v>
                </c:pt>
                <c:pt idx="13">
                  <c:v>1216.1589</c:v>
                </c:pt>
                <c:pt idx="14">
                  <c:v>1212.7256</c:v>
                </c:pt>
                <c:pt idx="15">
                  <c:v>1249.6674</c:v>
                </c:pt>
                <c:pt idx="16">
                  <c:v>1296.1085</c:v>
                </c:pt>
                <c:pt idx="17">
                  <c:v>1271.2146</c:v>
                </c:pt>
                <c:pt idx="18">
                  <c:v>1272.5274</c:v>
                </c:pt>
                <c:pt idx="19">
                  <c:v>1393.8804</c:v>
                </c:pt>
                <c:pt idx="20">
                  <c:v>1393.7923</c:v>
                </c:pt>
                <c:pt idx="21">
                  <c:v>1292.2381</c:v>
                </c:pt>
                <c:pt idx="22">
                  <c:v>1231.3908</c:v>
                </c:pt>
                <c:pt idx="23">
                  <c:v>1232.6505</c:v>
                </c:pt>
                <c:pt idx="24">
                  <c:v>1241.0665</c:v>
                </c:pt>
                <c:pt idx="25">
                  <c:v>1182.1652</c:v>
                </c:pt>
                <c:pt idx="26">
                  <c:v>1265.8912</c:v>
                </c:pt>
                <c:pt idx="27">
                  <c:v>1287.9966</c:v>
                </c:pt>
                <c:pt idx="28">
                  <c:v>1260.9278</c:v>
                </c:pt>
                <c:pt idx="29">
                  <c:v>1273.3701</c:v>
                </c:pt>
                <c:pt idx="30">
                  <c:v>1221.8732</c:v>
                </c:pt>
                <c:pt idx="31">
                  <c:v>1132.3712</c:v>
                </c:pt>
                <c:pt idx="32">
                  <c:v>1175.0773</c:v>
                </c:pt>
                <c:pt idx="33">
                  <c:v>1233.1812</c:v>
                </c:pt>
                <c:pt idx="34">
                  <c:v>1263.9103</c:v>
                </c:pt>
                <c:pt idx="35">
                  <c:v>1238.682</c:v>
                </c:pt>
                <c:pt idx="36">
                  <c:v>1266.0355</c:v>
                </c:pt>
                <c:pt idx="37">
                  <c:v>1351.7819</c:v>
                </c:pt>
                <c:pt idx="38">
                  <c:v>1324.7908</c:v>
                </c:pt>
                <c:pt idx="39">
                  <c:v>1262.9064</c:v>
                </c:pt>
                <c:pt idx="40">
                  <c:v>1297.6297</c:v>
                </c:pt>
                <c:pt idx="41">
                  <c:v>1366.0716</c:v>
                </c:pt>
                <c:pt idx="42">
                  <c:v>1353.0813</c:v>
                </c:pt>
                <c:pt idx="43">
                  <c:v>1349.4455</c:v>
                </c:pt>
                <c:pt idx="44">
                  <c:v>1296.7427</c:v>
                </c:pt>
                <c:pt idx="45">
                  <c:v>1244.5216</c:v>
                </c:pt>
                <c:pt idx="46">
                  <c:v>1245.601</c:v>
                </c:pt>
                <c:pt idx="47">
                  <c:v>1215.6912</c:v>
                </c:pt>
                <c:pt idx="48">
                  <c:v>1202.7142</c:v>
                </c:pt>
                <c:pt idx="49">
                  <c:v>1227.4168</c:v>
                </c:pt>
                <c:pt idx="50">
                  <c:v>1100.1335</c:v>
                </c:pt>
                <c:pt idx="51">
                  <c:v>1067.6802</c:v>
                </c:pt>
                <c:pt idx="52">
                  <c:v>1157.8854626100606</c:v>
                </c:pt>
                <c:pt idx="53">
                  <c:v>1043.3986731415837</c:v>
                </c:pt>
                <c:pt idx="54">
                  <c:v>1319.562303712875</c:v>
                </c:pt>
              </c:numCache>
            </c:numRef>
          </c:xVal>
          <c:yVal>
            <c:numRef>
              <c:f>Sheet1!$B$187:$B$241</c:f>
              <c:numCache>
                <c:formatCode>General</c:formatCode>
                <c:ptCount val="55"/>
                <c:pt idx="0">
                  <c:v>0.17396064232356148</c:v>
                </c:pt>
                <c:pt idx="1">
                  <c:v>0.17542078081279405</c:v>
                </c:pt>
                <c:pt idx="2">
                  <c:v>0.17688191275987197</c:v>
                </c:pt>
                <c:pt idx="3">
                  <c:v>0.1733786747177404</c:v>
                </c:pt>
                <c:pt idx="4">
                  <c:v>0.17317726260256566</c:v>
                </c:pt>
                <c:pt idx="5">
                  <c:v>0.17157579327185327</c:v>
                </c:pt>
                <c:pt idx="6">
                  <c:v>0.1834974096880958</c:v>
                </c:pt>
                <c:pt idx="7">
                  <c:v>0.17325250557137772</c:v>
                </c:pt>
                <c:pt idx="8">
                  <c:v>0.1610383540295892</c:v>
                </c:pt>
                <c:pt idx="9">
                  <c:v>0.1672616643683924</c:v>
                </c:pt>
                <c:pt idx="10">
                  <c:v>0.16419805434878984</c:v>
                </c:pt>
                <c:pt idx="11">
                  <c:v>0.18891811307560347</c:v>
                </c:pt>
                <c:pt idx="12">
                  <c:v>0.18422761648841374</c:v>
                </c:pt>
                <c:pt idx="13">
                  <c:v>0.17356102772625084</c:v>
                </c:pt>
                <c:pt idx="14">
                  <c:v>0.17408577216017826</c:v>
                </c:pt>
                <c:pt idx="15">
                  <c:v>0.16843959969367087</c:v>
                </c:pt>
                <c:pt idx="16">
                  <c:v>0.16134155736399783</c:v>
                </c:pt>
                <c:pt idx="17">
                  <c:v>0.16514633278815116</c:v>
                </c:pt>
                <c:pt idx="18">
                  <c:v>0.164945684871319</c:v>
                </c:pt>
                <c:pt idx="19">
                  <c:v>0.14639813257749276</c:v>
                </c:pt>
                <c:pt idx="20">
                  <c:v>0.14641159775228932</c:v>
                </c:pt>
                <c:pt idx="21">
                  <c:v>0.16193310801703503</c:v>
                </c:pt>
                <c:pt idx="22">
                  <c:v>0.17123298917933127</c:v>
                </c:pt>
                <c:pt idx="23">
                  <c:v>0.17104045704889748</c:v>
                </c:pt>
                <c:pt idx="24">
                  <c:v>0.1697541583986388</c:v>
                </c:pt>
                <c:pt idx="25">
                  <c:v>0.1787566135659964</c:v>
                </c:pt>
                <c:pt idx="26">
                  <c:v>0.16595995947954698</c:v>
                </c:pt>
                <c:pt idx="27">
                  <c:v>0.1625813774710598</c:v>
                </c:pt>
                <c:pt idx="28">
                  <c:v>0.16671856389027584</c:v>
                </c:pt>
                <c:pt idx="29">
                  <c:v>0.16481688688265775</c:v>
                </c:pt>
                <c:pt idx="30">
                  <c:v>0.17268765600843083</c:v>
                </c:pt>
                <c:pt idx="31">
                  <c:v>0.1863671120202479</c:v>
                </c:pt>
                <c:pt idx="32">
                  <c:v>0.17983992585249456</c:v>
                </c:pt>
                <c:pt idx="33">
                  <c:v>0.17095934503681426</c:v>
                </c:pt>
                <c:pt idx="34">
                  <c:v>0.16626271957891692</c:v>
                </c:pt>
                <c:pt idx="35">
                  <c:v>0.17011860458822312</c:v>
                </c:pt>
                <c:pt idx="36">
                  <c:v>0.16593790471537964</c:v>
                </c:pt>
                <c:pt idx="37">
                  <c:v>0.15283245336265378</c:v>
                </c:pt>
                <c:pt idx="38">
                  <c:v>0.15695776413962587</c:v>
                </c:pt>
                <c:pt idx="39">
                  <c:v>0.16641615532214346</c:v>
                </c:pt>
                <c:pt idx="40">
                  <c:v>0.16110905766024625</c:v>
                </c:pt>
                <c:pt idx="41">
                  <c:v>0.15064842035141313</c:v>
                </c:pt>
                <c:pt idx="42">
                  <c:v>0.15263385349737976</c:v>
                </c:pt>
                <c:pt idx="43">
                  <c:v>0.15318954796418233</c:v>
                </c:pt>
                <c:pt idx="44">
                  <c:v>0.16124462644622287</c:v>
                </c:pt>
                <c:pt idx="45">
                  <c:v>0.16922608205993764</c:v>
                </c:pt>
                <c:pt idx="46">
                  <c:v>0.16906110692173787</c:v>
                </c:pt>
                <c:pt idx="47">
                  <c:v>0.17363251083921732</c:v>
                </c:pt>
                <c:pt idx="48">
                  <c:v>0.17561591121759268</c:v>
                </c:pt>
                <c:pt idx="49">
                  <c:v>0.1718403740220271</c:v>
                </c:pt>
                <c:pt idx="50">
                  <c:v>0.1912943114020735</c:v>
                </c:pt>
                <c:pt idx="51">
                  <c:v>0.19625446301643185</c:v>
                </c:pt>
                <c:pt idx="52">
                  <c:v>0.1824675205804111</c:v>
                </c:pt>
                <c:pt idx="53">
                  <c:v>0.1999656435326154</c:v>
                </c:pt>
                <c:pt idx="54">
                  <c:v>0.157756885779004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73.0"/>
          <c:min val="57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524411040232423"/>
          <c:min val="0.1016797312430011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7823827546353854</c:v>
                </c:pt>
                <c:pt idx="1">
                  <c:v>0.21767929258539057</c:v>
                </c:pt>
                <c:pt idx="2">
                  <c:v>0.21265779386881956</c:v>
                </c:pt>
                <c:pt idx="3">
                  <c:v>0.21576618881106643</c:v>
                </c:pt>
                <c:pt idx="4">
                  <c:v>0.20368919658865764</c:v>
                </c:pt>
                <c:pt idx="5">
                  <c:v>0.20746076054652865</c:v>
                </c:pt>
                <c:pt idx="6">
                  <c:v>0.21523220639645108</c:v>
                </c:pt>
                <c:pt idx="7">
                  <c:v>0.20477541249080874</c:v>
                </c:pt>
                <c:pt idx="8">
                  <c:v>0.18613142033131633</c:v>
                </c:pt>
                <c:pt idx="9">
                  <c:v>0.19572827371636292</c:v>
                </c:pt>
                <c:pt idx="10">
                  <c:v>0.20511288492295607</c:v>
                </c:pt>
                <c:pt idx="11">
                  <c:v>0.21622979995046815</c:v>
                </c:pt>
                <c:pt idx="12">
                  <c:v>0.22022922513026513</c:v>
                </c:pt>
                <c:pt idx="13">
                  <c:v>0.2060024236923838</c:v>
                </c:pt>
                <c:pt idx="14">
                  <c:v>0.20253785285600853</c:v>
                </c:pt>
                <c:pt idx="15">
                  <c:v>0.218344717958835</c:v>
                </c:pt>
                <c:pt idx="16">
                  <c:v>0.19950915623861337</c:v>
                </c:pt>
                <c:pt idx="17">
                  <c:v>0.19414602130428246</c:v>
                </c:pt>
                <c:pt idx="18">
                  <c:v>0.19541120555101615</c:v>
                </c:pt>
                <c:pt idx="19">
                  <c:v>0.19974731295885448</c:v>
                </c:pt>
                <c:pt idx="20">
                  <c:v>0.19769746989372766</c:v>
                </c:pt>
                <c:pt idx="21">
                  <c:v>0.1798587030003037</c:v>
                </c:pt>
                <c:pt idx="22">
                  <c:v>0.172328467381491</c:v>
                </c:pt>
                <c:pt idx="23">
                  <c:v>0.1610364208829676</c:v>
                </c:pt>
                <c:pt idx="24">
                  <c:v>0.1783122697595059</c:v>
                </c:pt>
                <c:pt idx="25">
                  <c:v>0.17455164897832068</c:v>
                </c:pt>
                <c:pt idx="26">
                  <c:v>0.1694598733534816</c:v>
                </c:pt>
                <c:pt idx="27">
                  <c:v>0.174298640045039</c:v>
                </c:pt>
                <c:pt idx="28">
                  <c:v>0.16402978568786217</c:v>
                </c:pt>
                <c:pt idx="29">
                  <c:v>0.1619462791302948</c:v>
                </c:pt>
                <c:pt idx="30">
                  <c:v>0.1642893026263019</c:v>
                </c:pt>
                <c:pt idx="31">
                  <c:v>0.16184812437462434</c:v>
                </c:pt>
                <c:pt idx="32">
                  <c:v>0.1536631433241656</c:v>
                </c:pt>
                <c:pt idx="33">
                  <c:v>0.1591635266023599</c:v>
                </c:pt>
                <c:pt idx="34">
                  <c:v>0.19011358564290018</c:v>
                </c:pt>
                <c:pt idx="35">
                  <c:v>0.191859720596092</c:v>
                </c:pt>
                <c:pt idx="36">
                  <c:v>0.1656105163571557</c:v>
                </c:pt>
                <c:pt idx="37">
                  <c:v>0.16741768617577385</c:v>
                </c:pt>
                <c:pt idx="38">
                  <c:v>0.18333317855460382</c:v>
                </c:pt>
                <c:pt idx="39">
                  <c:v>0.19310767488207287</c:v>
                </c:pt>
                <c:pt idx="40">
                  <c:v>0.21862281068784642</c:v>
                </c:pt>
                <c:pt idx="41">
                  <c:v>0.21605306779224212</c:v>
                </c:pt>
                <c:pt idx="42">
                  <c:v>0.2022366893056973</c:v>
                </c:pt>
                <c:pt idx="43">
                  <c:v>0.2137617941174401</c:v>
                </c:pt>
                <c:pt idx="44">
                  <c:v>0.21399950717807992</c:v>
                </c:pt>
                <c:pt idx="45">
                  <c:v>0.21760965025447215</c:v>
                </c:pt>
                <c:pt idx="46">
                  <c:v>0.22246920621626565</c:v>
                </c:pt>
                <c:pt idx="47">
                  <c:v>0.19411743400108508</c:v>
                </c:pt>
                <c:pt idx="48">
                  <c:v>0.24523237925329433</c:v>
                </c:pt>
                <c:pt idx="49">
                  <c:v>0.24986547370407808</c:v>
                </c:pt>
                <c:pt idx="50">
                  <c:v>0.20406075269749172</c:v>
                </c:pt>
                <c:pt idx="51">
                  <c:v>0.19073493920276893</c:v>
                </c:pt>
                <c:pt idx="52">
                  <c:v>0.215281539616155</c:v>
                </c:pt>
                <c:pt idx="53">
                  <c:v>0.2198292560120892</c:v>
                </c:pt>
                <c:pt idx="54">
                  <c:v>0.21832462766816654</c:v>
                </c:pt>
                <c:pt idx="55">
                  <c:v>0.19429679669538927</c:v>
                </c:pt>
                <c:pt idx="56">
                  <c:v>0.20521858121822156</c:v>
                </c:pt>
                <c:pt idx="57">
                  <c:v>0.20330168879244345</c:v>
                </c:pt>
                <c:pt idx="58">
                  <c:v>0.2127611676426841</c:v>
                </c:pt>
                <c:pt idx="59">
                  <c:v>0.23689893271279486</c:v>
                </c:pt>
                <c:pt idx="60">
                  <c:v>0.22921114966013068</c:v>
                </c:pt>
                <c:pt idx="61">
                  <c:v>0.22121553735800334</c:v>
                </c:pt>
                <c:pt idx="62">
                  <c:v>0.2546564233110288</c:v>
                </c:pt>
                <c:pt idx="63">
                  <c:v>0.2490136934722291</c:v>
                </c:pt>
                <c:pt idx="64">
                  <c:v>0.24980234020046638</c:v>
                </c:pt>
                <c:pt idx="65">
                  <c:v>0.2156392007713047</c:v>
                </c:pt>
                <c:pt idx="66">
                  <c:v>0.2060739014776412</c:v>
                </c:pt>
                <c:pt idx="67">
                  <c:v>0.22800481256769478</c:v>
                </c:pt>
                <c:pt idx="68">
                  <c:v>0.194010226608628</c:v>
                </c:pt>
                <c:pt idx="69">
                  <c:v>0.16635723272622197</c:v>
                </c:pt>
                <c:pt idx="70">
                  <c:v>0.15123635414274025</c:v>
                </c:pt>
                <c:pt idx="71">
                  <c:v>0.16989928834552123</c:v>
                </c:pt>
                <c:pt idx="72">
                  <c:v>0.19007029565725084</c:v>
                </c:pt>
                <c:pt idx="73">
                  <c:v>0.1768794172709622</c:v>
                </c:pt>
                <c:pt idx="74">
                  <c:v>0.17642378891813493</c:v>
                </c:pt>
                <c:pt idx="75">
                  <c:v>0.17083123814636506</c:v>
                </c:pt>
                <c:pt idx="76">
                  <c:v>0.15785790234801614</c:v>
                </c:pt>
                <c:pt idx="77">
                  <c:v>0.16384853070017688</c:v>
                </c:pt>
                <c:pt idx="78">
                  <c:v>0.16697820054128398</c:v>
                </c:pt>
                <c:pt idx="79">
                  <c:v>0.10377360546992027</c:v>
                </c:pt>
                <c:pt idx="80">
                  <c:v>0.1009351095851225</c:v>
                </c:pt>
                <c:pt idx="81">
                  <c:v>0.15145989218536615</c:v>
                </c:pt>
                <c:pt idx="82">
                  <c:v>0.15120928279350712</c:v>
                </c:pt>
                <c:pt idx="83">
                  <c:v>0.1404287717960395</c:v>
                </c:pt>
                <c:pt idx="84">
                  <c:v>0.1305173263288281</c:v>
                </c:pt>
                <c:pt idx="85">
                  <c:v>0.15158894273350776</c:v>
                </c:pt>
                <c:pt idx="86">
                  <c:v>0.18187224734943078</c:v>
                </c:pt>
                <c:pt idx="87">
                  <c:v>0.1940720360346348</c:v>
                </c:pt>
                <c:pt idx="88">
                  <c:v>0.15521397027036699</c:v>
                </c:pt>
                <c:pt idx="89">
                  <c:v>0.1440225038034591</c:v>
                </c:pt>
                <c:pt idx="90">
                  <c:v>0.15931539712913734</c:v>
                </c:pt>
                <c:pt idx="91">
                  <c:v>0.17348717751803813</c:v>
                </c:pt>
                <c:pt idx="92">
                  <c:v>0.18436561551690483</c:v>
                </c:pt>
                <c:pt idx="93">
                  <c:v>0.172421071958101</c:v>
                </c:pt>
                <c:pt idx="94">
                  <c:v>0.17612064783264253</c:v>
                </c:pt>
                <c:pt idx="95">
                  <c:v>0.17218062891621871</c:v>
                </c:pt>
                <c:pt idx="96">
                  <c:v>0.18371616163252288</c:v>
                </c:pt>
                <c:pt idx="97">
                  <c:v>0.19702658089424868</c:v>
                </c:pt>
                <c:pt idx="98">
                  <c:v>0.2025751269997795</c:v>
                </c:pt>
                <c:pt idx="99">
                  <c:v>0.21613588269461764</c:v>
                </c:pt>
                <c:pt idx="100">
                  <c:v>0.2274638650360718</c:v>
                </c:pt>
                <c:pt idx="101">
                  <c:v>0.21923003487614223</c:v>
                </c:pt>
                <c:pt idx="102">
                  <c:v>0.2072339389414855</c:v>
                </c:pt>
                <c:pt idx="103">
                  <c:v>0.1791720887342113</c:v>
                </c:pt>
                <c:pt idx="104">
                  <c:v>0.19506501127058726</c:v>
                </c:pt>
              </c:numCache>
            </c:numRef>
          </c:xVal>
          <c:yVal>
            <c:numRef>
              <c:f>Sheet1!$B$2:$B$106</c:f>
              <c:numCache>
                <c:formatCode>General</c:formatCode>
                <c:ptCount val="105"/>
                <c:pt idx="0">
                  <c:v>0.21030715158924204</c:v>
                </c:pt>
                <c:pt idx="1">
                  <c:v>0.21298701298701297</c:v>
                </c:pt>
                <c:pt idx="2">
                  <c:v>0.19188149288187764</c:v>
                </c:pt>
                <c:pt idx="3">
                  <c:v>0.19090721223393264</c:v>
                </c:pt>
                <c:pt idx="4">
                  <c:v>0.19040369315391414</c:v>
                </c:pt>
                <c:pt idx="5">
                  <c:v>0.18118797067477932</c:v>
                </c:pt>
                <c:pt idx="6">
                  <c:v>0.20359223768478837</c:v>
                </c:pt>
                <c:pt idx="7">
                  <c:v>0.20028392958546282</c:v>
                </c:pt>
                <c:pt idx="8">
                  <c:v>0.21053270971268906</c:v>
                </c:pt>
                <c:pt idx="9">
                  <c:v>0.21039721134397726</c:v>
                </c:pt>
                <c:pt idx="10">
                  <c:v>0.22042008977725078</c:v>
                </c:pt>
                <c:pt idx="11">
                  <c:v>0.21358106613581065</c:v>
                </c:pt>
                <c:pt idx="12">
                  <c:v>0.21567654719087187</c:v>
                </c:pt>
                <c:pt idx="13">
                  <c:v>0.22556548743128121</c:v>
                </c:pt>
                <c:pt idx="14">
                  <c:v>0.21514723007818998</c:v>
                </c:pt>
                <c:pt idx="15">
                  <c:v>0.21337422099119596</c:v>
                </c:pt>
                <c:pt idx="16">
                  <c:v>0.2021367278513383</c:v>
                </c:pt>
                <c:pt idx="17">
                  <c:v>0.1916417538614848</c:v>
                </c:pt>
                <c:pt idx="18">
                  <c:v>0.17514358867898416</c:v>
                </c:pt>
                <c:pt idx="19">
                  <c:v>0.16184781718404456</c:v>
                </c:pt>
                <c:pt idx="20">
                  <c:v>0.174278038952317</c:v>
                </c:pt>
                <c:pt idx="21">
                  <c:v>0.17816586373021334</c:v>
                </c:pt>
                <c:pt idx="22">
                  <c:v>0.17713299358868978</c:v>
                </c:pt>
                <c:pt idx="23">
                  <c:v>0.18507202095154954</c:v>
                </c:pt>
                <c:pt idx="24">
                  <c:v>0.18752479961907786</c:v>
                </c:pt>
                <c:pt idx="25">
                  <c:v>0.18773318773318773</c:v>
                </c:pt>
                <c:pt idx="26">
                  <c:v>0.192</c:v>
                </c:pt>
                <c:pt idx="27">
                  <c:v>0.17932890155112377</c:v>
                </c:pt>
                <c:pt idx="28">
                  <c:v>0.17864642222581167</c:v>
                </c:pt>
                <c:pt idx="29">
                  <c:v>0.20309249757315212</c:v>
                </c:pt>
                <c:pt idx="30">
                  <c:v>0.18293125340105207</c:v>
                </c:pt>
                <c:pt idx="31">
                  <c:v>0.17864829961256995</c:v>
                </c:pt>
                <c:pt idx="32">
                  <c:v>0.1871335232032166</c:v>
                </c:pt>
                <c:pt idx="33">
                  <c:v>0.20930232558139536</c:v>
                </c:pt>
                <c:pt idx="34">
                  <c:v>0.1992973309911033</c:v>
                </c:pt>
                <c:pt idx="35">
                  <c:v>0.1956752736159813</c:v>
                </c:pt>
                <c:pt idx="36">
                  <c:v>0.15181646844739066</c:v>
                </c:pt>
                <c:pt idx="37">
                  <c:v>0.14250182882223847</c:v>
                </c:pt>
                <c:pt idx="38">
                  <c:v>0.13718112724809994</c:v>
                </c:pt>
                <c:pt idx="39">
                  <c:v>0.13833099797602366</c:v>
                </c:pt>
                <c:pt idx="40">
                  <c:v>0.13867644270273688</c:v>
                </c:pt>
                <c:pt idx="41">
                  <c:v>0.1270996640537514</c:v>
                </c:pt>
                <c:pt idx="42">
                  <c:v>0.13326508490906902</c:v>
                </c:pt>
                <c:pt idx="43">
                  <c:v>0.13675121424716677</c:v>
                </c:pt>
                <c:pt idx="44">
                  <c:v>0.16124158769399807</c:v>
                </c:pt>
                <c:pt idx="45">
                  <c:v>0.1861608385121974</c:v>
                </c:pt>
                <c:pt idx="46">
                  <c:v>0.1937179063691781</c:v>
                </c:pt>
                <c:pt idx="47">
                  <c:v>0.19532088430993774</c:v>
                </c:pt>
                <c:pt idx="48">
                  <c:v>0.21233782239451454</c:v>
                </c:pt>
                <c:pt idx="49">
                  <c:v>0.24603675866860356</c:v>
                </c:pt>
                <c:pt idx="50">
                  <c:v>0.20786180373861235</c:v>
                </c:pt>
                <c:pt idx="51">
                  <c:v>0.18664801119328403</c:v>
                </c:pt>
                <c:pt idx="52">
                  <c:v>0.19997993176801124</c:v>
                </c:pt>
                <c:pt idx="53">
                  <c:v>0.1882059256834179</c:v>
                </c:pt>
                <c:pt idx="54">
                  <c:v>0.1853673948366131</c:v>
                </c:pt>
                <c:pt idx="55">
                  <c:v>0.17528152113716078</c:v>
                </c:pt>
                <c:pt idx="56">
                  <c:v>0.1852655955999421</c:v>
                </c:pt>
                <c:pt idx="57">
                  <c:v>0.18023843200646594</c:v>
                </c:pt>
                <c:pt idx="58">
                  <c:v>0.19915412830301668</c:v>
                </c:pt>
                <c:pt idx="59">
                  <c:v>0.2092832698703427</c:v>
                </c:pt>
                <c:pt idx="60">
                  <c:v>0.22389277072401512</c:v>
                </c:pt>
                <c:pt idx="61">
                  <c:v>0.222672371360418</c:v>
                </c:pt>
                <c:pt idx="62">
                  <c:v>0.22107099622587767</c:v>
                </c:pt>
                <c:pt idx="63">
                  <c:v>0.23888208218815193</c:v>
                </c:pt>
                <c:pt idx="64">
                  <c:v>0.22448180186061695</c:v>
                </c:pt>
                <c:pt idx="65">
                  <c:v>0.2092982083421854</c:v>
                </c:pt>
                <c:pt idx="66">
                  <c:v>0.21225035212539275</c:v>
                </c:pt>
                <c:pt idx="67">
                  <c:v>0.20886051756431329</c:v>
                </c:pt>
                <c:pt idx="68">
                  <c:v>0.18994516381733562</c:v>
                </c:pt>
                <c:pt idx="69">
                  <c:v>0.17577310373592325</c:v>
                </c:pt>
                <c:pt idx="70">
                  <c:v>0.16404162165235686</c:v>
                </c:pt>
                <c:pt idx="71">
                  <c:v>0.17445482866043613</c:v>
                </c:pt>
                <c:pt idx="72">
                  <c:v>0.17299754740683138</c:v>
                </c:pt>
                <c:pt idx="73">
                  <c:v>0.17705832738597288</c:v>
                </c:pt>
                <c:pt idx="74">
                  <c:v>0.17853922452660054</c:v>
                </c:pt>
                <c:pt idx="75">
                  <c:v>0.18282139593730232</c:v>
                </c:pt>
                <c:pt idx="76">
                  <c:v>0.1749961907664178</c:v>
                </c:pt>
                <c:pt idx="77">
                  <c:v>0.17296614850469502</c:v>
                </c:pt>
                <c:pt idx="78">
                  <c:v>0.15853018372703412</c:v>
                </c:pt>
                <c:pt idx="79">
                  <c:v>0.2261861775113743</c:v>
                </c:pt>
                <c:pt idx="80">
                  <c:v>0.2101878612716763</c:v>
                </c:pt>
                <c:pt idx="81">
                  <c:v>0.1694088207694714</c:v>
                </c:pt>
                <c:pt idx="82">
                  <c:v>0.16926466987676486</c:v>
                </c:pt>
                <c:pt idx="83">
                  <c:v>0.14987487255538048</c:v>
                </c:pt>
                <c:pt idx="84">
                  <c:v>0.1537157389092964</c:v>
                </c:pt>
                <c:pt idx="85">
                  <c:v>0.15863306418726042</c:v>
                </c:pt>
                <c:pt idx="86">
                  <c:v>0.1524004465947153</c:v>
                </c:pt>
                <c:pt idx="87">
                  <c:v>0.1689402513850003</c:v>
                </c:pt>
                <c:pt idx="88">
                  <c:v>0.14848762603116408</c:v>
                </c:pt>
                <c:pt idx="89">
                  <c:v>0.14441462596444146</c:v>
                </c:pt>
                <c:pt idx="90">
                  <c:v>0.14172686618507052</c:v>
                </c:pt>
                <c:pt idx="91">
                  <c:v>0.13393232009404651</c:v>
                </c:pt>
                <c:pt idx="92">
                  <c:v>0.14259086672879775</c:v>
                </c:pt>
                <c:pt idx="93">
                  <c:v>0.13648551435484926</c:v>
                </c:pt>
                <c:pt idx="94">
                  <c:v>0.14039841804599384</c:v>
                </c:pt>
                <c:pt idx="95">
                  <c:v>0.14438761776581427</c:v>
                </c:pt>
                <c:pt idx="96">
                  <c:v>0.1441160471441523</c:v>
                </c:pt>
                <c:pt idx="97">
                  <c:v>0.1554780494048381</c:v>
                </c:pt>
                <c:pt idx="98">
                  <c:v>0.17081260364842454</c:v>
                </c:pt>
                <c:pt idx="99">
                  <c:v>0.17867754563033533</c:v>
                </c:pt>
                <c:pt idx="100">
                  <c:v>0.19638028243694658</c:v>
                </c:pt>
                <c:pt idx="101">
                  <c:v>0.18430480700333343</c:v>
                </c:pt>
                <c:pt idx="102">
                  <c:v>0.15521151330135194</c:v>
                </c:pt>
                <c:pt idx="103">
                  <c:v>0.17430878208545966</c:v>
                </c:pt>
                <c:pt idx="104">
                  <c:v>0.1768059102517329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2461515675511115</c:v>
                </c:pt>
                <c:pt idx="1">
                  <c:v>0.2320756894752918</c:v>
                </c:pt>
                <c:pt idx="2">
                  <c:v>0.2238424726619985</c:v>
                </c:pt>
                <c:pt idx="3">
                  <c:v>0.22462776499422235</c:v>
                </c:pt>
                <c:pt idx="4">
                  <c:v>0.20549694598373774</c:v>
                </c:pt>
                <c:pt idx="5">
                  <c:v>0.22634503022511895</c:v>
                </c:pt>
                <c:pt idx="6">
                  <c:v>0.2155990859392314</c:v>
                </c:pt>
                <c:pt idx="7">
                  <c:v>0.20164495464477256</c:v>
                </c:pt>
                <c:pt idx="8">
                  <c:v>0.24971972973397238</c:v>
                </c:pt>
                <c:pt idx="9">
                  <c:v>0.23500222073583396</c:v>
                </c:pt>
                <c:pt idx="10">
                  <c:v>0.22890127927105042</c:v>
                </c:pt>
                <c:pt idx="11">
                  <c:v>0.20699279792734193</c:v>
                </c:pt>
                <c:pt idx="12">
                  <c:v>0.20628730925541525</c:v>
                </c:pt>
                <c:pt idx="13">
                  <c:v>0.2149914035888125</c:v>
                </c:pt>
                <c:pt idx="14">
                  <c:v>0.21349811629343896</c:v>
                </c:pt>
                <c:pt idx="15">
                  <c:v>0.21034531751651933</c:v>
                </c:pt>
                <c:pt idx="16">
                  <c:v>0.19915191128574233</c:v>
                </c:pt>
                <c:pt idx="17">
                  <c:v>0.18970572058999294</c:v>
                </c:pt>
                <c:pt idx="18">
                  <c:v>0.17705909273201081</c:v>
                </c:pt>
                <c:pt idx="19">
                  <c:v>0.20424840906290145</c:v>
                </c:pt>
                <c:pt idx="20">
                  <c:v>0.1861386267402048</c:v>
                </c:pt>
                <c:pt idx="21">
                  <c:v>0.16893195755501197</c:v>
                </c:pt>
                <c:pt idx="22">
                  <c:v>0.1584973933265251</c:v>
                </c:pt>
                <c:pt idx="23">
                  <c:v>0.17727807046061575</c:v>
                </c:pt>
                <c:pt idx="24">
                  <c:v>0.16588328772522493</c:v>
                </c:pt>
                <c:pt idx="25">
                  <c:v>0.15809934334014927</c:v>
                </c:pt>
                <c:pt idx="26">
                  <c:v>0.1713012138234802</c:v>
                </c:pt>
                <c:pt idx="27">
                  <c:v>0.17644713575745577</c:v>
                </c:pt>
                <c:pt idx="28">
                  <c:v>0.18590174593554748</c:v>
                </c:pt>
                <c:pt idx="29">
                  <c:v>0.16828756836595202</c:v>
                </c:pt>
                <c:pt idx="30">
                  <c:v>0.1610579340692204</c:v>
                </c:pt>
                <c:pt idx="31">
                  <c:v>0.1471657264295534</c:v>
                </c:pt>
                <c:pt idx="32">
                  <c:v>0.16388541656744116</c:v>
                </c:pt>
                <c:pt idx="33">
                  <c:v>0.18015234880200223</c:v>
                </c:pt>
                <c:pt idx="34">
                  <c:v>0.2023453587517633</c:v>
                </c:pt>
                <c:pt idx="35">
                  <c:v>0.15821868134672612</c:v>
                </c:pt>
                <c:pt idx="36">
                  <c:v>0.13675366256491714</c:v>
                </c:pt>
                <c:pt idx="37">
                  <c:v>0.15127122291887965</c:v>
                </c:pt>
                <c:pt idx="38">
                  <c:v>0.15103015984250254</c:v>
                </c:pt>
                <c:pt idx="39">
                  <c:v>0.15763328151561243</c:v>
                </c:pt>
                <c:pt idx="40">
                  <c:v>0.17198491375868363</c:v>
                </c:pt>
                <c:pt idx="41">
                  <c:v>0.18029589995353204</c:v>
                </c:pt>
                <c:pt idx="42">
                  <c:v>0.17603901206441386</c:v>
                </c:pt>
                <c:pt idx="43">
                  <c:v>0.19301259052166211</c:v>
                </c:pt>
                <c:pt idx="44">
                  <c:v>0.19315005252578982</c:v>
                </c:pt>
                <c:pt idx="45">
                  <c:v>0.1946608299984135</c:v>
                </c:pt>
                <c:pt idx="46">
                  <c:v>0.18495874410618954</c:v>
                </c:pt>
                <c:pt idx="47">
                  <c:v>0.17251897449279202</c:v>
                </c:pt>
                <c:pt idx="48">
                  <c:v>0.1760973773762799</c:v>
                </c:pt>
                <c:pt idx="49">
                  <c:v>0.21132385974699366</c:v>
                </c:pt>
                <c:pt idx="50">
                  <c:v>0.20970409158519188</c:v>
                </c:pt>
                <c:pt idx="51">
                  <c:v>0.17500833054774198</c:v>
                </c:pt>
              </c:numCache>
            </c:numRef>
          </c:xVal>
          <c:yVal>
            <c:numRef>
              <c:f>Sheet1!$B$109:$B$160</c:f>
              <c:numCache>
                <c:formatCode>General</c:formatCode>
                <c:ptCount val="52"/>
                <c:pt idx="0">
                  <c:v>0.1695790790588805</c:v>
                </c:pt>
                <c:pt idx="1">
                  <c:v>0.17791174961518727</c:v>
                </c:pt>
                <c:pt idx="2">
                  <c:v>0.1852353538774128</c:v>
                </c:pt>
                <c:pt idx="3">
                  <c:v>0.1991701244813278</c:v>
                </c:pt>
                <c:pt idx="4">
                  <c:v>0.1874479971472721</c:v>
                </c:pt>
                <c:pt idx="5">
                  <c:v>0.18587300300056767</c:v>
                </c:pt>
                <c:pt idx="6">
                  <c:v>0.18391370041111774</c:v>
                </c:pt>
                <c:pt idx="7">
                  <c:v>0.17661247527618312</c:v>
                </c:pt>
                <c:pt idx="8">
                  <c:v>0.17646420235575097</c:v>
                </c:pt>
                <c:pt idx="9">
                  <c:v>0.18555672006787444</c:v>
                </c:pt>
                <c:pt idx="10">
                  <c:v>0.1925045080169599</c:v>
                </c:pt>
                <c:pt idx="11">
                  <c:v>0.2061260270205232</c:v>
                </c:pt>
                <c:pt idx="12">
                  <c:v>0.20658426141231184</c:v>
                </c:pt>
                <c:pt idx="13">
                  <c:v>0.19522052363380776</c:v>
                </c:pt>
                <c:pt idx="14">
                  <c:v>0.19821548498512903</c:v>
                </c:pt>
                <c:pt idx="15">
                  <c:v>0.18580538130540722</c:v>
                </c:pt>
                <c:pt idx="16">
                  <c:v>0.16675835931291644</c:v>
                </c:pt>
                <c:pt idx="17">
                  <c:v>0.1526210587400864</c:v>
                </c:pt>
                <c:pt idx="18">
                  <c:v>0.14812035716965558</c:v>
                </c:pt>
                <c:pt idx="19">
                  <c:v>0.15454277720512444</c:v>
                </c:pt>
                <c:pt idx="20">
                  <c:v>0.14374286180453583</c:v>
                </c:pt>
                <c:pt idx="21">
                  <c:v>0.1542785153600155</c:v>
                </c:pt>
                <c:pt idx="22">
                  <c:v>0.16029230331213817</c:v>
                </c:pt>
                <c:pt idx="23">
                  <c:v>0.1641924877951579</c:v>
                </c:pt>
                <c:pt idx="24">
                  <c:v>0.15807748538011696</c:v>
                </c:pt>
                <c:pt idx="25">
                  <c:v>0.1643002028397566</c:v>
                </c:pt>
                <c:pt idx="26">
                  <c:v>0.14259111465815377</c:v>
                </c:pt>
                <c:pt idx="27">
                  <c:v>0.14253629582096736</c:v>
                </c:pt>
                <c:pt idx="28">
                  <c:v>0.1532013296719179</c:v>
                </c:pt>
                <c:pt idx="29">
                  <c:v>0.1561052355563325</c:v>
                </c:pt>
                <c:pt idx="30">
                  <c:v>0.1652134831460674</c:v>
                </c:pt>
                <c:pt idx="31">
                  <c:v>0.16674638859657515</c:v>
                </c:pt>
                <c:pt idx="32">
                  <c:v>0.16969546095759688</c:v>
                </c:pt>
                <c:pt idx="33">
                  <c:v>0.18638573743922204</c:v>
                </c:pt>
                <c:pt idx="34">
                  <c:v>0.20878356691986732</c:v>
                </c:pt>
                <c:pt idx="35">
                  <c:v>0.20040160642570282</c:v>
                </c:pt>
                <c:pt idx="36">
                  <c:v>0.16900073707486574</c:v>
                </c:pt>
                <c:pt idx="37">
                  <c:v>0.14900124247347796</c:v>
                </c:pt>
                <c:pt idx="38">
                  <c:v>0.1543937944958028</c:v>
                </c:pt>
                <c:pt idx="39">
                  <c:v>0.17405877309221296</c:v>
                </c:pt>
                <c:pt idx="40">
                  <c:v>0.15430244781498723</c:v>
                </c:pt>
                <c:pt idx="41">
                  <c:v>0.15501779359430606</c:v>
                </c:pt>
                <c:pt idx="42">
                  <c:v>0.15447549615228837</c:v>
                </c:pt>
                <c:pt idx="43">
                  <c:v>0.1453913248467704</c:v>
                </c:pt>
                <c:pt idx="44">
                  <c:v>0.13828449859781453</c:v>
                </c:pt>
                <c:pt idx="45">
                  <c:v>0.1537342041743575</c:v>
                </c:pt>
                <c:pt idx="46">
                  <c:v>0.1493275233586123</c:v>
                </c:pt>
                <c:pt idx="47">
                  <c:v>0.15100058286380416</c:v>
                </c:pt>
                <c:pt idx="48">
                  <c:v>0.14215291426362084</c:v>
                </c:pt>
                <c:pt idx="49">
                  <c:v>0.1594824980351853</c:v>
                </c:pt>
                <c:pt idx="50">
                  <c:v>0.1933509556730378</c:v>
                </c:pt>
                <c:pt idx="51">
                  <c:v>0.1802605026600623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750942689719529</c:v>
                </c:pt>
              </c:numCache>
            </c:numRef>
          </c:xVal>
          <c:yVal>
            <c:numRef>
              <c:f>Sheet1!$B$163:$B$164</c:f>
              <c:numCache>
                <c:formatCode>General</c:formatCode>
                <c:ptCount val="2"/>
                <c:pt idx="0">
                  <c:v>0.1999656435326154</c:v>
                </c:pt>
                <c:pt idx="1">
                  <c:v>0.199965643532615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750942689719529</c:v>
                </c:pt>
                <c:pt idx="1">
                  <c:v>0.2750942689719529</c:v>
                </c:pt>
              </c:numCache>
            </c:numRef>
          </c:xVal>
          <c:yVal>
            <c:numRef>
              <c:f>Sheet1!$B$167:$B$168</c:f>
              <c:numCache>
                <c:formatCode>General</c:formatCode>
                <c:ptCount val="2"/>
                <c:pt idx="0">
                  <c:v>0.199965643532615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2655724065074406</c:v>
                </c:pt>
              </c:numCache>
            </c:numRef>
          </c:xVal>
          <c:yVal>
            <c:numRef>
              <c:f>Sheet1!$B$171:$B$172</c:f>
              <c:numCache>
                <c:formatCode>General</c:formatCode>
                <c:ptCount val="2"/>
                <c:pt idx="0">
                  <c:v>0.1824675205804111</c:v>
                </c:pt>
                <c:pt idx="1">
                  <c:v>0.182467520580411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2655724065074406</c:v>
                </c:pt>
                <c:pt idx="1">
                  <c:v>0.22655724065074406</c:v>
                </c:pt>
              </c:numCache>
            </c:numRef>
          </c:xVal>
          <c:yVal>
            <c:numRef>
              <c:f>Sheet1!$B$175:$B$176</c:f>
              <c:numCache>
                <c:formatCode>General</c:formatCode>
                <c:ptCount val="2"/>
                <c:pt idx="0">
                  <c:v>0.182467520580411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5801384405517793</c:v>
                </c:pt>
              </c:numCache>
            </c:numRef>
          </c:xVal>
          <c:yVal>
            <c:numRef>
              <c:f>Sheet1!$B$179:$B$180</c:f>
              <c:numCache>
                <c:formatCode>General</c:formatCode>
                <c:ptCount val="2"/>
                <c:pt idx="0">
                  <c:v>0.15775688577900457</c:v>
                </c:pt>
                <c:pt idx="1">
                  <c:v>0.1577568857790045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5801384405517793</c:v>
                </c:pt>
                <c:pt idx="1">
                  <c:v>0.15801384405517793</c:v>
                </c:pt>
              </c:numCache>
            </c:numRef>
          </c:xVal>
          <c:yVal>
            <c:numRef>
              <c:f>Sheet1!$B$183:$B$184</c:f>
              <c:numCache>
                <c:formatCode>General</c:formatCode>
                <c:ptCount val="2"/>
                <c:pt idx="0">
                  <c:v>0.1577568857790045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2461515675511115</c:v>
                </c:pt>
                <c:pt idx="1">
                  <c:v>0.2320756894752918</c:v>
                </c:pt>
                <c:pt idx="2">
                  <c:v>0.2238424726619985</c:v>
                </c:pt>
                <c:pt idx="3">
                  <c:v>0.22462776499422235</c:v>
                </c:pt>
                <c:pt idx="4">
                  <c:v>0.20549694598373774</c:v>
                </c:pt>
                <c:pt idx="5">
                  <c:v>0.22634503022511895</c:v>
                </c:pt>
                <c:pt idx="6">
                  <c:v>0.2155990859392314</c:v>
                </c:pt>
                <c:pt idx="7">
                  <c:v>0.20164495464477256</c:v>
                </c:pt>
                <c:pt idx="8">
                  <c:v>0.24971972973397238</c:v>
                </c:pt>
                <c:pt idx="9">
                  <c:v>0.23500222073583396</c:v>
                </c:pt>
                <c:pt idx="10">
                  <c:v>0.22890127927105042</c:v>
                </c:pt>
                <c:pt idx="11">
                  <c:v>0.20699279792734193</c:v>
                </c:pt>
                <c:pt idx="12">
                  <c:v>0.20628730925541525</c:v>
                </c:pt>
                <c:pt idx="13">
                  <c:v>0.2149914035888125</c:v>
                </c:pt>
                <c:pt idx="14">
                  <c:v>0.21349811629343896</c:v>
                </c:pt>
                <c:pt idx="15">
                  <c:v>0.21034531751651933</c:v>
                </c:pt>
                <c:pt idx="16">
                  <c:v>0.19915191128574233</c:v>
                </c:pt>
                <c:pt idx="17">
                  <c:v>0.18970572058999294</c:v>
                </c:pt>
                <c:pt idx="18">
                  <c:v>0.17705909273201081</c:v>
                </c:pt>
                <c:pt idx="19">
                  <c:v>0.20424840906290145</c:v>
                </c:pt>
                <c:pt idx="20">
                  <c:v>0.1861386267402048</c:v>
                </c:pt>
                <c:pt idx="21">
                  <c:v>0.16893195755501197</c:v>
                </c:pt>
                <c:pt idx="22">
                  <c:v>0.1584973933265251</c:v>
                </c:pt>
                <c:pt idx="23">
                  <c:v>0.17727807046061575</c:v>
                </c:pt>
                <c:pt idx="24">
                  <c:v>0.16588328772522493</c:v>
                </c:pt>
                <c:pt idx="25">
                  <c:v>0.15809934334014927</c:v>
                </c:pt>
                <c:pt idx="26">
                  <c:v>0.1713012138234802</c:v>
                </c:pt>
                <c:pt idx="27">
                  <c:v>0.17644713575745577</c:v>
                </c:pt>
                <c:pt idx="28">
                  <c:v>0.18590174593554748</c:v>
                </c:pt>
                <c:pt idx="29">
                  <c:v>0.16828756836595202</c:v>
                </c:pt>
                <c:pt idx="30">
                  <c:v>0.1610579340692204</c:v>
                </c:pt>
                <c:pt idx="31">
                  <c:v>0.1471657264295534</c:v>
                </c:pt>
                <c:pt idx="32">
                  <c:v>0.16388541656744116</c:v>
                </c:pt>
                <c:pt idx="33">
                  <c:v>0.18015234880200223</c:v>
                </c:pt>
                <c:pt idx="34">
                  <c:v>0.2023453587517633</c:v>
                </c:pt>
                <c:pt idx="35">
                  <c:v>0.15821868134672612</c:v>
                </c:pt>
                <c:pt idx="36">
                  <c:v>0.13675366256491714</c:v>
                </c:pt>
                <c:pt idx="37">
                  <c:v>0.15127122291887965</c:v>
                </c:pt>
                <c:pt idx="38">
                  <c:v>0.15103015984250254</c:v>
                </c:pt>
                <c:pt idx="39">
                  <c:v>0.15763328151561243</c:v>
                </c:pt>
                <c:pt idx="40">
                  <c:v>0.17198491375868363</c:v>
                </c:pt>
                <c:pt idx="41">
                  <c:v>0.18029589995353204</c:v>
                </c:pt>
                <c:pt idx="42">
                  <c:v>0.17603901206441386</c:v>
                </c:pt>
                <c:pt idx="43">
                  <c:v>0.19301259052166211</c:v>
                </c:pt>
                <c:pt idx="44">
                  <c:v>0.19315005252578982</c:v>
                </c:pt>
                <c:pt idx="45">
                  <c:v>0.1946608299984135</c:v>
                </c:pt>
                <c:pt idx="46">
                  <c:v>0.18495874410618954</c:v>
                </c:pt>
                <c:pt idx="47">
                  <c:v>0.17251897449279202</c:v>
                </c:pt>
                <c:pt idx="48">
                  <c:v>0.1760973773762799</c:v>
                </c:pt>
                <c:pt idx="49">
                  <c:v>0.21132385974699366</c:v>
                </c:pt>
                <c:pt idx="50">
                  <c:v>0.20970409158519188</c:v>
                </c:pt>
                <c:pt idx="51">
                  <c:v>0.17500833054774198</c:v>
                </c:pt>
                <c:pt idx="52">
                  <c:v>0.22655724065074406</c:v>
                </c:pt>
                <c:pt idx="53">
                  <c:v>0.2750942689719529</c:v>
                </c:pt>
                <c:pt idx="54">
                  <c:v>0.15801384405517793</c:v>
                </c:pt>
              </c:numCache>
            </c:numRef>
          </c:xVal>
          <c:yVal>
            <c:numRef>
              <c:f>Sheet1!$B$187:$B$241</c:f>
              <c:numCache>
                <c:formatCode>General</c:formatCode>
                <c:ptCount val="55"/>
                <c:pt idx="0">
                  <c:v>0.18176737835982873</c:v>
                </c:pt>
                <c:pt idx="1">
                  <c:v>0.18445698098574023</c:v>
                </c:pt>
                <c:pt idx="2">
                  <c:v>0.1814888173985968</c:v>
                </c:pt>
                <c:pt idx="3">
                  <c:v>0.18177192376620832</c:v>
                </c:pt>
                <c:pt idx="4">
                  <c:v>0.17487505688333094</c:v>
                </c:pt>
                <c:pt idx="5">
                  <c:v>0.18239101642991484</c:v>
                </c:pt>
                <c:pt idx="6">
                  <c:v>0.17851698744924413</c:v>
                </c:pt>
                <c:pt idx="7">
                  <c:v>0.17348637240075446</c:v>
                </c:pt>
                <c:pt idx="8">
                  <c:v>0.19081784807007982</c:v>
                </c:pt>
                <c:pt idx="9">
                  <c:v>0.18551202711426598</c:v>
                </c:pt>
                <c:pt idx="10">
                  <c:v>0.18331257182070126</c:v>
                </c:pt>
                <c:pt idx="11">
                  <c:v>0.17541432766551113</c:v>
                </c:pt>
                <c:pt idx="12">
                  <c:v>0.17515999137938615</c:v>
                </c:pt>
                <c:pt idx="13">
                  <c:v>0.1782979113984166</c:v>
                </c:pt>
                <c:pt idx="14">
                  <c:v>0.177759565199624</c:v>
                </c:pt>
                <c:pt idx="15">
                  <c:v>0.17662294718755686</c:v>
                </c:pt>
                <c:pt idx="16">
                  <c:v>0.17258760334277268</c:v>
                </c:pt>
                <c:pt idx="17">
                  <c:v>0.16918214956982372</c:v>
                </c:pt>
                <c:pt idx="18">
                  <c:v>0.16462290363236598</c:v>
                </c:pt>
                <c:pt idx="19">
                  <c:v>0.1744249458380774</c:v>
                </c:pt>
                <c:pt idx="20">
                  <c:v>0.1678961737092379</c:v>
                </c:pt>
                <c:pt idx="21">
                  <c:v>0.16169298362088125</c:v>
                </c:pt>
                <c:pt idx="22">
                  <c:v>0.1579312105140808</c:v>
                </c:pt>
                <c:pt idx="23">
                  <c:v>0.16470184746867927</c:v>
                </c:pt>
                <c:pt idx="24">
                  <c:v>0.16059390521893924</c:v>
                </c:pt>
                <c:pt idx="25">
                  <c:v>0.1577877091947039</c:v>
                </c:pt>
                <c:pt idx="26">
                  <c:v>0.16254712609570646</c:v>
                </c:pt>
                <c:pt idx="27">
                  <c:v>0.1644022865333677</c:v>
                </c:pt>
                <c:pt idx="28">
                  <c:v>0.16781077562063884</c:v>
                </c:pt>
                <c:pt idx="29">
                  <c:v>0.16146067435825762</c:v>
                </c:pt>
                <c:pt idx="30">
                  <c:v>0.15885431310790465</c:v>
                </c:pt>
                <c:pt idx="31">
                  <c:v>0.15384602220579716</c:v>
                </c:pt>
                <c:pt idx="32">
                  <c:v>0.1598736510878002</c:v>
                </c:pt>
                <c:pt idx="33">
                  <c:v>0.16573805585547213</c:v>
                </c:pt>
                <c:pt idx="34">
                  <c:v>0.1737388756463023</c:v>
                </c:pt>
                <c:pt idx="35">
                  <c:v>0.15783073183502982</c:v>
                </c:pt>
                <c:pt idx="36">
                  <c:v>0.15009236072318846</c:v>
                </c:pt>
                <c:pt idx="37">
                  <c:v>0.15532609803315642</c:v>
                </c:pt>
                <c:pt idx="38">
                  <c:v>0.15523919219043017</c:v>
                </c:pt>
                <c:pt idx="39">
                  <c:v>0.15761968887308253</c:v>
                </c:pt>
                <c:pt idx="40">
                  <c:v>0.16279360730690529</c:v>
                </c:pt>
                <c:pt idx="41">
                  <c:v>0.16578980759607675</c:v>
                </c:pt>
                <c:pt idx="42">
                  <c:v>0.1642551535339328</c:v>
                </c:pt>
                <c:pt idx="43">
                  <c:v>0.17037431189728147</c:v>
                </c:pt>
                <c:pt idx="44">
                  <c:v>0.17042386843447954</c:v>
                </c:pt>
                <c:pt idx="45">
                  <c:v>0.17096852003108</c:v>
                </c:pt>
                <c:pt idx="46">
                  <c:v>0.16747081327590976</c:v>
                </c:pt>
                <c:pt idx="47">
                  <c:v>0.16298614196987496</c:v>
                </c:pt>
                <c:pt idx="48">
                  <c:v>0.16427619485925699</c:v>
                </c:pt>
                <c:pt idx="49">
                  <c:v>0.17697572223075583</c:v>
                </c:pt>
                <c:pt idx="50">
                  <c:v>0.17639177831351177</c:v>
                </c:pt>
                <c:pt idx="51">
                  <c:v>0.1638835817149097</c:v>
                </c:pt>
                <c:pt idx="52">
                  <c:v>0.1824675205804111</c:v>
                </c:pt>
                <c:pt idx="53">
                  <c:v>0.19996564353261537</c:v>
                </c:pt>
                <c:pt idx="54">
                  <c:v>0.1577568857790045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524411040232423"/>
          <c:min val="0.1016797312430011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5.4024</c:v>
                </c:pt>
                <c:pt idx="1">
                  <c:v>920.5213</c:v>
                </c:pt>
                <c:pt idx="2">
                  <c:v>978.4239</c:v>
                </c:pt>
                <c:pt idx="3">
                  <c:v>998.7876</c:v>
                </c:pt>
                <c:pt idx="4">
                  <c:v>1002.9698</c:v>
                </c:pt>
                <c:pt idx="5">
                  <c:v>1003.4349</c:v>
                </c:pt>
                <c:pt idx="6">
                  <c:v>957.1424</c:v>
                </c:pt>
                <c:pt idx="7">
                  <c:v>985.8319</c:v>
                </c:pt>
                <c:pt idx="8">
                  <c:v>978.2738</c:v>
                </c:pt>
                <c:pt idx="9">
                  <c:v>959.4434</c:v>
                </c:pt>
                <c:pt idx="10">
                  <c:v>965.2686</c:v>
                </c:pt>
                <c:pt idx="11">
                  <c:v>1006.9393</c:v>
                </c:pt>
                <c:pt idx="12">
                  <c:v>1000.8148</c:v>
                </c:pt>
                <c:pt idx="13">
                  <c:v>976.9358</c:v>
                </c:pt>
                <c:pt idx="14">
                  <c:v>980.854</c:v>
                </c:pt>
                <c:pt idx="15">
                  <c:v>985.9047</c:v>
                </c:pt>
                <c:pt idx="16">
                  <c:v>984.2631</c:v>
                </c:pt>
                <c:pt idx="17">
                  <c:v>1001.7215</c:v>
                </c:pt>
                <c:pt idx="18">
                  <c:v>1049.9328</c:v>
                </c:pt>
                <c:pt idx="19">
                  <c:v>1077.2363</c:v>
                </c:pt>
                <c:pt idx="20">
                  <c:v>1069.1202</c:v>
                </c:pt>
                <c:pt idx="21">
                  <c:v>1087.7011</c:v>
                </c:pt>
                <c:pt idx="22">
                  <c:v>1078.6974</c:v>
                </c:pt>
                <c:pt idx="23">
                  <c:v>1060.809</c:v>
                </c:pt>
                <c:pt idx="24">
                  <c:v>1044.8785</c:v>
                </c:pt>
                <c:pt idx="25">
                  <c:v>1028.8129</c:v>
                </c:pt>
                <c:pt idx="26">
                  <c:v>1037.0373</c:v>
                </c:pt>
                <c:pt idx="27">
                  <c:v>1054.5763</c:v>
                </c:pt>
                <c:pt idx="28">
                  <c:v>1047.4182</c:v>
                </c:pt>
                <c:pt idx="29">
                  <c:v>926.3756</c:v>
                </c:pt>
                <c:pt idx="30">
                  <c:v>974.5821</c:v>
                </c:pt>
                <c:pt idx="31">
                  <c:v>995.3827</c:v>
                </c:pt>
                <c:pt idx="32">
                  <c:v>968.4678</c:v>
                </c:pt>
                <c:pt idx="33">
                  <c:v>901.2957</c:v>
                </c:pt>
                <c:pt idx="34">
                  <c:v>996.5638</c:v>
                </c:pt>
                <c:pt idx="35">
                  <c:v>1054.9047</c:v>
                </c:pt>
                <c:pt idx="36">
                  <c:v>1135.8883</c:v>
                </c:pt>
                <c:pt idx="37">
                  <c:v>1128.944</c:v>
                </c:pt>
                <c:pt idx="38">
                  <c:v>1188.4339</c:v>
                </c:pt>
                <c:pt idx="39">
                  <c:v>1192.8818</c:v>
                </c:pt>
                <c:pt idx="40">
                  <c:v>1217.2229</c:v>
                </c:pt>
                <c:pt idx="41">
                  <c:v>1247.0286</c:v>
                </c:pt>
                <c:pt idx="42">
                  <c:v>1293.066</c:v>
                </c:pt>
                <c:pt idx="43">
                  <c:v>1290.97</c:v>
                </c:pt>
                <c:pt idx="44">
                  <c:v>1124.4896</c:v>
                </c:pt>
                <c:pt idx="45">
                  <c:v>1061.8205</c:v>
                </c:pt>
                <c:pt idx="46">
                  <c:v>1056.6621</c:v>
                </c:pt>
                <c:pt idx="47">
                  <c:v>1037.049</c:v>
                </c:pt>
                <c:pt idx="48">
                  <c:v>1041.8563</c:v>
                </c:pt>
                <c:pt idx="49">
                  <c:v>1018.3046</c:v>
                </c:pt>
                <c:pt idx="50">
                  <c:v>1019.4483</c:v>
                </c:pt>
                <c:pt idx="51">
                  <c:v>1046.828</c:v>
                </c:pt>
                <c:pt idx="52">
                  <c:v>1057.0442</c:v>
                </c:pt>
                <c:pt idx="53">
                  <c:v>1110.2264</c:v>
                </c:pt>
                <c:pt idx="54">
                  <c:v>1118.9881</c:v>
                </c:pt>
                <c:pt idx="55">
                  <c:v>1130.1327</c:v>
                </c:pt>
                <c:pt idx="56">
                  <c:v>1154.9161</c:v>
                </c:pt>
                <c:pt idx="57">
                  <c:v>1130.0834</c:v>
                </c:pt>
                <c:pt idx="58">
                  <c:v>1105.4809</c:v>
                </c:pt>
                <c:pt idx="59">
                  <c:v>1088.2499</c:v>
                </c:pt>
                <c:pt idx="60">
                  <c:v>1116.5863</c:v>
                </c:pt>
                <c:pt idx="61">
                  <c:v>1120.4926</c:v>
                </c:pt>
                <c:pt idx="62">
                  <c:v>1098.214</c:v>
                </c:pt>
                <c:pt idx="63">
                  <c:v>1126.664</c:v>
                </c:pt>
                <c:pt idx="64">
                  <c:v>1124.0548</c:v>
                </c:pt>
                <c:pt idx="65">
                  <c:v>1105.6271</c:v>
                </c:pt>
                <c:pt idx="66">
                  <c:v>1061.3012</c:v>
                </c:pt>
                <c:pt idx="67">
                  <c:v>1041.0044</c:v>
                </c:pt>
                <c:pt idx="68">
                  <c:v>1024.6492</c:v>
                </c:pt>
                <c:pt idx="69">
                  <c:v>1029.9953</c:v>
                </c:pt>
                <c:pt idx="70">
                  <c:v>987.9688</c:v>
                </c:pt>
                <c:pt idx="71">
                  <c:v>1050.9577</c:v>
                </c:pt>
                <c:pt idx="72">
                  <c:v>1105.9557</c:v>
                </c:pt>
                <c:pt idx="73">
                  <c:v>1099.2895</c:v>
                </c:pt>
                <c:pt idx="74">
                  <c:v>1056.1189</c:v>
                </c:pt>
                <c:pt idx="75">
                  <c:v>1057.0004</c:v>
                </c:pt>
                <c:pt idx="76">
                  <c:v>1083.6252</c:v>
                </c:pt>
                <c:pt idx="77">
                  <c:v>1050.5064</c:v>
                </c:pt>
                <c:pt idx="78">
                  <c:v>1121.2765</c:v>
                </c:pt>
                <c:pt idx="79">
                  <c:v>714.1003</c:v>
                </c:pt>
                <c:pt idx="80">
                  <c:v>722.846</c:v>
                </c:pt>
                <c:pt idx="81">
                  <c:v>938.4069</c:v>
                </c:pt>
                <c:pt idx="82">
                  <c:v>934.2117</c:v>
                </c:pt>
                <c:pt idx="83">
                  <c:v>957.2894</c:v>
                </c:pt>
                <c:pt idx="84">
                  <c:v>964.7598</c:v>
                </c:pt>
                <c:pt idx="85">
                  <c:v>1018.9553</c:v>
                </c:pt>
                <c:pt idx="86">
                  <c:v>1138.5348</c:v>
                </c:pt>
                <c:pt idx="87">
                  <c:v>1167.8801</c:v>
                </c:pt>
                <c:pt idx="88">
                  <c:v>1163.3663</c:v>
                </c:pt>
                <c:pt idx="89">
                  <c:v>1114.0517</c:v>
                </c:pt>
                <c:pt idx="90">
                  <c:v>1178.6274</c:v>
                </c:pt>
                <c:pt idx="91">
                  <c:v>1197.2966</c:v>
                </c:pt>
                <c:pt idx="92">
                  <c:v>1188.3679</c:v>
                </c:pt>
                <c:pt idx="93">
                  <c:v>1243.3718</c:v>
                </c:pt>
                <c:pt idx="94">
                  <c:v>1240.5446</c:v>
                </c:pt>
                <c:pt idx="95">
                  <c:v>1234.8934</c:v>
                </c:pt>
                <c:pt idx="96">
                  <c:v>1168.2406</c:v>
                </c:pt>
                <c:pt idx="97">
                  <c:v>1186.7969</c:v>
                </c:pt>
                <c:pt idx="98">
                  <c:v>1179.0172</c:v>
                </c:pt>
                <c:pt idx="99">
                  <c:v>1136.6995</c:v>
                </c:pt>
                <c:pt idx="100">
                  <c:v>1145.7225</c:v>
                </c:pt>
                <c:pt idx="101">
                  <c:v>1159.2316</c:v>
                </c:pt>
                <c:pt idx="102">
                  <c:v>1191.635</c:v>
                </c:pt>
                <c:pt idx="103">
                  <c:v>1050.2657</c:v>
                </c:pt>
                <c:pt idx="104">
                  <c:v>1139.7728</c:v>
                </c:pt>
              </c:numCache>
            </c:numRef>
          </c:xVal>
          <c:yVal>
            <c:numRef>
              <c:f>Sheet1!$B$2:$B$106</c:f>
              <c:numCache>
                <c:formatCode>General</c:formatCode>
                <c:ptCount val="105"/>
                <c:pt idx="0">
                  <c:v>0.21030715158924204</c:v>
                </c:pt>
                <c:pt idx="1">
                  <c:v>0.21298701298701297</c:v>
                </c:pt>
                <c:pt idx="2">
                  <c:v>0.19188149288187764</c:v>
                </c:pt>
                <c:pt idx="3">
                  <c:v>0.19090721223393264</c:v>
                </c:pt>
                <c:pt idx="4">
                  <c:v>0.19040369315391414</c:v>
                </c:pt>
                <c:pt idx="5">
                  <c:v>0.18118797067477932</c:v>
                </c:pt>
                <c:pt idx="6">
                  <c:v>0.20359223768478837</c:v>
                </c:pt>
                <c:pt idx="7">
                  <c:v>0.20028392958546282</c:v>
                </c:pt>
                <c:pt idx="8">
                  <c:v>0.21053270971268906</c:v>
                </c:pt>
                <c:pt idx="9">
                  <c:v>0.21039721134397726</c:v>
                </c:pt>
                <c:pt idx="10">
                  <c:v>0.22042008977725078</c:v>
                </c:pt>
                <c:pt idx="11">
                  <c:v>0.21358106613581065</c:v>
                </c:pt>
                <c:pt idx="12">
                  <c:v>0.21567654719087187</c:v>
                </c:pt>
                <c:pt idx="13">
                  <c:v>0.22556548743128121</c:v>
                </c:pt>
                <c:pt idx="14">
                  <c:v>0.21514723007818998</c:v>
                </c:pt>
                <c:pt idx="15">
                  <c:v>0.21337422099119596</c:v>
                </c:pt>
                <c:pt idx="16">
                  <c:v>0.2021367278513383</c:v>
                </c:pt>
                <c:pt idx="17">
                  <c:v>0.1916417538614848</c:v>
                </c:pt>
                <c:pt idx="18">
                  <c:v>0.17514358867898416</c:v>
                </c:pt>
                <c:pt idx="19">
                  <c:v>0.16184781718404456</c:v>
                </c:pt>
                <c:pt idx="20">
                  <c:v>0.174278038952317</c:v>
                </c:pt>
                <c:pt idx="21">
                  <c:v>0.17816586373021334</c:v>
                </c:pt>
                <c:pt idx="22">
                  <c:v>0.17713299358868978</c:v>
                </c:pt>
                <c:pt idx="23">
                  <c:v>0.18507202095154954</c:v>
                </c:pt>
                <c:pt idx="24">
                  <c:v>0.18752479961907786</c:v>
                </c:pt>
                <c:pt idx="25">
                  <c:v>0.18773318773318773</c:v>
                </c:pt>
                <c:pt idx="26">
                  <c:v>0.192</c:v>
                </c:pt>
                <c:pt idx="27">
                  <c:v>0.17932890155112377</c:v>
                </c:pt>
                <c:pt idx="28">
                  <c:v>0.17864642222581167</c:v>
                </c:pt>
                <c:pt idx="29">
                  <c:v>0.20309249757315212</c:v>
                </c:pt>
                <c:pt idx="30">
                  <c:v>0.18293125340105207</c:v>
                </c:pt>
                <c:pt idx="31">
                  <c:v>0.17864829961256995</c:v>
                </c:pt>
                <c:pt idx="32">
                  <c:v>0.1871335232032166</c:v>
                </c:pt>
                <c:pt idx="33">
                  <c:v>0.20930232558139536</c:v>
                </c:pt>
                <c:pt idx="34">
                  <c:v>0.1992973309911033</c:v>
                </c:pt>
                <c:pt idx="35">
                  <c:v>0.1956752736159813</c:v>
                </c:pt>
                <c:pt idx="36">
                  <c:v>0.15181646844739066</c:v>
                </c:pt>
                <c:pt idx="37">
                  <c:v>0.14250182882223847</c:v>
                </c:pt>
                <c:pt idx="38">
                  <c:v>0.13718112724809994</c:v>
                </c:pt>
                <c:pt idx="39">
                  <c:v>0.13833099797602366</c:v>
                </c:pt>
                <c:pt idx="40">
                  <c:v>0.13867644270273688</c:v>
                </c:pt>
                <c:pt idx="41">
                  <c:v>0.1270996640537514</c:v>
                </c:pt>
                <c:pt idx="42">
                  <c:v>0.13326508490906902</c:v>
                </c:pt>
                <c:pt idx="43">
                  <c:v>0.13675121424716677</c:v>
                </c:pt>
                <c:pt idx="44">
                  <c:v>0.16124158769399807</c:v>
                </c:pt>
                <c:pt idx="45">
                  <c:v>0.1861608385121974</c:v>
                </c:pt>
                <c:pt idx="46">
                  <c:v>0.1937179063691781</c:v>
                </c:pt>
                <c:pt idx="47">
                  <c:v>0.19532088430993774</c:v>
                </c:pt>
                <c:pt idx="48">
                  <c:v>0.21233782239451454</c:v>
                </c:pt>
                <c:pt idx="49">
                  <c:v>0.24603675866860356</c:v>
                </c:pt>
                <c:pt idx="50">
                  <c:v>0.20786180373861235</c:v>
                </c:pt>
                <c:pt idx="51">
                  <c:v>0.18664801119328403</c:v>
                </c:pt>
                <c:pt idx="52">
                  <c:v>0.19997993176801124</c:v>
                </c:pt>
                <c:pt idx="53">
                  <c:v>0.1882059256834179</c:v>
                </c:pt>
                <c:pt idx="54">
                  <c:v>0.1853673948366131</c:v>
                </c:pt>
                <c:pt idx="55">
                  <c:v>0.17528152113716078</c:v>
                </c:pt>
                <c:pt idx="56">
                  <c:v>0.1852655955999421</c:v>
                </c:pt>
                <c:pt idx="57">
                  <c:v>0.18023843200646594</c:v>
                </c:pt>
                <c:pt idx="58">
                  <c:v>0.19915412830301668</c:v>
                </c:pt>
                <c:pt idx="59">
                  <c:v>0.2092832698703427</c:v>
                </c:pt>
                <c:pt idx="60">
                  <c:v>0.22389277072401512</c:v>
                </c:pt>
                <c:pt idx="61">
                  <c:v>0.222672371360418</c:v>
                </c:pt>
                <c:pt idx="62">
                  <c:v>0.22107099622587767</c:v>
                </c:pt>
                <c:pt idx="63">
                  <c:v>0.23888208218815193</c:v>
                </c:pt>
                <c:pt idx="64">
                  <c:v>0.22448180186061695</c:v>
                </c:pt>
                <c:pt idx="65">
                  <c:v>0.2092982083421854</c:v>
                </c:pt>
                <c:pt idx="66">
                  <c:v>0.21225035212539275</c:v>
                </c:pt>
                <c:pt idx="67">
                  <c:v>0.20886051756431329</c:v>
                </c:pt>
                <c:pt idx="68">
                  <c:v>0.18994516381733562</c:v>
                </c:pt>
                <c:pt idx="69">
                  <c:v>0.17577310373592325</c:v>
                </c:pt>
                <c:pt idx="70">
                  <c:v>0.16404162165235686</c:v>
                </c:pt>
                <c:pt idx="71">
                  <c:v>0.17445482866043613</c:v>
                </c:pt>
                <c:pt idx="72">
                  <c:v>0.17299754740683138</c:v>
                </c:pt>
                <c:pt idx="73">
                  <c:v>0.17705832738597288</c:v>
                </c:pt>
                <c:pt idx="74">
                  <c:v>0.17853922452660054</c:v>
                </c:pt>
                <c:pt idx="75">
                  <c:v>0.18282139593730232</c:v>
                </c:pt>
                <c:pt idx="76">
                  <c:v>0.1749961907664178</c:v>
                </c:pt>
                <c:pt idx="77">
                  <c:v>0.17296614850469502</c:v>
                </c:pt>
                <c:pt idx="78">
                  <c:v>0.15853018372703412</c:v>
                </c:pt>
                <c:pt idx="79">
                  <c:v>0.2261861775113743</c:v>
                </c:pt>
                <c:pt idx="80">
                  <c:v>0.2101878612716763</c:v>
                </c:pt>
                <c:pt idx="81">
                  <c:v>0.1694088207694714</c:v>
                </c:pt>
                <c:pt idx="82">
                  <c:v>0.16926466987676486</c:v>
                </c:pt>
                <c:pt idx="83">
                  <c:v>0.14987487255538048</c:v>
                </c:pt>
                <c:pt idx="84">
                  <c:v>0.1537157389092964</c:v>
                </c:pt>
                <c:pt idx="85">
                  <c:v>0.15863306418726042</c:v>
                </c:pt>
                <c:pt idx="86">
                  <c:v>0.1524004465947153</c:v>
                </c:pt>
                <c:pt idx="87">
                  <c:v>0.1689402513850003</c:v>
                </c:pt>
                <c:pt idx="88">
                  <c:v>0.14848762603116408</c:v>
                </c:pt>
                <c:pt idx="89">
                  <c:v>0.14441462596444146</c:v>
                </c:pt>
                <c:pt idx="90">
                  <c:v>0.14172686618507052</c:v>
                </c:pt>
                <c:pt idx="91">
                  <c:v>0.13393232009404651</c:v>
                </c:pt>
                <c:pt idx="92">
                  <c:v>0.14259086672879775</c:v>
                </c:pt>
                <c:pt idx="93">
                  <c:v>0.13648551435484926</c:v>
                </c:pt>
                <c:pt idx="94">
                  <c:v>0.14039841804599384</c:v>
                </c:pt>
                <c:pt idx="95">
                  <c:v>0.14438761776581427</c:v>
                </c:pt>
                <c:pt idx="96">
                  <c:v>0.1441160471441523</c:v>
                </c:pt>
                <c:pt idx="97">
                  <c:v>0.1554780494048381</c:v>
                </c:pt>
                <c:pt idx="98">
                  <c:v>0.17081260364842454</c:v>
                </c:pt>
                <c:pt idx="99">
                  <c:v>0.17867754563033533</c:v>
                </c:pt>
                <c:pt idx="100">
                  <c:v>0.19638028243694658</c:v>
                </c:pt>
                <c:pt idx="101">
                  <c:v>0.18430480700333343</c:v>
                </c:pt>
                <c:pt idx="102">
                  <c:v>0.15521151330135194</c:v>
                </c:pt>
                <c:pt idx="103">
                  <c:v>0.17430878208545966</c:v>
                </c:pt>
                <c:pt idx="104">
                  <c:v>0.1768059102517329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3.5443</c:v>
                </c:pt>
                <c:pt idx="1">
                  <c:v>1203.9909</c:v>
                </c:pt>
                <c:pt idx="2">
                  <c:v>1194.431</c:v>
                </c:pt>
                <c:pt idx="3">
                  <c:v>1217.352</c:v>
                </c:pt>
                <c:pt idx="4">
                  <c:v>1218.6698</c:v>
                </c:pt>
                <c:pt idx="5">
                  <c:v>1229.1479</c:v>
                </c:pt>
                <c:pt idx="6">
                  <c:v>1151.1471</c:v>
                </c:pt>
                <c:pt idx="7">
                  <c:v>1218.1775</c:v>
                </c:pt>
                <c:pt idx="8">
                  <c:v>1298.0923</c:v>
                </c:pt>
                <c:pt idx="9">
                  <c:v>1257.3744</c:v>
                </c:pt>
                <c:pt idx="10">
                  <c:v>1277.419</c:v>
                </c:pt>
                <c:pt idx="11">
                  <c:v>1115.6805</c:v>
                </c:pt>
                <c:pt idx="12">
                  <c:v>1146.3695</c:v>
                </c:pt>
                <c:pt idx="13">
                  <c:v>1216.1589</c:v>
                </c:pt>
                <c:pt idx="14">
                  <c:v>1212.7256</c:v>
                </c:pt>
                <c:pt idx="15">
                  <c:v>1249.6674</c:v>
                </c:pt>
                <c:pt idx="16">
                  <c:v>1296.1085</c:v>
                </c:pt>
                <c:pt idx="17">
                  <c:v>1271.2146</c:v>
                </c:pt>
                <c:pt idx="18">
                  <c:v>1272.5274</c:v>
                </c:pt>
                <c:pt idx="19">
                  <c:v>1393.8804</c:v>
                </c:pt>
                <c:pt idx="20">
                  <c:v>1393.7923</c:v>
                </c:pt>
                <c:pt idx="21">
                  <c:v>1292.2381</c:v>
                </c:pt>
                <c:pt idx="22">
                  <c:v>1231.3908</c:v>
                </c:pt>
                <c:pt idx="23">
                  <c:v>1232.6505</c:v>
                </c:pt>
                <c:pt idx="24">
                  <c:v>1241.0665</c:v>
                </c:pt>
                <c:pt idx="25">
                  <c:v>1182.1652</c:v>
                </c:pt>
                <c:pt idx="26">
                  <c:v>1265.8912</c:v>
                </c:pt>
                <c:pt idx="27">
                  <c:v>1287.9966</c:v>
                </c:pt>
                <c:pt idx="28">
                  <c:v>1260.9278</c:v>
                </c:pt>
                <c:pt idx="29">
                  <c:v>1273.3701</c:v>
                </c:pt>
                <c:pt idx="30">
                  <c:v>1221.8732</c:v>
                </c:pt>
                <c:pt idx="31">
                  <c:v>1132.3712</c:v>
                </c:pt>
                <c:pt idx="32">
                  <c:v>1175.0773</c:v>
                </c:pt>
                <c:pt idx="33">
                  <c:v>1233.1812</c:v>
                </c:pt>
                <c:pt idx="34">
                  <c:v>1263.9103</c:v>
                </c:pt>
                <c:pt idx="35">
                  <c:v>1238.682</c:v>
                </c:pt>
                <c:pt idx="36">
                  <c:v>1266.0355</c:v>
                </c:pt>
                <c:pt idx="37">
                  <c:v>1351.7819</c:v>
                </c:pt>
                <c:pt idx="38">
                  <c:v>1324.7908</c:v>
                </c:pt>
                <c:pt idx="39">
                  <c:v>1262.9064</c:v>
                </c:pt>
                <c:pt idx="40">
                  <c:v>1297.6297</c:v>
                </c:pt>
                <c:pt idx="41">
                  <c:v>1366.0716</c:v>
                </c:pt>
                <c:pt idx="42">
                  <c:v>1353.0813</c:v>
                </c:pt>
                <c:pt idx="43">
                  <c:v>1349.4455</c:v>
                </c:pt>
                <c:pt idx="44">
                  <c:v>1296.7427</c:v>
                </c:pt>
                <c:pt idx="45">
                  <c:v>1244.5216</c:v>
                </c:pt>
                <c:pt idx="46">
                  <c:v>1245.601</c:v>
                </c:pt>
                <c:pt idx="47">
                  <c:v>1215.6912</c:v>
                </c:pt>
                <c:pt idx="48">
                  <c:v>1202.7142</c:v>
                </c:pt>
                <c:pt idx="49">
                  <c:v>1227.4168</c:v>
                </c:pt>
                <c:pt idx="50">
                  <c:v>1100.1335</c:v>
                </c:pt>
                <c:pt idx="51">
                  <c:v>1067.6802</c:v>
                </c:pt>
              </c:numCache>
            </c:numRef>
          </c:xVal>
          <c:yVal>
            <c:numRef>
              <c:f>Sheet1!$B$109:$B$160</c:f>
              <c:numCache>
                <c:formatCode>General</c:formatCode>
                <c:ptCount val="52"/>
                <c:pt idx="0">
                  <c:v>0.1695790790588805</c:v>
                </c:pt>
                <c:pt idx="1">
                  <c:v>0.17791174961518727</c:v>
                </c:pt>
                <c:pt idx="2">
                  <c:v>0.1852353538774128</c:v>
                </c:pt>
                <c:pt idx="3">
                  <c:v>0.1991701244813278</c:v>
                </c:pt>
                <c:pt idx="4">
                  <c:v>0.1874479971472721</c:v>
                </c:pt>
                <c:pt idx="5">
                  <c:v>0.18587300300056767</c:v>
                </c:pt>
                <c:pt idx="6">
                  <c:v>0.18391370041111774</c:v>
                </c:pt>
                <c:pt idx="7">
                  <c:v>0.17661247527618312</c:v>
                </c:pt>
                <c:pt idx="8">
                  <c:v>0.17646420235575097</c:v>
                </c:pt>
                <c:pt idx="9">
                  <c:v>0.18555672006787444</c:v>
                </c:pt>
                <c:pt idx="10">
                  <c:v>0.1925045080169599</c:v>
                </c:pt>
                <c:pt idx="11">
                  <c:v>0.2061260270205232</c:v>
                </c:pt>
                <c:pt idx="12">
                  <c:v>0.20658426141231184</c:v>
                </c:pt>
                <c:pt idx="13">
                  <c:v>0.19522052363380776</c:v>
                </c:pt>
                <c:pt idx="14">
                  <c:v>0.19821548498512903</c:v>
                </c:pt>
                <c:pt idx="15">
                  <c:v>0.18580538130540722</c:v>
                </c:pt>
                <c:pt idx="16">
                  <c:v>0.16675835931291644</c:v>
                </c:pt>
                <c:pt idx="17">
                  <c:v>0.1526210587400864</c:v>
                </c:pt>
                <c:pt idx="18">
                  <c:v>0.14812035716965558</c:v>
                </c:pt>
                <c:pt idx="19">
                  <c:v>0.15454277720512444</c:v>
                </c:pt>
                <c:pt idx="20">
                  <c:v>0.14374286180453583</c:v>
                </c:pt>
                <c:pt idx="21">
                  <c:v>0.1542785153600155</c:v>
                </c:pt>
                <c:pt idx="22">
                  <c:v>0.16029230331213817</c:v>
                </c:pt>
                <c:pt idx="23">
                  <c:v>0.1641924877951579</c:v>
                </c:pt>
                <c:pt idx="24">
                  <c:v>0.15807748538011696</c:v>
                </c:pt>
                <c:pt idx="25">
                  <c:v>0.1643002028397566</c:v>
                </c:pt>
                <c:pt idx="26">
                  <c:v>0.14259111465815377</c:v>
                </c:pt>
                <c:pt idx="27">
                  <c:v>0.14253629582096736</c:v>
                </c:pt>
                <c:pt idx="28">
                  <c:v>0.1532013296719179</c:v>
                </c:pt>
                <c:pt idx="29">
                  <c:v>0.1561052355563325</c:v>
                </c:pt>
                <c:pt idx="30">
                  <c:v>0.1652134831460674</c:v>
                </c:pt>
                <c:pt idx="31">
                  <c:v>0.16674638859657515</c:v>
                </c:pt>
                <c:pt idx="32">
                  <c:v>0.16969546095759688</c:v>
                </c:pt>
                <c:pt idx="33">
                  <c:v>0.18638573743922204</c:v>
                </c:pt>
                <c:pt idx="34">
                  <c:v>0.20878356691986732</c:v>
                </c:pt>
                <c:pt idx="35">
                  <c:v>0.20040160642570282</c:v>
                </c:pt>
                <c:pt idx="36">
                  <c:v>0.16900073707486574</c:v>
                </c:pt>
                <c:pt idx="37">
                  <c:v>0.14900124247347796</c:v>
                </c:pt>
                <c:pt idx="38">
                  <c:v>0.1543937944958028</c:v>
                </c:pt>
                <c:pt idx="39">
                  <c:v>0.17405877309221296</c:v>
                </c:pt>
                <c:pt idx="40">
                  <c:v>0.15430244781498723</c:v>
                </c:pt>
                <c:pt idx="41">
                  <c:v>0.15501779359430606</c:v>
                </c:pt>
                <c:pt idx="42">
                  <c:v>0.15447549615228837</c:v>
                </c:pt>
                <c:pt idx="43">
                  <c:v>0.1453913248467704</c:v>
                </c:pt>
                <c:pt idx="44">
                  <c:v>0.13828449859781453</c:v>
                </c:pt>
                <c:pt idx="45">
                  <c:v>0.1537342041743575</c:v>
                </c:pt>
                <c:pt idx="46">
                  <c:v>0.1493275233586123</c:v>
                </c:pt>
                <c:pt idx="47">
                  <c:v>0.15100058286380416</c:v>
                </c:pt>
                <c:pt idx="48">
                  <c:v>0.14215291426362084</c:v>
                </c:pt>
                <c:pt idx="49">
                  <c:v>0.1594824980351853</c:v>
                </c:pt>
                <c:pt idx="50">
                  <c:v>0.1933509556730378</c:v>
                </c:pt>
                <c:pt idx="51">
                  <c:v>0.1802605026600623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43.3986731415837</c:v>
                </c:pt>
              </c:numCache>
            </c:numRef>
          </c:xVal>
          <c:yVal>
            <c:numRef>
              <c:f>Sheet1!$B$163:$B$164</c:f>
              <c:numCache>
                <c:formatCode>General</c:formatCode>
                <c:ptCount val="2"/>
                <c:pt idx="0">
                  <c:v>0.1999656435326154</c:v>
                </c:pt>
                <c:pt idx="1">
                  <c:v>0.199965643532615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43.3986731415837</c:v>
                </c:pt>
                <c:pt idx="1">
                  <c:v>1043.3986731415837</c:v>
                </c:pt>
              </c:numCache>
            </c:numRef>
          </c:xVal>
          <c:yVal>
            <c:numRef>
              <c:f>Sheet1!$B$167:$B$168</c:f>
              <c:numCache>
                <c:formatCode>General</c:formatCode>
                <c:ptCount val="2"/>
                <c:pt idx="0">
                  <c:v>0.199965643532615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57.8854626100606</c:v>
                </c:pt>
              </c:numCache>
            </c:numRef>
          </c:xVal>
          <c:yVal>
            <c:numRef>
              <c:f>Sheet1!$B$171:$B$172</c:f>
              <c:numCache>
                <c:formatCode>General</c:formatCode>
                <c:ptCount val="2"/>
                <c:pt idx="0">
                  <c:v>0.1824675205804111</c:v>
                </c:pt>
                <c:pt idx="1">
                  <c:v>0.182467520580411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57.8854626100606</c:v>
                </c:pt>
                <c:pt idx="1">
                  <c:v>1157.8854626100606</c:v>
                </c:pt>
              </c:numCache>
            </c:numRef>
          </c:xVal>
          <c:yVal>
            <c:numRef>
              <c:f>Sheet1!$B$175:$B$176</c:f>
              <c:numCache>
                <c:formatCode>General</c:formatCode>
                <c:ptCount val="2"/>
                <c:pt idx="0">
                  <c:v>0.182467520580411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19.562303712875</c:v>
                </c:pt>
              </c:numCache>
            </c:numRef>
          </c:xVal>
          <c:yVal>
            <c:numRef>
              <c:f>Sheet1!$B$179:$B$180</c:f>
              <c:numCache>
                <c:formatCode>General</c:formatCode>
                <c:ptCount val="2"/>
                <c:pt idx="0">
                  <c:v>0.15775688577900457</c:v>
                </c:pt>
                <c:pt idx="1">
                  <c:v>0.1577568857790045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19.562303712875</c:v>
                </c:pt>
                <c:pt idx="1">
                  <c:v>1319.562303712875</c:v>
                </c:pt>
              </c:numCache>
            </c:numRef>
          </c:xVal>
          <c:yVal>
            <c:numRef>
              <c:f>Sheet1!$B$183:$B$184</c:f>
              <c:numCache>
                <c:formatCode>General</c:formatCode>
                <c:ptCount val="2"/>
                <c:pt idx="0">
                  <c:v>0.1577568857790045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3.5443</c:v>
                </c:pt>
                <c:pt idx="1">
                  <c:v>1203.9909</c:v>
                </c:pt>
                <c:pt idx="2">
                  <c:v>1194.431</c:v>
                </c:pt>
                <c:pt idx="3">
                  <c:v>1217.352</c:v>
                </c:pt>
                <c:pt idx="4">
                  <c:v>1218.6698</c:v>
                </c:pt>
                <c:pt idx="5">
                  <c:v>1229.1479</c:v>
                </c:pt>
                <c:pt idx="6">
                  <c:v>1151.1471</c:v>
                </c:pt>
                <c:pt idx="7">
                  <c:v>1218.1775</c:v>
                </c:pt>
                <c:pt idx="8">
                  <c:v>1298.0923</c:v>
                </c:pt>
                <c:pt idx="9">
                  <c:v>1257.3744</c:v>
                </c:pt>
                <c:pt idx="10">
                  <c:v>1277.419</c:v>
                </c:pt>
                <c:pt idx="11">
                  <c:v>1115.6805</c:v>
                </c:pt>
                <c:pt idx="12">
                  <c:v>1146.3695</c:v>
                </c:pt>
                <c:pt idx="13">
                  <c:v>1216.1589</c:v>
                </c:pt>
                <c:pt idx="14">
                  <c:v>1212.7256</c:v>
                </c:pt>
                <c:pt idx="15">
                  <c:v>1249.6674</c:v>
                </c:pt>
                <c:pt idx="16">
                  <c:v>1296.1085</c:v>
                </c:pt>
                <c:pt idx="17">
                  <c:v>1271.2146</c:v>
                </c:pt>
                <c:pt idx="18">
                  <c:v>1272.5274</c:v>
                </c:pt>
                <c:pt idx="19">
                  <c:v>1393.8804</c:v>
                </c:pt>
                <c:pt idx="20">
                  <c:v>1393.7923</c:v>
                </c:pt>
                <c:pt idx="21">
                  <c:v>1292.2381</c:v>
                </c:pt>
                <c:pt idx="22">
                  <c:v>1231.3908</c:v>
                </c:pt>
                <c:pt idx="23">
                  <c:v>1232.6505</c:v>
                </c:pt>
                <c:pt idx="24">
                  <c:v>1241.0665</c:v>
                </c:pt>
                <c:pt idx="25">
                  <c:v>1182.1652</c:v>
                </c:pt>
                <c:pt idx="26">
                  <c:v>1265.8912</c:v>
                </c:pt>
                <c:pt idx="27">
                  <c:v>1287.9966</c:v>
                </c:pt>
                <c:pt idx="28">
                  <c:v>1260.9278</c:v>
                </c:pt>
                <c:pt idx="29">
                  <c:v>1273.3701</c:v>
                </c:pt>
                <c:pt idx="30">
                  <c:v>1221.8732</c:v>
                </c:pt>
                <c:pt idx="31">
                  <c:v>1132.3712</c:v>
                </c:pt>
                <c:pt idx="32">
                  <c:v>1175.0773</c:v>
                </c:pt>
                <c:pt idx="33">
                  <c:v>1233.1812</c:v>
                </c:pt>
                <c:pt idx="34">
                  <c:v>1263.9103</c:v>
                </c:pt>
                <c:pt idx="35">
                  <c:v>1238.682</c:v>
                </c:pt>
                <c:pt idx="36">
                  <c:v>1266.0355</c:v>
                </c:pt>
                <c:pt idx="37">
                  <c:v>1351.7819</c:v>
                </c:pt>
                <c:pt idx="38">
                  <c:v>1324.7908</c:v>
                </c:pt>
                <c:pt idx="39">
                  <c:v>1262.9064</c:v>
                </c:pt>
                <c:pt idx="40">
                  <c:v>1297.6297</c:v>
                </c:pt>
                <c:pt idx="41">
                  <c:v>1366.0716</c:v>
                </c:pt>
                <c:pt idx="42">
                  <c:v>1353.0813</c:v>
                </c:pt>
                <c:pt idx="43">
                  <c:v>1349.4455</c:v>
                </c:pt>
                <c:pt idx="44">
                  <c:v>1296.7427</c:v>
                </c:pt>
                <c:pt idx="45">
                  <c:v>1244.5216</c:v>
                </c:pt>
                <c:pt idx="46">
                  <c:v>1245.601</c:v>
                </c:pt>
                <c:pt idx="47">
                  <c:v>1215.6912</c:v>
                </c:pt>
                <c:pt idx="48">
                  <c:v>1202.7142</c:v>
                </c:pt>
                <c:pt idx="49">
                  <c:v>1227.4168</c:v>
                </c:pt>
                <c:pt idx="50">
                  <c:v>1100.1335</c:v>
                </c:pt>
                <c:pt idx="51">
                  <c:v>1067.6802</c:v>
                </c:pt>
                <c:pt idx="52">
                  <c:v>1157.8854626100606</c:v>
                </c:pt>
                <c:pt idx="53">
                  <c:v>1043.3986731415837</c:v>
                </c:pt>
                <c:pt idx="54">
                  <c:v>1319.562303712875</c:v>
                </c:pt>
              </c:numCache>
            </c:numRef>
          </c:xVal>
          <c:yVal>
            <c:numRef>
              <c:f>Sheet1!$B$187:$B$241</c:f>
              <c:numCache>
                <c:formatCode>General</c:formatCode>
                <c:ptCount val="55"/>
                <c:pt idx="0">
                  <c:v>0.17396064232356148</c:v>
                </c:pt>
                <c:pt idx="1">
                  <c:v>0.17542078081279405</c:v>
                </c:pt>
                <c:pt idx="2">
                  <c:v>0.17688191275987197</c:v>
                </c:pt>
                <c:pt idx="3">
                  <c:v>0.1733786747177404</c:v>
                </c:pt>
                <c:pt idx="4">
                  <c:v>0.17317726260256566</c:v>
                </c:pt>
                <c:pt idx="5">
                  <c:v>0.17157579327185327</c:v>
                </c:pt>
                <c:pt idx="6">
                  <c:v>0.1834974096880958</c:v>
                </c:pt>
                <c:pt idx="7">
                  <c:v>0.17325250557137772</c:v>
                </c:pt>
                <c:pt idx="8">
                  <c:v>0.1610383540295892</c:v>
                </c:pt>
                <c:pt idx="9">
                  <c:v>0.1672616643683924</c:v>
                </c:pt>
                <c:pt idx="10">
                  <c:v>0.16419805434878984</c:v>
                </c:pt>
                <c:pt idx="11">
                  <c:v>0.18891811307560347</c:v>
                </c:pt>
                <c:pt idx="12">
                  <c:v>0.18422761648841374</c:v>
                </c:pt>
                <c:pt idx="13">
                  <c:v>0.17356102772625084</c:v>
                </c:pt>
                <c:pt idx="14">
                  <c:v>0.17408577216017826</c:v>
                </c:pt>
                <c:pt idx="15">
                  <c:v>0.16843959969367087</c:v>
                </c:pt>
                <c:pt idx="16">
                  <c:v>0.16134155736399783</c:v>
                </c:pt>
                <c:pt idx="17">
                  <c:v>0.16514633278815116</c:v>
                </c:pt>
                <c:pt idx="18">
                  <c:v>0.164945684871319</c:v>
                </c:pt>
                <c:pt idx="19">
                  <c:v>0.14639813257749276</c:v>
                </c:pt>
                <c:pt idx="20">
                  <c:v>0.14641159775228932</c:v>
                </c:pt>
                <c:pt idx="21">
                  <c:v>0.16193310801703503</c:v>
                </c:pt>
                <c:pt idx="22">
                  <c:v>0.17123298917933127</c:v>
                </c:pt>
                <c:pt idx="23">
                  <c:v>0.17104045704889748</c:v>
                </c:pt>
                <c:pt idx="24">
                  <c:v>0.1697541583986388</c:v>
                </c:pt>
                <c:pt idx="25">
                  <c:v>0.1787566135659964</c:v>
                </c:pt>
                <c:pt idx="26">
                  <c:v>0.16595995947954698</c:v>
                </c:pt>
                <c:pt idx="27">
                  <c:v>0.1625813774710598</c:v>
                </c:pt>
                <c:pt idx="28">
                  <c:v>0.16671856389027584</c:v>
                </c:pt>
                <c:pt idx="29">
                  <c:v>0.16481688688265775</c:v>
                </c:pt>
                <c:pt idx="30">
                  <c:v>0.17268765600843083</c:v>
                </c:pt>
                <c:pt idx="31">
                  <c:v>0.1863671120202479</c:v>
                </c:pt>
                <c:pt idx="32">
                  <c:v>0.17983992585249456</c:v>
                </c:pt>
                <c:pt idx="33">
                  <c:v>0.17095934503681426</c:v>
                </c:pt>
                <c:pt idx="34">
                  <c:v>0.16626271957891692</c:v>
                </c:pt>
                <c:pt idx="35">
                  <c:v>0.17011860458822312</c:v>
                </c:pt>
                <c:pt idx="36">
                  <c:v>0.16593790471537964</c:v>
                </c:pt>
                <c:pt idx="37">
                  <c:v>0.15283245336265378</c:v>
                </c:pt>
                <c:pt idx="38">
                  <c:v>0.15695776413962587</c:v>
                </c:pt>
                <c:pt idx="39">
                  <c:v>0.16641615532214346</c:v>
                </c:pt>
                <c:pt idx="40">
                  <c:v>0.16110905766024625</c:v>
                </c:pt>
                <c:pt idx="41">
                  <c:v>0.15064842035141313</c:v>
                </c:pt>
                <c:pt idx="42">
                  <c:v>0.15263385349737976</c:v>
                </c:pt>
                <c:pt idx="43">
                  <c:v>0.15318954796418233</c:v>
                </c:pt>
                <c:pt idx="44">
                  <c:v>0.16124462644622287</c:v>
                </c:pt>
                <c:pt idx="45">
                  <c:v>0.16922608205993764</c:v>
                </c:pt>
                <c:pt idx="46">
                  <c:v>0.16906110692173787</c:v>
                </c:pt>
                <c:pt idx="47">
                  <c:v>0.17363251083921732</c:v>
                </c:pt>
                <c:pt idx="48">
                  <c:v>0.17561591121759268</c:v>
                </c:pt>
                <c:pt idx="49">
                  <c:v>0.1718403740220271</c:v>
                </c:pt>
                <c:pt idx="50">
                  <c:v>0.1912943114020735</c:v>
                </c:pt>
                <c:pt idx="51">
                  <c:v>0.19625446301643185</c:v>
                </c:pt>
                <c:pt idx="52">
                  <c:v>0.1824675205804111</c:v>
                </c:pt>
                <c:pt idx="53">
                  <c:v>0.1999656435326154</c:v>
                </c:pt>
                <c:pt idx="54">
                  <c:v>0.157756885779004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73.0"/>
          <c:min val="57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524411040232423"/>
          <c:min val="0.1016797312430011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664886814424728</c:v>
                </c:pt>
                <c:pt idx="1">
                  <c:v>0.4293133002333675</c:v>
                </c:pt>
                <c:pt idx="2">
                  <c:v>0.46102180366887874</c:v>
                </c:pt>
                <c:pt idx="3">
                  <c:v>0.45817363611029244</c:v>
                </c:pt>
                <c:pt idx="4">
                  <c:v>0.49746567581878964</c:v>
                </c:pt>
                <c:pt idx="5">
                  <c:v>0.4919719288639413</c:v>
                </c:pt>
                <c:pt idx="6">
                  <c:v>0.4766907740689913</c:v>
                </c:pt>
                <c:pt idx="7">
                  <c:v>0.4496269671854541</c:v>
                </c:pt>
                <c:pt idx="8">
                  <c:v>0.44098205633235726</c:v>
                </c:pt>
                <c:pt idx="9">
                  <c:v>0.4777870446986064</c:v>
                </c:pt>
                <c:pt idx="10">
                  <c:v>0.5065239180944174</c:v>
                </c:pt>
                <c:pt idx="11">
                  <c:v>0.4871819633687717</c:v>
                </c:pt>
                <c:pt idx="12">
                  <c:v>0.45662623628424887</c:v>
                </c:pt>
                <c:pt idx="13">
                  <c:v>0.4074417855881247</c:v>
                </c:pt>
                <c:pt idx="14">
                  <c:v>0.33606864029653</c:v>
                </c:pt>
                <c:pt idx="15">
                  <c:v>0.34278392345152386</c:v>
                </c:pt>
                <c:pt idx="16">
                  <c:v>0.36662024548199873</c:v>
                </c:pt>
                <c:pt idx="17">
                  <c:v>0.38379207704948115</c:v>
                </c:pt>
                <c:pt idx="18">
                  <c:v>0.37277787531770257</c:v>
                </c:pt>
                <c:pt idx="19">
                  <c:v>0.4131037604060522</c:v>
                </c:pt>
                <c:pt idx="20">
                  <c:v>0.44875272311699405</c:v>
                </c:pt>
                <c:pt idx="21">
                  <c:v>0.43177439526835765</c:v>
                </c:pt>
                <c:pt idx="22">
                  <c:v>0.3874664171913807</c:v>
                </c:pt>
                <c:pt idx="23">
                  <c:v>0.3650314659753334</c:v>
                </c:pt>
                <c:pt idx="24">
                  <c:v>0.3583096544269059</c:v>
                </c:pt>
                <c:pt idx="25">
                  <c:v>0.34538651583366486</c:v>
                </c:pt>
                <c:pt idx="26">
                  <c:v>0.3377670861493963</c:v>
                </c:pt>
                <c:pt idx="27">
                  <c:v>0.3329070095894273</c:v>
                </c:pt>
                <c:pt idx="28">
                  <c:v>0.34643870245117164</c:v>
                </c:pt>
                <c:pt idx="29">
                  <c:v>0.2944746374018642</c:v>
                </c:pt>
                <c:pt idx="30">
                  <c:v>0.2952286675270037</c:v>
                </c:pt>
                <c:pt idx="31">
                  <c:v>0.3182745968363774</c:v>
                </c:pt>
                <c:pt idx="32">
                  <c:v>0.3144097088530978</c:v>
                </c:pt>
                <c:pt idx="33">
                  <c:v>0.30622542994673396</c:v>
                </c:pt>
                <c:pt idx="34">
                  <c:v>0.349606310261788</c:v>
                </c:pt>
                <c:pt idx="35">
                  <c:v>0.3902419381957038</c:v>
                </c:pt>
                <c:pt idx="36">
                  <c:v>0.36995310806640597</c:v>
                </c:pt>
                <c:pt idx="37">
                  <c:v>0.4191373109964513</c:v>
                </c:pt>
                <c:pt idx="38">
                  <c:v>0.4078397368705706</c:v>
                </c:pt>
                <c:pt idx="39">
                  <c:v>0.4059900389509975</c:v>
                </c:pt>
                <c:pt idx="40">
                  <c:v>0.4192172501553351</c:v>
                </c:pt>
                <c:pt idx="41">
                  <c:v>0.44977667855728226</c:v>
                </c:pt>
                <c:pt idx="42">
                  <c:v>0.4608484003407039</c:v>
                </c:pt>
                <c:pt idx="43">
                  <c:v>0.4865990852403077</c:v>
                </c:pt>
                <c:pt idx="44">
                  <c:v>0.44098381909715645</c:v>
                </c:pt>
                <c:pt idx="45">
                  <c:v>0.45147469887775965</c:v>
                </c:pt>
                <c:pt idx="46">
                  <c:v>0.4656396345238938</c:v>
                </c:pt>
                <c:pt idx="47">
                  <c:v>0.47782450745163674</c:v>
                </c:pt>
                <c:pt idx="48">
                  <c:v>0.46898207714702894</c:v>
                </c:pt>
                <c:pt idx="49">
                  <c:v>0.40170443728535654</c:v>
                </c:pt>
                <c:pt idx="50">
                  <c:v>0.30577874653450676</c:v>
                </c:pt>
                <c:pt idx="51">
                  <c:v>0.28747935136199176</c:v>
                </c:pt>
                <c:pt idx="52">
                  <c:v>0.2740638550377429</c:v>
                </c:pt>
                <c:pt idx="53">
                  <c:v>0.2529811393396187</c:v>
                </c:pt>
                <c:pt idx="54">
                  <c:v>0.2334941949470651</c:v>
                </c:pt>
                <c:pt idx="55">
                  <c:v>0.2730272006077984</c:v>
                </c:pt>
                <c:pt idx="56">
                  <c:v>0.36124276664374144</c:v>
                </c:pt>
                <c:pt idx="57">
                  <c:v>0.4956327451703277</c:v>
                </c:pt>
                <c:pt idx="58">
                  <c:v>0.449458394293833</c:v>
                </c:pt>
                <c:pt idx="59">
                  <c:v>0.394453967643644</c:v>
                </c:pt>
                <c:pt idx="60">
                  <c:v>0.3559002554187801</c:v>
                </c:pt>
                <c:pt idx="61">
                  <c:v>0.33147638278039077</c:v>
                </c:pt>
                <c:pt idx="62">
                  <c:v>0.4167244547314261</c:v>
                </c:pt>
                <c:pt idx="63">
                  <c:v>0.41071412297320303</c:v>
                </c:pt>
                <c:pt idx="64">
                  <c:v>0.40843956332090664</c:v>
                </c:pt>
                <c:pt idx="65">
                  <c:v>0.3781166585785337</c:v>
                </c:pt>
                <c:pt idx="66">
                  <c:v>0.3706151317241445</c:v>
                </c:pt>
                <c:pt idx="67">
                  <c:v>0.3977114382281293</c:v>
                </c:pt>
                <c:pt idx="68">
                  <c:v>0.355700828379328</c:v>
                </c:pt>
                <c:pt idx="69">
                  <c:v>0.3538240655051566</c:v>
                </c:pt>
                <c:pt idx="70">
                  <c:v>0.33617079975857544</c:v>
                </c:pt>
                <c:pt idx="71">
                  <c:v>0.33942378636175213</c:v>
                </c:pt>
                <c:pt idx="72">
                  <c:v>0.3640635344624627</c:v>
                </c:pt>
                <c:pt idx="73">
                  <c:v>0.3460231634077813</c:v>
                </c:pt>
                <c:pt idx="74">
                  <c:v>0.32725278726941576</c:v>
                </c:pt>
                <c:pt idx="75">
                  <c:v>0.31460124233215564</c:v>
                </c:pt>
                <c:pt idx="76">
                  <c:v>0.3329027346635513</c:v>
                </c:pt>
                <c:pt idx="77">
                  <c:v>0.3297636103725264</c:v>
                </c:pt>
                <c:pt idx="78">
                  <c:v>0.3653423086110149</c:v>
                </c:pt>
                <c:pt idx="79">
                  <c:v>0.22786301089587424</c:v>
                </c:pt>
                <c:pt idx="80">
                  <c:v>0.22853081269054418</c:v>
                </c:pt>
                <c:pt idx="81">
                  <c:v>0.31648737348102185</c:v>
                </c:pt>
                <c:pt idx="82">
                  <c:v>0.33414932181449464</c:v>
                </c:pt>
                <c:pt idx="83">
                  <c:v>0.30470263901571265</c:v>
                </c:pt>
                <c:pt idx="84">
                  <c:v>0.28757938831926544</c:v>
                </c:pt>
                <c:pt idx="85">
                  <c:v>0.28709207012690613</c:v>
                </c:pt>
                <c:pt idx="86">
                  <c:v>0.31255131477273584</c:v>
                </c:pt>
                <c:pt idx="87">
                  <c:v>0.31168404056578597</c:v>
                </c:pt>
                <c:pt idx="88">
                  <c:v>0.28169509716958446</c:v>
                </c:pt>
                <c:pt idx="89">
                  <c:v>0.27305526698308397</c:v>
                </c:pt>
                <c:pt idx="90">
                  <c:v>0.2758214319362903</c:v>
                </c:pt>
                <c:pt idx="91">
                  <c:v>0.2925271071491258</c:v>
                </c:pt>
                <c:pt idx="92">
                  <c:v>0.2999747397483501</c:v>
                </c:pt>
                <c:pt idx="93">
                  <c:v>0.31974836564993514</c:v>
                </c:pt>
                <c:pt idx="94">
                  <c:v>0.30992493615600963</c:v>
                </c:pt>
                <c:pt idx="95">
                  <c:v>0.4064644418733486</c:v>
                </c:pt>
                <c:pt idx="96">
                  <c:v>0.37559847070311575</c:v>
                </c:pt>
                <c:pt idx="97">
                  <c:v>0.3705096234569044</c:v>
                </c:pt>
                <c:pt idx="98">
                  <c:v>0.406900714567972</c:v>
                </c:pt>
                <c:pt idx="99">
                  <c:v>0.45143485018210294</c:v>
                </c:pt>
                <c:pt idx="100">
                  <c:v>0.43511683551972374</c:v>
                </c:pt>
                <c:pt idx="101">
                  <c:v>0.40252633251525816</c:v>
                </c:pt>
                <c:pt idx="102">
                  <c:v>0.4010999428829723</c:v>
                </c:pt>
                <c:pt idx="103">
                  <c:v>0.33619731928379787</c:v>
                </c:pt>
                <c:pt idx="104">
                  <c:v>0.3403878034807529</c:v>
                </c:pt>
              </c:numCache>
            </c:numRef>
          </c:xVal>
          <c:yVal>
            <c:numRef>
              <c:f>Sheet1!$B$2:$B$106</c:f>
              <c:numCache>
                <c:formatCode>General</c:formatCode>
                <c:ptCount val="105"/>
                <c:pt idx="0">
                  <c:v>0.21030715158924204</c:v>
                </c:pt>
                <c:pt idx="1">
                  <c:v>0.21298701298701297</c:v>
                </c:pt>
                <c:pt idx="2">
                  <c:v>0.19188149288187764</c:v>
                </c:pt>
                <c:pt idx="3">
                  <c:v>0.19090721223393264</c:v>
                </c:pt>
                <c:pt idx="4">
                  <c:v>0.19040369315391414</c:v>
                </c:pt>
                <c:pt idx="5">
                  <c:v>0.18118797067477932</c:v>
                </c:pt>
                <c:pt idx="6">
                  <c:v>0.20359223768478837</c:v>
                </c:pt>
                <c:pt idx="7">
                  <c:v>0.20028392958546282</c:v>
                </c:pt>
                <c:pt idx="8">
                  <c:v>0.21053270971268906</c:v>
                </c:pt>
                <c:pt idx="9">
                  <c:v>0.21039721134397726</c:v>
                </c:pt>
                <c:pt idx="10">
                  <c:v>0.22042008977725078</c:v>
                </c:pt>
                <c:pt idx="11">
                  <c:v>0.21358106613581065</c:v>
                </c:pt>
                <c:pt idx="12">
                  <c:v>0.21567654719087187</c:v>
                </c:pt>
                <c:pt idx="13">
                  <c:v>0.22556548743128121</c:v>
                </c:pt>
                <c:pt idx="14">
                  <c:v>0.21514723007818998</c:v>
                </c:pt>
                <c:pt idx="15">
                  <c:v>0.21337422099119596</c:v>
                </c:pt>
                <c:pt idx="16">
                  <c:v>0.2021367278513383</c:v>
                </c:pt>
                <c:pt idx="17">
                  <c:v>0.1916417538614848</c:v>
                </c:pt>
                <c:pt idx="18">
                  <c:v>0.17514358867898416</c:v>
                </c:pt>
                <c:pt idx="19">
                  <c:v>0.16184781718404456</c:v>
                </c:pt>
                <c:pt idx="20">
                  <c:v>0.174278038952317</c:v>
                </c:pt>
                <c:pt idx="21">
                  <c:v>0.17816586373021334</c:v>
                </c:pt>
                <c:pt idx="22">
                  <c:v>0.17713299358868978</c:v>
                </c:pt>
                <c:pt idx="23">
                  <c:v>0.18507202095154954</c:v>
                </c:pt>
                <c:pt idx="24">
                  <c:v>0.18752479961907786</c:v>
                </c:pt>
                <c:pt idx="25">
                  <c:v>0.18773318773318773</c:v>
                </c:pt>
                <c:pt idx="26">
                  <c:v>0.192</c:v>
                </c:pt>
                <c:pt idx="27">
                  <c:v>0.17932890155112377</c:v>
                </c:pt>
                <c:pt idx="28">
                  <c:v>0.17864642222581167</c:v>
                </c:pt>
                <c:pt idx="29">
                  <c:v>0.20309249757315212</c:v>
                </c:pt>
                <c:pt idx="30">
                  <c:v>0.18293125340105207</c:v>
                </c:pt>
                <c:pt idx="31">
                  <c:v>0.17864829961256995</c:v>
                </c:pt>
                <c:pt idx="32">
                  <c:v>0.1871335232032166</c:v>
                </c:pt>
                <c:pt idx="33">
                  <c:v>0.20930232558139536</c:v>
                </c:pt>
                <c:pt idx="34">
                  <c:v>0.1992973309911033</c:v>
                </c:pt>
                <c:pt idx="35">
                  <c:v>0.1956752736159813</c:v>
                </c:pt>
                <c:pt idx="36">
                  <c:v>0.15181646844739066</c:v>
                </c:pt>
                <c:pt idx="37">
                  <c:v>0.14250182882223847</c:v>
                </c:pt>
                <c:pt idx="38">
                  <c:v>0.13718112724809994</c:v>
                </c:pt>
                <c:pt idx="39">
                  <c:v>0.13833099797602366</c:v>
                </c:pt>
                <c:pt idx="40">
                  <c:v>0.13867644270273688</c:v>
                </c:pt>
                <c:pt idx="41">
                  <c:v>0.1270996640537514</c:v>
                </c:pt>
                <c:pt idx="42">
                  <c:v>0.13326508490906902</c:v>
                </c:pt>
                <c:pt idx="43">
                  <c:v>0.13675121424716677</c:v>
                </c:pt>
                <c:pt idx="44">
                  <c:v>0.16124158769399807</c:v>
                </c:pt>
                <c:pt idx="45">
                  <c:v>0.1861608385121974</c:v>
                </c:pt>
                <c:pt idx="46">
                  <c:v>0.1937179063691781</c:v>
                </c:pt>
                <c:pt idx="47">
                  <c:v>0.19532088430993774</c:v>
                </c:pt>
                <c:pt idx="48">
                  <c:v>0.21233782239451454</c:v>
                </c:pt>
                <c:pt idx="49">
                  <c:v>0.24603675866860356</c:v>
                </c:pt>
                <c:pt idx="50">
                  <c:v>0.20786180373861235</c:v>
                </c:pt>
                <c:pt idx="51">
                  <c:v>0.18664801119328403</c:v>
                </c:pt>
                <c:pt idx="52">
                  <c:v>0.19997993176801124</c:v>
                </c:pt>
                <c:pt idx="53">
                  <c:v>0.1882059256834179</c:v>
                </c:pt>
                <c:pt idx="54">
                  <c:v>0.1853673948366131</c:v>
                </c:pt>
                <c:pt idx="55">
                  <c:v>0.17528152113716078</c:v>
                </c:pt>
                <c:pt idx="56">
                  <c:v>0.1852655955999421</c:v>
                </c:pt>
                <c:pt idx="57">
                  <c:v>0.18023843200646594</c:v>
                </c:pt>
                <c:pt idx="58">
                  <c:v>0.19915412830301668</c:v>
                </c:pt>
                <c:pt idx="59">
                  <c:v>0.2092832698703427</c:v>
                </c:pt>
                <c:pt idx="60">
                  <c:v>0.22389277072401512</c:v>
                </c:pt>
                <c:pt idx="61">
                  <c:v>0.222672371360418</c:v>
                </c:pt>
                <c:pt idx="62">
                  <c:v>0.22107099622587767</c:v>
                </c:pt>
                <c:pt idx="63">
                  <c:v>0.23888208218815193</c:v>
                </c:pt>
                <c:pt idx="64">
                  <c:v>0.22448180186061695</c:v>
                </c:pt>
                <c:pt idx="65">
                  <c:v>0.2092982083421854</c:v>
                </c:pt>
                <c:pt idx="66">
                  <c:v>0.21225035212539275</c:v>
                </c:pt>
                <c:pt idx="67">
                  <c:v>0.20886051756431329</c:v>
                </c:pt>
                <c:pt idx="68">
                  <c:v>0.18994516381733562</c:v>
                </c:pt>
                <c:pt idx="69">
                  <c:v>0.17577310373592325</c:v>
                </c:pt>
                <c:pt idx="70">
                  <c:v>0.16404162165235686</c:v>
                </c:pt>
                <c:pt idx="71">
                  <c:v>0.17445482866043613</c:v>
                </c:pt>
                <c:pt idx="72">
                  <c:v>0.17299754740683138</c:v>
                </c:pt>
                <c:pt idx="73">
                  <c:v>0.17705832738597288</c:v>
                </c:pt>
                <c:pt idx="74">
                  <c:v>0.17853922452660054</c:v>
                </c:pt>
                <c:pt idx="75">
                  <c:v>0.18282139593730232</c:v>
                </c:pt>
                <c:pt idx="76">
                  <c:v>0.1749961907664178</c:v>
                </c:pt>
                <c:pt idx="77">
                  <c:v>0.17296614850469502</c:v>
                </c:pt>
                <c:pt idx="78">
                  <c:v>0.15853018372703412</c:v>
                </c:pt>
                <c:pt idx="79">
                  <c:v>0.2261861775113743</c:v>
                </c:pt>
                <c:pt idx="80">
                  <c:v>0.2101878612716763</c:v>
                </c:pt>
                <c:pt idx="81">
                  <c:v>0.1694088207694714</c:v>
                </c:pt>
                <c:pt idx="82">
                  <c:v>0.16926466987676486</c:v>
                </c:pt>
                <c:pt idx="83">
                  <c:v>0.14987487255538048</c:v>
                </c:pt>
                <c:pt idx="84">
                  <c:v>0.1537157389092964</c:v>
                </c:pt>
                <c:pt idx="85">
                  <c:v>0.15863306418726042</c:v>
                </c:pt>
                <c:pt idx="86">
                  <c:v>0.1524004465947153</c:v>
                </c:pt>
                <c:pt idx="87">
                  <c:v>0.1689402513850003</c:v>
                </c:pt>
                <c:pt idx="88">
                  <c:v>0.14848762603116408</c:v>
                </c:pt>
                <c:pt idx="89">
                  <c:v>0.14441462596444146</c:v>
                </c:pt>
                <c:pt idx="90">
                  <c:v>0.14172686618507052</c:v>
                </c:pt>
                <c:pt idx="91">
                  <c:v>0.13393232009404651</c:v>
                </c:pt>
                <c:pt idx="92">
                  <c:v>0.14259086672879775</c:v>
                </c:pt>
                <c:pt idx="93">
                  <c:v>0.13648551435484926</c:v>
                </c:pt>
                <c:pt idx="94">
                  <c:v>0.14039841804599384</c:v>
                </c:pt>
                <c:pt idx="95">
                  <c:v>0.14438761776581427</c:v>
                </c:pt>
                <c:pt idx="96">
                  <c:v>0.1441160471441523</c:v>
                </c:pt>
                <c:pt idx="97">
                  <c:v>0.1554780494048381</c:v>
                </c:pt>
                <c:pt idx="98">
                  <c:v>0.17081260364842454</c:v>
                </c:pt>
                <c:pt idx="99">
                  <c:v>0.17867754563033533</c:v>
                </c:pt>
                <c:pt idx="100">
                  <c:v>0.19638028243694658</c:v>
                </c:pt>
                <c:pt idx="101">
                  <c:v>0.18430480700333343</c:v>
                </c:pt>
                <c:pt idx="102">
                  <c:v>0.15521151330135194</c:v>
                </c:pt>
                <c:pt idx="103">
                  <c:v>0.17430878208545966</c:v>
                </c:pt>
                <c:pt idx="104">
                  <c:v>0.1768059102517329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612470620909979</c:v>
                </c:pt>
                <c:pt idx="1">
                  <c:v>0.381169495737122</c:v>
                </c:pt>
                <c:pt idx="2">
                  <c:v>0.37286603418440983</c:v>
                </c:pt>
                <c:pt idx="3">
                  <c:v>0.3979820396903189</c:v>
                </c:pt>
                <c:pt idx="4">
                  <c:v>0.3731276523467561</c:v>
                </c:pt>
                <c:pt idx="5">
                  <c:v>0.34524382319643604</c:v>
                </c:pt>
                <c:pt idx="6">
                  <c:v>0.38959402450642777</c:v>
                </c:pt>
                <c:pt idx="7">
                  <c:v>0.42287742472542145</c:v>
                </c:pt>
                <c:pt idx="8">
                  <c:v>0.40580768290629177</c:v>
                </c:pt>
                <c:pt idx="9">
                  <c:v>0.3973226719510963</c:v>
                </c:pt>
                <c:pt idx="10">
                  <c:v>0.4291055687124549</c:v>
                </c:pt>
                <c:pt idx="11">
                  <c:v>0.4133682830833419</c:v>
                </c:pt>
                <c:pt idx="12">
                  <c:v>0.4460743131949911</c:v>
                </c:pt>
                <c:pt idx="13">
                  <c:v>0.4815514844518195</c:v>
                </c:pt>
                <c:pt idx="14">
                  <c:v>0.48613422296650505</c:v>
                </c:pt>
                <c:pt idx="15">
                  <c:v>0.442217082410048</c:v>
                </c:pt>
                <c:pt idx="16">
                  <c:v>0.4360599094814063</c:v>
                </c:pt>
                <c:pt idx="17">
                  <c:v>0.39906633613688447</c:v>
                </c:pt>
                <c:pt idx="18">
                  <c:v>0.37427444894090256</c:v>
                </c:pt>
                <c:pt idx="19">
                  <c:v>0.4021579210586859</c:v>
                </c:pt>
                <c:pt idx="20">
                  <c:v>0.3960878816388069</c:v>
                </c:pt>
                <c:pt idx="21">
                  <c:v>0.3561685235466702</c:v>
                </c:pt>
                <c:pt idx="22">
                  <c:v>0.34357531541629827</c:v>
                </c:pt>
                <c:pt idx="23">
                  <c:v>0.3428573645796012</c:v>
                </c:pt>
                <c:pt idx="24">
                  <c:v>0.3506713456507978</c:v>
                </c:pt>
                <c:pt idx="25">
                  <c:v>0.3316038671837767</c:v>
                </c:pt>
                <c:pt idx="26">
                  <c:v>0.3460398742723073</c:v>
                </c:pt>
                <c:pt idx="27">
                  <c:v>0.36218719689062595</c:v>
                </c:pt>
                <c:pt idx="28">
                  <c:v>0.40452371310382507</c:v>
                </c:pt>
                <c:pt idx="29">
                  <c:v>0.40746708811626686</c:v>
                </c:pt>
                <c:pt idx="30">
                  <c:v>0.3837553750957368</c:v>
                </c:pt>
                <c:pt idx="31">
                  <c:v>0.2885281289593524</c:v>
                </c:pt>
                <c:pt idx="32">
                  <c:v>0.28820820360729543</c:v>
                </c:pt>
                <c:pt idx="33">
                  <c:v>0.2880015716549819</c:v>
                </c:pt>
                <c:pt idx="34">
                  <c:v>0.3105015616954009</c:v>
                </c:pt>
                <c:pt idx="35">
                  <c:v>0.3048888519132318</c:v>
                </c:pt>
                <c:pt idx="36">
                  <c:v>0.3092110912715722</c:v>
                </c:pt>
                <c:pt idx="37">
                  <c:v>0.32588280091797095</c:v>
                </c:pt>
                <c:pt idx="38">
                  <c:v>0.3302245941659119</c:v>
                </c:pt>
                <c:pt idx="39">
                  <c:v>0.33353704458255024</c:v>
                </c:pt>
                <c:pt idx="40">
                  <c:v>0.3363074889345161</c:v>
                </c:pt>
                <c:pt idx="41">
                  <c:v>0.3552074901064558</c:v>
                </c:pt>
                <c:pt idx="42">
                  <c:v>0.3390300659505402</c:v>
                </c:pt>
                <c:pt idx="43">
                  <c:v>0.3740836728267065</c:v>
                </c:pt>
                <c:pt idx="44">
                  <c:v>0.41061826333288254</c:v>
                </c:pt>
                <c:pt idx="45">
                  <c:v>0.42287056341895024</c:v>
                </c:pt>
                <c:pt idx="46">
                  <c:v>0.392418874173333</c:v>
                </c:pt>
                <c:pt idx="47">
                  <c:v>0.4221025567683786</c:v>
                </c:pt>
                <c:pt idx="48">
                  <c:v>0.4293453569080788</c:v>
                </c:pt>
                <c:pt idx="49">
                  <c:v>0.4635671742281328</c:v>
                </c:pt>
                <c:pt idx="50">
                  <c:v>0.4381393095611066</c:v>
                </c:pt>
                <c:pt idx="51">
                  <c:v>0.37072637223124993</c:v>
                </c:pt>
              </c:numCache>
            </c:numRef>
          </c:xVal>
          <c:yVal>
            <c:numRef>
              <c:f>Sheet1!$B$109:$B$160</c:f>
              <c:numCache>
                <c:formatCode>General</c:formatCode>
                <c:ptCount val="52"/>
                <c:pt idx="0">
                  <c:v>0.1695790790588805</c:v>
                </c:pt>
                <c:pt idx="1">
                  <c:v>0.17791174961518727</c:v>
                </c:pt>
                <c:pt idx="2">
                  <c:v>0.1852353538774128</c:v>
                </c:pt>
                <c:pt idx="3">
                  <c:v>0.1991701244813278</c:v>
                </c:pt>
                <c:pt idx="4">
                  <c:v>0.1874479971472721</c:v>
                </c:pt>
                <c:pt idx="5">
                  <c:v>0.18587300300056767</c:v>
                </c:pt>
                <c:pt idx="6">
                  <c:v>0.18391370041111774</c:v>
                </c:pt>
                <c:pt idx="7">
                  <c:v>0.17661247527618312</c:v>
                </c:pt>
                <c:pt idx="8">
                  <c:v>0.17646420235575097</c:v>
                </c:pt>
                <c:pt idx="9">
                  <c:v>0.18555672006787444</c:v>
                </c:pt>
                <c:pt idx="10">
                  <c:v>0.1925045080169599</c:v>
                </c:pt>
                <c:pt idx="11">
                  <c:v>0.2061260270205232</c:v>
                </c:pt>
                <c:pt idx="12">
                  <c:v>0.20658426141231184</c:v>
                </c:pt>
                <c:pt idx="13">
                  <c:v>0.19522052363380776</c:v>
                </c:pt>
                <c:pt idx="14">
                  <c:v>0.19821548498512903</c:v>
                </c:pt>
                <c:pt idx="15">
                  <c:v>0.18580538130540722</c:v>
                </c:pt>
                <c:pt idx="16">
                  <c:v>0.16675835931291644</c:v>
                </c:pt>
                <c:pt idx="17">
                  <c:v>0.1526210587400864</c:v>
                </c:pt>
                <c:pt idx="18">
                  <c:v>0.14812035716965558</c:v>
                </c:pt>
                <c:pt idx="19">
                  <c:v>0.15454277720512444</c:v>
                </c:pt>
                <c:pt idx="20">
                  <c:v>0.14374286180453583</c:v>
                </c:pt>
                <c:pt idx="21">
                  <c:v>0.1542785153600155</c:v>
                </c:pt>
                <c:pt idx="22">
                  <c:v>0.16029230331213817</c:v>
                </c:pt>
                <c:pt idx="23">
                  <c:v>0.1641924877951579</c:v>
                </c:pt>
                <c:pt idx="24">
                  <c:v>0.15807748538011696</c:v>
                </c:pt>
                <c:pt idx="25">
                  <c:v>0.1643002028397566</c:v>
                </c:pt>
                <c:pt idx="26">
                  <c:v>0.14259111465815377</c:v>
                </c:pt>
                <c:pt idx="27">
                  <c:v>0.14253629582096736</c:v>
                </c:pt>
                <c:pt idx="28">
                  <c:v>0.1532013296719179</c:v>
                </c:pt>
                <c:pt idx="29">
                  <c:v>0.1561052355563325</c:v>
                </c:pt>
                <c:pt idx="30">
                  <c:v>0.1652134831460674</c:v>
                </c:pt>
                <c:pt idx="31">
                  <c:v>0.16674638859657515</c:v>
                </c:pt>
                <c:pt idx="32">
                  <c:v>0.16969546095759688</c:v>
                </c:pt>
                <c:pt idx="33">
                  <c:v>0.18638573743922204</c:v>
                </c:pt>
                <c:pt idx="34">
                  <c:v>0.20878356691986732</c:v>
                </c:pt>
                <c:pt idx="35">
                  <c:v>0.20040160642570282</c:v>
                </c:pt>
                <c:pt idx="36">
                  <c:v>0.16900073707486574</c:v>
                </c:pt>
                <c:pt idx="37">
                  <c:v>0.14900124247347796</c:v>
                </c:pt>
                <c:pt idx="38">
                  <c:v>0.1543937944958028</c:v>
                </c:pt>
                <c:pt idx="39">
                  <c:v>0.17405877309221296</c:v>
                </c:pt>
                <c:pt idx="40">
                  <c:v>0.15430244781498723</c:v>
                </c:pt>
                <c:pt idx="41">
                  <c:v>0.15501779359430606</c:v>
                </c:pt>
                <c:pt idx="42">
                  <c:v>0.15447549615228837</c:v>
                </c:pt>
                <c:pt idx="43">
                  <c:v>0.1453913248467704</c:v>
                </c:pt>
                <c:pt idx="44">
                  <c:v>0.13828449859781453</c:v>
                </c:pt>
                <c:pt idx="45">
                  <c:v>0.1537342041743575</c:v>
                </c:pt>
                <c:pt idx="46">
                  <c:v>0.1493275233586123</c:v>
                </c:pt>
                <c:pt idx="47">
                  <c:v>0.15100058286380416</c:v>
                </c:pt>
                <c:pt idx="48">
                  <c:v>0.14215291426362084</c:v>
                </c:pt>
                <c:pt idx="49">
                  <c:v>0.1594824980351853</c:v>
                </c:pt>
                <c:pt idx="50">
                  <c:v>0.1933509556730378</c:v>
                </c:pt>
                <c:pt idx="51">
                  <c:v>0.1802605026600623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9467958859917183</c:v>
                </c:pt>
              </c:numCache>
            </c:numRef>
          </c:xVal>
          <c:yVal>
            <c:numRef>
              <c:f>Sheet1!$B$163:$B$164</c:f>
              <c:numCache>
                <c:formatCode>General</c:formatCode>
                <c:ptCount val="2"/>
                <c:pt idx="0">
                  <c:v>0.1999656435326154</c:v>
                </c:pt>
                <c:pt idx="1">
                  <c:v>0.199965643532615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9467958859917183</c:v>
                </c:pt>
                <c:pt idx="1">
                  <c:v>0.9467958859917183</c:v>
                </c:pt>
              </c:numCache>
            </c:numRef>
          </c:xVal>
          <c:yVal>
            <c:numRef>
              <c:f>Sheet1!$B$167:$B$168</c:f>
              <c:numCache>
                <c:formatCode>General</c:formatCode>
                <c:ptCount val="2"/>
                <c:pt idx="0">
                  <c:v>0.199965643532615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248189219566683</c:v>
                </c:pt>
              </c:numCache>
            </c:numRef>
          </c:xVal>
          <c:yVal>
            <c:numRef>
              <c:f>Sheet1!$B$171:$B$172</c:f>
              <c:numCache>
                <c:formatCode>General</c:formatCode>
                <c:ptCount val="2"/>
                <c:pt idx="0">
                  <c:v>0.1824675205804111</c:v>
                </c:pt>
                <c:pt idx="1">
                  <c:v>0.182467520580411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248189219566683</c:v>
                </c:pt>
                <c:pt idx="1">
                  <c:v>0.6248189219566683</c:v>
                </c:pt>
              </c:numCache>
            </c:numRef>
          </c:xVal>
          <c:yVal>
            <c:numRef>
              <c:f>Sheet1!$B$175:$B$176</c:f>
              <c:numCache>
                <c:formatCode>General</c:formatCode>
                <c:ptCount val="2"/>
                <c:pt idx="0">
                  <c:v>0.182467520580411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7012699903053247</c:v>
                </c:pt>
              </c:numCache>
            </c:numRef>
          </c:xVal>
          <c:yVal>
            <c:numRef>
              <c:f>Sheet1!$B$179:$B$180</c:f>
              <c:numCache>
                <c:formatCode>General</c:formatCode>
                <c:ptCount val="2"/>
                <c:pt idx="0">
                  <c:v>0.15775688577900457</c:v>
                </c:pt>
                <c:pt idx="1">
                  <c:v>0.1577568857790045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7012699903053247</c:v>
                </c:pt>
                <c:pt idx="1">
                  <c:v>0.17012699903053247</c:v>
                </c:pt>
              </c:numCache>
            </c:numRef>
          </c:xVal>
          <c:yVal>
            <c:numRef>
              <c:f>Sheet1!$B$183:$B$184</c:f>
              <c:numCache>
                <c:formatCode>General</c:formatCode>
                <c:ptCount val="2"/>
                <c:pt idx="0">
                  <c:v>0.1577568857790045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612470620909979</c:v>
                </c:pt>
                <c:pt idx="1">
                  <c:v>0.381169495737122</c:v>
                </c:pt>
                <c:pt idx="2">
                  <c:v>0.37286603418440983</c:v>
                </c:pt>
                <c:pt idx="3">
                  <c:v>0.3979820396903189</c:v>
                </c:pt>
                <c:pt idx="4">
                  <c:v>0.3731276523467561</c:v>
                </c:pt>
                <c:pt idx="5">
                  <c:v>0.34524382319643604</c:v>
                </c:pt>
                <c:pt idx="6">
                  <c:v>0.38959402450642777</c:v>
                </c:pt>
                <c:pt idx="7">
                  <c:v>0.42287742472542145</c:v>
                </c:pt>
                <c:pt idx="8">
                  <c:v>0.40580768290629177</c:v>
                </c:pt>
                <c:pt idx="9">
                  <c:v>0.3973226719510963</c:v>
                </c:pt>
                <c:pt idx="10">
                  <c:v>0.4291055687124549</c:v>
                </c:pt>
                <c:pt idx="11">
                  <c:v>0.4133682830833419</c:v>
                </c:pt>
                <c:pt idx="12">
                  <c:v>0.4460743131949911</c:v>
                </c:pt>
                <c:pt idx="13">
                  <c:v>0.4815514844518195</c:v>
                </c:pt>
                <c:pt idx="14">
                  <c:v>0.48613422296650505</c:v>
                </c:pt>
                <c:pt idx="15">
                  <c:v>0.442217082410048</c:v>
                </c:pt>
                <c:pt idx="16">
                  <c:v>0.4360599094814063</c:v>
                </c:pt>
                <c:pt idx="17">
                  <c:v>0.39906633613688447</c:v>
                </c:pt>
                <c:pt idx="18">
                  <c:v>0.37427444894090256</c:v>
                </c:pt>
                <c:pt idx="19">
                  <c:v>0.4021579210586859</c:v>
                </c:pt>
                <c:pt idx="20">
                  <c:v>0.3960878816388069</c:v>
                </c:pt>
                <c:pt idx="21">
                  <c:v>0.3561685235466702</c:v>
                </c:pt>
                <c:pt idx="22">
                  <c:v>0.34357531541629827</c:v>
                </c:pt>
                <c:pt idx="23">
                  <c:v>0.3428573645796012</c:v>
                </c:pt>
                <c:pt idx="24">
                  <c:v>0.3506713456507978</c:v>
                </c:pt>
                <c:pt idx="25">
                  <c:v>0.3316038671837767</c:v>
                </c:pt>
                <c:pt idx="26">
                  <c:v>0.3460398742723073</c:v>
                </c:pt>
                <c:pt idx="27">
                  <c:v>0.36218719689062595</c:v>
                </c:pt>
                <c:pt idx="28">
                  <c:v>0.40452371310382507</c:v>
                </c:pt>
                <c:pt idx="29">
                  <c:v>0.40746708811626686</c:v>
                </c:pt>
                <c:pt idx="30">
                  <c:v>0.3837553750957368</c:v>
                </c:pt>
                <c:pt idx="31">
                  <c:v>0.2885281289593524</c:v>
                </c:pt>
                <c:pt idx="32">
                  <c:v>0.28820820360729543</c:v>
                </c:pt>
                <c:pt idx="33">
                  <c:v>0.2880015716549819</c:v>
                </c:pt>
                <c:pt idx="34">
                  <c:v>0.3105015616954009</c:v>
                </c:pt>
                <c:pt idx="35">
                  <c:v>0.3048888519132318</c:v>
                </c:pt>
                <c:pt idx="36">
                  <c:v>0.3092110912715722</c:v>
                </c:pt>
                <c:pt idx="37">
                  <c:v>0.32588280091797095</c:v>
                </c:pt>
                <c:pt idx="38">
                  <c:v>0.3302245941659119</c:v>
                </c:pt>
                <c:pt idx="39">
                  <c:v>0.33353704458255024</c:v>
                </c:pt>
                <c:pt idx="40">
                  <c:v>0.3363074889345161</c:v>
                </c:pt>
                <c:pt idx="41">
                  <c:v>0.3552074901064558</c:v>
                </c:pt>
                <c:pt idx="42">
                  <c:v>0.3390300659505402</c:v>
                </c:pt>
                <c:pt idx="43">
                  <c:v>0.3740836728267065</c:v>
                </c:pt>
                <c:pt idx="44">
                  <c:v>0.41061826333288254</c:v>
                </c:pt>
                <c:pt idx="45">
                  <c:v>0.42287056341895024</c:v>
                </c:pt>
                <c:pt idx="46">
                  <c:v>0.392418874173333</c:v>
                </c:pt>
                <c:pt idx="47">
                  <c:v>0.4221025567683786</c:v>
                </c:pt>
                <c:pt idx="48">
                  <c:v>0.4293453569080788</c:v>
                </c:pt>
                <c:pt idx="49">
                  <c:v>0.4635671742281328</c:v>
                </c:pt>
                <c:pt idx="50">
                  <c:v>0.4381393095611066</c:v>
                </c:pt>
                <c:pt idx="51">
                  <c:v>0.37072637223124993</c:v>
                </c:pt>
                <c:pt idx="52">
                  <c:v>0.6248189219566683</c:v>
                </c:pt>
                <c:pt idx="53">
                  <c:v>0.9467958859917183</c:v>
                </c:pt>
                <c:pt idx="54">
                  <c:v>0.17012699903053247</c:v>
                </c:pt>
              </c:numCache>
            </c:numRef>
          </c:xVal>
          <c:yVal>
            <c:numRef>
              <c:f>Sheet1!$B$187:$B$241</c:f>
              <c:numCache>
                <c:formatCode>General</c:formatCode>
                <c:ptCount val="55"/>
                <c:pt idx="0">
                  <c:v>0.16814347468323754</c:v>
                </c:pt>
                <c:pt idx="1">
                  <c:v>0.16922617696441394</c:v>
                </c:pt>
                <c:pt idx="2">
                  <c:v>0.1687749180005508</c:v>
                </c:pt>
                <c:pt idx="3">
                  <c:v>0.170139869539018</c:v>
                </c:pt>
                <c:pt idx="4">
                  <c:v>0.16878913587102792</c:v>
                </c:pt>
                <c:pt idx="5">
                  <c:v>0.1672737645080088</c:v>
                </c:pt>
                <c:pt idx="6">
                  <c:v>0.1696840154332668</c:v>
                </c:pt>
                <c:pt idx="7">
                  <c:v>0.17149283126282402</c:v>
                </c:pt>
                <c:pt idx="8">
                  <c:v>0.17056516104266195</c:v>
                </c:pt>
                <c:pt idx="9">
                  <c:v>0.17010403561591045</c:v>
                </c:pt>
                <c:pt idx="10">
                  <c:v>0.17183130525761975</c:v>
                </c:pt>
                <c:pt idx="11">
                  <c:v>0.17097604854788134</c:v>
                </c:pt>
                <c:pt idx="12">
                  <c:v>0.17275348668817586</c:v>
                </c:pt>
                <c:pt idx="13">
                  <c:v>0.17468152494553646</c:v>
                </c:pt>
                <c:pt idx="14">
                  <c:v>0.17493057792430497</c:v>
                </c:pt>
                <c:pt idx="15">
                  <c:v>0.17254386206881142</c:v>
                </c:pt>
                <c:pt idx="16">
                  <c:v>0.17220924505896962</c:v>
                </c:pt>
                <c:pt idx="17">
                  <c:v>0.17019879658864562</c:v>
                </c:pt>
                <c:pt idx="18">
                  <c:v>0.16885145954646752</c:v>
                </c:pt>
                <c:pt idx="19">
                  <c:v>0.1703668115062376</c:v>
                </c:pt>
                <c:pt idx="20">
                  <c:v>0.17003692984401345</c:v>
                </c:pt>
                <c:pt idx="21">
                  <c:v>0.16786747701324123</c:v>
                </c:pt>
                <c:pt idx="22">
                  <c:v>0.16718308797662693</c:v>
                </c:pt>
                <c:pt idx="23">
                  <c:v>0.16714407030326073</c:v>
                </c:pt>
                <c:pt idx="24">
                  <c:v>0.1675687280173297</c:v>
                </c:pt>
                <c:pt idx="25">
                  <c:v>0.16653248903171045</c:v>
                </c:pt>
                <c:pt idx="26">
                  <c:v>0.16731702660796546</c:v>
                </c:pt>
                <c:pt idx="27">
                  <c:v>0.16819456714062758</c:v>
                </c:pt>
                <c:pt idx="28">
                  <c:v>0.17049538256786387</c:v>
                </c:pt>
                <c:pt idx="29">
                  <c:v>0.17065534288681558</c:v>
                </c:pt>
                <c:pt idx="30">
                  <c:v>0.16936670886579458</c:v>
                </c:pt>
                <c:pt idx="31">
                  <c:v>0.16419149993031035</c:v>
                </c:pt>
                <c:pt idx="32">
                  <c:v>0.1641741133040261</c:v>
                </c:pt>
                <c:pt idx="33">
                  <c:v>0.16416288370777757</c:v>
                </c:pt>
                <c:pt idx="34">
                  <c:v>0.16538566557147563</c:v>
                </c:pt>
                <c:pt idx="35">
                  <c:v>0.16508063789299632</c:v>
                </c:pt>
                <c:pt idx="36">
                  <c:v>0.16531553381465877</c:v>
                </c:pt>
                <c:pt idx="37">
                  <c:v>0.1662215726242687</c:v>
                </c:pt>
                <c:pt idx="38">
                  <c:v>0.16645753121936016</c:v>
                </c:pt>
                <c:pt idx="39">
                  <c:v>0.166637549267661</c:v>
                </c:pt>
                <c:pt idx="40">
                  <c:v>0.16678811151688347</c:v>
                </c:pt>
                <c:pt idx="41">
                  <c:v>0.16781524880074022</c:v>
                </c:pt>
                <c:pt idx="42">
                  <c:v>0.16693607237338762</c:v>
                </c:pt>
                <c:pt idx="43">
                  <c:v>0.1688410916497686</c:v>
                </c:pt>
                <c:pt idx="44">
                  <c:v>0.17082659629169666</c:v>
                </c:pt>
                <c:pt idx="45">
                  <c:v>0.17149245837905389</c:v>
                </c:pt>
                <c:pt idx="46">
                  <c:v>0.16983753438746013</c:v>
                </c:pt>
                <c:pt idx="47">
                  <c:v>0.17145072037820006</c:v>
                </c:pt>
                <c:pt idx="48">
                  <c:v>0.17184433675924313</c:v>
                </c:pt>
                <c:pt idx="49">
                  <c:v>0.17370415169634215</c:v>
                </c:pt>
                <c:pt idx="50">
                  <c:v>0.1723222518958732</c:v>
                </c:pt>
                <c:pt idx="51">
                  <c:v>0.1686586361788225</c:v>
                </c:pt>
                <c:pt idx="52">
                  <c:v>0.1824675205804111</c:v>
                </c:pt>
                <c:pt idx="53">
                  <c:v>0.1999656435326154</c:v>
                </c:pt>
                <c:pt idx="54">
                  <c:v>0.1577568857790045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524411040232423"/>
          <c:min val="0.1016797312430011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5.4024</c:v>
                </c:pt>
                <c:pt idx="1">
                  <c:v>920.5213</c:v>
                </c:pt>
                <c:pt idx="2">
                  <c:v>978.4239</c:v>
                </c:pt>
                <c:pt idx="3">
                  <c:v>998.7876</c:v>
                </c:pt>
                <c:pt idx="4">
                  <c:v>1002.9698</c:v>
                </c:pt>
                <c:pt idx="5">
                  <c:v>1003.4349</c:v>
                </c:pt>
                <c:pt idx="6">
                  <c:v>957.1424</c:v>
                </c:pt>
                <c:pt idx="7">
                  <c:v>985.8319</c:v>
                </c:pt>
                <c:pt idx="8">
                  <c:v>978.2738</c:v>
                </c:pt>
                <c:pt idx="9">
                  <c:v>959.4434</c:v>
                </c:pt>
                <c:pt idx="10">
                  <c:v>965.2686</c:v>
                </c:pt>
                <c:pt idx="11">
                  <c:v>1006.9393</c:v>
                </c:pt>
                <c:pt idx="12">
                  <c:v>1000.8148</c:v>
                </c:pt>
                <c:pt idx="13">
                  <c:v>976.9358</c:v>
                </c:pt>
                <c:pt idx="14">
                  <c:v>980.854</c:v>
                </c:pt>
                <c:pt idx="15">
                  <c:v>985.9047</c:v>
                </c:pt>
                <c:pt idx="16">
                  <c:v>984.2631</c:v>
                </c:pt>
                <c:pt idx="17">
                  <c:v>1001.7215</c:v>
                </c:pt>
                <c:pt idx="18">
                  <c:v>1049.9328</c:v>
                </c:pt>
                <c:pt idx="19">
                  <c:v>1077.2363</c:v>
                </c:pt>
                <c:pt idx="20">
                  <c:v>1069.1202</c:v>
                </c:pt>
                <c:pt idx="21">
                  <c:v>1087.7011</c:v>
                </c:pt>
                <c:pt idx="22">
                  <c:v>1078.6974</c:v>
                </c:pt>
                <c:pt idx="23">
                  <c:v>1060.809</c:v>
                </c:pt>
                <c:pt idx="24">
                  <c:v>1044.8785</c:v>
                </c:pt>
                <c:pt idx="25">
                  <c:v>1028.8129</c:v>
                </c:pt>
                <c:pt idx="26">
                  <c:v>1037.0373</c:v>
                </c:pt>
                <c:pt idx="27">
                  <c:v>1054.5763</c:v>
                </c:pt>
                <c:pt idx="28">
                  <c:v>1047.4182</c:v>
                </c:pt>
                <c:pt idx="29">
                  <c:v>926.3756</c:v>
                </c:pt>
                <c:pt idx="30">
                  <c:v>974.5821</c:v>
                </c:pt>
                <c:pt idx="31">
                  <c:v>995.3827</c:v>
                </c:pt>
                <c:pt idx="32">
                  <c:v>968.4678</c:v>
                </c:pt>
                <c:pt idx="33">
                  <c:v>901.2957</c:v>
                </c:pt>
                <c:pt idx="34">
                  <c:v>996.5638</c:v>
                </c:pt>
                <c:pt idx="35">
                  <c:v>1054.9047</c:v>
                </c:pt>
                <c:pt idx="36">
                  <c:v>1135.8883</c:v>
                </c:pt>
                <c:pt idx="37">
                  <c:v>1128.944</c:v>
                </c:pt>
                <c:pt idx="38">
                  <c:v>1188.4339</c:v>
                </c:pt>
                <c:pt idx="39">
                  <c:v>1192.8818</c:v>
                </c:pt>
                <c:pt idx="40">
                  <c:v>1217.2229</c:v>
                </c:pt>
                <c:pt idx="41">
                  <c:v>1247.0286</c:v>
                </c:pt>
                <c:pt idx="42">
                  <c:v>1293.066</c:v>
                </c:pt>
                <c:pt idx="43">
                  <c:v>1290.97</c:v>
                </c:pt>
                <c:pt idx="44">
                  <c:v>1124.4896</c:v>
                </c:pt>
                <c:pt idx="45">
                  <c:v>1061.8205</c:v>
                </c:pt>
                <c:pt idx="46">
                  <c:v>1056.6621</c:v>
                </c:pt>
                <c:pt idx="47">
                  <c:v>1037.049</c:v>
                </c:pt>
                <c:pt idx="48">
                  <c:v>1041.8563</c:v>
                </c:pt>
                <c:pt idx="49">
                  <c:v>1018.3046</c:v>
                </c:pt>
                <c:pt idx="50">
                  <c:v>1019.4483</c:v>
                </c:pt>
                <c:pt idx="51">
                  <c:v>1046.828</c:v>
                </c:pt>
                <c:pt idx="52">
                  <c:v>1057.0442</c:v>
                </c:pt>
                <c:pt idx="53">
                  <c:v>1110.2264</c:v>
                </c:pt>
                <c:pt idx="54">
                  <c:v>1118.9881</c:v>
                </c:pt>
                <c:pt idx="55">
                  <c:v>1130.1327</c:v>
                </c:pt>
                <c:pt idx="56">
                  <c:v>1154.9161</c:v>
                </c:pt>
                <c:pt idx="57">
                  <c:v>1130.0834</c:v>
                </c:pt>
                <c:pt idx="58">
                  <c:v>1105.4809</c:v>
                </c:pt>
                <c:pt idx="59">
                  <c:v>1088.2499</c:v>
                </c:pt>
                <c:pt idx="60">
                  <c:v>1116.5863</c:v>
                </c:pt>
                <c:pt idx="61">
                  <c:v>1120.4926</c:v>
                </c:pt>
                <c:pt idx="62">
                  <c:v>1098.214</c:v>
                </c:pt>
                <c:pt idx="63">
                  <c:v>1126.664</c:v>
                </c:pt>
                <c:pt idx="64">
                  <c:v>1124.0548</c:v>
                </c:pt>
                <c:pt idx="65">
                  <c:v>1105.6271</c:v>
                </c:pt>
                <c:pt idx="66">
                  <c:v>1061.3012</c:v>
                </c:pt>
                <c:pt idx="67">
                  <c:v>1041.0044</c:v>
                </c:pt>
                <c:pt idx="68">
                  <c:v>1024.6492</c:v>
                </c:pt>
                <c:pt idx="69">
                  <c:v>1029.9953</c:v>
                </c:pt>
                <c:pt idx="70">
                  <c:v>987.9688</c:v>
                </c:pt>
                <c:pt idx="71">
                  <c:v>1050.9577</c:v>
                </c:pt>
                <c:pt idx="72">
                  <c:v>1105.9557</c:v>
                </c:pt>
                <c:pt idx="73">
                  <c:v>1099.2895</c:v>
                </c:pt>
                <c:pt idx="74">
                  <c:v>1056.1189</c:v>
                </c:pt>
                <c:pt idx="75">
                  <c:v>1057.0004</c:v>
                </c:pt>
                <c:pt idx="76">
                  <c:v>1083.6252</c:v>
                </c:pt>
                <c:pt idx="77">
                  <c:v>1050.5064</c:v>
                </c:pt>
                <c:pt idx="78">
                  <c:v>1121.2765</c:v>
                </c:pt>
                <c:pt idx="79">
                  <c:v>714.1003</c:v>
                </c:pt>
                <c:pt idx="80">
                  <c:v>722.846</c:v>
                </c:pt>
                <c:pt idx="81">
                  <c:v>938.4069</c:v>
                </c:pt>
                <c:pt idx="82">
                  <c:v>934.2117</c:v>
                </c:pt>
                <c:pt idx="83">
                  <c:v>957.2894</c:v>
                </c:pt>
                <c:pt idx="84">
                  <c:v>964.7598</c:v>
                </c:pt>
                <c:pt idx="85">
                  <c:v>1018.9553</c:v>
                </c:pt>
                <c:pt idx="86">
                  <c:v>1138.5348</c:v>
                </c:pt>
                <c:pt idx="87">
                  <c:v>1167.8801</c:v>
                </c:pt>
                <c:pt idx="88">
                  <c:v>1163.3663</c:v>
                </c:pt>
                <c:pt idx="89">
                  <c:v>1114.0517</c:v>
                </c:pt>
                <c:pt idx="90">
                  <c:v>1178.6274</c:v>
                </c:pt>
                <c:pt idx="91">
                  <c:v>1197.2966</c:v>
                </c:pt>
                <c:pt idx="92">
                  <c:v>1188.3679</c:v>
                </c:pt>
                <c:pt idx="93">
                  <c:v>1243.3718</c:v>
                </c:pt>
                <c:pt idx="94">
                  <c:v>1240.5446</c:v>
                </c:pt>
                <c:pt idx="95">
                  <c:v>1234.8934</c:v>
                </c:pt>
                <c:pt idx="96">
                  <c:v>1168.2406</c:v>
                </c:pt>
                <c:pt idx="97">
                  <c:v>1186.7969</c:v>
                </c:pt>
                <c:pt idx="98">
                  <c:v>1179.0172</c:v>
                </c:pt>
                <c:pt idx="99">
                  <c:v>1136.6995</c:v>
                </c:pt>
                <c:pt idx="100">
                  <c:v>1145.7225</c:v>
                </c:pt>
                <c:pt idx="101">
                  <c:v>1159.2316</c:v>
                </c:pt>
                <c:pt idx="102">
                  <c:v>1191.635</c:v>
                </c:pt>
                <c:pt idx="103">
                  <c:v>1050.2657</c:v>
                </c:pt>
                <c:pt idx="104">
                  <c:v>1139.7728</c:v>
                </c:pt>
              </c:numCache>
            </c:numRef>
          </c:xVal>
          <c:yVal>
            <c:numRef>
              <c:f>Sheet1!$B$2:$B$106</c:f>
              <c:numCache>
                <c:formatCode>General</c:formatCode>
                <c:ptCount val="105"/>
                <c:pt idx="0">
                  <c:v>0.21030715158924204</c:v>
                </c:pt>
                <c:pt idx="1">
                  <c:v>0.21298701298701297</c:v>
                </c:pt>
                <c:pt idx="2">
                  <c:v>0.19188149288187764</c:v>
                </c:pt>
                <c:pt idx="3">
                  <c:v>0.19090721223393264</c:v>
                </c:pt>
                <c:pt idx="4">
                  <c:v>0.19040369315391414</c:v>
                </c:pt>
                <c:pt idx="5">
                  <c:v>0.18118797067477932</c:v>
                </c:pt>
                <c:pt idx="6">
                  <c:v>0.20359223768478837</c:v>
                </c:pt>
                <c:pt idx="7">
                  <c:v>0.20028392958546282</c:v>
                </c:pt>
                <c:pt idx="8">
                  <c:v>0.21053270971268906</c:v>
                </c:pt>
                <c:pt idx="9">
                  <c:v>0.21039721134397726</c:v>
                </c:pt>
                <c:pt idx="10">
                  <c:v>0.22042008977725078</c:v>
                </c:pt>
                <c:pt idx="11">
                  <c:v>0.21358106613581065</c:v>
                </c:pt>
                <c:pt idx="12">
                  <c:v>0.21567654719087187</c:v>
                </c:pt>
                <c:pt idx="13">
                  <c:v>0.22556548743128121</c:v>
                </c:pt>
                <c:pt idx="14">
                  <c:v>0.21514723007818998</c:v>
                </c:pt>
                <c:pt idx="15">
                  <c:v>0.21337422099119596</c:v>
                </c:pt>
                <c:pt idx="16">
                  <c:v>0.2021367278513383</c:v>
                </c:pt>
                <c:pt idx="17">
                  <c:v>0.1916417538614848</c:v>
                </c:pt>
                <c:pt idx="18">
                  <c:v>0.17514358867898416</c:v>
                </c:pt>
                <c:pt idx="19">
                  <c:v>0.16184781718404456</c:v>
                </c:pt>
                <c:pt idx="20">
                  <c:v>0.174278038952317</c:v>
                </c:pt>
                <c:pt idx="21">
                  <c:v>0.17816586373021334</c:v>
                </c:pt>
                <c:pt idx="22">
                  <c:v>0.17713299358868978</c:v>
                </c:pt>
                <c:pt idx="23">
                  <c:v>0.18507202095154954</c:v>
                </c:pt>
                <c:pt idx="24">
                  <c:v>0.18752479961907786</c:v>
                </c:pt>
                <c:pt idx="25">
                  <c:v>0.18773318773318773</c:v>
                </c:pt>
                <c:pt idx="26">
                  <c:v>0.192</c:v>
                </c:pt>
                <c:pt idx="27">
                  <c:v>0.17932890155112377</c:v>
                </c:pt>
                <c:pt idx="28">
                  <c:v>0.17864642222581167</c:v>
                </c:pt>
                <c:pt idx="29">
                  <c:v>0.20309249757315212</c:v>
                </c:pt>
                <c:pt idx="30">
                  <c:v>0.18293125340105207</c:v>
                </c:pt>
                <c:pt idx="31">
                  <c:v>0.17864829961256995</c:v>
                </c:pt>
                <c:pt idx="32">
                  <c:v>0.1871335232032166</c:v>
                </c:pt>
                <c:pt idx="33">
                  <c:v>0.20930232558139536</c:v>
                </c:pt>
                <c:pt idx="34">
                  <c:v>0.1992973309911033</c:v>
                </c:pt>
                <c:pt idx="35">
                  <c:v>0.1956752736159813</c:v>
                </c:pt>
                <c:pt idx="36">
                  <c:v>0.15181646844739066</c:v>
                </c:pt>
                <c:pt idx="37">
                  <c:v>0.14250182882223847</c:v>
                </c:pt>
                <c:pt idx="38">
                  <c:v>0.13718112724809994</c:v>
                </c:pt>
                <c:pt idx="39">
                  <c:v>0.13833099797602366</c:v>
                </c:pt>
                <c:pt idx="40">
                  <c:v>0.13867644270273688</c:v>
                </c:pt>
                <c:pt idx="41">
                  <c:v>0.1270996640537514</c:v>
                </c:pt>
                <c:pt idx="42">
                  <c:v>0.13326508490906902</c:v>
                </c:pt>
                <c:pt idx="43">
                  <c:v>0.13675121424716677</c:v>
                </c:pt>
                <c:pt idx="44">
                  <c:v>0.16124158769399807</c:v>
                </c:pt>
                <c:pt idx="45">
                  <c:v>0.1861608385121974</c:v>
                </c:pt>
                <c:pt idx="46">
                  <c:v>0.1937179063691781</c:v>
                </c:pt>
                <c:pt idx="47">
                  <c:v>0.19532088430993774</c:v>
                </c:pt>
                <c:pt idx="48">
                  <c:v>0.21233782239451454</c:v>
                </c:pt>
                <c:pt idx="49">
                  <c:v>0.24603675866860356</c:v>
                </c:pt>
                <c:pt idx="50">
                  <c:v>0.20786180373861235</c:v>
                </c:pt>
                <c:pt idx="51">
                  <c:v>0.18664801119328403</c:v>
                </c:pt>
                <c:pt idx="52">
                  <c:v>0.19997993176801124</c:v>
                </c:pt>
                <c:pt idx="53">
                  <c:v>0.1882059256834179</c:v>
                </c:pt>
                <c:pt idx="54">
                  <c:v>0.1853673948366131</c:v>
                </c:pt>
                <c:pt idx="55">
                  <c:v>0.17528152113716078</c:v>
                </c:pt>
                <c:pt idx="56">
                  <c:v>0.1852655955999421</c:v>
                </c:pt>
                <c:pt idx="57">
                  <c:v>0.18023843200646594</c:v>
                </c:pt>
                <c:pt idx="58">
                  <c:v>0.19915412830301668</c:v>
                </c:pt>
                <c:pt idx="59">
                  <c:v>0.2092832698703427</c:v>
                </c:pt>
                <c:pt idx="60">
                  <c:v>0.22389277072401512</c:v>
                </c:pt>
                <c:pt idx="61">
                  <c:v>0.222672371360418</c:v>
                </c:pt>
                <c:pt idx="62">
                  <c:v>0.22107099622587767</c:v>
                </c:pt>
                <c:pt idx="63">
                  <c:v>0.23888208218815193</c:v>
                </c:pt>
                <c:pt idx="64">
                  <c:v>0.22448180186061695</c:v>
                </c:pt>
                <c:pt idx="65">
                  <c:v>0.2092982083421854</c:v>
                </c:pt>
                <c:pt idx="66">
                  <c:v>0.21225035212539275</c:v>
                </c:pt>
                <c:pt idx="67">
                  <c:v>0.20886051756431329</c:v>
                </c:pt>
                <c:pt idx="68">
                  <c:v>0.18994516381733562</c:v>
                </c:pt>
                <c:pt idx="69">
                  <c:v>0.17577310373592325</c:v>
                </c:pt>
                <c:pt idx="70">
                  <c:v>0.16404162165235686</c:v>
                </c:pt>
                <c:pt idx="71">
                  <c:v>0.17445482866043613</c:v>
                </c:pt>
                <c:pt idx="72">
                  <c:v>0.17299754740683138</c:v>
                </c:pt>
                <c:pt idx="73">
                  <c:v>0.17705832738597288</c:v>
                </c:pt>
                <c:pt idx="74">
                  <c:v>0.17853922452660054</c:v>
                </c:pt>
                <c:pt idx="75">
                  <c:v>0.18282139593730232</c:v>
                </c:pt>
                <c:pt idx="76">
                  <c:v>0.1749961907664178</c:v>
                </c:pt>
                <c:pt idx="77">
                  <c:v>0.17296614850469502</c:v>
                </c:pt>
                <c:pt idx="78">
                  <c:v>0.15853018372703412</c:v>
                </c:pt>
                <c:pt idx="79">
                  <c:v>0.2261861775113743</c:v>
                </c:pt>
                <c:pt idx="80">
                  <c:v>0.2101878612716763</c:v>
                </c:pt>
                <c:pt idx="81">
                  <c:v>0.1694088207694714</c:v>
                </c:pt>
                <c:pt idx="82">
                  <c:v>0.16926466987676486</c:v>
                </c:pt>
                <c:pt idx="83">
                  <c:v>0.14987487255538048</c:v>
                </c:pt>
                <c:pt idx="84">
                  <c:v>0.1537157389092964</c:v>
                </c:pt>
                <c:pt idx="85">
                  <c:v>0.15863306418726042</c:v>
                </c:pt>
                <c:pt idx="86">
                  <c:v>0.1524004465947153</c:v>
                </c:pt>
                <c:pt idx="87">
                  <c:v>0.1689402513850003</c:v>
                </c:pt>
                <c:pt idx="88">
                  <c:v>0.14848762603116408</c:v>
                </c:pt>
                <c:pt idx="89">
                  <c:v>0.14441462596444146</c:v>
                </c:pt>
                <c:pt idx="90">
                  <c:v>0.14172686618507052</c:v>
                </c:pt>
                <c:pt idx="91">
                  <c:v>0.13393232009404651</c:v>
                </c:pt>
                <c:pt idx="92">
                  <c:v>0.14259086672879775</c:v>
                </c:pt>
                <c:pt idx="93">
                  <c:v>0.13648551435484926</c:v>
                </c:pt>
                <c:pt idx="94">
                  <c:v>0.14039841804599384</c:v>
                </c:pt>
                <c:pt idx="95">
                  <c:v>0.14438761776581427</c:v>
                </c:pt>
                <c:pt idx="96">
                  <c:v>0.1441160471441523</c:v>
                </c:pt>
                <c:pt idx="97">
                  <c:v>0.1554780494048381</c:v>
                </c:pt>
                <c:pt idx="98">
                  <c:v>0.17081260364842454</c:v>
                </c:pt>
                <c:pt idx="99">
                  <c:v>0.17867754563033533</c:v>
                </c:pt>
                <c:pt idx="100">
                  <c:v>0.19638028243694658</c:v>
                </c:pt>
                <c:pt idx="101">
                  <c:v>0.18430480700333343</c:v>
                </c:pt>
                <c:pt idx="102">
                  <c:v>0.15521151330135194</c:v>
                </c:pt>
                <c:pt idx="103">
                  <c:v>0.17430878208545966</c:v>
                </c:pt>
                <c:pt idx="104">
                  <c:v>0.1768059102517329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3.5443</c:v>
                </c:pt>
                <c:pt idx="1">
                  <c:v>1203.9909</c:v>
                </c:pt>
                <c:pt idx="2">
                  <c:v>1194.431</c:v>
                </c:pt>
                <c:pt idx="3">
                  <c:v>1217.352</c:v>
                </c:pt>
                <c:pt idx="4">
                  <c:v>1218.6698</c:v>
                </c:pt>
                <c:pt idx="5">
                  <c:v>1229.1479</c:v>
                </c:pt>
                <c:pt idx="6">
                  <c:v>1151.1471</c:v>
                </c:pt>
                <c:pt idx="7">
                  <c:v>1218.1775</c:v>
                </c:pt>
                <c:pt idx="8">
                  <c:v>1298.0923</c:v>
                </c:pt>
                <c:pt idx="9">
                  <c:v>1257.3744</c:v>
                </c:pt>
                <c:pt idx="10">
                  <c:v>1277.419</c:v>
                </c:pt>
                <c:pt idx="11">
                  <c:v>1115.6805</c:v>
                </c:pt>
                <c:pt idx="12">
                  <c:v>1146.3695</c:v>
                </c:pt>
                <c:pt idx="13">
                  <c:v>1216.1589</c:v>
                </c:pt>
                <c:pt idx="14">
                  <c:v>1212.7256</c:v>
                </c:pt>
                <c:pt idx="15">
                  <c:v>1249.6674</c:v>
                </c:pt>
                <c:pt idx="16">
                  <c:v>1296.1085</c:v>
                </c:pt>
                <c:pt idx="17">
                  <c:v>1271.2146</c:v>
                </c:pt>
                <c:pt idx="18">
                  <c:v>1272.5274</c:v>
                </c:pt>
                <c:pt idx="19">
                  <c:v>1393.8804</c:v>
                </c:pt>
                <c:pt idx="20">
                  <c:v>1393.7923</c:v>
                </c:pt>
                <c:pt idx="21">
                  <c:v>1292.2381</c:v>
                </c:pt>
                <c:pt idx="22">
                  <c:v>1231.3908</c:v>
                </c:pt>
                <c:pt idx="23">
                  <c:v>1232.6505</c:v>
                </c:pt>
                <c:pt idx="24">
                  <c:v>1241.0665</c:v>
                </c:pt>
                <c:pt idx="25">
                  <c:v>1182.1652</c:v>
                </c:pt>
                <c:pt idx="26">
                  <c:v>1265.8912</c:v>
                </c:pt>
                <c:pt idx="27">
                  <c:v>1287.9966</c:v>
                </c:pt>
                <c:pt idx="28">
                  <c:v>1260.9278</c:v>
                </c:pt>
                <c:pt idx="29">
                  <c:v>1273.3701</c:v>
                </c:pt>
                <c:pt idx="30">
                  <c:v>1221.8732</c:v>
                </c:pt>
                <c:pt idx="31">
                  <c:v>1132.3712</c:v>
                </c:pt>
                <c:pt idx="32">
                  <c:v>1175.0773</c:v>
                </c:pt>
                <c:pt idx="33">
                  <c:v>1233.1812</c:v>
                </c:pt>
                <c:pt idx="34">
                  <c:v>1263.9103</c:v>
                </c:pt>
                <c:pt idx="35">
                  <c:v>1238.682</c:v>
                </c:pt>
                <c:pt idx="36">
                  <c:v>1266.0355</c:v>
                </c:pt>
                <c:pt idx="37">
                  <c:v>1351.7819</c:v>
                </c:pt>
                <c:pt idx="38">
                  <c:v>1324.7908</c:v>
                </c:pt>
                <c:pt idx="39">
                  <c:v>1262.9064</c:v>
                </c:pt>
                <c:pt idx="40">
                  <c:v>1297.6297</c:v>
                </c:pt>
                <c:pt idx="41">
                  <c:v>1366.0716</c:v>
                </c:pt>
                <c:pt idx="42">
                  <c:v>1353.0813</c:v>
                </c:pt>
                <c:pt idx="43">
                  <c:v>1349.4455</c:v>
                </c:pt>
                <c:pt idx="44">
                  <c:v>1296.7427</c:v>
                </c:pt>
                <c:pt idx="45">
                  <c:v>1244.5216</c:v>
                </c:pt>
                <c:pt idx="46">
                  <c:v>1245.601</c:v>
                </c:pt>
                <c:pt idx="47">
                  <c:v>1215.6912</c:v>
                </c:pt>
                <c:pt idx="48">
                  <c:v>1202.7142</c:v>
                </c:pt>
                <c:pt idx="49">
                  <c:v>1227.4168</c:v>
                </c:pt>
                <c:pt idx="50">
                  <c:v>1100.1335</c:v>
                </c:pt>
                <c:pt idx="51">
                  <c:v>1067.6802</c:v>
                </c:pt>
              </c:numCache>
            </c:numRef>
          </c:xVal>
          <c:yVal>
            <c:numRef>
              <c:f>Sheet1!$B$109:$B$160</c:f>
              <c:numCache>
                <c:formatCode>General</c:formatCode>
                <c:ptCount val="52"/>
                <c:pt idx="0">
                  <c:v>0.1695790790588805</c:v>
                </c:pt>
                <c:pt idx="1">
                  <c:v>0.17791174961518727</c:v>
                </c:pt>
                <c:pt idx="2">
                  <c:v>0.1852353538774128</c:v>
                </c:pt>
                <c:pt idx="3">
                  <c:v>0.1991701244813278</c:v>
                </c:pt>
                <c:pt idx="4">
                  <c:v>0.1874479971472721</c:v>
                </c:pt>
                <c:pt idx="5">
                  <c:v>0.18587300300056767</c:v>
                </c:pt>
                <c:pt idx="6">
                  <c:v>0.18391370041111774</c:v>
                </c:pt>
                <c:pt idx="7">
                  <c:v>0.17661247527618312</c:v>
                </c:pt>
                <c:pt idx="8">
                  <c:v>0.17646420235575097</c:v>
                </c:pt>
                <c:pt idx="9">
                  <c:v>0.18555672006787444</c:v>
                </c:pt>
                <c:pt idx="10">
                  <c:v>0.1925045080169599</c:v>
                </c:pt>
                <c:pt idx="11">
                  <c:v>0.2061260270205232</c:v>
                </c:pt>
                <c:pt idx="12">
                  <c:v>0.20658426141231184</c:v>
                </c:pt>
                <c:pt idx="13">
                  <c:v>0.19522052363380776</c:v>
                </c:pt>
                <c:pt idx="14">
                  <c:v>0.19821548498512903</c:v>
                </c:pt>
                <c:pt idx="15">
                  <c:v>0.18580538130540722</c:v>
                </c:pt>
                <c:pt idx="16">
                  <c:v>0.16675835931291644</c:v>
                </c:pt>
                <c:pt idx="17">
                  <c:v>0.1526210587400864</c:v>
                </c:pt>
                <c:pt idx="18">
                  <c:v>0.14812035716965558</c:v>
                </c:pt>
                <c:pt idx="19">
                  <c:v>0.15454277720512444</c:v>
                </c:pt>
                <c:pt idx="20">
                  <c:v>0.14374286180453583</c:v>
                </c:pt>
                <c:pt idx="21">
                  <c:v>0.1542785153600155</c:v>
                </c:pt>
                <c:pt idx="22">
                  <c:v>0.16029230331213817</c:v>
                </c:pt>
                <c:pt idx="23">
                  <c:v>0.1641924877951579</c:v>
                </c:pt>
                <c:pt idx="24">
                  <c:v>0.15807748538011696</c:v>
                </c:pt>
                <c:pt idx="25">
                  <c:v>0.1643002028397566</c:v>
                </c:pt>
                <c:pt idx="26">
                  <c:v>0.14259111465815377</c:v>
                </c:pt>
                <c:pt idx="27">
                  <c:v>0.14253629582096736</c:v>
                </c:pt>
                <c:pt idx="28">
                  <c:v>0.1532013296719179</c:v>
                </c:pt>
                <c:pt idx="29">
                  <c:v>0.1561052355563325</c:v>
                </c:pt>
                <c:pt idx="30">
                  <c:v>0.1652134831460674</c:v>
                </c:pt>
                <c:pt idx="31">
                  <c:v>0.16674638859657515</c:v>
                </c:pt>
                <c:pt idx="32">
                  <c:v>0.16969546095759688</c:v>
                </c:pt>
                <c:pt idx="33">
                  <c:v>0.18638573743922204</c:v>
                </c:pt>
                <c:pt idx="34">
                  <c:v>0.20878356691986732</c:v>
                </c:pt>
                <c:pt idx="35">
                  <c:v>0.20040160642570282</c:v>
                </c:pt>
                <c:pt idx="36">
                  <c:v>0.16900073707486574</c:v>
                </c:pt>
                <c:pt idx="37">
                  <c:v>0.14900124247347796</c:v>
                </c:pt>
                <c:pt idx="38">
                  <c:v>0.1543937944958028</c:v>
                </c:pt>
                <c:pt idx="39">
                  <c:v>0.17405877309221296</c:v>
                </c:pt>
                <c:pt idx="40">
                  <c:v>0.15430244781498723</c:v>
                </c:pt>
                <c:pt idx="41">
                  <c:v>0.15501779359430606</c:v>
                </c:pt>
                <c:pt idx="42">
                  <c:v>0.15447549615228837</c:v>
                </c:pt>
                <c:pt idx="43">
                  <c:v>0.1453913248467704</c:v>
                </c:pt>
                <c:pt idx="44">
                  <c:v>0.13828449859781453</c:v>
                </c:pt>
                <c:pt idx="45">
                  <c:v>0.1537342041743575</c:v>
                </c:pt>
                <c:pt idx="46">
                  <c:v>0.1493275233586123</c:v>
                </c:pt>
                <c:pt idx="47">
                  <c:v>0.15100058286380416</c:v>
                </c:pt>
                <c:pt idx="48">
                  <c:v>0.14215291426362084</c:v>
                </c:pt>
                <c:pt idx="49">
                  <c:v>0.1594824980351853</c:v>
                </c:pt>
                <c:pt idx="50">
                  <c:v>0.1933509556730378</c:v>
                </c:pt>
                <c:pt idx="51">
                  <c:v>0.1802605026600623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43.3986731415837</c:v>
                </c:pt>
              </c:numCache>
            </c:numRef>
          </c:xVal>
          <c:yVal>
            <c:numRef>
              <c:f>Sheet1!$B$163:$B$164</c:f>
              <c:numCache>
                <c:formatCode>General</c:formatCode>
                <c:ptCount val="2"/>
                <c:pt idx="0">
                  <c:v>0.1999656435326154</c:v>
                </c:pt>
                <c:pt idx="1">
                  <c:v>0.199965643532615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43.3986731415837</c:v>
                </c:pt>
                <c:pt idx="1">
                  <c:v>1043.3986731415837</c:v>
                </c:pt>
              </c:numCache>
            </c:numRef>
          </c:xVal>
          <c:yVal>
            <c:numRef>
              <c:f>Sheet1!$B$167:$B$168</c:f>
              <c:numCache>
                <c:formatCode>General</c:formatCode>
                <c:ptCount val="2"/>
                <c:pt idx="0">
                  <c:v>0.199965643532615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57.8854626100606</c:v>
                </c:pt>
              </c:numCache>
            </c:numRef>
          </c:xVal>
          <c:yVal>
            <c:numRef>
              <c:f>Sheet1!$B$171:$B$172</c:f>
              <c:numCache>
                <c:formatCode>General</c:formatCode>
                <c:ptCount val="2"/>
                <c:pt idx="0">
                  <c:v>0.1824675205804111</c:v>
                </c:pt>
                <c:pt idx="1">
                  <c:v>0.182467520580411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57.8854626100606</c:v>
                </c:pt>
                <c:pt idx="1">
                  <c:v>1157.8854626100606</c:v>
                </c:pt>
              </c:numCache>
            </c:numRef>
          </c:xVal>
          <c:yVal>
            <c:numRef>
              <c:f>Sheet1!$B$175:$B$176</c:f>
              <c:numCache>
                <c:formatCode>General</c:formatCode>
                <c:ptCount val="2"/>
                <c:pt idx="0">
                  <c:v>0.182467520580411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19.562303712875</c:v>
                </c:pt>
              </c:numCache>
            </c:numRef>
          </c:xVal>
          <c:yVal>
            <c:numRef>
              <c:f>Sheet1!$B$179:$B$180</c:f>
              <c:numCache>
                <c:formatCode>General</c:formatCode>
                <c:ptCount val="2"/>
                <c:pt idx="0">
                  <c:v>0.15775688577900457</c:v>
                </c:pt>
                <c:pt idx="1">
                  <c:v>0.1577568857790045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19.562303712875</c:v>
                </c:pt>
                <c:pt idx="1">
                  <c:v>1319.562303712875</c:v>
                </c:pt>
              </c:numCache>
            </c:numRef>
          </c:xVal>
          <c:yVal>
            <c:numRef>
              <c:f>Sheet1!$B$183:$B$184</c:f>
              <c:numCache>
                <c:formatCode>General</c:formatCode>
                <c:ptCount val="2"/>
                <c:pt idx="0">
                  <c:v>0.1577568857790045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3.5443</c:v>
                </c:pt>
                <c:pt idx="1">
                  <c:v>1203.9909</c:v>
                </c:pt>
                <c:pt idx="2">
                  <c:v>1194.431</c:v>
                </c:pt>
                <c:pt idx="3">
                  <c:v>1217.352</c:v>
                </c:pt>
                <c:pt idx="4">
                  <c:v>1218.6698</c:v>
                </c:pt>
                <c:pt idx="5">
                  <c:v>1229.1479</c:v>
                </c:pt>
                <c:pt idx="6">
                  <c:v>1151.1471</c:v>
                </c:pt>
                <c:pt idx="7">
                  <c:v>1218.1775</c:v>
                </c:pt>
                <c:pt idx="8">
                  <c:v>1298.0923</c:v>
                </c:pt>
                <c:pt idx="9">
                  <c:v>1257.3744</c:v>
                </c:pt>
                <c:pt idx="10">
                  <c:v>1277.419</c:v>
                </c:pt>
                <c:pt idx="11">
                  <c:v>1115.6805</c:v>
                </c:pt>
                <c:pt idx="12">
                  <c:v>1146.3695</c:v>
                </c:pt>
                <c:pt idx="13">
                  <c:v>1216.1589</c:v>
                </c:pt>
                <c:pt idx="14">
                  <c:v>1212.7256</c:v>
                </c:pt>
                <c:pt idx="15">
                  <c:v>1249.6674</c:v>
                </c:pt>
                <c:pt idx="16">
                  <c:v>1296.1085</c:v>
                </c:pt>
                <c:pt idx="17">
                  <c:v>1271.2146</c:v>
                </c:pt>
                <c:pt idx="18">
                  <c:v>1272.5274</c:v>
                </c:pt>
                <c:pt idx="19">
                  <c:v>1393.8804</c:v>
                </c:pt>
                <c:pt idx="20">
                  <c:v>1393.7923</c:v>
                </c:pt>
                <c:pt idx="21">
                  <c:v>1292.2381</c:v>
                </c:pt>
                <c:pt idx="22">
                  <c:v>1231.3908</c:v>
                </c:pt>
                <c:pt idx="23">
                  <c:v>1232.6505</c:v>
                </c:pt>
                <c:pt idx="24">
                  <c:v>1241.0665</c:v>
                </c:pt>
                <c:pt idx="25">
                  <c:v>1182.1652</c:v>
                </c:pt>
                <c:pt idx="26">
                  <c:v>1265.8912</c:v>
                </c:pt>
                <c:pt idx="27">
                  <c:v>1287.9966</c:v>
                </c:pt>
                <c:pt idx="28">
                  <c:v>1260.9278</c:v>
                </c:pt>
                <c:pt idx="29">
                  <c:v>1273.3701</c:v>
                </c:pt>
                <c:pt idx="30">
                  <c:v>1221.8732</c:v>
                </c:pt>
                <c:pt idx="31">
                  <c:v>1132.3712</c:v>
                </c:pt>
                <c:pt idx="32">
                  <c:v>1175.0773</c:v>
                </c:pt>
                <c:pt idx="33">
                  <c:v>1233.1812</c:v>
                </c:pt>
                <c:pt idx="34">
                  <c:v>1263.9103</c:v>
                </c:pt>
                <c:pt idx="35">
                  <c:v>1238.682</c:v>
                </c:pt>
                <c:pt idx="36">
                  <c:v>1266.0355</c:v>
                </c:pt>
                <c:pt idx="37">
                  <c:v>1351.7819</c:v>
                </c:pt>
                <c:pt idx="38">
                  <c:v>1324.7908</c:v>
                </c:pt>
                <c:pt idx="39">
                  <c:v>1262.9064</c:v>
                </c:pt>
                <c:pt idx="40">
                  <c:v>1297.6297</c:v>
                </c:pt>
                <c:pt idx="41">
                  <c:v>1366.0716</c:v>
                </c:pt>
                <c:pt idx="42">
                  <c:v>1353.0813</c:v>
                </c:pt>
                <c:pt idx="43">
                  <c:v>1349.4455</c:v>
                </c:pt>
                <c:pt idx="44">
                  <c:v>1296.7427</c:v>
                </c:pt>
                <c:pt idx="45">
                  <c:v>1244.5216</c:v>
                </c:pt>
                <c:pt idx="46">
                  <c:v>1245.601</c:v>
                </c:pt>
                <c:pt idx="47">
                  <c:v>1215.6912</c:v>
                </c:pt>
                <c:pt idx="48">
                  <c:v>1202.7142</c:v>
                </c:pt>
                <c:pt idx="49">
                  <c:v>1227.4168</c:v>
                </c:pt>
                <c:pt idx="50">
                  <c:v>1100.1335</c:v>
                </c:pt>
                <c:pt idx="51">
                  <c:v>1067.6802</c:v>
                </c:pt>
                <c:pt idx="52">
                  <c:v>1157.8854626100606</c:v>
                </c:pt>
                <c:pt idx="53">
                  <c:v>1043.3986731415837</c:v>
                </c:pt>
                <c:pt idx="54">
                  <c:v>1319.562303712875</c:v>
                </c:pt>
              </c:numCache>
            </c:numRef>
          </c:xVal>
          <c:yVal>
            <c:numRef>
              <c:f>Sheet1!$B$187:$B$241</c:f>
              <c:numCache>
                <c:formatCode>General</c:formatCode>
                <c:ptCount val="55"/>
                <c:pt idx="0">
                  <c:v>0.17396064232356148</c:v>
                </c:pt>
                <c:pt idx="1">
                  <c:v>0.17542078081279405</c:v>
                </c:pt>
                <c:pt idx="2">
                  <c:v>0.17688191275987197</c:v>
                </c:pt>
                <c:pt idx="3">
                  <c:v>0.1733786747177404</c:v>
                </c:pt>
                <c:pt idx="4">
                  <c:v>0.17317726260256566</c:v>
                </c:pt>
                <c:pt idx="5">
                  <c:v>0.17157579327185327</c:v>
                </c:pt>
                <c:pt idx="6">
                  <c:v>0.1834974096880958</c:v>
                </c:pt>
                <c:pt idx="7">
                  <c:v>0.17325250557137772</c:v>
                </c:pt>
                <c:pt idx="8">
                  <c:v>0.1610383540295892</c:v>
                </c:pt>
                <c:pt idx="9">
                  <c:v>0.1672616643683924</c:v>
                </c:pt>
                <c:pt idx="10">
                  <c:v>0.16419805434878984</c:v>
                </c:pt>
                <c:pt idx="11">
                  <c:v>0.18891811307560347</c:v>
                </c:pt>
                <c:pt idx="12">
                  <c:v>0.18422761648841374</c:v>
                </c:pt>
                <c:pt idx="13">
                  <c:v>0.17356102772625084</c:v>
                </c:pt>
                <c:pt idx="14">
                  <c:v>0.17408577216017826</c:v>
                </c:pt>
                <c:pt idx="15">
                  <c:v>0.16843959969367087</c:v>
                </c:pt>
                <c:pt idx="16">
                  <c:v>0.16134155736399783</c:v>
                </c:pt>
                <c:pt idx="17">
                  <c:v>0.16514633278815116</c:v>
                </c:pt>
                <c:pt idx="18">
                  <c:v>0.164945684871319</c:v>
                </c:pt>
                <c:pt idx="19">
                  <c:v>0.14639813257749276</c:v>
                </c:pt>
                <c:pt idx="20">
                  <c:v>0.14641159775228932</c:v>
                </c:pt>
                <c:pt idx="21">
                  <c:v>0.16193310801703503</c:v>
                </c:pt>
                <c:pt idx="22">
                  <c:v>0.17123298917933127</c:v>
                </c:pt>
                <c:pt idx="23">
                  <c:v>0.17104045704889748</c:v>
                </c:pt>
                <c:pt idx="24">
                  <c:v>0.1697541583986388</c:v>
                </c:pt>
                <c:pt idx="25">
                  <c:v>0.1787566135659964</c:v>
                </c:pt>
                <c:pt idx="26">
                  <c:v>0.16595995947954698</c:v>
                </c:pt>
                <c:pt idx="27">
                  <c:v>0.1625813774710598</c:v>
                </c:pt>
                <c:pt idx="28">
                  <c:v>0.16671856389027584</c:v>
                </c:pt>
                <c:pt idx="29">
                  <c:v>0.16481688688265775</c:v>
                </c:pt>
                <c:pt idx="30">
                  <c:v>0.17268765600843083</c:v>
                </c:pt>
                <c:pt idx="31">
                  <c:v>0.1863671120202479</c:v>
                </c:pt>
                <c:pt idx="32">
                  <c:v>0.17983992585249456</c:v>
                </c:pt>
                <c:pt idx="33">
                  <c:v>0.17095934503681426</c:v>
                </c:pt>
                <c:pt idx="34">
                  <c:v>0.16626271957891692</c:v>
                </c:pt>
                <c:pt idx="35">
                  <c:v>0.17011860458822312</c:v>
                </c:pt>
                <c:pt idx="36">
                  <c:v>0.16593790471537964</c:v>
                </c:pt>
                <c:pt idx="37">
                  <c:v>0.15283245336265378</c:v>
                </c:pt>
                <c:pt idx="38">
                  <c:v>0.15695776413962587</c:v>
                </c:pt>
                <c:pt idx="39">
                  <c:v>0.16641615532214346</c:v>
                </c:pt>
                <c:pt idx="40">
                  <c:v>0.16110905766024625</c:v>
                </c:pt>
                <c:pt idx="41">
                  <c:v>0.15064842035141313</c:v>
                </c:pt>
                <c:pt idx="42">
                  <c:v>0.15263385349737976</c:v>
                </c:pt>
                <c:pt idx="43">
                  <c:v>0.15318954796418233</c:v>
                </c:pt>
                <c:pt idx="44">
                  <c:v>0.16124462644622287</c:v>
                </c:pt>
                <c:pt idx="45">
                  <c:v>0.16922608205993764</c:v>
                </c:pt>
                <c:pt idx="46">
                  <c:v>0.16906110692173787</c:v>
                </c:pt>
                <c:pt idx="47">
                  <c:v>0.17363251083921732</c:v>
                </c:pt>
                <c:pt idx="48">
                  <c:v>0.17561591121759268</c:v>
                </c:pt>
                <c:pt idx="49">
                  <c:v>0.1718403740220271</c:v>
                </c:pt>
                <c:pt idx="50">
                  <c:v>0.1912943114020735</c:v>
                </c:pt>
                <c:pt idx="51">
                  <c:v>0.19625446301643185</c:v>
                </c:pt>
                <c:pt idx="52">
                  <c:v>0.1824675205804111</c:v>
                </c:pt>
                <c:pt idx="53">
                  <c:v>0.1999656435326154</c:v>
                </c:pt>
                <c:pt idx="54">
                  <c:v>0.157756885779004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73.0"/>
          <c:min val="57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524411040232423"/>
          <c:min val="0.1016797312430011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1.6862600586689458</c:v>
                </c:pt>
                <c:pt idx="2">
                  <c:v>0.0</c:v>
                </c:pt>
                <c:pt idx="3">
                  <c:v>2.0594416191457756</c:v>
                </c:pt>
                <c:pt idx="4">
                  <c:v>2.2672765311944776</c:v>
                </c:pt>
                <c:pt idx="5">
                  <c:v>1.5938879572909894</c:v>
                </c:pt>
                <c:pt idx="6">
                  <c:v>1.1018065121270395</c:v>
                </c:pt>
                <c:pt idx="7">
                  <c:v>1.2936200310050263</c:v>
                </c:pt>
                <c:pt idx="8">
                  <c:v>1.541814240313479</c:v>
                </c:pt>
                <c:pt idx="9">
                  <c:v>1.2840894519985662</c:v>
                </c:pt>
                <c:pt idx="10">
                  <c:v>1.341078964374828</c:v>
                </c:pt>
                <c:pt idx="11">
                  <c:v>1.6849451432927125</c:v>
                </c:pt>
                <c:pt idx="12">
                  <c:v>1.3682629955507062</c:v>
                </c:pt>
                <c:pt idx="13">
                  <c:v>1.4596819449571912</c:v>
                </c:pt>
                <c:pt idx="14">
                  <c:v>1.39635986331847</c:v>
                </c:pt>
                <c:pt idx="15">
                  <c:v>1.3312502727759938</c:v>
                </c:pt>
                <c:pt idx="16">
                  <c:v>1.2738944057992407</c:v>
                </c:pt>
                <c:pt idx="17">
                  <c:v>1.0412153497783914</c:v>
                </c:pt>
                <c:pt idx="18">
                  <c:v>0.7835429443252071</c:v>
                </c:pt>
                <c:pt idx="19">
                  <c:v>0.9607895511822604</c:v>
                </c:pt>
                <c:pt idx="20">
                  <c:v>0.8829229884473699</c:v>
                </c:pt>
                <c:pt idx="21">
                  <c:v>0.8326640651864625</c:v>
                </c:pt>
                <c:pt idx="22">
                  <c:v>0.3957319304875377</c:v>
                </c:pt>
                <c:pt idx="23">
                  <c:v>0.541064650549149</c:v>
                </c:pt>
                <c:pt idx="24">
                  <c:v>1.9922977524709158</c:v>
                </c:pt>
                <c:pt idx="25">
                  <c:v>2.1745367511278193</c:v>
                </c:pt>
                <c:pt idx="26">
                  <c:v>2.1895054265976195</c:v>
                </c:pt>
                <c:pt idx="27">
                  <c:v>1.6199407230411402</c:v>
                </c:pt>
                <c:pt idx="28">
                  <c:v>2.2583022604759124</c:v>
                </c:pt>
                <c:pt idx="29">
                  <c:v>2.220158996005255</c:v>
                </c:pt>
                <c:pt idx="30">
                  <c:v>1.934116086437749</c:v>
                </c:pt>
                <c:pt idx="31">
                  <c:v>2.057174323089799</c:v>
                </c:pt>
                <c:pt idx="32">
                  <c:v>2.2178600690143884</c:v>
                </c:pt>
                <c:pt idx="33">
                  <c:v>2.051753662552416</c:v>
                </c:pt>
                <c:pt idx="34">
                  <c:v>1.8646936211074265</c:v>
                </c:pt>
                <c:pt idx="35">
                  <c:v>2.6761272763359507</c:v>
                </c:pt>
                <c:pt idx="36">
                  <c:v>2.7702693329634096</c:v>
                </c:pt>
                <c:pt idx="37">
                  <c:v>2.310510182570321</c:v>
                </c:pt>
                <c:pt idx="38">
                  <c:v>2.091135564082844</c:v>
                </c:pt>
                <c:pt idx="39">
                  <c:v>2.2958366004566035</c:v>
                </c:pt>
                <c:pt idx="40">
                  <c:v>2.0605442007130006</c:v>
                </c:pt>
                <c:pt idx="41">
                  <c:v>2.4787901778450636</c:v>
                </c:pt>
                <c:pt idx="42">
                  <c:v>2.4842477494224817</c:v>
                </c:pt>
                <c:pt idx="43">
                  <c:v>2.730307049928321</c:v>
                </c:pt>
                <c:pt idx="44">
                  <c:v>2.79674327136952</c:v>
                </c:pt>
                <c:pt idx="45">
                  <c:v>2.24722984078084</c:v>
                </c:pt>
                <c:pt idx="46">
                  <c:v>2.4066099278410227</c:v>
                </c:pt>
                <c:pt idx="47">
                  <c:v>2.359931781646022</c:v>
                </c:pt>
                <c:pt idx="48">
                  <c:v>2.4980432137787774</c:v>
                </c:pt>
                <c:pt idx="49">
                  <c:v>2.7911893610874317</c:v>
                </c:pt>
                <c:pt idx="50">
                  <c:v>2.3844945307758225</c:v>
                </c:pt>
                <c:pt idx="51">
                  <c:v>2.476159037893665</c:v>
                </c:pt>
                <c:pt idx="52">
                  <c:v>2.7154423212212304</c:v>
                </c:pt>
                <c:pt idx="53">
                  <c:v>2.7099623114756897</c:v>
                </c:pt>
              </c:numCache>
            </c:numRef>
          </c:xVal>
          <c:yVal>
            <c:numRef>
              <c:f>Sheet1!$B$2:$B$55</c:f>
              <c:numCache>
                <c:formatCode>General</c:formatCode>
                <c:ptCount val="54"/>
                <c:pt idx="0">
                  <c:v>0.0</c:v>
                </c:pt>
                <c:pt idx="1">
                  <c:v>3.3447053314602983e-05</c:v>
                </c:pt>
                <c:pt idx="2">
                  <c:v>0.0</c:v>
                </c:pt>
                <c:pt idx="3">
                  <c:v>4.513450081242101e-05</c:v>
                </c:pt>
                <c:pt idx="4">
                  <c:v>4.6151006091932804e-05</c:v>
                </c:pt>
                <c:pt idx="5">
                  <c:v>9.649249770830318e-05</c:v>
                </c:pt>
                <c:pt idx="6">
                  <c:v>8.082440897150939e-05</c:v>
                </c:pt>
                <c:pt idx="7">
                  <c:v>0.00011228385358185493</c:v>
                </c:pt>
                <c:pt idx="8">
                  <c:v>0.0001445992191642165</c:v>
                </c:pt>
                <c:pt idx="9">
                  <c:v>0.0003262554036051222</c:v>
                </c:pt>
                <c:pt idx="10">
                  <c:v>0.00037863011623944567</c:v>
                </c:pt>
                <c:pt idx="11">
                  <c:v>0.0002848394217759738</c:v>
                </c:pt>
                <c:pt idx="12">
                  <c:v>0.00036425047186992946</c:v>
                </c:pt>
                <c:pt idx="13">
                  <c:v>0.0003590664272890485</c:v>
                </c:pt>
                <c:pt idx="14">
                  <c:v>0.0003894908292613838</c:v>
                </c:pt>
                <c:pt idx="15">
                  <c:v>0.00036115424897973926</c:v>
                </c:pt>
                <c:pt idx="16">
                  <c:v>0.0003822483850005734</c:v>
                </c:pt>
                <c:pt idx="17">
                  <c:v>0.000599050734989171</c:v>
                </c:pt>
                <c:pt idx="18">
                  <c:v>0.000715009235535959</c:v>
                </c:pt>
                <c:pt idx="19">
                  <c:v>0.00045488144652299997</c:v>
                </c:pt>
                <c:pt idx="20">
                  <c:v>0.0006357683260219976</c:v>
                </c:pt>
                <c:pt idx="21">
                  <c:v>0.0006580128013399533</c:v>
                </c:pt>
                <c:pt idx="22">
                  <c:v>0.0009732044378122364</c:v>
                </c:pt>
                <c:pt idx="23">
                  <c:v>0.0009017132551848512</c:v>
                </c:pt>
                <c:pt idx="24">
                  <c:v>0.0008434666479229634</c:v>
                </c:pt>
                <c:pt idx="25">
                  <c:v>0.0012189547463050433</c:v>
                </c:pt>
                <c:pt idx="26">
                  <c:v>0.0015781582892764145</c:v>
                </c:pt>
                <c:pt idx="27">
                  <c:v>0.002099737532808399</c:v>
                </c:pt>
                <c:pt idx="28">
                  <c:v>0.0014443561782335524</c:v>
                </c:pt>
                <c:pt idx="29">
                  <c:v>0.0013728323699421965</c:v>
                </c:pt>
                <c:pt idx="30">
                  <c:v>0.0018142008132624335</c:v>
                </c:pt>
                <c:pt idx="31">
                  <c:v>0.0019587039908593815</c:v>
                </c:pt>
                <c:pt idx="32">
                  <c:v>0.0017610529242747242</c:v>
                </c:pt>
                <c:pt idx="33">
                  <c:v>0.0017895827446547988</c:v>
                </c:pt>
                <c:pt idx="34">
                  <c:v>0.0019574259848299485</c:v>
                </c:pt>
                <c:pt idx="35">
                  <c:v>0.0017367572261506017</c:v>
                </c:pt>
                <c:pt idx="36">
                  <c:v>0.0016083874426639662</c:v>
                </c:pt>
                <c:pt idx="37">
                  <c:v>0.0023678582340360527</c:v>
                </c:pt>
                <c:pt idx="38">
                  <c:v>0.0030191211003019122</c:v>
                </c:pt>
                <c:pt idx="39">
                  <c:v>0.002665978672170623</c:v>
                </c:pt>
                <c:pt idx="40">
                  <c:v>0.00293895373247124</c:v>
                </c:pt>
                <c:pt idx="41">
                  <c:v>0.002329916123019571</c:v>
                </c:pt>
                <c:pt idx="42">
                  <c:v>0.002354326074161271</c:v>
                </c:pt>
                <c:pt idx="43">
                  <c:v>0.002270396953273766</c:v>
                </c:pt>
                <c:pt idx="44">
                  <c:v>0.0024226110363391655</c:v>
                </c:pt>
                <c:pt idx="45">
                  <c:v>0.0031187669990933816</c:v>
                </c:pt>
                <c:pt idx="46">
                  <c:v>0.0036477665429412516</c:v>
                </c:pt>
                <c:pt idx="47">
                  <c:v>0.003454947484798231</c:v>
                </c:pt>
                <c:pt idx="48">
                  <c:v>0.0031363486299108615</c:v>
                </c:pt>
                <c:pt idx="49">
                  <c:v>0.0024744163028685554</c:v>
                </c:pt>
                <c:pt idx="50">
                  <c:v>0.003520358889685037</c:v>
                </c:pt>
                <c:pt idx="51">
                  <c:v>0.0031836022677714784</c:v>
                </c:pt>
                <c:pt idx="52">
                  <c:v>0.0027420214791682536</c:v>
                </c:pt>
                <c:pt idx="53">
                  <c:v>0.0022801897117840204</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2.711448902339665</c:v>
                </c:pt>
                <c:pt idx="1">
                  <c:v>2.158060474905772</c:v>
                </c:pt>
                <c:pt idx="2">
                  <c:v>2.545420566013431</c:v>
                </c:pt>
                <c:pt idx="3">
                  <c:v>2.061531247582843</c:v>
                </c:pt>
                <c:pt idx="4">
                  <c:v>2.5242512455169064</c:v>
                </c:pt>
                <c:pt idx="5">
                  <c:v>2.7952176429383497</c:v>
                </c:pt>
                <c:pt idx="6">
                  <c:v>2.8304834489871973</c:v>
                </c:pt>
                <c:pt idx="7">
                  <c:v>2.5412132011421353</c:v>
                </c:pt>
                <c:pt idx="8">
                  <c:v>2.4237777945895997</c:v>
                </c:pt>
                <c:pt idx="9">
                  <c:v>2.4575458141083804</c:v>
                </c:pt>
                <c:pt idx="10">
                  <c:v>2.5790928774714414</c:v>
                </c:pt>
                <c:pt idx="11">
                  <c:v>2.644220768705237</c:v>
                </c:pt>
                <c:pt idx="12">
                  <c:v>2.4631372134217817</c:v>
                </c:pt>
                <c:pt idx="13">
                  <c:v>2.016658063868978</c:v>
                </c:pt>
                <c:pt idx="14">
                  <c:v>2.012079866170662</c:v>
                </c:pt>
                <c:pt idx="15">
                  <c:v>2.111667063298328</c:v>
                </c:pt>
                <c:pt idx="16">
                  <c:v>2.184569097228522</c:v>
                </c:pt>
                <c:pt idx="17">
                  <c:v>1.7104256243142686</c:v>
                </c:pt>
                <c:pt idx="18">
                  <c:v>2.4299527078506205</c:v>
                </c:pt>
                <c:pt idx="19">
                  <c:v>2.3984769529952374</c:v>
                </c:pt>
                <c:pt idx="20">
                  <c:v>2.1529848385627663</c:v>
                </c:pt>
                <c:pt idx="21">
                  <c:v>2.0065425217894295</c:v>
                </c:pt>
                <c:pt idx="22">
                  <c:v>2.1142972486299394</c:v>
                </c:pt>
                <c:pt idx="23">
                  <c:v>1.6417785239381952</c:v>
                </c:pt>
                <c:pt idx="24">
                  <c:v>2.1256210935257753</c:v>
                </c:pt>
                <c:pt idx="25">
                  <c:v>2.117269100429846</c:v>
                </c:pt>
                <c:pt idx="26">
                  <c:v>2.190399975470354</c:v>
                </c:pt>
                <c:pt idx="27">
                  <c:v>2.0833492473626887</c:v>
                </c:pt>
                <c:pt idx="28">
                  <c:v>2.152527466326854</c:v>
                </c:pt>
                <c:pt idx="29">
                  <c:v>1.9204058108557978</c:v>
                </c:pt>
                <c:pt idx="30">
                  <c:v>1.897208865992495</c:v>
                </c:pt>
                <c:pt idx="31">
                  <c:v>2.0216073433899022</c:v>
                </c:pt>
                <c:pt idx="32">
                  <c:v>2.27134712341451</c:v>
                </c:pt>
                <c:pt idx="33">
                  <c:v>2.566202556147828</c:v>
                </c:pt>
                <c:pt idx="34">
                  <c:v>2.674444606224045</c:v>
                </c:pt>
                <c:pt idx="35">
                  <c:v>2.1271168021360336</c:v>
                </c:pt>
                <c:pt idx="36">
                  <c:v>2.0752301458025264</c:v>
                </c:pt>
                <c:pt idx="37">
                  <c:v>2.0444154930053076</c:v>
                </c:pt>
                <c:pt idx="38">
                  <c:v>1.7695326574490111</c:v>
                </c:pt>
                <c:pt idx="39">
                  <c:v>1.7277957428863437</c:v>
                </c:pt>
                <c:pt idx="40">
                  <c:v>1.7642353928707335</c:v>
                </c:pt>
                <c:pt idx="41">
                  <c:v>1.871610911830244</c:v>
                </c:pt>
                <c:pt idx="42">
                  <c:v>1.725852346196437</c:v>
                </c:pt>
                <c:pt idx="43">
                  <c:v>1.9554541451807381</c:v>
                </c:pt>
                <c:pt idx="44">
                  <c:v>2.588793185535918</c:v>
                </c:pt>
                <c:pt idx="45">
                  <c:v>2.7506731761405416</c:v>
                </c:pt>
                <c:pt idx="46">
                  <c:v>2.6076059991516027</c:v>
                </c:pt>
                <c:pt idx="47">
                  <c:v>2.6592288790887446</c:v>
                </c:pt>
                <c:pt idx="48">
                  <c:v>2.524146399095049</c:v>
                </c:pt>
                <c:pt idx="49">
                  <c:v>2.6943908568982726</c:v>
                </c:pt>
                <c:pt idx="50">
                  <c:v>2.94790149579454</c:v>
                </c:pt>
                <c:pt idx="51">
                  <c:v>2.992879643708694</c:v>
                </c:pt>
              </c:numCache>
            </c:numRef>
          </c:xVal>
          <c:yVal>
            <c:numRef>
              <c:f>Sheet1!$B$58:$B$109</c:f>
              <c:numCache>
                <c:formatCode>General</c:formatCode>
                <c:ptCount val="52"/>
                <c:pt idx="0">
                  <c:v>0.0022196214536502686</c:v>
                </c:pt>
                <c:pt idx="1">
                  <c:v>0.002779203010090645</c:v>
                </c:pt>
                <c:pt idx="2">
                  <c:v>0.0024833502652669604</c:v>
                </c:pt>
                <c:pt idx="3">
                  <c:v>0.0027921045488036606</c:v>
                </c:pt>
                <c:pt idx="4">
                  <c:v>0.002615000594318317</c:v>
                </c:pt>
                <c:pt idx="5">
                  <c:v>0.0023112480739599386</c:v>
                </c:pt>
                <c:pt idx="6">
                  <c:v>0.0023894022980427984</c:v>
                </c:pt>
                <c:pt idx="7">
                  <c:v>0.0028944956341357517</c:v>
                </c:pt>
                <c:pt idx="8">
                  <c:v>0.003528198447592683</c:v>
                </c:pt>
                <c:pt idx="9">
                  <c:v>0.0035434446274392375</c:v>
                </c:pt>
                <c:pt idx="10">
                  <c:v>0.003362736975486135</c:v>
                </c:pt>
                <c:pt idx="11">
                  <c:v>0.0033345938327202724</c:v>
                </c:pt>
                <c:pt idx="12">
                  <c:v>0.003589931872883776</c:v>
                </c:pt>
                <c:pt idx="13">
                  <c:v>0.00540326831839747</c:v>
                </c:pt>
                <c:pt idx="14">
                  <c:v>0.005324762544373021</c:v>
                </c:pt>
                <c:pt idx="15">
                  <c:v>0.005132458914407175</c:v>
                </c:pt>
                <c:pt idx="16">
                  <c:v>0.005012531328320802</c:v>
                </c:pt>
                <c:pt idx="17">
                  <c:v>0.006641305048681411</c:v>
                </c:pt>
                <c:pt idx="18">
                  <c:v>0.0035266751707060855</c:v>
                </c:pt>
                <c:pt idx="19">
                  <c:v>0.0032395817994404358</c:v>
                </c:pt>
                <c:pt idx="20">
                  <c:v>0.003997389459944526</c:v>
                </c:pt>
                <c:pt idx="21">
                  <c:v>0.004748522143618567</c:v>
                </c:pt>
                <c:pt idx="22">
                  <c:v>0.00408085792920186</c:v>
                </c:pt>
                <c:pt idx="23">
                  <c:v>0.004483411377901763</c:v>
                </c:pt>
                <c:pt idx="24">
                  <c:v>0.003929093567251462</c:v>
                </c:pt>
                <c:pt idx="25">
                  <c:v>0.004153385492127885</c:v>
                </c:pt>
                <c:pt idx="26">
                  <c:v>0.0039904229848363925</c:v>
                </c:pt>
                <c:pt idx="27">
                  <c:v>0.004331434988369295</c:v>
                </c:pt>
                <c:pt idx="28">
                  <c:v>0.0033964445729151613</c:v>
                </c:pt>
                <c:pt idx="29">
                  <c:v>0.004108032514640329</c:v>
                </c:pt>
                <c:pt idx="30">
                  <c:v>0.004044943820224719</c:v>
                </c:pt>
                <c:pt idx="31">
                  <c:v>0.004304984215057878</c:v>
                </c:pt>
                <c:pt idx="32">
                  <c:v>0.003568168616712306</c:v>
                </c:pt>
                <c:pt idx="33">
                  <c:v>0.002852512155591572</c:v>
                </c:pt>
                <c:pt idx="34">
                  <c:v>0.0028351342676794693</c:v>
                </c:pt>
                <c:pt idx="35">
                  <c:v>0.0038821954484605085</c:v>
                </c:pt>
                <c:pt idx="36">
                  <c:v>0.004633042013267348</c:v>
                </c:pt>
                <c:pt idx="37">
                  <c:v>0.0047787441460384215</c:v>
                </c:pt>
                <c:pt idx="38">
                  <c:v>0.0057379662097545425</c:v>
                </c:pt>
                <c:pt idx="39">
                  <c:v>0.00530049107490841</c:v>
                </c:pt>
                <c:pt idx="40">
                  <c:v>0.004730440006006908</c:v>
                </c:pt>
                <c:pt idx="41">
                  <c:v>0.004056939501779359</c:v>
                </c:pt>
                <c:pt idx="42">
                  <c:v>0.004617253948967193</c:v>
                </c:pt>
                <c:pt idx="43">
                  <c:v>0.003536067892503536</c:v>
                </c:pt>
                <c:pt idx="44">
                  <c:v>0.002514263610869355</c:v>
                </c:pt>
                <c:pt idx="45">
                  <c:v>0.0020232855317336364</c:v>
                </c:pt>
                <c:pt idx="46">
                  <c:v>0.0022206393765450204</c:v>
                </c:pt>
                <c:pt idx="47">
                  <c:v>0.0020594521080240917</c:v>
                </c:pt>
                <c:pt idx="48">
                  <c:v>0.002319811837484293</c:v>
                </c:pt>
                <c:pt idx="49">
                  <c:v>0.0020857263768816877</c:v>
                </c:pt>
                <c:pt idx="50">
                  <c:v>0.0016876779178527856</c:v>
                </c:pt>
                <c:pt idx="51">
                  <c:v>0.002201430930104568</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2.0053999729641263</c:v>
                </c:pt>
              </c:numCache>
            </c:numRef>
          </c:xVal>
          <c:yVal>
            <c:numRef>
              <c:f>Sheet1!$B$112:$B$113</c:f>
              <c:numCache>
                <c:formatCode>General</c:formatCode>
                <c:ptCount val="2"/>
                <c:pt idx="0">
                  <c:v>0.004373630925878378</c:v>
                </c:pt>
                <c:pt idx="1">
                  <c:v>0.004373630925878378</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2.0053999729641263</c:v>
                </c:pt>
                <c:pt idx="1">
                  <c:v>2.0053999729641263</c:v>
                </c:pt>
              </c:numCache>
            </c:numRef>
          </c:xVal>
          <c:yVal>
            <c:numRef>
              <c:f>Sheet1!$B$116:$B$117</c:f>
              <c:numCache>
                <c:formatCode>General</c:formatCode>
                <c:ptCount val="2"/>
                <c:pt idx="0">
                  <c:v>0.00437363092587837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2.0053999729641263</c:v>
                </c:pt>
              </c:numCache>
            </c:numRef>
          </c:xVal>
          <c:yVal>
            <c:numRef>
              <c:f>Sheet1!$B$120:$B$121</c:f>
              <c:numCache>
                <c:formatCode>General</c:formatCode>
                <c:ptCount val="2"/>
                <c:pt idx="0">
                  <c:v>0.004373630925878378</c:v>
                </c:pt>
                <c:pt idx="1">
                  <c:v>0.004373630925878378</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2.0053999729641263</c:v>
                </c:pt>
                <c:pt idx="1">
                  <c:v>2.0053999729641263</c:v>
                </c:pt>
              </c:numCache>
            </c:numRef>
          </c:xVal>
          <c:yVal>
            <c:numRef>
              <c:f>Sheet1!$B$124:$B$125</c:f>
              <c:numCache>
                <c:formatCode>General</c:formatCode>
                <c:ptCount val="2"/>
                <c:pt idx="0">
                  <c:v>0.00437363092587837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2.5030962203038496</c:v>
                </c:pt>
              </c:numCache>
            </c:numRef>
          </c:xVal>
          <c:yVal>
            <c:numRef>
              <c:f>Sheet1!$B$128:$B$129</c:f>
              <c:numCache>
                <c:formatCode>General</c:formatCode>
                <c:ptCount val="2"/>
                <c:pt idx="0">
                  <c:v>0.0030271907779739113</c:v>
                </c:pt>
                <c:pt idx="1">
                  <c:v>0.0030271907779739113</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2.5030962203038496</c:v>
                </c:pt>
                <c:pt idx="1">
                  <c:v>2.5030962203038496</c:v>
                </c:pt>
              </c:numCache>
            </c:numRef>
          </c:xVal>
          <c:yVal>
            <c:numRef>
              <c:f>Sheet1!$B$132:$B$133</c:f>
              <c:numCache>
                <c:formatCode>General</c:formatCode>
                <c:ptCount val="2"/>
                <c:pt idx="0">
                  <c:v>0.003027190777973911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2.711448902339665</c:v>
                </c:pt>
                <c:pt idx="1">
                  <c:v>2.158060474905772</c:v>
                </c:pt>
                <c:pt idx="2">
                  <c:v>2.545420566013431</c:v>
                </c:pt>
                <c:pt idx="3">
                  <c:v>2.061531247582843</c:v>
                </c:pt>
                <c:pt idx="4">
                  <c:v>2.5242512455169064</c:v>
                </c:pt>
                <c:pt idx="5">
                  <c:v>2.7952176429383497</c:v>
                </c:pt>
                <c:pt idx="6">
                  <c:v>2.8304834489871973</c:v>
                </c:pt>
                <c:pt idx="7">
                  <c:v>2.5412132011421353</c:v>
                </c:pt>
                <c:pt idx="8">
                  <c:v>2.4237777945895997</c:v>
                </c:pt>
                <c:pt idx="9">
                  <c:v>2.4575458141083804</c:v>
                </c:pt>
                <c:pt idx="10">
                  <c:v>2.5790928774714414</c:v>
                </c:pt>
                <c:pt idx="11">
                  <c:v>2.644220768705237</c:v>
                </c:pt>
                <c:pt idx="12">
                  <c:v>2.4631372134217817</c:v>
                </c:pt>
                <c:pt idx="13">
                  <c:v>2.016658063868978</c:v>
                </c:pt>
                <c:pt idx="14">
                  <c:v>2.012079866170662</c:v>
                </c:pt>
                <c:pt idx="15">
                  <c:v>2.111667063298328</c:v>
                </c:pt>
                <c:pt idx="16">
                  <c:v>2.184569097228522</c:v>
                </c:pt>
                <c:pt idx="17">
                  <c:v>1.7104256243142686</c:v>
                </c:pt>
                <c:pt idx="18">
                  <c:v>2.4299527078506205</c:v>
                </c:pt>
                <c:pt idx="19">
                  <c:v>2.3984769529952374</c:v>
                </c:pt>
                <c:pt idx="20">
                  <c:v>2.1529848385627663</c:v>
                </c:pt>
                <c:pt idx="21">
                  <c:v>2.0065425217894295</c:v>
                </c:pt>
                <c:pt idx="22">
                  <c:v>2.1142972486299394</c:v>
                </c:pt>
                <c:pt idx="23">
                  <c:v>1.6417785239381952</c:v>
                </c:pt>
                <c:pt idx="24">
                  <c:v>2.1256210935257753</c:v>
                </c:pt>
                <c:pt idx="25">
                  <c:v>2.117269100429846</c:v>
                </c:pt>
                <c:pt idx="26">
                  <c:v>2.190399975470354</c:v>
                </c:pt>
                <c:pt idx="27">
                  <c:v>2.0833492473626887</c:v>
                </c:pt>
                <c:pt idx="28">
                  <c:v>2.152527466326854</c:v>
                </c:pt>
                <c:pt idx="29">
                  <c:v>1.9204058108557978</c:v>
                </c:pt>
                <c:pt idx="30">
                  <c:v>1.897208865992495</c:v>
                </c:pt>
                <c:pt idx="31">
                  <c:v>2.0216073433899022</c:v>
                </c:pt>
                <c:pt idx="32">
                  <c:v>2.27134712341451</c:v>
                </c:pt>
                <c:pt idx="33">
                  <c:v>2.566202556147828</c:v>
                </c:pt>
                <c:pt idx="34">
                  <c:v>2.674444606224045</c:v>
                </c:pt>
                <c:pt idx="35">
                  <c:v>2.1271168021360336</c:v>
                </c:pt>
                <c:pt idx="36">
                  <c:v>2.0752301458025264</c:v>
                </c:pt>
                <c:pt idx="37">
                  <c:v>2.0444154930053076</c:v>
                </c:pt>
                <c:pt idx="38">
                  <c:v>1.7695326574490111</c:v>
                </c:pt>
                <c:pt idx="39">
                  <c:v>1.7277957428863437</c:v>
                </c:pt>
                <c:pt idx="40">
                  <c:v>1.7642353928707335</c:v>
                </c:pt>
                <c:pt idx="41">
                  <c:v>1.871610911830244</c:v>
                </c:pt>
                <c:pt idx="42">
                  <c:v>1.725852346196437</c:v>
                </c:pt>
                <c:pt idx="43">
                  <c:v>1.9554541451807381</c:v>
                </c:pt>
                <c:pt idx="44">
                  <c:v>2.588793185535918</c:v>
                </c:pt>
                <c:pt idx="45">
                  <c:v>2.7506731761405416</c:v>
                </c:pt>
                <c:pt idx="46">
                  <c:v>2.6076059991516027</c:v>
                </c:pt>
                <c:pt idx="47">
                  <c:v>2.6592288790887446</c:v>
                </c:pt>
                <c:pt idx="48">
                  <c:v>2.524146399095049</c:v>
                </c:pt>
                <c:pt idx="49">
                  <c:v>2.6943908568982726</c:v>
                </c:pt>
                <c:pt idx="50">
                  <c:v>2.94790149579454</c:v>
                </c:pt>
                <c:pt idx="51">
                  <c:v>2.992879643708694</c:v>
                </c:pt>
                <c:pt idx="52">
                  <c:v>2.0053999729641263</c:v>
                </c:pt>
                <c:pt idx="53">
                  <c:v>2.0053999729641263</c:v>
                </c:pt>
                <c:pt idx="54">
                  <c:v>2.5030962203038496</c:v>
                </c:pt>
              </c:numCache>
            </c:numRef>
          </c:xVal>
          <c:yVal>
            <c:numRef>
              <c:f>Sheet1!$B$136:$B$190</c:f>
              <c:numCache>
                <c:formatCode>General</c:formatCode>
                <c:ptCount val="55"/>
                <c:pt idx="0">
                  <c:v>0.0024635248521886503</c:v>
                </c:pt>
                <c:pt idx="1">
                  <c:v>0.0039606315715288685</c:v>
                </c:pt>
                <c:pt idx="2">
                  <c:v>0.00291268881296659</c:v>
                </c:pt>
                <c:pt idx="3">
                  <c:v>0.004221776452183496</c:v>
                </c:pt>
                <c:pt idx="4">
                  <c:v>0.0029699591323084223</c:v>
                </c:pt>
                <c:pt idx="5">
                  <c:v>0.002236901492892002</c:v>
                </c:pt>
                <c:pt idx="6">
                  <c:v>0.0021414953141912635</c:v>
                </c:pt>
                <c:pt idx="7">
                  <c:v>0.002924071187275971</c:v>
                </c:pt>
                <c:pt idx="8">
                  <c:v>0.00324177449931217</c:v>
                </c:pt>
                <c:pt idx="9">
                  <c:v>0.003150420350193435</c:v>
                </c:pt>
                <c:pt idx="10">
                  <c:v>0.002821593587189527</c:v>
                </c:pt>
                <c:pt idx="11">
                  <c:v>0.0026454001600253463</c:v>
                </c:pt>
                <c:pt idx="12">
                  <c:v>0.0031352936849658583</c:v>
                </c:pt>
                <c:pt idx="13">
                  <c:v>0.004343173903821099</c:v>
                </c:pt>
                <c:pt idx="14">
                  <c:v>0.004355559508934672</c:v>
                </c:pt>
                <c:pt idx="15">
                  <c:v>0.004086141764383268</c:v>
                </c:pt>
                <c:pt idx="16">
                  <c:v>0.003888916597683338</c:v>
                </c:pt>
                <c:pt idx="17">
                  <c:v>0.005171638360628105</c:v>
                </c:pt>
                <c:pt idx="18">
                  <c:v>0.003225069227434179</c:v>
                </c:pt>
                <c:pt idx="19">
                  <c:v>0.003310222009375808</c:v>
                </c:pt>
                <c:pt idx="20">
                  <c:v>0.003974362919886255</c:v>
                </c:pt>
                <c:pt idx="21">
                  <c:v>0.00437053993691161</c:v>
                </c:pt>
                <c:pt idx="22">
                  <c:v>0.004079026205152431</c:v>
                </c:pt>
                <c:pt idx="23">
                  <c:v>0.005357352463311466</c:v>
                </c:pt>
                <c:pt idx="24">
                  <c:v>0.004048391295852042</c:v>
                </c:pt>
                <c:pt idx="25">
                  <c:v>0.004070986320185637</c:v>
                </c:pt>
                <c:pt idx="26">
                  <c:v>0.0038731420592890663</c:v>
                </c:pt>
                <c:pt idx="27">
                  <c:v>0.004162751231463874</c:v>
                </c:pt>
                <c:pt idx="28">
                  <c:v>0.003975600269663877</c:v>
                </c:pt>
                <c:pt idx="29">
                  <c:v>0.004603569473359606</c:v>
                </c:pt>
                <c:pt idx="30">
                  <c:v>0.004666325216525493</c:v>
                </c:pt>
                <c:pt idx="31">
                  <c:v>0.004329784394284322</c:v>
                </c:pt>
                <c:pt idx="32">
                  <c:v>0.003654152082103286</c:v>
                </c:pt>
                <c:pt idx="33">
                  <c:v>0.0028564663559561667</c:v>
                </c:pt>
                <c:pt idx="34">
                  <c:v>0.0025636342466261904</c:v>
                </c:pt>
                <c:pt idx="35">
                  <c:v>0.004044344887760395</c:v>
                </c:pt>
                <c:pt idx="36">
                  <c:v>0.00418471620380182</c:v>
                </c:pt>
                <c:pt idx="37">
                  <c:v>0.004268080476471514</c:v>
                </c:pt>
                <c:pt idx="38">
                  <c:v>0.005011733432950775</c:v>
                </c:pt>
                <c:pt idx="39">
                  <c:v>0.00512464619393142</c:v>
                </c:pt>
                <c:pt idx="40">
                  <c:v>0.005026064362188014</c:v>
                </c:pt>
                <c:pt idx="41">
                  <c:v>0.00473557651864501</c:v>
                </c:pt>
                <c:pt idx="42">
                  <c:v>0.005129903752815139</c:v>
                </c:pt>
                <c:pt idx="43">
                  <c:v>0.0045087516307407</c:v>
                </c:pt>
                <c:pt idx="44">
                  <c:v>0.0027953509054436517</c:v>
                </c:pt>
                <c:pt idx="45">
                  <c:v>0.002357409651802484</c:v>
                </c:pt>
                <c:pt idx="46">
                  <c:v>0.0027444557506527594</c:v>
                </c:pt>
                <c:pt idx="47">
                  <c:v>0.0026047980408159905</c:v>
                </c:pt>
                <c:pt idx="48">
                  <c:v>0.0029702427780712894</c:v>
                </c:pt>
                <c:pt idx="49">
                  <c:v>0.00250967275334289</c:v>
                </c:pt>
                <c:pt idx="50">
                  <c:v>0.0018238389662581893</c:v>
                </c:pt>
                <c:pt idx="51">
                  <c:v>0.0017021575502264054</c:v>
                </c:pt>
                <c:pt idx="52">
                  <c:v>0.004373630925878378</c:v>
                </c:pt>
                <c:pt idx="53">
                  <c:v>0.004373630925878378</c:v>
                </c:pt>
                <c:pt idx="54">
                  <c:v>0.003027190777973911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96956605841769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3.3447053314602983e-05</c:v>
                </c:pt>
                <c:pt idx="2">
                  <c:v>0.0</c:v>
                </c:pt>
                <c:pt idx="3">
                  <c:v>4.513450081242101e-05</c:v>
                </c:pt>
                <c:pt idx="4">
                  <c:v>4.6151006091932804e-05</c:v>
                </c:pt>
                <c:pt idx="5">
                  <c:v>9.649249770830318e-05</c:v>
                </c:pt>
                <c:pt idx="6">
                  <c:v>8.082440897150939e-05</c:v>
                </c:pt>
                <c:pt idx="7">
                  <c:v>0.00011228385358185493</c:v>
                </c:pt>
                <c:pt idx="8">
                  <c:v>0.0001445992191642165</c:v>
                </c:pt>
                <c:pt idx="9">
                  <c:v>0.0003262554036051222</c:v>
                </c:pt>
                <c:pt idx="10">
                  <c:v>0.00037863011623944567</c:v>
                </c:pt>
                <c:pt idx="11">
                  <c:v>0.0002848394217759738</c:v>
                </c:pt>
                <c:pt idx="12">
                  <c:v>0.00036425047186992946</c:v>
                </c:pt>
                <c:pt idx="13">
                  <c:v>0.0003590664272890485</c:v>
                </c:pt>
                <c:pt idx="14">
                  <c:v>0.0003894908292613838</c:v>
                </c:pt>
                <c:pt idx="15">
                  <c:v>0.00036115424897973926</c:v>
                </c:pt>
                <c:pt idx="16">
                  <c:v>0.0003822483850005734</c:v>
                </c:pt>
                <c:pt idx="17">
                  <c:v>0.000599050734989171</c:v>
                </c:pt>
                <c:pt idx="18">
                  <c:v>0.000715009235535959</c:v>
                </c:pt>
                <c:pt idx="19">
                  <c:v>0.00045488144652299997</c:v>
                </c:pt>
                <c:pt idx="20">
                  <c:v>0.0006357683260219976</c:v>
                </c:pt>
                <c:pt idx="21">
                  <c:v>0.0006580128013399533</c:v>
                </c:pt>
                <c:pt idx="22">
                  <c:v>0.0009732044378122364</c:v>
                </c:pt>
                <c:pt idx="23">
                  <c:v>0.0009017132551848512</c:v>
                </c:pt>
                <c:pt idx="24">
                  <c:v>0.0008434666479229634</c:v>
                </c:pt>
                <c:pt idx="25">
                  <c:v>0.0012189547463050433</c:v>
                </c:pt>
                <c:pt idx="26">
                  <c:v>0.0015781582892764145</c:v>
                </c:pt>
                <c:pt idx="27">
                  <c:v>0.002099737532808399</c:v>
                </c:pt>
                <c:pt idx="28">
                  <c:v>0.0014443561782335524</c:v>
                </c:pt>
                <c:pt idx="29">
                  <c:v>0.0013728323699421965</c:v>
                </c:pt>
                <c:pt idx="30">
                  <c:v>0.0018142008132624335</c:v>
                </c:pt>
                <c:pt idx="31">
                  <c:v>0.0019587039908593815</c:v>
                </c:pt>
                <c:pt idx="32">
                  <c:v>0.0017610529242747242</c:v>
                </c:pt>
                <c:pt idx="33">
                  <c:v>0.0017895827446547988</c:v>
                </c:pt>
                <c:pt idx="34">
                  <c:v>0.0019574259848299485</c:v>
                </c:pt>
                <c:pt idx="35">
                  <c:v>0.0017367572261506017</c:v>
                </c:pt>
                <c:pt idx="36">
                  <c:v>0.0016083874426639662</c:v>
                </c:pt>
                <c:pt idx="37">
                  <c:v>0.0023678582340360527</c:v>
                </c:pt>
                <c:pt idx="38">
                  <c:v>0.0030191211003019122</c:v>
                </c:pt>
                <c:pt idx="39">
                  <c:v>0.002665978672170623</c:v>
                </c:pt>
                <c:pt idx="40">
                  <c:v>0.00293895373247124</c:v>
                </c:pt>
                <c:pt idx="41">
                  <c:v>0.002329916123019571</c:v>
                </c:pt>
                <c:pt idx="42">
                  <c:v>0.002354326074161271</c:v>
                </c:pt>
                <c:pt idx="43">
                  <c:v>0.002270396953273766</c:v>
                </c:pt>
                <c:pt idx="44">
                  <c:v>0.0024226110363391655</c:v>
                </c:pt>
                <c:pt idx="45">
                  <c:v>0.0031187669990933816</c:v>
                </c:pt>
                <c:pt idx="46">
                  <c:v>0.0036477665429412516</c:v>
                </c:pt>
                <c:pt idx="47">
                  <c:v>0.003454947484798231</c:v>
                </c:pt>
                <c:pt idx="48">
                  <c:v>0.0031363486299108615</c:v>
                </c:pt>
                <c:pt idx="49">
                  <c:v>0.0024744163028685554</c:v>
                </c:pt>
                <c:pt idx="50">
                  <c:v>0.003520358889685037</c:v>
                </c:pt>
                <c:pt idx="51">
                  <c:v>0.0031836022677714784</c:v>
                </c:pt>
                <c:pt idx="52">
                  <c:v>0.0027420214791682536</c:v>
                </c:pt>
                <c:pt idx="53">
                  <c:v>0.0022801897117840204</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2196214536502686</c:v>
                </c:pt>
                <c:pt idx="1">
                  <c:v>0.002779203010090645</c:v>
                </c:pt>
                <c:pt idx="2">
                  <c:v>0.0024833502652669604</c:v>
                </c:pt>
                <c:pt idx="3">
                  <c:v>0.0027921045488036606</c:v>
                </c:pt>
                <c:pt idx="4">
                  <c:v>0.002615000594318317</c:v>
                </c:pt>
                <c:pt idx="5">
                  <c:v>0.0023112480739599386</c:v>
                </c:pt>
                <c:pt idx="6">
                  <c:v>0.0023894022980427984</c:v>
                </c:pt>
                <c:pt idx="7">
                  <c:v>0.0028944956341357517</c:v>
                </c:pt>
                <c:pt idx="8">
                  <c:v>0.003528198447592683</c:v>
                </c:pt>
                <c:pt idx="9">
                  <c:v>0.0035434446274392375</c:v>
                </c:pt>
                <c:pt idx="10">
                  <c:v>0.003362736975486135</c:v>
                </c:pt>
                <c:pt idx="11">
                  <c:v>0.0033345938327202724</c:v>
                </c:pt>
                <c:pt idx="12">
                  <c:v>0.003589931872883776</c:v>
                </c:pt>
                <c:pt idx="13">
                  <c:v>0.00540326831839747</c:v>
                </c:pt>
                <c:pt idx="14">
                  <c:v>0.005324762544373021</c:v>
                </c:pt>
                <c:pt idx="15">
                  <c:v>0.005132458914407175</c:v>
                </c:pt>
                <c:pt idx="16">
                  <c:v>0.005012531328320802</c:v>
                </c:pt>
                <c:pt idx="17">
                  <c:v>0.006641305048681411</c:v>
                </c:pt>
                <c:pt idx="18">
                  <c:v>0.0035266751707060855</c:v>
                </c:pt>
                <c:pt idx="19">
                  <c:v>0.0032395817994404358</c:v>
                </c:pt>
                <c:pt idx="20">
                  <c:v>0.003997389459944526</c:v>
                </c:pt>
                <c:pt idx="21">
                  <c:v>0.004748522143618567</c:v>
                </c:pt>
                <c:pt idx="22">
                  <c:v>0.00408085792920186</c:v>
                </c:pt>
                <c:pt idx="23">
                  <c:v>0.004483411377901763</c:v>
                </c:pt>
                <c:pt idx="24">
                  <c:v>0.003929093567251462</c:v>
                </c:pt>
                <c:pt idx="25">
                  <c:v>0.004153385492127885</c:v>
                </c:pt>
                <c:pt idx="26">
                  <c:v>0.0039904229848363925</c:v>
                </c:pt>
                <c:pt idx="27">
                  <c:v>0.004331434988369295</c:v>
                </c:pt>
                <c:pt idx="28">
                  <c:v>0.0033964445729151613</c:v>
                </c:pt>
                <c:pt idx="29">
                  <c:v>0.004108032514640329</c:v>
                </c:pt>
                <c:pt idx="30">
                  <c:v>0.004044943820224719</c:v>
                </c:pt>
                <c:pt idx="31">
                  <c:v>0.004304984215057878</c:v>
                </c:pt>
                <c:pt idx="32">
                  <c:v>0.003568168616712306</c:v>
                </c:pt>
                <c:pt idx="33">
                  <c:v>0.002852512155591572</c:v>
                </c:pt>
                <c:pt idx="34">
                  <c:v>0.0028351342676794693</c:v>
                </c:pt>
                <c:pt idx="35">
                  <c:v>0.0038821954484605085</c:v>
                </c:pt>
                <c:pt idx="36">
                  <c:v>0.004633042013267348</c:v>
                </c:pt>
                <c:pt idx="37">
                  <c:v>0.0047787441460384215</c:v>
                </c:pt>
                <c:pt idx="38">
                  <c:v>0.0057379662097545425</c:v>
                </c:pt>
                <c:pt idx="39">
                  <c:v>0.00530049107490841</c:v>
                </c:pt>
                <c:pt idx="40">
                  <c:v>0.004730440006006908</c:v>
                </c:pt>
                <c:pt idx="41">
                  <c:v>0.004056939501779359</c:v>
                </c:pt>
                <c:pt idx="42">
                  <c:v>0.004617253948967193</c:v>
                </c:pt>
                <c:pt idx="43">
                  <c:v>0.003536067892503536</c:v>
                </c:pt>
                <c:pt idx="44">
                  <c:v>0.002514263610869355</c:v>
                </c:pt>
                <c:pt idx="45">
                  <c:v>0.0020232855317336364</c:v>
                </c:pt>
                <c:pt idx="46">
                  <c:v>0.0022206393765450204</c:v>
                </c:pt>
                <c:pt idx="47">
                  <c:v>0.0020594521080240917</c:v>
                </c:pt>
                <c:pt idx="48">
                  <c:v>0.002319811837484293</c:v>
                </c:pt>
                <c:pt idx="49">
                  <c:v>0.0020857263768816877</c:v>
                </c:pt>
                <c:pt idx="50">
                  <c:v>0.0016876779178527856</c:v>
                </c:pt>
                <c:pt idx="51">
                  <c:v>0.002201430930104568</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495.251268691738</c:v>
                </c:pt>
              </c:numCache>
            </c:numRef>
          </c:xVal>
          <c:yVal>
            <c:numRef>
              <c:f>Sheet1!$B$112:$B$113</c:f>
              <c:numCache>
                <c:formatCode>General</c:formatCode>
                <c:ptCount val="2"/>
                <c:pt idx="0">
                  <c:v>0.004373630925878378</c:v>
                </c:pt>
                <c:pt idx="1">
                  <c:v>0.004373630925878378</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495.251268691738</c:v>
                </c:pt>
                <c:pt idx="1">
                  <c:v>3495.251268691738</c:v>
                </c:pt>
              </c:numCache>
            </c:numRef>
          </c:xVal>
          <c:yVal>
            <c:numRef>
              <c:f>Sheet1!$B$116:$B$117</c:f>
              <c:numCache>
                <c:formatCode>General</c:formatCode>
                <c:ptCount val="2"/>
                <c:pt idx="0">
                  <c:v>0.00437363092587837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495.251268691738</c:v>
                </c:pt>
              </c:numCache>
            </c:numRef>
          </c:xVal>
          <c:yVal>
            <c:numRef>
              <c:f>Sheet1!$B$120:$B$121</c:f>
              <c:numCache>
                <c:formatCode>General</c:formatCode>
                <c:ptCount val="2"/>
                <c:pt idx="0">
                  <c:v>0.004373630925878378</c:v>
                </c:pt>
                <c:pt idx="1">
                  <c:v>0.004373630925878378</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495.251268691738</c:v>
                </c:pt>
                <c:pt idx="1">
                  <c:v>3495.251268691738</c:v>
                </c:pt>
              </c:numCache>
            </c:numRef>
          </c:xVal>
          <c:yVal>
            <c:numRef>
              <c:f>Sheet1!$B$124:$B$125</c:f>
              <c:numCache>
                <c:formatCode>General</c:formatCode>
                <c:ptCount val="2"/>
                <c:pt idx="0">
                  <c:v>0.00437363092587837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49.658661393088</c:v>
                </c:pt>
              </c:numCache>
            </c:numRef>
          </c:xVal>
          <c:yVal>
            <c:numRef>
              <c:f>Sheet1!$B$128:$B$129</c:f>
              <c:numCache>
                <c:formatCode>General</c:formatCode>
                <c:ptCount val="2"/>
                <c:pt idx="0">
                  <c:v>0.0030271907779739113</c:v>
                </c:pt>
                <c:pt idx="1">
                  <c:v>0.0030271907779739113</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49.658661393088</c:v>
                </c:pt>
                <c:pt idx="1">
                  <c:v>4249.658661393088</c:v>
                </c:pt>
              </c:numCache>
            </c:numRef>
          </c:xVal>
          <c:yVal>
            <c:numRef>
              <c:f>Sheet1!$B$132:$B$133</c:f>
              <c:numCache>
                <c:formatCode>General</c:formatCode>
                <c:ptCount val="2"/>
                <c:pt idx="0">
                  <c:v>0.003027190777973911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495.251268691738</c:v>
                </c:pt>
                <c:pt idx="53">
                  <c:v>3495.251268691738</c:v>
                </c:pt>
                <c:pt idx="54">
                  <c:v>4249.658661393088</c:v>
                </c:pt>
              </c:numCache>
            </c:numRef>
          </c:xVal>
          <c:yVal>
            <c:numRef>
              <c:f>Sheet1!$B$136:$B$190</c:f>
              <c:numCache>
                <c:formatCode>General</c:formatCode>
                <c:ptCount val="55"/>
                <c:pt idx="0">
                  <c:v>0.0027043827052094706</c:v>
                </c:pt>
                <c:pt idx="1">
                  <c:v>0.003968827891942792</c:v>
                </c:pt>
                <c:pt idx="2">
                  <c:v>0.002839127132199178</c:v>
                </c:pt>
                <c:pt idx="3">
                  <c:v>0.004114024261570448</c:v>
                </c:pt>
                <c:pt idx="4">
                  <c:v>0.002626658852887374</c:v>
                </c:pt>
                <c:pt idx="5">
                  <c:v>0.0019721609605767403</c:v>
                </c:pt>
                <c:pt idx="6">
                  <c:v>0.002563303789163614</c:v>
                </c:pt>
                <c:pt idx="7">
                  <c:v>0.0031206981334553022</c:v>
                </c:pt>
                <c:pt idx="8">
                  <c:v>0.0033442148239733425</c:v>
                </c:pt>
                <c:pt idx="9">
                  <c:v>0.003341504657842452</c:v>
                </c:pt>
                <c:pt idx="10">
                  <c:v>0.002976814994146454</c:v>
                </c:pt>
                <c:pt idx="11">
                  <c:v>0.0034864989920364454</c:v>
                </c:pt>
                <c:pt idx="12">
                  <c:v>0.003820720927039364</c:v>
                </c:pt>
                <c:pt idx="13">
                  <c:v>0.004533431438771527</c:v>
                </c:pt>
                <c:pt idx="14">
                  <c:v>0.00455221823543072</c:v>
                </c:pt>
                <c:pt idx="15">
                  <c:v>0.004153579658294655</c:v>
                </c:pt>
                <c:pt idx="16">
                  <c:v>0.003928628016463322</c:v>
                </c:pt>
                <c:pt idx="17">
                  <c:v>0.005398829158635107</c:v>
                </c:pt>
                <c:pt idx="18">
                  <c:v>0.0033069416066574785</c:v>
                </c:pt>
                <c:pt idx="19">
                  <c:v>0.002865912176141199</c:v>
                </c:pt>
                <c:pt idx="20">
                  <c:v>0.0032747367658832703</c:v>
                </c:pt>
                <c:pt idx="21">
                  <c:v>0.003880828610272405</c:v>
                </c:pt>
                <c:pt idx="22">
                  <c:v>0.0034863869087746607</c:v>
                </c:pt>
                <c:pt idx="23">
                  <c:v>0.005127964250597793</c:v>
                </c:pt>
                <c:pt idx="24">
                  <c:v>0.003500416056533547</c:v>
                </c:pt>
                <c:pt idx="25">
                  <c:v>0.004006625294831683</c:v>
                </c:pt>
                <c:pt idx="26">
                  <c:v>0.0035484469467858245</c:v>
                </c:pt>
                <c:pt idx="27">
                  <c:v>0.004046310622470826</c:v>
                </c:pt>
                <c:pt idx="28">
                  <c:v>0.003776069132958055</c:v>
                </c:pt>
                <c:pt idx="29">
                  <c:v>0.004089504263289746</c:v>
                </c:pt>
                <c:pt idx="30">
                  <c:v>0.0042231278576616085</c:v>
                </c:pt>
                <c:pt idx="31">
                  <c:v>0.003950415717523225</c:v>
                </c:pt>
                <c:pt idx="32">
                  <c:v>0.0030831959307495195</c:v>
                </c:pt>
                <c:pt idx="33">
                  <c:v>0.002342205277170925</c:v>
                </c:pt>
                <c:pt idx="34">
                  <c:v>0.002248895426305632</c:v>
                </c:pt>
                <c:pt idx="35">
                  <c:v>0.0036163233564821783</c:v>
                </c:pt>
                <c:pt idx="36">
                  <c:v>0.0030724987613572844</c:v>
                </c:pt>
                <c:pt idx="37">
                  <c:v>0.0032101268336665063</c:v>
                </c:pt>
                <c:pt idx="38">
                  <c:v>0.004202642678328622</c:v>
                </c:pt>
                <c:pt idx="39">
                  <c:v>0.004931556003496859</c:v>
                </c:pt>
                <c:pt idx="40">
                  <c:v>0.004854521249062901</c:v>
                </c:pt>
                <c:pt idx="41">
                  <c:v>0.004490370941445109</c:v>
                </c:pt>
                <c:pt idx="42">
                  <c:v>0.00476963977392136</c:v>
                </c:pt>
                <c:pt idx="43">
                  <c:v>0.004458528586506385</c:v>
                </c:pt>
                <c:pt idx="44">
                  <c:v>0.003343171450170169</c:v>
                </c:pt>
                <c:pt idx="45">
                  <c:v>0.0031664821826524756</c:v>
                </c:pt>
                <c:pt idx="46">
                  <c:v>0.003285271521631836</c:v>
                </c:pt>
                <c:pt idx="47">
                  <c:v>0.0033529915858865923</c:v>
                </c:pt>
                <c:pt idx="48">
                  <c:v>0.004158122778404094</c:v>
                </c:pt>
                <c:pt idx="49">
                  <c:v>0.0038348475229844515</c:v>
                </c:pt>
                <c:pt idx="50">
                  <c:v>0.003291027925202441</c:v>
                </c:pt>
                <c:pt idx="51">
                  <c:v>0.0030923501705269005</c:v>
                </c:pt>
                <c:pt idx="52">
                  <c:v>0.004373630925878378</c:v>
                </c:pt>
                <c:pt idx="53">
                  <c:v>0.004373630925878378</c:v>
                </c:pt>
                <c:pt idx="54">
                  <c:v>0.003027190777973912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96956605841769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0.510992239394467</c:v>
                </c:pt>
                <c:pt idx="2">
                  <c:v>0.0</c:v>
                </c:pt>
                <c:pt idx="3">
                  <c:v>0.6982950421227607</c:v>
                </c:pt>
                <c:pt idx="4">
                  <c:v>0.6722223638683953</c:v>
                </c:pt>
                <c:pt idx="5">
                  <c:v>0.49655842984119813</c:v>
                </c:pt>
                <c:pt idx="6">
                  <c:v>0.33875117535234217</c:v>
                </c:pt>
                <c:pt idx="7">
                  <c:v>0.42828827825261145</c:v>
                </c:pt>
                <c:pt idx="8">
                  <c:v>0.5625420532379053</c:v>
                </c:pt>
                <c:pt idx="9">
                  <c:v>0.4516468980059454</c:v>
                </c:pt>
                <c:pt idx="10">
                  <c:v>0.43317466846027813</c:v>
                </c:pt>
                <c:pt idx="11">
                  <c:v>0.6059665039942542</c:v>
                </c:pt>
                <c:pt idx="12">
                  <c:v>0.46892109463790765</c:v>
                </c:pt>
                <c:pt idx="13">
                  <c:v>0.4707102034325302</c:v>
                </c:pt>
                <c:pt idx="14">
                  <c:v>0.3894375229498673</c:v>
                </c:pt>
                <c:pt idx="15">
                  <c:v>0.37490534164385153</c:v>
                </c:pt>
                <c:pt idx="16">
                  <c:v>0.4003537323113037</c:v>
                </c:pt>
                <c:pt idx="17">
                  <c:v>0.2858206559468825</c:v>
                </c:pt>
                <c:pt idx="18">
                  <c:v>0.1868970178940955</c:v>
                </c:pt>
                <c:pt idx="19">
                  <c:v>0.22129348058116702</c:v>
                </c:pt>
                <c:pt idx="20">
                  <c:v>0.2346676816415719</c:v>
                </c:pt>
                <c:pt idx="21">
                  <c:v>0.2319650479378721</c:v>
                </c:pt>
                <c:pt idx="22">
                  <c:v>0.10715093162022274</c:v>
                </c:pt>
                <c:pt idx="23">
                  <c:v>0.15393025025486273</c:v>
                </c:pt>
                <c:pt idx="24">
                  <c:v>0.5543393518109309</c:v>
                </c:pt>
                <c:pt idx="25">
                  <c:v>0.5422870450127838</c:v>
                </c:pt>
                <c:pt idx="26">
                  <c:v>0.5739810679908147</c:v>
                </c:pt>
                <c:pt idx="27">
                  <c:v>0.41187603694362523</c:v>
                </c:pt>
                <c:pt idx="28">
                  <c:v>0.5646656500413118</c:v>
                </c:pt>
                <c:pt idx="29">
                  <c:v>0.5123968856658114</c:v>
                </c:pt>
                <c:pt idx="30">
                  <c:v>0.509860460368835</c:v>
                </c:pt>
                <c:pt idx="31">
                  <c:v>0.5564867314383096</c:v>
                </c:pt>
                <c:pt idx="32">
                  <c:v>0.5554922032343248</c:v>
                </c:pt>
                <c:pt idx="33">
                  <c:v>0.4706344207254132</c:v>
                </c:pt>
                <c:pt idx="34">
                  <c:v>0.47182082656552243</c:v>
                </c:pt>
                <c:pt idx="35">
                  <c:v>0.7034483537502453</c:v>
                </c:pt>
                <c:pt idx="36">
                  <c:v>0.7420189319425182</c:v>
                </c:pt>
                <c:pt idx="37">
                  <c:v>0.5315371930209274</c:v>
                </c:pt>
                <c:pt idx="38">
                  <c:v>0.4769213290829619</c:v>
                </c:pt>
                <c:pt idx="39">
                  <c:v>0.5596616547283598</c:v>
                </c:pt>
                <c:pt idx="40">
                  <c:v>0.5169254008814211</c:v>
                </c:pt>
                <c:pt idx="41">
                  <c:v>0.6360328964677966</c:v>
                </c:pt>
                <c:pt idx="42">
                  <c:v>0.5767067632638548</c:v>
                </c:pt>
                <c:pt idx="43">
                  <c:v>0.6485529720912829</c:v>
                </c:pt>
                <c:pt idx="44">
                  <c:v>0.6257443219861059</c:v>
                </c:pt>
                <c:pt idx="45">
                  <c:v>0.5372693386306497</c:v>
                </c:pt>
                <c:pt idx="46">
                  <c:v>0.5754239909209489</c:v>
                </c:pt>
                <c:pt idx="47">
                  <c:v>0.5724830463500764</c:v>
                </c:pt>
                <c:pt idx="48">
                  <c:v>0.658123404269236</c:v>
                </c:pt>
                <c:pt idx="49">
                  <c:v>0.777776198336495</c:v>
                </c:pt>
                <c:pt idx="50">
                  <c:v>0.6902993240515874</c:v>
                </c:pt>
                <c:pt idx="51">
                  <c:v>0.6695404430213577</c:v>
                </c:pt>
                <c:pt idx="52">
                  <c:v>0.6964784889999195</c:v>
                </c:pt>
                <c:pt idx="53">
                  <c:v>0.7309858375622816</c:v>
                </c:pt>
              </c:numCache>
            </c:numRef>
          </c:xVal>
          <c:yVal>
            <c:numRef>
              <c:f>Sheet1!$B$2:$B$55</c:f>
              <c:numCache>
                <c:formatCode>General</c:formatCode>
                <c:ptCount val="54"/>
                <c:pt idx="0">
                  <c:v>0.0</c:v>
                </c:pt>
                <c:pt idx="1">
                  <c:v>3.3447053314602983e-05</c:v>
                </c:pt>
                <c:pt idx="2">
                  <c:v>0.0</c:v>
                </c:pt>
                <c:pt idx="3">
                  <c:v>4.513450081242101e-05</c:v>
                </c:pt>
                <c:pt idx="4">
                  <c:v>4.6151006091932804e-05</c:v>
                </c:pt>
                <c:pt idx="5">
                  <c:v>9.649249770830318e-05</c:v>
                </c:pt>
                <c:pt idx="6">
                  <c:v>8.082440897150939e-05</c:v>
                </c:pt>
                <c:pt idx="7">
                  <c:v>0.00011228385358185493</c:v>
                </c:pt>
                <c:pt idx="8">
                  <c:v>0.0001445992191642165</c:v>
                </c:pt>
                <c:pt idx="9">
                  <c:v>0.0003262554036051222</c:v>
                </c:pt>
                <c:pt idx="10">
                  <c:v>0.00037863011623944567</c:v>
                </c:pt>
                <c:pt idx="11">
                  <c:v>0.0002848394217759738</c:v>
                </c:pt>
                <c:pt idx="12">
                  <c:v>0.00036425047186992946</c:v>
                </c:pt>
                <c:pt idx="13">
                  <c:v>0.0003590664272890485</c:v>
                </c:pt>
                <c:pt idx="14">
                  <c:v>0.0003894908292613838</c:v>
                </c:pt>
                <c:pt idx="15">
                  <c:v>0.00036115424897973926</c:v>
                </c:pt>
                <c:pt idx="16">
                  <c:v>0.0003822483850005734</c:v>
                </c:pt>
                <c:pt idx="17">
                  <c:v>0.000599050734989171</c:v>
                </c:pt>
                <c:pt idx="18">
                  <c:v>0.000715009235535959</c:v>
                </c:pt>
                <c:pt idx="19">
                  <c:v>0.00045488144652299997</c:v>
                </c:pt>
                <c:pt idx="20">
                  <c:v>0.0006357683260219976</c:v>
                </c:pt>
                <c:pt idx="21">
                  <c:v>0.0006580128013399533</c:v>
                </c:pt>
                <c:pt idx="22">
                  <c:v>0.0009732044378122364</c:v>
                </c:pt>
                <c:pt idx="23">
                  <c:v>0.0009017132551848512</c:v>
                </c:pt>
                <c:pt idx="24">
                  <c:v>0.0008434666479229634</c:v>
                </c:pt>
                <c:pt idx="25">
                  <c:v>0.0012189547463050433</c:v>
                </c:pt>
                <c:pt idx="26">
                  <c:v>0.0015781582892764145</c:v>
                </c:pt>
                <c:pt idx="27">
                  <c:v>0.002099737532808399</c:v>
                </c:pt>
                <c:pt idx="28">
                  <c:v>0.0014443561782335524</c:v>
                </c:pt>
                <c:pt idx="29">
                  <c:v>0.0013728323699421965</c:v>
                </c:pt>
                <c:pt idx="30">
                  <c:v>0.0018142008132624335</c:v>
                </c:pt>
                <c:pt idx="31">
                  <c:v>0.0019587039908593815</c:v>
                </c:pt>
                <c:pt idx="32">
                  <c:v>0.0017610529242747242</c:v>
                </c:pt>
                <c:pt idx="33">
                  <c:v>0.0017895827446547988</c:v>
                </c:pt>
                <c:pt idx="34">
                  <c:v>0.0019574259848299485</c:v>
                </c:pt>
                <c:pt idx="35">
                  <c:v>0.0017367572261506017</c:v>
                </c:pt>
                <c:pt idx="36">
                  <c:v>0.0016083874426639662</c:v>
                </c:pt>
                <c:pt idx="37">
                  <c:v>0.0023678582340360527</c:v>
                </c:pt>
                <c:pt idx="38">
                  <c:v>0.0030191211003019122</c:v>
                </c:pt>
                <c:pt idx="39">
                  <c:v>0.002665978672170623</c:v>
                </c:pt>
                <c:pt idx="40">
                  <c:v>0.00293895373247124</c:v>
                </c:pt>
                <c:pt idx="41">
                  <c:v>0.002329916123019571</c:v>
                </c:pt>
                <c:pt idx="42">
                  <c:v>0.002354326074161271</c:v>
                </c:pt>
                <c:pt idx="43">
                  <c:v>0.002270396953273766</c:v>
                </c:pt>
                <c:pt idx="44">
                  <c:v>0.0024226110363391655</c:v>
                </c:pt>
                <c:pt idx="45">
                  <c:v>0.0031187669990933816</c:v>
                </c:pt>
                <c:pt idx="46">
                  <c:v>0.0036477665429412516</c:v>
                </c:pt>
                <c:pt idx="47">
                  <c:v>0.003454947484798231</c:v>
                </c:pt>
                <c:pt idx="48">
                  <c:v>0.0031363486299108615</c:v>
                </c:pt>
                <c:pt idx="49">
                  <c:v>0.0024744163028685554</c:v>
                </c:pt>
                <c:pt idx="50">
                  <c:v>0.003520358889685037</c:v>
                </c:pt>
                <c:pt idx="51">
                  <c:v>0.0031836022677714784</c:v>
                </c:pt>
                <c:pt idx="52">
                  <c:v>0.0027420214791682536</c:v>
                </c:pt>
                <c:pt idx="53">
                  <c:v>0.0022801897117840204</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0.8200471824533305</c:v>
                </c:pt>
                <c:pt idx="1">
                  <c:v>0.7174472737974504</c:v>
                </c:pt>
                <c:pt idx="2">
                  <c:v>0.816154931402421</c:v>
                </c:pt>
                <c:pt idx="3">
                  <c:v>0.6717893989782041</c:v>
                </c:pt>
                <c:pt idx="4">
                  <c:v>0.7544364461971145</c:v>
                </c:pt>
                <c:pt idx="5">
                  <c:v>0.8914213217879952</c:v>
                </c:pt>
                <c:pt idx="6">
                  <c:v>0.8446009415962397</c:v>
                </c:pt>
                <c:pt idx="7">
                  <c:v>0.6947736707938821</c:v>
                </c:pt>
                <c:pt idx="8">
                  <c:v>0.7833544893875507</c:v>
                </c:pt>
                <c:pt idx="9">
                  <c:v>0.7613429474760278</c:v>
                </c:pt>
                <c:pt idx="10">
                  <c:v>0.766555956239328</c:v>
                </c:pt>
                <c:pt idx="11">
                  <c:v>0.7406952727042804</c:v>
                </c:pt>
                <c:pt idx="12">
                  <c:v>0.6847116900697604</c:v>
                </c:pt>
                <c:pt idx="13">
                  <c:v>0.602059101051708</c:v>
                </c:pt>
                <c:pt idx="14">
                  <c:v>0.5977168278296656</c:v>
                </c:pt>
                <c:pt idx="15">
                  <c:v>0.6090773450163397</c:v>
                </c:pt>
                <c:pt idx="16">
                  <c:v>0.575369530701084</c:v>
                </c:pt>
                <c:pt idx="17">
                  <c:v>0.43588164295742987</c:v>
                </c:pt>
                <c:pt idx="18">
                  <c:v>0.569486990082358</c:v>
                </c:pt>
                <c:pt idx="19">
                  <c:v>0.6359532222218478</c:v>
                </c:pt>
                <c:pt idx="20">
                  <c:v>0.5490117143515651</c:v>
                </c:pt>
                <c:pt idx="21">
                  <c:v>0.4930240492429066</c:v>
                </c:pt>
                <c:pt idx="22">
                  <c:v>0.51387469440209</c:v>
                </c:pt>
                <c:pt idx="23">
                  <c:v>0.44189703350405324</c:v>
                </c:pt>
                <c:pt idx="24">
                  <c:v>0.5325773310191649</c:v>
                </c:pt>
                <c:pt idx="25">
                  <c:v>0.49494544649788547</c:v>
                </c:pt>
                <c:pt idx="26">
                  <c:v>0.5355449850886121</c:v>
                </c:pt>
                <c:pt idx="27">
                  <c:v>0.5039508029016588</c:v>
                </c:pt>
                <c:pt idx="28">
                  <c:v>0.5646759056819411</c:v>
                </c:pt>
                <c:pt idx="29">
                  <c:v>0.482968750165199</c:v>
                </c:pt>
                <c:pt idx="30">
                  <c:v>0.4718324334374835</c:v>
                </c:pt>
                <c:pt idx="31">
                  <c:v>0.48506893344385515</c:v>
                </c:pt>
                <c:pt idx="32">
                  <c:v>0.5883140007055117</c:v>
                </c:pt>
                <c:pt idx="33">
                  <c:v>0.6768897476236313</c:v>
                </c:pt>
                <c:pt idx="34">
                  <c:v>0.7501615355670261</c:v>
                </c:pt>
                <c:pt idx="35">
                  <c:v>0.5006523374259947</c:v>
                </c:pt>
                <c:pt idx="36">
                  <c:v>0.4562942851112718</c:v>
                </c:pt>
                <c:pt idx="37">
                  <c:v>0.4640881527118102</c:v>
                </c:pt>
                <c:pt idx="38">
                  <c:v>0.4093912044613488</c:v>
                </c:pt>
                <c:pt idx="39">
                  <c:v>0.3972512185219328</c:v>
                </c:pt>
                <c:pt idx="40">
                  <c:v>0.4275415156261007</c:v>
                </c:pt>
                <c:pt idx="41">
                  <c:v>0.45267500482259654</c:v>
                </c:pt>
                <c:pt idx="42">
                  <c:v>0.42587281285970846</c:v>
                </c:pt>
                <c:pt idx="43">
                  <c:v>0.4931257209211285</c:v>
                </c:pt>
                <c:pt idx="44">
                  <c:v>0.6066167778907415</c:v>
                </c:pt>
                <c:pt idx="45">
                  <c:v>0.6524995979764446</c:v>
                </c:pt>
                <c:pt idx="46">
                  <c:v>0.6095580472565648</c:v>
                </c:pt>
                <c:pt idx="47">
                  <c:v>0.5771648247598549</c:v>
                </c:pt>
                <c:pt idx="48">
                  <c:v>0.52944258627081</c:v>
                </c:pt>
                <c:pt idx="49">
                  <c:v>0.6537504229131017</c:v>
                </c:pt>
                <c:pt idx="50">
                  <c:v>0.7818785689211416</c:v>
                </c:pt>
                <c:pt idx="51">
                  <c:v>0.6905966298215692</c:v>
                </c:pt>
              </c:numCache>
            </c:numRef>
          </c:xVal>
          <c:yVal>
            <c:numRef>
              <c:f>Sheet1!$B$58:$B$109</c:f>
              <c:numCache>
                <c:formatCode>General</c:formatCode>
                <c:ptCount val="52"/>
                <c:pt idx="0">
                  <c:v>0.0022196214536502686</c:v>
                </c:pt>
                <c:pt idx="1">
                  <c:v>0.002779203010090645</c:v>
                </c:pt>
                <c:pt idx="2">
                  <c:v>0.0024833502652669604</c:v>
                </c:pt>
                <c:pt idx="3">
                  <c:v>0.0027921045488036606</c:v>
                </c:pt>
                <c:pt idx="4">
                  <c:v>0.002615000594318317</c:v>
                </c:pt>
                <c:pt idx="5">
                  <c:v>0.0023112480739599386</c:v>
                </c:pt>
                <c:pt idx="6">
                  <c:v>0.0023894022980427984</c:v>
                </c:pt>
                <c:pt idx="7">
                  <c:v>0.0028944956341357517</c:v>
                </c:pt>
                <c:pt idx="8">
                  <c:v>0.003528198447592683</c:v>
                </c:pt>
                <c:pt idx="9">
                  <c:v>0.0035434446274392375</c:v>
                </c:pt>
                <c:pt idx="10">
                  <c:v>0.003362736975486135</c:v>
                </c:pt>
                <c:pt idx="11">
                  <c:v>0.0033345938327202724</c:v>
                </c:pt>
                <c:pt idx="12">
                  <c:v>0.003589931872883776</c:v>
                </c:pt>
                <c:pt idx="13">
                  <c:v>0.00540326831839747</c:v>
                </c:pt>
                <c:pt idx="14">
                  <c:v>0.005324762544373021</c:v>
                </c:pt>
                <c:pt idx="15">
                  <c:v>0.005132458914407175</c:v>
                </c:pt>
                <c:pt idx="16">
                  <c:v>0.005012531328320802</c:v>
                </c:pt>
                <c:pt idx="17">
                  <c:v>0.006641305048681411</c:v>
                </c:pt>
                <c:pt idx="18">
                  <c:v>0.0035266751707060855</c:v>
                </c:pt>
                <c:pt idx="19">
                  <c:v>0.0032395817994404358</c:v>
                </c:pt>
                <c:pt idx="20">
                  <c:v>0.003997389459944526</c:v>
                </c:pt>
                <c:pt idx="21">
                  <c:v>0.004748522143618567</c:v>
                </c:pt>
                <c:pt idx="22">
                  <c:v>0.00408085792920186</c:v>
                </c:pt>
                <c:pt idx="23">
                  <c:v>0.004483411377901763</c:v>
                </c:pt>
                <c:pt idx="24">
                  <c:v>0.003929093567251462</c:v>
                </c:pt>
                <c:pt idx="25">
                  <c:v>0.004153385492127885</c:v>
                </c:pt>
                <c:pt idx="26">
                  <c:v>0.0039904229848363925</c:v>
                </c:pt>
                <c:pt idx="27">
                  <c:v>0.004331434988369295</c:v>
                </c:pt>
                <c:pt idx="28">
                  <c:v>0.0033964445729151613</c:v>
                </c:pt>
                <c:pt idx="29">
                  <c:v>0.004108032514640329</c:v>
                </c:pt>
                <c:pt idx="30">
                  <c:v>0.004044943820224719</c:v>
                </c:pt>
                <c:pt idx="31">
                  <c:v>0.004304984215057878</c:v>
                </c:pt>
                <c:pt idx="32">
                  <c:v>0.003568168616712306</c:v>
                </c:pt>
                <c:pt idx="33">
                  <c:v>0.002852512155591572</c:v>
                </c:pt>
                <c:pt idx="34">
                  <c:v>0.0028351342676794693</c:v>
                </c:pt>
                <c:pt idx="35">
                  <c:v>0.0038821954484605085</c:v>
                </c:pt>
                <c:pt idx="36">
                  <c:v>0.004633042013267348</c:v>
                </c:pt>
                <c:pt idx="37">
                  <c:v>0.0047787441460384215</c:v>
                </c:pt>
                <c:pt idx="38">
                  <c:v>0.0057379662097545425</c:v>
                </c:pt>
                <c:pt idx="39">
                  <c:v>0.00530049107490841</c:v>
                </c:pt>
                <c:pt idx="40">
                  <c:v>0.004730440006006908</c:v>
                </c:pt>
                <c:pt idx="41">
                  <c:v>0.004056939501779359</c:v>
                </c:pt>
                <c:pt idx="42">
                  <c:v>0.004617253948967193</c:v>
                </c:pt>
                <c:pt idx="43">
                  <c:v>0.003536067892503536</c:v>
                </c:pt>
                <c:pt idx="44">
                  <c:v>0.002514263610869355</c:v>
                </c:pt>
                <c:pt idx="45">
                  <c:v>0.0020232855317336364</c:v>
                </c:pt>
                <c:pt idx="46">
                  <c:v>0.0022206393765450204</c:v>
                </c:pt>
                <c:pt idx="47">
                  <c:v>0.0020594521080240917</c:v>
                </c:pt>
                <c:pt idx="48">
                  <c:v>0.002319811837484293</c:v>
                </c:pt>
                <c:pt idx="49">
                  <c:v>0.0020857263768816877</c:v>
                </c:pt>
                <c:pt idx="50">
                  <c:v>0.0016876779178527856</c:v>
                </c:pt>
                <c:pt idx="51">
                  <c:v>0.002201430930104568</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0.47758043816452916</c:v>
                </c:pt>
              </c:numCache>
            </c:numRef>
          </c:xVal>
          <c:yVal>
            <c:numRef>
              <c:f>Sheet1!$B$112:$B$113</c:f>
              <c:numCache>
                <c:formatCode>General</c:formatCode>
                <c:ptCount val="2"/>
                <c:pt idx="0">
                  <c:v>0.004373630925878378</c:v>
                </c:pt>
                <c:pt idx="1">
                  <c:v>0.004373630925878378</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0.47758043816452916</c:v>
                </c:pt>
                <c:pt idx="1">
                  <c:v>0.47758043816452916</c:v>
                </c:pt>
              </c:numCache>
            </c:numRef>
          </c:xVal>
          <c:yVal>
            <c:numRef>
              <c:f>Sheet1!$B$116:$B$117</c:f>
              <c:numCache>
                <c:formatCode>General</c:formatCode>
                <c:ptCount val="2"/>
                <c:pt idx="0">
                  <c:v>0.00437363092587837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0.47758043816452916</c:v>
                </c:pt>
              </c:numCache>
            </c:numRef>
          </c:xVal>
          <c:yVal>
            <c:numRef>
              <c:f>Sheet1!$B$120:$B$121</c:f>
              <c:numCache>
                <c:formatCode>General</c:formatCode>
                <c:ptCount val="2"/>
                <c:pt idx="0">
                  <c:v>0.004373630925878378</c:v>
                </c:pt>
                <c:pt idx="1">
                  <c:v>0.004373630925878378</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0.47758043816452916</c:v>
                </c:pt>
                <c:pt idx="1">
                  <c:v>0.47758043816452916</c:v>
                </c:pt>
              </c:numCache>
            </c:numRef>
          </c:xVal>
          <c:yVal>
            <c:numRef>
              <c:f>Sheet1!$B$124:$B$125</c:f>
              <c:numCache>
                <c:formatCode>General</c:formatCode>
                <c:ptCount val="2"/>
                <c:pt idx="0">
                  <c:v>0.00437363092587837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0.7020828864720605</c:v>
                </c:pt>
              </c:numCache>
            </c:numRef>
          </c:xVal>
          <c:yVal>
            <c:numRef>
              <c:f>Sheet1!$B$128:$B$129</c:f>
              <c:numCache>
                <c:formatCode>General</c:formatCode>
                <c:ptCount val="2"/>
                <c:pt idx="0">
                  <c:v>0.0030271907779739113</c:v>
                </c:pt>
                <c:pt idx="1">
                  <c:v>0.0030271907779739113</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0.7020828864720605</c:v>
                </c:pt>
                <c:pt idx="1">
                  <c:v>0.7020828864720605</c:v>
                </c:pt>
              </c:numCache>
            </c:numRef>
          </c:xVal>
          <c:yVal>
            <c:numRef>
              <c:f>Sheet1!$B$132:$B$133</c:f>
              <c:numCache>
                <c:formatCode>General</c:formatCode>
                <c:ptCount val="2"/>
                <c:pt idx="0">
                  <c:v>0.003027190777973911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0.8200471824533305</c:v>
                </c:pt>
                <c:pt idx="1">
                  <c:v>0.7174472737974504</c:v>
                </c:pt>
                <c:pt idx="2">
                  <c:v>0.816154931402421</c:v>
                </c:pt>
                <c:pt idx="3">
                  <c:v>0.6717893989782041</c:v>
                </c:pt>
                <c:pt idx="4">
                  <c:v>0.7544364461971145</c:v>
                </c:pt>
                <c:pt idx="5">
                  <c:v>0.8914213217879952</c:v>
                </c:pt>
                <c:pt idx="6">
                  <c:v>0.8446009415962397</c:v>
                </c:pt>
                <c:pt idx="7">
                  <c:v>0.6947736707938821</c:v>
                </c:pt>
                <c:pt idx="8">
                  <c:v>0.7833544893875507</c:v>
                </c:pt>
                <c:pt idx="9">
                  <c:v>0.7613429474760278</c:v>
                </c:pt>
                <c:pt idx="10">
                  <c:v>0.766555956239328</c:v>
                </c:pt>
                <c:pt idx="11">
                  <c:v>0.7406952727042804</c:v>
                </c:pt>
                <c:pt idx="12">
                  <c:v>0.6847116900697604</c:v>
                </c:pt>
                <c:pt idx="13">
                  <c:v>0.602059101051708</c:v>
                </c:pt>
                <c:pt idx="14">
                  <c:v>0.5977168278296656</c:v>
                </c:pt>
                <c:pt idx="15">
                  <c:v>0.6090773450163397</c:v>
                </c:pt>
                <c:pt idx="16">
                  <c:v>0.575369530701084</c:v>
                </c:pt>
                <c:pt idx="17">
                  <c:v>0.43588164295742987</c:v>
                </c:pt>
                <c:pt idx="18">
                  <c:v>0.569486990082358</c:v>
                </c:pt>
                <c:pt idx="19">
                  <c:v>0.6359532222218478</c:v>
                </c:pt>
                <c:pt idx="20">
                  <c:v>0.5490117143515651</c:v>
                </c:pt>
                <c:pt idx="21">
                  <c:v>0.4930240492429066</c:v>
                </c:pt>
                <c:pt idx="22">
                  <c:v>0.51387469440209</c:v>
                </c:pt>
                <c:pt idx="23">
                  <c:v>0.44189703350405324</c:v>
                </c:pt>
                <c:pt idx="24">
                  <c:v>0.5325773310191649</c:v>
                </c:pt>
                <c:pt idx="25">
                  <c:v>0.49494544649788547</c:v>
                </c:pt>
                <c:pt idx="26">
                  <c:v>0.5355449850886121</c:v>
                </c:pt>
                <c:pt idx="27">
                  <c:v>0.5039508029016588</c:v>
                </c:pt>
                <c:pt idx="28">
                  <c:v>0.5646759056819411</c:v>
                </c:pt>
                <c:pt idx="29">
                  <c:v>0.482968750165199</c:v>
                </c:pt>
                <c:pt idx="30">
                  <c:v>0.4718324334374835</c:v>
                </c:pt>
                <c:pt idx="31">
                  <c:v>0.48506893344385515</c:v>
                </c:pt>
                <c:pt idx="32">
                  <c:v>0.5883140007055117</c:v>
                </c:pt>
                <c:pt idx="33">
                  <c:v>0.6768897476236313</c:v>
                </c:pt>
                <c:pt idx="34">
                  <c:v>0.7501615355670261</c:v>
                </c:pt>
                <c:pt idx="35">
                  <c:v>0.5006523374259947</c:v>
                </c:pt>
                <c:pt idx="36">
                  <c:v>0.4562942851112718</c:v>
                </c:pt>
                <c:pt idx="37">
                  <c:v>0.4640881527118102</c:v>
                </c:pt>
                <c:pt idx="38">
                  <c:v>0.4093912044613488</c:v>
                </c:pt>
                <c:pt idx="39">
                  <c:v>0.3972512185219328</c:v>
                </c:pt>
                <c:pt idx="40">
                  <c:v>0.4275415156261007</c:v>
                </c:pt>
                <c:pt idx="41">
                  <c:v>0.45267500482259654</c:v>
                </c:pt>
                <c:pt idx="42">
                  <c:v>0.42587281285970846</c:v>
                </c:pt>
                <c:pt idx="43">
                  <c:v>0.4931257209211285</c:v>
                </c:pt>
                <c:pt idx="44">
                  <c:v>0.6066167778907415</c:v>
                </c:pt>
                <c:pt idx="45">
                  <c:v>0.6524995979764446</c:v>
                </c:pt>
                <c:pt idx="46">
                  <c:v>0.6095580472565648</c:v>
                </c:pt>
                <c:pt idx="47">
                  <c:v>0.5771648247598549</c:v>
                </c:pt>
                <c:pt idx="48">
                  <c:v>0.52944258627081</c:v>
                </c:pt>
                <c:pt idx="49">
                  <c:v>0.6537504229131017</c:v>
                </c:pt>
                <c:pt idx="50">
                  <c:v>0.7818785689211416</c:v>
                </c:pt>
                <c:pt idx="51">
                  <c:v>0.6905966298215692</c:v>
                </c:pt>
                <c:pt idx="52">
                  <c:v>0.47758043816452916</c:v>
                </c:pt>
                <c:pt idx="53">
                  <c:v>0.47758043816452916</c:v>
                </c:pt>
                <c:pt idx="54">
                  <c:v>0.7020828864720605</c:v>
                </c:pt>
              </c:numCache>
            </c:numRef>
          </c:xVal>
          <c:yVal>
            <c:numRef>
              <c:f>Sheet1!$B$136:$B$190</c:f>
              <c:numCache>
                <c:formatCode>General</c:formatCode>
                <c:ptCount val="55"/>
                <c:pt idx="0">
                  <c:v>0.0023197068938298317</c:v>
                </c:pt>
                <c:pt idx="1">
                  <c:v>0.002935043774238248</c:v>
                </c:pt>
                <c:pt idx="2">
                  <c:v>0.002343050439168318</c:v>
                </c:pt>
                <c:pt idx="3">
                  <c:v>0.0032088741764814263</c:v>
                </c:pt>
                <c:pt idx="4">
                  <c:v>0.0027132034017517768</c:v>
                </c:pt>
                <c:pt idx="5">
                  <c:v>0.0018916447170170547</c:v>
                </c:pt>
                <c:pt idx="6">
                  <c:v>0.0021724471764360057</c:v>
                </c:pt>
                <c:pt idx="7">
                  <c:v>0.0030710273664520515</c:v>
                </c:pt>
                <c:pt idx="8">
                  <c:v>0.0025397691490566697</c:v>
                </c:pt>
                <c:pt idx="9">
                  <c:v>0.0026717820690510125</c:v>
                </c:pt>
                <c:pt idx="10">
                  <c:v>0.002640517357493523</c:v>
                </c:pt>
                <c:pt idx="11">
                  <c:v>0.0027956152765867817</c:v>
                </c:pt>
                <c:pt idx="12">
                  <c:v>0.0031313735003874812</c:v>
                </c:pt>
                <c:pt idx="13">
                  <c:v>0.0036270775117295275</c:v>
                </c:pt>
                <c:pt idx="14">
                  <c:v>0.0036531200384075416</c:v>
                </c:pt>
                <c:pt idx="15">
                  <c:v>0.003584986008883982</c:v>
                </c:pt>
                <c:pt idx="16">
                  <c:v>0.0037871466304465516</c:v>
                </c:pt>
                <c:pt idx="17">
                  <c:v>0.004623716982441893</c:v>
                </c:pt>
                <c:pt idx="18">
                  <c:v>0.003822426819684763</c:v>
                </c:pt>
                <c:pt idx="19">
                  <c:v>0.003423799525830235</c:v>
                </c:pt>
                <c:pt idx="20">
                  <c:v>0.003945226074174803</c:v>
                </c:pt>
                <c:pt idx="21">
                  <c:v>0.0042810087823725515</c:v>
                </c:pt>
                <c:pt idx="22">
                  <c:v>0.00415595827194971</c:v>
                </c:pt>
                <c:pt idx="23">
                  <c:v>0.004587640033623037</c:v>
                </c:pt>
                <c:pt idx="24">
                  <c:v>0.004043790315641265</c:v>
                </c:pt>
                <c:pt idx="25">
                  <c:v>0.004269485316042094</c:v>
                </c:pt>
                <c:pt idx="26">
                  <c:v>0.004025991985982419</c:v>
                </c:pt>
                <c:pt idx="27">
                  <c:v>0.004215476223938032</c:v>
                </c:pt>
                <c:pt idx="28">
                  <c:v>0.003851281013661323</c:v>
                </c:pt>
                <c:pt idx="29">
                  <c:v>0.004341314843529026</c:v>
                </c:pt>
                <c:pt idx="30">
                  <c:v>0.00440810424406793</c:v>
                </c:pt>
                <c:pt idx="31">
                  <c:v>0.004328719118601934</c:v>
                </c:pt>
                <c:pt idx="32">
                  <c:v>0.0037095129376351855</c:v>
                </c:pt>
                <c:pt idx="33">
                  <c:v>0.0031782851373137726</c:v>
                </c:pt>
                <c:pt idx="34">
                  <c:v>0.002738841925270994</c:v>
                </c:pt>
                <c:pt idx="35">
                  <c:v>0.004235258575428592</c:v>
                </c:pt>
                <c:pt idx="36">
                  <c:v>0.004501293369123027</c:v>
                </c:pt>
                <c:pt idx="37">
                  <c:v>0.004454550109421727</c:v>
                </c:pt>
                <c:pt idx="38">
                  <c:v>0.004782591819645711</c:v>
                </c:pt>
                <c:pt idx="39">
                  <c:v>0.004855400666885695</c:v>
                </c:pt>
                <c:pt idx="40">
                  <c:v>0.0046737364025515316</c:v>
                </c:pt>
                <c:pt idx="41">
                  <c:v>0.004522999788469137</c:v>
                </c:pt>
                <c:pt idx="42">
                  <c:v>0.004683744348640886</c:v>
                </c:pt>
                <c:pt idx="43">
                  <c:v>0.004280399012499239</c:v>
                </c:pt>
                <c:pt idx="44">
                  <c:v>0.0035997431146059695</c:v>
                </c:pt>
                <c:pt idx="45">
                  <c:v>0.0033245636164392425</c:v>
                </c:pt>
                <c:pt idx="46">
                  <c:v>0.0035821030256456875</c:v>
                </c:pt>
                <c:pt idx="47">
                  <c:v>0.003776379460572697</c:v>
                </c:pt>
                <c:pt idx="48">
                  <c:v>0.004062590761758611</c:v>
                </c:pt>
                <c:pt idx="49">
                  <c:v>0.003317061867904152</c:v>
                </c:pt>
                <c:pt idx="50">
                  <c:v>0.0025486208947105293</c:v>
                </c:pt>
                <c:pt idx="51">
                  <c:v>0.0030960789224905843</c:v>
                </c:pt>
                <c:pt idx="52">
                  <c:v>0.004373630925878378</c:v>
                </c:pt>
                <c:pt idx="53">
                  <c:v>0.004373630925878378</c:v>
                </c:pt>
                <c:pt idx="54">
                  <c:v>0.00302719077797391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96956605841769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3.3447053314602983e-05</c:v>
                </c:pt>
                <c:pt idx="2">
                  <c:v>0.0</c:v>
                </c:pt>
                <c:pt idx="3">
                  <c:v>4.513450081242101e-05</c:v>
                </c:pt>
                <c:pt idx="4">
                  <c:v>4.6151006091932804e-05</c:v>
                </c:pt>
                <c:pt idx="5">
                  <c:v>9.649249770830318e-05</c:v>
                </c:pt>
                <c:pt idx="6">
                  <c:v>8.082440897150939e-05</c:v>
                </c:pt>
                <c:pt idx="7">
                  <c:v>0.00011228385358185493</c:v>
                </c:pt>
                <c:pt idx="8">
                  <c:v>0.0001445992191642165</c:v>
                </c:pt>
                <c:pt idx="9">
                  <c:v>0.0003262554036051222</c:v>
                </c:pt>
                <c:pt idx="10">
                  <c:v>0.00037863011623944567</c:v>
                </c:pt>
                <c:pt idx="11">
                  <c:v>0.0002848394217759738</c:v>
                </c:pt>
                <c:pt idx="12">
                  <c:v>0.00036425047186992946</c:v>
                </c:pt>
                <c:pt idx="13">
                  <c:v>0.0003590664272890485</c:v>
                </c:pt>
                <c:pt idx="14">
                  <c:v>0.0003894908292613838</c:v>
                </c:pt>
                <c:pt idx="15">
                  <c:v>0.00036115424897973926</c:v>
                </c:pt>
                <c:pt idx="16">
                  <c:v>0.0003822483850005734</c:v>
                </c:pt>
                <c:pt idx="17">
                  <c:v>0.000599050734989171</c:v>
                </c:pt>
                <c:pt idx="18">
                  <c:v>0.000715009235535959</c:v>
                </c:pt>
                <c:pt idx="19">
                  <c:v>0.00045488144652299997</c:v>
                </c:pt>
                <c:pt idx="20">
                  <c:v>0.0006357683260219976</c:v>
                </c:pt>
                <c:pt idx="21">
                  <c:v>0.0006580128013399533</c:v>
                </c:pt>
                <c:pt idx="22">
                  <c:v>0.0009732044378122364</c:v>
                </c:pt>
                <c:pt idx="23">
                  <c:v>0.0009017132551848512</c:v>
                </c:pt>
                <c:pt idx="24">
                  <c:v>0.0008434666479229634</c:v>
                </c:pt>
                <c:pt idx="25">
                  <c:v>0.0012189547463050433</c:v>
                </c:pt>
                <c:pt idx="26">
                  <c:v>0.0015781582892764145</c:v>
                </c:pt>
                <c:pt idx="27">
                  <c:v>0.002099737532808399</c:v>
                </c:pt>
                <c:pt idx="28">
                  <c:v>0.0014443561782335524</c:v>
                </c:pt>
                <c:pt idx="29">
                  <c:v>0.0013728323699421965</c:v>
                </c:pt>
                <c:pt idx="30">
                  <c:v>0.0018142008132624335</c:v>
                </c:pt>
                <c:pt idx="31">
                  <c:v>0.0019587039908593815</c:v>
                </c:pt>
                <c:pt idx="32">
                  <c:v>0.0017610529242747242</c:v>
                </c:pt>
                <c:pt idx="33">
                  <c:v>0.0017895827446547988</c:v>
                </c:pt>
                <c:pt idx="34">
                  <c:v>0.0019574259848299485</c:v>
                </c:pt>
                <c:pt idx="35">
                  <c:v>0.0017367572261506017</c:v>
                </c:pt>
                <c:pt idx="36">
                  <c:v>0.0016083874426639662</c:v>
                </c:pt>
                <c:pt idx="37">
                  <c:v>0.0023678582340360527</c:v>
                </c:pt>
                <c:pt idx="38">
                  <c:v>0.0030191211003019122</c:v>
                </c:pt>
                <c:pt idx="39">
                  <c:v>0.002665978672170623</c:v>
                </c:pt>
                <c:pt idx="40">
                  <c:v>0.00293895373247124</c:v>
                </c:pt>
                <c:pt idx="41">
                  <c:v>0.002329916123019571</c:v>
                </c:pt>
                <c:pt idx="42">
                  <c:v>0.002354326074161271</c:v>
                </c:pt>
                <c:pt idx="43">
                  <c:v>0.002270396953273766</c:v>
                </c:pt>
                <c:pt idx="44">
                  <c:v>0.0024226110363391655</c:v>
                </c:pt>
                <c:pt idx="45">
                  <c:v>0.0031187669990933816</c:v>
                </c:pt>
                <c:pt idx="46">
                  <c:v>0.0036477665429412516</c:v>
                </c:pt>
                <c:pt idx="47">
                  <c:v>0.003454947484798231</c:v>
                </c:pt>
                <c:pt idx="48">
                  <c:v>0.0031363486299108615</c:v>
                </c:pt>
                <c:pt idx="49">
                  <c:v>0.0024744163028685554</c:v>
                </c:pt>
                <c:pt idx="50">
                  <c:v>0.003520358889685037</c:v>
                </c:pt>
                <c:pt idx="51">
                  <c:v>0.0031836022677714784</c:v>
                </c:pt>
                <c:pt idx="52">
                  <c:v>0.0027420214791682536</c:v>
                </c:pt>
                <c:pt idx="53">
                  <c:v>0.0022801897117840204</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2196214536502686</c:v>
                </c:pt>
                <c:pt idx="1">
                  <c:v>0.002779203010090645</c:v>
                </c:pt>
                <c:pt idx="2">
                  <c:v>0.0024833502652669604</c:v>
                </c:pt>
                <c:pt idx="3">
                  <c:v>0.0027921045488036606</c:v>
                </c:pt>
                <c:pt idx="4">
                  <c:v>0.002615000594318317</c:v>
                </c:pt>
                <c:pt idx="5">
                  <c:v>0.0023112480739599386</c:v>
                </c:pt>
                <c:pt idx="6">
                  <c:v>0.0023894022980427984</c:v>
                </c:pt>
                <c:pt idx="7">
                  <c:v>0.0028944956341357517</c:v>
                </c:pt>
                <c:pt idx="8">
                  <c:v>0.003528198447592683</c:v>
                </c:pt>
                <c:pt idx="9">
                  <c:v>0.0035434446274392375</c:v>
                </c:pt>
                <c:pt idx="10">
                  <c:v>0.003362736975486135</c:v>
                </c:pt>
                <c:pt idx="11">
                  <c:v>0.0033345938327202724</c:v>
                </c:pt>
                <c:pt idx="12">
                  <c:v>0.003589931872883776</c:v>
                </c:pt>
                <c:pt idx="13">
                  <c:v>0.00540326831839747</c:v>
                </c:pt>
                <c:pt idx="14">
                  <c:v>0.005324762544373021</c:v>
                </c:pt>
                <c:pt idx="15">
                  <c:v>0.005132458914407175</c:v>
                </c:pt>
                <c:pt idx="16">
                  <c:v>0.005012531328320802</c:v>
                </c:pt>
                <c:pt idx="17">
                  <c:v>0.006641305048681411</c:v>
                </c:pt>
                <c:pt idx="18">
                  <c:v>0.0035266751707060855</c:v>
                </c:pt>
                <c:pt idx="19">
                  <c:v>0.0032395817994404358</c:v>
                </c:pt>
                <c:pt idx="20">
                  <c:v>0.003997389459944526</c:v>
                </c:pt>
                <c:pt idx="21">
                  <c:v>0.004748522143618567</c:v>
                </c:pt>
                <c:pt idx="22">
                  <c:v>0.00408085792920186</c:v>
                </c:pt>
                <c:pt idx="23">
                  <c:v>0.004483411377901763</c:v>
                </c:pt>
                <c:pt idx="24">
                  <c:v>0.003929093567251462</c:v>
                </c:pt>
                <c:pt idx="25">
                  <c:v>0.004153385492127885</c:v>
                </c:pt>
                <c:pt idx="26">
                  <c:v>0.0039904229848363925</c:v>
                </c:pt>
                <c:pt idx="27">
                  <c:v>0.004331434988369295</c:v>
                </c:pt>
                <c:pt idx="28">
                  <c:v>0.0033964445729151613</c:v>
                </c:pt>
                <c:pt idx="29">
                  <c:v>0.004108032514640329</c:v>
                </c:pt>
                <c:pt idx="30">
                  <c:v>0.004044943820224719</c:v>
                </c:pt>
                <c:pt idx="31">
                  <c:v>0.004304984215057878</c:v>
                </c:pt>
                <c:pt idx="32">
                  <c:v>0.003568168616712306</c:v>
                </c:pt>
                <c:pt idx="33">
                  <c:v>0.002852512155591572</c:v>
                </c:pt>
                <c:pt idx="34">
                  <c:v>0.0028351342676794693</c:v>
                </c:pt>
                <c:pt idx="35">
                  <c:v>0.0038821954484605085</c:v>
                </c:pt>
                <c:pt idx="36">
                  <c:v>0.004633042013267348</c:v>
                </c:pt>
                <c:pt idx="37">
                  <c:v>0.0047787441460384215</c:v>
                </c:pt>
                <c:pt idx="38">
                  <c:v>0.0057379662097545425</c:v>
                </c:pt>
                <c:pt idx="39">
                  <c:v>0.00530049107490841</c:v>
                </c:pt>
                <c:pt idx="40">
                  <c:v>0.004730440006006908</c:v>
                </c:pt>
                <c:pt idx="41">
                  <c:v>0.004056939501779359</c:v>
                </c:pt>
                <c:pt idx="42">
                  <c:v>0.004617253948967193</c:v>
                </c:pt>
                <c:pt idx="43">
                  <c:v>0.003536067892503536</c:v>
                </c:pt>
                <c:pt idx="44">
                  <c:v>0.002514263610869355</c:v>
                </c:pt>
                <c:pt idx="45">
                  <c:v>0.0020232855317336364</c:v>
                </c:pt>
                <c:pt idx="46">
                  <c:v>0.0022206393765450204</c:v>
                </c:pt>
                <c:pt idx="47">
                  <c:v>0.0020594521080240917</c:v>
                </c:pt>
                <c:pt idx="48">
                  <c:v>0.002319811837484293</c:v>
                </c:pt>
                <c:pt idx="49">
                  <c:v>0.0020857263768816877</c:v>
                </c:pt>
                <c:pt idx="50">
                  <c:v>0.0016876779178527856</c:v>
                </c:pt>
                <c:pt idx="51">
                  <c:v>0.002201430930104568</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495.251268691738</c:v>
                </c:pt>
              </c:numCache>
            </c:numRef>
          </c:xVal>
          <c:yVal>
            <c:numRef>
              <c:f>Sheet1!$B$112:$B$113</c:f>
              <c:numCache>
                <c:formatCode>General</c:formatCode>
                <c:ptCount val="2"/>
                <c:pt idx="0">
                  <c:v>0.004373630925878378</c:v>
                </c:pt>
                <c:pt idx="1">
                  <c:v>0.004373630925878378</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495.251268691738</c:v>
                </c:pt>
                <c:pt idx="1">
                  <c:v>3495.251268691738</c:v>
                </c:pt>
              </c:numCache>
            </c:numRef>
          </c:xVal>
          <c:yVal>
            <c:numRef>
              <c:f>Sheet1!$B$116:$B$117</c:f>
              <c:numCache>
                <c:formatCode>General</c:formatCode>
                <c:ptCount val="2"/>
                <c:pt idx="0">
                  <c:v>0.00437363092587837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495.251268691738</c:v>
                </c:pt>
              </c:numCache>
            </c:numRef>
          </c:xVal>
          <c:yVal>
            <c:numRef>
              <c:f>Sheet1!$B$120:$B$121</c:f>
              <c:numCache>
                <c:formatCode>General</c:formatCode>
                <c:ptCount val="2"/>
                <c:pt idx="0">
                  <c:v>0.004373630925878378</c:v>
                </c:pt>
                <c:pt idx="1">
                  <c:v>0.004373630925878378</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495.251268691738</c:v>
                </c:pt>
                <c:pt idx="1">
                  <c:v>3495.251268691738</c:v>
                </c:pt>
              </c:numCache>
            </c:numRef>
          </c:xVal>
          <c:yVal>
            <c:numRef>
              <c:f>Sheet1!$B$124:$B$125</c:f>
              <c:numCache>
                <c:formatCode>General</c:formatCode>
                <c:ptCount val="2"/>
                <c:pt idx="0">
                  <c:v>0.00437363092587837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49.658661393088</c:v>
                </c:pt>
              </c:numCache>
            </c:numRef>
          </c:xVal>
          <c:yVal>
            <c:numRef>
              <c:f>Sheet1!$B$128:$B$129</c:f>
              <c:numCache>
                <c:formatCode>General</c:formatCode>
                <c:ptCount val="2"/>
                <c:pt idx="0">
                  <c:v>0.0030271907779739113</c:v>
                </c:pt>
                <c:pt idx="1">
                  <c:v>0.0030271907779739113</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49.658661393088</c:v>
                </c:pt>
                <c:pt idx="1">
                  <c:v>4249.658661393088</c:v>
                </c:pt>
              </c:numCache>
            </c:numRef>
          </c:xVal>
          <c:yVal>
            <c:numRef>
              <c:f>Sheet1!$B$132:$B$133</c:f>
              <c:numCache>
                <c:formatCode>General</c:formatCode>
                <c:ptCount val="2"/>
                <c:pt idx="0">
                  <c:v>0.003027190777973911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495.251268691738</c:v>
                </c:pt>
                <c:pt idx="53">
                  <c:v>3495.251268691738</c:v>
                </c:pt>
                <c:pt idx="54">
                  <c:v>4249.658661393088</c:v>
                </c:pt>
              </c:numCache>
            </c:numRef>
          </c:xVal>
          <c:yVal>
            <c:numRef>
              <c:f>Sheet1!$B$136:$B$190</c:f>
              <c:numCache>
                <c:formatCode>General</c:formatCode>
                <c:ptCount val="55"/>
                <c:pt idx="0">
                  <c:v>0.0027043827052094706</c:v>
                </c:pt>
                <c:pt idx="1">
                  <c:v>0.003968827891942792</c:v>
                </c:pt>
                <c:pt idx="2">
                  <c:v>0.002839127132199178</c:v>
                </c:pt>
                <c:pt idx="3">
                  <c:v>0.004114024261570448</c:v>
                </c:pt>
                <c:pt idx="4">
                  <c:v>0.002626658852887374</c:v>
                </c:pt>
                <c:pt idx="5">
                  <c:v>0.0019721609605767403</c:v>
                </c:pt>
                <c:pt idx="6">
                  <c:v>0.002563303789163614</c:v>
                </c:pt>
                <c:pt idx="7">
                  <c:v>0.0031206981334553022</c:v>
                </c:pt>
                <c:pt idx="8">
                  <c:v>0.0033442148239733425</c:v>
                </c:pt>
                <c:pt idx="9">
                  <c:v>0.003341504657842452</c:v>
                </c:pt>
                <c:pt idx="10">
                  <c:v>0.002976814994146454</c:v>
                </c:pt>
                <c:pt idx="11">
                  <c:v>0.0034864989920364454</c:v>
                </c:pt>
                <c:pt idx="12">
                  <c:v>0.003820720927039364</c:v>
                </c:pt>
                <c:pt idx="13">
                  <c:v>0.004533431438771527</c:v>
                </c:pt>
                <c:pt idx="14">
                  <c:v>0.00455221823543072</c:v>
                </c:pt>
                <c:pt idx="15">
                  <c:v>0.004153579658294655</c:v>
                </c:pt>
                <c:pt idx="16">
                  <c:v>0.003928628016463322</c:v>
                </c:pt>
                <c:pt idx="17">
                  <c:v>0.005398829158635107</c:v>
                </c:pt>
                <c:pt idx="18">
                  <c:v>0.0033069416066574785</c:v>
                </c:pt>
                <c:pt idx="19">
                  <c:v>0.002865912176141199</c:v>
                </c:pt>
                <c:pt idx="20">
                  <c:v>0.0032747367658832703</c:v>
                </c:pt>
                <c:pt idx="21">
                  <c:v>0.003880828610272405</c:v>
                </c:pt>
                <c:pt idx="22">
                  <c:v>0.0034863869087746607</c:v>
                </c:pt>
                <c:pt idx="23">
                  <c:v>0.005127964250597793</c:v>
                </c:pt>
                <c:pt idx="24">
                  <c:v>0.003500416056533547</c:v>
                </c:pt>
                <c:pt idx="25">
                  <c:v>0.004006625294831683</c:v>
                </c:pt>
                <c:pt idx="26">
                  <c:v>0.0035484469467858245</c:v>
                </c:pt>
                <c:pt idx="27">
                  <c:v>0.004046310622470826</c:v>
                </c:pt>
                <c:pt idx="28">
                  <c:v>0.003776069132958055</c:v>
                </c:pt>
                <c:pt idx="29">
                  <c:v>0.004089504263289746</c:v>
                </c:pt>
                <c:pt idx="30">
                  <c:v>0.0042231278576616085</c:v>
                </c:pt>
                <c:pt idx="31">
                  <c:v>0.003950415717523225</c:v>
                </c:pt>
                <c:pt idx="32">
                  <c:v>0.0030831959307495195</c:v>
                </c:pt>
                <c:pt idx="33">
                  <c:v>0.002342205277170925</c:v>
                </c:pt>
                <c:pt idx="34">
                  <c:v>0.002248895426305632</c:v>
                </c:pt>
                <c:pt idx="35">
                  <c:v>0.0036163233564821783</c:v>
                </c:pt>
                <c:pt idx="36">
                  <c:v>0.0030724987613572844</c:v>
                </c:pt>
                <c:pt idx="37">
                  <c:v>0.0032101268336665063</c:v>
                </c:pt>
                <c:pt idx="38">
                  <c:v>0.004202642678328622</c:v>
                </c:pt>
                <c:pt idx="39">
                  <c:v>0.004931556003496859</c:v>
                </c:pt>
                <c:pt idx="40">
                  <c:v>0.004854521249062901</c:v>
                </c:pt>
                <c:pt idx="41">
                  <c:v>0.004490370941445109</c:v>
                </c:pt>
                <c:pt idx="42">
                  <c:v>0.00476963977392136</c:v>
                </c:pt>
                <c:pt idx="43">
                  <c:v>0.004458528586506385</c:v>
                </c:pt>
                <c:pt idx="44">
                  <c:v>0.003343171450170169</c:v>
                </c:pt>
                <c:pt idx="45">
                  <c:v>0.0031664821826524756</c:v>
                </c:pt>
                <c:pt idx="46">
                  <c:v>0.003285271521631836</c:v>
                </c:pt>
                <c:pt idx="47">
                  <c:v>0.0033529915858865923</c:v>
                </c:pt>
                <c:pt idx="48">
                  <c:v>0.004158122778404094</c:v>
                </c:pt>
                <c:pt idx="49">
                  <c:v>0.0038348475229844515</c:v>
                </c:pt>
                <c:pt idx="50">
                  <c:v>0.003291027925202441</c:v>
                </c:pt>
                <c:pt idx="51">
                  <c:v>0.0030923501705269005</c:v>
                </c:pt>
                <c:pt idx="52">
                  <c:v>0.004373630925878378</c:v>
                </c:pt>
                <c:pt idx="53">
                  <c:v>0.004373630925878378</c:v>
                </c:pt>
                <c:pt idx="54">
                  <c:v>0.003027190777973912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96956605841769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0.6505179369885354</c:v>
                </c:pt>
                <c:pt idx="2">
                  <c:v>0.0</c:v>
                </c:pt>
                <c:pt idx="3">
                  <c:v>0.7468137719387239</c:v>
                </c:pt>
                <c:pt idx="4">
                  <c:v>0.9446115083445435</c:v>
                </c:pt>
                <c:pt idx="5">
                  <c:v>0.8740833307163486</c:v>
                </c:pt>
                <c:pt idx="6">
                  <c:v>0.8258474190097183</c:v>
                </c:pt>
                <c:pt idx="7">
                  <c:v>0.9047598486654961</c:v>
                </c:pt>
                <c:pt idx="8">
                  <c:v>0.9366734679852323</c:v>
                </c:pt>
                <c:pt idx="9">
                  <c:v>0.7012802239234842</c:v>
                </c:pt>
                <c:pt idx="10">
                  <c:v>0.6490826726195741</c:v>
                </c:pt>
                <c:pt idx="11">
                  <c:v>0.9916147320348305</c:v>
                </c:pt>
                <c:pt idx="12">
                  <c:v>0.7734213867612915</c:v>
                </c:pt>
                <c:pt idx="13">
                  <c:v>0.7696351835070553</c:v>
                </c:pt>
                <c:pt idx="14">
                  <c:v>0.6828666326725689</c:v>
                </c:pt>
                <c:pt idx="15">
                  <c:v>0.6742512835498331</c:v>
                </c:pt>
                <c:pt idx="16">
                  <c:v>0.6983416572852118</c:v>
                </c:pt>
                <c:pt idx="17">
                  <c:v>0.524027242611899</c:v>
                </c:pt>
                <c:pt idx="18">
                  <c:v>0.3975099947166612</c:v>
                </c:pt>
                <c:pt idx="19">
                  <c:v>0.4918949995192061</c:v>
                </c:pt>
                <c:pt idx="20">
                  <c:v>0.4688176967376702</c:v>
                </c:pt>
                <c:pt idx="21">
                  <c:v>0.4443093800217104</c:v>
                </c:pt>
                <c:pt idx="22">
                  <c:v>0.20961570822297768</c:v>
                </c:pt>
                <c:pt idx="23">
                  <c:v>0.2855289740113074</c:v>
                </c:pt>
                <c:pt idx="24">
                  <c:v>1.0208662692235573</c:v>
                </c:pt>
                <c:pt idx="25">
                  <c:v>1.1436161102620965</c:v>
                </c:pt>
                <c:pt idx="26">
                  <c:v>1.1552015050564335</c:v>
                </c:pt>
                <c:pt idx="27">
                  <c:v>0.9011699833316614</c:v>
                </c:pt>
                <c:pt idx="28">
                  <c:v>1.2398761186454534</c:v>
                </c:pt>
                <c:pt idx="29">
                  <c:v>1.1601362220007105</c:v>
                </c:pt>
                <c:pt idx="30">
                  <c:v>1.0653935878052079</c:v>
                </c:pt>
                <c:pt idx="31">
                  <c:v>1.2297503200435826</c:v>
                </c:pt>
                <c:pt idx="32">
                  <c:v>1.2053081296188122</c:v>
                </c:pt>
                <c:pt idx="33">
                  <c:v>1.036986909256904</c:v>
                </c:pt>
                <c:pt idx="34">
                  <c:v>0.8935745271725687</c:v>
                </c:pt>
                <c:pt idx="35">
                  <c:v>1.2088909168034419</c:v>
                </c:pt>
                <c:pt idx="36">
                  <c:v>1.191699039231385</c:v>
                </c:pt>
                <c:pt idx="37">
                  <c:v>0.964677477011002</c:v>
                </c:pt>
                <c:pt idx="38">
                  <c:v>0.9042050888129866</c:v>
                </c:pt>
                <c:pt idx="39">
                  <c:v>0.9689376029479678</c:v>
                </c:pt>
                <c:pt idx="40">
                  <c:v>0.8716188383203244</c:v>
                </c:pt>
                <c:pt idx="41">
                  <c:v>1.0348665181107068</c:v>
                </c:pt>
                <c:pt idx="42">
                  <c:v>1.0694809104173288</c:v>
                </c:pt>
                <c:pt idx="43">
                  <c:v>1.1412786685873577</c:v>
                </c:pt>
                <c:pt idx="44">
                  <c:v>1.4771860121109213</c:v>
                </c:pt>
                <c:pt idx="45">
                  <c:v>1.0984201942395833</c:v>
                </c:pt>
                <c:pt idx="46">
                  <c:v>1.0820881387502848</c:v>
                </c:pt>
                <c:pt idx="47">
                  <c:v>1.149912943844034</c:v>
                </c:pt>
                <c:pt idx="48">
                  <c:v>1.374597483322082</c:v>
                </c:pt>
                <c:pt idx="49">
                  <c:v>1.4878122206754407</c:v>
                </c:pt>
                <c:pt idx="50">
                  <c:v>1.267452497579682</c:v>
                </c:pt>
                <c:pt idx="51">
                  <c:v>1.2958911789517982</c:v>
                </c:pt>
                <c:pt idx="52">
                  <c:v>1.3068676186945258</c:v>
                </c:pt>
                <c:pt idx="53">
                  <c:v>1.2755678837667668</c:v>
                </c:pt>
              </c:numCache>
            </c:numRef>
          </c:xVal>
          <c:yVal>
            <c:numRef>
              <c:f>Sheet1!$B$2:$B$55</c:f>
              <c:numCache>
                <c:formatCode>General</c:formatCode>
                <c:ptCount val="54"/>
                <c:pt idx="0">
                  <c:v>0.0</c:v>
                </c:pt>
                <c:pt idx="1">
                  <c:v>3.3447053314602983e-05</c:v>
                </c:pt>
                <c:pt idx="2">
                  <c:v>0.0</c:v>
                </c:pt>
                <c:pt idx="3">
                  <c:v>4.513450081242101e-05</c:v>
                </c:pt>
                <c:pt idx="4">
                  <c:v>4.6151006091932804e-05</c:v>
                </c:pt>
                <c:pt idx="5">
                  <c:v>9.649249770830318e-05</c:v>
                </c:pt>
                <c:pt idx="6">
                  <c:v>8.082440897150939e-05</c:v>
                </c:pt>
                <c:pt idx="7">
                  <c:v>0.00011228385358185493</c:v>
                </c:pt>
                <c:pt idx="8">
                  <c:v>0.0001445992191642165</c:v>
                </c:pt>
                <c:pt idx="9">
                  <c:v>0.0003262554036051222</c:v>
                </c:pt>
                <c:pt idx="10">
                  <c:v>0.00037863011623944567</c:v>
                </c:pt>
                <c:pt idx="11">
                  <c:v>0.0002848394217759738</c:v>
                </c:pt>
                <c:pt idx="12">
                  <c:v>0.00036425047186992946</c:v>
                </c:pt>
                <c:pt idx="13">
                  <c:v>0.0003590664272890485</c:v>
                </c:pt>
                <c:pt idx="14">
                  <c:v>0.0003894908292613838</c:v>
                </c:pt>
                <c:pt idx="15">
                  <c:v>0.00036115424897973926</c:v>
                </c:pt>
                <c:pt idx="16">
                  <c:v>0.0003822483850005734</c:v>
                </c:pt>
                <c:pt idx="17">
                  <c:v>0.000599050734989171</c:v>
                </c:pt>
                <c:pt idx="18">
                  <c:v>0.000715009235535959</c:v>
                </c:pt>
                <c:pt idx="19">
                  <c:v>0.00045488144652299997</c:v>
                </c:pt>
                <c:pt idx="20">
                  <c:v>0.0006357683260219976</c:v>
                </c:pt>
                <c:pt idx="21">
                  <c:v>0.0006580128013399533</c:v>
                </c:pt>
                <c:pt idx="22">
                  <c:v>0.0009732044378122364</c:v>
                </c:pt>
                <c:pt idx="23">
                  <c:v>0.0009017132551848512</c:v>
                </c:pt>
                <c:pt idx="24">
                  <c:v>0.0008434666479229634</c:v>
                </c:pt>
                <c:pt idx="25">
                  <c:v>0.0012189547463050433</c:v>
                </c:pt>
                <c:pt idx="26">
                  <c:v>0.0015781582892764145</c:v>
                </c:pt>
                <c:pt idx="27">
                  <c:v>0.002099737532808399</c:v>
                </c:pt>
                <c:pt idx="28">
                  <c:v>0.0014443561782335524</c:v>
                </c:pt>
                <c:pt idx="29">
                  <c:v>0.0013728323699421965</c:v>
                </c:pt>
                <c:pt idx="30">
                  <c:v>0.0018142008132624335</c:v>
                </c:pt>
                <c:pt idx="31">
                  <c:v>0.0019587039908593815</c:v>
                </c:pt>
                <c:pt idx="32">
                  <c:v>0.0017610529242747242</c:v>
                </c:pt>
                <c:pt idx="33">
                  <c:v>0.0017895827446547988</c:v>
                </c:pt>
                <c:pt idx="34">
                  <c:v>0.0019574259848299485</c:v>
                </c:pt>
                <c:pt idx="35">
                  <c:v>0.0017367572261506017</c:v>
                </c:pt>
                <c:pt idx="36">
                  <c:v>0.0016083874426639662</c:v>
                </c:pt>
                <c:pt idx="37">
                  <c:v>0.0023678582340360527</c:v>
                </c:pt>
                <c:pt idx="38">
                  <c:v>0.0030191211003019122</c:v>
                </c:pt>
                <c:pt idx="39">
                  <c:v>0.002665978672170623</c:v>
                </c:pt>
                <c:pt idx="40">
                  <c:v>0.00293895373247124</c:v>
                </c:pt>
                <c:pt idx="41">
                  <c:v>0.002329916123019571</c:v>
                </c:pt>
                <c:pt idx="42">
                  <c:v>0.002354326074161271</c:v>
                </c:pt>
                <c:pt idx="43">
                  <c:v>0.002270396953273766</c:v>
                </c:pt>
                <c:pt idx="44">
                  <c:v>0.0024226110363391655</c:v>
                </c:pt>
                <c:pt idx="45">
                  <c:v>0.0031187669990933816</c:v>
                </c:pt>
                <c:pt idx="46">
                  <c:v>0.0036477665429412516</c:v>
                </c:pt>
                <c:pt idx="47">
                  <c:v>0.003454947484798231</c:v>
                </c:pt>
                <c:pt idx="48">
                  <c:v>0.0031363486299108615</c:v>
                </c:pt>
                <c:pt idx="49">
                  <c:v>0.0024744163028685554</c:v>
                </c:pt>
                <c:pt idx="50">
                  <c:v>0.003520358889685037</c:v>
                </c:pt>
                <c:pt idx="51">
                  <c:v>0.0031836022677714784</c:v>
                </c:pt>
                <c:pt idx="52">
                  <c:v>0.0027420214791682536</c:v>
                </c:pt>
                <c:pt idx="53">
                  <c:v>0.0022801897117840204</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1.318876427204974</c:v>
                </c:pt>
                <c:pt idx="1">
                  <c:v>1.1783613190577733</c:v>
                </c:pt>
                <c:pt idx="2">
                  <c:v>1.3595116643104044</c:v>
                </c:pt>
                <c:pt idx="3">
                  <c:v>1.1902362793600154</c:v>
                </c:pt>
                <c:pt idx="4">
                  <c:v>1.3698553945256007</c:v>
                </c:pt>
                <c:pt idx="5">
                  <c:v>1.3596839520037938</c:v>
                </c:pt>
                <c:pt idx="6">
                  <c:v>1.526219271779026</c:v>
                </c:pt>
                <c:pt idx="7">
                  <c:v>1.4570367068688823</c:v>
                </c:pt>
                <c:pt idx="8">
                  <c:v>1.2729922083899994</c:v>
                </c:pt>
                <c:pt idx="9">
                  <c:v>1.2872168323138422</c:v>
                </c:pt>
                <c:pt idx="10">
                  <c:v>1.4370100097277936</c:v>
                </c:pt>
                <c:pt idx="11">
                  <c:v>1.4791815765164475</c:v>
                </c:pt>
                <c:pt idx="12">
                  <c:v>1.48061603007424</c:v>
                </c:pt>
                <c:pt idx="13">
                  <c:v>1.3485304481926024</c:v>
                </c:pt>
                <c:pt idx="14">
                  <c:v>1.3609984513943385</c:v>
                </c:pt>
                <c:pt idx="15">
                  <c:v>1.2804868187951517</c:v>
                </c:pt>
                <c:pt idx="16">
                  <c:v>1.259820123523143</c:v>
                </c:pt>
                <c:pt idx="17">
                  <c:v>0.9169238002068076</c:v>
                </c:pt>
                <c:pt idx="18">
                  <c:v>1.2038039171176271</c:v>
                </c:pt>
                <c:pt idx="19">
                  <c:v>1.2521694876974416</c:v>
                </c:pt>
                <c:pt idx="20">
                  <c:v>1.1682523436465853</c:v>
                </c:pt>
                <c:pt idx="21">
                  <c:v>1.0394696789958382</c:v>
                </c:pt>
                <c:pt idx="22">
                  <c:v>1.1139278476960597</c:v>
                </c:pt>
                <c:pt idx="23">
                  <c:v>0.8546327920260306</c:v>
                </c:pt>
                <c:pt idx="24">
                  <c:v>1.1258494565224455</c:v>
                </c:pt>
                <c:pt idx="25">
                  <c:v>1.0381183162195977</c:v>
                </c:pt>
                <c:pt idx="26">
                  <c:v>1.0818365799683918</c:v>
                </c:pt>
                <c:pt idx="27">
                  <c:v>1.0344431372614082</c:v>
                </c:pt>
                <c:pt idx="28">
                  <c:v>1.2287393693759041</c:v>
                </c:pt>
                <c:pt idx="29">
                  <c:v>1.1693904201707026</c:v>
                </c:pt>
                <c:pt idx="30">
                  <c:v>1.1242428603257462</c:v>
                </c:pt>
                <c:pt idx="31">
                  <c:v>0.9510096894052269</c:v>
                </c:pt>
                <c:pt idx="32">
                  <c:v>1.034606524800708</c:v>
                </c:pt>
                <c:pt idx="33">
                  <c:v>1.0821136246577943</c:v>
                </c:pt>
                <c:pt idx="34">
                  <c:v>1.1511325476120011</c:v>
                </c:pt>
                <c:pt idx="35">
                  <c:v>0.9647616518240307</c:v>
                </c:pt>
                <c:pt idx="36">
                  <c:v>1.031718282303862</c:v>
                </c:pt>
                <c:pt idx="37">
                  <c:v>0.9997826695674594</c:v>
                </c:pt>
                <c:pt idx="38">
                  <c:v>0.8951261422839177</c:v>
                </c:pt>
                <c:pt idx="39">
                  <c:v>0.8405458295905573</c:v>
                </c:pt>
                <c:pt idx="40">
                  <c:v>0.8360350358242471</c:v>
                </c:pt>
                <c:pt idx="41">
                  <c:v>0.8918314411941918</c:v>
                </c:pt>
                <c:pt idx="42">
                  <c:v>0.8201800620054495</c:v>
                </c:pt>
                <c:pt idx="43">
                  <c:v>0.955742215307917</c:v>
                </c:pt>
                <c:pt idx="44">
                  <c:v>1.2896083878249347</c:v>
                </c:pt>
                <c:pt idx="45">
                  <c:v>1.4174545162947598</c:v>
                </c:pt>
                <c:pt idx="46">
                  <c:v>1.2932726365744809</c:v>
                </c:pt>
                <c:pt idx="47">
                  <c:v>1.4121504543147323</c:v>
                </c:pt>
                <c:pt idx="48">
                  <c:v>1.290841008262489</c:v>
                </c:pt>
                <c:pt idx="49">
                  <c:v>1.4340890638809407</c:v>
                </c:pt>
                <c:pt idx="50">
                  <c:v>1.6335958624277291</c:v>
                </c:pt>
                <c:pt idx="51">
                  <c:v>1.4629154077841757</c:v>
                </c:pt>
              </c:numCache>
            </c:numRef>
          </c:xVal>
          <c:yVal>
            <c:numRef>
              <c:f>Sheet1!$B$58:$B$109</c:f>
              <c:numCache>
                <c:formatCode>General</c:formatCode>
                <c:ptCount val="52"/>
                <c:pt idx="0">
                  <c:v>0.0022196214536502686</c:v>
                </c:pt>
                <c:pt idx="1">
                  <c:v>0.002779203010090645</c:v>
                </c:pt>
                <c:pt idx="2">
                  <c:v>0.0024833502652669604</c:v>
                </c:pt>
                <c:pt idx="3">
                  <c:v>0.0027921045488036606</c:v>
                </c:pt>
                <c:pt idx="4">
                  <c:v>0.002615000594318317</c:v>
                </c:pt>
                <c:pt idx="5">
                  <c:v>0.0023112480739599386</c:v>
                </c:pt>
                <c:pt idx="6">
                  <c:v>0.0023894022980427984</c:v>
                </c:pt>
                <c:pt idx="7">
                  <c:v>0.0028944956341357517</c:v>
                </c:pt>
                <c:pt idx="8">
                  <c:v>0.003528198447592683</c:v>
                </c:pt>
                <c:pt idx="9">
                  <c:v>0.0035434446274392375</c:v>
                </c:pt>
                <c:pt idx="10">
                  <c:v>0.003362736975486135</c:v>
                </c:pt>
                <c:pt idx="11">
                  <c:v>0.0033345938327202724</c:v>
                </c:pt>
                <c:pt idx="12">
                  <c:v>0.003589931872883776</c:v>
                </c:pt>
                <c:pt idx="13">
                  <c:v>0.00540326831839747</c:v>
                </c:pt>
                <c:pt idx="14">
                  <c:v>0.005324762544373021</c:v>
                </c:pt>
                <c:pt idx="15">
                  <c:v>0.005132458914407175</c:v>
                </c:pt>
                <c:pt idx="16">
                  <c:v>0.005012531328320802</c:v>
                </c:pt>
                <c:pt idx="17">
                  <c:v>0.006641305048681411</c:v>
                </c:pt>
                <c:pt idx="18">
                  <c:v>0.0035266751707060855</c:v>
                </c:pt>
                <c:pt idx="19">
                  <c:v>0.0032395817994404358</c:v>
                </c:pt>
                <c:pt idx="20">
                  <c:v>0.003997389459944526</c:v>
                </c:pt>
                <c:pt idx="21">
                  <c:v>0.004748522143618567</c:v>
                </c:pt>
                <c:pt idx="22">
                  <c:v>0.00408085792920186</c:v>
                </c:pt>
                <c:pt idx="23">
                  <c:v>0.004483411377901763</c:v>
                </c:pt>
                <c:pt idx="24">
                  <c:v>0.003929093567251462</c:v>
                </c:pt>
                <c:pt idx="25">
                  <c:v>0.004153385492127885</c:v>
                </c:pt>
                <c:pt idx="26">
                  <c:v>0.0039904229848363925</c:v>
                </c:pt>
                <c:pt idx="27">
                  <c:v>0.004331434988369295</c:v>
                </c:pt>
                <c:pt idx="28">
                  <c:v>0.0033964445729151613</c:v>
                </c:pt>
                <c:pt idx="29">
                  <c:v>0.004108032514640329</c:v>
                </c:pt>
                <c:pt idx="30">
                  <c:v>0.004044943820224719</c:v>
                </c:pt>
                <c:pt idx="31">
                  <c:v>0.004304984215057878</c:v>
                </c:pt>
                <c:pt idx="32">
                  <c:v>0.003568168616712306</c:v>
                </c:pt>
                <c:pt idx="33">
                  <c:v>0.002852512155591572</c:v>
                </c:pt>
                <c:pt idx="34">
                  <c:v>0.0028351342676794693</c:v>
                </c:pt>
                <c:pt idx="35">
                  <c:v>0.0038821954484605085</c:v>
                </c:pt>
                <c:pt idx="36">
                  <c:v>0.004633042013267348</c:v>
                </c:pt>
                <c:pt idx="37">
                  <c:v>0.0047787441460384215</c:v>
                </c:pt>
                <c:pt idx="38">
                  <c:v>0.0057379662097545425</c:v>
                </c:pt>
                <c:pt idx="39">
                  <c:v>0.00530049107490841</c:v>
                </c:pt>
                <c:pt idx="40">
                  <c:v>0.004730440006006908</c:v>
                </c:pt>
                <c:pt idx="41">
                  <c:v>0.004056939501779359</c:v>
                </c:pt>
                <c:pt idx="42">
                  <c:v>0.004617253948967193</c:v>
                </c:pt>
                <c:pt idx="43">
                  <c:v>0.003536067892503536</c:v>
                </c:pt>
                <c:pt idx="44">
                  <c:v>0.002514263610869355</c:v>
                </c:pt>
                <c:pt idx="45">
                  <c:v>0.0020232855317336364</c:v>
                </c:pt>
                <c:pt idx="46">
                  <c:v>0.0022206393765450204</c:v>
                </c:pt>
                <c:pt idx="47">
                  <c:v>0.0020594521080240917</c:v>
                </c:pt>
                <c:pt idx="48">
                  <c:v>0.002319811837484293</c:v>
                </c:pt>
                <c:pt idx="49">
                  <c:v>0.0020857263768816877</c:v>
                </c:pt>
                <c:pt idx="50">
                  <c:v>0.0016876779178527856</c:v>
                </c:pt>
                <c:pt idx="51">
                  <c:v>0.002201430930104568</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0.9845198702616744</c:v>
                </c:pt>
              </c:numCache>
            </c:numRef>
          </c:xVal>
          <c:yVal>
            <c:numRef>
              <c:f>Sheet1!$B$112:$B$113</c:f>
              <c:numCache>
                <c:formatCode>General</c:formatCode>
                <c:ptCount val="2"/>
                <c:pt idx="0">
                  <c:v>0.004373630925878378</c:v>
                </c:pt>
                <c:pt idx="1">
                  <c:v>0.004373630925878378</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0.9845198702616744</c:v>
                </c:pt>
                <c:pt idx="1">
                  <c:v>0.9845198702616744</c:v>
                </c:pt>
              </c:numCache>
            </c:numRef>
          </c:xVal>
          <c:yVal>
            <c:numRef>
              <c:f>Sheet1!$B$116:$B$117</c:f>
              <c:numCache>
                <c:formatCode>General</c:formatCode>
                <c:ptCount val="2"/>
                <c:pt idx="0">
                  <c:v>0.00437363092587837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0.9845198702616744</c:v>
                </c:pt>
              </c:numCache>
            </c:numRef>
          </c:xVal>
          <c:yVal>
            <c:numRef>
              <c:f>Sheet1!$B$120:$B$121</c:f>
              <c:numCache>
                <c:formatCode>General</c:formatCode>
                <c:ptCount val="2"/>
                <c:pt idx="0">
                  <c:v>0.004373630925878378</c:v>
                </c:pt>
                <c:pt idx="1">
                  <c:v>0.004373630925878378</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0.9845198702616744</c:v>
                </c:pt>
                <c:pt idx="1">
                  <c:v>0.9845198702616744</c:v>
                </c:pt>
              </c:numCache>
            </c:numRef>
          </c:xVal>
          <c:yVal>
            <c:numRef>
              <c:f>Sheet1!$B$124:$B$125</c:f>
              <c:numCache>
                <c:formatCode>General</c:formatCode>
                <c:ptCount val="2"/>
                <c:pt idx="0">
                  <c:v>0.00437363092587837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1.3666618406704325</c:v>
                </c:pt>
              </c:numCache>
            </c:numRef>
          </c:xVal>
          <c:yVal>
            <c:numRef>
              <c:f>Sheet1!$B$128:$B$129</c:f>
              <c:numCache>
                <c:formatCode>General</c:formatCode>
                <c:ptCount val="2"/>
                <c:pt idx="0">
                  <c:v>0.0030271907779739113</c:v>
                </c:pt>
                <c:pt idx="1">
                  <c:v>0.0030271907779739113</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1.3666618406704325</c:v>
                </c:pt>
                <c:pt idx="1">
                  <c:v>1.3666618406704325</c:v>
                </c:pt>
              </c:numCache>
            </c:numRef>
          </c:xVal>
          <c:yVal>
            <c:numRef>
              <c:f>Sheet1!$B$132:$B$133</c:f>
              <c:numCache>
                <c:formatCode>General</c:formatCode>
                <c:ptCount val="2"/>
                <c:pt idx="0">
                  <c:v>0.003027190777973911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1.318876427204974</c:v>
                </c:pt>
                <c:pt idx="1">
                  <c:v>1.1783613190577733</c:v>
                </c:pt>
                <c:pt idx="2">
                  <c:v>1.3595116643104044</c:v>
                </c:pt>
                <c:pt idx="3">
                  <c:v>1.1902362793600154</c:v>
                </c:pt>
                <c:pt idx="4">
                  <c:v>1.3698553945256007</c:v>
                </c:pt>
                <c:pt idx="5">
                  <c:v>1.3596839520037938</c:v>
                </c:pt>
                <c:pt idx="6">
                  <c:v>1.526219271779026</c:v>
                </c:pt>
                <c:pt idx="7">
                  <c:v>1.4570367068688823</c:v>
                </c:pt>
                <c:pt idx="8">
                  <c:v>1.2729922083899994</c:v>
                </c:pt>
                <c:pt idx="9">
                  <c:v>1.2872168323138422</c:v>
                </c:pt>
                <c:pt idx="10">
                  <c:v>1.4370100097277936</c:v>
                </c:pt>
                <c:pt idx="11">
                  <c:v>1.4791815765164475</c:v>
                </c:pt>
                <c:pt idx="12">
                  <c:v>1.48061603007424</c:v>
                </c:pt>
                <c:pt idx="13">
                  <c:v>1.3485304481926024</c:v>
                </c:pt>
                <c:pt idx="14">
                  <c:v>1.3609984513943385</c:v>
                </c:pt>
                <c:pt idx="15">
                  <c:v>1.2804868187951517</c:v>
                </c:pt>
                <c:pt idx="16">
                  <c:v>1.259820123523143</c:v>
                </c:pt>
                <c:pt idx="17">
                  <c:v>0.9169238002068076</c:v>
                </c:pt>
                <c:pt idx="18">
                  <c:v>1.2038039171176271</c:v>
                </c:pt>
                <c:pt idx="19">
                  <c:v>1.2521694876974416</c:v>
                </c:pt>
                <c:pt idx="20">
                  <c:v>1.1682523436465853</c:v>
                </c:pt>
                <c:pt idx="21">
                  <c:v>1.0394696789958382</c:v>
                </c:pt>
                <c:pt idx="22">
                  <c:v>1.1139278476960597</c:v>
                </c:pt>
                <c:pt idx="23">
                  <c:v>0.8546327920260306</c:v>
                </c:pt>
                <c:pt idx="24">
                  <c:v>1.1258494565224455</c:v>
                </c:pt>
                <c:pt idx="25">
                  <c:v>1.0381183162195977</c:v>
                </c:pt>
                <c:pt idx="26">
                  <c:v>1.0818365799683918</c:v>
                </c:pt>
                <c:pt idx="27">
                  <c:v>1.0344431372614082</c:v>
                </c:pt>
                <c:pt idx="28">
                  <c:v>1.2287393693759041</c:v>
                </c:pt>
                <c:pt idx="29">
                  <c:v>1.1693904201707026</c:v>
                </c:pt>
                <c:pt idx="30">
                  <c:v>1.1242428603257462</c:v>
                </c:pt>
                <c:pt idx="31">
                  <c:v>0.9510096894052269</c:v>
                </c:pt>
                <c:pt idx="32">
                  <c:v>1.034606524800708</c:v>
                </c:pt>
                <c:pt idx="33">
                  <c:v>1.0821136246577943</c:v>
                </c:pt>
                <c:pt idx="34">
                  <c:v>1.1511325476120011</c:v>
                </c:pt>
                <c:pt idx="35">
                  <c:v>0.9647616518240307</c:v>
                </c:pt>
                <c:pt idx="36">
                  <c:v>1.031718282303862</c:v>
                </c:pt>
                <c:pt idx="37">
                  <c:v>0.9997826695674594</c:v>
                </c:pt>
                <c:pt idx="38">
                  <c:v>0.8951261422839177</c:v>
                </c:pt>
                <c:pt idx="39">
                  <c:v>0.8405458295905573</c:v>
                </c:pt>
                <c:pt idx="40">
                  <c:v>0.8360350358242471</c:v>
                </c:pt>
                <c:pt idx="41">
                  <c:v>0.8918314411941918</c:v>
                </c:pt>
                <c:pt idx="42">
                  <c:v>0.8201800620054495</c:v>
                </c:pt>
                <c:pt idx="43">
                  <c:v>0.955742215307917</c:v>
                </c:pt>
                <c:pt idx="44">
                  <c:v>1.2896083878249347</c:v>
                </c:pt>
                <c:pt idx="45">
                  <c:v>1.4174545162947598</c:v>
                </c:pt>
                <c:pt idx="46">
                  <c:v>1.2932726365744809</c:v>
                </c:pt>
                <c:pt idx="47">
                  <c:v>1.4121504543147323</c:v>
                </c:pt>
                <c:pt idx="48">
                  <c:v>1.290841008262489</c:v>
                </c:pt>
                <c:pt idx="49">
                  <c:v>1.4340890638809407</c:v>
                </c:pt>
                <c:pt idx="50">
                  <c:v>1.6335958624277291</c:v>
                </c:pt>
                <c:pt idx="51">
                  <c:v>1.4629154077841757</c:v>
                </c:pt>
                <c:pt idx="52">
                  <c:v>0.9845198702616744</c:v>
                </c:pt>
                <c:pt idx="53">
                  <c:v>0.9845198702616744</c:v>
                </c:pt>
                <c:pt idx="54">
                  <c:v>1.3666618406704325</c:v>
                </c:pt>
              </c:numCache>
            </c:numRef>
          </c:xVal>
          <c:yVal>
            <c:numRef>
              <c:f>Sheet1!$B$136:$B$190</c:f>
              <c:numCache>
                <c:formatCode>General</c:formatCode>
                <c:ptCount val="55"/>
                <c:pt idx="0">
                  <c:v>0.003195558045001102</c:v>
                </c:pt>
                <c:pt idx="1">
                  <c:v>0.003690649392319368</c:v>
                </c:pt>
                <c:pt idx="2">
                  <c:v>0.0030523837304921647</c:v>
                </c:pt>
                <c:pt idx="3">
                  <c:v>0.0036488091220956914</c:v>
                </c:pt>
                <c:pt idx="4">
                  <c:v>0.0030159386008825183</c:v>
                </c:pt>
                <c:pt idx="5">
                  <c:v>0.0030517766915241044</c:v>
                </c:pt>
                <c:pt idx="6">
                  <c:v>0.002465005653656597</c:v>
                </c:pt>
                <c:pt idx="7">
                  <c:v>0.0027087637073202296</c:v>
                </c:pt>
                <c:pt idx="8">
                  <c:v>0.003357226637178067</c:v>
                </c:pt>
                <c:pt idx="9">
                  <c:v>0.0033071075552059464</c:v>
                </c:pt>
                <c:pt idx="10">
                  <c:v>0.0027793258312131964</c:v>
                </c:pt>
                <c:pt idx="11">
                  <c:v>0.0026307384081579854</c:v>
                </c:pt>
                <c:pt idx="12">
                  <c:v>0.0026256842502531356</c:v>
                </c:pt>
                <c:pt idx="13">
                  <c:v>0.0030910749798150504</c:v>
                </c:pt>
                <c:pt idx="14">
                  <c:v>0.0030471451804866432</c:v>
                </c:pt>
                <c:pt idx="15">
                  <c:v>0.003330820104727298</c:v>
                </c:pt>
                <c:pt idx="16">
                  <c:v>0.003403637199926172</c:v>
                </c:pt>
                <c:pt idx="17">
                  <c:v>0.004611799118880268</c:v>
                </c:pt>
                <c:pt idx="18">
                  <c:v>0.003601004867123299</c:v>
                </c:pt>
                <c:pt idx="19">
                  <c:v>0.0034305934728048144</c:v>
                </c:pt>
                <c:pt idx="20">
                  <c:v>0.0037262673861587874</c:v>
                </c:pt>
                <c:pt idx="21">
                  <c:v>0.00418002060738808</c:v>
                </c:pt>
                <c:pt idx="22">
                  <c:v>0.003917674475739191</c:v>
                </c:pt>
                <c:pt idx="23">
                  <c:v>0.004831275441196634</c:v>
                </c:pt>
                <c:pt idx="24">
                  <c:v>0.003875669843967684</c:v>
                </c:pt>
                <c:pt idx="25">
                  <c:v>0.004184782002987646</c:v>
                </c:pt>
                <c:pt idx="26">
                  <c:v>0.004030744943292034</c:v>
                </c:pt>
                <c:pt idx="27">
                  <c:v>0.0041977311393904</c:v>
                </c:pt>
                <c:pt idx="28">
                  <c:v>0.003513147220943303</c:v>
                </c:pt>
                <c:pt idx="29">
                  <c:v>0.003722257483970289</c:v>
                </c:pt>
                <c:pt idx="30">
                  <c:v>0.003881330529755201</c:v>
                </c:pt>
                <c:pt idx="31">
                  <c:v>0.004491700796142559</c:v>
                </c:pt>
                <c:pt idx="32">
                  <c:v>0.004197155459251563</c:v>
                </c:pt>
                <c:pt idx="33">
                  <c:v>0.004029768803214628</c:v>
                </c:pt>
                <c:pt idx="34">
                  <c:v>0.0037865873261021636</c:v>
                </c:pt>
                <c:pt idx="35">
                  <c:v>0.004443247091114176</c:v>
                </c:pt>
                <c:pt idx="36">
                  <c:v>0.00420733190140074</c:v>
                </c:pt>
                <c:pt idx="37">
                  <c:v>0.004319853933697342</c:v>
                </c:pt>
                <c:pt idx="38">
                  <c:v>0.004688601051225656</c:v>
                </c:pt>
                <c:pt idx="39">
                  <c:v>0.004880909486273795</c:v>
                </c:pt>
                <c:pt idx="40">
                  <c:v>0.004896802830361022</c:v>
                </c:pt>
                <c:pt idx="41">
                  <c:v>0.004700209610782217</c:v>
                </c:pt>
                <c:pt idx="42">
                  <c:v>0.004952666291971293</c:v>
                </c:pt>
                <c:pt idx="43">
                  <c:v>0.004475026200390714</c:v>
                </c:pt>
                <c:pt idx="44">
                  <c:v>0.0032986811414502607</c:v>
                </c:pt>
                <c:pt idx="45">
                  <c:v>0.0028482277145686274</c:v>
                </c:pt>
                <c:pt idx="46">
                  <c:v>0.003285770516576944</c:v>
                </c:pt>
                <c:pt idx="47">
                  <c:v>0.002866916062224457</c:v>
                </c:pt>
                <c:pt idx="48">
                  <c:v>0.0032943381229577472</c:v>
                </c:pt>
                <c:pt idx="49">
                  <c:v>0.002789617500442438</c:v>
                </c:pt>
                <c:pt idx="50">
                  <c:v>0.002086674656828713</c:v>
                </c:pt>
                <c:pt idx="51">
                  <c:v>0.0026880506751416197</c:v>
                </c:pt>
                <c:pt idx="52">
                  <c:v>0.004373630925878378</c:v>
                </c:pt>
                <c:pt idx="53">
                  <c:v>0.004373630925878378</c:v>
                </c:pt>
                <c:pt idx="54">
                  <c:v>0.003027190777973911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96956605841769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34.3125</c:v>
                </c:pt>
                <c:pt idx="1">
                  <c:v>3740.2</c:v>
                </c:pt>
                <c:pt idx="2">
                  <c:v>3175.8333</c:v>
                </c:pt>
                <c:pt idx="3">
                  <c:v>3027.4</c:v>
                </c:pt>
                <c:pt idx="4">
                  <c:v>3982.3333</c:v>
                </c:pt>
                <c:pt idx="5">
                  <c:v>3848.6667</c:v>
                </c:pt>
                <c:pt idx="6">
                  <c:v>3216.6364</c:v>
                </c:pt>
                <c:pt idx="7">
                  <c:v>3208.875</c:v>
                </c:pt>
                <c:pt idx="8">
                  <c:v>3023.0</c:v>
                </c:pt>
                <c:pt idx="9">
                  <c:v>3233.3333</c:v>
                </c:pt>
                <c:pt idx="10">
                  <c:v>3528.3333</c:v>
                </c:pt>
                <c:pt idx="11">
                  <c:v>3129.7</c:v>
                </c:pt>
                <c:pt idx="12">
                  <c:v>3208.4545</c:v>
                </c:pt>
                <c:pt idx="13">
                  <c:v>3153.0</c:v>
                </c:pt>
                <c:pt idx="14">
                  <c:v>3951.0</c:v>
                </c:pt>
                <c:pt idx="15">
                  <c:v>3128.3333</c:v>
                </c:pt>
                <c:pt idx="16">
                  <c:v>4342.0</c:v>
                </c:pt>
                <c:pt idx="17">
                  <c:v>3291.5</c:v>
                </c:pt>
                <c:pt idx="18">
                  <c:v>4434.0</c:v>
                </c:pt>
                <c:pt idx="19">
                  <c:v>3808.0</c:v>
                </c:pt>
                <c:pt idx="20">
                  <c:v>3044.2</c:v>
                </c:pt>
                <c:pt idx="21">
                  <c:v>6720.0</c:v>
                </c:pt>
                <c:pt idx="22">
                  <c:v>3122.1429</c:v>
                </c:pt>
                <c:pt idx="23">
                  <c:v>3924.6</c:v>
                </c:pt>
                <c:pt idx="24">
                  <c:v>2808.3333</c:v>
                </c:pt>
                <c:pt idx="25">
                  <c:v>2765.0</c:v>
                </c:pt>
                <c:pt idx="26">
                  <c:v>3202.0</c:v>
                </c:pt>
                <c:pt idx="27">
                  <c:v>3106.4</c:v>
                </c:pt>
                <c:pt idx="28">
                  <c:v>3346.6</c:v>
                </c:pt>
                <c:pt idx="29">
                  <c:v>3119.6667</c:v>
                </c:pt>
                <c:pt idx="30">
                  <c:v>3099.8</c:v>
                </c:pt>
                <c:pt idx="31">
                  <c:v>3342.0</c:v>
                </c:pt>
                <c:pt idx="32">
                  <c:v>4329.0</c:v>
                </c:pt>
                <c:pt idx="33">
                  <c:v>2663.4615</c:v>
                </c:pt>
                <c:pt idx="34">
                  <c:v>3005.3571</c:v>
                </c:pt>
                <c:pt idx="35">
                  <c:v>2884.4444</c:v>
                </c:pt>
                <c:pt idx="36">
                  <c:v>2882.1111</c:v>
                </c:pt>
                <c:pt idx="37">
                  <c:v>3050.0</c:v>
                </c:pt>
                <c:pt idx="38">
                  <c:v>3066.2</c:v>
                </c:pt>
                <c:pt idx="39">
                  <c:v>3735.1667</c:v>
                </c:pt>
                <c:pt idx="40">
                  <c:v>4272.75</c:v>
                </c:pt>
                <c:pt idx="41">
                  <c:v>4003.25</c:v>
                </c:pt>
                <c:pt idx="42">
                  <c:v>3549.6667</c:v>
                </c:pt>
                <c:pt idx="43">
                  <c:v>3104.1429</c:v>
                </c:pt>
                <c:pt idx="44">
                  <c:v>3004.2222</c:v>
                </c:pt>
                <c:pt idx="45">
                  <c:v>3138.1429</c:v>
                </c:pt>
                <c:pt idx="46">
                  <c:v>2995.8667</c:v>
                </c:pt>
                <c:pt idx="47">
                  <c:v>2660.1667</c:v>
                </c:pt>
                <c:pt idx="48">
                  <c:v>3669.0</c:v>
                </c:pt>
                <c:pt idx="49">
                  <c:v>3025.0556</c:v>
                </c:pt>
                <c:pt idx="50">
                  <c:v>3099.3571</c:v>
                </c:pt>
                <c:pt idx="51">
                  <c:v>2739.4667</c:v>
                </c:pt>
                <c:pt idx="52">
                  <c:v>3202.5</c:v>
                </c:pt>
                <c:pt idx="53">
                  <c:v>3334.5</c:v>
                </c:pt>
                <c:pt idx="54">
                  <c:v>2909.6923</c:v>
                </c:pt>
                <c:pt idx="55">
                  <c:v>3116.0</c:v>
                </c:pt>
                <c:pt idx="56">
                  <c:v>2599.75</c:v>
                </c:pt>
                <c:pt idx="57">
                  <c:v>2696.8333</c:v>
                </c:pt>
                <c:pt idx="58">
                  <c:v>2451.5714</c:v>
                </c:pt>
                <c:pt idx="59">
                  <c:v>2641.6154</c:v>
                </c:pt>
                <c:pt idx="60">
                  <c:v>2559.1905</c:v>
                </c:pt>
                <c:pt idx="61">
                  <c:v>2616.8125</c:v>
                </c:pt>
                <c:pt idx="62">
                  <c:v>2355.3889</c:v>
                </c:pt>
                <c:pt idx="63">
                  <c:v>2616.8235</c:v>
                </c:pt>
                <c:pt idx="64">
                  <c:v>2307.1667</c:v>
                </c:pt>
                <c:pt idx="65">
                  <c:v>2335.0625</c:v>
                </c:pt>
                <c:pt idx="66">
                  <c:v>2205.0588</c:v>
                </c:pt>
                <c:pt idx="67">
                  <c:v>2366.9167</c:v>
                </c:pt>
                <c:pt idx="68">
                  <c:v>1907.25</c:v>
                </c:pt>
                <c:pt idx="69">
                  <c:v>1806.8462</c:v>
                </c:pt>
                <c:pt idx="70">
                  <c:v>2093.8182</c:v>
                </c:pt>
                <c:pt idx="71">
                  <c:v>1689.1818</c:v>
                </c:pt>
                <c:pt idx="72">
                  <c:v>2030.4375</c:v>
                </c:pt>
                <c:pt idx="73">
                  <c:v>1540.12</c:v>
                </c:pt>
                <c:pt idx="74">
                  <c:v>1899.0714</c:v>
                </c:pt>
                <c:pt idx="75">
                  <c:v>2853.48</c:v>
                </c:pt>
                <c:pt idx="76">
                  <c:v>2875.1212</c:v>
                </c:pt>
                <c:pt idx="77">
                  <c:v>3425.6333</c:v>
                </c:pt>
                <c:pt idx="78">
                  <c:v>2855.7568</c:v>
                </c:pt>
                <c:pt idx="79">
                  <c:v>3978.3</c:v>
                </c:pt>
                <c:pt idx="80">
                  <c:v>3440.1333</c:v>
                </c:pt>
                <c:pt idx="81">
                  <c:v>3386.2927</c:v>
                </c:pt>
                <c:pt idx="82">
                  <c:v>3334.303</c:v>
                </c:pt>
                <c:pt idx="83">
                  <c:v>3918.6087</c:v>
                </c:pt>
                <c:pt idx="84">
                  <c:v>3499.875</c:v>
                </c:pt>
                <c:pt idx="85">
                  <c:v>3327.3478</c:v>
                </c:pt>
                <c:pt idx="86">
                  <c:v>4500.5714</c:v>
                </c:pt>
                <c:pt idx="87">
                  <c:v>4381.2143</c:v>
                </c:pt>
                <c:pt idx="88">
                  <c:v>3936.9063</c:v>
                </c:pt>
                <c:pt idx="89">
                  <c:v>3929.9118</c:v>
                </c:pt>
                <c:pt idx="90">
                  <c:v>4465.6207</c:v>
                </c:pt>
                <c:pt idx="91">
                  <c:v>3604.8857</c:v>
                </c:pt>
                <c:pt idx="92">
                  <c:v>4148.6286</c:v>
                </c:pt>
                <c:pt idx="93">
                  <c:v>4459.8824</c:v>
                </c:pt>
                <c:pt idx="94">
                  <c:v>4274.8824</c:v>
                </c:pt>
                <c:pt idx="95">
                  <c:v>4202.5714</c:v>
                </c:pt>
                <c:pt idx="96">
                  <c:v>3518.4405</c:v>
                </c:pt>
                <c:pt idx="97">
                  <c:v>3508.6293</c:v>
                </c:pt>
                <c:pt idx="98">
                  <c:v>3336.811</c:v>
                </c:pt>
                <c:pt idx="99">
                  <c:v>3491.1985</c:v>
                </c:pt>
                <c:pt idx="100">
                  <c:v>3901.069</c:v>
                </c:pt>
                <c:pt idx="101">
                  <c:v>3699.9652</c:v>
                </c:pt>
                <c:pt idx="102">
                  <c:v>3851.6974</c:v>
                </c:pt>
                <c:pt idx="103">
                  <c:v>3939.1392</c:v>
                </c:pt>
                <c:pt idx="104">
                  <c:v>4226.3208</c:v>
                </c:pt>
              </c:numCache>
            </c:numRef>
          </c:xVal>
          <c:yVal>
            <c:numRef>
              <c:f>Sheet1!$B$2:$B$106</c:f>
              <c:numCache>
                <c:formatCode>General</c:formatCode>
                <c:ptCount val="105"/>
                <c:pt idx="0">
                  <c:v>0.00036313292934794946</c:v>
                </c:pt>
                <c:pt idx="1">
                  <c:v>0.0001180052394326308</c:v>
                </c:pt>
                <c:pt idx="2">
                  <c:v>0.0001380738695201933</c:v>
                </c:pt>
                <c:pt idx="3">
                  <c:v>0.00012080796366096453</c:v>
                </c:pt>
                <c:pt idx="4">
                  <c:v>8.474336883138894e-05</c:v>
                </c:pt>
                <c:pt idx="5">
                  <c:v>0.00017300040366760857</c:v>
                </c:pt>
                <c:pt idx="6">
                  <c:v>0.0003105064077231412</c:v>
                </c:pt>
                <c:pt idx="7">
                  <c:v>0.00025602457835952253</c:v>
                </c:pt>
                <c:pt idx="8">
                  <c:v>0.0002340276152586005</c:v>
                </c:pt>
                <c:pt idx="9">
                  <c:v>0.0002367673366305377</c:v>
                </c:pt>
                <c:pt idx="10">
                  <c:v>0.00015051173991571343</c:v>
                </c:pt>
                <c:pt idx="11">
                  <c:v>0.0002527805864509606</c:v>
                </c:pt>
                <c:pt idx="12">
                  <c:v>0.0002554337729890396</c:v>
                </c:pt>
                <c:pt idx="13">
                  <c:v>0.0002448639780601876</c:v>
                </c:pt>
                <c:pt idx="14">
                  <c:v>7.260582298700355e-05</c:v>
                </c:pt>
                <c:pt idx="15">
                  <c:v>0.0001733452748967151</c:v>
                </c:pt>
                <c:pt idx="16">
                  <c:v>6.55780706931602e-05</c:v>
                </c:pt>
                <c:pt idx="17">
                  <c:v>0.00014305639998569435</c:v>
                </c:pt>
                <c:pt idx="18">
                  <c:v>7.898270278808941e-05</c:v>
                </c:pt>
                <c:pt idx="19">
                  <c:v>0.00013928223222990855</c:v>
                </c:pt>
                <c:pt idx="20">
                  <c:v>0.0001914168676543777</c:v>
                </c:pt>
                <c:pt idx="21">
                  <c:v>4.51773209848656e-05</c:v>
                </c:pt>
                <c:pt idx="22">
                  <c:v>0.0003267058713712312</c:v>
                </c:pt>
                <c:pt idx="23">
                  <c:v>0.0002458210422812193</c:v>
                </c:pt>
                <c:pt idx="24">
                  <c:v>0.0004160502958579882</c:v>
                </c:pt>
                <c:pt idx="25">
                  <c:v>0.0005230125523012552</c:v>
                </c:pt>
                <c:pt idx="26">
                  <c:v>0.0004662222015012355</c:v>
                </c:pt>
                <c:pt idx="27">
                  <c:v>0.00022745882995177873</c:v>
                </c:pt>
                <c:pt idx="28">
                  <c:v>0.00023182492581602375</c:v>
                </c:pt>
                <c:pt idx="29">
                  <c:v>0.00036588340515489066</c:v>
                </c:pt>
                <c:pt idx="30">
                  <c:v>0.00026104207998329333</c:v>
                </c:pt>
                <c:pt idx="31">
                  <c:v>0.00030453761039488374</c:v>
                </c:pt>
                <c:pt idx="32">
                  <c:v>0.00020004000800160032</c:v>
                </c:pt>
                <c:pt idx="33">
                  <c:v>0.0005195428023339461</c:v>
                </c:pt>
                <c:pt idx="34">
                  <c:v>0.0005066406108638222</c:v>
                </c:pt>
                <c:pt idx="35">
                  <c:v>0.0005345687811831789</c:v>
                </c:pt>
                <c:pt idx="36">
                  <c:v>0.00033811706364114506</c:v>
                </c:pt>
                <c:pt idx="37">
                  <c:v>0.00026327336551118914</c:v>
                </c:pt>
                <c:pt idx="38">
                  <c:v>0.00021714583514288196</c:v>
                </c:pt>
                <c:pt idx="39">
                  <c:v>0.00027820280984837946</c:v>
                </c:pt>
                <c:pt idx="40">
                  <c:v>0.00015428527347064721</c:v>
                </c:pt>
                <c:pt idx="41">
                  <c:v>0.00016618196925633567</c:v>
                </c:pt>
                <c:pt idx="42">
                  <c:v>0.00010635280771412365</c:v>
                </c:pt>
                <c:pt idx="43">
                  <c:v>0.00022198262193188305</c:v>
                </c:pt>
                <c:pt idx="44">
                  <c:v>0.00019422085068732602</c:v>
                </c:pt>
                <c:pt idx="45">
                  <c:v>0.0001392065228199264</c:v>
                </c:pt>
                <c:pt idx="46">
                  <c:v>0.0002866479390013186</c:v>
                </c:pt>
                <c:pt idx="47">
                  <c:v>0.0003465937536103516</c:v>
                </c:pt>
                <c:pt idx="48">
                  <c:v>0.00017395085888236573</c:v>
                </c:pt>
                <c:pt idx="49">
                  <c:v>0.0001764757786993735</c:v>
                </c:pt>
                <c:pt idx="50">
                  <c:v>0.0002607124899905026</c:v>
                </c:pt>
                <c:pt idx="51">
                  <c:v>0.00033724537973829757</c:v>
                </c:pt>
                <c:pt idx="52">
                  <c:v>0.00011712573447595994</c:v>
                </c:pt>
                <c:pt idx="53">
                  <c:v>0.00014421690222094028</c:v>
                </c:pt>
                <c:pt idx="54">
                  <c:v>0.00034161082643542243</c:v>
                </c:pt>
                <c:pt idx="55">
                  <c:v>0.0002166553825321598</c:v>
                </c:pt>
                <c:pt idx="56">
                  <c:v>0.00021784119376974185</c:v>
                </c:pt>
                <c:pt idx="57">
                  <c:v>0.00014241633040588654</c:v>
                </c:pt>
                <c:pt idx="58">
                  <c:v>0.00015347848012453683</c:v>
                </c:pt>
                <c:pt idx="59">
                  <c:v>0.0001909798736594682</c:v>
                </c:pt>
                <c:pt idx="60">
                  <c:v>0.00033729521362030194</c:v>
                </c:pt>
                <c:pt idx="61">
                  <c:v>0.00034526661056084244</c:v>
                </c:pt>
                <c:pt idx="62">
                  <c:v>0.00037922679869377434</c:v>
                </c:pt>
                <c:pt idx="63">
                  <c:v>0.0003265902061360536</c:v>
                </c:pt>
                <c:pt idx="64">
                  <c:v>0.00044982569254413917</c:v>
                </c:pt>
                <c:pt idx="65">
                  <c:v>0.0003264639869414405</c:v>
                </c:pt>
                <c:pt idx="66">
                  <c:v>0.00035840026985432084</c:v>
                </c:pt>
                <c:pt idx="67">
                  <c:v>0.00026140943252369025</c:v>
                </c:pt>
                <c:pt idx="68">
                  <c:v>0.00042267659956675646</c:v>
                </c:pt>
                <c:pt idx="69">
                  <c:v>0.00044499212706236737</c:v>
                </c:pt>
                <c:pt idx="70">
                  <c:v>0.00035560728025086475</c:v>
                </c:pt>
                <c:pt idx="71">
                  <c:v>0.00037821482602118004</c:v>
                </c:pt>
                <c:pt idx="72">
                  <c:v>0.0005287857756626346</c:v>
                </c:pt>
                <c:pt idx="73">
                  <c:v>0.0008655011251514627</c:v>
                </c:pt>
                <c:pt idx="74">
                  <c:v>0.0009342052582410249</c:v>
                </c:pt>
                <c:pt idx="75">
                  <c:v>0.0009785118791342127</c:v>
                </c:pt>
                <c:pt idx="76">
                  <c:v>0.001377582968065122</c:v>
                </c:pt>
                <c:pt idx="77">
                  <c:v>0.0012530804895367778</c:v>
                </c:pt>
                <c:pt idx="78">
                  <c:v>0.0017800442605599924</c:v>
                </c:pt>
                <c:pt idx="79">
                  <c:v>0.0012622012790306295</c:v>
                </c:pt>
                <c:pt idx="80">
                  <c:v>0.001277737552706674</c:v>
                </c:pt>
                <c:pt idx="81">
                  <c:v>0.001474607970076248</c:v>
                </c:pt>
                <c:pt idx="82">
                  <c:v>0.0015154298310066127</c:v>
                </c:pt>
                <c:pt idx="83">
                  <c:v>0.0012142329215499947</c:v>
                </c:pt>
                <c:pt idx="84">
                  <c:v>0.0013257471137380545</c:v>
                </c:pt>
                <c:pt idx="85">
                  <c:v>0.0011378252696151183</c:v>
                </c:pt>
                <c:pt idx="86">
                  <c:v>0.0010361927318481238</c:v>
                </c:pt>
                <c:pt idx="87">
                  <c:v>0.0009866450544416647</c:v>
                </c:pt>
                <c:pt idx="88">
                  <c:v>0.001400131262305841</c:v>
                </c:pt>
                <c:pt idx="89">
                  <c:v>0.0016241520970669723</c:v>
                </c:pt>
                <c:pt idx="90">
                  <c:v>0.0014310387367382185</c:v>
                </c:pt>
                <c:pt idx="91">
                  <c:v>0.0016291193446285608</c:v>
                </c:pt>
                <c:pt idx="92">
                  <c:v>0.001333790632978926</c:v>
                </c:pt>
                <c:pt idx="93">
                  <c:v>0.001266577261212934</c:v>
                </c:pt>
                <c:pt idx="94">
                  <c:v>0.0014334499768118387</c:v>
                </c:pt>
                <c:pt idx="95">
                  <c:v>0.0014944036109670927</c:v>
                </c:pt>
                <c:pt idx="96">
                  <c:v>0.0018807514049660793</c:v>
                </c:pt>
                <c:pt idx="97">
                  <c:v>0.002286209818876998</c:v>
                </c:pt>
                <c:pt idx="98">
                  <c:v>0.002183143382668936</c:v>
                </c:pt>
                <c:pt idx="99">
                  <c:v>0.0020329456784956203</c:v>
                </c:pt>
                <c:pt idx="100">
                  <c:v>0.0015614231564438318</c:v>
                </c:pt>
                <c:pt idx="101">
                  <c:v>0.0020515565070020514</c:v>
                </c:pt>
                <c:pt idx="102">
                  <c:v>0.0016952933303591344</c:v>
                </c:pt>
                <c:pt idx="103">
                  <c:v>0.001670790770467187</c:v>
                </c:pt>
                <c:pt idx="104">
                  <c:v>0.001277385457087079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numCache>
            </c:numRef>
          </c:xVal>
          <c:yVal>
            <c:numRef>
              <c:f>Sheet1!$B$109:$B$160</c:f>
              <c:numCache>
                <c:formatCode>General</c:formatCode>
                <c:ptCount val="52"/>
                <c:pt idx="0">
                  <c:v>0.0012644429910616962</c:v>
                </c:pt>
                <c:pt idx="1">
                  <c:v>0.0014938262960110169</c:v>
                </c:pt>
                <c:pt idx="2">
                  <c:v>0.001452142436232006</c:v>
                </c:pt>
                <c:pt idx="3">
                  <c:v>0.0015529253756400572</c:v>
                </c:pt>
                <c:pt idx="4">
                  <c:v>0.0014792577606647958</c:v>
                </c:pt>
                <c:pt idx="5">
                  <c:v>0.001294398982031987</c:v>
                </c:pt>
                <c:pt idx="6">
                  <c:v>0.0015030272238452094</c:v>
                </c:pt>
                <c:pt idx="7">
                  <c:v>0.0017374957274695227</c:v>
                </c:pt>
                <c:pt idx="8">
                  <c:v>0.0020296009492287515</c:v>
                </c:pt>
                <c:pt idx="9">
                  <c:v>0.0020912710917581003</c:v>
                </c:pt>
                <c:pt idx="10">
                  <c:v>0.0019877971342591315</c:v>
                </c:pt>
                <c:pt idx="11">
                  <c:v>0.0020619415574948453</c:v>
                </c:pt>
                <c:pt idx="12">
                  <c:v>0.0020706369561636745</c:v>
                </c:pt>
                <c:pt idx="13">
                  <c:v>0.0030358964395006557</c:v>
                </c:pt>
                <c:pt idx="14">
                  <c:v>0.003000451395342662</c:v>
                </c:pt>
                <c:pt idx="15">
                  <c:v>0.0029206601259003004</c:v>
                </c:pt>
                <c:pt idx="16">
                  <c:v>0.002713660888165246</c:v>
                </c:pt>
                <c:pt idx="17">
                  <c:v>0.0035899346360957767</c:v>
                </c:pt>
                <c:pt idx="18">
                  <c:v>0.0019464720194647203</c:v>
                </c:pt>
                <c:pt idx="19">
                  <c:v>0.0017023166308933462</c:v>
                </c:pt>
                <c:pt idx="20">
                  <c:v>0.001982521443599288</c:v>
                </c:pt>
                <c:pt idx="21">
                  <c:v>0.002600529737539128</c:v>
                </c:pt>
                <c:pt idx="22">
                  <c:v>0.0022813319095233474</c:v>
                </c:pt>
                <c:pt idx="23">
                  <c:v>0.0023333671502485543</c:v>
                </c:pt>
                <c:pt idx="24">
                  <c:v>0.0021462297896694808</c:v>
                </c:pt>
                <c:pt idx="25">
                  <c:v>0.0024488979959018443</c:v>
                </c:pt>
                <c:pt idx="26">
                  <c:v>0.002502767483274775</c:v>
                </c:pt>
                <c:pt idx="27">
                  <c:v>0.0023880597014925373</c:v>
                </c:pt>
                <c:pt idx="28">
                  <c:v>0.0020101690906940994</c:v>
                </c:pt>
                <c:pt idx="29">
                  <c:v>0.002372093023255814</c:v>
                </c:pt>
                <c:pt idx="30">
                  <c:v>0.0022753679318357864</c:v>
                </c:pt>
                <c:pt idx="31">
                  <c:v>0.0023828865421066884</c:v>
                </c:pt>
                <c:pt idx="32">
                  <c:v>0.0020210769452865597</c:v>
                </c:pt>
                <c:pt idx="33">
                  <c:v>0.0020408979951178517</c:v>
                </c:pt>
                <c:pt idx="34">
                  <c:v>0.0018805829807240243</c:v>
                </c:pt>
                <c:pt idx="35">
                  <c:v>0.002233041695647399</c:v>
                </c:pt>
                <c:pt idx="36">
                  <c:v>0.0025818944650637405</c:v>
                </c:pt>
                <c:pt idx="37">
                  <c:v>0.0026314507090297746</c:v>
                </c:pt>
                <c:pt idx="38">
                  <c:v>0.00295254455658149</c:v>
                </c:pt>
                <c:pt idx="39">
                  <c:v>0.002895313727923233</c:v>
                </c:pt>
                <c:pt idx="40">
                  <c:v>0.00273569882814095</c:v>
                </c:pt>
                <c:pt idx="41">
                  <c:v>0.0022220519500421422</c:v>
                </c:pt>
                <c:pt idx="42">
                  <c:v>0.002549286199864038</c:v>
                </c:pt>
                <c:pt idx="43">
                  <c:v>0.001865371627054321</c:v>
                </c:pt>
                <c:pt idx="44">
                  <c:v>0.0014163927416553088</c:v>
                </c:pt>
                <c:pt idx="45">
                  <c:v>0.0011781673403887952</c:v>
                </c:pt>
                <c:pt idx="46">
                  <c:v>0.0012636695018226002</c:v>
                </c:pt>
                <c:pt idx="47">
                  <c:v>0.0013500835221161988</c:v>
                </c:pt>
                <c:pt idx="48">
                  <c:v>0.0014853395061728396</c:v>
                </c:pt>
                <c:pt idx="49">
                  <c:v>0.0013697667884237145</c:v>
                </c:pt>
                <c:pt idx="50">
                  <c:v>0.0011509642261527259</c:v>
                </c:pt>
                <c:pt idx="51">
                  <c:v>0.001246118242775481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87.205006589772</c:v>
                </c:pt>
              </c:numCache>
            </c:numRef>
          </c:xVal>
          <c:yVal>
            <c:numRef>
              <c:f>Sheet1!$B$163:$B$164</c:f>
              <c:numCache>
                <c:formatCode>General</c:formatCode>
                <c:ptCount val="2"/>
                <c:pt idx="0">
                  <c:v>0.002438776158167452</c:v>
                </c:pt>
                <c:pt idx="1">
                  <c:v>0.00243877615816745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87.205006589772</c:v>
                </c:pt>
                <c:pt idx="1">
                  <c:v>3587.205006589772</c:v>
                </c:pt>
              </c:numCache>
            </c:numRef>
          </c:xVal>
          <c:yVal>
            <c:numRef>
              <c:f>Sheet1!$B$167:$B$168</c:f>
              <c:numCache>
                <c:formatCode>General</c:formatCode>
                <c:ptCount val="2"/>
                <c:pt idx="0">
                  <c:v>0.0024387761581674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587.205006589772</c:v>
                </c:pt>
              </c:numCache>
            </c:numRef>
          </c:xVal>
          <c:yVal>
            <c:numRef>
              <c:f>Sheet1!$B$171:$B$172</c:f>
              <c:numCache>
                <c:formatCode>General</c:formatCode>
                <c:ptCount val="2"/>
                <c:pt idx="0">
                  <c:v>0.002438776158167452</c:v>
                </c:pt>
                <c:pt idx="1">
                  <c:v>0.00243877615816745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587.205006589772</c:v>
                </c:pt>
                <c:pt idx="1">
                  <c:v>3587.205006589772</c:v>
                </c:pt>
              </c:numCache>
            </c:numRef>
          </c:xVal>
          <c:yVal>
            <c:numRef>
              <c:f>Sheet1!$B$175:$B$176</c:f>
              <c:numCache>
                <c:formatCode>General</c:formatCode>
                <c:ptCount val="2"/>
                <c:pt idx="0">
                  <c:v>0.00243877615816745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40.3533240195775</c:v>
                </c:pt>
              </c:numCache>
            </c:numRef>
          </c:xVal>
          <c:yVal>
            <c:numRef>
              <c:f>Sheet1!$B$179:$B$180</c:f>
              <c:numCache>
                <c:formatCode>General</c:formatCode>
                <c:ptCount val="2"/>
                <c:pt idx="0">
                  <c:v>0.0017483249386563344</c:v>
                </c:pt>
                <c:pt idx="1">
                  <c:v>0.001748324938656334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40.3533240195775</c:v>
                </c:pt>
                <c:pt idx="1">
                  <c:v>4240.3533240195775</c:v>
                </c:pt>
              </c:numCache>
            </c:numRef>
          </c:xVal>
          <c:yVal>
            <c:numRef>
              <c:f>Sheet1!$B$183:$B$184</c:f>
              <c:numCache>
                <c:formatCode>General</c:formatCode>
                <c:ptCount val="2"/>
                <c:pt idx="0">
                  <c:v>0.001748324938656334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pt idx="52">
                  <c:v>3587.205006589772</c:v>
                </c:pt>
                <c:pt idx="53">
                  <c:v>3587.205006589772</c:v>
                </c:pt>
                <c:pt idx="54">
                  <c:v>4240.3533240195775</c:v>
                </c:pt>
              </c:numCache>
            </c:numRef>
          </c:xVal>
          <c:yVal>
            <c:numRef>
              <c:f>Sheet1!$B$187:$B$241</c:f>
              <c:numCache>
                <c:formatCode>General</c:formatCode>
                <c:ptCount val="55"/>
                <c:pt idx="0">
                  <c:v>0.0015734729617521296</c:v>
                </c:pt>
                <c:pt idx="1">
                  <c:v>0.002099544127916712</c:v>
                </c:pt>
                <c:pt idx="2">
                  <c:v>0.0016888720083328484</c:v>
                </c:pt>
                <c:pt idx="3">
                  <c:v>0.002326281852149114</c:v>
                </c:pt>
                <c:pt idx="4">
                  <c:v>0.0014454471297744515</c:v>
                </c:pt>
                <c:pt idx="5">
                  <c:v>0.0011295709350772525</c:v>
                </c:pt>
                <c:pt idx="6">
                  <c:v>0.001567872697113927</c:v>
                </c:pt>
                <c:pt idx="7">
                  <c:v>0.0017020122332478595</c:v>
                </c:pt>
                <c:pt idx="8">
                  <c:v>0.001823021587035077</c:v>
                </c:pt>
                <c:pt idx="9">
                  <c:v>0.0018986780681290536</c:v>
                </c:pt>
                <c:pt idx="10">
                  <c:v>0.0017903075508207533</c:v>
                </c:pt>
                <c:pt idx="11">
                  <c:v>0.0019112908996416454</c:v>
                </c:pt>
                <c:pt idx="12">
                  <c:v>0.0021646601407494586</c:v>
                </c:pt>
                <c:pt idx="13">
                  <c:v>0.0026226682759869545</c:v>
                </c:pt>
                <c:pt idx="14">
                  <c:v>0.00257813878818276</c:v>
                </c:pt>
                <c:pt idx="15">
                  <c:v>0.002380574619139657</c:v>
                </c:pt>
                <c:pt idx="16">
                  <c:v>0.0021346191190818554</c:v>
                </c:pt>
                <c:pt idx="17">
                  <c:v>0.0031554458692597577</c:v>
                </c:pt>
                <c:pt idx="18">
                  <c:v>0.0019060980461425335</c:v>
                </c:pt>
                <c:pt idx="19">
                  <c:v>0.0015748263828247264</c:v>
                </c:pt>
                <c:pt idx="20">
                  <c:v>0.0017303608178794345</c:v>
                </c:pt>
                <c:pt idx="21">
                  <c:v>0.002346887088068071</c:v>
                </c:pt>
                <c:pt idx="22">
                  <c:v>0.002129888646569351</c:v>
                </c:pt>
                <c:pt idx="23">
                  <c:v>0.0029066042407848657</c:v>
                </c:pt>
                <c:pt idx="24">
                  <c:v>0.0019418680887450211</c:v>
                </c:pt>
                <c:pt idx="25">
                  <c:v>0.00241577952942518</c:v>
                </c:pt>
                <c:pt idx="26">
                  <c:v>0.0021941493497169944</c:v>
                </c:pt>
                <c:pt idx="27">
                  <c:v>0.0023075899897687024</c:v>
                </c:pt>
                <c:pt idx="28">
                  <c:v>0.0021994843848409315</c:v>
                </c:pt>
                <c:pt idx="29">
                  <c:v>0.002442848268010835</c:v>
                </c:pt>
                <c:pt idx="30">
                  <c:v>0.00245932537409257</c:v>
                </c:pt>
                <c:pt idx="31">
                  <c:v>0.0021274810729593873</c:v>
                </c:pt>
                <c:pt idx="32">
                  <c:v>0.001517669052511118</c:v>
                </c:pt>
                <c:pt idx="33">
                  <c:v>0.0018182191251645743</c:v>
                </c:pt>
                <c:pt idx="34">
                  <c:v>0.001678012820667268</c:v>
                </c:pt>
                <c:pt idx="35">
                  <c:v>0.0019858382583507386</c:v>
                </c:pt>
                <c:pt idx="36">
                  <c:v>0.001818005377026733</c:v>
                </c:pt>
                <c:pt idx="37">
                  <c:v>0.00185347001984177</c:v>
                </c:pt>
                <c:pt idx="38">
                  <c:v>0.0024212526234353793</c:v>
                </c:pt>
                <c:pt idx="39">
                  <c:v>0.002757848222196376</c:v>
                </c:pt>
                <c:pt idx="40">
                  <c:v>0.0028252491835946275</c:v>
                </c:pt>
                <c:pt idx="41">
                  <c:v>0.0024974074273393402</c:v>
                </c:pt>
                <c:pt idx="42">
                  <c:v>0.0027350900710571987</c:v>
                </c:pt>
                <c:pt idx="43">
                  <c:v>0.002353184518368523</c:v>
                </c:pt>
                <c:pt idx="44">
                  <c:v>0.0018667559148526991</c:v>
                </c:pt>
                <c:pt idx="45">
                  <c:v>0.001688005598966996</c:v>
                </c:pt>
                <c:pt idx="46">
                  <c:v>0.0016077162168398563</c:v>
                </c:pt>
                <c:pt idx="47">
                  <c:v>0.0016944811527156503</c:v>
                </c:pt>
                <c:pt idx="48">
                  <c:v>0.0020472709742661637</c:v>
                </c:pt>
                <c:pt idx="49">
                  <c:v>0.0021380681598797613</c:v>
                </c:pt>
                <c:pt idx="50">
                  <c:v>0.0019893964988649607</c:v>
                </c:pt>
                <c:pt idx="51">
                  <c:v>0.0017534806071885217</c:v>
                </c:pt>
                <c:pt idx="52">
                  <c:v>0.002438776158167452</c:v>
                </c:pt>
                <c:pt idx="53">
                  <c:v>0.002438776158167452</c:v>
                </c:pt>
                <c:pt idx="54">
                  <c:v>0.00174832493865633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64.0"/>
          <c:min val="123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307921563314932"/>
          <c:min val="3.614185678789248e-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3.3447053314602983e-05</c:v>
                </c:pt>
                <c:pt idx="2">
                  <c:v>0.0</c:v>
                </c:pt>
                <c:pt idx="3">
                  <c:v>4.513450081242101e-05</c:v>
                </c:pt>
                <c:pt idx="4">
                  <c:v>4.6151006091932804e-05</c:v>
                </c:pt>
                <c:pt idx="5">
                  <c:v>9.649249770830318e-05</c:v>
                </c:pt>
                <c:pt idx="6">
                  <c:v>8.082440897150939e-05</c:v>
                </c:pt>
                <c:pt idx="7">
                  <c:v>0.00011228385358185493</c:v>
                </c:pt>
                <c:pt idx="8">
                  <c:v>0.0001445992191642165</c:v>
                </c:pt>
                <c:pt idx="9">
                  <c:v>0.0003262554036051222</c:v>
                </c:pt>
                <c:pt idx="10">
                  <c:v>0.00037863011623944567</c:v>
                </c:pt>
                <c:pt idx="11">
                  <c:v>0.0002848394217759738</c:v>
                </c:pt>
                <c:pt idx="12">
                  <c:v>0.00036425047186992946</c:v>
                </c:pt>
                <c:pt idx="13">
                  <c:v>0.0003590664272890485</c:v>
                </c:pt>
                <c:pt idx="14">
                  <c:v>0.0003894908292613838</c:v>
                </c:pt>
                <c:pt idx="15">
                  <c:v>0.00036115424897973926</c:v>
                </c:pt>
                <c:pt idx="16">
                  <c:v>0.0003822483850005734</c:v>
                </c:pt>
                <c:pt idx="17">
                  <c:v>0.000599050734989171</c:v>
                </c:pt>
                <c:pt idx="18">
                  <c:v>0.000715009235535959</c:v>
                </c:pt>
                <c:pt idx="19">
                  <c:v>0.00045488144652299997</c:v>
                </c:pt>
                <c:pt idx="20">
                  <c:v>0.0006357683260219976</c:v>
                </c:pt>
                <c:pt idx="21">
                  <c:v>0.0006580128013399533</c:v>
                </c:pt>
                <c:pt idx="22">
                  <c:v>0.0009732044378122364</c:v>
                </c:pt>
                <c:pt idx="23">
                  <c:v>0.0009017132551848512</c:v>
                </c:pt>
                <c:pt idx="24">
                  <c:v>0.0008434666479229634</c:v>
                </c:pt>
                <c:pt idx="25">
                  <c:v>0.0012189547463050433</c:v>
                </c:pt>
                <c:pt idx="26">
                  <c:v>0.0015781582892764145</c:v>
                </c:pt>
                <c:pt idx="27">
                  <c:v>0.002099737532808399</c:v>
                </c:pt>
                <c:pt idx="28">
                  <c:v>0.0014443561782335524</c:v>
                </c:pt>
                <c:pt idx="29">
                  <c:v>0.0013728323699421965</c:v>
                </c:pt>
                <c:pt idx="30">
                  <c:v>0.0018142008132624335</c:v>
                </c:pt>
                <c:pt idx="31">
                  <c:v>0.0019587039908593815</c:v>
                </c:pt>
                <c:pt idx="32">
                  <c:v>0.0017610529242747242</c:v>
                </c:pt>
                <c:pt idx="33">
                  <c:v>0.0017895827446547988</c:v>
                </c:pt>
                <c:pt idx="34">
                  <c:v>0.0019574259848299485</c:v>
                </c:pt>
                <c:pt idx="35">
                  <c:v>0.0017367572261506017</c:v>
                </c:pt>
                <c:pt idx="36">
                  <c:v>0.0016083874426639662</c:v>
                </c:pt>
                <c:pt idx="37">
                  <c:v>0.0023678582340360527</c:v>
                </c:pt>
                <c:pt idx="38">
                  <c:v>0.0030191211003019122</c:v>
                </c:pt>
                <c:pt idx="39">
                  <c:v>0.002665978672170623</c:v>
                </c:pt>
                <c:pt idx="40">
                  <c:v>0.00293895373247124</c:v>
                </c:pt>
                <c:pt idx="41">
                  <c:v>0.002329916123019571</c:v>
                </c:pt>
                <c:pt idx="42">
                  <c:v>0.002354326074161271</c:v>
                </c:pt>
                <c:pt idx="43">
                  <c:v>0.002270396953273766</c:v>
                </c:pt>
                <c:pt idx="44">
                  <c:v>0.0024226110363391655</c:v>
                </c:pt>
                <c:pt idx="45">
                  <c:v>0.0031187669990933816</c:v>
                </c:pt>
                <c:pt idx="46">
                  <c:v>0.0036477665429412516</c:v>
                </c:pt>
                <c:pt idx="47">
                  <c:v>0.003454947484798231</c:v>
                </c:pt>
                <c:pt idx="48">
                  <c:v>0.0031363486299108615</c:v>
                </c:pt>
                <c:pt idx="49">
                  <c:v>0.0024744163028685554</c:v>
                </c:pt>
                <c:pt idx="50">
                  <c:v>0.003520358889685037</c:v>
                </c:pt>
                <c:pt idx="51">
                  <c:v>0.0031836022677714784</c:v>
                </c:pt>
                <c:pt idx="52">
                  <c:v>0.0027420214791682536</c:v>
                </c:pt>
                <c:pt idx="53">
                  <c:v>0.0022801897117840204</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2196214536502686</c:v>
                </c:pt>
                <c:pt idx="1">
                  <c:v>0.002779203010090645</c:v>
                </c:pt>
                <c:pt idx="2">
                  <c:v>0.0024833502652669604</c:v>
                </c:pt>
                <c:pt idx="3">
                  <c:v>0.0027921045488036606</c:v>
                </c:pt>
                <c:pt idx="4">
                  <c:v>0.002615000594318317</c:v>
                </c:pt>
                <c:pt idx="5">
                  <c:v>0.0023112480739599386</c:v>
                </c:pt>
                <c:pt idx="6">
                  <c:v>0.0023894022980427984</c:v>
                </c:pt>
                <c:pt idx="7">
                  <c:v>0.0028944956341357517</c:v>
                </c:pt>
                <c:pt idx="8">
                  <c:v>0.003528198447592683</c:v>
                </c:pt>
                <c:pt idx="9">
                  <c:v>0.0035434446274392375</c:v>
                </c:pt>
                <c:pt idx="10">
                  <c:v>0.003362736975486135</c:v>
                </c:pt>
                <c:pt idx="11">
                  <c:v>0.0033345938327202724</c:v>
                </c:pt>
                <c:pt idx="12">
                  <c:v>0.003589931872883776</c:v>
                </c:pt>
                <c:pt idx="13">
                  <c:v>0.00540326831839747</c:v>
                </c:pt>
                <c:pt idx="14">
                  <c:v>0.005324762544373021</c:v>
                </c:pt>
                <c:pt idx="15">
                  <c:v>0.005132458914407175</c:v>
                </c:pt>
                <c:pt idx="16">
                  <c:v>0.005012531328320802</c:v>
                </c:pt>
                <c:pt idx="17">
                  <c:v>0.006641305048681411</c:v>
                </c:pt>
                <c:pt idx="18">
                  <c:v>0.0035266751707060855</c:v>
                </c:pt>
                <c:pt idx="19">
                  <c:v>0.0032395817994404358</c:v>
                </c:pt>
                <c:pt idx="20">
                  <c:v>0.003997389459944526</c:v>
                </c:pt>
                <c:pt idx="21">
                  <c:v>0.004748522143618567</c:v>
                </c:pt>
                <c:pt idx="22">
                  <c:v>0.00408085792920186</c:v>
                </c:pt>
                <c:pt idx="23">
                  <c:v>0.004483411377901763</c:v>
                </c:pt>
                <c:pt idx="24">
                  <c:v>0.003929093567251462</c:v>
                </c:pt>
                <c:pt idx="25">
                  <c:v>0.004153385492127885</c:v>
                </c:pt>
                <c:pt idx="26">
                  <c:v>0.0039904229848363925</c:v>
                </c:pt>
                <c:pt idx="27">
                  <c:v>0.004331434988369295</c:v>
                </c:pt>
                <c:pt idx="28">
                  <c:v>0.0033964445729151613</c:v>
                </c:pt>
                <c:pt idx="29">
                  <c:v>0.004108032514640329</c:v>
                </c:pt>
                <c:pt idx="30">
                  <c:v>0.004044943820224719</c:v>
                </c:pt>
                <c:pt idx="31">
                  <c:v>0.004304984215057878</c:v>
                </c:pt>
                <c:pt idx="32">
                  <c:v>0.003568168616712306</c:v>
                </c:pt>
                <c:pt idx="33">
                  <c:v>0.002852512155591572</c:v>
                </c:pt>
                <c:pt idx="34">
                  <c:v>0.0028351342676794693</c:v>
                </c:pt>
                <c:pt idx="35">
                  <c:v>0.0038821954484605085</c:v>
                </c:pt>
                <c:pt idx="36">
                  <c:v>0.004633042013267348</c:v>
                </c:pt>
                <c:pt idx="37">
                  <c:v>0.0047787441460384215</c:v>
                </c:pt>
                <c:pt idx="38">
                  <c:v>0.0057379662097545425</c:v>
                </c:pt>
                <c:pt idx="39">
                  <c:v>0.00530049107490841</c:v>
                </c:pt>
                <c:pt idx="40">
                  <c:v>0.004730440006006908</c:v>
                </c:pt>
                <c:pt idx="41">
                  <c:v>0.004056939501779359</c:v>
                </c:pt>
                <c:pt idx="42">
                  <c:v>0.004617253948967193</c:v>
                </c:pt>
                <c:pt idx="43">
                  <c:v>0.003536067892503536</c:v>
                </c:pt>
                <c:pt idx="44">
                  <c:v>0.002514263610869355</c:v>
                </c:pt>
                <c:pt idx="45">
                  <c:v>0.0020232855317336364</c:v>
                </c:pt>
                <c:pt idx="46">
                  <c:v>0.0022206393765450204</c:v>
                </c:pt>
                <c:pt idx="47">
                  <c:v>0.0020594521080240917</c:v>
                </c:pt>
                <c:pt idx="48">
                  <c:v>0.002319811837484293</c:v>
                </c:pt>
                <c:pt idx="49">
                  <c:v>0.0020857263768816877</c:v>
                </c:pt>
                <c:pt idx="50">
                  <c:v>0.0016876779178527856</c:v>
                </c:pt>
                <c:pt idx="51">
                  <c:v>0.002201430930104568</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495.251268691738</c:v>
                </c:pt>
              </c:numCache>
            </c:numRef>
          </c:xVal>
          <c:yVal>
            <c:numRef>
              <c:f>Sheet1!$B$112:$B$113</c:f>
              <c:numCache>
                <c:formatCode>General</c:formatCode>
                <c:ptCount val="2"/>
                <c:pt idx="0">
                  <c:v>0.004373630925878378</c:v>
                </c:pt>
                <c:pt idx="1">
                  <c:v>0.004373630925878378</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495.251268691738</c:v>
                </c:pt>
                <c:pt idx="1">
                  <c:v>3495.251268691738</c:v>
                </c:pt>
              </c:numCache>
            </c:numRef>
          </c:xVal>
          <c:yVal>
            <c:numRef>
              <c:f>Sheet1!$B$116:$B$117</c:f>
              <c:numCache>
                <c:formatCode>General</c:formatCode>
                <c:ptCount val="2"/>
                <c:pt idx="0">
                  <c:v>0.00437363092587837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495.251268691738</c:v>
                </c:pt>
              </c:numCache>
            </c:numRef>
          </c:xVal>
          <c:yVal>
            <c:numRef>
              <c:f>Sheet1!$B$120:$B$121</c:f>
              <c:numCache>
                <c:formatCode>General</c:formatCode>
                <c:ptCount val="2"/>
                <c:pt idx="0">
                  <c:v>0.004373630925878378</c:v>
                </c:pt>
                <c:pt idx="1">
                  <c:v>0.004373630925878378</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495.251268691738</c:v>
                </c:pt>
                <c:pt idx="1">
                  <c:v>3495.251268691738</c:v>
                </c:pt>
              </c:numCache>
            </c:numRef>
          </c:xVal>
          <c:yVal>
            <c:numRef>
              <c:f>Sheet1!$B$124:$B$125</c:f>
              <c:numCache>
                <c:formatCode>General</c:formatCode>
                <c:ptCount val="2"/>
                <c:pt idx="0">
                  <c:v>0.00437363092587837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49.658661393088</c:v>
                </c:pt>
              </c:numCache>
            </c:numRef>
          </c:xVal>
          <c:yVal>
            <c:numRef>
              <c:f>Sheet1!$B$128:$B$129</c:f>
              <c:numCache>
                <c:formatCode>General</c:formatCode>
                <c:ptCount val="2"/>
                <c:pt idx="0">
                  <c:v>0.0030271907779739113</c:v>
                </c:pt>
                <c:pt idx="1">
                  <c:v>0.0030271907779739113</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49.658661393088</c:v>
                </c:pt>
                <c:pt idx="1">
                  <c:v>4249.658661393088</c:v>
                </c:pt>
              </c:numCache>
            </c:numRef>
          </c:xVal>
          <c:yVal>
            <c:numRef>
              <c:f>Sheet1!$B$132:$B$133</c:f>
              <c:numCache>
                <c:formatCode>General</c:formatCode>
                <c:ptCount val="2"/>
                <c:pt idx="0">
                  <c:v>0.003027190777973911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495.251268691738</c:v>
                </c:pt>
                <c:pt idx="53">
                  <c:v>3495.251268691738</c:v>
                </c:pt>
                <c:pt idx="54">
                  <c:v>4249.658661393088</c:v>
                </c:pt>
              </c:numCache>
            </c:numRef>
          </c:xVal>
          <c:yVal>
            <c:numRef>
              <c:f>Sheet1!$B$136:$B$190</c:f>
              <c:numCache>
                <c:formatCode>General</c:formatCode>
                <c:ptCount val="55"/>
                <c:pt idx="0">
                  <c:v>0.0027043827052094706</c:v>
                </c:pt>
                <c:pt idx="1">
                  <c:v>0.003968827891942792</c:v>
                </c:pt>
                <c:pt idx="2">
                  <c:v>0.002839127132199178</c:v>
                </c:pt>
                <c:pt idx="3">
                  <c:v>0.004114024261570448</c:v>
                </c:pt>
                <c:pt idx="4">
                  <c:v>0.002626658852887374</c:v>
                </c:pt>
                <c:pt idx="5">
                  <c:v>0.0019721609605767403</c:v>
                </c:pt>
                <c:pt idx="6">
                  <c:v>0.002563303789163614</c:v>
                </c:pt>
                <c:pt idx="7">
                  <c:v>0.0031206981334553022</c:v>
                </c:pt>
                <c:pt idx="8">
                  <c:v>0.0033442148239733425</c:v>
                </c:pt>
                <c:pt idx="9">
                  <c:v>0.003341504657842452</c:v>
                </c:pt>
                <c:pt idx="10">
                  <c:v>0.002976814994146454</c:v>
                </c:pt>
                <c:pt idx="11">
                  <c:v>0.0034864989920364454</c:v>
                </c:pt>
                <c:pt idx="12">
                  <c:v>0.003820720927039364</c:v>
                </c:pt>
                <c:pt idx="13">
                  <c:v>0.004533431438771527</c:v>
                </c:pt>
                <c:pt idx="14">
                  <c:v>0.00455221823543072</c:v>
                </c:pt>
                <c:pt idx="15">
                  <c:v>0.004153579658294655</c:v>
                </c:pt>
                <c:pt idx="16">
                  <c:v>0.003928628016463322</c:v>
                </c:pt>
                <c:pt idx="17">
                  <c:v>0.005398829158635107</c:v>
                </c:pt>
                <c:pt idx="18">
                  <c:v>0.0033069416066574785</c:v>
                </c:pt>
                <c:pt idx="19">
                  <c:v>0.002865912176141199</c:v>
                </c:pt>
                <c:pt idx="20">
                  <c:v>0.0032747367658832703</c:v>
                </c:pt>
                <c:pt idx="21">
                  <c:v>0.003880828610272405</c:v>
                </c:pt>
                <c:pt idx="22">
                  <c:v>0.0034863869087746607</c:v>
                </c:pt>
                <c:pt idx="23">
                  <c:v>0.005127964250597793</c:v>
                </c:pt>
                <c:pt idx="24">
                  <c:v>0.003500416056533547</c:v>
                </c:pt>
                <c:pt idx="25">
                  <c:v>0.004006625294831683</c:v>
                </c:pt>
                <c:pt idx="26">
                  <c:v>0.0035484469467858245</c:v>
                </c:pt>
                <c:pt idx="27">
                  <c:v>0.004046310622470826</c:v>
                </c:pt>
                <c:pt idx="28">
                  <c:v>0.003776069132958055</c:v>
                </c:pt>
                <c:pt idx="29">
                  <c:v>0.004089504263289746</c:v>
                </c:pt>
                <c:pt idx="30">
                  <c:v>0.0042231278576616085</c:v>
                </c:pt>
                <c:pt idx="31">
                  <c:v>0.003950415717523225</c:v>
                </c:pt>
                <c:pt idx="32">
                  <c:v>0.0030831959307495195</c:v>
                </c:pt>
                <c:pt idx="33">
                  <c:v>0.002342205277170925</c:v>
                </c:pt>
                <c:pt idx="34">
                  <c:v>0.002248895426305632</c:v>
                </c:pt>
                <c:pt idx="35">
                  <c:v>0.0036163233564821783</c:v>
                </c:pt>
                <c:pt idx="36">
                  <c:v>0.0030724987613572844</c:v>
                </c:pt>
                <c:pt idx="37">
                  <c:v>0.0032101268336665063</c:v>
                </c:pt>
                <c:pt idx="38">
                  <c:v>0.004202642678328622</c:v>
                </c:pt>
                <c:pt idx="39">
                  <c:v>0.004931556003496859</c:v>
                </c:pt>
                <c:pt idx="40">
                  <c:v>0.004854521249062901</c:v>
                </c:pt>
                <c:pt idx="41">
                  <c:v>0.004490370941445109</c:v>
                </c:pt>
                <c:pt idx="42">
                  <c:v>0.00476963977392136</c:v>
                </c:pt>
                <c:pt idx="43">
                  <c:v>0.004458528586506385</c:v>
                </c:pt>
                <c:pt idx="44">
                  <c:v>0.003343171450170169</c:v>
                </c:pt>
                <c:pt idx="45">
                  <c:v>0.0031664821826524756</c:v>
                </c:pt>
                <c:pt idx="46">
                  <c:v>0.003285271521631836</c:v>
                </c:pt>
                <c:pt idx="47">
                  <c:v>0.0033529915858865923</c:v>
                </c:pt>
                <c:pt idx="48">
                  <c:v>0.004158122778404094</c:v>
                </c:pt>
                <c:pt idx="49">
                  <c:v>0.0038348475229844515</c:v>
                </c:pt>
                <c:pt idx="50">
                  <c:v>0.003291027925202441</c:v>
                </c:pt>
                <c:pt idx="51">
                  <c:v>0.0030923501705269005</c:v>
                </c:pt>
                <c:pt idx="52">
                  <c:v>0.004373630925878378</c:v>
                </c:pt>
                <c:pt idx="53">
                  <c:v>0.004373630925878378</c:v>
                </c:pt>
                <c:pt idx="54">
                  <c:v>0.003027190777973912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96956605841769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0.37689823359901536</c:v>
                </c:pt>
                <c:pt idx="1">
                  <c:v>0.3759873193125819</c:v>
                </c:pt>
                <c:pt idx="2">
                  <c:v>0.3727523743292729</c:v>
                </c:pt>
                <c:pt idx="3">
                  <c:v>0.38265748399377053</c:v>
                </c:pt>
                <c:pt idx="4">
                  <c:v>0.3557680477010675</c:v>
                </c:pt>
                <c:pt idx="5">
                  <c:v>0.3507834071353352</c:v>
                </c:pt>
                <c:pt idx="6">
                  <c:v>0.33763924094392805</c:v>
                </c:pt>
                <c:pt idx="7">
                  <c:v>0.3385986056543848</c:v>
                </c:pt>
                <c:pt idx="8">
                  <c:v>0.33228698558185393</c:v>
                </c:pt>
                <c:pt idx="9">
                  <c:v>0.3440074650841507</c:v>
                </c:pt>
                <c:pt idx="10">
                  <c:v>0.3263100655789787</c:v>
                </c:pt>
                <c:pt idx="11">
                  <c:v>0.33030022035874723</c:v>
                </c:pt>
                <c:pt idx="12">
                  <c:v>0.3253721972916095</c:v>
                </c:pt>
                <c:pt idx="13">
                  <c:v>0.3239396291320753</c:v>
                </c:pt>
                <c:pt idx="14">
                  <c:v>0.33346383633770804</c:v>
                </c:pt>
                <c:pt idx="15">
                  <c:v>0.3217114128913396</c:v>
                </c:pt>
                <c:pt idx="16">
                  <c:v>0.3242638655560772</c:v>
                </c:pt>
                <c:pt idx="17">
                  <c:v>0.3286146719837237</c:v>
                </c:pt>
                <c:pt idx="18">
                  <c:v>0.3407088146511746</c:v>
                </c:pt>
                <c:pt idx="19">
                  <c:v>0.3335276011930256</c:v>
                </c:pt>
                <c:pt idx="20">
                  <c:v>0.32000743869582277</c:v>
                </c:pt>
                <c:pt idx="21">
                  <c:v>0.32434849689439577</c:v>
                </c:pt>
                <c:pt idx="22">
                  <c:v>0.336096572905422</c:v>
                </c:pt>
                <c:pt idx="23">
                  <c:v>0.3320236180699671</c:v>
                </c:pt>
                <c:pt idx="24">
                  <c:v>0.2980275263009551</c:v>
                </c:pt>
                <c:pt idx="25">
                  <c:v>0.33276425918373365</c:v>
                </c:pt>
                <c:pt idx="26">
                  <c:v>0.3412056723774462</c:v>
                </c:pt>
                <c:pt idx="27">
                  <c:v>0.321772074626087</c:v>
                </c:pt>
                <c:pt idx="28">
                  <c:v>0.3448180657653064</c:v>
                </c:pt>
                <c:pt idx="29">
                  <c:v>0.34201219149345347</c:v>
                </c:pt>
                <c:pt idx="30">
                  <c:v>0.3589930130180646</c:v>
                </c:pt>
                <c:pt idx="31">
                  <c:v>0.3546547578937855</c:v>
                </c:pt>
                <c:pt idx="32">
                  <c:v>0.3694133275806446</c:v>
                </c:pt>
                <c:pt idx="33">
                  <c:v>0.3852971232800708</c:v>
                </c:pt>
                <c:pt idx="34">
                  <c:v>0.4058310208359319</c:v>
                </c:pt>
                <c:pt idx="35">
                  <c:v>0.3042911376169576</c:v>
                </c:pt>
                <c:pt idx="36">
                  <c:v>0.3059669678061557</c:v>
                </c:pt>
                <c:pt idx="37">
                  <c:v>0.20116522494126055</c:v>
                </c:pt>
                <c:pt idx="38">
                  <c:v>0.1840472402712008</c:v>
                </c:pt>
                <c:pt idx="39">
                  <c:v>0.13218769262011384</c:v>
                </c:pt>
                <c:pt idx="40">
                  <c:v>0.20114025490254722</c:v>
                </c:pt>
                <c:pt idx="41">
                  <c:v>0.15439611139770257</c:v>
                </c:pt>
                <c:pt idx="42">
                  <c:v>0.1475281892942875</c:v>
                </c:pt>
                <c:pt idx="43">
                  <c:v>0.1057185148497201</c:v>
                </c:pt>
                <c:pt idx="44">
                  <c:v>0.14444587042625032</c:v>
                </c:pt>
                <c:pt idx="45">
                  <c:v>0.10209831386970226</c:v>
                </c:pt>
                <c:pt idx="46">
                  <c:v>0.10059560487939968</c:v>
                </c:pt>
                <c:pt idx="47">
                  <c:v>0.05551766679179323</c:v>
                </c:pt>
                <c:pt idx="48">
                  <c:v>0.056575640097132875</c:v>
                </c:pt>
              </c:numCache>
            </c:numRef>
          </c:xVal>
          <c:yVal>
            <c:numRef>
              <c:f>Sheet1!$B$2:$B$50</c:f>
              <c:numCache>
                <c:formatCode>General</c:formatCode>
                <c:ptCount val="49"/>
                <c:pt idx="0">
                  <c:v>0.35714285714285715</c:v>
                </c:pt>
                <c:pt idx="1">
                  <c:v>0.370242214532872</c:v>
                </c:pt>
                <c:pt idx="2">
                  <c:v>0.2990353697749196</c:v>
                </c:pt>
                <c:pt idx="3">
                  <c:v>0.2903225806451613</c:v>
                </c:pt>
                <c:pt idx="4">
                  <c:v>0.30677290836653387</c:v>
                </c:pt>
                <c:pt idx="5">
                  <c:v>0.266304347826087</c:v>
                </c:pt>
                <c:pt idx="6">
                  <c:v>0.25139664804469275</c:v>
                </c:pt>
                <c:pt idx="7">
                  <c:v>0.2647058823529412</c:v>
                </c:pt>
                <c:pt idx="8">
                  <c:v>0.2469879518072289</c:v>
                </c:pt>
                <c:pt idx="9">
                  <c:v>0.20108695652173914</c:v>
                </c:pt>
                <c:pt idx="10">
                  <c:v>0.171875</c:v>
                </c:pt>
                <c:pt idx="11">
                  <c:v>0.1393939393939394</c:v>
                </c:pt>
                <c:pt idx="12">
                  <c:v>0.11377245508982035</c:v>
                </c:pt>
                <c:pt idx="13">
                  <c:v>0.09146341463414634</c:v>
                </c:pt>
                <c:pt idx="14">
                  <c:v>0.5426136363636364</c:v>
                </c:pt>
                <c:pt idx="15">
                  <c:v>0.5950920245398773</c:v>
                </c:pt>
                <c:pt idx="16">
                  <c:v>0.4981949458483754</c:v>
                </c:pt>
                <c:pt idx="17">
                  <c:v>0.3827751196172249</c:v>
                </c:pt>
                <c:pt idx="18">
                  <c:v>0.36312849162011174</c:v>
                </c:pt>
                <c:pt idx="19">
                  <c:v>0.26</c:v>
                </c:pt>
                <c:pt idx="20">
                  <c:v>0.2346368715083799</c:v>
                </c:pt>
                <c:pt idx="21">
                  <c:v>0.17054263565891473</c:v>
                </c:pt>
                <c:pt idx="22">
                  <c:v>0.15789473684210525</c:v>
                </c:pt>
                <c:pt idx="23">
                  <c:v>0.1574074074074074</c:v>
                </c:pt>
                <c:pt idx="24">
                  <c:v>0.1968503937007874</c:v>
                </c:pt>
                <c:pt idx="25">
                  <c:v>0.09900990099009901</c:v>
                </c:pt>
                <c:pt idx="26">
                  <c:v>0.10784313725490197</c:v>
                </c:pt>
                <c:pt idx="27">
                  <c:v>0.12931034482758622</c:v>
                </c:pt>
                <c:pt idx="28">
                  <c:v>0.12096774193548387</c:v>
                </c:pt>
                <c:pt idx="29">
                  <c:v>0.1037037037037037</c:v>
                </c:pt>
                <c:pt idx="30">
                  <c:v>0.05504587155963303</c:v>
                </c:pt>
                <c:pt idx="31">
                  <c:v>0.058823529411764705</c:v>
                </c:pt>
                <c:pt idx="32">
                  <c:v>0.06315789473684211</c:v>
                </c:pt>
                <c:pt idx="33">
                  <c:v>0.09734513274336283</c:v>
                </c:pt>
                <c:pt idx="34">
                  <c:v>0.04807692307692308</c:v>
                </c:pt>
                <c:pt idx="35">
                  <c:v>0.015503875968992248</c:v>
                </c:pt>
                <c:pt idx="36">
                  <c:v>0.028037383177570093</c:v>
                </c:pt>
                <c:pt idx="37">
                  <c:v>0.15178571428571427</c:v>
                </c:pt>
                <c:pt idx="38">
                  <c:v>0.13333333333333333</c:v>
                </c:pt>
                <c:pt idx="39">
                  <c:v>0.0915032679738562</c:v>
                </c:pt>
                <c:pt idx="40">
                  <c:v>0.009345794392523364</c:v>
                </c:pt>
                <c:pt idx="41">
                  <c:v>0.01694915254237288</c:v>
                </c:pt>
                <c:pt idx="42">
                  <c:v>0.016</c:v>
                </c:pt>
                <c:pt idx="43">
                  <c:v>0.008</c:v>
                </c:pt>
                <c:pt idx="44">
                  <c:v>0.022727272727272728</c:v>
                </c:pt>
                <c:pt idx="45">
                  <c:v>0.009174311926605505</c:v>
                </c:pt>
                <c:pt idx="46">
                  <c:v>0.006802721088435374</c:v>
                </c:pt>
                <c:pt idx="47">
                  <c:v>0.01818181818181818</c:v>
                </c:pt>
                <c:pt idx="48">
                  <c:v>0.014705882352941176</c:v>
                </c:pt>
              </c:numCache>
            </c:numRef>
          </c:yVal>
          <c:smooth val="0"/>
          <c:extLst>
            <c:ext xmlns:c16="http://schemas.microsoft.com/office/drawing/2014/chart" uri="{C3380CC4-5D6E-409C-BE32-E72D297353CC}">
              <c16:uniqueId val="{00000000-096C-4121-9522-6AB7243CCAAE}"/>
            </c:ext>
          </c:extLst>
        </c:ser>
        <c:ser>
          <c:idx val="1"/>
          <c:order val="1"/>
          <c:tx>
            <c:strRef>
              <c:f>Sheet1!$B$5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5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5:$A$56</c:f>
              <c:numCache>
                <c:formatCode>General</c:formatCode>
                <c:ptCount val="2"/>
                <c:pt idx="0">
                  <c:v>0</c:v>
                </c:pt>
                <c:pt idx="1">
                  <c:v>0.2947678622770326</c:v>
                </c:pt>
              </c:numCache>
            </c:numRef>
          </c:xVal>
          <c:yVal>
            <c:numRef>
              <c:f>Sheet1!$B$55:$B$56</c:f>
              <c:numCache>
                <c:formatCode>General</c:formatCode>
                <c:ptCount val="2"/>
                <c:pt idx="0">
                  <c:v>0.2947678622770326</c:v>
                </c:pt>
                <c:pt idx="1">
                  <c:v>0.2947678622770326</c:v>
                </c:pt>
              </c:numCache>
            </c:numRef>
          </c:yVal>
          <c:smooth val="0"/>
          <c:extLst>
            <c:ext xmlns:c16="http://schemas.microsoft.com/office/drawing/2014/chart" uri="{C3380CC4-5D6E-409C-BE32-E72D297353CC}">
              <c16:uniqueId val="{00000005-096C-4121-9522-6AB7243CCAAE}"/>
            </c:ext>
          </c:extLst>
        </c:ser>
        <c:ser>
          <c:idx val="3"/>
          <c:order val="3"/>
          <c:tx>
            <c:strRef>
              <c:f>Sheet1!$B$5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9:$A$60</c:f>
              <c:numCache>
                <c:formatCode>General</c:formatCode>
                <c:ptCount val="2"/>
                <c:pt idx="0">
                  <c:v>0.2947678622770326</c:v>
                </c:pt>
                <c:pt idx="1">
                  <c:v>0.2947678622770326</c:v>
                </c:pt>
              </c:numCache>
            </c:numRef>
          </c:xVal>
          <c:yVal>
            <c:numRef>
              <c:f>Sheet1!$B$59:$B$60</c:f>
              <c:numCache>
                <c:formatCode>General</c:formatCode>
                <c:ptCount val="2"/>
                <c:pt idx="0">
                  <c:v>0.29476786227703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2</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3:$A$65</c:f>
              <c:numCache>
                <c:formatCode>General</c:formatCode>
                <c:ptCount val="3"/>
                <c:pt idx="0">
                  <c:v>0</c:v>
                </c:pt>
                <c:pt idx="1">
                  <c:v>0.2947678622770326</c:v>
                </c:pt>
                <c:pt idx="2">
                  <c:v>0</c:v>
                </c:pt>
              </c:numCache>
            </c:numRef>
          </c:xVal>
          <c:yVal>
            <c:numRef>
              <c:f>Sheet1!$B$63:$B$65</c:f>
              <c:numCache>
                <c:formatCode>General</c:formatCode>
                <c:ptCount val="3"/>
                <c:pt idx="0">
                  <c:v>0</c:v>
                </c:pt>
                <c:pt idx="1">
                  <c:v>0.2947678622770326</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141104294478527"/>
          <c:min val="0.005442176870748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550.6842</c:v>
                </c:pt>
                <c:pt idx="1">
                  <c:v>549.8131</c:v>
                </c:pt>
                <c:pt idx="2">
                  <c:v>551.9785</c:v>
                </c:pt>
                <c:pt idx="3">
                  <c:v>552.8444</c:v>
                </c:pt>
                <c:pt idx="4">
                  <c:v>545.3377</c:v>
                </c:pt>
                <c:pt idx="5">
                  <c:v>553.3878</c:v>
                </c:pt>
                <c:pt idx="6">
                  <c:v>530.8222</c:v>
                </c:pt>
                <c:pt idx="7">
                  <c:v>511.4</c:v>
                </c:pt>
                <c:pt idx="8">
                  <c:v>513.0</c:v>
                </c:pt>
                <c:pt idx="9">
                  <c:v>515.5676</c:v>
                </c:pt>
                <c:pt idx="10">
                  <c:v>514.5758</c:v>
                </c:pt>
                <c:pt idx="11">
                  <c:v>510.6522</c:v>
                </c:pt>
                <c:pt idx="12">
                  <c:v>508.0</c:v>
                </c:pt>
                <c:pt idx="13">
                  <c:v>515.6667</c:v>
                </c:pt>
                <c:pt idx="14">
                  <c:v>515.0471</c:v>
                </c:pt>
                <c:pt idx="15">
                  <c:v>513.9381</c:v>
                </c:pt>
                <c:pt idx="16">
                  <c:v>508.5652</c:v>
                </c:pt>
                <c:pt idx="17">
                  <c:v>514.5625</c:v>
                </c:pt>
                <c:pt idx="18">
                  <c:v>505.0923</c:v>
                </c:pt>
                <c:pt idx="19">
                  <c:v>515.2821</c:v>
                </c:pt>
                <c:pt idx="20">
                  <c:v>506.5952</c:v>
                </c:pt>
                <c:pt idx="21">
                  <c:v>511.2273</c:v>
                </c:pt>
                <c:pt idx="22">
                  <c:v>519.8889</c:v>
                </c:pt>
                <c:pt idx="23">
                  <c:v>491.9412</c:v>
                </c:pt>
                <c:pt idx="24">
                  <c:v>460.28</c:v>
                </c:pt>
                <c:pt idx="25">
                  <c:v>502.2</c:v>
                </c:pt>
                <c:pt idx="26">
                  <c:v>501.0</c:v>
                </c:pt>
                <c:pt idx="27">
                  <c:v>481.6667</c:v>
                </c:pt>
                <c:pt idx="28">
                  <c:v>520.8</c:v>
                </c:pt>
                <c:pt idx="29">
                  <c:v>496.0</c:v>
                </c:pt>
                <c:pt idx="30">
                  <c:v>558.0</c:v>
                </c:pt>
                <c:pt idx="31">
                  <c:v>558.0</c:v>
                </c:pt>
                <c:pt idx="32">
                  <c:v>511.5</c:v>
                </c:pt>
                <c:pt idx="33">
                  <c:v>532.6364</c:v>
                </c:pt>
                <c:pt idx="34">
                  <c:v>558.0</c:v>
                </c:pt>
                <c:pt idx="35">
                  <c:v>418.5</c:v>
                </c:pt>
                <c:pt idx="36">
                  <c:v>465.0</c:v>
                </c:pt>
                <c:pt idx="37">
                  <c:v>310.2353</c:v>
                </c:pt>
                <c:pt idx="38">
                  <c:v>273.2143</c:v>
                </c:pt>
                <c:pt idx="39">
                  <c:v>251.0</c:v>
                </c:pt>
                <c:pt idx="40">
                  <c:v>306.0</c:v>
                </c:pt>
                <c:pt idx="41">
                  <c:v>229.5</c:v>
                </c:pt>
                <c:pt idx="42">
                  <c:v>229.5</c:v>
                </c:pt>
                <c:pt idx="43">
                  <c:v>153.0</c:v>
                </c:pt>
                <c:pt idx="44">
                  <c:v>221.5</c:v>
                </c:pt>
                <c:pt idx="45">
                  <c:v>153.0</c:v>
                </c:pt>
                <c:pt idx="46">
                  <c:v>153.0</c:v>
                </c:pt>
                <c:pt idx="47">
                  <c:v>83.0</c:v>
                </c:pt>
                <c:pt idx="48">
                  <c:v>83.0</c:v>
                </c:pt>
              </c:numCache>
            </c:numRef>
          </c:xVal>
          <c:yVal>
            <c:numRef>
              <c:f>Sheet1!$B$2:$B$50</c:f>
              <c:numCache>
                <c:formatCode>General</c:formatCode>
                <c:ptCount val="49"/>
                <c:pt idx="0">
                  <c:v>0.35714285714285715</c:v>
                </c:pt>
                <c:pt idx="1">
                  <c:v>0.370242214532872</c:v>
                </c:pt>
                <c:pt idx="2">
                  <c:v>0.2990353697749196</c:v>
                </c:pt>
                <c:pt idx="3">
                  <c:v>0.2903225806451613</c:v>
                </c:pt>
                <c:pt idx="4">
                  <c:v>0.30677290836653387</c:v>
                </c:pt>
                <c:pt idx="5">
                  <c:v>0.266304347826087</c:v>
                </c:pt>
                <c:pt idx="6">
                  <c:v>0.25139664804469275</c:v>
                </c:pt>
                <c:pt idx="7">
                  <c:v>0.2647058823529412</c:v>
                </c:pt>
                <c:pt idx="8">
                  <c:v>0.2469879518072289</c:v>
                </c:pt>
                <c:pt idx="9">
                  <c:v>0.20108695652173914</c:v>
                </c:pt>
                <c:pt idx="10">
                  <c:v>0.171875</c:v>
                </c:pt>
                <c:pt idx="11">
                  <c:v>0.1393939393939394</c:v>
                </c:pt>
                <c:pt idx="12">
                  <c:v>0.11377245508982035</c:v>
                </c:pt>
                <c:pt idx="13">
                  <c:v>0.09146341463414634</c:v>
                </c:pt>
                <c:pt idx="14">
                  <c:v>0.5426136363636364</c:v>
                </c:pt>
                <c:pt idx="15">
                  <c:v>0.5950920245398773</c:v>
                </c:pt>
                <c:pt idx="16">
                  <c:v>0.4981949458483754</c:v>
                </c:pt>
                <c:pt idx="17">
                  <c:v>0.3827751196172249</c:v>
                </c:pt>
                <c:pt idx="18">
                  <c:v>0.36312849162011174</c:v>
                </c:pt>
                <c:pt idx="19">
                  <c:v>0.26</c:v>
                </c:pt>
                <c:pt idx="20">
                  <c:v>0.2346368715083799</c:v>
                </c:pt>
                <c:pt idx="21">
                  <c:v>0.17054263565891473</c:v>
                </c:pt>
                <c:pt idx="22">
                  <c:v>0.15789473684210525</c:v>
                </c:pt>
                <c:pt idx="23">
                  <c:v>0.1574074074074074</c:v>
                </c:pt>
                <c:pt idx="24">
                  <c:v>0.1968503937007874</c:v>
                </c:pt>
                <c:pt idx="25">
                  <c:v>0.09900990099009901</c:v>
                </c:pt>
                <c:pt idx="26">
                  <c:v>0.10784313725490197</c:v>
                </c:pt>
                <c:pt idx="27">
                  <c:v>0.12931034482758622</c:v>
                </c:pt>
                <c:pt idx="28">
                  <c:v>0.12096774193548387</c:v>
                </c:pt>
                <c:pt idx="29">
                  <c:v>0.1037037037037037</c:v>
                </c:pt>
                <c:pt idx="30">
                  <c:v>0.05504587155963303</c:v>
                </c:pt>
                <c:pt idx="31">
                  <c:v>0.058823529411764705</c:v>
                </c:pt>
                <c:pt idx="32">
                  <c:v>0.06315789473684211</c:v>
                </c:pt>
                <c:pt idx="33">
                  <c:v>0.09734513274336283</c:v>
                </c:pt>
                <c:pt idx="34">
                  <c:v>0.04807692307692308</c:v>
                </c:pt>
                <c:pt idx="35">
                  <c:v>0.015503875968992248</c:v>
                </c:pt>
                <c:pt idx="36">
                  <c:v>0.028037383177570093</c:v>
                </c:pt>
                <c:pt idx="37">
                  <c:v>0.15178571428571427</c:v>
                </c:pt>
                <c:pt idx="38">
                  <c:v>0.13333333333333333</c:v>
                </c:pt>
                <c:pt idx="39">
                  <c:v>0.0915032679738562</c:v>
                </c:pt>
                <c:pt idx="40">
                  <c:v>0.009345794392523364</c:v>
                </c:pt>
                <c:pt idx="41">
                  <c:v>0.01694915254237288</c:v>
                </c:pt>
                <c:pt idx="42">
                  <c:v>0.016</c:v>
                </c:pt>
                <c:pt idx="43">
                  <c:v>0.008</c:v>
                </c:pt>
                <c:pt idx="44">
                  <c:v>0.022727272727272728</c:v>
                </c:pt>
                <c:pt idx="45">
                  <c:v>0.009174311926605505</c:v>
                </c:pt>
                <c:pt idx="46">
                  <c:v>0.006802721088435374</c:v>
                </c:pt>
                <c:pt idx="47">
                  <c:v>0.01818181818181818</c:v>
                </c:pt>
                <c:pt idx="48">
                  <c:v>0.014705882352941176</c:v>
                </c:pt>
              </c:numCache>
            </c:numRef>
          </c:yVal>
          <c:smooth val="0"/>
          <c:extLst>
            <c:ext xmlns:c16="http://schemas.microsoft.com/office/drawing/2014/chart" uri="{C3380CC4-5D6E-409C-BE32-E72D297353CC}">
              <c16:uniqueId val="{00000000-F32D-48B7-BC20-E66FC6253BAD}"/>
            </c:ext>
          </c:extLst>
        </c:ser>
        <c:ser>
          <c:idx val="1"/>
          <c:order val="1"/>
          <c:tx>
            <c:strRef>
              <c:f>Sheet1!$B$5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54</c:f>
              <c:strCache>
                <c:ptCount val="1"/>
                <c:pt idx="0">
                  <c:v>Custom Linep3yQ</c:v>
                </c:pt>
              </c:strCache>
            </c:strRef>
          </c:tx>
          <c:spPr>
            <a:ln w="19050" cap="rnd">
              <a:solidFill>
                <a:srgbClr val="C00000"/>
              </a:solidFill>
              <a:prstDash val="sysDot"/>
              <a:round/>
            </a:ln>
            <a:effectLst/>
          </c:spPr>
          <c:marker>
            <c:symbol val="none"/>
          </c:marker>
          <c:xVal>
            <c:numRef>
              <c:f>Sheet1!$A$55:$A$56</c:f>
              <c:numCache>
                <c:formatCode>General</c:formatCode>
                <c:ptCount val="2"/>
                <c:pt idx="0">
                  <c:v>0</c:v>
                </c:pt>
                <c:pt idx="1">
                  <c:v>0.2947678622770326</c:v>
                </c:pt>
              </c:numCache>
            </c:numRef>
          </c:xVal>
          <c:yVal>
            <c:numRef>
              <c:f>Sheet1!$B$55:$B$56</c:f>
              <c:numCache>
                <c:formatCode>General</c:formatCode>
                <c:ptCount val="2"/>
                <c:pt idx="0">
                  <c:v>0.2947678622770326</c:v>
                </c:pt>
                <c:pt idx="1">
                  <c:v>0.2947678622770326</c:v>
                </c:pt>
              </c:numCache>
            </c:numRef>
          </c:yVal>
          <c:smooth val="0"/>
          <c:extLst>
            <c:ext xmlns:c16="http://schemas.microsoft.com/office/drawing/2014/chart" uri="{C3380CC4-5D6E-409C-BE32-E72D297353CC}">
              <c16:uniqueId val="{00000003-F32D-48B7-BC20-E66FC6253BAD}"/>
            </c:ext>
          </c:extLst>
        </c:ser>
        <c:ser>
          <c:idx val="3"/>
          <c:order val="3"/>
          <c:tx>
            <c:strRef>
              <c:f>Sheet1!$B$5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9:$A$60</c:f>
              <c:numCache>
                <c:formatCode>General</c:formatCode>
                <c:ptCount val="2"/>
                <c:pt idx="0">
                  <c:v>0.2947678622770326</c:v>
                </c:pt>
                <c:pt idx="1">
                  <c:v>0.2947678622770326</c:v>
                </c:pt>
              </c:numCache>
            </c:numRef>
          </c:xVal>
          <c:yVal>
            <c:numRef>
              <c:f>Sheet1!$B$59:$B$60</c:f>
              <c:numCache>
                <c:formatCode>General</c:formatCode>
                <c:ptCount val="2"/>
                <c:pt idx="0">
                  <c:v>0.29476786227703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2</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3:$A$65</c:f>
              <c:numCache>
                <c:formatCode>General</c:formatCode>
                <c:ptCount val="3"/>
                <c:pt idx="0">
                  <c:v>0</c:v>
                </c:pt>
                <c:pt idx="1">
                  <c:v>0.2947678622770326</c:v>
                </c:pt>
                <c:pt idx="2">
                  <c:v>0</c:v>
                </c:pt>
              </c:numCache>
            </c:numRef>
          </c:xVal>
          <c:yVal>
            <c:numRef>
              <c:f>Sheet1!$B$63:$B$65</c:f>
              <c:numCache>
                <c:formatCode>General</c:formatCode>
                <c:ptCount val="3"/>
                <c:pt idx="0">
                  <c:v>0</c:v>
                </c:pt>
                <c:pt idx="1">
                  <c:v>0.2947678622770326</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141104294478527"/>
          <c:min val="0.005442176870748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1.1172868324161662</c:v>
                </c:pt>
                <c:pt idx="1">
                  <c:v>1.114176001569293</c:v>
                </c:pt>
                <c:pt idx="2">
                  <c:v>1.1210063861265995</c:v>
                </c:pt>
                <c:pt idx="3">
                  <c:v>1.1239285874746918</c:v>
                </c:pt>
                <c:pt idx="4">
                  <c:v>1.1069309016773117</c:v>
                </c:pt>
                <c:pt idx="5">
                  <c:v>1.043500446052534</c:v>
                </c:pt>
                <c:pt idx="6">
                  <c:v>0.9597948135638577</c:v>
                </c:pt>
                <c:pt idx="7">
                  <c:v>0.9210945787982544</c:v>
                </c:pt>
                <c:pt idx="8">
                  <c:v>0.930417975312547</c:v>
                </c:pt>
                <c:pt idx="9">
                  <c:v>0.9321395556293213</c:v>
                </c:pt>
                <c:pt idx="10">
                  <c:v>0.9364649787301804</c:v>
                </c:pt>
                <c:pt idx="11">
                  <c:v>0.9336660252711303</c:v>
                </c:pt>
                <c:pt idx="12">
                  <c:v>0.9161765212452859</c:v>
                </c:pt>
                <c:pt idx="13">
                  <c:v>0.9387979624383743</c:v>
                </c:pt>
                <c:pt idx="14">
                  <c:v>0.935921242978734</c:v>
                </c:pt>
                <c:pt idx="15">
                  <c:v>0.9444454041132794</c:v>
                </c:pt>
                <c:pt idx="16">
                  <c:v>0.9147757728639442</c:v>
                </c:pt>
                <c:pt idx="17">
                  <c:v>0.9267420589473236</c:v>
                </c:pt>
                <c:pt idx="18">
                  <c:v>0.9123912240029567</c:v>
                </c:pt>
                <c:pt idx="19">
                  <c:v>1.0115749156828024</c:v>
                </c:pt>
                <c:pt idx="20">
                  <c:v>0.9149903424798316</c:v>
                </c:pt>
                <c:pt idx="21">
                  <c:v>0.9274805878084179</c:v>
                </c:pt>
                <c:pt idx="22">
                  <c:v>0.9328636079068473</c:v>
                </c:pt>
                <c:pt idx="23">
                  <c:v>0.8886221098265895</c:v>
                </c:pt>
                <c:pt idx="24">
                  <c:v>0.857498209664162</c:v>
                </c:pt>
                <c:pt idx="25">
                  <c:v>0.9048286717179961</c:v>
                </c:pt>
                <c:pt idx="26">
                  <c:v>0.901041377222861</c:v>
                </c:pt>
                <c:pt idx="27">
                  <c:v>0.8653165693080798</c:v>
                </c:pt>
                <c:pt idx="28">
                  <c:v>0.9404580615837508</c:v>
                </c:pt>
                <c:pt idx="29">
                  <c:v>0.9337635925198758</c:v>
                </c:pt>
                <c:pt idx="30">
                  <c:v>0.9933603297101792</c:v>
                </c:pt>
                <c:pt idx="31">
                  <c:v>1.0044358985390138</c:v>
                </c:pt>
                <c:pt idx="32">
                  <c:v>0.9022343131615614</c:v>
                </c:pt>
                <c:pt idx="33">
                  <c:v>0.9647268457381133</c:v>
                </c:pt>
                <c:pt idx="34">
                  <c:v>1.0050213242830983</c:v>
                </c:pt>
                <c:pt idx="35">
                  <c:v>0.7400331591440866</c:v>
                </c:pt>
                <c:pt idx="36">
                  <c:v>0.8405639913232104</c:v>
                </c:pt>
                <c:pt idx="37">
                  <c:v>0.556575708647291</c:v>
                </c:pt>
                <c:pt idx="38">
                  <c:v>0.5119035708089339</c:v>
                </c:pt>
                <c:pt idx="39">
                  <c:v>0.44978717540284174</c:v>
                </c:pt>
                <c:pt idx="40">
                  <c:v>0.5522598436707593</c:v>
                </c:pt>
                <c:pt idx="41">
                  <c:v>0.41379310344827586</c:v>
                </c:pt>
                <c:pt idx="42">
                  <c:v>0.41699470552996754</c:v>
                </c:pt>
                <c:pt idx="43">
                  <c:v>0.2699877870230458</c:v>
                </c:pt>
                <c:pt idx="44">
                  <c:v>0.3919820470452782</c:v>
                </c:pt>
                <c:pt idx="45">
                  <c:v>0.2702746149072525</c:v>
                </c:pt>
                <c:pt idx="46">
                  <c:v>0.27844218693953277</c:v>
                </c:pt>
                <c:pt idx="47">
                  <c:v>0.1860986547085202</c:v>
                </c:pt>
                <c:pt idx="48">
                  <c:v>0.125</c:v>
                </c:pt>
              </c:numCache>
            </c:numRef>
          </c:xVal>
          <c:yVal>
            <c:numRef>
              <c:f>Sheet1!$B$2:$B$50</c:f>
              <c:numCache>
                <c:formatCode>General</c:formatCode>
                <c:ptCount val="49"/>
                <c:pt idx="0">
                  <c:v>0.35714285714285715</c:v>
                </c:pt>
                <c:pt idx="1">
                  <c:v>0.370242214532872</c:v>
                </c:pt>
                <c:pt idx="2">
                  <c:v>0.2990353697749196</c:v>
                </c:pt>
                <c:pt idx="3">
                  <c:v>0.2903225806451613</c:v>
                </c:pt>
                <c:pt idx="4">
                  <c:v>0.30677290836653387</c:v>
                </c:pt>
                <c:pt idx="5">
                  <c:v>0.266304347826087</c:v>
                </c:pt>
                <c:pt idx="6">
                  <c:v>0.25139664804469275</c:v>
                </c:pt>
                <c:pt idx="7">
                  <c:v>0.2647058823529412</c:v>
                </c:pt>
                <c:pt idx="8">
                  <c:v>0.2469879518072289</c:v>
                </c:pt>
                <c:pt idx="9">
                  <c:v>0.20108695652173914</c:v>
                </c:pt>
                <c:pt idx="10">
                  <c:v>0.171875</c:v>
                </c:pt>
                <c:pt idx="11">
                  <c:v>0.1393939393939394</c:v>
                </c:pt>
                <c:pt idx="12">
                  <c:v>0.11377245508982035</c:v>
                </c:pt>
                <c:pt idx="13">
                  <c:v>0.09146341463414634</c:v>
                </c:pt>
                <c:pt idx="14">
                  <c:v>0.5426136363636364</c:v>
                </c:pt>
                <c:pt idx="15">
                  <c:v>0.5950920245398773</c:v>
                </c:pt>
                <c:pt idx="16">
                  <c:v>0.4981949458483754</c:v>
                </c:pt>
                <c:pt idx="17">
                  <c:v>0.3827751196172249</c:v>
                </c:pt>
                <c:pt idx="18">
                  <c:v>0.36312849162011174</c:v>
                </c:pt>
                <c:pt idx="19">
                  <c:v>0.26</c:v>
                </c:pt>
                <c:pt idx="20">
                  <c:v>0.2346368715083799</c:v>
                </c:pt>
                <c:pt idx="21">
                  <c:v>0.17054263565891473</c:v>
                </c:pt>
                <c:pt idx="22">
                  <c:v>0.15789473684210525</c:v>
                </c:pt>
                <c:pt idx="23">
                  <c:v>0.1574074074074074</c:v>
                </c:pt>
                <c:pt idx="24">
                  <c:v>0.1968503937007874</c:v>
                </c:pt>
                <c:pt idx="25">
                  <c:v>0.09900990099009901</c:v>
                </c:pt>
                <c:pt idx="26">
                  <c:v>0.10784313725490197</c:v>
                </c:pt>
                <c:pt idx="27">
                  <c:v>0.12931034482758622</c:v>
                </c:pt>
                <c:pt idx="28">
                  <c:v>0.12096774193548387</c:v>
                </c:pt>
                <c:pt idx="29">
                  <c:v>0.1037037037037037</c:v>
                </c:pt>
                <c:pt idx="30">
                  <c:v>0.05504587155963303</c:v>
                </c:pt>
                <c:pt idx="31">
                  <c:v>0.058823529411764705</c:v>
                </c:pt>
                <c:pt idx="32">
                  <c:v>0.06315789473684211</c:v>
                </c:pt>
                <c:pt idx="33">
                  <c:v>0.09734513274336283</c:v>
                </c:pt>
                <c:pt idx="34">
                  <c:v>0.04807692307692308</c:v>
                </c:pt>
                <c:pt idx="35">
                  <c:v>0.015503875968992248</c:v>
                </c:pt>
                <c:pt idx="36">
                  <c:v>0.028037383177570093</c:v>
                </c:pt>
                <c:pt idx="37">
                  <c:v>0.15178571428571427</c:v>
                </c:pt>
                <c:pt idx="38">
                  <c:v>0.13333333333333333</c:v>
                </c:pt>
                <c:pt idx="39">
                  <c:v>0.0915032679738562</c:v>
                </c:pt>
                <c:pt idx="40">
                  <c:v>0.009345794392523364</c:v>
                </c:pt>
                <c:pt idx="41">
                  <c:v>0.01694915254237288</c:v>
                </c:pt>
                <c:pt idx="42">
                  <c:v>0.016</c:v>
                </c:pt>
                <c:pt idx="43">
                  <c:v>0.008</c:v>
                </c:pt>
                <c:pt idx="44">
                  <c:v>0.022727272727272728</c:v>
                </c:pt>
                <c:pt idx="45">
                  <c:v>0.009174311926605505</c:v>
                </c:pt>
                <c:pt idx="46">
                  <c:v>0.006802721088435374</c:v>
                </c:pt>
                <c:pt idx="47">
                  <c:v>0.01818181818181818</c:v>
                </c:pt>
                <c:pt idx="48">
                  <c:v>0.014705882352941176</c:v>
                </c:pt>
              </c:numCache>
            </c:numRef>
          </c:yVal>
          <c:smooth val="0"/>
          <c:extLst>
            <c:ext xmlns:c16="http://schemas.microsoft.com/office/drawing/2014/chart" uri="{C3380CC4-5D6E-409C-BE32-E72D297353CC}">
              <c16:uniqueId val="{00000000-096C-4121-9522-6AB7243CCAAE}"/>
            </c:ext>
          </c:extLst>
        </c:ser>
        <c:ser>
          <c:idx val="1"/>
          <c:order val="1"/>
          <c:tx>
            <c:strRef>
              <c:f>Sheet1!$B$5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5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5:$A$56</c:f>
              <c:numCache>
                <c:formatCode>General</c:formatCode>
                <c:ptCount val="2"/>
                <c:pt idx="0">
                  <c:v>0</c:v>
                </c:pt>
                <c:pt idx="1">
                  <c:v>0.2947678622770326</c:v>
                </c:pt>
              </c:numCache>
            </c:numRef>
          </c:xVal>
          <c:yVal>
            <c:numRef>
              <c:f>Sheet1!$B$55:$B$56</c:f>
              <c:numCache>
                <c:formatCode>General</c:formatCode>
                <c:ptCount val="2"/>
                <c:pt idx="0">
                  <c:v>0.2947678622770326</c:v>
                </c:pt>
                <c:pt idx="1">
                  <c:v>0.2947678622770326</c:v>
                </c:pt>
              </c:numCache>
            </c:numRef>
          </c:yVal>
          <c:smooth val="0"/>
          <c:extLst>
            <c:ext xmlns:c16="http://schemas.microsoft.com/office/drawing/2014/chart" uri="{C3380CC4-5D6E-409C-BE32-E72D297353CC}">
              <c16:uniqueId val="{00000005-096C-4121-9522-6AB7243CCAAE}"/>
            </c:ext>
          </c:extLst>
        </c:ser>
        <c:ser>
          <c:idx val="3"/>
          <c:order val="3"/>
          <c:tx>
            <c:strRef>
              <c:f>Sheet1!$B$5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9:$A$60</c:f>
              <c:numCache>
                <c:formatCode>General</c:formatCode>
                <c:ptCount val="2"/>
                <c:pt idx="0">
                  <c:v>0.2947678622770326</c:v>
                </c:pt>
                <c:pt idx="1">
                  <c:v>0.2947678622770326</c:v>
                </c:pt>
              </c:numCache>
            </c:numRef>
          </c:xVal>
          <c:yVal>
            <c:numRef>
              <c:f>Sheet1!$B$59:$B$60</c:f>
              <c:numCache>
                <c:formatCode>General</c:formatCode>
                <c:ptCount val="2"/>
                <c:pt idx="0">
                  <c:v>0.29476786227703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2</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3:$A$65</c:f>
              <c:numCache>
                <c:formatCode>General</c:formatCode>
                <c:ptCount val="3"/>
                <c:pt idx="0">
                  <c:v>0</c:v>
                </c:pt>
                <c:pt idx="1">
                  <c:v>0.2947678622770326</c:v>
                </c:pt>
                <c:pt idx="2">
                  <c:v>0</c:v>
                </c:pt>
              </c:numCache>
            </c:numRef>
          </c:xVal>
          <c:yVal>
            <c:numRef>
              <c:f>Sheet1!$B$63:$B$65</c:f>
              <c:numCache>
                <c:formatCode>General</c:formatCode>
                <c:ptCount val="3"/>
                <c:pt idx="0">
                  <c:v>0</c:v>
                </c:pt>
                <c:pt idx="1">
                  <c:v>0.2947678622770326</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141104294478527"/>
          <c:min val="0.005442176870748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550.6842</c:v>
                </c:pt>
                <c:pt idx="1">
                  <c:v>549.8131</c:v>
                </c:pt>
                <c:pt idx="2">
                  <c:v>551.9785</c:v>
                </c:pt>
                <c:pt idx="3">
                  <c:v>552.8444</c:v>
                </c:pt>
                <c:pt idx="4">
                  <c:v>545.3377</c:v>
                </c:pt>
                <c:pt idx="5">
                  <c:v>553.3878</c:v>
                </c:pt>
                <c:pt idx="6">
                  <c:v>530.8222</c:v>
                </c:pt>
                <c:pt idx="7">
                  <c:v>511.4</c:v>
                </c:pt>
                <c:pt idx="8">
                  <c:v>513.0</c:v>
                </c:pt>
                <c:pt idx="9">
                  <c:v>515.5676</c:v>
                </c:pt>
                <c:pt idx="10">
                  <c:v>514.5758</c:v>
                </c:pt>
                <c:pt idx="11">
                  <c:v>510.6522</c:v>
                </c:pt>
                <c:pt idx="12">
                  <c:v>508.0</c:v>
                </c:pt>
                <c:pt idx="13">
                  <c:v>515.6667</c:v>
                </c:pt>
                <c:pt idx="14">
                  <c:v>515.0471</c:v>
                </c:pt>
                <c:pt idx="15">
                  <c:v>513.9381</c:v>
                </c:pt>
                <c:pt idx="16">
                  <c:v>508.5652</c:v>
                </c:pt>
                <c:pt idx="17">
                  <c:v>514.5625</c:v>
                </c:pt>
                <c:pt idx="18">
                  <c:v>505.0923</c:v>
                </c:pt>
                <c:pt idx="19">
                  <c:v>515.2821</c:v>
                </c:pt>
                <c:pt idx="20">
                  <c:v>506.5952</c:v>
                </c:pt>
                <c:pt idx="21">
                  <c:v>511.2273</c:v>
                </c:pt>
                <c:pt idx="22">
                  <c:v>519.8889</c:v>
                </c:pt>
                <c:pt idx="23">
                  <c:v>491.9412</c:v>
                </c:pt>
                <c:pt idx="24">
                  <c:v>460.28</c:v>
                </c:pt>
                <c:pt idx="25">
                  <c:v>502.2</c:v>
                </c:pt>
                <c:pt idx="26">
                  <c:v>501.0</c:v>
                </c:pt>
                <c:pt idx="27">
                  <c:v>481.6667</c:v>
                </c:pt>
                <c:pt idx="28">
                  <c:v>520.8</c:v>
                </c:pt>
                <c:pt idx="29">
                  <c:v>496.0</c:v>
                </c:pt>
                <c:pt idx="30">
                  <c:v>558.0</c:v>
                </c:pt>
                <c:pt idx="31">
                  <c:v>558.0</c:v>
                </c:pt>
                <c:pt idx="32">
                  <c:v>511.5</c:v>
                </c:pt>
                <c:pt idx="33">
                  <c:v>532.6364</c:v>
                </c:pt>
                <c:pt idx="34">
                  <c:v>558.0</c:v>
                </c:pt>
                <c:pt idx="35">
                  <c:v>418.5</c:v>
                </c:pt>
                <c:pt idx="36">
                  <c:v>465.0</c:v>
                </c:pt>
                <c:pt idx="37">
                  <c:v>310.2353</c:v>
                </c:pt>
                <c:pt idx="38">
                  <c:v>273.2143</c:v>
                </c:pt>
                <c:pt idx="39">
                  <c:v>251.0</c:v>
                </c:pt>
                <c:pt idx="40">
                  <c:v>306.0</c:v>
                </c:pt>
                <c:pt idx="41">
                  <c:v>229.5</c:v>
                </c:pt>
                <c:pt idx="42">
                  <c:v>229.5</c:v>
                </c:pt>
                <c:pt idx="43">
                  <c:v>153.0</c:v>
                </c:pt>
                <c:pt idx="44">
                  <c:v>221.5</c:v>
                </c:pt>
                <c:pt idx="45">
                  <c:v>153.0</c:v>
                </c:pt>
                <c:pt idx="46">
                  <c:v>153.0</c:v>
                </c:pt>
                <c:pt idx="47">
                  <c:v>83.0</c:v>
                </c:pt>
                <c:pt idx="48">
                  <c:v>83.0</c:v>
                </c:pt>
              </c:numCache>
            </c:numRef>
          </c:xVal>
          <c:yVal>
            <c:numRef>
              <c:f>Sheet1!$B$2:$B$50</c:f>
              <c:numCache>
                <c:formatCode>General</c:formatCode>
                <c:ptCount val="49"/>
                <c:pt idx="0">
                  <c:v>0.35714285714285715</c:v>
                </c:pt>
                <c:pt idx="1">
                  <c:v>0.370242214532872</c:v>
                </c:pt>
                <c:pt idx="2">
                  <c:v>0.2990353697749196</c:v>
                </c:pt>
                <c:pt idx="3">
                  <c:v>0.2903225806451613</c:v>
                </c:pt>
                <c:pt idx="4">
                  <c:v>0.30677290836653387</c:v>
                </c:pt>
                <c:pt idx="5">
                  <c:v>0.266304347826087</c:v>
                </c:pt>
                <c:pt idx="6">
                  <c:v>0.25139664804469275</c:v>
                </c:pt>
                <c:pt idx="7">
                  <c:v>0.2647058823529412</c:v>
                </c:pt>
                <c:pt idx="8">
                  <c:v>0.2469879518072289</c:v>
                </c:pt>
                <c:pt idx="9">
                  <c:v>0.20108695652173914</c:v>
                </c:pt>
                <c:pt idx="10">
                  <c:v>0.171875</c:v>
                </c:pt>
                <c:pt idx="11">
                  <c:v>0.1393939393939394</c:v>
                </c:pt>
                <c:pt idx="12">
                  <c:v>0.11377245508982035</c:v>
                </c:pt>
                <c:pt idx="13">
                  <c:v>0.09146341463414634</c:v>
                </c:pt>
                <c:pt idx="14">
                  <c:v>0.5426136363636364</c:v>
                </c:pt>
                <c:pt idx="15">
                  <c:v>0.5950920245398773</c:v>
                </c:pt>
                <c:pt idx="16">
                  <c:v>0.4981949458483754</c:v>
                </c:pt>
                <c:pt idx="17">
                  <c:v>0.3827751196172249</c:v>
                </c:pt>
                <c:pt idx="18">
                  <c:v>0.36312849162011174</c:v>
                </c:pt>
                <c:pt idx="19">
                  <c:v>0.26</c:v>
                </c:pt>
                <c:pt idx="20">
                  <c:v>0.2346368715083799</c:v>
                </c:pt>
                <c:pt idx="21">
                  <c:v>0.17054263565891473</c:v>
                </c:pt>
                <c:pt idx="22">
                  <c:v>0.15789473684210525</c:v>
                </c:pt>
                <c:pt idx="23">
                  <c:v>0.1574074074074074</c:v>
                </c:pt>
                <c:pt idx="24">
                  <c:v>0.1968503937007874</c:v>
                </c:pt>
                <c:pt idx="25">
                  <c:v>0.09900990099009901</c:v>
                </c:pt>
                <c:pt idx="26">
                  <c:v>0.10784313725490197</c:v>
                </c:pt>
                <c:pt idx="27">
                  <c:v>0.12931034482758622</c:v>
                </c:pt>
                <c:pt idx="28">
                  <c:v>0.12096774193548387</c:v>
                </c:pt>
                <c:pt idx="29">
                  <c:v>0.1037037037037037</c:v>
                </c:pt>
                <c:pt idx="30">
                  <c:v>0.05504587155963303</c:v>
                </c:pt>
                <c:pt idx="31">
                  <c:v>0.058823529411764705</c:v>
                </c:pt>
                <c:pt idx="32">
                  <c:v>0.06315789473684211</c:v>
                </c:pt>
                <c:pt idx="33">
                  <c:v>0.09734513274336283</c:v>
                </c:pt>
                <c:pt idx="34">
                  <c:v>0.04807692307692308</c:v>
                </c:pt>
                <c:pt idx="35">
                  <c:v>0.015503875968992248</c:v>
                </c:pt>
                <c:pt idx="36">
                  <c:v>0.028037383177570093</c:v>
                </c:pt>
                <c:pt idx="37">
                  <c:v>0.15178571428571427</c:v>
                </c:pt>
                <c:pt idx="38">
                  <c:v>0.13333333333333333</c:v>
                </c:pt>
                <c:pt idx="39">
                  <c:v>0.0915032679738562</c:v>
                </c:pt>
                <c:pt idx="40">
                  <c:v>0.009345794392523364</c:v>
                </c:pt>
                <c:pt idx="41">
                  <c:v>0.01694915254237288</c:v>
                </c:pt>
                <c:pt idx="42">
                  <c:v>0.016</c:v>
                </c:pt>
                <c:pt idx="43">
                  <c:v>0.008</c:v>
                </c:pt>
                <c:pt idx="44">
                  <c:v>0.022727272727272728</c:v>
                </c:pt>
                <c:pt idx="45">
                  <c:v>0.009174311926605505</c:v>
                </c:pt>
                <c:pt idx="46">
                  <c:v>0.006802721088435374</c:v>
                </c:pt>
                <c:pt idx="47">
                  <c:v>0.01818181818181818</c:v>
                </c:pt>
                <c:pt idx="48">
                  <c:v>0.014705882352941176</c:v>
                </c:pt>
              </c:numCache>
            </c:numRef>
          </c:yVal>
          <c:smooth val="0"/>
          <c:extLst>
            <c:ext xmlns:c16="http://schemas.microsoft.com/office/drawing/2014/chart" uri="{C3380CC4-5D6E-409C-BE32-E72D297353CC}">
              <c16:uniqueId val="{00000000-F32D-48B7-BC20-E66FC6253BAD}"/>
            </c:ext>
          </c:extLst>
        </c:ser>
        <c:ser>
          <c:idx val="1"/>
          <c:order val="1"/>
          <c:tx>
            <c:strRef>
              <c:f>Sheet1!$B$5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54</c:f>
              <c:strCache>
                <c:ptCount val="1"/>
                <c:pt idx="0">
                  <c:v>Custom Linep3yQ</c:v>
                </c:pt>
              </c:strCache>
            </c:strRef>
          </c:tx>
          <c:spPr>
            <a:ln w="19050" cap="rnd">
              <a:solidFill>
                <a:srgbClr val="C00000"/>
              </a:solidFill>
              <a:prstDash val="sysDot"/>
              <a:round/>
            </a:ln>
            <a:effectLst/>
          </c:spPr>
          <c:marker>
            <c:symbol val="none"/>
          </c:marker>
          <c:xVal>
            <c:numRef>
              <c:f>Sheet1!$A$55:$A$56</c:f>
              <c:numCache>
                <c:formatCode>General</c:formatCode>
                <c:ptCount val="2"/>
                <c:pt idx="0">
                  <c:v>0</c:v>
                </c:pt>
                <c:pt idx="1">
                  <c:v>0.2947678622770326</c:v>
                </c:pt>
              </c:numCache>
            </c:numRef>
          </c:xVal>
          <c:yVal>
            <c:numRef>
              <c:f>Sheet1!$B$55:$B$56</c:f>
              <c:numCache>
                <c:formatCode>General</c:formatCode>
                <c:ptCount val="2"/>
                <c:pt idx="0">
                  <c:v>0.2947678622770326</c:v>
                </c:pt>
                <c:pt idx="1">
                  <c:v>0.2947678622770326</c:v>
                </c:pt>
              </c:numCache>
            </c:numRef>
          </c:yVal>
          <c:smooth val="0"/>
          <c:extLst>
            <c:ext xmlns:c16="http://schemas.microsoft.com/office/drawing/2014/chart" uri="{C3380CC4-5D6E-409C-BE32-E72D297353CC}">
              <c16:uniqueId val="{00000003-F32D-48B7-BC20-E66FC6253BAD}"/>
            </c:ext>
          </c:extLst>
        </c:ser>
        <c:ser>
          <c:idx val="3"/>
          <c:order val="3"/>
          <c:tx>
            <c:strRef>
              <c:f>Sheet1!$B$5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9:$A$60</c:f>
              <c:numCache>
                <c:formatCode>General</c:formatCode>
                <c:ptCount val="2"/>
                <c:pt idx="0">
                  <c:v>0.2947678622770326</c:v>
                </c:pt>
                <c:pt idx="1">
                  <c:v>0.2947678622770326</c:v>
                </c:pt>
              </c:numCache>
            </c:numRef>
          </c:xVal>
          <c:yVal>
            <c:numRef>
              <c:f>Sheet1!$B$59:$B$60</c:f>
              <c:numCache>
                <c:formatCode>General</c:formatCode>
                <c:ptCount val="2"/>
                <c:pt idx="0">
                  <c:v>0.29476786227703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2</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3:$A$65</c:f>
              <c:numCache>
                <c:formatCode>General</c:formatCode>
                <c:ptCount val="3"/>
                <c:pt idx="0">
                  <c:v>0</c:v>
                </c:pt>
                <c:pt idx="1">
                  <c:v>0.2947678622770326</c:v>
                </c:pt>
                <c:pt idx="2">
                  <c:v>0</c:v>
                </c:pt>
              </c:numCache>
            </c:numRef>
          </c:xVal>
          <c:yVal>
            <c:numRef>
              <c:f>Sheet1!$B$63:$B$65</c:f>
              <c:numCache>
                <c:formatCode>General</c:formatCode>
                <c:ptCount val="3"/>
                <c:pt idx="0">
                  <c:v>0</c:v>
                </c:pt>
                <c:pt idx="1">
                  <c:v>0.2947678622770326</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141104294478527"/>
          <c:min val="0.005442176870748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8</c:f>
              <c:numCache>
                <c:formatCode>General</c:formatCode>
                <c:ptCount val="47"/>
                <c:pt idx="0">
                  <c:v>0.27561771771771776</c:v>
                </c:pt>
                <c:pt idx="1">
                  <c:v>0.273797669438773</c:v>
                </c:pt>
                <c:pt idx="2">
                  <c:v>0.2868911122661123</c:v>
                </c:pt>
                <c:pt idx="3">
                  <c:v>0.27814070626066684</c:v>
                </c:pt>
                <c:pt idx="4">
                  <c:v>0.31494274912209935</c:v>
                </c:pt>
                <c:pt idx="5">
                  <c:v>0.2734805040770941</c:v>
                </c:pt>
                <c:pt idx="6">
                  <c:v>0.29663157306510196</c:v>
                </c:pt>
                <c:pt idx="7">
                  <c:v>0.2207708884271244</c:v>
                </c:pt>
                <c:pt idx="8">
                  <c:v>0.23934681554194118</c:v>
                </c:pt>
                <c:pt idx="9">
                  <c:v>0.24029561387269568</c:v>
                </c:pt>
                <c:pt idx="10">
                  <c:v>0.2677614981028939</c:v>
                </c:pt>
                <c:pt idx="11">
                  <c:v>0.25621119438155077</c:v>
                </c:pt>
                <c:pt idx="12">
                  <c:v>0.2615292842525238</c:v>
                </c:pt>
                <c:pt idx="13">
                  <c:v>0.26546548262548264</c:v>
                </c:pt>
                <c:pt idx="14">
                  <c:v>0.25457892468084037</c:v>
                </c:pt>
                <c:pt idx="15">
                  <c:v>0.25102805683862023</c:v>
                </c:pt>
                <c:pt idx="16">
                  <c:v>0.2553970633956866</c:v>
                </c:pt>
                <c:pt idx="17">
                  <c:v>0.25354151268785413</c:v>
                </c:pt>
                <c:pt idx="18">
                  <c:v>0.25756874043855177</c:v>
                </c:pt>
                <c:pt idx="19">
                  <c:v>0.2389357941035479</c:v>
                </c:pt>
                <c:pt idx="20">
                  <c:v>0.23830598496146094</c:v>
                </c:pt>
                <c:pt idx="21">
                  <c:v>0.25950624365482233</c:v>
                </c:pt>
                <c:pt idx="22">
                  <c:v>0.2914175448430493</c:v>
                </c:pt>
                <c:pt idx="23">
                  <c:v>0.26176367970492515</c:v>
                </c:pt>
                <c:pt idx="24">
                  <c:v>0.23919525047657944</c:v>
                </c:pt>
                <c:pt idx="25">
                  <c:v>0.29138381201044383</c:v>
                </c:pt>
                <c:pt idx="26">
                  <c:v>0.2729129783467248</c:v>
                </c:pt>
                <c:pt idx="27">
                  <c:v>0.365226003098835</c:v>
                </c:pt>
                <c:pt idx="28">
                  <c:v>0.2949189174006748</c:v>
                </c:pt>
                <c:pt idx="29">
                  <c:v>0.23888264952452481</c:v>
                </c:pt>
                <c:pt idx="30">
                  <c:v>0.2863618917395012</c:v>
                </c:pt>
                <c:pt idx="31">
                  <c:v>0.2861938692657173</c:v>
                </c:pt>
                <c:pt idx="32">
                  <c:v>0.25016302167976817</c:v>
                </c:pt>
                <c:pt idx="33">
                  <c:v>0.25164716998960596</c:v>
                </c:pt>
                <c:pt idx="34">
                  <c:v>0.2907181812337142</c:v>
                </c:pt>
                <c:pt idx="35">
                  <c:v>0.21303623983146466</c:v>
                </c:pt>
                <c:pt idx="36">
                  <c:v>0.23493922122346947</c:v>
                </c:pt>
                <c:pt idx="37">
                  <c:v>0.1565932437956104</c:v>
                </c:pt>
                <c:pt idx="38">
                  <c:v>0.1396134962801236</c:v>
                </c:pt>
                <c:pt idx="39">
                  <c:v>0.12225552778855969</c:v>
                </c:pt>
                <c:pt idx="40">
                  <c:v>0.15506140178142241</c:v>
                </c:pt>
                <c:pt idx="41">
                  <c:v>0.12338709677419354</c:v>
                </c:pt>
                <c:pt idx="42">
                  <c:v>0.12726824452671684</c:v>
                </c:pt>
                <c:pt idx="43">
                  <c:v>0.07857032814666462</c:v>
                </c:pt>
                <c:pt idx="44">
                  <c:v>0.12503528083545018</c:v>
                </c:pt>
                <c:pt idx="45">
                  <c:v>0.11117570120622003</c:v>
                </c:pt>
                <c:pt idx="46">
                  <c:v>0.09592476489028214</c:v>
                </c:pt>
              </c:numCache>
            </c:numRef>
          </c:xVal>
          <c:yVal>
            <c:numRef>
              <c:f>Sheet1!$B$2:$B$48</c:f>
              <c:numCache>
                <c:formatCode>General</c:formatCode>
                <c:ptCount val="47"/>
                <c:pt idx="0">
                  <c:v>0.35714285714285715</c:v>
                </c:pt>
                <c:pt idx="1">
                  <c:v>0.370242214532872</c:v>
                </c:pt>
                <c:pt idx="2">
                  <c:v>0.2990353697749196</c:v>
                </c:pt>
                <c:pt idx="3">
                  <c:v>0.2903225806451613</c:v>
                </c:pt>
                <c:pt idx="4">
                  <c:v>0.30677290836653387</c:v>
                </c:pt>
                <c:pt idx="5">
                  <c:v>0.266304347826087</c:v>
                </c:pt>
                <c:pt idx="6">
                  <c:v>0.25139664804469275</c:v>
                </c:pt>
                <c:pt idx="7">
                  <c:v>0.2647058823529412</c:v>
                </c:pt>
                <c:pt idx="8">
                  <c:v>0.2469879518072289</c:v>
                </c:pt>
                <c:pt idx="9">
                  <c:v>0.20108695652173914</c:v>
                </c:pt>
                <c:pt idx="10">
                  <c:v>0.171875</c:v>
                </c:pt>
                <c:pt idx="11">
                  <c:v>0.1393939393939394</c:v>
                </c:pt>
                <c:pt idx="12">
                  <c:v>0.11377245508982035</c:v>
                </c:pt>
                <c:pt idx="13">
                  <c:v>0.09146341463414634</c:v>
                </c:pt>
                <c:pt idx="14">
                  <c:v>0.5426136363636364</c:v>
                </c:pt>
                <c:pt idx="15">
                  <c:v>0.5950920245398773</c:v>
                </c:pt>
                <c:pt idx="16">
                  <c:v>0.4981949458483754</c:v>
                </c:pt>
                <c:pt idx="17">
                  <c:v>0.3827751196172249</c:v>
                </c:pt>
                <c:pt idx="18">
                  <c:v>0.36312849162011174</c:v>
                </c:pt>
                <c:pt idx="19">
                  <c:v>0.26</c:v>
                </c:pt>
                <c:pt idx="20">
                  <c:v>0.2346368715083799</c:v>
                </c:pt>
                <c:pt idx="21">
                  <c:v>0.17054263565891473</c:v>
                </c:pt>
                <c:pt idx="22">
                  <c:v>0.15789473684210525</c:v>
                </c:pt>
                <c:pt idx="23">
                  <c:v>0.1574074074074074</c:v>
                </c:pt>
                <c:pt idx="24">
                  <c:v>0.1968503937007874</c:v>
                </c:pt>
                <c:pt idx="25">
                  <c:v>0.09900990099009901</c:v>
                </c:pt>
                <c:pt idx="26">
                  <c:v>0.10784313725490197</c:v>
                </c:pt>
                <c:pt idx="27">
                  <c:v>0.12931034482758622</c:v>
                </c:pt>
                <c:pt idx="28">
                  <c:v>0.12096774193548387</c:v>
                </c:pt>
                <c:pt idx="29">
                  <c:v>0.1037037037037037</c:v>
                </c:pt>
                <c:pt idx="30">
                  <c:v>0.05504587155963303</c:v>
                </c:pt>
                <c:pt idx="31">
                  <c:v>0.058823529411764705</c:v>
                </c:pt>
                <c:pt idx="32">
                  <c:v>0.06315789473684211</c:v>
                </c:pt>
                <c:pt idx="33">
                  <c:v>0.09734513274336283</c:v>
                </c:pt>
                <c:pt idx="34">
                  <c:v>0.04807692307692308</c:v>
                </c:pt>
                <c:pt idx="35">
                  <c:v>0.015503875968992248</c:v>
                </c:pt>
                <c:pt idx="36">
                  <c:v>0.028037383177570093</c:v>
                </c:pt>
                <c:pt idx="37">
                  <c:v>0.15178571428571427</c:v>
                </c:pt>
                <c:pt idx="38">
                  <c:v>0.13333333333333333</c:v>
                </c:pt>
                <c:pt idx="39">
                  <c:v>0.0915032679738562</c:v>
                </c:pt>
                <c:pt idx="40">
                  <c:v>0.009345794392523364</c:v>
                </c:pt>
                <c:pt idx="41">
                  <c:v>0.01694915254237288</c:v>
                </c:pt>
                <c:pt idx="42">
                  <c:v>0.016</c:v>
                </c:pt>
                <c:pt idx="43">
                  <c:v>0.008</c:v>
                </c:pt>
                <c:pt idx="44">
                  <c:v>0.022727272727272728</c:v>
                </c:pt>
                <c:pt idx="45">
                  <c:v>0.009174311926605505</c:v>
                </c:pt>
                <c:pt idx="46">
                  <c:v>0.006802721088435374</c:v>
                </c:pt>
              </c:numCache>
            </c:numRef>
          </c:yVal>
          <c:smooth val="0"/>
          <c:extLst>
            <c:ext xmlns:c16="http://schemas.microsoft.com/office/drawing/2014/chart" uri="{C3380CC4-5D6E-409C-BE32-E72D297353CC}">
              <c16:uniqueId val="{00000000-096C-4121-9522-6AB7243CCAAE}"/>
            </c:ext>
          </c:extLst>
        </c:ser>
        <c:ser>
          <c:idx val="1"/>
          <c:order val="1"/>
          <c:tx>
            <c:strRef>
              <c:f>Sheet1!$B$5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1:$A$50</c:f>
              <c:numCache>
                <c:formatCode>General</c:formatCode>
                <c:ptCount val="0"/>
              </c:numCache>
            </c:numRef>
          </c:xVal>
          <c:yVal>
            <c:numRef>
              <c:f>Sheet1!$B$51:$B$50</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5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3:$A$54</c:f>
              <c:numCache>
                <c:formatCode>General</c:formatCode>
                <c:ptCount val="2"/>
                <c:pt idx="0">
                  <c:v>0</c:v>
                </c:pt>
                <c:pt idx="1">
                  <c:v>0.2947678622770326</c:v>
                </c:pt>
              </c:numCache>
            </c:numRef>
          </c:xVal>
          <c:yVal>
            <c:numRef>
              <c:f>Sheet1!$B$53:$B$54</c:f>
              <c:numCache>
                <c:formatCode>General</c:formatCode>
                <c:ptCount val="2"/>
                <c:pt idx="0">
                  <c:v>0.2947678622770326</c:v>
                </c:pt>
                <c:pt idx="1">
                  <c:v>0.2947678622770326</c:v>
                </c:pt>
              </c:numCache>
            </c:numRef>
          </c:yVal>
          <c:smooth val="0"/>
          <c:extLst>
            <c:ext xmlns:c16="http://schemas.microsoft.com/office/drawing/2014/chart" uri="{C3380CC4-5D6E-409C-BE32-E72D297353CC}">
              <c16:uniqueId val="{00000005-096C-4121-9522-6AB7243CCAAE}"/>
            </c:ext>
          </c:extLst>
        </c:ser>
        <c:ser>
          <c:idx val="3"/>
          <c:order val="3"/>
          <c:tx>
            <c:strRef>
              <c:f>Sheet1!$B$5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7:$A$58</c:f>
              <c:numCache>
                <c:formatCode>General</c:formatCode>
                <c:ptCount val="2"/>
                <c:pt idx="0">
                  <c:v>0.2947678622770326</c:v>
                </c:pt>
                <c:pt idx="1">
                  <c:v>0.2947678622770326</c:v>
                </c:pt>
              </c:numCache>
            </c:numRef>
          </c:xVal>
          <c:yVal>
            <c:numRef>
              <c:f>Sheet1!$B$57:$B$58</c:f>
              <c:numCache>
                <c:formatCode>General</c:formatCode>
                <c:ptCount val="2"/>
                <c:pt idx="0">
                  <c:v>0.29476786227703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0</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1:$A$63</c:f>
              <c:numCache>
                <c:formatCode>General</c:formatCode>
                <c:ptCount val="3"/>
                <c:pt idx="0">
                  <c:v>0</c:v>
                </c:pt>
                <c:pt idx="1">
                  <c:v>0.2947678622770326</c:v>
                </c:pt>
                <c:pt idx="2">
                  <c:v>0</c:v>
                </c:pt>
              </c:numCache>
            </c:numRef>
          </c:xVal>
          <c:yVal>
            <c:numRef>
              <c:f>Sheet1!$B$61:$B$63</c:f>
              <c:numCache>
                <c:formatCode>General</c:formatCode>
                <c:ptCount val="3"/>
                <c:pt idx="0">
                  <c:v>0</c:v>
                </c:pt>
                <c:pt idx="1">
                  <c:v>0.2947678622770326</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141104294478527"/>
          <c:min val="0.005442176870748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8</c:f>
              <c:numCache>
                <c:formatCode>General</c:formatCode>
                <c:ptCount val="47"/>
                <c:pt idx="0">
                  <c:v>550.6842</c:v>
                </c:pt>
                <c:pt idx="1">
                  <c:v>549.8131</c:v>
                </c:pt>
                <c:pt idx="2">
                  <c:v>551.9785</c:v>
                </c:pt>
                <c:pt idx="3">
                  <c:v>552.8444</c:v>
                </c:pt>
                <c:pt idx="4">
                  <c:v>545.3377</c:v>
                </c:pt>
                <c:pt idx="5">
                  <c:v>553.3878</c:v>
                </c:pt>
                <c:pt idx="6">
                  <c:v>530.8222</c:v>
                </c:pt>
                <c:pt idx="7">
                  <c:v>511.4</c:v>
                </c:pt>
                <c:pt idx="8">
                  <c:v>513.0</c:v>
                </c:pt>
                <c:pt idx="9">
                  <c:v>515.5676</c:v>
                </c:pt>
                <c:pt idx="10">
                  <c:v>514.5758</c:v>
                </c:pt>
                <c:pt idx="11">
                  <c:v>510.6522</c:v>
                </c:pt>
                <c:pt idx="12">
                  <c:v>508.0</c:v>
                </c:pt>
                <c:pt idx="13">
                  <c:v>515.6667</c:v>
                </c:pt>
                <c:pt idx="14">
                  <c:v>515.0471</c:v>
                </c:pt>
                <c:pt idx="15">
                  <c:v>513.9381</c:v>
                </c:pt>
                <c:pt idx="16">
                  <c:v>508.5652</c:v>
                </c:pt>
                <c:pt idx="17">
                  <c:v>514.5625</c:v>
                </c:pt>
                <c:pt idx="18">
                  <c:v>505.0923</c:v>
                </c:pt>
                <c:pt idx="19">
                  <c:v>515.2821</c:v>
                </c:pt>
                <c:pt idx="20">
                  <c:v>506.5952</c:v>
                </c:pt>
                <c:pt idx="21">
                  <c:v>511.2273</c:v>
                </c:pt>
                <c:pt idx="22">
                  <c:v>519.8889</c:v>
                </c:pt>
                <c:pt idx="23">
                  <c:v>491.9412</c:v>
                </c:pt>
                <c:pt idx="24">
                  <c:v>460.28</c:v>
                </c:pt>
                <c:pt idx="25">
                  <c:v>502.2</c:v>
                </c:pt>
                <c:pt idx="26">
                  <c:v>501.0</c:v>
                </c:pt>
                <c:pt idx="27">
                  <c:v>481.6667</c:v>
                </c:pt>
                <c:pt idx="28">
                  <c:v>520.8</c:v>
                </c:pt>
                <c:pt idx="29">
                  <c:v>496.0</c:v>
                </c:pt>
                <c:pt idx="30">
                  <c:v>558.0</c:v>
                </c:pt>
                <c:pt idx="31">
                  <c:v>558.0</c:v>
                </c:pt>
                <c:pt idx="32">
                  <c:v>511.5</c:v>
                </c:pt>
                <c:pt idx="33">
                  <c:v>532.6364</c:v>
                </c:pt>
                <c:pt idx="34">
                  <c:v>558.0</c:v>
                </c:pt>
                <c:pt idx="35">
                  <c:v>418.5</c:v>
                </c:pt>
                <c:pt idx="36">
                  <c:v>465.0</c:v>
                </c:pt>
                <c:pt idx="37">
                  <c:v>310.2353</c:v>
                </c:pt>
                <c:pt idx="38">
                  <c:v>273.2143</c:v>
                </c:pt>
                <c:pt idx="39">
                  <c:v>251.0</c:v>
                </c:pt>
                <c:pt idx="40">
                  <c:v>306.0</c:v>
                </c:pt>
                <c:pt idx="41">
                  <c:v>229.5</c:v>
                </c:pt>
                <c:pt idx="42">
                  <c:v>229.5</c:v>
                </c:pt>
                <c:pt idx="43">
                  <c:v>153.0</c:v>
                </c:pt>
                <c:pt idx="44">
                  <c:v>221.5</c:v>
                </c:pt>
                <c:pt idx="45">
                  <c:v>153.0</c:v>
                </c:pt>
                <c:pt idx="46">
                  <c:v>153.0</c:v>
                </c:pt>
              </c:numCache>
            </c:numRef>
          </c:xVal>
          <c:yVal>
            <c:numRef>
              <c:f>Sheet1!$B$2:$B$48</c:f>
              <c:numCache>
                <c:formatCode>General</c:formatCode>
                <c:ptCount val="47"/>
                <c:pt idx="0">
                  <c:v>0.35714285714285715</c:v>
                </c:pt>
                <c:pt idx="1">
                  <c:v>0.370242214532872</c:v>
                </c:pt>
                <c:pt idx="2">
                  <c:v>0.2990353697749196</c:v>
                </c:pt>
                <c:pt idx="3">
                  <c:v>0.2903225806451613</c:v>
                </c:pt>
                <c:pt idx="4">
                  <c:v>0.30677290836653387</c:v>
                </c:pt>
                <c:pt idx="5">
                  <c:v>0.266304347826087</c:v>
                </c:pt>
                <c:pt idx="6">
                  <c:v>0.25139664804469275</c:v>
                </c:pt>
                <c:pt idx="7">
                  <c:v>0.2647058823529412</c:v>
                </c:pt>
                <c:pt idx="8">
                  <c:v>0.2469879518072289</c:v>
                </c:pt>
                <c:pt idx="9">
                  <c:v>0.20108695652173914</c:v>
                </c:pt>
                <c:pt idx="10">
                  <c:v>0.171875</c:v>
                </c:pt>
                <c:pt idx="11">
                  <c:v>0.1393939393939394</c:v>
                </c:pt>
                <c:pt idx="12">
                  <c:v>0.11377245508982035</c:v>
                </c:pt>
                <c:pt idx="13">
                  <c:v>0.09146341463414634</c:v>
                </c:pt>
                <c:pt idx="14">
                  <c:v>0.5426136363636364</c:v>
                </c:pt>
                <c:pt idx="15">
                  <c:v>0.5950920245398773</c:v>
                </c:pt>
                <c:pt idx="16">
                  <c:v>0.4981949458483754</c:v>
                </c:pt>
                <c:pt idx="17">
                  <c:v>0.3827751196172249</c:v>
                </c:pt>
                <c:pt idx="18">
                  <c:v>0.36312849162011174</c:v>
                </c:pt>
                <c:pt idx="19">
                  <c:v>0.26</c:v>
                </c:pt>
                <c:pt idx="20">
                  <c:v>0.2346368715083799</c:v>
                </c:pt>
                <c:pt idx="21">
                  <c:v>0.17054263565891473</c:v>
                </c:pt>
                <c:pt idx="22">
                  <c:v>0.15789473684210525</c:v>
                </c:pt>
                <c:pt idx="23">
                  <c:v>0.1574074074074074</c:v>
                </c:pt>
                <c:pt idx="24">
                  <c:v>0.1968503937007874</c:v>
                </c:pt>
                <c:pt idx="25">
                  <c:v>0.09900990099009901</c:v>
                </c:pt>
                <c:pt idx="26">
                  <c:v>0.10784313725490197</c:v>
                </c:pt>
                <c:pt idx="27">
                  <c:v>0.12931034482758622</c:v>
                </c:pt>
                <c:pt idx="28">
                  <c:v>0.12096774193548387</c:v>
                </c:pt>
                <c:pt idx="29">
                  <c:v>0.1037037037037037</c:v>
                </c:pt>
                <c:pt idx="30">
                  <c:v>0.05504587155963303</c:v>
                </c:pt>
                <c:pt idx="31">
                  <c:v>0.058823529411764705</c:v>
                </c:pt>
                <c:pt idx="32">
                  <c:v>0.06315789473684211</c:v>
                </c:pt>
                <c:pt idx="33">
                  <c:v>0.09734513274336283</c:v>
                </c:pt>
                <c:pt idx="34">
                  <c:v>0.04807692307692308</c:v>
                </c:pt>
                <c:pt idx="35">
                  <c:v>0.015503875968992248</c:v>
                </c:pt>
                <c:pt idx="36">
                  <c:v>0.028037383177570093</c:v>
                </c:pt>
                <c:pt idx="37">
                  <c:v>0.15178571428571427</c:v>
                </c:pt>
                <c:pt idx="38">
                  <c:v>0.13333333333333333</c:v>
                </c:pt>
                <c:pt idx="39">
                  <c:v>0.0915032679738562</c:v>
                </c:pt>
                <c:pt idx="40">
                  <c:v>0.009345794392523364</c:v>
                </c:pt>
                <c:pt idx="41">
                  <c:v>0.01694915254237288</c:v>
                </c:pt>
                <c:pt idx="42">
                  <c:v>0.016</c:v>
                </c:pt>
                <c:pt idx="43">
                  <c:v>0.008</c:v>
                </c:pt>
                <c:pt idx="44">
                  <c:v>0.022727272727272728</c:v>
                </c:pt>
                <c:pt idx="45">
                  <c:v>0.009174311926605505</c:v>
                </c:pt>
                <c:pt idx="46">
                  <c:v>0.006802721088435374</c:v>
                </c:pt>
              </c:numCache>
            </c:numRef>
          </c:yVal>
          <c:smooth val="0"/>
          <c:extLst>
            <c:ext xmlns:c16="http://schemas.microsoft.com/office/drawing/2014/chart" uri="{C3380CC4-5D6E-409C-BE32-E72D297353CC}">
              <c16:uniqueId val="{00000000-F32D-48B7-BC20-E66FC6253BAD}"/>
            </c:ext>
          </c:extLst>
        </c:ser>
        <c:ser>
          <c:idx val="1"/>
          <c:order val="1"/>
          <c:tx>
            <c:strRef>
              <c:f>Sheet1!$B$50</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1:$A$50</c:f>
              <c:numCache>
                <c:formatCode>General</c:formatCode>
                <c:ptCount val="0"/>
              </c:numCache>
            </c:numRef>
          </c:xVal>
          <c:yVal>
            <c:numRef>
              <c:f>Sheet1!$B$51:$B$50</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52</c:f>
              <c:strCache>
                <c:ptCount val="1"/>
                <c:pt idx="0">
                  <c:v>Custom Linep3yQ</c:v>
                </c:pt>
              </c:strCache>
            </c:strRef>
          </c:tx>
          <c:spPr>
            <a:ln w="19050" cap="rnd">
              <a:solidFill>
                <a:srgbClr val="C00000"/>
              </a:solidFill>
              <a:prstDash val="sysDot"/>
              <a:round/>
            </a:ln>
            <a:effectLst/>
          </c:spPr>
          <c:marker>
            <c:symbol val="none"/>
          </c:marker>
          <c:xVal>
            <c:numRef>
              <c:f>Sheet1!$A$53:$A$54</c:f>
              <c:numCache>
                <c:formatCode>General</c:formatCode>
                <c:ptCount val="2"/>
                <c:pt idx="0">
                  <c:v>0</c:v>
                </c:pt>
                <c:pt idx="1">
                  <c:v>0.2947678622770326</c:v>
                </c:pt>
              </c:numCache>
            </c:numRef>
          </c:xVal>
          <c:yVal>
            <c:numRef>
              <c:f>Sheet1!$B$53:$B$54</c:f>
              <c:numCache>
                <c:formatCode>General</c:formatCode>
                <c:ptCount val="2"/>
                <c:pt idx="0">
                  <c:v>0.2947678622770326</c:v>
                </c:pt>
                <c:pt idx="1">
                  <c:v>0.2947678622770326</c:v>
                </c:pt>
              </c:numCache>
            </c:numRef>
          </c:yVal>
          <c:smooth val="0"/>
          <c:extLst>
            <c:ext xmlns:c16="http://schemas.microsoft.com/office/drawing/2014/chart" uri="{C3380CC4-5D6E-409C-BE32-E72D297353CC}">
              <c16:uniqueId val="{00000003-F32D-48B7-BC20-E66FC6253BAD}"/>
            </c:ext>
          </c:extLst>
        </c:ser>
        <c:ser>
          <c:idx val="3"/>
          <c:order val="3"/>
          <c:tx>
            <c:strRef>
              <c:f>Sheet1!$B$5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7:$A$58</c:f>
              <c:numCache>
                <c:formatCode>General</c:formatCode>
                <c:ptCount val="2"/>
                <c:pt idx="0">
                  <c:v>0.2947678622770326</c:v>
                </c:pt>
                <c:pt idx="1">
                  <c:v>0.2947678622770326</c:v>
                </c:pt>
              </c:numCache>
            </c:numRef>
          </c:xVal>
          <c:yVal>
            <c:numRef>
              <c:f>Sheet1!$B$57:$B$58</c:f>
              <c:numCache>
                <c:formatCode>General</c:formatCode>
                <c:ptCount val="2"/>
                <c:pt idx="0">
                  <c:v>0.29476786227703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0</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1:$A$63</c:f>
              <c:numCache>
                <c:formatCode>General</c:formatCode>
                <c:ptCount val="3"/>
                <c:pt idx="0">
                  <c:v>0</c:v>
                </c:pt>
                <c:pt idx="1">
                  <c:v>0.2947678622770326</c:v>
                </c:pt>
                <c:pt idx="2">
                  <c:v>0</c:v>
                </c:pt>
              </c:numCache>
            </c:numRef>
          </c:xVal>
          <c:yVal>
            <c:numRef>
              <c:f>Sheet1!$B$61:$B$63</c:f>
              <c:numCache>
                <c:formatCode>General</c:formatCode>
                <c:ptCount val="3"/>
                <c:pt idx="0">
                  <c:v>0</c:v>
                </c:pt>
                <c:pt idx="1">
                  <c:v>0.2947678622770326</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141104294478527"/>
          <c:min val="0.005442176870748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0.850875001077057</c:v>
                </c:pt>
                <c:pt idx="1">
                  <c:v>0.7539075357123516</c:v>
                </c:pt>
                <c:pt idx="2">
                  <c:v>0.840860564111438</c:v>
                </c:pt>
                <c:pt idx="3">
                  <c:v>0.7218597664919024</c:v>
                </c:pt>
                <c:pt idx="4">
                  <c:v>0.6985396401278442</c:v>
                </c:pt>
                <c:pt idx="5">
                  <c:v>0.6681262740848105</c:v>
                </c:pt>
                <c:pt idx="6">
                  <c:v>0.8552142033441544</c:v>
                </c:pt>
                <c:pt idx="7">
                  <c:v>0.7770636090563944</c:v>
                </c:pt>
                <c:pt idx="8">
                  <c:v>0.9191234731457477</c:v>
                </c:pt>
                <c:pt idx="9">
                  <c:v>0.7026205909051851</c:v>
                </c:pt>
                <c:pt idx="10">
                  <c:v>0.7127959946815846</c:v>
                </c:pt>
                <c:pt idx="11">
                  <c:v>0.7645392854583158</c:v>
                </c:pt>
                <c:pt idx="12">
                  <c:v>0.7873386518479477</c:v>
                </c:pt>
                <c:pt idx="13">
                  <c:v>0.7002100176842686</c:v>
                </c:pt>
                <c:pt idx="14">
                  <c:v>0.9593037376601928</c:v>
                </c:pt>
                <c:pt idx="15">
                  <c:v>0.8805329156083481</c:v>
                </c:pt>
                <c:pt idx="16">
                  <c:v>0.7823208515584822</c:v>
                </c:pt>
                <c:pt idx="17">
                  <c:v>0.9426803150137439</c:v>
                </c:pt>
                <c:pt idx="18">
                  <c:v>0.6909627062022042</c:v>
                </c:pt>
                <c:pt idx="19">
                  <c:v>0.7391951300798978</c:v>
                </c:pt>
                <c:pt idx="20">
                  <c:v>0.8874378579372347</c:v>
                </c:pt>
                <c:pt idx="21">
                  <c:v>0.8761927351682179</c:v>
                </c:pt>
                <c:pt idx="22">
                  <c:v>0.9122742070773759</c:v>
                </c:pt>
                <c:pt idx="23">
                  <c:v>0.7251908174525717</c:v>
                </c:pt>
                <c:pt idx="24">
                  <c:v>1.0343389258976667</c:v>
                </c:pt>
                <c:pt idx="25">
                  <c:v>0.915103193262843</c:v>
                </c:pt>
                <c:pt idx="26">
                  <c:v>0.8228568695338138</c:v>
                </c:pt>
                <c:pt idx="27">
                  <c:v>0.7643864380300428</c:v>
                </c:pt>
                <c:pt idx="28">
                  <c:v>1.0846475347161337</c:v>
                </c:pt>
                <c:pt idx="29">
                  <c:v>0.8366209930621705</c:v>
                </c:pt>
                <c:pt idx="30">
                  <c:v>0.8977595797938566</c:v>
                </c:pt>
                <c:pt idx="31">
                  <c:v>0.8901308430951016</c:v>
                </c:pt>
                <c:pt idx="32">
                  <c:v>0.9292988310293885</c:v>
                </c:pt>
                <c:pt idx="33">
                  <c:v>0.9560302453204883</c:v>
                </c:pt>
                <c:pt idx="34">
                  <c:v>0.9045844786362172</c:v>
                </c:pt>
                <c:pt idx="35">
                  <c:v>0.8818992508020447</c:v>
                </c:pt>
                <c:pt idx="36">
                  <c:v>0.8035966998910317</c:v>
                </c:pt>
                <c:pt idx="37">
                  <c:v>0.9199185815469829</c:v>
                </c:pt>
                <c:pt idx="38">
                  <c:v>0.625758630961033</c:v>
                </c:pt>
                <c:pt idx="39">
                  <c:v>0.8438124886406699</c:v>
                </c:pt>
                <c:pt idx="40">
                  <c:v>0.8331527672492411</c:v>
                </c:pt>
                <c:pt idx="41">
                  <c:v>0.7930309997545054</c:v>
                </c:pt>
                <c:pt idx="42">
                  <c:v>0.8995670654074233</c:v>
                </c:pt>
                <c:pt idx="43">
                  <c:v>0.897582878161632</c:v>
                </c:pt>
                <c:pt idx="44">
                  <c:v>0.8671247832509152</c:v>
                </c:pt>
                <c:pt idx="45">
                  <c:v>0.7526183176310505</c:v>
                </c:pt>
                <c:pt idx="46">
                  <c:v>0.8664578690197453</c:v>
                </c:pt>
                <c:pt idx="47">
                  <c:v>0.9252242626166157</c:v>
                </c:pt>
                <c:pt idx="48">
                  <c:v>0.8479711773209905</c:v>
                </c:pt>
                <c:pt idx="49">
                  <c:v>0.8320890728476822</c:v>
                </c:pt>
                <c:pt idx="50">
                  <c:v>0.7906034989573124</c:v>
                </c:pt>
                <c:pt idx="51">
                  <c:v>0.9113923423672171</c:v>
                </c:pt>
                <c:pt idx="52">
                  <c:v>0.8435322222544145</c:v>
                </c:pt>
                <c:pt idx="53">
                  <c:v>0.8958849777537448</c:v>
                </c:pt>
                <c:pt idx="54">
                  <c:v>0.9260466937142603</c:v>
                </c:pt>
                <c:pt idx="55">
                  <c:v>0.8556642223548891</c:v>
                </c:pt>
                <c:pt idx="56">
                  <c:v>0.861013986013986</c:v>
                </c:pt>
                <c:pt idx="57">
                  <c:v>0.7594997594997595</c:v>
                </c:pt>
                <c:pt idx="58">
                  <c:v>0.8845094209783965</c:v>
                </c:pt>
                <c:pt idx="59">
                  <c:v>1.0054598457239412</c:v>
                </c:pt>
                <c:pt idx="60">
                  <c:v>0.9603141050661841</c:v>
                </c:pt>
                <c:pt idx="61">
                  <c:v>0.8477808728054198</c:v>
                </c:pt>
                <c:pt idx="62">
                  <c:v>0.7706818595229443</c:v>
                </c:pt>
                <c:pt idx="63">
                  <c:v>0.8230282759235438</c:v>
                </c:pt>
                <c:pt idx="64">
                  <c:v>0.7771095166126587</c:v>
                </c:pt>
                <c:pt idx="65">
                  <c:v>1.0963901064334924</c:v>
                </c:pt>
                <c:pt idx="66">
                  <c:v>1.0552998269949927</c:v>
                </c:pt>
                <c:pt idx="67">
                  <c:v>1.384441639540291</c:v>
                </c:pt>
                <c:pt idx="68">
                  <c:v>1.1752354283515747</c:v>
                </c:pt>
                <c:pt idx="69">
                  <c:v>1.1826353682954884</c:v>
                </c:pt>
                <c:pt idx="70">
                  <c:v>0.814226226059738</c:v>
                </c:pt>
                <c:pt idx="71">
                  <c:v>1.1437228265207926</c:v>
                </c:pt>
                <c:pt idx="72">
                  <c:v>0.8906957507598533</c:v>
                </c:pt>
                <c:pt idx="73">
                  <c:v>0.8989855551806055</c:v>
                </c:pt>
                <c:pt idx="74">
                  <c:v>0.9570011003376492</c:v>
                </c:pt>
                <c:pt idx="75">
                  <c:v>1.1297788262460833</c:v>
                </c:pt>
                <c:pt idx="76">
                  <c:v>0.7732037377661789</c:v>
                </c:pt>
                <c:pt idx="77">
                  <c:v>1.1414534656939217</c:v>
                </c:pt>
                <c:pt idx="78">
                  <c:v>0.8522567390150148</c:v>
                </c:pt>
                <c:pt idx="79">
                  <c:v>0.7753310227888082</c:v>
                </c:pt>
                <c:pt idx="80">
                  <c:v>1.237355209256043</c:v>
                </c:pt>
                <c:pt idx="81">
                  <c:v>0.891087612211401</c:v>
                </c:pt>
                <c:pt idx="82">
                  <c:v>0.6088044393796759</c:v>
                </c:pt>
                <c:pt idx="83">
                  <c:v>0.7668884483161615</c:v>
                </c:pt>
                <c:pt idx="84">
                  <c:v>1.154092167860461</c:v>
                </c:pt>
                <c:pt idx="85">
                  <c:v>0.7877802115892152</c:v>
                </c:pt>
                <c:pt idx="86">
                  <c:v>0.7409192306934298</c:v>
                </c:pt>
                <c:pt idx="87">
                  <c:v>1.025742147961948</c:v>
                </c:pt>
                <c:pt idx="88">
                  <c:v>0.865076959022772</c:v>
                </c:pt>
                <c:pt idx="89">
                  <c:v>0.6271429670213</c:v>
                </c:pt>
                <c:pt idx="90">
                  <c:v>1.2443607000534787</c:v>
                </c:pt>
                <c:pt idx="91">
                  <c:v>0.812546818173809</c:v>
                </c:pt>
                <c:pt idx="92">
                  <c:v>0.8229148476615625</c:v>
                </c:pt>
                <c:pt idx="93">
                  <c:v>0.8167129949021233</c:v>
                </c:pt>
                <c:pt idx="94">
                  <c:v>1.0546250229660905</c:v>
                </c:pt>
                <c:pt idx="95">
                  <c:v>0.699069571689109</c:v>
                </c:pt>
                <c:pt idx="96">
                  <c:v>0.7336502281239227</c:v>
                </c:pt>
                <c:pt idx="97">
                  <c:v>0.8673007598888965</c:v>
                </c:pt>
                <c:pt idx="98">
                  <c:v>0.6294206576234487</c:v>
                </c:pt>
                <c:pt idx="99">
                  <c:v>0.6794112846271076</c:v>
                </c:pt>
              </c:numCache>
            </c:numRef>
          </c:xVal>
          <c:yVal>
            <c:numRef>
              <c:f>Sheet1!$B$2:$B$101</c:f>
              <c:numCache>
                <c:formatCode>General</c:formatCode>
                <c:ptCount val="100"/>
                <c:pt idx="0">
                  <c:v>0.01384083044982699</c:v>
                </c:pt>
                <c:pt idx="1">
                  <c:v>0.01607717041800643</c:v>
                </c:pt>
                <c:pt idx="2">
                  <c:v>0.01935483870967742</c:v>
                </c:pt>
                <c:pt idx="3">
                  <c:v>0.01593625498007968</c:v>
                </c:pt>
                <c:pt idx="4">
                  <c:v>0.016304347826086956</c:v>
                </c:pt>
                <c:pt idx="5">
                  <c:v>0.027932960893854747</c:v>
                </c:pt>
                <c:pt idx="6">
                  <c:v>0.01764705882352941</c:v>
                </c:pt>
                <c:pt idx="7">
                  <c:v>0.018072289156626505</c:v>
                </c:pt>
                <c:pt idx="8">
                  <c:v>0.010869565217391304</c:v>
                </c:pt>
                <c:pt idx="9">
                  <c:v>0.015625</c:v>
                </c:pt>
                <c:pt idx="10">
                  <c:v>0.012121212121212121</c:v>
                </c:pt>
                <c:pt idx="11">
                  <c:v>0.017964071856287425</c:v>
                </c:pt>
                <c:pt idx="12">
                  <c:v>0.018292682926829267</c:v>
                </c:pt>
                <c:pt idx="13">
                  <c:v>0.005681818181818182</c:v>
                </c:pt>
                <c:pt idx="14">
                  <c:v>0.006134969325153374</c:v>
                </c:pt>
                <c:pt idx="15">
                  <c:v>0.007220216606498195</c:v>
                </c:pt>
                <c:pt idx="16">
                  <c:v>0.009569377990430622</c:v>
                </c:pt>
                <c:pt idx="17">
                  <c:v>0.0111731843575419</c:v>
                </c:pt>
                <c:pt idx="18">
                  <c:v>0.013333333333333334</c:v>
                </c:pt>
                <c:pt idx="19">
                  <c:v>0.027932960893854747</c:v>
                </c:pt>
                <c:pt idx="20">
                  <c:v>0.031007751937984496</c:v>
                </c:pt>
                <c:pt idx="21">
                  <c:v>0.02631578947368421</c:v>
                </c:pt>
                <c:pt idx="22">
                  <c:v>0.027777777777777776</c:v>
                </c:pt>
                <c:pt idx="23">
                  <c:v>0.023622047244094488</c:v>
                </c:pt>
                <c:pt idx="24">
                  <c:v>0.009900990099009901</c:v>
                </c:pt>
                <c:pt idx="25">
                  <c:v>0.029411764705882353</c:v>
                </c:pt>
                <c:pt idx="26">
                  <c:v>0.034482758620689655</c:v>
                </c:pt>
                <c:pt idx="27">
                  <c:v>0.03225806451612903</c:v>
                </c:pt>
                <c:pt idx="28">
                  <c:v>0.014814814814814815</c:v>
                </c:pt>
                <c:pt idx="29">
                  <c:v>0.045871559633027525</c:v>
                </c:pt>
                <c:pt idx="30">
                  <c:v>0.023529411764705882</c:v>
                </c:pt>
                <c:pt idx="31">
                  <c:v>0.042105263157894736</c:v>
                </c:pt>
                <c:pt idx="32">
                  <c:v>0.05309734513274336</c:v>
                </c:pt>
                <c:pt idx="33">
                  <c:v>0.038461538461538464</c:v>
                </c:pt>
                <c:pt idx="34">
                  <c:v>0.07751937984496124</c:v>
                </c:pt>
                <c:pt idx="35">
                  <c:v>0.06542056074766354</c:v>
                </c:pt>
                <c:pt idx="36">
                  <c:v>0.08928571428571429</c:v>
                </c:pt>
                <c:pt idx="37">
                  <c:v>0.047619047619047616</c:v>
                </c:pt>
                <c:pt idx="38">
                  <c:v>0.032679738562091505</c:v>
                </c:pt>
                <c:pt idx="39">
                  <c:v>0.06542056074766354</c:v>
                </c:pt>
                <c:pt idx="40">
                  <c:v>0.059322033898305086</c:v>
                </c:pt>
                <c:pt idx="41">
                  <c:v>0.048</c:v>
                </c:pt>
                <c:pt idx="42">
                  <c:v>0.072</c:v>
                </c:pt>
                <c:pt idx="43">
                  <c:v>0.05084745762711865</c:v>
                </c:pt>
                <c:pt idx="44">
                  <c:v>0.04807692307692308</c:v>
                </c:pt>
                <c:pt idx="45">
                  <c:v>0.06666666666666667</c:v>
                </c:pt>
                <c:pt idx="46">
                  <c:v>0.03409090909090909</c:v>
                </c:pt>
                <c:pt idx="47">
                  <c:v>0.03669724770642202</c:v>
                </c:pt>
                <c:pt idx="48">
                  <c:v>0.047619047619047616</c:v>
                </c:pt>
                <c:pt idx="49">
                  <c:v>0.1111111111111111</c:v>
                </c:pt>
                <c:pt idx="50">
                  <c:v>0.06896551724137931</c:v>
                </c:pt>
                <c:pt idx="51">
                  <c:v>0.07446808510638298</c:v>
                </c:pt>
                <c:pt idx="52">
                  <c:v>0.08791208791208792</c:v>
                </c:pt>
                <c:pt idx="53">
                  <c:v>0.09333333333333334</c:v>
                </c:pt>
                <c:pt idx="54">
                  <c:v>0.04411764705882353</c:v>
                </c:pt>
                <c:pt idx="55">
                  <c:v>0.1038961038961039</c:v>
                </c:pt>
                <c:pt idx="56">
                  <c:v>0.05970149253731343</c:v>
                </c:pt>
                <c:pt idx="57">
                  <c:v>0.06557377049180328</c:v>
                </c:pt>
                <c:pt idx="58">
                  <c:v>0.023529411764705882</c:v>
                </c:pt>
                <c:pt idx="59">
                  <c:v>0.025974025974025976</c:v>
                </c:pt>
                <c:pt idx="60">
                  <c:v>0.05063291139240506</c:v>
                </c:pt>
                <c:pt idx="61">
                  <c:v>0.043478260869565216</c:v>
                </c:pt>
                <c:pt idx="62">
                  <c:v>0.0375</c:v>
                </c:pt>
                <c:pt idx="63">
                  <c:v>0.025</c:v>
                </c:pt>
                <c:pt idx="64">
                  <c:v>0.05555555555555555</c:v>
                </c:pt>
                <c:pt idx="65">
                  <c:v>0.013157894736842105</c:v>
                </c:pt>
                <c:pt idx="66">
                  <c:v>0.025</c:v>
                </c:pt>
                <c:pt idx="67">
                  <c:v>0.0136986301369863</c:v>
                </c:pt>
                <c:pt idx="68">
                  <c:v>0.01818181818181818</c:v>
                </c:pt>
                <c:pt idx="69">
                  <c:v>0.014705882352941176</c:v>
                </c:pt>
                <c:pt idx="70">
                  <c:v>0.034482758620689655</c:v>
                </c:pt>
                <c:pt idx="71">
                  <c:v>0.01639344262295082</c:v>
                </c:pt>
                <c:pt idx="72">
                  <c:v>0.03125</c:v>
                </c:pt>
                <c:pt idx="73">
                  <c:v>0.016666666666666666</c:v>
                </c:pt>
                <c:pt idx="74">
                  <c:v>0.03125</c:v>
                </c:pt>
                <c:pt idx="75">
                  <c:v>0.015384615384615385</c:v>
                </c:pt>
                <c:pt idx="76">
                  <c:v>0.034482758620689655</c:v>
                </c:pt>
                <c:pt idx="77">
                  <c:v>0.018518518518518517</c:v>
                </c:pt>
                <c:pt idx="78">
                  <c:v>0.016129032258064516</c:v>
                </c:pt>
                <c:pt idx="79">
                  <c:v>0.011627906976744186</c:v>
                </c:pt>
                <c:pt idx="80">
                  <c:v>0.016666666666666666</c:v>
                </c:pt>
                <c:pt idx="81">
                  <c:v>0.018867924528301886</c:v>
                </c:pt>
                <c:pt idx="82">
                  <c:v>0.0196078431372549</c:v>
                </c:pt>
                <c:pt idx="83">
                  <c:v>0.028169014084507043</c:v>
                </c:pt>
                <c:pt idx="84">
                  <c:v>0.01282051282051282</c:v>
                </c:pt>
                <c:pt idx="85">
                  <c:v>0.022988505747126436</c:v>
                </c:pt>
                <c:pt idx="86">
                  <c:v>0.028169014084507043</c:v>
                </c:pt>
                <c:pt idx="87">
                  <c:v>0.016129032258064516</c:v>
                </c:pt>
                <c:pt idx="88">
                  <c:v>0.015625</c:v>
                </c:pt>
                <c:pt idx="89">
                  <c:v>0.015873015873015872</c:v>
                </c:pt>
                <c:pt idx="90">
                  <c:v>0.015873015873015872</c:v>
                </c:pt>
                <c:pt idx="91">
                  <c:v>0.015873015873015872</c:v>
                </c:pt>
                <c:pt idx="92">
                  <c:v>0.015151515151515152</c:v>
                </c:pt>
                <c:pt idx="93">
                  <c:v>0.025974025974025976</c:v>
                </c:pt>
                <c:pt idx="94">
                  <c:v>0.011904761904761904</c:v>
                </c:pt>
                <c:pt idx="95">
                  <c:v>0.010526315789473684</c:v>
                </c:pt>
                <c:pt idx="96">
                  <c:v>0.013986013986013986</c:v>
                </c:pt>
                <c:pt idx="97">
                  <c:v>0.014705882352941176</c:v>
                </c:pt>
                <c:pt idx="98">
                  <c:v>0.017857142857142856</c:v>
                </c:pt>
                <c:pt idx="99">
                  <c:v>0.014285714285714285</c:v>
                </c:pt>
              </c:numCache>
            </c:numRef>
          </c:yVal>
          <c:smooth val="0"/>
          <c:extLst>
            <c:ext xmlns:c16="http://schemas.microsoft.com/office/drawing/2014/chart" uri="{C3380CC4-5D6E-409C-BE32-E72D297353CC}">
              <c16:uniqueId val="{00000000-096C-4121-9522-6AB7243CCAAE}"/>
            </c:ext>
          </c:extLst>
        </c:ser>
        <c:ser>
          <c:idx val="1"/>
          <c:order val="1"/>
          <c:tx>
            <c:strRef>
              <c:f>Sheet1!$B$10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0.6502657396636672</c:v>
                </c:pt>
                <c:pt idx="4">
                  <c:v>0.6131697784883953</c:v>
                </c:pt>
                <c:pt idx="5">
                  <c:v>1.1928036716358126</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1.3839078365080757</c:v>
                </c:pt>
                <c:pt idx="23">
                  <c:v>0.0</c:v>
                </c:pt>
                <c:pt idx="24">
                  <c:v>1.0983305141873843</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15873015873015872</c:v>
                </c:pt>
                <c:pt idx="4">
                  <c:v>0.01020408163265306</c:v>
                </c:pt>
                <c:pt idx="5">
                  <c:v>0.012987012987012988</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2</c:v>
                </c:pt>
                <c:pt idx="23">
                  <c:v>0.0</c:v>
                </c:pt>
                <c:pt idx="24">
                  <c:v>0.022222222222222223</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096C-4121-9522-6AB7243CCAAE}"/>
            </c:ext>
          </c:extLst>
        </c:ser>
        <c:ser>
          <c:idx val="2"/>
          <c:order val="2"/>
          <c:tx>
            <c:strRef>
              <c:f>Sheet1!$B$13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0:$A$141</c:f>
              <c:numCache>
                <c:formatCode>General</c:formatCode>
                <c:ptCount val="2"/>
                <c:pt idx="0">
                  <c:v>0</c:v>
                </c:pt>
                <c:pt idx="1">
                  <c:v>4.138045868282489</c:v>
                </c:pt>
              </c:numCache>
            </c:numRef>
          </c:xVal>
          <c:yVal>
            <c:numRef>
              <c:f>Sheet1!$B$140:$B$141</c:f>
              <c:numCache>
                <c:formatCode>General</c:formatCode>
                <c:ptCount val="2"/>
                <c:pt idx="0">
                  <c:v>0.06483837551942617</c:v>
                </c:pt>
                <c:pt idx="1">
                  <c:v>0.06483837551942617</c:v>
                </c:pt>
              </c:numCache>
            </c:numRef>
          </c:yVal>
          <c:smooth val="0"/>
          <c:extLst>
            <c:ext xmlns:c16="http://schemas.microsoft.com/office/drawing/2014/chart" uri="{C3380CC4-5D6E-409C-BE32-E72D297353CC}">
              <c16:uniqueId val="{00000005-096C-4121-9522-6AB7243CCAAE}"/>
            </c:ext>
          </c:extLst>
        </c:ser>
        <c:ser>
          <c:idx val="3"/>
          <c:order val="3"/>
          <c:tx>
            <c:strRef>
              <c:f>Sheet1!$B$14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4:$A$145</c:f>
              <c:numCache>
                <c:formatCode>General</c:formatCode>
                <c:ptCount val="2"/>
                <c:pt idx="0">
                  <c:v>4.138045868282489</c:v>
                </c:pt>
                <c:pt idx="1">
                  <c:v>4.138045868282489</c:v>
                </c:pt>
              </c:numCache>
            </c:numRef>
          </c:xVal>
          <c:yVal>
            <c:numRef>
              <c:f>Sheet1!$B$144:$B$145</c:f>
              <c:numCache>
                <c:formatCode>General</c:formatCode>
                <c:ptCount val="2"/>
                <c:pt idx="0">
                  <c:v>0.0648383755194261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8:$A$149</c:f>
              <c:numCache>
                <c:formatCode>General</c:formatCode>
                <c:ptCount val="2"/>
                <c:pt idx="0">
                  <c:v>0</c:v>
                </c:pt>
                <c:pt idx="1">
                  <c:v>0.40866962193798295</c:v>
                </c:pt>
              </c:numCache>
            </c:numRef>
          </c:xVal>
          <c:yVal>
            <c:numRef>
              <c:f>Sheet1!$B$148:$B$149</c:f>
              <c:numCache>
                <c:formatCode>General</c:formatCode>
                <c:ptCount val="2"/>
                <c:pt idx="0">
                  <c:v>0.006510685082113654</c:v>
                </c:pt>
                <c:pt idx="1">
                  <c:v>0.006510685082113654</c:v>
                </c:pt>
              </c:numCache>
            </c:numRef>
          </c:yVal>
          <c:smooth val="0"/>
          <c:extLst>
            <c:ext xmlns:c16="http://schemas.microsoft.com/office/drawing/2014/chart" uri="{C3380CC4-5D6E-409C-BE32-E72D297353CC}">
              <c16:uniqueId val="{0000000D-096C-4121-9522-6AB7243CCAAE}"/>
            </c:ext>
          </c:extLst>
        </c:ser>
        <c:ser>
          <c:idx val="5"/>
          <c:order val="5"/>
          <c:tx>
            <c:strRef>
              <c:f>Sheet1!$B$15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2:$A$153</c:f>
              <c:numCache>
                <c:formatCode>General</c:formatCode>
                <c:ptCount val="2"/>
                <c:pt idx="0">
                  <c:v>0.40866962193798295</c:v>
                </c:pt>
                <c:pt idx="1">
                  <c:v>0.40866962193798295</c:v>
                </c:pt>
              </c:numCache>
            </c:numRef>
          </c:xVal>
          <c:yVal>
            <c:numRef>
              <c:f>Sheet1!$B$152:$B$153</c:f>
              <c:numCache>
                <c:formatCode>General</c:formatCode>
                <c:ptCount val="2"/>
                <c:pt idx="0">
                  <c:v>0.00651068508211365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6:$A$157</c:f>
              <c:numCache>
                <c:formatCode>General</c:formatCode>
                <c:ptCount val="2"/>
                <c:pt idx="0">
                  <c:v>0</c:v>
                </c:pt>
                <c:pt idx="1">
                  <c:v>-0.0076128351697588685</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15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0:$A$161</c:f>
              <c:numCache>
                <c:formatCode>General</c:formatCode>
                <c:ptCount val="2"/>
                <c:pt idx="0">
                  <c:v>-0.0076128351697588685</c:v>
                </c:pt>
                <c:pt idx="1">
                  <c:v>-0.0076128351697588685</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4:$A$200</c:f>
              <c:numCache>
                <c:formatCode>General</c:formatCode>
                <c:ptCount val="37"/>
                <c:pt idx="0">
                  <c:v>0.0</c:v>
                </c:pt>
                <c:pt idx="1">
                  <c:v>0.0</c:v>
                </c:pt>
                <c:pt idx="2">
                  <c:v>0.0</c:v>
                </c:pt>
                <c:pt idx="3">
                  <c:v>0.6502657396636672</c:v>
                </c:pt>
                <c:pt idx="4">
                  <c:v>0.6131697784883953</c:v>
                </c:pt>
                <c:pt idx="5">
                  <c:v>1.1928036716358126</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1.3839078365080757</c:v>
                </c:pt>
                <c:pt idx="23">
                  <c:v>0.0</c:v>
                </c:pt>
                <c:pt idx="24">
                  <c:v>1.0983305141873843</c:v>
                </c:pt>
                <c:pt idx="25">
                  <c:v>0.0</c:v>
                </c:pt>
                <c:pt idx="26">
                  <c:v>0.0</c:v>
                </c:pt>
                <c:pt idx="27">
                  <c:v>0.0</c:v>
                </c:pt>
                <c:pt idx="28">
                  <c:v>0.0</c:v>
                </c:pt>
                <c:pt idx="29">
                  <c:v>0.0</c:v>
                </c:pt>
                <c:pt idx="30">
                  <c:v>0.0</c:v>
                </c:pt>
                <c:pt idx="31">
                  <c:v>0.0</c:v>
                </c:pt>
                <c:pt idx="32">
                  <c:v>0.0</c:v>
                </c:pt>
                <c:pt idx="33">
                  <c:v>0.0</c:v>
                </c:pt>
                <c:pt idx="34">
                  <c:v>0.40866962193798295</c:v>
                </c:pt>
                <c:pt idx="35">
                  <c:v>4.138045868282489</c:v>
                </c:pt>
                <c:pt idx="36">
                  <c:v>-0.0076128351697588685</c:v>
                </c:pt>
              </c:numCache>
            </c:numRef>
          </c:xVal>
          <c:yVal>
            <c:numRef>
              <c:f>Sheet1!$B$164:$B$200</c:f>
              <c:numCache>
                <c:formatCode>General</c:formatCode>
                <c:ptCount val="37"/>
                <c:pt idx="0">
                  <c:v>0.00011906524410542461</c:v>
                </c:pt>
                <c:pt idx="1">
                  <c:v>0.00011906524410542461</c:v>
                </c:pt>
                <c:pt idx="2">
                  <c:v>0.00011906524410542461</c:v>
                </c:pt>
                <c:pt idx="3">
                  <c:v>0.010289264296096902</c:v>
                </c:pt>
                <c:pt idx="4">
                  <c:v>0.009709081016915382</c:v>
                </c:pt>
                <c:pt idx="5">
                  <c:v>0.018774593331371655</c:v>
                </c:pt>
                <c:pt idx="6">
                  <c:v>0.00011906524410542461</c:v>
                </c:pt>
                <c:pt idx="7">
                  <c:v>0.00011906524410542461</c:v>
                </c:pt>
                <c:pt idx="8">
                  <c:v>0.00011906524410542461</c:v>
                </c:pt>
                <c:pt idx="9">
                  <c:v>0.00011906524410542461</c:v>
                </c:pt>
                <c:pt idx="10">
                  <c:v>0.00011906524410542461</c:v>
                </c:pt>
                <c:pt idx="11">
                  <c:v>0.00011906524410542461</c:v>
                </c:pt>
                <c:pt idx="12">
                  <c:v>0.00011906524410542461</c:v>
                </c:pt>
                <c:pt idx="13">
                  <c:v>0.00011906524410542461</c:v>
                </c:pt>
                <c:pt idx="14">
                  <c:v>0.00011906524410542461</c:v>
                </c:pt>
                <c:pt idx="15">
                  <c:v>0.00011906524410542461</c:v>
                </c:pt>
                <c:pt idx="16">
                  <c:v>0.00011906524410542461</c:v>
                </c:pt>
                <c:pt idx="17">
                  <c:v>0.00011906524410542461</c:v>
                </c:pt>
                <c:pt idx="18">
                  <c:v>0.00011906524410542461</c:v>
                </c:pt>
                <c:pt idx="19">
                  <c:v>0.00011906524410542461</c:v>
                </c:pt>
                <c:pt idx="20">
                  <c:v>0.00011906524410542461</c:v>
                </c:pt>
                <c:pt idx="21">
                  <c:v>0.00011906524410542461</c:v>
                </c:pt>
                <c:pt idx="22">
                  <c:v>0.021763475072889782</c:v>
                </c:pt>
                <c:pt idx="23">
                  <c:v>0.00011906524410542461</c:v>
                </c:pt>
                <c:pt idx="24">
                  <c:v>0.017297026918573096</c:v>
                </c:pt>
                <c:pt idx="25">
                  <c:v>0.00011906524410542461</c:v>
                </c:pt>
                <c:pt idx="26">
                  <c:v>0.00011906524410542461</c:v>
                </c:pt>
                <c:pt idx="27">
                  <c:v>0.00011906524410542461</c:v>
                </c:pt>
                <c:pt idx="28">
                  <c:v>0.00011906524410542461</c:v>
                </c:pt>
                <c:pt idx="29">
                  <c:v>0.00011906524410542461</c:v>
                </c:pt>
                <c:pt idx="30">
                  <c:v>0.00011906524410542461</c:v>
                </c:pt>
                <c:pt idx="31">
                  <c:v>0.00011906524410542461</c:v>
                </c:pt>
                <c:pt idx="32">
                  <c:v>0.00011906524410542461</c:v>
                </c:pt>
                <c:pt idx="33">
                  <c:v>0.00011906524410542461</c:v>
                </c:pt>
                <c:pt idx="34">
                  <c:v>0.006510685082113654</c:v>
                </c:pt>
                <c:pt idx="35">
                  <c:v>0.06483837551942617</c:v>
                </c:pt>
                <c:pt idx="36">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3333333333333333"/>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1244.25</c:v>
                </c:pt>
                <c:pt idx="1">
                  <c:v>1116.4</c:v>
                </c:pt>
                <c:pt idx="2">
                  <c:v>1214.8333</c:v>
                </c:pt>
                <c:pt idx="3">
                  <c:v>1106.5</c:v>
                </c:pt>
                <c:pt idx="4">
                  <c:v>1102.0</c:v>
                </c:pt>
                <c:pt idx="5">
                  <c:v>1050.4</c:v>
                </c:pt>
                <c:pt idx="6">
                  <c:v>1291.6667</c:v>
                </c:pt>
                <c:pt idx="7">
                  <c:v>1199.6667</c:v>
                </c:pt>
                <c:pt idx="8">
                  <c:v>1377.5</c:v>
                </c:pt>
                <c:pt idx="9">
                  <c:v>1108.0</c:v>
                </c:pt>
                <c:pt idx="10">
                  <c:v>1102.0</c:v>
                </c:pt>
                <c:pt idx="11">
                  <c:v>1193.6667</c:v>
                </c:pt>
                <c:pt idx="12">
                  <c:v>1253.3333</c:v>
                </c:pt>
                <c:pt idx="13">
                  <c:v>1081.5</c:v>
                </c:pt>
                <c:pt idx="14">
                  <c:v>1532.5</c:v>
                </c:pt>
                <c:pt idx="15">
                  <c:v>1381.0</c:v>
                </c:pt>
                <c:pt idx="16">
                  <c:v>1225.0</c:v>
                </c:pt>
                <c:pt idx="17">
                  <c:v>1397.5</c:v>
                </c:pt>
                <c:pt idx="18">
                  <c:v>1067.5</c:v>
                </c:pt>
                <c:pt idx="19">
                  <c:v>1170.2</c:v>
                </c:pt>
                <c:pt idx="20">
                  <c:v>1398.75</c:v>
                </c:pt>
                <c:pt idx="21">
                  <c:v>1355.3333</c:v>
                </c:pt>
                <c:pt idx="22">
                  <c:v>1351.6667</c:v>
                </c:pt>
                <c:pt idx="23">
                  <c:v>1120.0</c:v>
                </c:pt>
                <c:pt idx="24">
                  <c:v>1561.0</c:v>
                </c:pt>
                <c:pt idx="25">
                  <c:v>1343.6667</c:v>
                </c:pt>
                <c:pt idx="26">
                  <c:v>1231.75</c:v>
                </c:pt>
                <c:pt idx="27">
                  <c:v>1154.5</c:v>
                </c:pt>
                <c:pt idx="28">
                  <c:v>1573.0</c:v>
                </c:pt>
                <c:pt idx="29">
                  <c:v>1300.4</c:v>
                </c:pt>
                <c:pt idx="30">
                  <c:v>1412.5</c:v>
                </c:pt>
                <c:pt idx="31">
                  <c:v>1232.5</c:v>
                </c:pt>
                <c:pt idx="32">
                  <c:v>1284.6667</c:v>
                </c:pt>
                <c:pt idx="33">
                  <c:v>1314.5</c:v>
                </c:pt>
                <c:pt idx="34">
                  <c:v>1244.1</c:v>
                </c:pt>
                <c:pt idx="35">
                  <c:v>1340.2857</c:v>
                </c:pt>
                <c:pt idx="36">
                  <c:v>1239.3</c:v>
                </c:pt>
                <c:pt idx="37">
                  <c:v>1365.6</c:v>
                </c:pt>
                <c:pt idx="38">
                  <c:v>1188.2</c:v>
                </c:pt>
                <c:pt idx="39">
                  <c:v>1283.7143</c:v>
                </c:pt>
                <c:pt idx="40">
                  <c:v>1238.4286</c:v>
                </c:pt>
                <c:pt idx="41">
                  <c:v>1233.6667</c:v>
                </c:pt>
                <c:pt idx="42">
                  <c:v>1301.8889</c:v>
                </c:pt>
                <c:pt idx="43">
                  <c:v>1376.3333</c:v>
                </c:pt>
                <c:pt idx="44">
                  <c:v>1350.2</c:v>
                </c:pt>
                <c:pt idx="45">
                  <c:v>1179.8333</c:v>
                </c:pt>
                <c:pt idx="46">
                  <c:v>1328.6667</c:v>
                </c:pt>
                <c:pt idx="47">
                  <c:v>1386.5</c:v>
                </c:pt>
                <c:pt idx="48">
                  <c:v>1289.7143</c:v>
                </c:pt>
                <c:pt idx="49">
                  <c:v>1256.4545</c:v>
                </c:pt>
                <c:pt idx="50">
                  <c:v>1356.75</c:v>
                </c:pt>
                <c:pt idx="51">
                  <c:v>1232.8571</c:v>
                </c:pt>
                <c:pt idx="52">
                  <c:v>1278.125</c:v>
                </c:pt>
                <c:pt idx="53">
                  <c:v>1385.7143</c:v>
                </c:pt>
                <c:pt idx="54">
                  <c:v>1440.3333</c:v>
                </c:pt>
                <c:pt idx="55">
                  <c:v>1268.875</c:v>
                </c:pt>
                <c:pt idx="56">
                  <c:v>1231.25</c:v>
                </c:pt>
                <c:pt idx="57">
                  <c:v>1184.25</c:v>
                </c:pt>
                <c:pt idx="58">
                  <c:v>1322.5</c:v>
                </c:pt>
                <c:pt idx="59">
                  <c:v>1467.0</c:v>
                </c:pt>
                <c:pt idx="60">
                  <c:v>1332.25</c:v>
                </c:pt>
                <c:pt idx="61">
                  <c:v>1186.0</c:v>
                </c:pt>
                <c:pt idx="62">
                  <c:v>1077.0</c:v>
                </c:pt>
                <c:pt idx="63">
                  <c:v>1192.0</c:v>
                </c:pt>
                <c:pt idx="64">
                  <c:v>1140.0</c:v>
                </c:pt>
                <c:pt idx="65">
                  <c:v>1599.0</c:v>
                </c:pt>
                <c:pt idx="66">
                  <c:v>1546.0</c:v>
                </c:pt>
                <c:pt idx="67">
                  <c:v>2084.0</c:v>
                </c:pt>
                <c:pt idx="68">
                  <c:v>1757.0</c:v>
                </c:pt>
                <c:pt idx="69">
                  <c:v>1735.0</c:v>
                </c:pt>
                <c:pt idx="70">
                  <c:v>1194.5</c:v>
                </c:pt>
                <c:pt idx="71">
                  <c:v>1705.0</c:v>
                </c:pt>
                <c:pt idx="72">
                  <c:v>1354.5</c:v>
                </c:pt>
                <c:pt idx="73">
                  <c:v>1340.0</c:v>
                </c:pt>
                <c:pt idx="74">
                  <c:v>1344.0</c:v>
                </c:pt>
                <c:pt idx="75">
                  <c:v>1676.0</c:v>
                </c:pt>
                <c:pt idx="76">
                  <c:v>1199.0</c:v>
                </c:pt>
                <c:pt idx="77">
                  <c:v>1680.0</c:v>
                </c:pt>
                <c:pt idx="78">
                  <c:v>1319.0</c:v>
                </c:pt>
                <c:pt idx="79">
                  <c:v>1335.0</c:v>
                </c:pt>
                <c:pt idx="80">
                  <c:v>1977.0</c:v>
                </c:pt>
                <c:pt idx="81">
                  <c:v>1344.0</c:v>
                </c:pt>
                <c:pt idx="82">
                  <c:v>983.0</c:v>
                </c:pt>
                <c:pt idx="83">
                  <c:v>1191.0</c:v>
                </c:pt>
                <c:pt idx="84">
                  <c:v>1748.0</c:v>
                </c:pt>
                <c:pt idx="85">
                  <c:v>1354.5</c:v>
                </c:pt>
                <c:pt idx="86">
                  <c:v>1195.5</c:v>
                </c:pt>
                <c:pt idx="87">
                  <c:v>1701.0</c:v>
                </c:pt>
                <c:pt idx="88">
                  <c:v>1344.0</c:v>
                </c:pt>
                <c:pt idx="89">
                  <c:v>1029.0</c:v>
                </c:pt>
                <c:pt idx="90">
                  <c:v>2066.0</c:v>
                </c:pt>
                <c:pt idx="91">
                  <c:v>1365.0</c:v>
                </c:pt>
                <c:pt idx="92">
                  <c:v>1344.0</c:v>
                </c:pt>
                <c:pt idx="93">
                  <c:v>1337.5</c:v>
                </c:pt>
                <c:pt idx="94">
                  <c:v>1714.0</c:v>
                </c:pt>
                <c:pt idx="95">
                  <c:v>1029.0</c:v>
                </c:pt>
                <c:pt idx="96">
                  <c:v>1208.0</c:v>
                </c:pt>
                <c:pt idx="97">
                  <c:v>1365.0</c:v>
                </c:pt>
                <c:pt idx="98">
                  <c:v>1008.0</c:v>
                </c:pt>
                <c:pt idx="99">
                  <c:v>1051.0</c:v>
                </c:pt>
              </c:numCache>
            </c:numRef>
          </c:xVal>
          <c:yVal>
            <c:numRef>
              <c:f>Sheet1!$B$2:$B$101</c:f>
              <c:numCache>
                <c:formatCode>General</c:formatCode>
                <c:ptCount val="100"/>
                <c:pt idx="0">
                  <c:v>0.01384083044982699</c:v>
                </c:pt>
                <c:pt idx="1">
                  <c:v>0.01607717041800643</c:v>
                </c:pt>
                <c:pt idx="2">
                  <c:v>0.01935483870967742</c:v>
                </c:pt>
                <c:pt idx="3">
                  <c:v>0.01593625498007968</c:v>
                </c:pt>
                <c:pt idx="4">
                  <c:v>0.016304347826086956</c:v>
                </c:pt>
                <c:pt idx="5">
                  <c:v>0.027932960893854747</c:v>
                </c:pt>
                <c:pt idx="6">
                  <c:v>0.01764705882352941</c:v>
                </c:pt>
                <c:pt idx="7">
                  <c:v>0.018072289156626505</c:v>
                </c:pt>
                <c:pt idx="8">
                  <c:v>0.010869565217391304</c:v>
                </c:pt>
                <c:pt idx="9">
                  <c:v>0.015625</c:v>
                </c:pt>
                <c:pt idx="10">
                  <c:v>0.012121212121212121</c:v>
                </c:pt>
                <c:pt idx="11">
                  <c:v>0.017964071856287425</c:v>
                </c:pt>
                <c:pt idx="12">
                  <c:v>0.018292682926829267</c:v>
                </c:pt>
                <c:pt idx="13">
                  <c:v>0.005681818181818182</c:v>
                </c:pt>
                <c:pt idx="14">
                  <c:v>0.006134969325153374</c:v>
                </c:pt>
                <c:pt idx="15">
                  <c:v>0.007220216606498195</c:v>
                </c:pt>
                <c:pt idx="16">
                  <c:v>0.009569377990430622</c:v>
                </c:pt>
                <c:pt idx="17">
                  <c:v>0.0111731843575419</c:v>
                </c:pt>
                <c:pt idx="18">
                  <c:v>0.013333333333333334</c:v>
                </c:pt>
                <c:pt idx="19">
                  <c:v>0.027932960893854747</c:v>
                </c:pt>
                <c:pt idx="20">
                  <c:v>0.031007751937984496</c:v>
                </c:pt>
                <c:pt idx="21">
                  <c:v>0.02631578947368421</c:v>
                </c:pt>
                <c:pt idx="22">
                  <c:v>0.027777777777777776</c:v>
                </c:pt>
                <c:pt idx="23">
                  <c:v>0.023622047244094488</c:v>
                </c:pt>
                <c:pt idx="24">
                  <c:v>0.009900990099009901</c:v>
                </c:pt>
                <c:pt idx="25">
                  <c:v>0.029411764705882353</c:v>
                </c:pt>
                <c:pt idx="26">
                  <c:v>0.034482758620689655</c:v>
                </c:pt>
                <c:pt idx="27">
                  <c:v>0.03225806451612903</c:v>
                </c:pt>
                <c:pt idx="28">
                  <c:v>0.014814814814814815</c:v>
                </c:pt>
                <c:pt idx="29">
                  <c:v>0.045871559633027525</c:v>
                </c:pt>
                <c:pt idx="30">
                  <c:v>0.023529411764705882</c:v>
                </c:pt>
                <c:pt idx="31">
                  <c:v>0.042105263157894736</c:v>
                </c:pt>
                <c:pt idx="32">
                  <c:v>0.05309734513274336</c:v>
                </c:pt>
                <c:pt idx="33">
                  <c:v>0.038461538461538464</c:v>
                </c:pt>
                <c:pt idx="34">
                  <c:v>0.07751937984496124</c:v>
                </c:pt>
                <c:pt idx="35">
                  <c:v>0.06542056074766354</c:v>
                </c:pt>
                <c:pt idx="36">
                  <c:v>0.08928571428571429</c:v>
                </c:pt>
                <c:pt idx="37">
                  <c:v>0.047619047619047616</c:v>
                </c:pt>
                <c:pt idx="38">
                  <c:v>0.032679738562091505</c:v>
                </c:pt>
                <c:pt idx="39">
                  <c:v>0.06542056074766354</c:v>
                </c:pt>
                <c:pt idx="40">
                  <c:v>0.059322033898305086</c:v>
                </c:pt>
                <c:pt idx="41">
                  <c:v>0.048</c:v>
                </c:pt>
                <c:pt idx="42">
                  <c:v>0.072</c:v>
                </c:pt>
                <c:pt idx="43">
                  <c:v>0.05084745762711865</c:v>
                </c:pt>
                <c:pt idx="44">
                  <c:v>0.04807692307692308</c:v>
                </c:pt>
                <c:pt idx="45">
                  <c:v>0.06666666666666667</c:v>
                </c:pt>
                <c:pt idx="46">
                  <c:v>0.03409090909090909</c:v>
                </c:pt>
                <c:pt idx="47">
                  <c:v>0.03669724770642202</c:v>
                </c:pt>
                <c:pt idx="48">
                  <c:v>0.047619047619047616</c:v>
                </c:pt>
                <c:pt idx="49">
                  <c:v>0.1111111111111111</c:v>
                </c:pt>
                <c:pt idx="50">
                  <c:v>0.06896551724137931</c:v>
                </c:pt>
                <c:pt idx="51">
                  <c:v>0.07446808510638298</c:v>
                </c:pt>
                <c:pt idx="52">
                  <c:v>0.08791208791208792</c:v>
                </c:pt>
                <c:pt idx="53">
                  <c:v>0.09333333333333334</c:v>
                </c:pt>
                <c:pt idx="54">
                  <c:v>0.04411764705882353</c:v>
                </c:pt>
                <c:pt idx="55">
                  <c:v>0.1038961038961039</c:v>
                </c:pt>
                <c:pt idx="56">
                  <c:v>0.05970149253731343</c:v>
                </c:pt>
                <c:pt idx="57">
                  <c:v>0.06557377049180328</c:v>
                </c:pt>
                <c:pt idx="58">
                  <c:v>0.023529411764705882</c:v>
                </c:pt>
                <c:pt idx="59">
                  <c:v>0.025974025974025976</c:v>
                </c:pt>
                <c:pt idx="60">
                  <c:v>0.05063291139240506</c:v>
                </c:pt>
                <c:pt idx="61">
                  <c:v>0.043478260869565216</c:v>
                </c:pt>
                <c:pt idx="62">
                  <c:v>0.0375</c:v>
                </c:pt>
                <c:pt idx="63">
                  <c:v>0.025</c:v>
                </c:pt>
                <c:pt idx="64">
                  <c:v>0.05555555555555555</c:v>
                </c:pt>
                <c:pt idx="65">
                  <c:v>0.013157894736842105</c:v>
                </c:pt>
                <c:pt idx="66">
                  <c:v>0.025</c:v>
                </c:pt>
                <c:pt idx="67">
                  <c:v>0.0136986301369863</c:v>
                </c:pt>
                <c:pt idx="68">
                  <c:v>0.01818181818181818</c:v>
                </c:pt>
                <c:pt idx="69">
                  <c:v>0.014705882352941176</c:v>
                </c:pt>
                <c:pt idx="70">
                  <c:v>0.034482758620689655</c:v>
                </c:pt>
                <c:pt idx="71">
                  <c:v>0.01639344262295082</c:v>
                </c:pt>
                <c:pt idx="72">
                  <c:v>0.03125</c:v>
                </c:pt>
                <c:pt idx="73">
                  <c:v>0.016666666666666666</c:v>
                </c:pt>
                <c:pt idx="74">
                  <c:v>0.03125</c:v>
                </c:pt>
                <c:pt idx="75">
                  <c:v>0.015384615384615385</c:v>
                </c:pt>
                <c:pt idx="76">
                  <c:v>0.034482758620689655</c:v>
                </c:pt>
                <c:pt idx="77">
                  <c:v>0.018518518518518517</c:v>
                </c:pt>
                <c:pt idx="78">
                  <c:v>0.016129032258064516</c:v>
                </c:pt>
                <c:pt idx="79">
                  <c:v>0.011627906976744186</c:v>
                </c:pt>
                <c:pt idx="80">
                  <c:v>0.016666666666666666</c:v>
                </c:pt>
                <c:pt idx="81">
                  <c:v>0.018867924528301886</c:v>
                </c:pt>
                <c:pt idx="82">
                  <c:v>0.0196078431372549</c:v>
                </c:pt>
                <c:pt idx="83">
                  <c:v>0.028169014084507043</c:v>
                </c:pt>
                <c:pt idx="84">
                  <c:v>0.01282051282051282</c:v>
                </c:pt>
                <c:pt idx="85">
                  <c:v>0.022988505747126436</c:v>
                </c:pt>
                <c:pt idx="86">
                  <c:v>0.028169014084507043</c:v>
                </c:pt>
                <c:pt idx="87">
                  <c:v>0.016129032258064516</c:v>
                </c:pt>
                <c:pt idx="88">
                  <c:v>0.015625</c:v>
                </c:pt>
                <c:pt idx="89">
                  <c:v>0.015873015873015872</c:v>
                </c:pt>
                <c:pt idx="90">
                  <c:v>0.015873015873015872</c:v>
                </c:pt>
                <c:pt idx="91">
                  <c:v>0.015873015873015872</c:v>
                </c:pt>
                <c:pt idx="92">
                  <c:v>0.015151515151515152</c:v>
                </c:pt>
                <c:pt idx="93">
                  <c:v>0.025974025974025976</c:v>
                </c:pt>
                <c:pt idx="94">
                  <c:v>0.011904761904761904</c:v>
                </c:pt>
                <c:pt idx="95">
                  <c:v>0.010526315789473684</c:v>
                </c:pt>
                <c:pt idx="96">
                  <c:v>0.013986013986013986</c:v>
                </c:pt>
                <c:pt idx="97">
                  <c:v>0.014705882352941176</c:v>
                </c:pt>
                <c:pt idx="98">
                  <c:v>0.017857142857142856</c:v>
                </c:pt>
                <c:pt idx="99">
                  <c:v>0.014285714285714285</c:v>
                </c:pt>
              </c:numCache>
            </c:numRef>
          </c:yVal>
          <c:smooth val="0"/>
          <c:extLst>
            <c:ext xmlns:c16="http://schemas.microsoft.com/office/drawing/2014/chart" uri="{C3380CC4-5D6E-409C-BE32-E72D297353CC}">
              <c16:uniqueId val="{00000000-F32D-48B7-BC20-E66FC6253BAD}"/>
            </c:ext>
          </c:extLst>
        </c:ser>
        <c:ser>
          <c:idx val="1"/>
          <c:order val="1"/>
          <c:tx>
            <c:strRef>
              <c:f>Sheet1!$B$10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15873015873015872</c:v>
                </c:pt>
                <c:pt idx="4">
                  <c:v>0.01020408163265306</c:v>
                </c:pt>
                <c:pt idx="5">
                  <c:v>0.012987012987012988</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2</c:v>
                </c:pt>
                <c:pt idx="23">
                  <c:v>0.0</c:v>
                </c:pt>
                <c:pt idx="24">
                  <c:v>0.022222222222222223</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F32D-48B7-BC20-E66FC6253BAD}"/>
            </c:ext>
          </c:extLst>
        </c:ser>
        <c:ser>
          <c:idx val="2"/>
          <c:order val="2"/>
          <c:tx>
            <c:strRef>
              <c:f>Sheet1!$B$139</c:f>
              <c:strCache>
                <c:ptCount val="1"/>
                <c:pt idx="0">
                  <c:v>Custom Linep3yQ</c:v>
                </c:pt>
              </c:strCache>
            </c:strRef>
          </c:tx>
          <c:spPr>
            <a:ln w="19050" cap="rnd">
              <a:solidFill>
                <a:srgbClr val="C00000"/>
              </a:solidFill>
              <a:prstDash val="sysDot"/>
              <a:round/>
            </a:ln>
            <a:effectLst/>
          </c:spPr>
          <c:marker>
            <c:symbol val="none"/>
          </c:marker>
          <c:xVal>
            <c:numRef>
              <c:f>Sheet1!$A$140:$A$141</c:f>
              <c:numCache>
                <c:formatCode>General</c:formatCode>
                <c:ptCount val="2"/>
                <c:pt idx="0">
                  <c:v>0</c:v>
                </c:pt>
                <c:pt idx="1">
                  <c:v>6533.70922277644</c:v>
                </c:pt>
              </c:numCache>
            </c:numRef>
          </c:xVal>
          <c:yVal>
            <c:numRef>
              <c:f>Sheet1!$B$140:$B$141</c:f>
              <c:numCache>
                <c:formatCode>General</c:formatCode>
                <c:ptCount val="2"/>
                <c:pt idx="0">
                  <c:v>0.06483837551942617</c:v>
                </c:pt>
                <c:pt idx="1">
                  <c:v>0.06483837551942617</c:v>
                </c:pt>
              </c:numCache>
            </c:numRef>
          </c:yVal>
          <c:smooth val="0"/>
          <c:extLst>
            <c:ext xmlns:c16="http://schemas.microsoft.com/office/drawing/2014/chart" uri="{C3380CC4-5D6E-409C-BE32-E72D297353CC}">
              <c16:uniqueId val="{00000003-F32D-48B7-BC20-E66FC6253BAD}"/>
            </c:ext>
          </c:extLst>
        </c:ser>
        <c:ser>
          <c:idx val="3"/>
          <c:order val="3"/>
          <c:tx>
            <c:strRef>
              <c:f>Sheet1!$B$14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4:$A$145</c:f>
              <c:numCache>
                <c:formatCode>General</c:formatCode>
                <c:ptCount val="2"/>
                <c:pt idx="0">
                  <c:v>6533.70922277644</c:v>
                </c:pt>
                <c:pt idx="1">
                  <c:v>6533.70922277644</c:v>
                </c:pt>
              </c:numCache>
            </c:numRef>
          </c:xVal>
          <c:yVal>
            <c:numRef>
              <c:f>Sheet1!$B$144:$B$145</c:f>
              <c:numCache>
                <c:formatCode>General</c:formatCode>
                <c:ptCount val="2"/>
                <c:pt idx="0">
                  <c:v>0.0648383755194261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8:$A$149</c:f>
              <c:numCache>
                <c:formatCode>General</c:formatCode>
                <c:ptCount val="2"/>
                <c:pt idx="0">
                  <c:v>0</c:v>
                </c:pt>
                <c:pt idx="1">
                  <c:v>648.3525833495991</c:v>
                </c:pt>
              </c:numCache>
            </c:numRef>
          </c:xVal>
          <c:yVal>
            <c:numRef>
              <c:f>Sheet1!$B$148:$B$149</c:f>
              <c:numCache>
                <c:formatCode>General</c:formatCode>
                <c:ptCount val="2"/>
                <c:pt idx="0">
                  <c:v>0.006510685082113654</c:v>
                </c:pt>
                <c:pt idx="1">
                  <c:v>0.006510685082113654</c:v>
                </c:pt>
              </c:numCache>
            </c:numRef>
          </c:yVal>
          <c:smooth val="0"/>
          <c:extLst>
            <c:ext xmlns:c16="http://schemas.microsoft.com/office/drawing/2014/chart" uri="{C3380CC4-5D6E-409C-BE32-E72D297353CC}">
              <c16:uniqueId val="{0000000A-F32D-48B7-BC20-E66FC6253BAD}"/>
            </c:ext>
          </c:extLst>
        </c:ser>
        <c:ser>
          <c:idx val="5"/>
          <c:order val="5"/>
          <c:tx>
            <c:strRef>
              <c:f>Sheet1!$B$15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2:$A$153</c:f>
              <c:numCache>
                <c:formatCode>General</c:formatCode>
                <c:ptCount val="2"/>
                <c:pt idx="0">
                  <c:v>648.3525833495991</c:v>
                </c:pt>
                <c:pt idx="1">
                  <c:v>648.3525833495991</c:v>
                </c:pt>
              </c:numCache>
            </c:numRef>
          </c:xVal>
          <c:yVal>
            <c:numRef>
              <c:f>Sheet1!$B$152:$B$153</c:f>
              <c:numCache>
                <c:formatCode>General</c:formatCode>
                <c:ptCount val="2"/>
                <c:pt idx="0">
                  <c:v>0.00651068508211365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6:$A$157</c:f>
              <c:numCache>
                <c:formatCode>General</c:formatCode>
                <c:ptCount val="2"/>
                <c:pt idx="0">
                  <c:v>0</c:v>
                </c:pt>
                <c:pt idx="1">
                  <c:v>-8.585885976847047</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15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0:$A$161</c:f>
              <c:numCache>
                <c:formatCode>General</c:formatCode>
                <c:ptCount val="2"/>
                <c:pt idx="0">
                  <c:v>-8.585885976847047</c:v>
                </c:pt>
                <c:pt idx="1">
                  <c:v>-8.585885976847047</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4:$A$200</c:f>
              <c:numCache>
                <c:formatCode>General</c:formatCode>
                <c:ptCount val="37"/>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pt idx="34">
                  <c:v>648.3525833495991</c:v>
                </c:pt>
                <c:pt idx="35">
                  <c:v>6533.70922277644</c:v>
                </c:pt>
                <c:pt idx="36">
                  <c:v>-8.585885976847047</c:v>
                </c:pt>
              </c:numCache>
            </c:numRef>
          </c:xVal>
          <c:yVal>
            <c:numRef>
              <c:f>Sheet1!$B$164:$B$200</c:f>
              <c:numCache>
                <c:formatCode>General</c:formatCode>
                <c:ptCount val="37"/>
                <c:pt idx="0">
                  <c:v>8.509168264038597e-05</c:v>
                </c:pt>
                <c:pt idx="1">
                  <c:v>8.509168264038597e-05</c:v>
                </c:pt>
                <c:pt idx="2">
                  <c:v>8.509168264038597e-05</c:v>
                </c:pt>
                <c:pt idx="3">
                  <c:v>0.010501181378707732</c:v>
                </c:pt>
                <c:pt idx="4">
                  <c:v>0.01028314715100699</c:v>
                </c:pt>
                <c:pt idx="5">
                  <c:v>0.01685390592217031</c:v>
                </c:pt>
                <c:pt idx="6">
                  <c:v>8.509168264038597e-05</c:v>
                </c:pt>
                <c:pt idx="7">
                  <c:v>8.509168264038597e-05</c:v>
                </c:pt>
                <c:pt idx="8">
                  <c:v>8.509168264038597e-05</c:v>
                </c:pt>
                <c:pt idx="9">
                  <c:v>8.509168264038597e-05</c:v>
                </c:pt>
                <c:pt idx="10">
                  <c:v>8.509168264038597e-05</c:v>
                </c:pt>
                <c:pt idx="11">
                  <c:v>8.509168264038597e-05</c:v>
                </c:pt>
                <c:pt idx="12">
                  <c:v>8.509168264038597e-05</c:v>
                </c:pt>
                <c:pt idx="13">
                  <c:v>8.509168264038597e-05</c:v>
                </c:pt>
                <c:pt idx="14">
                  <c:v>8.509168264038597e-05</c:v>
                </c:pt>
                <c:pt idx="15">
                  <c:v>8.509168264038597e-05</c:v>
                </c:pt>
                <c:pt idx="16">
                  <c:v>8.509168264038597e-05</c:v>
                </c:pt>
                <c:pt idx="17">
                  <c:v>8.509168264038597e-05</c:v>
                </c:pt>
                <c:pt idx="18">
                  <c:v>8.509168264038597e-05</c:v>
                </c:pt>
                <c:pt idx="19">
                  <c:v>8.509168264038597e-05</c:v>
                </c:pt>
                <c:pt idx="20">
                  <c:v>8.509168264038597e-05</c:v>
                </c:pt>
                <c:pt idx="21">
                  <c:v>8.509168264038597e-05</c:v>
                </c:pt>
                <c:pt idx="22">
                  <c:v>0.02251288519567598</c:v>
                </c:pt>
                <c:pt idx="23">
                  <c:v>8.509168264038597e-05</c:v>
                </c:pt>
                <c:pt idx="24">
                  <c:v>0.018667554270771953</c:v>
                </c:pt>
                <c:pt idx="25">
                  <c:v>8.509168264038597e-05</c:v>
                </c:pt>
                <c:pt idx="26">
                  <c:v>8.509168264038597e-05</c:v>
                </c:pt>
                <c:pt idx="27">
                  <c:v>8.509168264038597e-05</c:v>
                </c:pt>
                <c:pt idx="28">
                  <c:v>8.509168264038597e-05</c:v>
                </c:pt>
                <c:pt idx="29">
                  <c:v>8.509168264038597e-05</c:v>
                </c:pt>
                <c:pt idx="30">
                  <c:v>8.509168264038597e-05</c:v>
                </c:pt>
                <c:pt idx="31">
                  <c:v>8.509168264038597e-05</c:v>
                </c:pt>
                <c:pt idx="32">
                  <c:v>8.509168264038597e-05</c:v>
                </c:pt>
                <c:pt idx="33">
                  <c:v>8.509168264038597e-05</c:v>
                </c:pt>
                <c:pt idx="34">
                  <c:v>0.006510685082113654</c:v>
                </c:pt>
                <c:pt idx="35">
                  <c:v>0.06483837551942617</c:v>
                </c:pt>
                <c:pt idx="36">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84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3333333333333333"/>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96</c:f>
              <c:numCache>
                <c:formatCode>General</c:formatCode>
                <c:ptCount val="95"/>
                <c:pt idx="0">
                  <c:v>2.5214268084056073</c:v>
                </c:pt>
                <c:pt idx="1">
                  <c:v>2.267283108801766</c:v>
                </c:pt>
                <c:pt idx="2">
                  <c:v>2.469747138410407</c:v>
                </c:pt>
                <c:pt idx="3">
                  <c:v>2.245982705222737</c:v>
                </c:pt>
                <c:pt idx="4">
                  <c:v>2.07799574105156</c:v>
                </c:pt>
                <c:pt idx="5">
                  <c:v>1.8992583056388301</c:v>
                </c:pt>
                <c:pt idx="6">
                  <c:v>2.3264513003211404</c:v>
                </c:pt>
                <c:pt idx="7">
                  <c:v>2.175811816888664</c:v>
                </c:pt>
                <c:pt idx="8">
                  <c:v>2.490502191913127</c:v>
                </c:pt>
                <c:pt idx="9">
                  <c:v>2.0164243954594054</c:v>
                </c:pt>
                <c:pt idx="10">
                  <c:v>2.0148742330862093</c:v>
                </c:pt>
                <c:pt idx="11">
                  <c:v>2.1527744187644493</c:v>
                </c:pt>
                <c:pt idx="12">
                  <c:v>2.2817582525615165</c:v>
                </c:pt>
                <c:pt idx="13">
                  <c:v>1.965254875294902</c:v>
                </c:pt>
                <c:pt idx="14">
                  <c:v>2.8162196610907047</c:v>
                </c:pt>
                <c:pt idx="15">
                  <c:v>2.4840577812345535</c:v>
                </c:pt>
                <c:pt idx="16">
                  <c:v>2.2062607014900455</c:v>
                </c:pt>
                <c:pt idx="17">
                  <c:v>2.5244232302573844</c:v>
                </c:pt>
                <c:pt idx="18">
                  <c:v>2.095660265496107</c:v>
                </c:pt>
                <c:pt idx="19">
                  <c:v>2.113564634583784</c:v>
                </c:pt>
                <c:pt idx="20">
                  <c:v>2.5376451378809866</c:v>
                </c:pt>
                <c:pt idx="21">
                  <c:v>2.431944810043633</c:v>
                </c:pt>
                <c:pt idx="22">
                  <c:v>2.4415944725433523</c:v>
                </c:pt>
                <c:pt idx="23">
                  <c:v>2.0865516529587675</c:v>
                </c:pt>
                <c:pt idx="24">
                  <c:v>2.812500112608108</c:v>
                </c:pt>
                <c:pt idx="25">
                  <c:v>2.416565456879235</c:v>
                </c:pt>
                <c:pt idx="26">
                  <c:v>2.2128448660561904</c:v>
                </c:pt>
                <c:pt idx="27">
                  <c:v>2.084790384213595</c:v>
                </c:pt>
                <c:pt idx="28">
                  <c:v>2.961310748051945</c:v>
                </c:pt>
                <c:pt idx="29">
                  <c:v>2.3149924242923245</c:v>
                </c:pt>
                <c:pt idx="30">
                  <c:v>2.5425908721977724</c:v>
                </c:pt>
                <c:pt idx="31">
                  <c:v>2.1740054564450135</c:v>
                </c:pt>
                <c:pt idx="32">
                  <c:v>2.32682643040504</c:v>
                </c:pt>
                <c:pt idx="33">
                  <c:v>2.3675636752152918</c:v>
                </c:pt>
                <c:pt idx="34">
                  <c:v>2.199940868079231</c:v>
                </c:pt>
                <c:pt idx="35">
                  <c:v>2.422786876355748</c:v>
                </c:pt>
                <c:pt idx="36">
                  <c:v>2.2233584499461787</c:v>
                </c:pt>
                <c:pt idx="37">
                  <c:v>2.558634435667094</c:v>
                </c:pt>
                <c:pt idx="38">
                  <c:v>2.129231561010584</c:v>
                </c:pt>
                <c:pt idx="39">
                  <c:v>2.3168099955422163</c:v>
                </c:pt>
                <c:pt idx="40">
                  <c:v>2.2329116069416273</c:v>
                </c:pt>
                <c:pt idx="41">
                  <c:v>2.2415358705386788</c:v>
                </c:pt>
                <c:pt idx="42">
                  <c:v>2.2973470788291985</c:v>
                </c:pt>
                <c:pt idx="43">
                  <c:v>2.447814334137869</c:v>
                </c:pt>
                <c:pt idx="44">
                  <c:v>2.394793249102307</c:v>
                </c:pt>
                <c:pt idx="45">
                  <c:v>2.0678673559596996</c:v>
                </c:pt>
                <c:pt idx="46">
                  <c:v>2.3513024510469283</c:v>
                </c:pt>
                <c:pt idx="47">
                  <c:v>2.4492532913000367</c:v>
                </c:pt>
                <c:pt idx="48">
                  <c:v>2.347129870713651</c:v>
                </c:pt>
                <c:pt idx="49">
                  <c:v>2.263609940931423</c:v>
                </c:pt>
                <c:pt idx="50">
                  <c:v>2.5334559027421824</c:v>
                </c:pt>
                <c:pt idx="51">
                  <c:v>2.1959751108223178</c:v>
                </c:pt>
                <c:pt idx="52">
                  <c:v>2.39023704232045</c:v>
                </c:pt>
                <c:pt idx="53">
                  <c:v>2.6449977094865433</c:v>
                </c:pt>
                <c:pt idx="54">
                  <c:v>2.7244638256958496</c:v>
                </c:pt>
                <c:pt idx="55">
                  <c:v>2.1900755124056097</c:v>
                </c:pt>
                <c:pt idx="56">
                  <c:v>2.1405598052851182</c:v>
                </c:pt>
                <c:pt idx="57">
                  <c:v>2.059565217391304</c:v>
                </c:pt>
                <c:pt idx="58">
                  <c:v>2.3504145527005598</c:v>
                </c:pt>
                <c:pt idx="59">
                  <c:v>2.5597131167063423</c:v>
                </c:pt>
                <c:pt idx="60">
                  <c:v>2.3790178571428573</c:v>
                </c:pt>
                <c:pt idx="61">
                  <c:v>2.0662020905923346</c:v>
                </c:pt>
                <c:pt idx="62">
                  <c:v>1.944043321299639</c:v>
                </c:pt>
                <c:pt idx="63">
                  <c:v>2.329945269741986</c:v>
                </c:pt>
                <c:pt idx="64">
                  <c:v>2.0652173913043477</c:v>
                </c:pt>
                <c:pt idx="65">
                  <c:v>3.402127659574468</c:v>
                </c:pt>
                <c:pt idx="66">
                  <c:v>3.0674603174603177</c:v>
                </c:pt>
                <c:pt idx="67">
                  <c:v>3.2511700468018723</c:v>
                </c:pt>
                <c:pt idx="68">
                  <c:v>3.9394618834080717</c:v>
                </c:pt>
                <c:pt idx="69">
                  <c:v>2.6129518072289155</c:v>
                </c:pt>
                <c:pt idx="70">
                  <c:v>1.7775297619047619</c:v>
                </c:pt>
                <c:pt idx="71">
                  <c:v>2.537202380952381</c:v>
                </c:pt>
                <c:pt idx="72">
                  <c:v>0.0</c:v>
                </c:pt>
                <c:pt idx="73">
                  <c:v>3.988095238095238</c:v>
                </c:pt>
                <c:pt idx="74">
                  <c:v>0.0</c:v>
                </c:pt>
                <c:pt idx="75">
                  <c:v>5.109756097560975</c:v>
                </c:pt>
                <c:pt idx="76">
                  <c:v>3.568452380952381</c:v>
                </c:pt>
                <c:pt idx="77">
                  <c:v>5.0602409638554215</c:v>
                </c:pt>
                <c:pt idx="78">
                  <c:v>0.0</c:v>
                </c:pt>
                <c:pt idx="79">
                  <c:v>3.9732142857142856</c:v>
                </c:pt>
                <c:pt idx="80">
                  <c:v>0.0</c:v>
                </c:pt>
                <c:pt idx="81">
                  <c:v>0.0</c:v>
                </c:pt>
                <c:pt idx="82">
                  <c:v>0.0</c:v>
                </c:pt>
                <c:pt idx="83">
                  <c:v>0.0</c:v>
                </c:pt>
                <c:pt idx="84">
                  <c:v>0.0</c:v>
                </c:pt>
                <c:pt idx="85">
                  <c:v>0.0</c:v>
                </c:pt>
                <c:pt idx="86">
                  <c:v>2.228855721393035</c:v>
                </c:pt>
                <c:pt idx="87">
                  <c:v>2.9854910714285716</c:v>
                </c:pt>
                <c:pt idx="88">
                  <c:v>2.628834355828221</c:v>
                </c:pt>
                <c:pt idx="89">
                  <c:v>2.296875</c:v>
                </c:pt>
                <c:pt idx="90">
                  <c:v>2.157142857142857</c:v>
                </c:pt>
                <c:pt idx="91">
                  <c:v>3.1307339449541285</c:v>
                </c:pt>
                <c:pt idx="92">
                  <c:v>0.0</c:v>
                </c:pt>
                <c:pt idx="93">
                  <c:v>0.0</c:v>
                </c:pt>
                <c:pt idx="94">
                  <c:v>0.0</c:v>
                </c:pt>
              </c:numCache>
            </c:numRef>
          </c:xVal>
          <c:yVal>
            <c:numRef>
              <c:f>Sheet1!$B$2:$B$96</c:f>
              <c:numCache>
                <c:formatCode>General</c:formatCode>
                <c:ptCount val="95"/>
                <c:pt idx="0">
                  <c:v>0.01384083044982699</c:v>
                </c:pt>
                <c:pt idx="1">
                  <c:v>0.01607717041800643</c:v>
                </c:pt>
                <c:pt idx="2">
                  <c:v>0.01935483870967742</c:v>
                </c:pt>
                <c:pt idx="3">
                  <c:v>0.01593625498007968</c:v>
                </c:pt>
                <c:pt idx="4">
                  <c:v>0.016304347826086956</c:v>
                </c:pt>
                <c:pt idx="5">
                  <c:v>0.027932960893854747</c:v>
                </c:pt>
                <c:pt idx="6">
                  <c:v>0.01764705882352941</c:v>
                </c:pt>
                <c:pt idx="7">
                  <c:v>0.018072289156626505</c:v>
                </c:pt>
                <c:pt idx="8">
                  <c:v>0.010869565217391304</c:v>
                </c:pt>
                <c:pt idx="9">
                  <c:v>0.015625</c:v>
                </c:pt>
                <c:pt idx="10">
                  <c:v>0.012121212121212121</c:v>
                </c:pt>
                <c:pt idx="11">
                  <c:v>0.017964071856287425</c:v>
                </c:pt>
                <c:pt idx="12">
                  <c:v>0.018292682926829267</c:v>
                </c:pt>
                <c:pt idx="13">
                  <c:v>0.005681818181818182</c:v>
                </c:pt>
                <c:pt idx="14">
                  <c:v>0.006134969325153374</c:v>
                </c:pt>
                <c:pt idx="15">
                  <c:v>0.007220216606498195</c:v>
                </c:pt>
                <c:pt idx="16">
                  <c:v>0.009569377990430622</c:v>
                </c:pt>
                <c:pt idx="17">
                  <c:v>0.0111731843575419</c:v>
                </c:pt>
                <c:pt idx="18">
                  <c:v>0.013333333333333334</c:v>
                </c:pt>
                <c:pt idx="19">
                  <c:v>0.027932960893854747</c:v>
                </c:pt>
                <c:pt idx="20">
                  <c:v>0.031007751937984496</c:v>
                </c:pt>
                <c:pt idx="21">
                  <c:v>0.02631578947368421</c:v>
                </c:pt>
                <c:pt idx="22">
                  <c:v>0.027777777777777776</c:v>
                </c:pt>
                <c:pt idx="23">
                  <c:v>0.023622047244094488</c:v>
                </c:pt>
                <c:pt idx="24">
                  <c:v>0.009900990099009901</c:v>
                </c:pt>
                <c:pt idx="25">
                  <c:v>0.029411764705882353</c:v>
                </c:pt>
                <c:pt idx="26">
                  <c:v>0.034482758620689655</c:v>
                </c:pt>
                <c:pt idx="27">
                  <c:v>0.03225806451612903</c:v>
                </c:pt>
                <c:pt idx="28">
                  <c:v>0.014814814814814815</c:v>
                </c:pt>
                <c:pt idx="29">
                  <c:v>0.045871559633027525</c:v>
                </c:pt>
                <c:pt idx="30">
                  <c:v>0.023529411764705882</c:v>
                </c:pt>
                <c:pt idx="31">
                  <c:v>0.042105263157894736</c:v>
                </c:pt>
                <c:pt idx="32">
                  <c:v>0.05309734513274336</c:v>
                </c:pt>
                <c:pt idx="33">
                  <c:v>0.038461538461538464</c:v>
                </c:pt>
                <c:pt idx="34">
                  <c:v>0.07751937984496124</c:v>
                </c:pt>
                <c:pt idx="35">
                  <c:v>0.06542056074766354</c:v>
                </c:pt>
                <c:pt idx="36">
                  <c:v>0.08928571428571429</c:v>
                </c:pt>
                <c:pt idx="37">
                  <c:v>0.047619047619047616</c:v>
                </c:pt>
                <c:pt idx="38">
                  <c:v>0.032679738562091505</c:v>
                </c:pt>
                <c:pt idx="39">
                  <c:v>0.06542056074766354</c:v>
                </c:pt>
                <c:pt idx="40">
                  <c:v>0.059322033898305086</c:v>
                </c:pt>
                <c:pt idx="41">
                  <c:v>0.048</c:v>
                </c:pt>
                <c:pt idx="42">
                  <c:v>0.072</c:v>
                </c:pt>
                <c:pt idx="43">
                  <c:v>0.05084745762711865</c:v>
                </c:pt>
                <c:pt idx="44">
                  <c:v>0.04807692307692308</c:v>
                </c:pt>
                <c:pt idx="45">
                  <c:v>0.06666666666666667</c:v>
                </c:pt>
                <c:pt idx="46">
                  <c:v>0.03409090909090909</c:v>
                </c:pt>
                <c:pt idx="47">
                  <c:v>0.03669724770642202</c:v>
                </c:pt>
                <c:pt idx="48">
                  <c:v>0.047619047619047616</c:v>
                </c:pt>
                <c:pt idx="49">
                  <c:v>0.1111111111111111</c:v>
                </c:pt>
                <c:pt idx="50">
                  <c:v>0.06896551724137931</c:v>
                </c:pt>
                <c:pt idx="51">
                  <c:v>0.07446808510638298</c:v>
                </c:pt>
                <c:pt idx="52">
                  <c:v>0.08791208791208792</c:v>
                </c:pt>
                <c:pt idx="53">
                  <c:v>0.09333333333333334</c:v>
                </c:pt>
                <c:pt idx="54">
                  <c:v>0.04411764705882353</c:v>
                </c:pt>
                <c:pt idx="55">
                  <c:v>0.1038961038961039</c:v>
                </c:pt>
                <c:pt idx="56">
                  <c:v>0.05970149253731343</c:v>
                </c:pt>
                <c:pt idx="57">
                  <c:v>0.06557377049180328</c:v>
                </c:pt>
                <c:pt idx="58">
                  <c:v>0.023529411764705882</c:v>
                </c:pt>
                <c:pt idx="59">
                  <c:v>0.025974025974025976</c:v>
                </c:pt>
                <c:pt idx="60">
                  <c:v>0.05063291139240506</c:v>
                </c:pt>
                <c:pt idx="61">
                  <c:v>0.043478260869565216</c:v>
                </c:pt>
                <c:pt idx="62">
                  <c:v>0.0375</c:v>
                </c:pt>
                <c:pt idx="63">
                  <c:v>0.025</c:v>
                </c:pt>
                <c:pt idx="64">
                  <c:v>0.05555555555555555</c:v>
                </c:pt>
                <c:pt idx="65">
                  <c:v>0.013157894736842105</c:v>
                </c:pt>
                <c:pt idx="66">
                  <c:v>0.025</c:v>
                </c:pt>
                <c:pt idx="67">
                  <c:v>0.0136986301369863</c:v>
                </c:pt>
                <c:pt idx="68">
                  <c:v>0.01818181818181818</c:v>
                </c:pt>
                <c:pt idx="69">
                  <c:v>0.014705882352941176</c:v>
                </c:pt>
                <c:pt idx="70">
                  <c:v>0.034482758620689655</c:v>
                </c:pt>
                <c:pt idx="71">
                  <c:v>0.01639344262295082</c:v>
                </c:pt>
                <c:pt idx="72">
                  <c:v>0.03125</c:v>
                </c:pt>
                <c:pt idx="73">
                  <c:v>0.016666666666666666</c:v>
                </c:pt>
                <c:pt idx="74">
                  <c:v>0.03125</c:v>
                </c:pt>
                <c:pt idx="75">
                  <c:v>0.015384615384615385</c:v>
                </c:pt>
                <c:pt idx="76">
                  <c:v>0.034482758620689655</c:v>
                </c:pt>
                <c:pt idx="77">
                  <c:v>0.018518518518518517</c:v>
                </c:pt>
                <c:pt idx="78">
                  <c:v>0.016129032258064516</c:v>
                </c:pt>
                <c:pt idx="79">
                  <c:v>0.011627906976744186</c:v>
                </c:pt>
                <c:pt idx="80">
                  <c:v>0.028169014084507043</c:v>
                </c:pt>
                <c:pt idx="81">
                  <c:v>0.01282051282051282</c:v>
                </c:pt>
                <c:pt idx="82">
                  <c:v>0.016129032258064516</c:v>
                </c:pt>
                <c:pt idx="83">
                  <c:v>0.015873015873015872</c:v>
                </c:pt>
                <c:pt idx="84">
                  <c:v>0.015873015873015872</c:v>
                </c:pt>
                <c:pt idx="85">
                  <c:v>0.015873015873015872</c:v>
                </c:pt>
                <c:pt idx="86">
                  <c:v>0.015151515151515152</c:v>
                </c:pt>
                <c:pt idx="87">
                  <c:v>0.025974025974025976</c:v>
                </c:pt>
                <c:pt idx="88">
                  <c:v>0.011904761904761904</c:v>
                </c:pt>
                <c:pt idx="89">
                  <c:v>0.010526315789473684</c:v>
                </c:pt>
                <c:pt idx="90">
                  <c:v>0.013986013986013986</c:v>
                </c:pt>
                <c:pt idx="91">
                  <c:v>0.014705882352941176</c:v>
                </c:pt>
                <c:pt idx="92">
                  <c:v>0.017857142857142856</c:v>
                </c:pt>
                <c:pt idx="93">
                  <c:v>0.014285714285714285</c:v>
                </c:pt>
                <c:pt idx="94">
                  <c:v>0.01020408163265306</c:v>
                </c:pt>
              </c:numCache>
            </c:numRef>
          </c:yVal>
          <c:smooth val="0"/>
          <c:extLst>
            <c:ext xmlns:c16="http://schemas.microsoft.com/office/drawing/2014/chart" uri="{C3380CC4-5D6E-409C-BE32-E72D297353CC}">
              <c16:uniqueId val="{00000000-096C-4121-9522-6AB7243CCAAE}"/>
            </c:ext>
          </c:extLst>
        </c:ser>
        <c:ser>
          <c:idx val="1"/>
          <c:order val="1"/>
          <c:tx>
            <c:strRef>
              <c:f>Sheet1!$B$9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9:$A$113</c:f>
              <c:numCache>
                <c:formatCode>General</c:formatCode>
                <c:ptCount val="15"/>
                <c:pt idx="0">
                  <c:v>0.0</c:v>
                </c:pt>
                <c:pt idx="1">
                  <c:v>0.0</c:v>
                </c:pt>
                <c:pt idx="2">
                  <c:v>0.0</c:v>
                </c:pt>
                <c:pt idx="3">
                  <c:v>1.931985294117647</c:v>
                </c:pt>
                <c:pt idx="4">
                  <c:v>3.8807339449541285</c:v>
                </c:pt>
                <c:pt idx="5">
                  <c:v>0.0</c:v>
                </c:pt>
                <c:pt idx="6">
                  <c:v>0.0</c:v>
                </c:pt>
                <c:pt idx="7">
                  <c:v>0.0</c:v>
                </c:pt>
                <c:pt idx="8">
                  <c:v>0.0</c:v>
                </c:pt>
                <c:pt idx="9">
                  <c:v>0.0</c:v>
                </c:pt>
                <c:pt idx="10">
                  <c:v>0.0</c:v>
                </c:pt>
                <c:pt idx="11">
                  <c:v>0.0</c:v>
                </c:pt>
                <c:pt idx="12">
                  <c:v>0.0</c:v>
                </c:pt>
                <c:pt idx="13">
                  <c:v>0.0</c:v>
                </c:pt>
                <c:pt idx="14">
                  <c:v>0.0</c:v>
                </c:pt>
              </c:numCache>
            </c:numRef>
          </c:xVal>
          <c:yVal>
            <c:numRef>
              <c:f>Sheet1!$B$99:$B$113</c:f>
              <c:numCache>
                <c:formatCode>General</c:formatCode>
                <c:ptCount val="15"/>
                <c:pt idx="0">
                  <c:v>0.0</c:v>
                </c:pt>
                <c:pt idx="1">
                  <c:v>0.0</c:v>
                </c:pt>
                <c:pt idx="2">
                  <c:v>0.0</c:v>
                </c:pt>
                <c:pt idx="3">
                  <c:v>0.015873015873015872</c:v>
                </c:pt>
                <c:pt idx="4">
                  <c:v>0.012987012987012988</c:v>
                </c:pt>
                <c:pt idx="5">
                  <c:v>0.0</c:v>
                </c:pt>
                <c:pt idx="6">
                  <c:v>0.0</c:v>
                </c:pt>
                <c:pt idx="7">
                  <c:v>0.0</c:v>
                </c:pt>
                <c:pt idx="8">
                  <c:v>0.0</c:v>
                </c:pt>
                <c:pt idx="9">
                  <c:v>0.0</c:v>
                </c:pt>
                <c:pt idx="10">
                  <c:v>0.0</c:v>
                </c:pt>
                <c:pt idx="11">
                  <c:v>0.0</c:v>
                </c:pt>
                <c:pt idx="12">
                  <c:v>0.0</c:v>
                </c:pt>
                <c:pt idx="13">
                  <c:v>0.0</c:v>
                </c:pt>
                <c:pt idx="14">
                  <c:v>0.0</c:v>
                </c:pt>
              </c:numCache>
            </c:numRef>
          </c:yVal>
          <c:smooth val="0"/>
          <c:extLst>
            <c:ext xmlns:c16="http://schemas.microsoft.com/office/drawing/2014/chart" uri="{C3380CC4-5D6E-409C-BE32-E72D297353CC}">
              <c16:uniqueId val="{00000002-096C-4121-9522-6AB7243CCAAE}"/>
            </c:ext>
          </c:extLst>
        </c:ser>
        <c:ser>
          <c:idx val="2"/>
          <c:order val="2"/>
          <c:tx>
            <c:strRef>
              <c:f>Sheet1!$B$11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6:$A$117</c:f>
              <c:numCache>
                <c:formatCode>General</c:formatCode>
                <c:ptCount val="2"/>
                <c:pt idx="0">
                  <c:v>0</c:v>
                </c:pt>
                <c:pt idx="1">
                  <c:v>15.278541565391674</c:v>
                </c:pt>
              </c:numCache>
            </c:numRef>
          </c:xVal>
          <c:yVal>
            <c:numRef>
              <c:f>Sheet1!$B$116:$B$117</c:f>
              <c:numCache>
                <c:formatCode>General</c:formatCode>
                <c:ptCount val="2"/>
                <c:pt idx="0">
                  <c:v>0.06483837551942617</c:v>
                </c:pt>
                <c:pt idx="1">
                  <c:v>0.06483837551942617</c:v>
                </c:pt>
              </c:numCache>
            </c:numRef>
          </c:yVal>
          <c:smooth val="0"/>
          <c:extLst>
            <c:ext xmlns:c16="http://schemas.microsoft.com/office/drawing/2014/chart" uri="{C3380CC4-5D6E-409C-BE32-E72D297353CC}">
              <c16:uniqueId val="{00000005-096C-4121-9522-6AB7243CCAAE}"/>
            </c:ext>
          </c:extLst>
        </c:ser>
        <c:ser>
          <c:idx val="3"/>
          <c:order val="3"/>
          <c:tx>
            <c:strRef>
              <c:f>Sheet1!$B$11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15.278541565391674</c:v>
                </c:pt>
                <c:pt idx="1">
                  <c:v>15.278541565391674</c:v>
                </c:pt>
              </c:numCache>
            </c:numRef>
          </c:xVal>
          <c:yVal>
            <c:numRef>
              <c:f>Sheet1!$B$120:$B$121</c:f>
              <c:numCache>
                <c:formatCode>General</c:formatCode>
                <c:ptCount val="2"/>
                <c:pt idx="0">
                  <c:v>0.0648383755194261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4:$A$125</c:f>
              <c:numCache>
                <c:formatCode>General</c:formatCode>
                <c:ptCount val="2"/>
                <c:pt idx="0">
                  <c:v>0</c:v>
                </c:pt>
                <c:pt idx="1">
                  <c:v>1.4731238116245868</c:v>
                </c:pt>
              </c:numCache>
            </c:numRef>
          </c:xVal>
          <c:yVal>
            <c:numRef>
              <c:f>Sheet1!$B$124:$B$125</c:f>
              <c:numCache>
                <c:formatCode>General</c:formatCode>
                <c:ptCount val="2"/>
                <c:pt idx="0">
                  <c:v>0.006510685082113654</c:v>
                </c:pt>
                <c:pt idx="1">
                  <c:v>0.006510685082113654</c:v>
                </c:pt>
              </c:numCache>
            </c:numRef>
          </c:yVal>
          <c:smooth val="0"/>
          <c:extLst>
            <c:ext xmlns:c16="http://schemas.microsoft.com/office/drawing/2014/chart" uri="{C3380CC4-5D6E-409C-BE32-E72D297353CC}">
              <c16:uniqueId val="{0000000D-096C-4121-9522-6AB7243CCAAE}"/>
            </c:ext>
          </c:extLst>
        </c:ser>
        <c:ser>
          <c:idx val="5"/>
          <c:order val="5"/>
          <c:tx>
            <c:strRef>
              <c:f>Sheet1!$B$12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1.4731238116245868</c:v>
                </c:pt>
                <c:pt idx="1">
                  <c:v>1.4731238116245868</c:v>
                </c:pt>
              </c:numCache>
            </c:numRef>
          </c:xVal>
          <c:yVal>
            <c:numRef>
              <c:f>Sheet1!$B$128:$B$129</c:f>
              <c:numCache>
                <c:formatCode>General</c:formatCode>
                <c:ptCount val="2"/>
                <c:pt idx="0">
                  <c:v>0.00651068508211365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2:$A$133</c:f>
              <c:numCache>
                <c:formatCode>General</c:formatCode>
                <c:ptCount val="2"/>
                <c:pt idx="0">
                  <c:v>0</c:v>
                </c:pt>
                <c:pt idx="1">
                  <c:v>-0.06787201296407076</c:v>
                </c:pt>
              </c:numCache>
            </c:numRef>
          </c:xVal>
          <c:yVal>
            <c:numRef>
              <c:f>Sheet1!$B$132:$B$133</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13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6:$A$137</c:f>
              <c:numCache>
                <c:formatCode>General</c:formatCode>
                <c:ptCount val="2"/>
                <c:pt idx="0">
                  <c:v>-0.06787201296407076</c:v>
                </c:pt>
                <c:pt idx="1">
                  <c:v>-0.06787201296407076</c:v>
                </c:pt>
              </c:numCache>
            </c:numRef>
          </c:xVal>
          <c:yVal>
            <c:numRef>
              <c:f>Sheet1!$B$136:$B$137</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0:$A$157</c:f>
              <c:numCache>
                <c:formatCode>General</c:formatCode>
                <c:ptCount val="18"/>
                <c:pt idx="0">
                  <c:v>0.0</c:v>
                </c:pt>
                <c:pt idx="1">
                  <c:v>0.0</c:v>
                </c:pt>
                <c:pt idx="2">
                  <c:v>0.0</c:v>
                </c:pt>
                <c:pt idx="3">
                  <c:v>1.931985294117647</c:v>
                </c:pt>
                <c:pt idx="4">
                  <c:v>3.8807339449541285</c:v>
                </c:pt>
                <c:pt idx="5">
                  <c:v>0.0</c:v>
                </c:pt>
                <c:pt idx="6">
                  <c:v>0.0</c:v>
                </c:pt>
                <c:pt idx="7">
                  <c:v>0.0</c:v>
                </c:pt>
                <c:pt idx="8">
                  <c:v>0.0</c:v>
                </c:pt>
                <c:pt idx="9">
                  <c:v>0.0</c:v>
                </c:pt>
                <c:pt idx="10">
                  <c:v>0.0</c:v>
                </c:pt>
                <c:pt idx="11">
                  <c:v>0.0</c:v>
                </c:pt>
                <c:pt idx="12">
                  <c:v>0.0</c:v>
                </c:pt>
                <c:pt idx="13">
                  <c:v>0.0</c:v>
                </c:pt>
                <c:pt idx="14">
                  <c:v>0.0</c:v>
                </c:pt>
                <c:pt idx="15">
                  <c:v>1.4731238116245868</c:v>
                </c:pt>
                <c:pt idx="16">
                  <c:v>15.278541565391674</c:v>
                </c:pt>
                <c:pt idx="17">
                  <c:v>-0.06787201296407076</c:v>
                </c:pt>
              </c:numCache>
            </c:numRef>
          </c:xVal>
          <c:yVal>
            <c:numRef>
              <c:f>Sheet1!$B$140:$B$157</c:f>
              <c:numCache>
                <c:formatCode>General</c:formatCode>
                <c:ptCount val="18"/>
                <c:pt idx="0">
                  <c:v>0.00028675827360931096</c:v>
                </c:pt>
                <c:pt idx="1">
                  <c:v>0.00028675827360931096</c:v>
                </c:pt>
                <c:pt idx="2">
                  <c:v>0.00028675827360931096</c:v>
                </c:pt>
                <c:pt idx="3">
                  <c:v>0.008449368212304213</c:v>
                </c:pt>
                <c:pt idx="4">
                  <c:v>0.016682803090803607</c:v>
                </c:pt>
                <c:pt idx="5">
                  <c:v>0.00028675827360931096</c:v>
                </c:pt>
                <c:pt idx="6">
                  <c:v>0.00028675827360931096</c:v>
                </c:pt>
                <c:pt idx="7">
                  <c:v>0.00028675827360931096</c:v>
                </c:pt>
                <c:pt idx="8">
                  <c:v>0.00028675827360931096</c:v>
                </c:pt>
                <c:pt idx="9">
                  <c:v>0.00028675827360931096</c:v>
                </c:pt>
                <c:pt idx="10">
                  <c:v>0.00028675827360931096</c:v>
                </c:pt>
                <c:pt idx="11">
                  <c:v>0.00028675827360931096</c:v>
                </c:pt>
                <c:pt idx="12">
                  <c:v>0.00028675827360931096</c:v>
                </c:pt>
                <c:pt idx="13">
                  <c:v>0.00028675827360931096</c:v>
                </c:pt>
                <c:pt idx="14">
                  <c:v>0.00028675827360931096</c:v>
                </c:pt>
                <c:pt idx="15">
                  <c:v>0.006510685082113654</c:v>
                </c:pt>
                <c:pt idx="16">
                  <c:v>0.06483837551942617</c:v>
                </c:pt>
                <c:pt idx="17">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8.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3333333333333333"/>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10502528494157</c:v>
                </c:pt>
                <c:pt idx="1">
                  <c:v>0.6460023248375529</c:v>
                </c:pt>
                <c:pt idx="2">
                  <c:v>0.6295643293851801</c:v>
                </c:pt>
                <c:pt idx="3">
                  <c:v>0.6286638338361127</c:v>
                </c:pt>
                <c:pt idx="4">
                  <c:v>0.6115663191086302</c:v>
                </c:pt>
                <c:pt idx="5">
                  <c:v>0.6075587773793926</c:v>
                </c:pt>
                <c:pt idx="6">
                  <c:v>0.5759580762222459</c:v>
                </c:pt>
                <c:pt idx="7">
                  <c:v>0.5695582620933184</c:v>
                </c:pt>
                <c:pt idx="8">
                  <c:v>0.5811057509209107</c:v>
                </c:pt>
                <c:pt idx="9">
                  <c:v>0.607901221485945</c:v>
                </c:pt>
                <c:pt idx="10">
                  <c:v>0.6143065959407812</c:v>
                </c:pt>
                <c:pt idx="11">
                  <c:v>0.6318391256625324</c:v>
                </c:pt>
                <c:pt idx="12">
                  <c:v>0.6541350728919981</c:v>
                </c:pt>
                <c:pt idx="13">
                  <c:v>0.6548744414526574</c:v>
                </c:pt>
                <c:pt idx="14">
                  <c:v>0.6624481939077403</c:v>
                </c:pt>
                <c:pt idx="15">
                  <c:v>0.6721858882761188</c:v>
                </c:pt>
                <c:pt idx="16">
                  <c:v>0.6775146426805683</c:v>
                </c:pt>
                <c:pt idx="17">
                  <c:v>0.6524884277113078</c:v>
                </c:pt>
                <c:pt idx="18">
                  <c:v>0.6795918978012069</c:v>
                </c:pt>
                <c:pt idx="19">
                  <c:v>0.6895281278433365</c:v>
                </c:pt>
                <c:pt idx="20">
                  <c:v>0.7115090371747539</c:v>
                </c:pt>
                <c:pt idx="21">
                  <c:v>0.6473732852314861</c:v>
                </c:pt>
                <c:pt idx="22">
                  <c:v>0.6129072433772947</c:v>
                </c:pt>
                <c:pt idx="23">
                  <c:v>0.6028414121789232</c:v>
                </c:pt>
                <c:pt idx="24">
                  <c:v>0.5972828275602219</c:v>
                </c:pt>
                <c:pt idx="25">
                  <c:v>0.5705718576936746</c:v>
                </c:pt>
                <c:pt idx="26">
                  <c:v>0.5693737185520943</c:v>
                </c:pt>
                <c:pt idx="27">
                  <c:v>0.5839637584917593</c:v>
                </c:pt>
                <c:pt idx="28">
                  <c:v>0.5791248668059947</c:v>
                </c:pt>
                <c:pt idx="29">
                  <c:v>0.5786164712734039</c:v>
                </c:pt>
                <c:pt idx="30">
                  <c:v>0.5723650620264855</c:v>
                </c:pt>
                <c:pt idx="31">
                  <c:v>0.5682323344884799</c:v>
                </c:pt>
                <c:pt idx="32">
                  <c:v>0.549490344577755</c:v>
                </c:pt>
                <c:pt idx="33">
                  <c:v>0.5400476144182604</c:v>
                </c:pt>
                <c:pt idx="34">
                  <c:v>0.5745010651370072</c:v>
                </c:pt>
                <c:pt idx="35">
                  <c:v>0.624264583772005</c:v>
                </c:pt>
                <c:pt idx="36">
                  <c:v>0.6429212487343219</c:v>
                </c:pt>
                <c:pt idx="37">
                  <c:v>0.6259710006991499</c:v>
                </c:pt>
                <c:pt idx="38">
                  <c:v>0.6567105140280427</c:v>
                </c:pt>
                <c:pt idx="39">
                  <c:v>0.6803107974673198</c:v>
                </c:pt>
                <c:pt idx="40">
                  <c:v>0.671759132337851</c:v>
                </c:pt>
                <c:pt idx="41">
                  <c:v>0.6560564119403179</c:v>
                </c:pt>
                <c:pt idx="42">
                  <c:v>0.6786427164572945</c:v>
                </c:pt>
                <c:pt idx="43">
                  <c:v>0.6882504512786243</c:v>
                </c:pt>
                <c:pt idx="44">
                  <c:v>0.6975855611355368</c:v>
                </c:pt>
                <c:pt idx="45">
                  <c:v>0.6951591963392071</c:v>
                </c:pt>
                <c:pt idx="46">
                  <c:v>0.695230271313186</c:v>
                </c:pt>
                <c:pt idx="47">
                  <c:v>0.6982460323272528</c:v>
                </c:pt>
                <c:pt idx="48">
                  <c:v>0.7079875334150244</c:v>
                </c:pt>
                <c:pt idx="49">
                  <c:v>0.7047068864373446</c:v>
                </c:pt>
                <c:pt idx="50">
                  <c:v>0.6604709171240708</c:v>
                </c:pt>
                <c:pt idx="51">
                  <c:v>0.6560063799725644</c:v>
                </c:pt>
                <c:pt idx="52">
                  <c:v>0.6659150042001328</c:v>
                </c:pt>
                <c:pt idx="53">
                  <c:v>0.651519891784837</c:v>
                </c:pt>
                <c:pt idx="54">
                  <c:v>0.6252917131573169</c:v>
                </c:pt>
                <c:pt idx="55">
                  <c:v>0.6337472078443785</c:v>
                </c:pt>
                <c:pt idx="56">
                  <c:v>0.6324808994065965</c:v>
                </c:pt>
                <c:pt idx="57">
                  <c:v>0.6285088240297422</c:v>
                </c:pt>
                <c:pt idx="58">
                  <c:v>0.6117778993584044</c:v>
                </c:pt>
                <c:pt idx="59">
                  <c:v>0.6363876587767948</c:v>
                </c:pt>
                <c:pt idx="60">
                  <c:v>0.6409854886067338</c:v>
                </c:pt>
                <c:pt idx="61">
                  <c:v>0.6498708010335917</c:v>
                </c:pt>
                <c:pt idx="62">
                  <c:v>0.629059997434636</c:v>
                </c:pt>
                <c:pt idx="63">
                  <c:v>0.6452226911114858</c:v>
                </c:pt>
                <c:pt idx="64">
                  <c:v>0.6841108622882572</c:v>
                </c:pt>
                <c:pt idx="65">
                  <c:v>0.6929746380699415</c:v>
                </c:pt>
                <c:pt idx="66">
                  <c:v>0.7031068489071677</c:v>
                </c:pt>
                <c:pt idx="67">
                  <c:v>0.7201813358463832</c:v>
                </c:pt>
                <c:pt idx="68">
                  <c:v>0.7265079984759042</c:v>
                </c:pt>
                <c:pt idx="69">
                  <c:v>0.7333934782162326</c:v>
                </c:pt>
                <c:pt idx="70">
                  <c:v>0.7083241665413412</c:v>
                </c:pt>
                <c:pt idx="71">
                  <c:v>0.6847340246534065</c:v>
                </c:pt>
                <c:pt idx="72">
                  <c:v>0.7314240134186106</c:v>
                </c:pt>
                <c:pt idx="73">
                  <c:v>0.6987610218330907</c:v>
                </c:pt>
                <c:pt idx="74">
                  <c:v>0.6875462412129798</c:v>
                </c:pt>
                <c:pt idx="75">
                  <c:v>0.6660438474248948</c:v>
                </c:pt>
                <c:pt idx="76">
                  <c:v>0.6471975469068546</c:v>
                </c:pt>
                <c:pt idx="77">
                  <c:v>0.6574234651243427</c:v>
                </c:pt>
                <c:pt idx="78">
                  <c:v>0.6798006126997369</c:v>
                </c:pt>
                <c:pt idx="79">
                  <c:v>0.6645645405612601</c:v>
                </c:pt>
                <c:pt idx="80">
                  <c:v>0.7040785556479139</c:v>
                </c:pt>
                <c:pt idx="81">
                  <c:v>0.709556367999542</c:v>
                </c:pt>
                <c:pt idx="82">
                  <c:v>0.698560798844633</c:v>
                </c:pt>
                <c:pt idx="83">
                  <c:v>0.664464541915534</c:v>
                </c:pt>
                <c:pt idx="84">
                  <c:v>0.6834332315034072</c:v>
                </c:pt>
                <c:pt idx="85">
                  <c:v>0.6746049409307286</c:v>
                </c:pt>
                <c:pt idx="86">
                  <c:v>0.6913630449735764</c:v>
                </c:pt>
                <c:pt idx="87">
                  <c:v>0.7133465430485333</c:v>
                </c:pt>
                <c:pt idx="88">
                  <c:v>0.6880404496615472</c:v>
                </c:pt>
                <c:pt idx="89">
                  <c:v>0.6652290071331165</c:v>
                </c:pt>
                <c:pt idx="90">
                  <c:v>0.6836347172013092</c:v>
                </c:pt>
                <c:pt idx="91">
                  <c:v>0.7012607791238484</c:v>
                </c:pt>
                <c:pt idx="92">
                  <c:v>0.7046178150247387</c:v>
                </c:pt>
                <c:pt idx="93">
                  <c:v>0.7124174280496699</c:v>
                </c:pt>
                <c:pt idx="94">
                  <c:v>0.7169898597472252</c:v>
                </c:pt>
                <c:pt idx="95">
                  <c:v>0.7245498991141457</c:v>
                </c:pt>
                <c:pt idx="96">
                  <c:v>0.7273024073453437</c:v>
                </c:pt>
                <c:pt idx="97">
                  <c:v>0.7649932792815027</c:v>
                </c:pt>
                <c:pt idx="98">
                  <c:v>0.7746287617558835</c:v>
                </c:pt>
                <c:pt idx="99">
                  <c:v>0.767554734181134</c:v>
                </c:pt>
                <c:pt idx="100">
                  <c:v>0.7603286119217738</c:v>
                </c:pt>
                <c:pt idx="101">
                  <c:v>0.714861927549096</c:v>
                </c:pt>
                <c:pt idx="102">
                  <c:v>0.6962128978537848</c:v>
                </c:pt>
                <c:pt idx="103">
                  <c:v>0.7088944501417115</c:v>
                </c:pt>
                <c:pt idx="104">
                  <c:v>0.6985688781563689</c:v>
                </c:pt>
              </c:numCache>
            </c:numRef>
          </c:xVal>
          <c:yVal>
            <c:numRef>
              <c:f>Sheet1!$B$2:$B$106</c:f>
              <c:numCache>
                <c:formatCode>General</c:formatCode>
                <c:ptCount val="105"/>
                <c:pt idx="0">
                  <c:v>0.23418296003728872</c:v>
                </c:pt>
                <c:pt idx="1">
                  <c:v>0.23165931366074022</c:v>
                </c:pt>
                <c:pt idx="2">
                  <c:v>0.23278705032349017</c:v>
                </c:pt>
                <c:pt idx="3">
                  <c:v>0.2333306651724966</c:v>
                </c:pt>
                <c:pt idx="4">
                  <c:v>0.24390852650297945</c:v>
                </c:pt>
                <c:pt idx="5">
                  <c:v>0.24548332427333483</c:v>
                </c:pt>
                <c:pt idx="6">
                  <c:v>0.2714250734573947</c:v>
                </c:pt>
                <c:pt idx="7">
                  <c:v>0.2720096286594216</c:v>
                </c:pt>
                <c:pt idx="8">
                  <c:v>0.26972618872368614</c:v>
                </c:pt>
                <c:pt idx="9">
                  <c:v>0.2604732837193745</c:v>
                </c:pt>
                <c:pt idx="10">
                  <c:v>0.2556938879776278</c:v>
                </c:pt>
                <c:pt idx="11">
                  <c:v>0.2384407146724418</c:v>
                </c:pt>
                <c:pt idx="12">
                  <c:v>0.22535420957296345</c:v>
                </c:pt>
                <c:pt idx="13">
                  <c:v>0.2139852513502285</c:v>
                </c:pt>
                <c:pt idx="14">
                  <c:v>0.19951765538574462</c:v>
                </c:pt>
                <c:pt idx="15">
                  <c:v>0.19060190073917635</c:v>
                </c:pt>
                <c:pt idx="16">
                  <c:v>0.18443732193732193</c:v>
                </c:pt>
                <c:pt idx="17">
                  <c:v>0.18215192345245068</c:v>
                </c:pt>
                <c:pt idx="18">
                  <c:v>0.16783307976526843</c:v>
                </c:pt>
                <c:pt idx="19">
                  <c:v>0.1664623557053836</c:v>
                </c:pt>
                <c:pt idx="20">
                  <c:v>0.1770842061164642</c:v>
                </c:pt>
                <c:pt idx="21">
                  <c:v>0.18135450625722999</c:v>
                </c:pt>
                <c:pt idx="22">
                  <c:v>0.19217118997912316</c:v>
                </c:pt>
                <c:pt idx="23">
                  <c:v>0.20130612244897958</c:v>
                </c:pt>
                <c:pt idx="24">
                  <c:v>0.20415400202634246</c:v>
                </c:pt>
                <c:pt idx="25">
                  <c:v>0.20853382804800277</c:v>
                </c:pt>
                <c:pt idx="26">
                  <c:v>0.22318810760763336</c:v>
                </c:pt>
                <c:pt idx="27">
                  <c:v>0.22061949590039479</c:v>
                </c:pt>
                <c:pt idx="28">
                  <c:v>0.22781491002570695</c:v>
                </c:pt>
                <c:pt idx="29">
                  <c:v>0.22411392120749293</c:v>
                </c:pt>
                <c:pt idx="30">
                  <c:v>0.22836372028617585</c:v>
                </c:pt>
                <c:pt idx="31">
                  <c:v>0.23155645524066576</c:v>
                </c:pt>
                <c:pt idx="32">
                  <c:v>0.2391124358337473</c:v>
                </c:pt>
                <c:pt idx="33">
                  <c:v>0.23732728936930655</c:v>
                </c:pt>
                <c:pt idx="34">
                  <c:v>0.2376046610332986</c:v>
                </c:pt>
                <c:pt idx="35">
                  <c:v>0.25597164957235835</c:v>
                </c:pt>
                <c:pt idx="36">
                  <c:v>0.2249256444150694</c:v>
                </c:pt>
                <c:pt idx="37">
                  <c:v>0.21881479338444476</c:v>
                </c:pt>
                <c:pt idx="38">
                  <c:v>0.20735478882767952</c:v>
                </c:pt>
                <c:pt idx="39">
                  <c:v>0.20157617317435136</c:v>
                </c:pt>
                <c:pt idx="40">
                  <c:v>0.2043353918846106</c:v>
                </c:pt>
                <c:pt idx="41">
                  <c:v>0.19930262433474033</c:v>
                </c:pt>
                <c:pt idx="42">
                  <c:v>0.19792563600782778</c:v>
                </c:pt>
                <c:pt idx="43">
                  <c:v>0.19148566463944397</c:v>
                </c:pt>
                <c:pt idx="44">
                  <c:v>0.18882872746876686</c:v>
                </c:pt>
                <c:pt idx="45">
                  <c:v>0.20146325946347152</c:v>
                </c:pt>
                <c:pt idx="46">
                  <c:v>0.20674221893734088</c:v>
                </c:pt>
                <c:pt idx="47">
                  <c:v>0.20248705097825404</c:v>
                </c:pt>
                <c:pt idx="48">
                  <c:v>0.20068823124569857</c:v>
                </c:pt>
                <c:pt idx="49">
                  <c:v>0.21421377913941334</c:v>
                </c:pt>
                <c:pt idx="50">
                  <c:v>0.20370295834171864</c:v>
                </c:pt>
                <c:pt idx="51">
                  <c:v>0.19657907167540958</c:v>
                </c:pt>
                <c:pt idx="52">
                  <c:v>0.1990873753591347</c:v>
                </c:pt>
                <c:pt idx="53">
                  <c:v>0.1924849250862364</c:v>
                </c:pt>
                <c:pt idx="54">
                  <c:v>0.19632599504300918</c:v>
                </c:pt>
                <c:pt idx="55">
                  <c:v>0.1932637372498579</c:v>
                </c:pt>
                <c:pt idx="56">
                  <c:v>0.1963961784980046</c:v>
                </c:pt>
                <c:pt idx="57">
                  <c:v>0.1902930783620869</c:v>
                </c:pt>
                <c:pt idx="58">
                  <c:v>0.2004390569819605</c:v>
                </c:pt>
                <c:pt idx="59">
                  <c:v>0.19565183241961073</c:v>
                </c:pt>
                <c:pt idx="60">
                  <c:v>0.1985710596539554</c:v>
                </c:pt>
                <c:pt idx="61">
                  <c:v>0.19782154510669264</c:v>
                </c:pt>
                <c:pt idx="62">
                  <c:v>0.21214106590154305</c:v>
                </c:pt>
                <c:pt idx="63">
                  <c:v>0.2160689782292584</c:v>
                </c:pt>
                <c:pt idx="64">
                  <c:v>0.2057314629258517</c:v>
                </c:pt>
                <c:pt idx="65">
                  <c:v>0.20019627085377822</c:v>
                </c:pt>
                <c:pt idx="66">
                  <c:v>0.1993405749644317</c:v>
                </c:pt>
                <c:pt idx="67">
                  <c:v>0.18906573406609092</c:v>
                </c:pt>
                <c:pt idx="68">
                  <c:v>0.1790146244498083</c:v>
                </c:pt>
                <c:pt idx="69">
                  <c:v>0.17184334908845375</c:v>
                </c:pt>
                <c:pt idx="70">
                  <c:v>0.17183179516644523</c:v>
                </c:pt>
                <c:pt idx="71">
                  <c:v>0.1720010810393421</c:v>
                </c:pt>
                <c:pt idx="72">
                  <c:v>0.1703549517966696</c:v>
                </c:pt>
                <c:pt idx="73">
                  <c:v>0.17289084055492948</c:v>
                </c:pt>
                <c:pt idx="74">
                  <c:v>0.1736186858238989</c:v>
                </c:pt>
                <c:pt idx="75">
                  <c:v>0.18380130535722108</c:v>
                </c:pt>
                <c:pt idx="76">
                  <c:v>0.1867787900023359</c:v>
                </c:pt>
                <c:pt idx="77">
                  <c:v>0.17921302316620913</c:v>
                </c:pt>
                <c:pt idx="78">
                  <c:v>0.183714055361462</c:v>
                </c:pt>
                <c:pt idx="79">
                  <c:v>0.16925569427237205</c:v>
                </c:pt>
                <c:pt idx="80">
                  <c:v>0.1642047079005051</c:v>
                </c:pt>
                <c:pt idx="81">
                  <c:v>0.1722029753413491</c:v>
                </c:pt>
                <c:pt idx="82">
                  <c:v>0.17136125654450263</c:v>
                </c:pt>
                <c:pt idx="83">
                  <c:v>0.17091711623344777</c:v>
                </c:pt>
                <c:pt idx="84">
                  <c:v>0.1731971525843392</c:v>
                </c:pt>
                <c:pt idx="85">
                  <c:v>0.1781016320069865</c:v>
                </c:pt>
                <c:pt idx="86">
                  <c:v>0.18914164143687096</c:v>
                </c:pt>
                <c:pt idx="87">
                  <c:v>0.20626872551279096</c:v>
                </c:pt>
                <c:pt idx="88">
                  <c:v>0.19925086345283846</c:v>
                </c:pt>
                <c:pt idx="89">
                  <c:v>0.18920077137347333</c:v>
                </c:pt>
                <c:pt idx="90">
                  <c:v>0.17882288228822882</c:v>
                </c:pt>
                <c:pt idx="91">
                  <c:v>0.17116303770578864</c:v>
                </c:pt>
                <c:pt idx="92">
                  <c:v>0.18376905390445372</c:v>
                </c:pt>
                <c:pt idx="93">
                  <c:v>0.17386494017374202</c:v>
                </c:pt>
                <c:pt idx="94">
                  <c:v>0.17872005918801442</c:v>
                </c:pt>
                <c:pt idx="95">
                  <c:v>0.18349928876244664</c:v>
                </c:pt>
                <c:pt idx="96">
                  <c:v>0.1838017571962526</c:v>
                </c:pt>
                <c:pt idx="97">
                  <c:v>0.18564141638622558</c:v>
                </c:pt>
                <c:pt idx="98">
                  <c:v>0.19047008859925313</c:v>
                </c:pt>
                <c:pt idx="99">
                  <c:v>0.19314582541492462</c:v>
                </c:pt>
                <c:pt idx="100">
                  <c:v>0.19683051921857891</c:v>
                </c:pt>
                <c:pt idx="101">
                  <c:v>0.19314315106433488</c:v>
                </c:pt>
                <c:pt idx="102">
                  <c:v>0.17887716504081227</c:v>
                </c:pt>
                <c:pt idx="103">
                  <c:v>0.1841797332085186</c:v>
                </c:pt>
                <c:pt idx="104">
                  <c:v>0.1828788495455162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984679949274117</c:v>
                </c:pt>
                <c:pt idx="1">
                  <c:v>0.6682346129986132</c:v>
                </c:pt>
                <c:pt idx="2">
                  <c:v>0.6848741701742131</c:v>
                </c:pt>
                <c:pt idx="3">
                  <c:v>0.6642042005329124</c:v>
                </c:pt>
                <c:pt idx="4">
                  <c:v>0.6701547226296386</c:v>
                </c:pt>
                <c:pt idx="5">
                  <c:v>0.6780705716780593</c:v>
                </c:pt>
                <c:pt idx="6">
                  <c:v>0.6793578252622248</c:v>
                </c:pt>
                <c:pt idx="7">
                  <c:v>0.67754683068356</c:v>
                </c:pt>
                <c:pt idx="8">
                  <c:v>0.6892475431808063</c:v>
                </c:pt>
                <c:pt idx="9">
                  <c:v>0.6645363172489088</c:v>
                </c:pt>
                <c:pt idx="10">
                  <c:v>0.6809440209779833</c:v>
                </c:pt>
                <c:pt idx="11">
                  <c:v>0.6861103542933628</c:v>
                </c:pt>
                <c:pt idx="12">
                  <c:v>0.690775633439098</c:v>
                </c:pt>
                <c:pt idx="13">
                  <c:v>0.6572334744318832</c:v>
                </c:pt>
                <c:pt idx="14">
                  <c:v>0.6603900728280822</c:v>
                </c:pt>
                <c:pt idx="15">
                  <c:v>0.655622056065113</c:v>
                </c:pt>
                <c:pt idx="16">
                  <c:v>0.6808592525831239</c:v>
                </c:pt>
                <c:pt idx="17">
                  <c:v>0.6554769294919907</c:v>
                </c:pt>
                <c:pt idx="18">
                  <c:v>0.6688754844345223</c:v>
                </c:pt>
                <c:pt idx="19">
                  <c:v>0.676262997174144</c:v>
                </c:pt>
                <c:pt idx="20">
                  <c:v>0.6428167720046394</c:v>
                </c:pt>
                <c:pt idx="21">
                  <c:v>0.6109279272069456</c:v>
                </c:pt>
                <c:pt idx="22">
                  <c:v>0.618473384892179</c:v>
                </c:pt>
                <c:pt idx="23">
                  <c:v>0.6194685121031388</c:v>
                </c:pt>
                <c:pt idx="24">
                  <c:v>0.613637390853087</c:v>
                </c:pt>
                <c:pt idx="25">
                  <c:v>0.6444274850481203</c:v>
                </c:pt>
                <c:pt idx="26">
                  <c:v>0.6462056427475092</c:v>
                </c:pt>
                <c:pt idx="27">
                  <c:v>0.6704637939265877</c:v>
                </c:pt>
                <c:pt idx="28">
                  <c:v>0.684611207146992</c:v>
                </c:pt>
                <c:pt idx="29">
                  <c:v>0.6517132582518061</c:v>
                </c:pt>
                <c:pt idx="30">
                  <c:v>0.6450395025087821</c:v>
                </c:pt>
                <c:pt idx="31">
                  <c:v>0.6436930147326965</c:v>
                </c:pt>
                <c:pt idx="32">
                  <c:v>0.6474388731002954</c:v>
                </c:pt>
                <c:pt idx="33">
                  <c:v>0.6707805935740853</c:v>
                </c:pt>
                <c:pt idx="34">
                  <c:v>0.6941821174009283</c:v>
                </c:pt>
                <c:pt idx="35">
                  <c:v>0.6720579649751159</c:v>
                </c:pt>
                <c:pt idx="36">
                  <c:v>0.6199576343946392</c:v>
                </c:pt>
                <c:pt idx="37">
                  <c:v>0.6188315776795508</c:v>
                </c:pt>
                <c:pt idx="38">
                  <c:v>0.6231741752053583</c:v>
                </c:pt>
                <c:pt idx="39">
                  <c:v>0.6588436428421832</c:v>
                </c:pt>
                <c:pt idx="40">
                  <c:v>0.6629296301914179</c:v>
                </c:pt>
                <c:pt idx="41">
                  <c:v>0.6755474094572056</c:v>
                </c:pt>
                <c:pt idx="42">
                  <c:v>0.6519203296361079</c:v>
                </c:pt>
                <c:pt idx="43">
                  <c:v>0.7003653632262122</c:v>
                </c:pt>
                <c:pt idx="44">
                  <c:v>0.7336056405017437</c:v>
                </c:pt>
                <c:pt idx="45">
                  <c:v>0.7425235930316524</c:v>
                </c:pt>
                <c:pt idx="46">
                  <c:v>0.7145924906807818</c:v>
                </c:pt>
                <c:pt idx="47">
                  <c:v>0.7234639160726449</c:v>
                </c:pt>
                <c:pt idx="48">
                  <c:v>0.758586755003538</c:v>
                </c:pt>
                <c:pt idx="49">
                  <c:v>0.7769592645724673</c:v>
                </c:pt>
                <c:pt idx="50">
                  <c:v>0.7597565042965331</c:v>
                </c:pt>
                <c:pt idx="51">
                  <c:v>0.7274957681716812</c:v>
                </c:pt>
              </c:numCache>
            </c:numRef>
          </c:xVal>
          <c:yVal>
            <c:numRef>
              <c:f>Sheet1!$B$109:$B$160</c:f>
              <c:numCache>
                <c:formatCode>General</c:formatCode>
                <c:ptCount val="52"/>
                <c:pt idx="0">
                  <c:v>0.1895009881422925</c:v>
                </c:pt>
                <c:pt idx="1">
                  <c:v>0.18778197460917007</c:v>
                </c:pt>
                <c:pt idx="2">
                  <c:v>0.20062526444454892</c:v>
                </c:pt>
                <c:pt idx="3">
                  <c:v>0.2109382344646047</c:v>
                </c:pt>
                <c:pt idx="4">
                  <c:v>0.19643423331138266</c:v>
                </c:pt>
                <c:pt idx="5">
                  <c:v>0.19497255978047826</c:v>
                </c:pt>
                <c:pt idx="6">
                  <c:v>0.20213940648723258</c:v>
                </c:pt>
                <c:pt idx="7">
                  <c:v>0.19750794499858407</c:v>
                </c:pt>
                <c:pt idx="8">
                  <c:v>0.18985678180286436</c:v>
                </c:pt>
                <c:pt idx="9">
                  <c:v>0.19953445065176909</c:v>
                </c:pt>
                <c:pt idx="10">
                  <c:v>0.20161601758607373</c:v>
                </c:pt>
                <c:pt idx="11">
                  <c:v>0.20536135246177678</c:v>
                </c:pt>
                <c:pt idx="12">
                  <c:v>0.2045144675049235</c:v>
                </c:pt>
                <c:pt idx="13">
                  <c:v>0.20614427991779521</c:v>
                </c:pt>
                <c:pt idx="14">
                  <c:v>0.20374727668845316</c:v>
                </c:pt>
                <c:pt idx="15">
                  <c:v>0.20129224652087474</c:v>
                </c:pt>
                <c:pt idx="16">
                  <c:v>0.19142342342342342</c:v>
                </c:pt>
                <c:pt idx="17">
                  <c:v>0.19288650850526157</c:v>
                </c:pt>
                <c:pt idx="18">
                  <c:v>0.19724100127900604</c:v>
                </c:pt>
                <c:pt idx="19">
                  <c:v>0.19699765179469977</c:v>
                </c:pt>
                <c:pt idx="20">
                  <c:v>0.1840305244055651</c:v>
                </c:pt>
                <c:pt idx="21">
                  <c:v>0.19424171024653755</c:v>
                </c:pt>
                <c:pt idx="22">
                  <c:v>0.19073538583659352</c:v>
                </c:pt>
                <c:pt idx="23">
                  <c:v>0.19870296798317363</c:v>
                </c:pt>
                <c:pt idx="24">
                  <c:v>0.19888425499647944</c:v>
                </c:pt>
                <c:pt idx="25">
                  <c:v>0.19659187730758307</c:v>
                </c:pt>
                <c:pt idx="26">
                  <c:v>0.19053030303030302</c:v>
                </c:pt>
                <c:pt idx="27">
                  <c:v>0.19100848163945677</c:v>
                </c:pt>
                <c:pt idx="28">
                  <c:v>0.18142673236560572</c:v>
                </c:pt>
                <c:pt idx="29">
                  <c:v>0.18295873151460146</c:v>
                </c:pt>
                <c:pt idx="30">
                  <c:v>0.19096874652430207</c:v>
                </c:pt>
                <c:pt idx="31">
                  <c:v>0.1822752604797674</c:v>
                </c:pt>
                <c:pt idx="32">
                  <c:v>0.17781783480012725</c:v>
                </c:pt>
                <c:pt idx="33">
                  <c:v>0.1965108041091038</c:v>
                </c:pt>
                <c:pt idx="34">
                  <c:v>0.21435682653026195</c:v>
                </c:pt>
                <c:pt idx="35">
                  <c:v>0.21057403057650306</c:v>
                </c:pt>
                <c:pt idx="36">
                  <c:v>0.1951282884053264</c:v>
                </c:pt>
                <c:pt idx="37">
                  <c:v>0.19675832127351664</c:v>
                </c:pt>
                <c:pt idx="38">
                  <c:v>0.19594594594594594</c:v>
                </c:pt>
                <c:pt idx="39">
                  <c:v>0.20339545691658367</c:v>
                </c:pt>
                <c:pt idx="40">
                  <c:v>0.19003562011379932</c:v>
                </c:pt>
                <c:pt idx="41">
                  <c:v>0.1933872088981578</c:v>
                </c:pt>
                <c:pt idx="42">
                  <c:v>0.19131495486704075</c:v>
                </c:pt>
                <c:pt idx="43">
                  <c:v>0.18496799799764008</c:v>
                </c:pt>
                <c:pt idx="44">
                  <c:v>0.1825501390718782</c:v>
                </c:pt>
                <c:pt idx="45">
                  <c:v>0.1977002885653237</c:v>
                </c:pt>
                <c:pt idx="46">
                  <c:v>0.2098371043113235</c:v>
                </c:pt>
                <c:pt idx="47">
                  <c:v>0.21031106704672203</c:v>
                </c:pt>
                <c:pt idx="48">
                  <c:v>0.20441701986204605</c:v>
                </c:pt>
                <c:pt idx="49">
                  <c:v>0.21285381785419324</c:v>
                </c:pt>
                <c:pt idx="50">
                  <c:v>0.21914104646980764</c:v>
                </c:pt>
                <c:pt idx="51">
                  <c:v>0.210663171014741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1799670811583696</c:v>
                </c:pt>
              </c:numCache>
            </c:numRef>
          </c:xVal>
          <c:yVal>
            <c:numRef>
              <c:f>Sheet1!$B$163:$B$164</c:f>
              <c:numCache>
                <c:formatCode>General</c:formatCode>
                <c:ptCount val="2"/>
                <c:pt idx="0">
                  <c:v>0.2482791923123147</c:v>
                </c:pt>
                <c:pt idx="1">
                  <c:v>0.248279192312314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1799670811583696</c:v>
                </c:pt>
                <c:pt idx="1">
                  <c:v>1.1799670811583696</c:v>
                </c:pt>
              </c:numCache>
            </c:numRef>
          </c:xVal>
          <c:yVal>
            <c:numRef>
              <c:f>Sheet1!$B$167:$B$168</c:f>
              <c:numCache>
                <c:formatCode>General</c:formatCode>
                <c:ptCount val="2"/>
                <c:pt idx="0">
                  <c:v>0.24827919231231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183388363338893</c:v>
                </c:pt>
              </c:numCache>
            </c:numRef>
          </c:xVal>
          <c:yVal>
            <c:numRef>
              <c:f>Sheet1!$B$171:$B$172</c:f>
              <c:numCache>
                <c:formatCode>General</c:formatCode>
                <c:ptCount val="2"/>
                <c:pt idx="0">
                  <c:v>0.2117687638001972</c:v>
                </c:pt>
                <c:pt idx="1">
                  <c:v>0.211768763800197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183388363338893</c:v>
                </c:pt>
                <c:pt idx="1">
                  <c:v>0.8183388363338893</c:v>
                </c:pt>
              </c:numCache>
            </c:numRef>
          </c:xVal>
          <c:yVal>
            <c:numRef>
              <c:f>Sheet1!$B$175:$B$176</c:f>
              <c:numCache>
                <c:formatCode>General</c:formatCode>
                <c:ptCount val="2"/>
                <c:pt idx="0">
                  <c:v>0.211768763800197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098287512250357</c:v>
                </c:pt>
              </c:numCache>
            </c:numRef>
          </c:xVal>
          <c:yVal>
            <c:numRef>
              <c:f>Sheet1!$B$179:$B$180</c:f>
              <c:numCache>
                <c:formatCode>General</c:formatCode>
                <c:ptCount val="2"/>
                <c:pt idx="0">
                  <c:v>0.20081345330686598</c:v>
                </c:pt>
                <c:pt idx="1">
                  <c:v>0.2008134533068659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098287512250357</c:v>
                </c:pt>
                <c:pt idx="1">
                  <c:v>0.7098287512250357</c:v>
                </c:pt>
              </c:numCache>
            </c:numRef>
          </c:xVal>
          <c:yVal>
            <c:numRef>
              <c:f>Sheet1!$B$183:$B$184</c:f>
              <c:numCache>
                <c:formatCode>General</c:formatCode>
                <c:ptCount val="2"/>
                <c:pt idx="0">
                  <c:v>0.2008134533068659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984679949274117</c:v>
                </c:pt>
                <c:pt idx="1">
                  <c:v>0.6682346129986132</c:v>
                </c:pt>
                <c:pt idx="2">
                  <c:v>0.6848741701742131</c:v>
                </c:pt>
                <c:pt idx="3">
                  <c:v>0.6642042005329124</c:v>
                </c:pt>
                <c:pt idx="4">
                  <c:v>0.6701547226296386</c:v>
                </c:pt>
                <c:pt idx="5">
                  <c:v>0.6780705716780593</c:v>
                </c:pt>
                <c:pt idx="6">
                  <c:v>0.6793578252622248</c:v>
                </c:pt>
                <c:pt idx="7">
                  <c:v>0.67754683068356</c:v>
                </c:pt>
                <c:pt idx="8">
                  <c:v>0.6892475431808063</c:v>
                </c:pt>
                <c:pt idx="9">
                  <c:v>0.6645363172489088</c:v>
                </c:pt>
                <c:pt idx="10">
                  <c:v>0.6809440209779833</c:v>
                </c:pt>
                <c:pt idx="11">
                  <c:v>0.6861103542933628</c:v>
                </c:pt>
                <c:pt idx="12">
                  <c:v>0.690775633439098</c:v>
                </c:pt>
                <c:pt idx="13">
                  <c:v>0.6572334744318832</c:v>
                </c:pt>
                <c:pt idx="14">
                  <c:v>0.6603900728280822</c:v>
                </c:pt>
                <c:pt idx="15">
                  <c:v>0.655622056065113</c:v>
                </c:pt>
                <c:pt idx="16">
                  <c:v>0.6808592525831239</c:v>
                </c:pt>
                <c:pt idx="17">
                  <c:v>0.6554769294919907</c:v>
                </c:pt>
                <c:pt idx="18">
                  <c:v>0.6688754844345223</c:v>
                </c:pt>
                <c:pt idx="19">
                  <c:v>0.676262997174144</c:v>
                </c:pt>
                <c:pt idx="20">
                  <c:v>0.6428167720046394</c:v>
                </c:pt>
                <c:pt idx="21">
                  <c:v>0.6109279272069456</c:v>
                </c:pt>
                <c:pt idx="22">
                  <c:v>0.618473384892179</c:v>
                </c:pt>
                <c:pt idx="23">
                  <c:v>0.6194685121031388</c:v>
                </c:pt>
                <c:pt idx="24">
                  <c:v>0.613637390853087</c:v>
                </c:pt>
                <c:pt idx="25">
                  <c:v>0.6444274850481203</c:v>
                </c:pt>
                <c:pt idx="26">
                  <c:v>0.6462056427475092</c:v>
                </c:pt>
                <c:pt idx="27">
                  <c:v>0.6704637939265877</c:v>
                </c:pt>
                <c:pt idx="28">
                  <c:v>0.684611207146992</c:v>
                </c:pt>
                <c:pt idx="29">
                  <c:v>0.6517132582518061</c:v>
                </c:pt>
                <c:pt idx="30">
                  <c:v>0.6450395025087821</c:v>
                </c:pt>
                <c:pt idx="31">
                  <c:v>0.6436930147326965</c:v>
                </c:pt>
                <c:pt idx="32">
                  <c:v>0.6474388731002954</c:v>
                </c:pt>
                <c:pt idx="33">
                  <c:v>0.6707805935740853</c:v>
                </c:pt>
                <c:pt idx="34">
                  <c:v>0.6941821174009283</c:v>
                </c:pt>
                <c:pt idx="35">
                  <c:v>0.6720579649751159</c:v>
                </c:pt>
                <c:pt idx="36">
                  <c:v>0.6199576343946392</c:v>
                </c:pt>
                <c:pt idx="37">
                  <c:v>0.6188315776795508</c:v>
                </c:pt>
                <c:pt idx="38">
                  <c:v>0.6231741752053583</c:v>
                </c:pt>
                <c:pt idx="39">
                  <c:v>0.6588436428421832</c:v>
                </c:pt>
                <c:pt idx="40">
                  <c:v>0.6629296301914179</c:v>
                </c:pt>
                <c:pt idx="41">
                  <c:v>0.6755474094572056</c:v>
                </c:pt>
                <c:pt idx="42">
                  <c:v>0.6519203296361079</c:v>
                </c:pt>
                <c:pt idx="43">
                  <c:v>0.7003653632262122</c:v>
                </c:pt>
                <c:pt idx="44">
                  <c:v>0.7336056405017437</c:v>
                </c:pt>
                <c:pt idx="45">
                  <c:v>0.7425235930316524</c:v>
                </c:pt>
                <c:pt idx="46">
                  <c:v>0.7145924906807818</c:v>
                </c:pt>
                <c:pt idx="47">
                  <c:v>0.7234639160726449</c:v>
                </c:pt>
                <c:pt idx="48">
                  <c:v>0.758586755003538</c:v>
                </c:pt>
                <c:pt idx="49">
                  <c:v>0.7769592645724673</c:v>
                </c:pt>
                <c:pt idx="50">
                  <c:v>0.7597565042965331</c:v>
                </c:pt>
                <c:pt idx="51">
                  <c:v>0.7274957681716812</c:v>
                </c:pt>
                <c:pt idx="52">
                  <c:v>0.8183388363338893</c:v>
                </c:pt>
                <c:pt idx="53">
                  <c:v>1.1799670811583696</c:v>
                </c:pt>
                <c:pt idx="54">
                  <c:v>0.7098287512250357</c:v>
                </c:pt>
              </c:numCache>
            </c:numRef>
          </c:xVal>
          <c:yVal>
            <c:numRef>
              <c:f>Sheet1!$B$187:$B$241</c:f>
              <c:numCache>
                <c:formatCode>General</c:formatCode>
                <c:ptCount val="55"/>
                <c:pt idx="0">
                  <c:v>0.1996664574994746</c:v>
                </c:pt>
                <c:pt idx="1">
                  <c:v>0.19661405839794227</c:v>
                </c:pt>
                <c:pt idx="2">
                  <c:v>0.19829400837814337</c:v>
                </c:pt>
                <c:pt idx="3">
                  <c:v>0.1962071430413314</c:v>
                </c:pt>
                <c:pt idx="4">
                  <c:v>0.1968079150073811</c:v>
                </c:pt>
                <c:pt idx="5">
                  <c:v>0.19760710877869547</c:v>
                </c:pt>
                <c:pt idx="6">
                  <c:v>0.1977370714700346</c:v>
                </c:pt>
                <c:pt idx="7">
                  <c:v>0.19755423124932048</c:v>
                </c:pt>
                <c:pt idx="8">
                  <c:v>0.1987355494491168</c:v>
                </c:pt>
                <c:pt idx="9">
                  <c:v>0.19624067394991118</c:v>
                </c:pt>
                <c:pt idx="10">
                  <c:v>0.1978972157234641</c:v>
                </c:pt>
                <c:pt idx="11">
                  <c:v>0.19841881503402814</c:v>
                </c:pt>
                <c:pt idx="12">
                  <c:v>0.19888982730471544</c:v>
                </c:pt>
                <c:pt idx="13">
                  <c:v>0.19550337003512527</c:v>
                </c:pt>
                <c:pt idx="14">
                  <c:v>0.19582206405788288</c:v>
                </c:pt>
                <c:pt idx="15">
                  <c:v>0.19534067927209697</c:v>
                </c:pt>
                <c:pt idx="16">
                  <c:v>0.19788865740296535</c:v>
                </c:pt>
                <c:pt idx="17">
                  <c:v>0.1953260271163292</c:v>
                </c:pt>
                <c:pt idx="18">
                  <c:v>0.1966787615594931</c:v>
                </c:pt>
                <c:pt idx="19">
                  <c:v>0.19742461385289797</c:v>
                </c:pt>
                <c:pt idx="20">
                  <c:v>0.1940478421805302</c:v>
                </c:pt>
                <c:pt idx="21">
                  <c:v>0.19082830552933389</c:v>
                </c:pt>
                <c:pt idx="22">
                  <c:v>0.19159010413702182</c:v>
                </c:pt>
                <c:pt idx="23">
                  <c:v>0.19169057339354753</c:v>
                </c:pt>
                <c:pt idx="24">
                  <c:v>0.19110185628255738</c:v>
                </c:pt>
                <c:pt idx="25">
                  <c:v>0.19421046173325923</c:v>
                </c:pt>
                <c:pt idx="26">
                  <c:v>0.19438998670260538</c:v>
                </c:pt>
                <c:pt idx="27">
                  <c:v>0.19683911922235575</c:v>
                </c:pt>
                <c:pt idx="28">
                  <c:v>0.19826745931029788</c:v>
                </c:pt>
                <c:pt idx="29">
                  <c:v>0.19494604227907025</c:v>
                </c:pt>
                <c:pt idx="30">
                  <c:v>0.19427225176228893</c:v>
                </c:pt>
                <c:pt idx="31">
                  <c:v>0.19413630871471232</c:v>
                </c:pt>
                <c:pt idx="32">
                  <c:v>0.19451449514263675</c:v>
                </c:pt>
                <c:pt idx="33">
                  <c:v>0.19687110370102456</c:v>
                </c:pt>
                <c:pt idx="34">
                  <c:v>0.19923375007885175</c:v>
                </c:pt>
                <c:pt idx="35">
                  <c:v>0.19700006867510556</c:v>
                </c:pt>
                <c:pt idx="36">
                  <c:v>0.19173995577645897</c:v>
                </c:pt>
                <c:pt idx="37">
                  <c:v>0.19162626771756083</c:v>
                </c:pt>
                <c:pt idx="38">
                  <c:v>0.1920647016584712</c:v>
                </c:pt>
                <c:pt idx="39">
                  <c:v>0.19566593460102433</c:v>
                </c:pt>
                <c:pt idx="40">
                  <c:v>0.19607846086563635</c:v>
                </c:pt>
                <c:pt idx="41">
                  <c:v>0.19735236724451674</c:v>
                </c:pt>
                <c:pt idx="42">
                  <c:v>0.19496694845850082</c:v>
                </c:pt>
                <c:pt idx="43">
                  <c:v>0.19985801811628462</c:v>
                </c:pt>
                <c:pt idx="44">
                  <c:v>0.20321399703817525</c:v>
                </c:pt>
                <c:pt idx="45">
                  <c:v>0.20411436439879366</c:v>
                </c:pt>
                <c:pt idx="46">
                  <c:v>0.20129440625049955</c:v>
                </c:pt>
                <c:pt idx="47">
                  <c:v>0.20219007617453275</c:v>
                </c:pt>
                <c:pt idx="48">
                  <c:v>0.20573612081645887</c:v>
                </c:pt>
                <c:pt idx="49">
                  <c:v>0.20759103178318977</c:v>
                </c:pt>
                <c:pt idx="50">
                  <c:v>0.2058542201312945</c:v>
                </c:pt>
                <c:pt idx="51">
                  <c:v>0.20259713687828043</c:v>
                </c:pt>
                <c:pt idx="52">
                  <c:v>0.2117687638001972</c:v>
                </c:pt>
                <c:pt idx="53">
                  <c:v>0.2482791923123147</c:v>
                </c:pt>
                <c:pt idx="54">
                  <c:v>0.2008134533068659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641155439130587"/>
          <c:min val="0.1313637663204040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5</c:f>
              <c:numCache>
                <c:formatCode>General</c:formatCode>
                <c:ptCount val="94"/>
                <c:pt idx="0">
                  <c:v>1244.25</c:v>
                </c:pt>
                <c:pt idx="1">
                  <c:v>1116.4</c:v>
                </c:pt>
                <c:pt idx="2">
                  <c:v>1214.8333</c:v>
                </c:pt>
                <c:pt idx="3">
                  <c:v>1106.5</c:v>
                </c:pt>
                <c:pt idx="4">
                  <c:v>1102.0</c:v>
                </c:pt>
                <c:pt idx="5">
                  <c:v>1050.4</c:v>
                </c:pt>
                <c:pt idx="6">
                  <c:v>1291.6667</c:v>
                </c:pt>
                <c:pt idx="7">
                  <c:v>1199.6667</c:v>
                </c:pt>
                <c:pt idx="8">
                  <c:v>1377.5</c:v>
                </c:pt>
                <c:pt idx="9">
                  <c:v>1108.0</c:v>
                </c:pt>
                <c:pt idx="10">
                  <c:v>1102.0</c:v>
                </c:pt>
                <c:pt idx="11">
                  <c:v>1193.6667</c:v>
                </c:pt>
                <c:pt idx="12">
                  <c:v>1253.3333</c:v>
                </c:pt>
                <c:pt idx="13">
                  <c:v>1081.5</c:v>
                </c:pt>
                <c:pt idx="14">
                  <c:v>1532.5</c:v>
                </c:pt>
                <c:pt idx="15">
                  <c:v>1381.0</c:v>
                </c:pt>
                <c:pt idx="16">
                  <c:v>1225.0</c:v>
                </c:pt>
                <c:pt idx="17">
                  <c:v>1397.5</c:v>
                </c:pt>
                <c:pt idx="18">
                  <c:v>1067.5</c:v>
                </c:pt>
                <c:pt idx="19">
                  <c:v>1170.2</c:v>
                </c:pt>
                <c:pt idx="20">
                  <c:v>1398.75</c:v>
                </c:pt>
                <c:pt idx="21">
                  <c:v>1355.3333</c:v>
                </c:pt>
                <c:pt idx="22">
                  <c:v>1351.6667</c:v>
                </c:pt>
                <c:pt idx="23">
                  <c:v>1120.0</c:v>
                </c:pt>
                <c:pt idx="24">
                  <c:v>1561.0</c:v>
                </c:pt>
                <c:pt idx="25">
                  <c:v>1343.6667</c:v>
                </c:pt>
                <c:pt idx="26">
                  <c:v>1231.75</c:v>
                </c:pt>
                <c:pt idx="27">
                  <c:v>1154.5</c:v>
                </c:pt>
                <c:pt idx="28">
                  <c:v>1573.0</c:v>
                </c:pt>
                <c:pt idx="29">
                  <c:v>1300.4</c:v>
                </c:pt>
                <c:pt idx="30">
                  <c:v>1412.5</c:v>
                </c:pt>
                <c:pt idx="31">
                  <c:v>1232.5</c:v>
                </c:pt>
                <c:pt idx="32">
                  <c:v>1284.6667</c:v>
                </c:pt>
                <c:pt idx="33">
                  <c:v>1314.5</c:v>
                </c:pt>
                <c:pt idx="34">
                  <c:v>1244.1</c:v>
                </c:pt>
                <c:pt idx="35">
                  <c:v>1340.2857</c:v>
                </c:pt>
                <c:pt idx="36">
                  <c:v>1239.3</c:v>
                </c:pt>
                <c:pt idx="37">
                  <c:v>1365.6</c:v>
                </c:pt>
                <c:pt idx="38">
                  <c:v>1188.2</c:v>
                </c:pt>
                <c:pt idx="39">
                  <c:v>1283.7143</c:v>
                </c:pt>
                <c:pt idx="40">
                  <c:v>1238.4286</c:v>
                </c:pt>
                <c:pt idx="41">
                  <c:v>1233.6667</c:v>
                </c:pt>
                <c:pt idx="42">
                  <c:v>1301.8889</c:v>
                </c:pt>
                <c:pt idx="43">
                  <c:v>1376.3333</c:v>
                </c:pt>
                <c:pt idx="44">
                  <c:v>1350.2</c:v>
                </c:pt>
                <c:pt idx="45">
                  <c:v>1179.8333</c:v>
                </c:pt>
                <c:pt idx="46">
                  <c:v>1328.6667</c:v>
                </c:pt>
                <c:pt idx="47">
                  <c:v>1386.5</c:v>
                </c:pt>
                <c:pt idx="48">
                  <c:v>1289.7143</c:v>
                </c:pt>
                <c:pt idx="49">
                  <c:v>1256.4545</c:v>
                </c:pt>
                <c:pt idx="50">
                  <c:v>1356.75</c:v>
                </c:pt>
                <c:pt idx="51">
                  <c:v>1232.8571</c:v>
                </c:pt>
                <c:pt idx="52">
                  <c:v>1278.125</c:v>
                </c:pt>
                <c:pt idx="53">
                  <c:v>1385.7143</c:v>
                </c:pt>
                <c:pt idx="54">
                  <c:v>1440.3333</c:v>
                </c:pt>
                <c:pt idx="55">
                  <c:v>1268.875</c:v>
                </c:pt>
                <c:pt idx="56">
                  <c:v>1231.25</c:v>
                </c:pt>
                <c:pt idx="57">
                  <c:v>1184.25</c:v>
                </c:pt>
                <c:pt idx="58">
                  <c:v>1322.5</c:v>
                </c:pt>
                <c:pt idx="59">
                  <c:v>1467.0</c:v>
                </c:pt>
                <c:pt idx="60">
                  <c:v>1332.25</c:v>
                </c:pt>
                <c:pt idx="61">
                  <c:v>1186.0</c:v>
                </c:pt>
                <c:pt idx="62">
                  <c:v>1077.0</c:v>
                </c:pt>
                <c:pt idx="63">
                  <c:v>1192.0</c:v>
                </c:pt>
                <c:pt idx="64">
                  <c:v>1140.0</c:v>
                </c:pt>
                <c:pt idx="65">
                  <c:v>1599.0</c:v>
                </c:pt>
                <c:pt idx="66">
                  <c:v>1546.0</c:v>
                </c:pt>
                <c:pt idx="67">
                  <c:v>2084.0</c:v>
                </c:pt>
                <c:pt idx="68">
                  <c:v>1757.0</c:v>
                </c:pt>
                <c:pt idx="69">
                  <c:v>1735.0</c:v>
                </c:pt>
                <c:pt idx="70">
                  <c:v>1194.5</c:v>
                </c:pt>
                <c:pt idx="71">
                  <c:v>1705.0</c:v>
                </c:pt>
                <c:pt idx="72">
                  <c:v>1354.5</c:v>
                </c:pt>
                <c:pt idx="73">
                  <c:v>1340.0</c:v>
                </c:pt>
                <c:pt idx="74">
                  <c:v>1344.0</c:v>
                </c:pt>
                <c:pt idx="75">
                  <c:v>1676.0</c:v>
                </c:pt>
                <c:pt idx="76">
                  <c:v>1199.0</c:v>
                </c:pt>
                <c:pt idx="77">
                  <c:v>1680.0</c:v>
                </c:pt>
                <c:pt idx="78">
                  <c:v>1319.0</c:v>
                </c:pt>
                <c:pt idx="79">
                  <c:v>1335.0</c:v>
                </c:pt>
                <c:pt idx="80">
                  <c:v>1191.0</c:v>
                </c:pt>
                <c:pt idx="81">
                  <c:v>1748.0</c:v>
                </c:pt>
                <c:pt idx="82">
                  <c:v>1701.0</c:v>
                </c:pt>
                <c:pt idx="83">
                  <c:v>1029.0</c:v>
                </c:pt>
                <c:pt idx="84">
                  <c:v>2066.0</c:v>
                </c:pt>
                <c:pt idx="85">
                  <c:v>1365.0</c:v>
                </c:pt>
                <c:pt idx="86">
                  <c:v>1344.0</c:v>
                </c:pt>
                <c:pt idx="87">
                  <c:v>1337.5</c:v>
                </c:pt>
                <c:pt idx="88">
                  <c:v>1714.0</c:v>
                </c:pt>
                <c:pt idx="89">
                  <c:v>1029.0</c:v>
                </c:pt>
                <c:pt idx="90">
                  <c:v>1208.0</c:v>
                </c:pt>
                <c:pt idx="91">
                  <c:v>1365.0</c:v>
                </c:pt>
                <c:pt idx="92">
                  <c:v>1008.0</c:v>
                </c:pt>
                <c:pt idx="93">
                  <c:v>1051.0</c:v>
                </c:pt>
              </c:numCache>
            </c:numRef>
          </c:xVal>
          <c:yVal>
            <c:numRef>
              <c:f>Sheet1!$B$2:$B$95</c:f>
              <c:numCache>
                <c:formatCode>General</c:formatCode>
                <c:ptCount val="94"/>
                <c:pt idx="0">
                  <c:v>0.01384083044982699</c:v>
                </c:pt>
                <c:pt idx="1">
                  <c:v>0.01607717041800643</c:v>
                </c:pt>
                <c:pt idx="2">
                  <c:v>0.01935483870967742</c:v>
                </c:pt>
                <c:pt idx="3">
                  <c:v>0.01593625498007968</c:v>
                </c:pt>
                <c:pt idx="4">
                  <c:v>0.016304347826086956</c:v>
                </c:pt>
                <c:pt idx="5">
                  <c:v>0.027932960893854747</c:v>
                </c:pt>
                <c:pt idx="6">
                  <c:v>0.01764705882352941</c:v>
                </c:pt>
                <c:pt idx="7">
                  <c:v>0.018072289156626505</c:v>
                </c:pt>
                <c:pt idx="8">
                  <c:v>0.010869565217391304</c:v>
                </c:pt>
                <c:pt idx="9">
                  <c:v>0.015625</c:v>
                </c:pt>
                <c:pt idx="10">
                  <c:v>0.012121212121212121</c:v>
                </c:pt>
                <c:pt idx="11">
                  <c:v>0.017964071856287425</c:v>
                </c:pt>
                <c:pt idx="12">
                  <c:v>0.018292682926829267</c:v>
                </c:pt>
                <c:pt idx="13">
                  <c:v>0.005681818181818182</c:v>
                </c:pt>
                <c:pt idx="14">
                  <c:v>0.006134969325153374</c:v>
                </c:pt>
                <c:pt idx="15">
                  <c:v>0.007220216606498195</c:v>
                </c:pt>
                <c:pt idx="16">
                  <c:v>0.009569377990430622</c:v>
                </c:pt>
                <c:pt idx="17">
                  <c:v>0.0111731843575419</c:v>
                </c:pt>
                <c:pt idx="18">
                  <c:v>0.013333333333333334</c:v>
                </c:pt>
                <c:pt idx="19">
                  <c:v>0.027932960893854747</c:v>
                </c:pt>
                <c:pt idx="20">
                  <c:v>0.031007751937984496</c:v>
                </c:pt>
                <c:pt idx="21">
                  <c:v>0.02631578947368421</c:v>
                </c:pt>
                <c:pt idx="22">
                  <c:v>0.027777777777777776</c:v>
                </c:pt>
                <c:pt idx="23">
                  <c:v>0.023622047244094488</c:v>
                </c:pt>
                <c:pt idx="24">
                  <c:v>0.009900990099009901</c:v>
                </c:pt>
                <c:pt idx="25">
                  <c:v>0.029411764705882353</c:v>
                </c:pt>
                <c:pt idx="26">
                  <c:v>0.034482758620689655</c:v>
                </c:pt>
                <c:pt idx="27">
                  <c:v>0.03225806451612903</c:v>
                </c:pt>
                <c:pt idx="28">
                  <c:v>0.014814814814814815</c:v>
                </c:pt>
                <c:pt idx="29">
                  <c:v>0.045871559633027525</c:v>
                </c:pt>
                <c:pt idx="30">
                  <c:v>0.023529411764705882</c:v>
                </c:pt>
                <c:pt idx="31">
                  <c:v>0.042105263157894736</c:v>
                </c:pt>
                <c:pt idx="32">
                  <c:v>0.05309734513274336</c:v>
                </c:pt>
                <c:pt idx="33">
                  <c:v>0.038461538461538464</c:v>
                </c:pt>
                <c:pt idx="34">
                  <c:v>0.07751937984496124</c:v>
                </c:pt>
                <c:pt idx="35">
                  <c:v>0.06542056074766354</c:v>
                </c:pt>
                <c:pt idx="36">
                  <c:v>0.08928571428571429</c:v>
                </c:pt>
                <c:pt idx="37">
                  <c:v>0.047619047619047616</c:v>
                </c:pt>
                <c:pt idx="38">
                  <c:v>0.032679738562091505</c:v>
                </c:pt>
                <c:pt idx="39">
                  <c:v>0.06542056074766354</c:v>
                </c:pt>
                <c:pt idx="40">
                  <c:v>0.059322033898305086</c:v>
                </c:pt>
                <c:pt idx="41">
                  <c:v>0.048</c:v>
                </c:pt>
                <c:pt idx="42">
                  <c:v>0.072</c:v>
                </c:pt>
                <c:pt idx="43">
                  <c:v>0.05084745762711865</c:v>
                </c:pt>
                <c:pt idx="44">
                  <c:v>0.04807692307692308</c:v>
                </c:pt>
                <c:pt idx="45">
                  <c:v>0.06666666666666667</c:v>
                </c:pt>
                <c:pt idx="46">
                  <c:v>0.03409090909090909</c:v>
                </c:pt>
                <c:pt idx="47">
                  <c:v>0.03669724770642202</c:v>
                </c:pt>
                <c:pt idx="48">
                  <c:v>0.047619047619047616</c:v>
                </c:pt>
                <c:pt idx="49">
                  <c:v>0.1111111111111111</c:v>
                </c:pt>
                <c:pt idx="50">
                  <c:v>0.06896551724137931</c:v>
                </c:pt>
                <c:pt idx="51">
                  <c:v>0.07446808510638298</c:v>
                </c:pt>
                <c:pt idx="52">
                  <c:v>0.08791208791208792</c:v>
                </c:pt>
                <c:pt idx="53">
                  <c:v>0.09333333333333334</c:v>
                </c:pt>
                <c:pt idx="54">
                  <c:v>0.04411764705882353</c:v>
                </c:pt>
                <c:pt idx="55">
                  <c:v>0.1038961038961039</c:v>
                </c:pt>
                <c:pt idx="56">
                  <c:v>0.05970149253731343</c:v>
                </c:pt>
                <c:pt idx="57">
                  <c:v>0.06557377049180328</c:v>
                </c:pt>
                <c:pt idx="58">
                  <c:v>0.023529411764705882</c:v>
                </c:pt>
                <c:pt idx="59">
                  <c:v>0.025974025974025976</c:v>
                </c:pt>
                <c:pt idx="60">
                  <c:v>0.05063291139240506</c:v>
                </c:pt>
                <c:pt idx="61">
                  <c:v>0.043478260869565216</c:v>
                </c:pt>
                <c:pt idx="62">
                  <c:v>0.0375</c:v>
                </c:pt>
                <c:pt idx="63">
                  <c:v>0.025</c:v>
                </c:pt>
                <c:pt idx="64">
                  <c:v>0.05555555555555555</c:v>
                </c:pt>
                <c:pt idx="65">
                  <c:v>0.013157894736842105</c:v>
                </c:pt>
                <c:pt idx="66">
                  <c:v>0.025</c:v>
                </c:pt>
                <c:pt idx="67">
                  <c:v>0.0136986301369863</c:v>
                </c:pt>
                <c:pt idx="68">
                  <c:v>0.01818181818181818</c:v>
                </c:pt>
                <c:pt idx="69">
                  <c:v>0.014705882352941176</c:v>
                </c:pt>
                <c:pt idx="70">
                  <c:v>0.034482758620689655</c:v>
                </c:pt>
                <c:pt idx="71">
                  <c:v>0.01639344262295082</c:v>
                </c:pt>
                <c:pt idx="72">
                  <c:v>0.03125</c:v>
                </c:pt>
                <c:pt idx="73">
                  <c:v>0.016666666666666666</c:v>
                </c:pt>
                <c:pt idx="74">
                  <c:v>0.03125</c:v>
                </c:pt>
                <c:pt idx="75">
                  <c:v>0.015384615384615385</c:v>
                </c:pt>
                <c:pt idx="76">
                  <c:v>0.034482758620689655</c:v>
                </c:pt>
                <c:pt idx="77">
                  <c:v>0.018518518518518517</c:v>
                </c:pt>
                <c:pt idx="78">
                  <c:v>0.016129032258064516</c:v>
                </c:pt>
                <c:pt idx="79">
                  <c:v>0.011627906976744186</c:v>
                </c:pt>
                <c:pt idx="80">
                  <c:v>0.028169014084507043</c:v>
                </c:pt>
                <c:pt idx="81">
                  <c:v>0.01282051282051282</c:v>
                </c:pt>
                <c:pt idx="82">
                  <c:v>0.016129032258064516</c:v>
                </c:pt>
                <c:pt idx="83">
                  <c:v>0.015873015873015872</c:v>
                </c:pt>
                <c:pt idx="84">
                  <c:v>0.015873015873015872</c:v>
                </c:pt>
                <c:pt idx="85">
                  <c:v>0.015873015873015872</c:v>
                </c:pt>
                <c:pt idx="86">
                  <c:v>0.015151515151515152</c:v>
                </c:pt>
                <c:pt idx="87">
                  <c:v>0.025974025974025976</c:v>
                </c:pt>
                <c:pt idx="88">
                  <c:v>0.011904761904761904</c:v>
                </c:pt>
                <c:pt idx="89">
                  <c:v>0.010526315789473684</c:v>
                </c:pt>
                <c:pt idx="90">
                  <c:v>0.013986013986013986</c:v>
                </c:pt>
                <c:pt idx="91">
                  <c:v>0.014705882352941176</c:v>
                </c:pt>
                <c:pt idx="92">
                  <c:v>0.017857142857142856</c:v>
                </c:pt>
                <c:pt idx="93">
                  <c:v>0.014285714285714285</c:v>
                </c:pt>
              </c:numCache>
            </c:numRef>
          </c:yVal>
          <c:smooth val="0"/>
          <c:extLst>
            <c:ext xmlns:c16="http://schemas.microsoft.com/office/drawing/2014/chart" uri="{C3380CC4-5D6E-409C-BE32-E72D297353CC}">
              <c16:uniqueId val="{00000000-F32D-48B7-BC20-E66FC6253BAD}"/>
            </c:ext>
          </c:extLst>
        </c:ser>
        <c:ser>
          <c:idx val="1"/>
          <c:order val="1"/>
          <c:tx>
            <c:strRef>
              <c:f>Sheet1!$B$9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8:$A$113</c:f>
              <c:numCache>
                <c:formatCode>General</c:formatCode>
                <c:ptCount val="16"/>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numCache>
            </c:numRef>
          </c:xVal>
          <c:yVal>
            <c:numRef>
              <c:f>Sheet1!$B$98:$B$113</c:f>
              <c:numCache>
                <c:formatCode>General</c:formatCode>
                <c:ptCount val="16"/>
                <c:pt idx="0">
                  <c:v>0.0</c:v>
                </c:pt>
                <c:pt idx="1">
                  <c:v>0.0</c:v>
                </c:pt>
                <c:pt idx="2">
                  <c:v>0.0</c:v>
                </c:pt>
                <c:pt idx="3">
                  <c:v>0.015873015873015872</c:v>
                </c:pt>
                <c:pt idx="4">
                  <c:v>0.01020408163265306</c:v>
                </c:pt>
                <c:pt idx="5">
                  <c:v>0.012987012987012988</c:v>
                </c:pt>
                <c:pt idx="6">
                  <c:v>0.0</c:v>
                </c:pt>
                <c:pt idx="7">
                  <c:v>0.0</c:v>
                </c:pt>
                <c:pt idx="8">
                  <c:v>0.0</c:v>
                </c:pt>
                <c:pt idx="9">
                  <c:v>0.0</c:v>
                </c:pt>
                <c:pt idx="10">
                  <c:v>0.0</c:v>
                </c:pt>
                <c:pt idx="11">
                  <c:v>0.0</c:v>
                </c:pt>
                <c:pt idx="12">
                  <c:v>0.0</c:v>
                </c:pt>
                <c:pt idx="13">
                  <c:v>0.0</c:v>
                </c:pt>
                <c:pt idx="14">
                  <c:v>0.0</c:v>
                </c:pt>
                <c:pt idx="15">
                  <c:v>0.0</c:v>
                </c:pt>
              </c:numCache>
            </c:numRef>
          </c:yVal>
          <c:smooth val="0"/>
          <c:extLst>
            <c:ext xmlns:c16="http://schemas.microsoft.com/office/drawing/2014/chart" uri="{C3380CC4-5D6E-409C-BE32-E72D297353CC}">
              <c16:uniqueId val="{00000002-F32D-48B7-BC20-E66FC6253BAD}"/>
            </c:ext>
          </c:extLst>
        </c:ser>
        <c:ser>
          <c:idx val="2"/>
          <c:order val="2"/>
          <c:tx>
            <c:strRef>
              <c:f>Sheet1!$B$115</c:f>
              <c:strCache>
                <c:ptCount val="1"/>
                <c:pt idx="0">
                  <c:v>Custom Linep3yQ</c:v>
                </c:pt>
              </c:strCache>
            </c:strRef>
          </c:tx>
          <c:spPr>
            <a:ln w="19050" cap="rnd">
              <a:solidFill>
                <a:srgbClr val="C00000"/>
              </a:solidFill>
              <a:prstDash val="sysDot"/>
              <a:round/>
            </a:ln>
            <a:effectLst/>
          </c:spPr>
          <c:marker>
            <c:symbol val="none"/>
          </c:marker>
          <c:xVal>
            <c:numRef>
              <c:f>Sheet1!$A$116:$A$117</c:f>
              <c:numCache>
                <c:formatCode>General</c:formatCode>
                <c:ptCount val="2"/>
                <c:pt idx="0">
                  <c:v>0</c:v>
                </c:pt>
                <c:pt idx="1">
                  <c:v>6697.764651483381</c:v>
                </c:pt>
              </c:numCache>
            </c:numRef>
          </c:xVal>
          <c:yVal>
            <c:numRef>
              <c:f>Sheet1!$B$116:$B$117</c:f>
              <c:numCache>
                <c:formatCode>General</c:formatCode>
                <c:ptCount val="2"/>
                <c:pt idx="0">
                  <c:v>0.06483837551942617</c:v>
                </c:pt>
                <c:pt idx="1">
                  <c:v>0.06483837551942617</c:v>
                </c:pt>
              </c:numCache>
            </c:numRef>
          </c:yVal>
          <c:smooth val="0"/>
          <c:extLst>
            <c:ext xmlns:c16="http://schemas.microsoft.com/office/drawing/2014/chart" uri="{C3380CC4-5D6E-409C-BE32-E72D297353CC}">
              <c16:uniqueId val="{00000003-F32D-48B7-BC20-E66FC6253BAD}"/>
            </c:ext>
          </c:extLst>
        </c:ser>
        <c:ser>
          <c:idx val="3"/>
          <c:order val="3"/>
          <c:tx>
            <c:strRef>
              <c:f>Sheet1!$B$11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6697.764651483381</c:v>
                </c:pt>
                <c:pt idx="1">
                  <c:v>6697.764651483381</c:v>
                </c:pt>
              </c:numCache>
            </c:numRef>
          </c:xVal>
          <c:yVal>
            <c:numRef>
              <c:f>Sheet1!$B$120:$B$121</c:f>
              <c:numCache>
                <c:formatCode>General</c:formatCode>
                <c:ptCount val="2"/>
                <c:pt idx="0">
                  <c:v>0.0648383755194261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4:$A$125</c:f>
              <c:numCache>
                <c:formatCode>General</c:formatCode>
                <c:ptCount val="2"/>
                <c:pt idx="0">
                  <c:v>0</c:v>
                </c:pt>
                <c:pt idx="1">
                  <c:v>657.1668047070481</c:v>
                </c:pt>
              </c:numCache>
            </c:numRef>
          </c:xVal>
          <c:yVal>
            <c:numRef>
              <c:f>Sheet1!$B$124:$B$125</c:f>
              <c:numCache>
                <c:formatCode>General</c:formatCode>
                <c:ptCount val="2"/>
                <c:pt idx="0">
                  <c:v>0.006510685082113654</c:v>
                </c:pt>
                <c:pt idx="1">
                  <c:v>0.006510685082113654</c:v>
                </c:pt>
              </c:numCache>
            </c:numRef>
          </c:yVal>
          <c:smooth val="0"/>
          <c:extLst>
            <c:ext xmlns:c16="http://schemas.microsoft.com/office/drawing/2014/chart" uri="{C3380CC4-5D6E-409C-BE32-E72D297353CC}">
              <c16:uniqueId val="{0000000A-F32D-48B7-BC20-E66FC6253BAD}"/>
            </c:ext>
          </c:extLst>
        </c:ser>
        <c:ser>
          <c:idx val="5"/>
          <c:order val="5"/>
          <c:tx>
            <c:strRef>
              <c:f>Sheet1!$B$12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657.1668047070481</c:v>
                </c:pt>
                <c:pt idx="1">
                  <c:v>657.1668047070481</c:v>
                </c:pt>
              </c:numCache>
            </c:numRef>
          </c:xVal>
          <c:yVal>
            <c:numRef>
              <c:f>Sheet1!$B$128:$B$129</c:f>
              <c:numCache>
                <c:formatCode>General</c:formatCode>
                <c:ptCount val="2"/>
                <c:pt idx="0">
                  <c:v>0.00651068508211365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2:$A$133</c:f>
              <c:numCache>
                <c:formatCode>General</c:formatCode>
                <c:ptCount val="2"/>
                <c:pt idx="0">
                  <c:v>0</c:v>
                </c:pt>
                <c:pt idx="1">
                  <c:v>-17.10008282422879</c:v>
                </c:pt>
              </c:numCache>
            </c:numRef>
          </c:xVal>
          <c:yVal>
            <c:numRef>
              <c:f>Sheet1!$B$132:$B$133</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13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6:$A$137</c:f>
              <c:numCache>
                <c:formatCode>General</c:formatCode>
                <c:ptCount val="2"/>
                <c:pt idx="0">
                  <c:v>-17.10008282422879</c:v>
                </c:pt>
                <c:pt idx="1">
                  <c:v>-17.10008282422879</c:v>
                </c:pt>
              </c:numCache>
            </c:numRef>
          </c:xVal>
          <c:yVal>
            <c:numRef>
              <c:f>Sheet1!$B$136:$B$137</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0:$A$158</c:f>
              <c:numCache>
                <c:formatCode>General</c:formatCode>
                <c:ptCount val="19"/>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657.1668047070481</c:v>
                </c:pt>
                <c:pt idx="17">
                  <c:v>6697.764651483381</c:v>
                </c:pt>
                <c:pt idx="18">
                  <c:v>-17.10008282422879</c:v>
                </c:pt>
              </c:numCache>
            </c:numRef>
          </c:xVal>
          <c:yVal>
            <c:numRef>
              <c:f>Sheet1!$B$140:$B$158</c:f>
              <c:numCache>
                <c:formatCode>General</c:formatCode>
                <c:ptCount val="19"/>
                <c:pt idx="0">
                  <c:v>0.00016511748716334517</c:v>
                </c:pt>
                <c:pt idx="1">
                  <c:v>0.00016511748716334517</c:v>
                </c:pt>
                <c:pt idx="2">
                  <c:v>0.00016511748716334517</c:v>
                </c:pt>
                <c:pt idx="3">
                  <c:v>0.010313517397998417</c:v>
                </c:pt>
                <c:pt idx="4">
                  <c:v>0.010101086572081792</c:v>
                </c:pt>
                <c:pt idx="5">
                  <c:v>0.016502979189478222</c:v>
                </c:pt>
                <c:pt idx="6">
                  <c:v>0.00016511748716334517</c:v>
                </c:pt>
                <c:pt idx="7">
                  <c:v>0.00016511748716334517</c:v>
                </c:pt>
                <c:pt idx="8">
                  <c:v>0.00016511748716334517</c:v>
                </c:pt>
                <c:pt idx="9">
                  <c:v>0.00016511748716334517</c:v>
                </c:pt>
                <c:pt idx="10">
                  <c:v>0.00016511748716334517</c:v>
                </c:pt>
                <c:pt idx="11">
                  <c:v>0.00016511748716334517</c:v>
                </c:pt>
                <c:pt idx="12">
                  <c:v>0.00016511748716334517</c:v>
                </c:pt>
                <c:pt idx="13">
                  <c:v>0.00016511748716334517</c:v>
                </c:pt>
                <c:pt idx="14">
                  <c:v>0.00016511748716334517</c:v>
                </c:pt>
                <c:pt idx="15">
                  <c:v>0.00016511748716334517</c:v>
                </c:pt>
                <c:pt idx="16">
                  <c:v>0.006510685082113655</c:v>
                </c:pt>
                <c:pt idx="17">
                  <c:v>0.06483837551942617</c:v>
                </c:pt>
                <c:pt idx="18">
                  <c:v>2.710505431213761e-2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3333333333333333"/>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3</c:f>
              <c:numCache>
                <c:formatCode>General</c:formatCode>
                <c:ptCount val="62"/>
                <c:pt idx="0">
                  <c:v>0.6196155569941736</c:v>
                </c:pt>
                <c:pt idx="1">
                  <c:v>0.5802494802494803</c:v>
                </c:pt>
                <c:pt idx="2">
                  <c:v>0.611192936115436</c:v>
                </c:pt>
                <c:pt idx="3">
                  <c:v>0.6390245015219063</c:v>
                </c:pt>
                <c:pt idx="4">
                  <c:v>0.5446009389671361</c:v>
                </c:pt>
                <c:pt idx="5">
                  <c:v>0.5869796032411289</c:v>
                </c:pt>
                <c:pt idx="6">
                  <c:v>0.5576112728015877</c:v>
                </c:pt>
                <c:pt idx="7">
                  <c:v>0.5597200864653202</c:v>
                </c:pt>
                <c:pt idx="8">
                  <c:v>0.642024844287419</c:v>
                </c:pt>
                <c:pt idx="9">
                  <c:v>0.5765520646287806</c:v>
                </c:pt>
                <c:pt idx="10">
                  <c:v>0.5529100554319926</c:v>
                </c:pt>
                <c:pt idx="11">
                  <c:v>0.614525192297386</c:v>
                </c:pt>
                <c:pt idx="12">
                  <c:v>0.645216628056628</c:v>
                </c:pt>
                <c:pt idx="13">
                  <c:v>0.5345668523176402</c:v>
                </c:pt>
                <c:pt idx="14">
                  <c:v>0.7485346914447198</c:v>
                </c:pt>
                <c:pt idx="15">
                  <c:v>0.6935263060654625</c:v>
                </c:pt>
                <c:pt idx="16">
                  <c:v>0.6035969450603597</c:v>
                </c:pt>
                <c:pt idx="17">
                  <c:v>0.712646608873024</c:v>
                </c:pt>
                <c:pt idx="18">
                  <c:v>0.49499868170374517</c:v>
                </c:pt>
                <c:pt idx="19">
                  <c:v>0.5504704024078823</c:v>
                </c:pt>
                <c:pt idx="20">
                  <c:v>0.7100253807106599</c:v>
                </c:pt>
                <c:pt idx="21">
                  <c:v>0.7597159753363228</c:v>
                </c:pt>
                <c:pt idx="22">
                  <c:v>0.7192267066198422</c:v>
                </c:pt>
                <c:pt idx="23">
                  <c:v>0.5820341542838467</c:v>
                </c:pt>
                <c:pt idx="24">
                  <c:v>0.9057151145923992</c:v>
                </c:pt>
                <c:pt idx="25">
                  <c:v>0.7319442734577148</c:v>
                </c:pt>
                <c:pt idx="26">
                  <c:v>0.9339801346387243</c:v>
                </c:pt>
                <c:pt idx="27">
                  <c:v>0.6537709104052978</c:v>
                </c:pt>
                <c:pt idx="28">
                  <c:v>0.7575854993993499</c:v>
                </c:pt>
                <c:pt idx="29">
                  <c:v>0.6673566380251745</c:v>
                </c:pt>
                <c:pt idx="30">
                  <c:v>0.7244602873437737</c:v>
                </c:pt>
                <c:pt idx="31">
                  <c:v>0.6027877306360004</c:v>
                </c:pt>
                <c:pt idx="32">
                  <c:v>0.6069482660871208</c:v>
                </c:pt>
                <c:pt idx="33">
                  <c:v>0.6848549269385614</c:v>
                </c:pt>
                <c:pt idx="34">
                  <c:v>0.6333055817785548</c:v>
                </c:pt>
                <c:pt idx="35">
                  <c:v>0.6771735023117261</c:v>
                </c:pt>
                <c:pt idx="36">
                  <c:v>0.6255445690284116</c:v>
                </c:pt>
                <c:pt idx="37">
                  <c:v>0.697826543193884</c:v>
                </c:pt>
                <c:pt idx="38">
                  <c:v>0.5787411080413013</c:v>
                </c:pt>
                <c:pt idx="39">
                  <c:v>0.6505050289047628</c:v>
                </c:pt>
                <c:pt idx="40">
                  <c:v>0.6658218279569892</c:v>
                </c:pt>
                <c:pt idx="41">
                  <c:v>0.6841245979959383</c:v>
                </c:pt>
                <c:pt idx="42">
                  <c:v>0.6685610332254917</c:v>
                </c:pt>
                <c:pt idx="43">
                  <c:v>0.7515720078172956</c:v>
                </c:pt>
                <c:pt idx="44">
                  <c:v>0.7277398621584596</c:v>
                </c:pt>
                <c:pt idx="45">
                  <c:v>0.7654627976959948</c:v>
                </c:pt>
                <c:pt idx="46">
                  <c:v>0.7500235393734124</c:v>
                </c:pt>
                <c:pt idx="47">
                  <c:v>1.0074843772707456</c:v>
                </c:pt>
                <c:pt idx="48">
                  <c:v>0.8085983072100315</c:v>
                </c:pt>
                <c:pt idx="49">
                  <c:v>0.9055527927927929</c:v>
                </c:pt>
                <c:pt idx="50">
                  <c:v>1.6959375</c:v>
                </c:pt>
                <c:pt idx="51">
                  <c:v>0.0</c:v>
                </c:pt>
                <c:pt idx="52">
                  <c:v>1.188953488372093</c:v>
                </c:pt>
                <c:pt idx="53">
                  <c:v>0.0</c:v>
                </c:pt>
                <c:pt idx="54">
                  <c:v>0.0</c:v>
                </c:pt>
                <c:pt idx="55">
                  <c:v>1.1451940433212997</c:v>
                </c:pt>
                <c:pt idx="56">
                  <c:v>0.0</c:v>
                </c:pt>
                <c:pt idx="57">
                  <c:v>0.0</c:v>
                </c:pt>
                <c:pt idx="58">
                  <c:v>1.8342579750346741</c:v>
                </c:pt>
                <c:pt idx="59">
                  <c:v>2.0972122944960687</c:v>
                </c:pt>
                <c:pt idx="60">
                  <c:v>0.0</c:v>
                </c:pt>
                <c:pt idx="61">
                  <c:v>0.0</c:v>
                </c:pt>
              </c:numCache>
            </c:numRef>
          </c:xVal>
          <c:yVal>
            <c:numRef>
              <c:f>Sheet1!$B$2:$B$63</c:f>
              <c:numCache>
                <c:formatCode>General</c:formatCode>
                <c:ptCount val="62"/>
                <c:pt idx="0">
                  <c:v>0.01384083044982699</c:v>
                </c:pt>
                <c:pt idx="1">
                  <c:v>0.01607717041800643</c:v>
                </c:pt>
                <c:pt idx="2">
                  <c:v>0.01935483870967742</c:v>
                </c:pt>
                <c:pt idx="3">
                  <c:v>0.01593625498007968</c:v>
                </c:pt>
                <c:pt idx="4">
                  <c:v>0.016304347826086956</c:v>
                </c:pt>
                <c:pt idx="5">
                  <c:v>0.027932960893854747</c:v>
                </c:pt>
                <c:pt idx="6">
                  <c:v>0.01764705882352941</c:v>
                </c:pt>
                <c:pt idx="7">
                  <c:v>0.018072289156626505</c:v>
                </c:pt>
                <c:pt idx="8">
                  <c:v>0.010869565217391304</c:v>
                </c:pt>
                <c:pt idx="9">
                  <c:v>0.015625</c:v>
                </c:pt>
                <c:pt idx="10">
                  <c:v>0.012121212121212121</c:v>
                </c:pt>
                <c:pt idx="11">
                  <c:v>0.017964071856287425</c:v>
                </c:pt>
                <c:pt idx="12">
                  <c:v>0.018292682926829267</c:v>
                </c:pt>
                <c:pt idx="13">
                  <c:v>0.005681818181818182</c:v>
                </c:pt>
                <c:pt idx="14">
                  <c:v>0.006134969325153374</c:v>
                </c:pt>
                <c:pt idx="15">
                  <c:v>0.007220216606498195</c:v>
                </c:pt>
                <c:pt idx="16">
                  <c:v>0.009569377990430622</c:v>
                </c:pt>
                <c:pt idx="17">
                  <c:v>0.0111731843575419</c:v>
                </c:pt>
                <c:pt idx="18">
                  <c:v>0.013333333333333334</c:v>
                </c:pt>
                <c:pt idx="19">
                  <c:v>0.027932960893854747</c:v>
                </c:pt>
                <c:pt idx="20">
                  <c:v>0.031007751937984496</c:v>
                </c:pt>
                <c:pt idx="21">
                  <c:v>0.02631578947368421</c:v>
                </c:pt>
                <c:pt idx="22">
                  <c:v>0.027777777777777776</c:v>
                </c:pt>
                <c:pt idx="23">
                  <c:v>0.023622047244094488</c:v>
                </c:pt>
                <c:pt idx="24">
                  <c:v>0.009900990099009901</c:v>
                </c:pt>
                <c:pt idx="25">
                  <c:v>0.029411764705882353</c:v>
                </c:pt>
                <c:pt idx="26">
                  <c:v>0.034482758620689655</c:v>
                </c:pt>
                <c:pt idx="27">
                  <c:v>0.03225806451612903</c:v>
                </c:pt>
                <c:pt idx="28">
                  <c:v>0.014814814814814815</c:v>
                </c:pt>
                <c:pt idx="29">
                  <c:v>0.045871559633027525</c:v>
                </c:pt>
                <c:pt idx="30">
                  <c:v>0.023529411764705882</c:v>
                </c:pt>
                <c:pt idx="31">
                  <c:v>0.042105263157894736</c:v>
                </c:pt>
                <c:pt idx="32">
                  <c:v>0.05309734513274336</c:v>
                </c:pt>
                <c:pt idx="33">
                  <c:v>0.038461538461538464</c:v>
                </c:pt>
                <c:pt idx="34">
                  <c:v>0.07751937984496124</c:v>
                </c:pt>
                <c:pt idx="35">
                  <c:v>0.06542056074766354</c:v>
                </c:pt>
                <c:pt idx="36">
                  <c:v>0.08928571428571429</c:v>
                </c:pt>
                <c:pt idx="37">
                  <c:v>0.047619047619047616</c:v>
                </c:pt>
                <c:pt idx="38">
                  <c:v>0.032679738562091505</c:v>
                </c:pt>
                <c:pt idx="39">
                  <c:v>0.06542056074766354</c:v>
                </c:pt>
                <c:pt idx="40">
                  <c:v>0.059322033898305086</c:v>
                </c:pt>
                <c:pt idx="41">
                  <c:v>0.048</c:v>
                </c:pt>
                <c:pt idx="42">
                  <c:v>0.072</c:v>
                </c:pt>
                <c:pt idx="43">
                  <c:v>0.05084745762711865</c:v>
                </c:pt>
                <c:pt idx="44">
                  <c:v>0.04807692307692308</c:v>
                </c:pt>
                <c:pt idx="45">
                  <c:v>0.06666666666666667</c:v>
                </c:pt>
                <c:pt idx="46">
                  <c:v>0.03409090909090909</c:v>
                </c:pt>
                <c:pt idx="47">
                  <c:v>0.03669724770642202</c:v>
                </c:pt>
                <c:pt idx="48">
                  <c:v>0.047619047619047616</c:v>
                </c:pt>
                <c:pt idx="49">
                  <c:v>0.1111111111111111</c:v>
                </c:pt>
                <c:pt idx="50">
                  <c:v>0.06896551724137931</c:v>
                </c:pt>
                <c:pt idx="51">
                  <c:v>0.07446808510638298</c:v>
                </c:pt>
                <c:pt idx="52">
                  <c:v>0.08791208791208792</c:v>
                </c:pt>
                <c:pt idx="53">
                  <c:v>0.09333333333333334</c:v>
                </c:pt>
                <c:pt idx="54">
                  <c:v>0.04411764705882353</c:v>
                </c:pt>
                <c:pt idx="55">
                  <c:v>0.1038961038961039</c:v>
                </c:pt>
                <c:pt idx="56">
                  <c:v>0.05970149253731343</c:v>
                </c:pt>
                <c:pt idx="57">
                  <c:v>0.06557377049180328</c:v>
                </c:pt>
                <c:pt idx="58">
                  <c:v>0.023529411764705882</c:v>
                </c:pt>
                <c:pt idx="59">
                  <c:v>0.025974025974025976</c:v>
                </c:pt>
                <c:pt idx="60">
                  <c:v>0.05063291139240506</c:v>
                </c:pt>
                <c:pt idx="61">
                  <c:v>0.025</c:v>
                </c:pt>
              </c:numCache>
            </c:numRef>
          </c:yVal>
          <c:smooth val="0"/>
          <c:extLst>
            <c:ext xmlns:c16="http://schemas.microsoft.com/office/drawing/2014/chart" uri="{C3380CC4-5D6E-409C-BE32-E72D297353CC}">
              <c16:uniqueId val="{00000000-096C-4121-9522-6AB7243CCAAE}"/>
            </c:ext>
          </c:extLst>
        </c:ser>
        <c:ser>
          <c:idx val="1"/>
          <c:order val="1"/>
          <c:tx>
            <c:strRef>
              <c:f>Sheet1!$B$6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6:$A$65</c:f>
              <c:numCache>
                <c:formatCode>General</c:formatCode>
                <c:ptCount val="0"/>
              </c:numCache>
            </c:numRef>
          </c:xVal>
          <c:yVal>
            <c:numRef>
              <c:f>Sheet1!$B$66:$B$65</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68:$A$69</c:f>
              <c:numCache>
                <c:formatCode>General</c:formatCode>
                <c:ptCount val="2"/>
                <c:pt idx="0">
                  <c:v>0</c:v>
                </c:pt>
                <c:pt idx="1">
                  <c:v>0.06483837551942617</c:v>
                </c:pt>
              </c:numCache>
            </c:numRef>
          </c:xVal>
          <c:yVal>
            <c:numRef>
              <c:f>Sheet1!$B$68:$B$69</c:f>
              <c:numCache>
                <c:formatCode>General</c:formatCode>
                <c:ptCount val="2"/>
                <c:pt idx="0">
                  <c:v>0.06483837551942617</c:v>
                </c:pt>
                <c:pt idx="1">
                  <c:v>0.06483837551942617</c:v>
                </c:pt>
              </c:numCache>
            </c:numRef>
          </c:yVal>
          <c:smooth val="0"/>
          <c:extLst>
            <c:ext xmlns:c16="http://schemas.microsoft.com/office/drawing/2014/chart" uri="{C3380CC4-5D6E-409C-BE32-E72D297353CC}">
              <c16:uniqueId val="{00000005-096C-4121-9522-6AB7243CCAAE}"/>
            </c:ext>
          </c:extLst>
        </c:ser>
        <c:ser>
          <c:idx val="3"/>
          <c:order val="3"/>
          <c:tx>
            <c:strRef>
              <c:f>Sheet1!$B$7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2:$A$73</c:f>
              <c:numCache>
                <c:formatCode>General</c:formatCode>
                <c:ptCount val="2"/>
                <c:pt idx="0">
                  <c:v>0.06483837551942617</c:v>
                </c:pt>
                <c:pt idx="1">
                  <c:v>0.06483837551942617</c:v>
                </c:pt>
              </c:numCache>
            </c:numRef>
          </c:xVal>
          <c:yVal>
            <c:numRef>
              <c:f>Sheet1!$B$72:$B$73</c:f>
              <c:numCache>
                <c:formatCode>General</c:formatCode>
                <c:ptCount val="2"/>
                <c:pt idx="0">
                  <c:v>0.0648383755194261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75</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76:$A$78</c:f>
              <c:numCache>
                <c:formatCode>General</c:formatCode>
                <c:ptCount val="3"/>
                <c:pt idx="0">
                  <c:v>0</c:v>
                </c:pt>
                <c:pt idx="1">
                  <c:v>0.06483837551942617</c:v>
                </c:pt>
                <c:pt idx="2">
                  <c:v>0</c:v>
                </c:pt>
              </c:numCache>
            </c:numRef>
          </c:xVal>
          <c:yVal>
            <c:numRef>
              <c:f>Sheet1!$B$76:$B$78</c:f>
              <c:numCache>
                <c:formatCode>General</c:formatCode>
                <c:ptCount val="3"/>
                <c:pt idx="0">
                  <c:v>0</c:v>
                </c:pt>
                <c:pt idx="1">
                  <c:v>0.06483837551942617</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3333333333333333"/>
          <c:min val="0.00454545454545454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3</c:f>
              <c:numCache>
                <c:formatCode>General</c:formatCode>
                <c:ptCount val="62"/>
                <c:pt idx="0">
                  <c:v>1244.25</c:v>
                </c:pt>
                <c:pt idx="1">
                  <c:v>1116.4</c:v>
                </c:pt>
                <c:pt idx="2">
                  <c:v>1214.8333</c:v>
                </c:pt>
                <c:pt idx="3">
                  <c:v>1106.5</c:v>
                </c:pt>
                <c:pt idx="4">
                  <c:v>1102.0</c:v>
                </c:pt>
                <c:pt idx="5">
                  <c:v>1050.4</c:v>
                </c:pt>
                <c:pt idx="6">
                  <c:v>1291.6667</c:v>
                </c:pt>
                <c:pt idx="7">
                  <c:v>1199.6667</c:v>
                </c:pt>
                <c:pt idx="8">
                  <c:v>1377.5</c:v>
                </c:pt>
                <c:pt idx="9">
                  <c:v>1108.0</c:v>
                </c:pt>
                <c:pt idx="10">
                  <c:v>1102.0</c:v>
                </c:pt>
                <c:pt idx="11">
                  <c:v>1193.6667</c:v>
                </c:pt>
                <c:pt idx="12">
                  <c:v>1253.3333</c:v>
                </c:pt>
                <c:pt idx="13">
                  <c:v>1081.5</c:v>
                </c:pt>
                <c:pt idx="14">
                  <c:v>1532.5</c:v>
                </c:pt>
                <c:pt idx="15">
                  <c:v>1381.0</c:v>
                </c:pt>
                <c:pt idx="16">
                  <c:v>1225.0</c:v>
                </c:pt>
                <c:pt idx="17">
                  <c:v>1397.5</c:v>
                </c:pt>
                <c:pt idx="18">
                  <c:v>1067.5</c:v>
                </c:pt>
                <c:pt idx="19">
                  <c:v>1170.2</c:v>
                </c:pt>
                <c:pt idx="20">
                  <c:v>1398.75</c:v>
                </c:pt>
                <c:pt idx="21">
                  <c:v>1355.3333</c:v>
                </c:pt>
                <c:pt idx="22">
                  <c:v>1351.6667</c:v>
                </c:pt>
                <c:pt idx="23">
                  <c:v>1120.0</c:v>
                </c:pt>
                <c:pt idx="24">
                  <c:v>1561.0</c:v>
                </c:pt>
                <c:pt idx="25">
                  <c:v>1343.6667</c:v>
                </c:pt>
                <c:pt idx="26">
                  <c:v>1231.75</c:v>
                </c:pt>
                <c:pt idx="27">
                  <c:v>1154.5</c:v>
                </c:pt>
                <c:pt idx="28">
                  <c:v>1573.0</c:v>
                </c:pt>
                <c:pt idx="29">
                  <c:v>1300.4</c:v>
                </c:pt>
                <c:pt idx="30">
                  <c:v>1412.5</c:v>
                </c:pt>
                <c:pt idx="31">
                  <c:v>1232.5</c:v>
                </c:pt>
                <c:pt idx="32">
                  <c:v>1284.6667</c:v>
                </c:pt>
                <c:pt idx="33">
                  <c:v>1314.5</c:v>
                </c:pt>
                <c:pt idx="34">
                  <c:v>1244.1</c:v>
                </c:pt>
                <c:pt idx="35">
                  <c:v>1340.2857</c:v>
                </c:pt>
                <c:pt idx="36">
                  <c:v>1239.3</c:v>
                </c:pt>
                <c:pt idx="37">
                  <c:v>1365.6</c:v>
                </c:pt>
                <c:pt idx="38">
                  <c:v>1188.2</c:v>
                </c:pt>
                <c:pt idx="39">
                  <c:v>1283.7143</c:v>
                </c:pt>
                <c:pt idx="40">
                  <c:v>1238.4286</c:v>
                </c:pt>
                <c:pt idx="41">
                  <c:v>1233.6667</c:v>
                </c:pt>
                <c:pt idx="42">
                  <c:v>1301.8889</c:v>
                </c:pt>
                <c:pt idx="43">
                  <c:v>1376.3333</c:v>
                </c:pt>
                <c:pt idx="44">
                  <c:v>1350.2</c:v>
                </c:pt>
                <c:pt idx="45">
                  <c:v>1179.8333</c:v>
                </c:pt>
                <c:pt idx="46">
                  <c:v>1328.6667</c:v>
                </c:pt>
                <c:pt idx="47">
                  <c:v>1386.5</c:v>
                </c:pt>
                <c:pt idx="48">
                  <c:v>1289.7143</c:v>
                </c:pt>
                <c:pt idx="49">
                  <c:v>1256.4545</c:v>
                </c:pt>
                <c:pt idx="50">
                  <c:v>1356.75</c:v>
                </c:pt>
                <c:pt idx="51">
                  <c:v>1232.8571</c:v>
                </c:pt>
                <c:pt idx="52">
                  <c:v>1278.125</c:v>
                </c:pt>
                <c:pt idx="53">
                  <c:v>1385.7143</c:v>
                </c:pt>
                <c:pt idx="54">
                  <c:v>1440.3333</c:v>
                </c:pt>
                <c:pt idx="55">
                  <c:v>1268.875</c:v>
                </c:pt>
                <c:pt idx="56">
                  <c:v>1231.25</c:v>
                </c:pt>
                <c:pt idx="57">
                  <c:v>1184.25</c:v>
                </c:pt>
                <c:pt idx="58">
                  <c:v>1322.5</c:v>
                </c:pt>
                <c:pt idx="59">
                  <c:v>1467.0</c:v>
                </c:pt>
                <c:pt idx="60">
                  <c:v>1332.25</c:v>
                </c:pt>
                <c:pt idx="61">
                  <c:v>1546.0</c:v>
                </c:pt>
              </c:numCache>
            </c:numRef>
          </c:xVal>
          <c:yVal>
            <c:numRef>
              <c:f>Sheet1!$B$2:$B$63</c:f>
              <c:numCache>
                <c:formatCode>General</c:formatCode>
                <c:ptCount val="62"/>
                <c:pt idx="0">
                  <c:v>0.01384083044982699</c:v>
                </c:pt>
                <c:pt idx="1">
                  <c:v>0.01607717041800643</c:v>
                </c:pt>
                <c:pt idx="2">
                  <c:v>0.01935483870967742</c:v>
                </c:pt>
                <c:pt idx="3">
                  <c:v>0.01593625498007968</c:v>
                </c:pt>
                <c:pt idx="4">
                  <c:v>0.016304347826086956</c:v>
                </c:pt>
                <c:pt idx="5">
                  <c:v>0.027932960893854747</c:v>
                </c:pt>
                <c:pt idx="6">
                  <c:v>0.01764705882352941</c:v>
                </c:pt>
                <c:pt idx="7">
                  <c:v>0.018072289156626505</c:v>
                </c:pt>
                <c:pt idx="8">
                  <c:v>0.010869565217391304</c:v>
                </c:pt>
                <c:pt idx="9">
                  <c:v>0.015625</c:v>
                </c:pt>
                <c:pt idx="10">
                  <c:v>0.012121212121212121</c:v>
                </c:pt>
                <c:pt idx="11">
                  <c:v>0.017964071856287425</c:v>
                </c:pt>
                <c:pt idx="12">
                  <c:v>0.018292682926829267</c:v>
                </c:pt>
                <c:pt idx="13">
                  <c:v>0.005681818181818182</c:v>
                </c:pt>
                <c:pt idx="14">
                  <c:v>0.006134969325153374</c:v>
                </c:pt>
                <c:pt idx="15">
                  <c:v>0.007220216606498195</c:v>
                </c:pt>
                <c:pt idx="16">
                  <c:v>0.009569377990430622</c:v>
                </c:pt>
                <c:pt idx="17">
                  <c:v>0.0111731843575419</c:v>
                </c:pt>
                <c:pt idx="18">
                  <c:v>0.013333333333333334</c:v>
                </c:pt>
                <c:pt idx="19">
                  <c:v>0.027932960893854747</c:v>
                </c:pt>
                <c:pt idx="20">
                  <c:v>0.031007751937984496</c:v>
                </c:pt>
                <c:pt idx="21">
                  <c:v>0.02631578947368421</c:v>
                </c:pt>
                <c:pt idx="22">
                  <c:v>0.027777777777777776</c:v>
                </c:pt>
                <c:pt idx="23">
                  <c:v>0.023622047244094488</c:v>
                </c:pt>
                <c:pt idx="24">
                  <c:v>0.009900990099009901</c:v>
                </c:pt>
                <c:pt idx="25">
                  <c:v>0.029411764705882353</c:v>
                </c:pt>
                <c:pt idx="26">
                  <c:v>0.034482758620689655</c:v>
                </c:pt>
                <c:pt idx="27">
                  <c:v>0.03225806451612903</c:v>
                </c:pt>
                <c:pt idx="28">
                  <c:v>0.014814814814814815</c:v>
                </c:pt>
                <c:pt idx="29">
                  <c:v>0.045871559633027525</c:v>
                </c:pt>
                <c:pt idx="30">
                  <c:v>0.023529411764705882</c:v>
                </c:pt>
                <c:pt idx="31">
                  <c:v>0.042105263157894736</c:v>
                </c:pt>
                <c:pt idx="32">
                  <c:v>0.05309734513274336</c:v>
                </c:pt>
                <c:pt idx="33">
                  <c:v>0.038461538461538464</c:v>
                </c:pt>
                <c:pt idx="34">
                  <c:v>0.07751937984496124</c:v>
                </c:pt>
                <c:pt idx="35">
                  <c:v>0.06542056074766354</c:v>
                </c:pt>
                <c:pt idx="36">
                  <c:v>0.08928571428571429</c:v>
                </c:pt>
                <c:pt idx="37">
                  <c:v>0.047619047619047616</c:v>
                </c:pt>
                <c:pt idx="38">
                  <c:v>0.032679738562091505</c:v>
                </c:pt>
                <c:pt idx="39">
                  <c:v>0.06542056074766354</c:v>
                </c:pt>
                <c:pt idx="40">
                  <c:v>0.059322033898305086</c:v>
                </c:pt>
                <c:pt idx="41">
                  <c:v>0.048</c:v>
                </c:pt>
                <c:pt idx="42">
                  <c:v>0.072</c:v>
                </c:pt>
                <c:pt idx="43">
                  <c:v>0.05084745762711865</c:v>
                </c:pt>
                <c:pt idx="44">
                  <c:v>0.04807692307692308</c:v>
                </c:pt>
                <c:pt idx="45">
                  <c:v>0.06666666666666667</c:v>
                </c:pt>
                <c:pt idx="46">
                  <c:v>0.03409090909090909</c:v>
                </c:pt>
                <c:pt idx="47">
                  <c:v>0.03669724770642202</c:v>
                </c:pt>
                <c:pt idx="48">
                  <c:v>0.047619047619047616</c:v>
                </c:pt>
                <c:pt idx="49">
                  <c:v>0.1111111111111111</c:v>
                </c:pt>
                <c:pt idx="50">
                  <c:v>0.06896551724137931</c:v>
                </c:pt>
                <c:pt idx="51">
                  <c:v>0.07446808510638298</c:v>
                </c:pt>
                <c:pt idx="52">
                  <c:v>0.08791208791208792</c:v>
                </c:pt>
                <c:pt idx="53">
                  <c:v>0.09333333333333334</c:v>
                </c:pt>
                <c:pt idx="54">
                  <c:v>0.04411764705882353</c:v>
                </c:pt>
                <c:pt idx="55">
                  <c:v>0.1038961038961039</c:v>
                </c:pt>
                <c:pt idx="56">
                  <c:v>0.05970149253731343</c:v>
                </c:pt>
                <c:pt idx="57">
                  <c:v>0.06557377049180328</c:v>
                </c:pt>
                <c:pt idx="58">
                  <c:v>0.023529411764705882</c:v>
                </c:pt>
                <c:pt idx="59">
                  <c:v>0.025974025974025976</c:v>
                </c:pt>
                <c:pt idx="60">
                  <c:v>0.05063291139240506</c:v>
                </c:pt>
                <c:pt idx="61">
                  <c:v>0.025</c:v>
                </c:pt>
              </c:numCache>
            </c:numRef>
          </c:yVal>
          <c:smooth val="0"/>
          <c:extLst>
            <c:ext xmlns:c16="http://schemas.microsoft.com/office/drawing/2014/chart" uri="{C3380CC4-5D6E-409C-BE32-E72D297353CC}">
              <c16:uniqueId val="{00000000-F32D-48B7-BC20-E66FC6253BAD}"/>
            </c:ext>
          </c:extLst>
        </c:ser>
        <c:ser>
          <c:idx val="1"/>
          <c:order val="1"/>
          <c:tx>
            <c:strRef>
              <c:f>Sheet1!$B$6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6:$A$65</c:f>
              <c:numCache>
                <c:formatCode>General</c:formatCode>
                <c:ptCount val="0"/>
              </c:numCache>
            </c:numRef>
          </c:xVal>
          <c:yVal>
            <c:numRef>
              <c:f>Sheet1!$B$66:$B$65</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7</c:f>
              <c:strCache>
                <c:ptCount val="1"/>
                <c:pt idx="0">
                  <c:v>Custom Linep3yQ</c:v>
                </c:pt>
              </c:strCache>
            </c:strRef>
          </c:tx>
          <c:spPr>
            <a:ln w="19050" cap="rnd">
              <a:solidFill>
                <a:srgbClr val="C00000"/>
              </a:solidFill>
              <a:prstDash val="sysDot"/>
              <a:round/>
            </a:ln>
            <a:effectLst/>
          </c:spPr>
          <c:marker>
            <c:symbol val="none"/>
          </c:marker>
          <c:xVal>
            <c:numRef>
              <c:f>Sheet1!$A$68:$A$69</c:f>
              <c:numCache>
                <c:formatCode>General</c:formatCode>
                <c:ptCount val="2"/>
                <c:pt idx="0">
                  <c:v>0</c:v>
                </c:pt>
                <c:pt idx="1">
                  <c:v>0.06483837551942617</c:v>
                </c:pt>
              </c:numCache>
            </c:numRef>
          </c:xVal>
          <c:yVal>
            <c:numRef>
              <c:f>Sheet1!$B$68:$B$69</c:f>
              <c:numCache>
                <c:formatCode>General</c:formatCode>
                <c:ptCount val="2"/>
                <c:pt idx="0">
                  <c:v>0.06483837551942617</c:v>
                </c:pt>
                <c:pt idx="1">
                  <c:v>0.06483837551942617</c:v>
                </c:pt>
              </c:numCache>
            </c:numRef>
          </c:yVal>
          <c:smooth val="0"/>
          <c:extLst>
            <c:ext xmlns:c16="http://schemas.microsoft.com/office/drawing/2014/chart" uri="{C3380CC4-5D6E-409C-BE32-E72D297353CC}">
              <c16:uniqueId val="{00000003-F32D-48B7-BC20-E66FC6253BAD}"/>
            </c:ext>
          </c:extLst>
        </c:ser>
        <c:ser>
          <c:idx val="3"/>
          <c:order val="3"/>
          <c:tx>
            <c:strRef>
              <c:f>Sheet1!$B$7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2:$A$73</c:f>
              <c:numCache>
                <c:formatCode>General</c:formatCode>
                <c:ptCount val="2"/>
                <c:pt idx="0">
                  <c:v>0.06483837551942617</c:v>
                </c:pt>
                <c:pt idx="1">
                  <c:v>0.06483837551942617</c:v>
                </c:pt>
              </c:numCache>
            </c:numRef>
          </c:xVal>
          <c:yVal>
            <c:numRef>
              <c:f>Sheet1!$B$72:$B$73</c:f>
              <c:numCache>
                <c:formatCode>General</c:formatCode>
                <c:ptCount val="2"/>
                <c:pt idx="0">
                  <c:v>0.0648383755194261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75</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76:$A$78</c:f>
              <c:numCache>
                <c:formatCode>General</c:formatCode>
                <c:ptCount val="3"/>
                <c:pt idx="0">
                  <c:v>0</c:v>
                </c:pt>
                <c:pt idx="1">
                  <c:v>0.06483837551942617</c:v>
                </c:pt>
                <c:pt idx="2">
                  <c:v>0</c:v>
                </c:pt>
              </c:numCache>
            </c:numRef>
          </c:xVal>
          <c:yVal>
            <c:numRef>
              <c:f>Sheet1!$B$76:$B$78</c:f>
              <c:numCache>
                <c:formatCode>General</c:formatCode>
                <c:ptCount val="3"/>
                <c:pt idx="0">
                  <c:v>0</c:v>
                </c:pt>
                <c:pt idx="1">
                  <c:v>0.06483837551942617</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8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3333333333333333"/>
          <c:min val="0.00454545454545454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926163812486334</c:v>
                </c:pt>
                <c:pt idx="1">
                  <c:v>0.3805827396665488</c:v>
                </c:pt>
                <c:pt idx="2">
                  <c:v>0.46657912712327815</c:v>
                </c:pt>
                <c:pt idx="3">
                  <c:v>0.4706693516975335</c:v>
                </c:pt>
                <c:pt idx="4">
                  <c:v>0.43683174245043654</c:v>
                </c:pt>
                <c:pt idx="5">
                  <c:v>0.44786061685722994</c:v>
                </c:pt>
                <c:pt idx="6">
                  <c:v>0.4054827655323735</c:v>
                </c:pt>
                <c:pt idx="7">
                  <c:v>0.3823655836198425</c:v>
                </c:pt>
                <c:pt idx="8">
                  <c:v>0.38052412168752286</c:v>
                </c:pt>
                <c:pt idx="9">
                  <c:v>0.39265313507600386</c:v>
                </c:pt>
                <c:pt idx="10">
                  <c:v>0.4208723497320484</c:v>
                </c:pt>
                <c:pt idx="11">
                  <c:v>0.424150260391282</c:v>
                </c:pt>
                <c:pt idx="12">
                  <c:v>0.45365661775748306</c:v>
                </c:pt>
                <c:pt idx="13">
                  <c:v>0.4545129461220019</c:v>
                </c:pt>
                <c:pt idx="14">
                  <c:v>0.49167782182337616</c:v>
                </c:pt>
                <c:pt idx="15">
                  <c:v>0.4824368884810286</c:v>
                </c:pt>
                <c:pt idx="16">
                  <c:v>0.46496798244654297</c:v>
                </c:pt>
                <c:pt idx="17">
                  <c:v>0.45590785889153834</c:v>
                </c:pt>
                <c:pt idx="18">
                  <c:v>0.44851258356377915</c:v>
                </c:pt>
                <c:pt idx="19">
                  <c:v>0.441913833838494</c:v>
                </c:pt>
                <c:pt idx="20">
                  <c:v>0.5020414990839248</c:v>
                </c:pt>
                <c:pt idx="21">
                  <c:v>0.4387301475662774</c:v>
                </c:pt>
                <c:pt idx="22">
                  <c:v>0.4031859940999079</c:v>
                </c:pt>
                <c:pt idx="23">
                  <c:v>0.3954678935995958</c:v>
                </c:pt>
                <c:pt idx="24">
                  <c:v>0.3930504526623431</c:v>
                </c:pt>
                <c:pt idx="25">
                  <c:v>0.3706602139197429</c:v>
                </c:pt>
                <c:pt idx="26">
                  <c:v>0.3498891409413811</c:v>
                </c:pt>
                <c:pt idx="27">
                  <c:v>0.36839571212602024</c:v>
                </c:pt>
                <c:pt idx="28">
                  <c:v>0.35388110102896125</c:v>
                </c:pt>
                <c:pt idx="29">
                  <c:v>0.3732313974410696</c:v>
                </c:pt>
                <c:pt idx="30">
                  <c:v>0.35578137754128203</c:v>
                </c:pt>
                <c:pt idx="31">
                  <c:v>0.3513682231836321</c:v>
                </c:pt>
                <c:pt idx="32">
                  <c:v>0.34729770363246076</c:v>
                </c:pt>
                <c:pt idx="33">
                  <c:v>0.34664195958075167</c:v>
                </c:pt>
                <c:pt idx="34">
                  <c:v>0.36669431854539297</c:v>
                </c:pt>
                <c:pt idx="35">
                  <c:v>0.4243688641594819</c:v>
                </c:pt>
                <c:pt idx="36">
                  <c:v>0.41552695970045733</c:v>
                </c:pt>
                <c:pt idx="37">
                  <c:v>0.3931924518707261</c:v>
                </c:pt>
                <c:pt idx="38">
                  <c:v>0.4048703068465426</c:v>
                </c:pt>
                <c:pt idx="39">
                  <c:v>0.41178893675392636</c:v>
                </c:pt>
                <c:pt idx="40">
                  <c:v>0.418907702761047</c:v>
                </c:pt>
                <c:pt idx="41">
                  <c:v>0.4093076535549635</c:v>
                </c:pt>
                <c:pt idx="42">
                  <c:v>0.42854638403361295</c:v>
                </c:pt>
                <c:pt idx="43">
                  <c:v>0.42677193382726103</c:v>
                </c:pt>
                <c:pt idx="44">
                  <c:v>0.4359085768106819</c:v>
                </c:pt>
                <c:pt idx="45">
                  <c:v>0.4318397626348548</c:v>
                </c:pt>
                <c:pt idx="46">
                  <c:v>0.44755865437613923</c:v>
                </c:pt>
                <c:pt idx="47">
                  <c:v>0.4306473520674212</c:v>
                </c:pt>
                <c:pt idx="48">
                  <c:v>0.45609920281409405</c:v>
                </c:pt>
                <c:pt idx="49">
                  <c:v>0.49743656832831235</c:v>
                </c:pt>
                <c:pt idx="50">
                  <c:v>0.4170390503594979</c:v>
                </c:pt>
                <c:pt idx="51">
                  <c:v>0.41914952874207256</c:v>
                </c:pt>
                <c:pt idx="52">
                  <c:v>0.43890055937380396</c:v>
                </c:pt>
                <c:pt idx="53">
                  <c:v>0.4296978143594391</c:v>
                </c:pt>
                <c:pt idx="54">
                  <c:v>0.4010557167317563</c:v>
                </c:pt>
                <c:pt idx="55">
                  <c:v>0.4008781013930477</c:v>
                </c:pt>
                <c:pt idx="56">
                  <c:v>0.38574847770599596</c:v>
                </c:pt>
                <c:pt idx="57">
                  <c:v>0.4114817223462702</c:v>
                </c:pt>
                <c:pt idx="58">
                  <c:v>0.37724410532065134</c:v>
                </c:pt>
                <c:pt idx="59">
                  <c:v>0.40172738864360974</c:v>
                </c:pt>
                <c:pt idx="60">
                  <c:v>0.39798952891618355</c:v>
                </c:pt>
                <c:pt idx="61">
                  <c:v>0.38580029921046927</c:v>
                </c:pt>
                <c:pt idx="62">
                  <c:v>0.3520361135651254</c:v>
                </c:pt>
                <c:pt idx="63">
                  <c:v>0.35618037676894265</c:v>
                </c:pt>
                <c:pt idx="64">
                  <c:v>0.3767591932529328</c:v>
                </c:pt>
                <c:pt idx="65">
                  <c:v>0.4091629041527596</c:v>
                </c:pt>
                <c:pt idx="66">
                  <c:v>0.42989434748442396</c:v>
                </c:pt>
                <c:pt idx="67">
                  <c:v>0.4530791701138809</c:v>
                </c:pt>
                <c:pt idx="68">
                  <c:v>0.46150320380630094</c:v>
                </c:pt>
                <c:pt idx="69">
                  <c:v>0.4548899844937201</c:v>
                </c:pt>
                <c:pt idx="70">
                  <c:v>0.45050608497058997</c:v>
                </c:pt>
                <c:pt idx="71">
                  <c:v>0.43555543494125826</c:v>
                </c:pt>
                <c:pt idx="72">
                  <c:v>0.4326552145766766</c:v>
                </c:pt>
                <c:pt idx="73">
                  <c:v>0.44946251037916085</c:v>
                </c:pt>
                <c:pt idx="74">
                  <c:v>0.4287644924651921</c:v>
                </c:pt>
                <c:pt idx="75">
                  <c:v>0.40920346421309434</c:v>
                </c:pt>
                <c:pt idx="76">
                  <c:v>0.39726414272630256</c:v>
                </c:pt>
                <c:pt idx="77">
                  <c:v>0.40190914175617254</c:v>
                </c:pt>
                <c:pt idx="78">
                  <c:v>0.41174524759597775</c:v>
                </c:pt>
                <c:pt idx="79">
                  <c:v>0.4337870924638311</c:v>
                </c:pt>
                <c:pt idx="80">
                  <c:v>0.4258894783362916</c:v>
                </c:pt>
                <c:pt idx="81">
                  <c:v>0.45754755095080246</c:v>
                </c:pt>
                <c:pt idx="82">
                  <c:v>0.4699489056040893</c:v>
                </c:pt>
                <c:pt idx="83">
                  <c:v>0.4195325819200548</c:v>
                </c:pt>
                <c:pt idx="84">
                  <c:v>0.4278439697694156</c:v>
                </c:pt>
                <c:pt idx="85">
                  <c:v>0.4256649433340064</c:v>
                </c:pt>
                <c:pt idx="86">
                  <c:v>0.4323426173231058</c:v>
                </c:pt>
                <c:pt idx="87">
                  <c:v>0.47205824422763815</c:v>
                </c:pt>
                <c:pt idx="88">
                  <c:v>0.42974074306983706</c:v>
                </c:pt>
                <c:pt idx="89">
                  <c:v>0.40677027961139717</c:v>
                </c:pt>
                <c:pt idx="90">
                  <c:v>0.4160745042699138</c:v>
                </c:pt>
                <c:pt idx="91">
                  <c:v>0.44517912356207895</c:v>
                </c:pt>
                <c:pt idx="92">
                  <c:v>0.4376109648413231</c:v>
                </c:pt>
                <c:pt idx="93">
                  <c:v>0.46152346407100153</c:v>
                </c:pt>
                <c:pt idx="94">
                  <c:v>0.46268829535747075</c:v>
                </c:pt>
                <c:pt idx="95">
                  <c:v>0.49298238728283783</c:v>
                </c:pt>
                <c:pt idx="96">
                  <c:v>0.48896258896031136</c:v>
                </c:pt>
                <c:pt idx="97">
                  <c:v>0.5202072651925664</c:v>
                </c:pt>
                <c:pt idx="98">
                  <c:v>0.5424037563112808</c:v>
                </c:pt>
                <c:pt idx="99">
                  <c:v>0.5269212986153443</c:v>
                </c:pt>
                <c:pt idx="100">
                  <c:v>0.5541390704495434</c:v>
                </c:pt>
                <c:pt idx="101">
                  <c:v>0.5207134565006266</c:v>
                </c:pt>
                <c:pt idx="102">
                  <c:v>0.468280827553316</c:v>
                </c:pt>
                <c:pt idx="103">
                  <c:v>0.48260324313888103</c:v>
                </c:pt>
                <c:pt idx="104">
                  <c:v>0.47346810392199123</c:v>
                </c:pt>
              </c:numCache>
            </c:numRef>
          </c:xVal>
          <c:yVal>
            <c:numRef>
              <c:f>Sheet1!$B$2:$B$106</c:f>
              <c:numCache>
                <c:formatCode>General</c:formatCode>
                <c:ptCount val="105"/>
                <c:pt idx="0">
                  <c:v>0.15203376822716808</c:v>
                </c:pt>
                <c:pt idx="1">
                  <c:v>0.13131955484896662</c:v>
                </c:pt>
                <c:pt idx="2">
                  <c:v>0.14105589146143638</c:v>
                </c:pt>
                <c:pt idx="3">
                  <c:v>0.1350858532137973</c:v>
                </c:pt>
                <c:pt idx="4">
                  <c:v>0.14952040624412263</c:v>
                </c:pt>
                <c:pt idx="5">
                  <c:v>0.18022153477696837</c:v>
                </c:pt>
                <c:pt idx="6">
                  <c:v>0.20782469481689014</c:v>
                </c:pt>
                <c:pt idx="7">
                  <c:v>0.22278359196439312</c:v>
                </c:pt>
                <c:pt idx="8">
                  <c:v>0.22940510627594013</c:v>
                </c:pt>
                <c:pt idx="9">
                  <c:v>0.20650358581393063</c:v>
                </c:pt>
                <c:pt idx="10">
                  <c:v>0.21696969696969698</c:v>
                </c:pt>
                <c:pt idx="11">
                  <c:v>0.20811010530205062</c:v>
                </c:pt>
                <c:pt idx="12">
                  <c:v>0.1844922039612305</c:v>
                </c:pt>
                <c:pt idx="13">
                  <c:v>0.1690825375170532</c:v>
                </c:pt>
                <c:pt idx="14">
                  <c:v>0.12979326442147382</c:v>
                </c:pt>
                <c:pt idx="15">
                  <c:v>0.12148242540087077</c:v>
                </c:pt>
                <c:pt idx="16">
                  <c:v>0.11672155140870838</c:v>
                </c:pt>
                <c:pt idx="17">
                  <c:v>0.09924528301886792</c:v>
                </c:pt>
                <c:pt idx="18">
                  <c:v>0.09235625085769178</c:v>
                </c:pt>
                <c:pt idx="19">
                  <c:v>0.09352150994728788</c:v>
                </c:pt>
                <c:pt idx="20">
                  <c:v>0.08731422505307855</c:v>
                </c:pt>
                <c:pt idx="21">
                  <c:v>0.09053156146179402</c:v>
                </c:pt>
                <c:pt idx="22">
                  <c:v>0.09601650531661642</c:v>
                </c:pt>
                <c:pt idx="23">
                  <c:v>0.11016949152542373</c:v>
                </c:pt>
                <c:pt idx="24">
                  <c:v>0.11212558065032836</c:v>
                </c:pt>
                <c:pt idx="25">
                  <c:v>0.11815875317143892</c:v>
                </c:pt>
                <c:pt idx="26">
                  <c:v>0.13977371627502175</c:v>
                </c:pt>
                <c:pt idx="27">
                  <c:v>0.14005556463474425</c:v>
                </c:pt>
                <c:pt idx="28">
                  <c:v>0.16685330347144456</c:v>
                </c:pt>
                <c:pt idx="29">
                  <c:v>0.16854092526690392</c:v>
                </c:pt>
                <c:pt idx="30">
                  <c:v>0.1738241308793456</c:v>
                </c:pt>
                <c:pt idx="31">
                  <c:v>0.16885301042717793</c:v>
                </c:pt>
                <c:pt idx="32">
                  <c:v>0.1941530524505589</c:v>
                </c:pt>
                <c:pt idx="33">
                  <c:v>0.17708474576271185</c:v>
                </c:pt>
                <c:pt idx="34">
                  <c:v>0.18097960244251007</c:v>
                </c:pt>
                <c:pt idx="35">
                  <c:v>0.19191362785061145</c:v>
                </c:pt>
                <c:pt idx="36">
                  <c:v>0.15334485968878842</c:v>
                </c:pt>
                <c:pt idx="37">
                  <c:v>0.1492694682934177</c:v>
                </c:pt>
                <c:pt idx="38">
                  <c:v>0.14338561704646344</c:v>
                </c:pt>
                <c:pt idx="39">
                  <c:v>0.12966063004108963</c:v>
                </c:pt>
                <c:pt idx="40">
                  <c:v>0.13684895833333333</c:v>
                </c:pt>
                <c:pt idx="41">
                  <c:v>0.1338894967177243</c:v>
                </c:pt>
                <c:pt idx="42">
                  <c:v>0.13219741480611047</c:v>
                </c:pt>
                <c:pt idx="43">
                  <c:v>0.12925982200998481</c:v>
                </c:pt>
                <c:pt idx="44">
                  <c:v>0.1348750466243939</c:v>
                </c:pt>
                <c:pt idx="45">
                  <c:v>0.15498938428874734</c:v>
                </c:pt>
                <c:pt idx="46">
                  <c:v>0.15900846432889965</c:v>
                </c:pt>
                <c:pt idx="47">
                  <c:v>0.14745484400656814</c:v>
                </c:pt>
                <c:pt idx="48">
                  <c:v>0.1530822089582184</c:v>
                </c:pt>
                <c:pt idx="49">
                  <c:v>0.1467014462127716</c:v>
                </c:pt>
                <c:pt idx="50">
                  <c:v>0.15167560321715817</c:v>
                </c:pt>
                <c:pt idx="51">
                  <c:v>0.13935681470137826</c:v>
                </c:pt>
                <c:pt idx="52">
                  <c:v>0.1430183918730496</c:v>
                </c:pt>
                <c:pt idx="53">
                  <c:v>0.12857029828309202</c:v>
                </c:pt>
                <c:pt idx="54">
                  <c:v>0.13254773782900395</c:v>
                </c:pt>
                <c:pt idx="55">
                  <c:v>0.1281826931490069</c:v>
                </c:pt>
                <c:pt idx="56">
                  <c:v>0.13618157543391188</c:v>
                </c:pt>
                <c:pt idx="57">
                  <c:v>0.13316070307595732</c:v>
                </c:pt>
                <c:pt idx="58">
                  <c:v>0.15326787358085303</c:v>
                </c:pt>
                <c:pt idx="59">
                  <c:v>0.14013928138877674</c:v>
                </c:pt>
                <c:pt idx="60">
                  <c:v>0.1467167860918595</c:v>
                </c:pt>
                <c:pt idx="61">
                  <c:v>0.15204346415828737</c:v>
                </c:pt>
                <c:pt idx="62">
                  <c:v>0.16829385403329064</c:v>
                </c:pt>
                <c:pt idx="63">
                  <c:v>0.1751731406202951</c:v>
                </c:pt>
                <c:pt idx="64">
                  <c:v>0.16787756994898748</c:v>
                </c:pt>
                <c:pt idx="65">
                  <c:v>0.16462486988549924</c:v>
                </c:pt>
                <c:pt idx="66">
                  <c:v>0.1601910312449409</c:v>
                </c:pt>
                <c:pt idx="67">
                  <c:v>0.14912944738834216</c:v>
                </c:pt>
                <c:pt idx="68">
                  <c:v>0.1371638614819114</c:v>
                </c:pt>
                <c:pt idx="69">
                  <c:v>0.12905236907730674</c:v>
                </c:pt>
                <c:pt idx="70">
                  <c:v>0.1363848124854414</c:v>
                </c:pt>
                <c:pt idx="71">
                  <c:v>0.12382921785670843</c:v>
                </c:pt>
                <c:pt idx="72">
                  <c:v>0.12497035807446051</c:v>
                </c:pt>
                <c:pt idx="73">
                  <c:v>0.1250307049864898</c:v>
                </c:pt>
                <c:pt idx="74">
                  <c:v>0.12244665069040284</c:v>
                </c:pt>
                <c:pt idx="75">
                  <c:v>0.13474184972715825</c:v>
                </c:pt>
                <c:pt idx="76">
                  <c:v>0.15092005566723365</c:v>
                </c:pt>
                <c:pt idx="77">
                  <c:v>0.13680534467051322</c:v>
                </c:pt>
                <c:pt idx="78">
                  <c:v>0.15169561621174524</c:v>
                </c:pt>
                <c:pt idx="79">
                  <c:v>0.15736989716422561</c:v>
                </c:pt>
                <c:pt idx="80">
                  <c:v>0.1355775169857937</c:v>
                </c:pt>
                <c:pt idx="81">
                  <c:v>0.13393870601589103</c:v>
                </c:pt>
                <c:pt idx="82">
                  <c:v>0.15038965345713812</c:v>
                </c:pt>
                <c:pt idx="83">
                  <c:v>0.13358278765201123</c:v>
                </c:pt>
                <c:pt idx="84">
                  <c:v>0.13683168316831684</c:v>
                </c:pt>
                <c:pt idx="85">
                  <c:v>0.146780809702158</c:v>
                </c:pt>
                <c:pt idx="86">
                  <c:v>0.15664371996363163</c:v>
                </c:pt>
                <c:pt idx="87">
                  <c:v>0.17659462308908802</c:v>
                </c:pt>
                <c:pt idx="88">
                  <c:v>0.14726989079563182</c:v>
                </c:pt>
                <c:pt idx="89">
                  <c:v>0.1654392875492379</c:v>
                </c:pt>
                <c:pt idx="90">
                  <c:v>0.1436730323041228</c:v>
                </c:pt>
                <c:pt idx="91">
                  <c:v>0.1365415986949429</c:v>
                </c:pt>
                <c:pt idx="92">
                  <c:v>0.14522156967431926</c:v>
                </c:pt>
                <c:pt idx="93">
                  <c:v>0.145748987854251</c:v>
                </c:pt>
                <c:pt idx="94">
                  <c:v>0.14999226843977115</c:v>
                </c:pt>
                <c:pt idx="95">
                  <c:v>0.14889313406000673</c:v>
                </c:pt>
                <c:pt idx="96">
                  <c:v>0.14493518239372927</c:v>
                </c:pt>
                <c:pt idx="97">
                  <c:v>0.14856711915535445</c:v>
                </c:pt>
                <c:pt idx="98">
                  <c:v>0.15471226021684736</c:v>
                </c:pt>
                <c:pt idx="99">
                  <c:v>0.15064853883419285</c:v>
                </c:pt>
                <c:pt idx="100">
                  <c:v>0.1553972561435248</c:v>
                </c:pt>
                <c:pt idx="101">
                  <c:v>0.14507422402159245</c:v>
                </c:pt>
                <c:pt idx="102">
                  <c:v>0.1501465810950004</c:v>
                </c:pt>
                <c:pt idx="103">
                  <c:v>0.14516482713251955</c:v>
                </c:pt>
                <c:pt idx="104">
                  <c:v>0.144393769899320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350951613515339</c:v>
                </c:pt>
                <c:pt idx="1">
                  <c:v>0.44266585582405027</c:v>
                </c:pt>
                <c:pt idx="2">
                  <c:v>0.45347197691515706</c:v>
                </c:pt>
                <c:pt idx="3">
                  <c:v>0.4063499567229982</c:v>
                </c:pt>
                <c:pt idx="4">
                  <c:v>0.40413067531685504</c:v>
                </c:pt>
                <c:pt idx="5">
                  <c:v>0.43989477890296425</c:v>
                </c:pt>
                <c:pt idx="6">
                  <c:v>0.4667731231311119</c:v>
                </c:pt>
                <c:pt idx="7">
                  <c:v>0.4419230867225019</c:v>
                </c:pt>
                <c:pt idx="8">
                  <c:v>0.44070639516290794</c:v>
                </c:pt>
                <c:pt idx="9">
                  <c:v>0.4368962332457913</c:v>
                </c:pt>
                <c:pt idx="10">
                  <c:v>0.43222250102881205</c:v>
                </c:pt>
                <c:pt idx="11">
                  <c:v>0.4487403107606726</c:v>
                </c:pt>
                <c:pt idx="12">
                  <c:v>0.4542194687053671</c:v>
                </c:pt>
                <c:pt idx="13">
                  <c:v>0.422970570468654</c:v>
                </c:pt>
                <c:pt idx="14">
                  <c:v>0.4288833177663229</c:v>
                </c:pt>
                <c:pt idx="15">
                  <c:v>0.42241017074279</c:v>
                </c:pt>
                <c:pt idx="16">
                  <c:v>0.4244712357945745</c:v>
                </c:pt>
                <c:pt idx="17">
                  <c:v>0.3894844253075707</c:v>
                </c:pt>
                <c:pt idx="18">
                  <c:v>0.4184953382390834</c:v>
                </c:pt>
                <c:pt idx="19">
                  <c:v>0.43799818406785407</c:v>
                </c:pt>
                <c:pt idx="20">
                  <c:v>0.4293302286364044</c:v>
                </c:pt>
                <c:pt idx="21">
                  <c:v>0.4157644569452336</c:v>
                </c:pt>
                <c:pt idx="22">
                  <c:v>0.4037548434826867</c:v>
                </c:pt>
                <c:pt idx="23">
                  <c:v>0.4184593555039532</c:v>
                </c:pt>
                <c:pt idx="24">
                  <c:v>0.422722429419006</c:v>
                </c:pt>
                <c:pt idx="25">
                  <c:v>0.4378447885791071</c:v>
                </c:pt>
                <c:pt idx="26">
                  <c:v>0.4160809658750023</c:v>
                </c:pt>
                <c:pt idx="27">
                  <c:v>0.41584889629628513</c:v>
                </c:pt>
                <c:pt idx="28">
                  <c:v>0.44022163384601426</c:v>
                </c:pt>
                <c:pt idx="29">
                  <c:v>0.4064365260930122</c:v>
                </c:pt>
                <c:pt idx="30">
                  <c:v>0.4085747027905254</c:v>
                </c:pt>
                <c:pt idx="31">
                  <c:v>0.43248917416680166</c:v>
                </c:pt>
                <c:pt idx="32">
                  <c:v>0.425722303826286</c:v>
                </c:pt>
                <c:pt idx="33">
                  <c:v>0.44303852436450397</c:v>
                </c:pt>
                <c:pt idx="34">
                  <c:v>0.4569248563666144</c:v>
                </c:pt>
                <c:pt idx="35">
                  <c:v>0.4542107991391667</c:v>
                </c:pt>
                <c:pt idx="36">
                  <c:v>0.40985532686900406</c:v>
                </c:pt>
                <c:pt idx="37">
                  <c:v>0.43324347431392535</c:v>
                </c:pt>
                <c:pt idx="38">
                  <c:v>0.4021460902441676</c:v>
                </c:pt>
                <c:pt idx="39">
                  <c:v>0.4339034817255243</c:v>
                </c:pt>
                <c:pt idx="40">
                  <c:v>0.41498011689212044</c:v>
                </c:pt>
                <c:pt idx="41">
                  <c:v>0.42779982235428543</c:v>
                </c:pt>
                <c:pt idx="42">
                  <c:v>0.41075058432650585</c:v>
                </c:pt>
                <c:pt idx="43">
                  <c:v>0.47508085883978785</c:v>
                </c:pt>
                <c:pt idx="44">
                  <c:v>0.5199120350572354</c:v>
                </c:pt>
                <c:pt idx="45">
                  <c:v>0.545346947144046</c:v>
                </c:pt>
                <c:pt idx="46">
                  <c:v>0.5106891762271439</c:v>
                </c:pt>
                <c:pt idx="47">
                  <c:v>0.5027661544836332</c:v>
                </c:pt>
                <c:pt idx="48">
                  <c:v>0.5495485147288318</c:v>
                </c:pt>
                <c:pt idx="49">
                  <c:v>0.5596102061223199</c:v>
                </c:pt>
                <c:pt idx="50">
                  <c:v>0.5776115756445158</c:v>
                </c:pt>
                <c:pt idx="51">
                  <c:v>0.5370363746441943</c:v>
                </c:pt>
              </c:numCache>
            </c:numRef>
          </c:xVal>
          <c:yVal>
            <c:numRef>
              <c:f>Sheet1!$B$109:$B$160</c:f>
              <c:numCache>
                <c:formatCode>General</c:formatCode>
                <c:ptCount val="52"/>
                <c:pt idx="0">
                  <c:v>0.1605461393596987</c:v>
                </c:pt>
                <c:pt idx="1">
                  <c:v>0.14413895291405993</c:v>
                </c:pt>
                <c:pt idx="2">
                  <c:v>0.1673538506847298</c:v>
                </c:pt>
                <c:pt idx="3">
                  <c:v>0.19772113066978306</c:v>
                </c:pt>
                <c:pt idx="4">
                  <c:v>0.18746218995765276</c:v>
                </c:pt>
                <c:pt idx="5">
                  <c:v>0.18380814421374536</c:v>
                </c:pt>
                <c:pt idx="6">
                  <c:v>0.19407496977025393</c:v>
                </c:pt>
                <c:pt idx="7">
                  <c:v>0.2085666874092512</c:v>
                </c:pt>
                <c:pt idx="8">
                  <c:v>0.18858212447356107</c:v>
                </c:pt>
                <c:pt idx="9">
                  <c:v>0.1970842332613391</c:v>
                </c:pt>
                <c:pt idx="10">
                  <c:v>0.2098752489778803</c:v>
                </c:pt>
                <c:pt idx="11">
                  <c:v>0.19254133025759324</c:v>
                </c:pt>
                <c:pt idx="12">
                  <c:v>0.1878903068150964</c:v>
                </c:pt>
                <c:pt idx="13">
                  <c:v>0.18893412287194672</c:v>
                </c:pt>
                <c:pt idx="14">
                  <c:v>0.18463971533063162</c:v>
                </c:pt>
                <c:pt idx="15">
                  <c:v>0.17705500941225685</c:v>
                </c:pt>
                <c:pt idx="16">
                  <c:v>0.1609324218312227</c:v>
                </c:pt>
                <c:pt idx="17">
                  <c:v>0.18393338231692383</c:v>
                </c:pt>
                <c:pt idx="18">
                  <c:v>0.16355530788520478</c:v>
                </c:pt>
                <c:pt idx="19">
                  <c:v>0.1659034410571765</c:v>
                </c:pt>
                <c:pt idx="20">
                  <c:v>0.1475199543899658</c:v>
                </c:pt>
                <c:pt idx="21">
                  <c:v>0.15116883116883117</c:v>
                </c:pt>
                <c:pt idx="22">
                  <c:v>0.15857718591203784</c:v>
                </c:pt>
                <c:pt idx="23">
                  <c:v>0.1551473263004729</c:v>
                </c:pt>
                <c:pt idx="24">
                  <c:v>0.17107257113992255</c:v>
                </c:pt>
                <c:pt idx="25">
                  <c:v>0.16629915472252849</c:v>
                </c:pt>
                <c:pt idx="26">
                  <c:v>0.16182069920387676</c:v>
                </c:pt>
                <c:pt idx="27">
                  <c:v>0.1630819092516205</c:v>
                </c:pt>
                <c:pt idx="28">
                  <c:v>0.15857142857142856</c:v>
                </c:pt>
                <c:pt idx="29">
                  <c:v>0.15828894806924101</c:v>
                </c:pt>
                <c:pt idx="30">
                  <c:v>0.15847833503923575</c:v>
                </c:pt>
                <c:pt idx="31">
                  <c:v>0.15720362493064546</c:v>
                </c:pt>
                <c:pt idx="32">
                  <c:v>0.1521524811041735</c:v>
                </c:pt>
                <c:pt idx="33">
                  <c:v>0.17336581404790904</c:v>
                </c:pt>
                <c:pt idx="34">
                  <c:v>0.18772272675020119</c:v>
                </c:pt>
                <c:pt idx="35">
                  <c:v>0.1809410520750727</c:v>
                </c:pt>
                <c:pt idx="36">
                  <c:v>0.17780211756115372</c:v>
                </c:pt>
                <c:pt idx="37">
                  <c:v>0.1536039768019884</c:v>
                </c:pt>
                <c:pt idx="38">
                  <c:v>0.1590291613838073</c:v>
                </c:pt>
                <c:pt idx="39">
                  <c:v>0.17227666524641386</c:v>
                </c:pt>
                <c:pt idx="40">
                  <c:v>0.16235100698725852</c:v>
                </c:pt>
                <c:pt idx="41">
                  <c:v>0.17421926910299004</c:v>
                </c:pt>
                <c:pt idx="42">
                  <c:v>0.165417952108124</c:v>
                </c:pt>
                <c:pt idx="43">
                  <c:v>0.16425173010380623</c:v>
                </c:pt>
                <c:pt idx="44">
                  <c:v>0.17050734064300316</c:v>
                </c:pt>
                <c:pt idx="45">
                  <c:v>0.17971851317214002</c:v>
                </c:pt>
                <c:pt idx="46">
                  <c:v>0.20572160546541418</c:v>
                </c:pt>
                <c:pt idx="47">
                  <c:v>0.20394578554815943</c:v>
                </c:pt>
                <c:pt idx="48">
                  <c:v>0.2046908315565032</c:v>
                </c:pt>
                <c:pt idx="49">
                  <c:v>0.20980441960883922</c:v>
                </c:pt>
                <c:pt idx="50">
                  <c:v>0.211416402204777</c:v>
                </c:pt>
                <c:pt idx="51">
                  <c:v>0.1975665085584656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760921698465887</c:v>
                </c:pt>
              </c:numCache>
            </c:numRef>
          </c:xVal>
          <c:yVal>
            <c:numRef>
              <c:f>Sheet1!$B$163:$B$164</c:f>
              <c:numCache>
                <c:formatCode>General</c:formatCode>
                <c:ptCount val="2"/>
                <c:pt idx="0">
                  <c:v>0.20586954048214628</c:v>
                </c:pt>
                <c:pt idx="1">
                  <c:v>0.2058695404821462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760921698465887</c:v>
                </c:pt>
                <c:pt idx="1">
                  <c:v>0.5760921698465887</c:v>
                </c:pt>
              </c:numCache>
            </c:numRef>
          </c:xVal>
          <c:yVal>
            <c:numRef>
              <c:f>Sheet1!$B$167:$B$168</c:f>
              <c:numCache>
                <c:formatCode>General</c:formatCode>
                <c:ptCount val="2"/>
                <c:pt idx="0">
                  <c:v>0.2058695404821462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760921698465887</c:v>
                </c:pt>
              </c:numCache>
            </c:numRef>
          </c:xVal>
          <c:yVal>
            <c:numRef>
              <c:f>Sheet1!$B$171:$B$172</c:f>
              <c:numCache>
                <c:formatCode>General</c:formatCode>
                <c:ptCount val="2"/>
                <c:pt idx="0">
                  <c:v>0.20586954048214628</c:v>
                </c:pt>
                <c:pt idx="1">
                  <c:v>0.2058695404821462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760921698465887</c:v>
                </c:pt>
                <c:pt idx="1">
                  <c:v>0.5760921698465887</c:v>
                </c:pt>
              </c:numCache>
            </c:numRef>
          </c:xVal>
          <c:yVal>
            <c:numRef>
              <c:f>Sheet1!$B$175:$B$176</c:f>
              <c:numCache>
                <c:formatCode>General</c:formatCode>
                <c:ptCount val="2"/>
                <c:pt idx="0">
                  <c:v>0.2058695404821462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904248974154803</c:v>
                </c:pt>
              </c:numCache>
            </c:numRef>
          </c:xVal>
          <c:yVal>
            <c:numRef>
              <c:f>Sheet1!$B$179:$B$180</c:f>
              <c:numCache>
                <c:formatCode>General</c:formatCode>
                <c:ptCount val="2"/>
                <c:pt idx="0">
                  <c:v>0.18629907925429956</c:v>
                </c:pt>
                <c:pt idx="1">
                  <c:v>0.1862990792542995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904248974154803</c:v>
                </c:pt>
                <c:pt idx="1">
                  <c:v>0.4904248974154803</c:v>
                </c:pt>
              </c:numCache>
            </c:numRef>
          </c:xVal>
          <c:yVal>
            <c:numRef>
              <c:f>Sheet1!$B$183:$B$184</c:f>
              <c:numCache>
                <c:formatCode>General</c:formatCode>
                <c:ptCount val="2"/>
                <c:pt idx="0">
                  <c:v>0.1862990792542995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350951613515339</c:v>
                </c:pt>
                <c:pt idx="1">
                  <c:v>0.44266585582405027</c:v>
                </c:pt>
                <c:pt idx="2">
                  <c:v>0.45347197691515706</c:v>
                </c:pt>
                <c:pt idx="3">
                  <c:v>0.4063499567229982</c:v>
                </c:pt>
                <c:pt idx="4">
                  <c:v>0.40413067531685504</c:v>
                </c:pt>
                <c:pt idx="5">
                  <c:v>0.43989477890296425</c:v>
                </c:pt>
                <c:pt idx="6">
                  <c:v>0.4667731231311119</c:v>
                </c:pt>
                <c:pt idx="7">
                  <c:v>0.4419230867225019</c:v>
                </c:pt>
                <c:pt idx="8">
                  <c:v>0.44070639516290794</c:v>
                </c:pt>
                <c:pt idx="9">
                  <c:v>0.4368962332457913</c:v>
                </c:pt>
                <c:pt idx="10">
                  <c:v>0.43222250102881205</c:v>
                </c:pt>
                <c:pt idx="11">
                  <c:v>0.4487403107606726</c:v>
                </c:pt>
                <c:pt idx="12">
                  <c:v>0.4542194687053671</c:v>
                </c:pt>
                <c:pt idx="13">
                  <c:v>0.422970570468654</c:v>
                </c:pt>
                <c:pt idx="14">
                  <c:v>0.4288833177663229</c:v>
                </c:pt>
                <c:pt idx="15">
                  <c:v>0.42241017074279</c:v>
                </c:pt>
                <c:pt idx="16">
                  <c:v>0.4244712357945745</c:v>
                </c:pt>
                <c:pt idx="17">
                  <c:v>0.3894844253075707</c:v>
                </c:pt>
                <c:pt idx="18">
                  <c:v>0.4184953382390834</c:v>
                </c:pt>
                <c:pt idx="19">
                  <c:v>0.43799818406785407</c:v>
                </c:pt>
                <c:pt idx="20">
                  <c:v>0.4293302286364044</c:v>
                </c:pt>
                <c:pt idx="21">
                  <c:v>0.4157644569452336</c:v>
                </c:pt>
                <c:pt idx="22">
                  <c:v>0.4037548434826867</c:v>
                </c:pt>
                <c:pt idx="23">
                  <c:v>0.4184593555039532</c:v>
                </c:pt>
                <c:pt idx="24">
                  <c:v>0.422722429419006</c:v>
                </c:pt>
                <c:pt idx="25">
                  <c:v>0.4378447885791071</c:v>
                </c:pt>
                <c:pt idx="26">
                  <c:v>0.4160809658750023</c:v>
                </c:pt>
                <c:pt idx="27">
                  <c:v>0.41584889629628513</c:v>
                </c:pt>
                <c:pt idx="28">
                  <c:v>0.44022163384601426</c:v>
                </c:pt>
                <c:pt idx="29">
                  <c:v>0.4064365260930122</c:v>
                </c:pt>
                <c:pt idx="30">
                  <c:v>0.4085747027905254</c:v>
                </c:pt>
                <c:pt idx="31">
                  <c:v>0.43248917416680166</c:v>
                </c:pt>
                <c:pt idx="32">
                  <c:v>0.425722303826286</c:v>
                </c:pt>
                <c:pt idx="33">
                  <c:v>0.44303852436450397</c:v>
                </c:pt>
                <c:pt idx="34">
                  <c:v>0.4569248563666144</c:v>
                </c:pt>
                <c:pt idx="35">
                  <c:v>0.4542107991391667</c:v>
                </c:pt>
                <c:pt idx="36">
                  <c:v>0.40985532686900406</c:v>
                </c:pt>
                <c:pt idx="37">
                  <c:v>0.43324347431392535</c:v>
                </c:pt>
                <c:pt idx="38">
                  <c:v>0.4021460902441676</c:v>
                </c:pt>
                <c:pt idx="39">
                  <c:v>0.4339034817255243</c:v>
                </c:pt>
                <c:pt idx="40">
                  <c:v>0.41498011689212044</c:v>
                </c:pt>
                <c:pt idx="41">
                  <c:v>0.42779982235428543</c:v>
                </c:pt>
                <c:pt idx="42">
                  <c:v>0.41075058432650585</c:v>
                </c:pt>
                <c:pt idx="43">
                  <c:v>0.47508085883978785</c:v>
                </c:pt>
                <c:pt idx="44">
                  <c:v>0.5199120350572354</c:v>
                </c:pt>
                <c:pt idx="45">
                  <c:v>0.545346947144046</c:v>
                </c:pt>
                <c:pt idx="46">
                  <c:v>0.5106891762271439</c:v>
                </c:pt>
                <c:pt idx="47">
                  <c:v>0.5027661544836332</c:v>
                </c:pt>
                <c:pt idx="48">
                  <c:v>0.5495485147288318</c:v>
                </c:pt>
                <c:pt idx="49">
                  <c:v>0.5596102061223199</c:v>
                </c:pt>
                <c:pt idx="50">
                  <c:v>0.5776115756445158</c:v>
                </c:pt>
                <c:pt idx="51">
                  <c:v>0.5370363746441943</c:v>
                </c:pt>
                <c:pt idx="52">
                  <c:v>0.5760921698465887</c:v>
                </c:pt>
                <c:pt idx="53">
                  <c:v>0.5760921698465887</c:v>
                </c:pt>
                <c:pt idx="54">
                  <c:v>0.4904248974154803</c:v>
                </c:pt>
              </c:numCache>
            </c:numRef>
          </c:xVal>
          <c:yVal>
            <c:numRef>
              <c:f>Sheet1!$B$187:$B$241</c:f>
              <c:numCache>
                <c:formatCode>General</c:formatCode>
                <c:ptCount val="55"/>
                <c:pt idx="0">
                  <c:v>0.17365914776520913</c:v>
                </c:pt>
                <c:pt idx="1">
                  <c:v>0.17538865284267502</c:v>
                </c:pt>
                <c:pt idx="2">
                  <c:v>0.17785728255196093</c:v>
                </c:pt>
                <c:pt idx="3">
                  <c:v>0.1670923819898464</c:v>
                </c:pt>
                <c:pt idx="4">
                  <c:v>0.16658539303735545</c:v>
                </c:pt>
                <c:pt idx="5">
                  <c:v>0.17475560766796017</c:v>
                </c:pt>
                <c:pt idx="6">
                  <c:v>0.18089589413510193</c:v>
                </c:pt>
                <c:pt idx="7">
                  <c:v>0.17521896921098495</c:v>
                </c:pt>
                <c:pt idx="8">
                  <c:v>0.1749410192504276</c:v>
                </c:pt>
                <c:pt idx="9">
                  <c:v>0.1740705978636522</c:v>
                </c:pt>
                <c:pt idx="10">
                  <c:v>0.17300289613175351</c:v>
                </c:pt>
                <c:pt idx="11">
                  <c:v>0.1767763459656593</c:v>
                </c:pt>
                <c:pt idx="12">
                  <c:v>0.17802804506935288</c:v>
                </c:pt>
                <c:pt idx="13">
                  <c:v>0.17088931712810412</c:v>
                </c:pt>
                <c:pt idx="14">
                  <c:v>0.17224006856976046</c:v>
                </c:pt>
                <c:pt idx="15">
                  <c:v>0.17076129529671064</c:v>
                </c:pt>
                <c:pt idx="16">
                  <c:v>0.1712321401425817</c:v>
                </c:pt>
                <c:pt idx="17">
                  <c:v>0.1632394960593636</c:v>
                </c:pt>
                <c:pt idx="18">
                  <c:v>0.16986696219197783</c:v>
                </c:pt>
                <c:pt idx="19">
                  <c:v>0.17432233560697205</c:v>
                </c:pt>
                <c:pt idx="20">
                  <c:v>0.17234216417298243</c:v>
                </c:pt>
                <c:pt idx="21">
                  <c:v>0.16924309960172065</c:v>
                </c:pt>
                <c:pt idx="22">
                  <c:v>0.16649953525141162</c:v>
                </c:pt>
                <c:pt idx="23">
                  <c:v>0.1698587420315507</c:v>
                </c:pt>
                <c:pt idx="24">
                  <c:v>0.17083262996329357</c:v>
                </c:pt>
                <c:pt idx="25">
                  <c:v>0.17428729281431793</c:v>
                </c:pt>
                <c:pt idx="26">
                  <c:v>0.16931540522745755</c:v>
                </c:pt>
                <c:pt idx="27">
                  <c:v>0.16926238954756534</c:v>
                </c:pt>
                <c:pt idx="28">
                  <c:v>0.1748302768129973</c:v>
                </c:pt>
                <c:pt idx="29">
                  <c:v>0.16711215853287503</c:v>
                </c:pt>
                <c:pt idx="30">
                  <c:v>0.16760061932974024</c:v>
                </c:pt>
                <c:pt idx="31">
                  <c:v>0.17306381690300526</c:v>
                </c:pt>
                <c:pt idx="32">
                  <c:v>0.17151794331704012</c:v>
                </c:pt>
                <c:pt idx="33">
                  <c:v>0.1754737879825577</c:v>
                </c:pt>
                <c:pt idx="34">
                  <c:v>0.17864608370684204</c:v>
                </c:pt>
                <c:pt idx="35">
                  <c:v>0.178026064529943</c:v>
                </c:pt>
                <c:pt idx="36">
                  <c:v>0.16789317450471056</c:v>
                </c:pt>
                <c:pt idx="37">
                  <c:v>0.1732361347714808</c:v>
                </c:pt>
                <c:pt idx="38">
                  <c:v>0.1661320198399115</c:v>
                </c:pt>
                <c:pt idx="39">
                  <c:v>0.17338691171455642</c:v>
                </c:pt>
                <c:pt idx="40">
                  <c:v>0.16906391919637692</c:v>
                </c:pt>
                <c:pt idx="41">
                  <c:v>0.17199254691592375</c:v>
                </c:pt>
                <c:pt idx="42">
                  <c:v>0.1680976936969735</c:v>
                </c:pt>
                <c:pt idx="43">
                  <c:v>0.1827937743285981</c:v>
                </c:pt>
                <c:pt idx="44">
                  <c:v>0.19303533765919062</c:v>
                </c:pt>
                <c:pt idx="45">
                  <c:v>0.19884587588111097</c:v>
                </c:pt>
                <c:pt idx="46">
                  <c:v>0.1909284000151871</c:v>
                </c:pt>
                <c:pt idx="47">
                  <c:v>0.18911840670690877</c:v>
                </c:pt>
                <c:pt idx="48">
                  <c:v>0.1998057128547972</c:v>
                </c:pt>
                <c:pt idx="49">
                  <c:v>0.20210427957362403</c:v>
                </c:pt>
                <c:pt idx="50">
                  <c:v>0.2062166447077607</c:v>
                </c:pt>
                <c:pt idx="51">
                  <c:v>0.19694734763019284</c:v>
                </c:pt>
                <c:pt idx="52">
                  <c:v>0.20586954048214628</c:v>
                </c:pt>
                <c:pt idx="53">
                  <c:v>0.20586954048214628</c:v>
                </c:pt>
                <c:pt idx="54">
                  <c:v>0.1862990792542995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528612753112813"/>
          <c:min val="0.069851380042462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1.3397</c:v>
                </c:pt>
                <c:pt idx="1">
                  <c:v>863.5551</c:v>
                </c:pt>
                <c:pt idx="2">
                  <c:v>897.2039</c:v>
                </c:pt>
                <c:pt idx="3">
                  <c:v>910.8735</c:v>
                </c:pt>
                <c:pt idx="4">
                  <c:v>896.5</c:v>
                </c:pt>
                <c:pt idx="5">
                  <c:v>877.2215</c:v>
                </c:pt>
                <c:pt idx="6">
                  <c:v>836.5002</c:v>
                </c:pt>
                <c:pt idx="7">
                  <c:v>843.6463</c:v>
                </c:pt>
                <c:pt idx="8">
                  <c:v>837.9156</c:v>
                </c:pt>
                <c:pt idx="9">
                  <c:v>826.8154</c:v>
                </c:pt>
                <c:pt idx="10">
                  <c:v>797.3752</c:v>
                </c:pt>
                <c:pt idx="11">
                  <c:v>808.9015</c:v>
                </c:pt>
                <c:pt idx="12">
                  <c:v>829.2133</c:v>
                </c:pt>
                <c:pt idx="13">
                  <c:v>817.4029</c:v>
                </c:pt>
                <c:pt idx="14">
                  <c:v>898.7521</c:v>
                </c:pt>
                <c:pt idx="15">
                  <c:v>914.6836</c:v>
                </c:pt>
                <c:pt idx="16">
                  <c:v>934.9446</c:v>
                </c:pt>
                <c:pt idx="17">
                  <c:v>937.9417</c:v>
                </c:pt>
                <c:pt idx="18">
                  <c:v>958.5275</c:v>
                </c:pt>
                <c:pt idx="19">
                  <c:v>954.5364</c:v>
                </c:pt>
                <c:pt idx="20">
                  <c:v>987.4225</c:v>
                </c:pt>
                <c:pt idx="21">
                  <c:v>998.0716</c:v>
                </c:pt>
                <c:pt idx="22">
                  <c:v>985.6992</c:v>
                </c:pt>
                <c:pt idx="23">
                  <c:v>991.1369</c:v>
                </c:pt>
                <c:pt idx="24">
                  <c:v>1009.8729</c:v>
                </c:pt>
                <c:pt idx="25">
                  <c:v>993.0767</c:v>
                </c:pt>
                <c:pt idx="26">
                  <c:v>960.4832</c:v>
                </c:pt>
                <c:pt idx="27">
                  <c:v>1000.5846</c:v>
                </c:pt>
                <c:pt idx="28">
                  <c:v>989.9655</c:v>
                </c:pt>
                <c:pt idx="29">
                  <c:v>973.2576</c:v>
                </c:pt>
                <c:pt idx="30">
                  <c:v>974.8567</c:v>
                </c:pt>
                <c:pt idx="31">
                  <c:v>986.3516</c:v>
                </c:pt>
                <c:pt idx="32">
                  <c:v>971.248</c:v>
                </c:pt>
                <c:pt idx="33">
                  <c:v>957.7856</c:v>
                </c:pt>
                <c:pt idx="34">
                  <c:v>949.0969</c:v>
                </c:pt>
                <c:pt idx="35">
                  <c:v>1004.7813</c:v>
                </c:pt>
                <c:pt idx="36">
                  <c:v>1055.2298</c:v>
                </c:pt>
                <c:pt idx="37">
                  <c:v>1089.3078</c:v>
                </c:pt>
                <c:pt idx="38">
                  <c:v>1111.2466</c:v>
                </c:pt>
                <c:pt idx="39">
                  <c:v>1134.0258</c:v>
                </c:pt>
                <c:pt idx="40">
                  <c:v>1140.4443</c:v>
                </c:pt>
                <c:pt idx="41">
                  <c:v>1155.7303</c:v>
                </c:pt>
                <c:pt idx="42">
                  <c:v>1169.44</c:v>
                </c:pt>
                <c:pt idx="43">
                  <c:v>1178.0688</c:v>
                </c:pt>
                <c:pt idx="44">
                  <c:v>1116.1178</c:v>
                </c:pt>
                <c:pt idx="45">
                  <c:v>1086.926</c:v>
                </c:pt>
                <c:pt idx="46">
                  <c:v>1074.755</c:v>
                </c:pt>
                <c:pt idx="47">
                  <c:v>1051.1893</c:v>
                </c:pt>
                <c:pt idx="48">
                  <c:v>1052.1763</c:v>
                </c:pt>
                <c:pt idx="49">
                  <c:v>1009.8998</c:v>
                </c:pt>
                <c:pt idx="50">
                  <c:v>1002.5409</c:v>
                </c:pt>
                <c:pt idx="51">
                  <c:v>1017.967</c:v>
                </c:pt>
                <c:pt idx="52">
                  <c:v>1021.1546</c:v>
                </c:pt>
                <c:pt idx="53">
                  <c:v>1121.9926</c:v>
                </c:pt>
                <c:pt idx="54">
                  <c:v>1103.7158</c:v>
                </c:pt>
                <c:pt idx="55">
                  <c:v>1103.6662</c:v>
                </c:pt>
                <c:pt idx="56">
                  <c:v>1101.5908</c:v>
                </c:pt>
                <c:pt idx="57">
                  <c:v>1109.2263</c:v>
                </c:pt>
                <c:pt idx="58">
                  <c:v>1057.6481</c:v>
                </c:pt>
                <c:pt idx="59">
                  <c:v>1055.7681</c:v>
                </c:pt>
                <c:pt idx="60">
                  <c:v>1066.3343</c:v>
                </c:pt>
                <c:pt idx="61">
                  <c:v>1077.5211</c:v>
                </c:pt>
                <c:pt idx="62">
                  <c:v>1001.9805</c:v>
                </c:pt>
                <c:pt idx="63">
                  <c:v>1033.3618</c:v>
                </c:pt>
                <c:pt idx="64">
                  <c:v>1043.8633</c:v>
                </c:pt>
                <c:pt idx="65">
                  <c:v>1026.9815</c:v>
                </c:pt>
                <c:pt idx="66">
                  <c:v>1046.4189</c:v>
                </c:pt>
                <c:pt idx="67">
                  <c:v>1075.454</c:v>
                </c:pt>
                <c:pt idx="68">
                  <c:v>1077.4605</c:v>
                </c:pt>
                <c:pt idx="69">
                  <c:v>1113.6184</c:v>
                </c:pt>
                <c:pt idx="70">
                  <c:v>1100.3544</c:v>
                </c:pt>
                <c:pt idx="71">
                  <c:v>1153.9607</c:v>
                </c:pt>
                <c:pt idx="72">
                  <c:v>1225.0484</c:v>
                </c:pt>
                <c:pt idx="73">
                  <c:v>1200.9912</c:v>
                </c:pt>
                <c:pt idx="74">
                  <c:v>1191.3868</c:v>
                </c:pt>
                <c:pt idx="75">
                  <c:v>1175.8962</c:v>
                </c:pt>
                <c:pt idx="76">
                  <c:v>1128.835</c:v>
                </c:pt>
                <c:pt idx="77">
                  <c:v>1125.8557</c:v>
                </c:pt>
                <c:pt idx="78">
                  <c:v>1147.0185</c:v>
                </c:pt>
                <c:pt idx="79">
                  <c:v>1224.0851</c:v>
                </c:pt>
                <c:pt idx="80">
                  <c:v>1158.5661</c:v>
                </c:pt>
                <c:pt idx="81">
                  <c:v>1183.4849</c:v>
                </c:pt>
                <c:pt idx="82">
                  <c:v>1240.7552</c:v>
                </c:pt>
                <c:pt idx="83">
                  <c:v>1143.3894</c:v>
                </c:pt>
                <c:pt idx="84">
                  <c:v>1164.6585</c:v>
                </c:pt>
                <c:pt idx="85">
                  <c:v>1142.2892</c:v>
                </c:pt>
                <c:pt idx="86">
                  <c:v>1119.9909</c:v>
                </c:pt>
                <c:pt idx="87">
                  <c:v>1182.1672</c:v>
                </c:pt>
                <c:pt idx="88">
                  <c:v>1177.4449</c:v>
                </c:pt>
                <c:pt idx="89">
                  <c:v>1168.5673</c:v>
                </c:pt>
                <c:pt idx="90">
                  <c:v>1246.0075</c:v>
                </c:pt>
                <c:pt idx="91">
                  <c:v>1248.3656</c:v>
                </c:pt>
                <c:pt idx="92">
                  <c:v>1193.6811</c:v>
                </c:pt>
                <c:pt idx="93">
                  <c:v>1235.198</c:v>
                </c:pt>
                <c:pt idx="94">
                  <c:v>1233.5536</c:v>
                </c:pt>
                <c:pt idx="95">
                  <c:v>1204.5472</c:v>
                </c:pt>
                <c:pt idx="96">
                  <c:v>1133.5252</c:v>
                </c:pt>
                <c:pt idx="97">
                  <c:v>1129.9705</c:v>
                </c:pt>
                <c:pt idx="98">
                  <c:v>1120.4359</c:v>
                </c:pt>
                <c:pt idx="99">
                  <c:v>1082.4246</c:v>
                </c:pt>
                <c:pt idx="100">
                  <c:v>1090.316</c:v>
                </c:pt>
                <c:pt idx="101">
                  <c:v>1128.0414</c:v>
                </c:pt>
                <c:pt idx="102">
                  <c:v>1128.7789</c:v>
                </c:pt>
                <c:pt idx="103">
                  <c:v>1099.8359</c:v>
                </c:pt>
                <c:pt idx="104">
                  <c:v>1115.7104</c:v>
                </c:pt>
              </c:numCache>
            </c:numRef>
          </c:xVal>
          <c:yVal>
            <c:numRef>
              <c:f>Sheet1!$B$2:$B$106</c:f>
              <c:numCache>
                <c:formatCode>General</c:formatCode>
                <c:ptCount val="105"/>
                <c:pt idx="0">
                  <c:v>0.15203376822716808</c:v>
                </c:pt>
                <c:pt idx="1">
                  <c:v>0.13131955484896662</c:v>
                </c:pt>
                <c:pt idx="2">
                  <c:v>0.14105589146143638</c:v>
                </c:pt>
                <c:pt idx="3">
                  <c:v>0.1350858532137973</c:v>
                </c:pt>
                <c:pt idx="4">
                  <c:v>0.14952040624412263</c:v>
                </c:pt>
                <c:pt idx="5">
                  <c:v>0.18022153477696837</c:v>
                </c:pt>
                <c:pt idx="6">
                  <c:v>0.20782469481689014</c:v>
                </c:pt>
                <c:pt idx="7">
                  <c:v>0.22278359196439312</c:v>
                </c:pt>
                <c:pt idx="8">
                  <c:v>0.22940510627594013</c:v>
                </c:pt>
                <c:pt idx="9">
                  <c:v>0.20650358581393063</c:v>
                </c:pt>
                <c:pt idx="10">
                  <c:v>0.21696969696969698</c:v>
                </c:pt>
                <c:pt idx="11">
                  <c:v>0.20811010530205062</c:v>
                </c:pt>
                <c:pt idx="12">
                  <c:v>0.1844922039612305</c:v>
                </c:pt>
                <c:pt idx="13">
                  <c:v>0.1690825375170532</c:v>
                </c:pt>
                <c:pt idx="14">
                  <c:v>0.12979326442147382</c:v>
                </c:pt>
                <c:pt idx="15">
                  <c:v>0.12148242540087077</c:v>
                </c:pt>
                <c:pt idx="16">
                  <c:v>0.11672155140870838</c:v>
                </c:pt>
                <c:pt idx="17">
                  <c:v>0.09924528301886792</c:v>
                </c:pt>
                <c:pt idx="18">
                  <c:v>0.09235625085769178</c:v>
                </c:pt>
                <c:pt idx="19">
                  <c:v>0.09352150994728788</c:v>
                </c:pt>
                <c:pt idx="20">
                  <c:v>0.08731422505307855</c:v>
                </c:pt>
                <c:pt idx="21">
                  <c:v>0.09053156146179402</c:v>
                </c:pt>
                <c:pt idx="22">
                  <c:v>0.09601650531661642</c:v>
                </c:pt>
                <c:pt idx="23">
                  <c:v>0.11016949152542373</c:v>
                </c:pt>
                <c:pt idx="24">
                  <c:v>0.11212558065032836</c:v>
                </c:pt>
                <c:pt idx="25">
                  <c:v>0.11815875317143892</c:v>
                </c:pt>
                <c:pt idx="26">
                  <c:v>0.13977371627502175</c:v>
                </c:pt>
                <c:pt idx="27">
                  <c:v>0.14005556463474425</c:v>
                </c:pt>
                <c:pt idx="28">
                  <c:v>0.16685330347144456</c:v>
                </c:pt>
                <c:pt idx="29">
                  <c:v>0.16854092526690392</c:v>
                </c:pt>
                <c:pt idx="30">
                  <c:v>0.1738241308793456</c:v>
                </c:pt>
                <c:pt idx="31">
                  <c:v>0.16885301042717793</c:v>
                </c:pt>
                <c:pt idx="32">
                  <c:v>0.1941530524505589</c:v>
                </c:pt>
                <c:pt idx="33">
                  <c:v>0.17708474576271185</c:v>
                </c:pt>
                <c:pt idx="34">
                  <c:v>0.18097960244251007</c:v>
                </c:pt>
                <c:pt idx="35">
                  <c:v>0.19191362785061145</c:v>
                </c:pt>
                <c:pt idx="36">
                  <c:v>0.15334485968878842</c:v>
                </c:pt>
                <c:pt idx="37">
                  <c:v>0.1492694682934177</c:v>
                </c:pt>
                <c:pt idx="38">
                  <c:v>0.14338561704646344</c:v>
                </c:pt>
                <c:pt idx="39">
                  <c:v>0.12966063004108963</c:v>
                </c:pt>
                <c:pt idx="40">
                  <c:v>0.13684895833333333</c:v>
                </c:pt>
                <c:pt idx="41">
                  <c:v>0.1338894967177243</c:v>
                </c:pt>
                <c:pt idx="42">
                  <c:v>0.13219741480611047</c:v>
                </c:pt>
                <c:pt idx="43">
                  <c:v>0.12925982200998481</c:v>
                </c:pt>
                <c:pt idx="44">
                  <c:v>0.1348750466243939</c:v>
                </c:pt>
                <c:pt idx="45">
                  <c:v>0.15498938428874734</c:v>
                </c:pt>
                <c:pt idx="46">
                  <c:v>0.15900846432889965</c:v>
                </c:pt>
                <c:pt idx="47">
                  <c:v>0.14745484400656814</c:v>
                </c:pt>
                <c:pt idx="48">
                  <c:v>0.1530822089582184</c:v>
                </c:pt>
                <c:pt idx="49">
                  <c:v>0.1467014462127716</c:v>
                </c:pt>
                <c:pt idx="50">
                  <c:v>0.15167560321715817</c:v>
                </c:pt>
                <c:pt idx="51">
                  <c:v>0.13935681470137826</c:v>
                </c:pt>
                <c:pt idx="52">
                  <c:v>0.1430183918730496</c:v>
                </c:pt>
                <c:pt idx="53">
                  <c:v>0.12857029828309202</c:v>
                </c:pt>
                <c:pt idx="54">
                  <c:v>0.13254773782900395</c:v>
                </c:pt>
                <c:pt idx="55">
                  <c:v>0.1281826931490069</c:v>
                </c:pt>
                <c:pt idx="56">
                  <c:v>0.13618157543391188</c:v>
                </c:pt>
                <c:pt idx="57">
                  <c:v>0.13316070307595732</c:v>
                </c:pt>
                <c:pt idx="58">
                  <c:v>0.15326787358085303</c:v>
                </c:pt>
                <c:pt idx="59">
                  <c:v>0.14013928138877674</c:v>
                </c:pt>
                <c:pt idx="60">
                  <c:v>0.1467167860918595</c:v>
                </c:pt>
                <c:pt idx="61">
                  <c:v>0.15204346415828737</c:v>
                </c:pt>
                <c:pt idx="62">
                  <c:v>0.16829385403329064</c:v>
                </c:pt>
                <c:pt idx="63">
                  <c:v>0.1751731406202951</c:v>
                </c:pt>
                <c:pt idx="64">
                  <c:v>0.16787756994898748</c:v>
                </c:pt>
                <c:pt idx="65">
                  <c:v>0.16462486988549924</c:v>
                </c:pt>
                <c:pt idx="66">
                  <c:v>0.1601910312449409</c:v>
                </c:pt>
                <c:pt idx="67">
                  <c:v>0.14912944738834216</c:v>
                </c:pt>
                <c:pt idx="68">
                  <c:v>0.1371638614819114</c:v>
                </c:pt>
                <c:pt idx="69">
                  <c:v>0.12905236907730674</c:v>
                </c:pt>
                <c:pt idx="70">
                  <c:v>0.1363848124854414</c:v>
                </c:pt>
                <c:pt idx="71">
                  <c:v>0.12382921785670843</c:v>
                </c:pt>
                <c:pt idx="72">
                  <c:v>0.12497035807446051</c:v>
                </c:pt>
                <c:pt idx="73">
                  <c:v>0.1250307049864898</c:v>
                </c:pt>
                <c:pt idx="74">
                  <c:v>0.12244665069040284</c:v>
                </c:pt>
                <c:pt idx="75">
                  <c:v>0.13474184972715825</c:v>
                </c:pt>
                <c:pt idx="76">
                  <c:v>0.15092005566723365</c:v>
                </c:pt>
                <c:pt idx="77">
                  <c:v>0.13680534467051322</c:v>
                </c:pt>
                <c:pt idx="78">
                  <c:v>0.15169561621174524</c:v>
                </c:pt>
                <c:pt idx="79">
                  <c:v>0.15736989716422561</c:v>
                </c:pt>
                <c:pt idx="80">
                  <c:v>0.1355775169857937</c:v>
                </c:pt>
                <c:pt idx="81">
                  <c:v>0.13393870601589103</c:v>
                </c:pt>
                <c:pt idx="82">
                  <c:v>0.15038965345713812</c:v>
                </c:pt>
                <c:pt idx="83">
                  <c:v>0.13358278765201123</c:v>
                </c:pt>
                <c:pt idx="84">
                  <c:v>0.13683168316831684</c:v>
                </c:pt>
                <c:pt idx="85">
                  <c:v>0.146780809702158</c:v>
                </c:pt>
                <c:pt idx="86">
                  <c:v>0.15664371996363163</c:v>
                </c:pt>
                <c:pt idx="87">
                  <c:v>0.17659462308908802</c:v>
                </c:pt>
                <c:pt idx="88">
                  <c:v>0.14726989079563182</c:v>
                </c:pt>
                <c:pt idx="89">
                  <c:v>0.1654392875492379</c:v>
                </c:pt>
                <c:pt idx="90">
                  <c:v>0.1436730323041228</c:v>
                </c:pt>
                <c:pt idx="91">
                  <c:v>0.1365415986949429</c:v>
                </c:pt>
                <c:pt idx="92">
                  <c:v>0.14522156967431926</c:v>
                </c:pt>
                <c:pt idx="93">
                  <c:v>0.145748987854251</c:v>
                </c:pt>
                <c:pt idx="94">
                  <c:v>0.14999226843977115</c:v>
                </c:pt>
                <c:pt idx="95">
                  <c:v>0.14889313406000673</c:v>
                </c:pt>
                <c:pt idx="96">
                  <c:v>0.14493518239372927</c:v>
                </c:pt>
                <c:pt idx="97">
                  <c:v>0.14856711915535445</c:v>
                </c:pt>
                <c:pt idx="98">
                  <c:v>0.15471226021684736</c:v>
                </c:pt>
                <c:pt idx="99">
                  <c:v>0.15064853883419285</c:v>
                </c:pt>
                <c:pt idx="100">
                  <c:v>0.1553972561435248</c:v>
                </c:pt>
                <c:pt idx="101">
                  <c:v>0.14507422402159245</c:v>
                </c:pt>
                <c:pt idx="102">
                  <c:v>0.1501465810950004</c:v>
                </c:pt>
                <c:pt idx="103">
                  <c:v>0.14516482713251955</c:v>
                </c:pt>
                <c:pt idx="104">
                  <c:v>0.144393769899320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20.0958</c:v>
                </c:pt>
                <c:pt idx="1">
                  <c:v>1174.9937</c:v>
                </c:pt>
                <c:pt idx="2">
                  <c:v>1170.388</c:v>
                </c:pt>
                <c:pt idx="3">
                  <c:v>1091.4839</c:v>
                </c:pt>
                <c:pt idx="4">
                  <c:v>1110.4615</c:v>
                </c:pt>
                <c:pt idx="5">
                  <c:v>1145.7045</c:v>
                </c:pt>
                <c:pt idx="6">
                  <c:v>1098.3812</c:v>
                </c:pt>
                <c:pt idx="7">
                  <c:v>1089.2621</c:v>
                </c:pt>
                <c:pt idx="8">
                  <c:v>1144.4919</c:v>
                </c:pt>
                <c:pt idx="9">
                  <c:v>1098.7364</c:v>
                </c:pt>
                <c:pt idx="10">
                  <c:v>1103.4401</c:v>
                </c:pt>
                <c:pt idx="11">
                  <c:v>1037.4924</c:v>
                </c:pt>
                <c:pt idx="12">
                  <c:v>1075.303</c:v>
                </c:pt>
                <c:pt idx="13">
                  <c:v>1083.7791</c:v>
                </c:pt>
                <c:pt idx="14">
                  <c:v>1097.4395</c:v>
                </c:pt>
                <c:pt idx="15">
                  <c:v>1111.6326</c:v>
                </c:pt>
                <c:pt idx="16">
                  <c:v>1147.6852</c:v>
                </c:pt>
                <c:pt idx="17">
                  <c:v>1058.0619</c:v>
                </c:pt>
                <c:pt idx="18">
                  <c:v>1151.8279</c:v>
                </c:pt>
                <c:pt idx="19">
                  <c:v>1239.7066</c:v>
                </c:pt>
                <c:pt idx="20">
                  <c:v>1255.5459</c:v>
                </c:pt>
                <c:pt idx="21">
                  <c:v>1221.7308</c:v>
                </c:pt>
                <c:pt idx="22">
                  <c:v>1211.2376</c:v>
                </c:pt>
                <c:pt idx="23">
                  <c:v>1211.7995</c:v>
                </c:pt>
                <c:pt idx="24">
                  <c:v>1193.8671</c:v>
                </c:pt>
                <c:pt idx="25">
                  <c:v>1198.6287</c:v>
                </c:pt>
                <c:pt idx="26">
                  <c:v>1177.2428</c:v>
                </c:pt>
                <c:pt idx="27">
                  <c:v>1158.4237</c:v>
                </c:pt>
                <c:pt idx="28">
                  <c:v>1224.7495</c:v>
                </c:pt>
                <c:pt idx="29">
                  <c:v>1211.2334</c:v>
                </c:pt>
                <c:pt idx="30">
                  <c:v>1225.7847</c:v>
                </c:pt>
                <c:pt idx="31">
                  <c:v>1223.98</c:v>
                </c:pt>
                <c:pt idx="32">
                  <c:v>1230.122</c:v>
                </c:pt>
                <c:pt idx="33">
                  <c:v>1206.9477</c:v>
                </c:pt>
                <c:pt idx="34">
                  <c:v>1216.6614</c:v>
                </c:pt>
                <c:pt idx="35">
                  <c:v>1254.16</c:v>
                </c:pt>
                <c:pt idx="36">
                  <c:v>1265.385</c:v>
                </c:pt>
                <c:pt idx="37">
                  <c:v>1278.3538</c:v>
                </c:pt>
                <c:pt idx="38">
                  <c:v>1282.6834</c:v>
                </c:pt>
                <c:pt idx="39">
                  <c:v>1243.2564</c:v>
                </c:pt>
                <c:pt idx="40">
                  <c:v>1258.6354</c:v>
                </c:pt>
                <c:pt idx="41">
                  <c:v>1286.8741</c:v>
                </c:pt>
                <c:pt idx="42">
                  <c:v>1284.3721</c:v>
                </c:pt>
                <c:pt idx="43">
                  <c:v>1286.2943</c:v>
                </c:pt>
                <c:pt idx="44">
                  <c:v>1211.5232</c:v>
                </c:pt>
                <c:pt idx="45">
                  <c:v>1180.9739</c:v>
                </c:pt>
                <c:pt idx="46">
                  <c:v>1166.9502</c:v>
                </c:pt>
                <c:pt idx="47">
                  <c:v>1148.0731</c:v>
                </c:pt>
                <c:pt idx="48">
                  <c:v>1133.8779</c:v>
                </c:pt>
                <c:pt idx="49">
                  <c:v>1141.1174</c:v>
                </c:pt>
                <c:pt idx="50">
                  <c:v>1112.3456</c:v>
                </c:pt>
                <c:pt idx="51">
                  <c:v>1096.0167</c:v>
                </c:pt>
              </c:numCache>
            </c:numRef>
          </c:xVal>
          <c:yVal>
            <c:numRef>
              <c:f>Sheet1!$B$109:$B$160</c:f>
              <c:numCache>
                <c:formatCode>General</c:formatCode>
                <c:ptCount val="52"/>
                <c:pt idx="0">
                  <c:v>0.1605461393596987</c:v>
                </c:pt>
                <c:pt idx="1">
                  <c:v>0.14413895291405993</c:v>
                </c:pt>
                <c:pt idx="2">
                  <c:v>0.1673538506847298</c:v>
                </c:pt>
                <c:pt idx="3">
                  <c:v>0.19772113066978306</c:v>
                </c:pt>
                <c:pt idx="4">
                  <c:v>0.18746218995765276</c:v>
                </c:pt>
                <c:pt idx="5">
                  <c:v>0.18380814421374536</c:v>
                </c:pt>
                <c:pt idx="6">
                  <c:v>0.19407496977025393</c:v>
                </c:pt>
                <c:pt idx="7">
                  <c:v>0.2085666874092512</c:v>
                </c:pt>
                <c:pt idx="8">
                  <c:v>0.18858212447356107</c:v>
                </c:pt>
                <c:pt idx="9">
                  <c:v>0.1970842332613391</c:v>
                </c:pt>
                <c:pt idx="10">
                  <c:v>0.2098752489778803</c:v>
                </c:pt>
                <c:pt idx="11">
                  <c:v>0.19254133025759324</c:v>
                </c:pt>
                <c:pt idx="12">
                  <c:v>0.1878903068150964</c:v>
                </c:pt>
                <c:pt idx="13">
                  <c:v>0.18893412287194672</c:v>
                </c:pt>
                <c:pt idx="14">
                  <c:v>0.18463971533063162</c:v>
                </c:pt>
                <c:pt idx="15">
                  <c:v>0.17705500941225685</c:v>
                </c:pt>
                <c:pt idx="16">
                  <c:v>0.1609324218312227</c:v>
                </c:pt>
                <c:pt idx="17">
                  <c:v>0.18393338231692383</c:v>
                </c:pt>
                <c:pt idx="18">
                  <c:v>0.16355530788520478</c:v>
                </c:pt>
                <c:pt idx="19">
                  <c:v>0.1659034410571765</c:v>
                </c:pt>
                <c:pt idx="20">
                  <c:v>0.1475199543899658</c:v>
                </c:pt>
                <c:pt idx="21">
                  <c:v>0.15116883116883117</c:v>
                </c:pt>
                <c:pt idx="22">
                  <c:v>0.15857718591203784</c:v>
                </c:pt>
                <c:pt idx="23">
                  <c:v>0.1551473263004729</c:v>
                </c:pt>
                <c:pt idx="24">
                  <c:v>0.17107257113992255</c:v>
                </c:pt>
                <c:pt idx="25">
                  <c:v>0.16629915472252849</c:v>
                </c:pt>
                <c:pt idx="26">
                  <c:v>0.16182069920387676</c:v>
                </c:pt>
                <c:pt idx="27">
                  <c:v>0.1630819092516205</c:v>
                </c:pt>
                <c:pt idx="28">
                  <c:v>0.15857142857142856</c:v>
                </c:pt>
                <c:pt idx="29">
                  <c:v>0.15828894806924101</c:v>
                </c:pt>
                <c:pt idx="30">
                  <c:v>0.15847833503923575</c:v>
                </c:pt>
                <c:pt idx="31">
                  <c:v>0.15720362493064546</c:v>
                </c:pt>
                <c:pt idx="32">
                  <c:v>0.1521524811041735</c:v>
                </c:pt>
                <c:pt idx="33">
                  <c:v>0.17336581404790904</c:v>
                </c:pt>
                <c:pt idx="34">
                  <c:v>0.18772272675020119</c:v>
                </c:pt>
                <c:pt idx="35">
                  <c:v>0.1809410520750727</c:v>
                </c:pt>
                <c:pt idx="36">
                  <c:v>0.17780211756115372</c:v>
                </c:pt>
                <c:pt idx="37">
                  <c:v>0.1536039768019884</c:v>
                </c:pt>
                <c:pt idx="38">
                  <c:v>0.1590291613838073</c:v>
                </c:pt>
                <c:pt idx="39">
                  <c:v>0.17227666524641386</c:v>
                </c:pt>
                <c:pt idx="40">
                  <c:v>0.16235100698725852</c:v>
                </c:pt>
                <c:pt idx="41">
                  <c:v>0.17421926910299004</c:v>
                </c:pt>
                <c:pt idx="42">
                  <c:v>0.165417952108124</c:v>
                </c:pt>
                <c:pt idx="43">
                  <c:v>0.16425173010380623</c:v>
                </c:pt>
                <c:pt idx="44">
                  <c:v>0.17050734064300316</c:v>
                </c:pt>
                <c:pt idx="45">
                  <c:v>0.17971851317214002</c:v>
                </c:pt>
                <c:pt idx="46">
                  <c:v>0.20572160546541418</c:v>
                </c:pt>
                <c:pt idx="47">
                  <c:v>0.20394578554815943</c:v>
                </c:pt>
                <c:pt idx="48">
                  <c:v>0.2046908315565032</c:v>
                </c:pt>
                <c:pt idx="49">
                  <c:v>0.20980441960883922</c:v>
                </c:pt>
                <c:pt idx="50">
                  <c:v>0.211416402204777</c:v>
                </c:pt>
                <c:pt idx="51">
                  <c:v>0.1975665085584656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06.394189076129</c:v>
                </c:pt>
              </c:numCache>
            </c:numRef>
          </c:xVal>
          <c:yVal>
            <c:numRef>
              <c:f>Sheet1!$B$163:$B$164</c:f>
              <c:numCache>
                <c:formatCode>General</c:formatCode>
                <c:ptCount val="2"/>
                <c:pt idx="0">
                  <c:v>0.20586954048214628</c:v>
                </c:pt>
                <c:pt idx="1">
                  <c:v>0.2058695404821462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06.394189076129</c:v>
                </c:pt>
                <c:pt idx="1">
                  <c:v>1006.394189076129</c:v>
                </c:pt>
              </c:numCache>
            </c:numRef>
          </c:xVal>
          <c:yVal>
            <c:numRef>
              <c:f>Sheet1!$B$167:$B$168</c:f>
              <c:numCache>
                <c:formatCode>General</c:formatCode>
                <c:ptCount val="2"/>
                <c:pt idx="0">
                  <c:v>0.2058695404821462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06.394189076129</c:v>
                </c:pt>
              </c:numCache>
            </c:numRef>
          </c:xVal>
          <c:yVal>
            <c:numRef>
              <c:f>Sheet1!$B$171:$B$172</c:f>
              <c:numCache>
                <c:formatCode>General</c:formatCode>
                <c:ptCount val="2"/>
                <c:pt idx="0">
                  <c:v>0.20586954048214628</c:v>
                </c:pt>
                <c:pt idx="1">
                  <c:v>0.2058695404821462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06.394189076129</c:v>
                </c:pt>
                <c:pt idx="1">
                  <c:v>1006.394189076129</c:v>
                </c:pt>
              </c:numCache>
            </c:numRef>
          </c:xVal>
          <c:yVal>
            <c:numRef>
              <c:f>Sheet1!$B$175:$B$176</c:f>
              <c:numCache>
                <c:formatCode>General</c:formatCode>
                <c:ptCount val="2"/>
                <c:pt idx="0">
                  <c:v>0.2058695404821462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17.9393529649428</c:v>
                </c:pt>
              </c:numCache>
            </c:numRef>
          </c:xVal>
          <c:yVal>
            <c:numRef>
              <c:f>Sheet1!$B$179:$B$180</c:f>
              <c:numCache>
                <c:formatCode>General</c:formatCode>
                <c:ptCount val="2"/>
                <c:pt idx="0">
                  <c:v>0.18629907925429956</c:v>
                </c:pt>
                <c:pt idx="1">
                  <c:v>0.1862990792542995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17.9393529649428</c:v>
                </c:pt>
                <c:pt idx="1">
                  <c:v>1117.9393529649428</c:v>
                </c:pt>
              </c:numCache>
            </c:numRef>
          </c:xVal>
          <c:yVal>
            <c:numRef>
              <c:f>Sheet1!$B$183:$B$184</c:f>
              <c:numCache>
                <c:formatCode>General</c:formatCode>
                <c:ptCount val="2"/>
                <c:pt idx="0">
                  <c:v>0.1862990792542995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20.0958</c:v>
                </c:pt>
                <c:pt idx="1">
                  <c:v>1174.9937</c:v>
                </c:pt>
                <c:pt idx="2">
                  <c:v>1170.388</c:v>
                </c:pt>
                <c:pt idx="3">
                  <c:v>1091.4839</c:v>
                </c:pt>
                <c:pt idx="4">
                  <c:v>1110.4615</c:v>
                </c:pt>
                <c:pt idx="5">
                  <c:v>1145.7045</c:v>
                </c:pt>
                <c:pt idx="6">
                  <c:v>1098.3812</c:v>
                </c:pt>
                <c:pt idx="7">
                  <c:v>1089.2621</c:v>
                </c:pt>
                <c:pt idx="8">
                  <c:v>1144.4919</c:v>
                </c:pt>
                <c:pt idx="9">
                  <c:v>1098.7364</c:v>
                </c:pt>
                <c:pt idx="10">
                  <c:v>1103.4401</c:v>
                </c:pt>
                <c:pt idx="11">
                  <c:v>1037.4924</c:v>
                </c:pt>
                <c:pt idx="12">
                  <c:v>1075.303</c:v>
                </c:pt>
                <c:pt idx="13">
                  <c:v>1083.7791</c:v>
                </c:pt>
                <c:pt idx="14">
                  <c:v>1097.4395</c:v>
                </c:pt>
                <c:pt idx="15">
                  <c:v>1111.6326</c:v>
                </c:pt>
                <c:pt idx="16">
                  <c:v>1147.6852</c:v>
                </c:pt>
                <c:pt idx="17">
                  <c:v>1058.0619</c:v>
                </c:pt>
                <c:pt idx="18">
                  <c:v>1151.8279</c:v>
                </c:pt>
                <c:pt idx="19">
                  <c:v>1239.7066</c:v>
                </c:pt>
                <c:pt idx="20">
                  <c:v>1255.5459</c:v>
                </c:pt>
                <c:pt idx="21">
                  <c:v>1221.7308</c:v>
                </c:pt>
                <c:pt idx="22">
                  <c:v>1211.2376</c:v>
                </c:pt>
                <c:pt idx="23">
                  <c:v>1211.7995</c:v>
                </c:pt>
                <c:pt idx="24">
                  <c:v>1193.8671</c:v>
                </c:pt>
                <c:pt idx="25">
                  <c:v>1198.6287</c:v>
                </c:pt>
                <c:pt idx="26">
                  <c:v>1177.2428</c:v>
                </c:pt>
                <c:pt idx="27">
                  <c:v>1158.4237</c:v>
                </c:pt>
                <c:pt idx="28">
                  <c:v>1224.7495</c:v>
                </c:pt>
                <c:pt idx="29">
                  <c:v>1211.2334</c:v>
                </c:pt>
                <c:pt idx="30">
                  <c:v>1225.7847</c:v>
                </c:pt>
                <c:pt idx="31">
                  <c:v>1223.98</c:v>
                </c:pt>
                <c:pt idx="32">
                  <c:v>1230.122</c:v>
                </c:pt>
                <c:pt idx="33">
                  <c:v>1206.9477</c:v>
                </c:pt>
                <c:pt idx="34">
                  <c:v>1216.6614</c:v>
                </c:pt>
                <c:pt idx="35">
                  <c:v>1254.16</c:v>
                </c:pt>
                <c:pt idx="36">
                  <c:v>1265.385</c:v>
                </c:pt>
                <c:pt idx="37">
                  <c:v>1278.3538</c:v>
                </c:pt>
                <c:pt idx="38">
                  <c:v>1282.6834</c:v>
                </c:pt>
                <c:pt idx="39">
                  <c:v>1243.2564</c:v>
                </c:pt>
                <c:pt idx="40">
                  <c:v>1258.6354</c:v>
                </c:pt>
                <c:pt idx="41">
                  <c:v>1286.8741</c:v>
                </c:pt>
                <c:pt idx="42">
                  <c:v>1284.3721</c:v>
                </c:pt>
                <c:pt idx="43">
                  <c:v>1286.2943</c:v>
                </c:pt>
                <c:pt idx="44">
                  <c:v>1211.5232</c:v>
                </c:pt>
                <c:pt idx="45">
                  <c:v>1180.9739</c:v>
                </c:pt>
                <c:pt idx="46">
                  <c:v>1166.9502</c:v>
                </c:pt>
                <c:pt idx="47">
                  <c:v>1148.0731</c:v>
                </c:pt>
                <c:pt idx="48">
                  <c:v>1133.8779</c:v>
                </c:pt>
                <c:pt idx="49">
                  <c:v>1141.1174</c:v>
                </c:pt>
                <c:pt idx="50">
                  <c:v>1112.3456</c:v>
                </c:pt>
                <c:pt idx="51">
                  <c:v>1096.0167</c:v>
                </c:pt>
                <c:pt idx="52">
                  <c:v>1006.394189076129</c:v>
                </c:pt>
                <c:pt idx="53">
                  <c:v>1006.394189076129</c:v>
                </c:pt>
                <c:pt idx="54">
                  <c:v>1117.9393529649428</c:v>
                </c:pt>
              </c:numCache>
            </c:numRef>
          </c:xVal>
          <c:yVal>
            <c:numRef>
              <c:f>Sheet1!$B$187:$B$241</c:f>
              <c:numCache>
                <c:formatCode>General</c:formatCode>
                <c:ptCount val="55"/>
                <c:pt idx="0">
                  <c:v>0.1859207332855621</c:v>
                </c:pt>
                <c:pt idx="1">
                  <c:v>0.17628896453841028</c:v>
                </c:pt>
                <c:pt idx="2">
                  <c:v>0.17709702891462062</c:v>
                </c:pt>
                <c:pt idx="3">
                  <c:v>0.1909406558002054</c:v>
                </c:pt>
                <c:pt idx="4">
                  <c:v>0.18761105932063243</c:v>
                </c:pt>
                <c:pt idx="5">
                  <c:v>0.1814277185014777</c:v>
                </c:pt>
                <c:pt idx="6">
                  <c:v>0.18973053303449428</c:v>
                </c:pt>
                <c:pt idx="7">
                  <c:v>0.1913304678659205</c:v>
                </c:pt>
                <c:pt idx="8">
                  <c:v>0.18164046767371922</c:v>
                </c:pt>
                <c:pt idx="9">
                  <c:v>0.18966821363322414</c:v>
                </c:pt>
                <c:pt idx="10">
                  <c:v>0.18884295527805978</c:v>
                </c:pt>
                <c:pt idx="11">
                  <c:v>0.2004133977869088</c:v>
                </c:pt>
                <c:pt idx="12">
                  <c:v>0.19377957471915833</c:v>
                </c:pt>
                <c:pt idx="13">
                  <c:v>0.19229245344352242</c:v>
                </c:pt>
                <c:pt idx="14">
                  <c:v>0.1898957531363414</c:v>
                </c:pt>
                <c:pt idx="15">
                  <c:v>0.18740559127213166</c:v>
                </c:pt>
                <c:pt idx="16">
                  <c:v>0.18108020713296485</c:v>
                </c:pt>
                <c:pt idx="17">
                  <c:v>0.19680450441859168</c:v>
                </c:pt>
                <c:pt idx="18">
                  <c:v>0.18035337553487407</c:v>
                </c:pt>
                <c:pt idx="19">
                  <c:v>0.16493516616438209</c:v>
                </c:pt>
                <c:pt idx="20">
                  <c:v>0.16215618054349745</c:v>
                </c:pt>
                <c:pt idx="21">
                  <c:v>0.16808899807134123</c:v>
                </c:pt>
                <c:pt idx="22">
                  <c:v>0.16993001705053012</c:v>
                </c:pt>
                <c:pt idx="23">
                  <c:v>0.16983143238956813</c:v>
                </c:pt>
                <c:pt idx="24">
                  <c:v>0.17297764982013336</c:v>
                </c:pt>
                <c:pt idx="25">
                  <c:v>0.1721422329814849</c:v>
                </c:pt>
                <c:pt idx="26">
                  <c:v>0.17589436272141512</c:v>
                </c:pt>
                <c:pt idx="27">
                  <c:v>0.1791961505717614</c:v>
                </c:pt>
                <c:pt idx="28">
                  <c:v>0.16755937088492742</c:v>
                </c:pt>
                <c:pt idx="29">
                  <c:v>0.16993075393534243</c:v>
                </c:pt>
                <c:pt idx="30">
                  <c:v>0.16737774632356803</c:v>
                </c:pt>
                <c:pt idx="31">
                  <c:v>0.16769437870946957</c:v>
                </c:pt>
                <c:pt idx="32">
                  <c:v>0.16661677239583997</c:v>
                </c:pt>
                <c:pt idx="33">
                  <c:v>0.1706826747068049</c:v>
                </c:pt>
                <c:pt idx="34">
                  <c:v>0.16897841803980654</c:v>
                </c:pt>
                <c:pt idx="35">
                  <c:v>0.1623993349866852</c:v>
                </c:pt>
                <c:pt idx="36">
                  <c:v>0.16042992260138855</c:v>
                </c:pt>
                <c:pt idx="37">
                  <c:v>0.15815456265996886</c:v>
                </c:pt>
                <c:pt idx="38">
                  <c:v>0.1573949396877301</c:v>
                </c:pt>
                <c:pt idx="39">
                  <c:v>0.16431235813896328</c:v>
                </c:pt>
                <c:pt idx="40">
                  <c:v>0.1616141315845332</c:v>
                </c:pt>
                <c:pt idx="41">
                  <c:v>0.15665968654892715</c:v>
                </c:pt>
                <c:pt idx="42">
                  <c:v>0.1570986593585496</c:v>
                </c:pt>
                <c:pt idx="43">
                  <c:v>0.15676141174277972</c:v>
                </c:pt>
                <c:pt idx="44">
                  <c:v>0.16987990888329263</c:v>
                </c:pt>
                <c:pt idx="45">
                  <c:v>0.17523974583493132</c:v>
                </c:pt>
                <c:pt idx="46">
                  <c:v>0.17770018667837767</c:v>
                </c:pt>
                <c:pt idx="47">
                  <c:v>0.1810121505570845</c:v>
                </c:pt>
                <c:pt idx="48">
                  <c:v>0.18350268086370042</c:v>
                </c:pt>
                <c:pt idx="49">
                  <c:v>0.18223251953066205</c:v>
                </c:pt>
                <c:pt idx="50">
                  <c:v>0.18728049630280277</c:v>
                </c:pt>
                <c:pt idx="51">
                  <c:v>0.19014538163895167</c:v>
                </c:pt>
                <c:pt idx="52">
                  <c:v>0.20586954048214628</c:v>
                </c:pt>
                <c:pt idx="53">
                  <c:v>0.20586954048214628</c:v>
                </c:pt>
                <c:pt idx="54">
                  <c:v>0.1862990792542995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4.0"/>
          <c:min val="60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528612753112813"/>
          <c:min val="0.069851380042462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9028730560177316</c:v>
                </c:pt>
                <c:pt idx="1">
                  <c:v>2.013217380032956</c:v>
                </c:pt>
                <c:pt idx="2">
                  <c:v>2.247949619288386</c:v>
                </c:pt>
                <c:pt idx="3">
                  <c:v>2.214578178537295</c:v>
                </c:pt>
                <c:pt idx="4">
                  <c:v>2.2570095693177614</c:v>
                </c:pt>
                <c:pt idx="5">
                  <c:v>1.864088301050107</c:v>
                </c:pt>
                <c:pt idx="6">
                  <c:v>1.6405380885196092</c:v>
                </c:pt>
                <c:pt idx="7">
                  <c:v>1.6381519723929454</c:v>
                </c:pt>
                <c:pt idx="8">
                  <c:v>1.6358838967711857</c:v>
                </c:pt>
                <c:pt idx="9">
                  <c:v>1.7127845550644385</c:v>
                </c:pt>
                <c:pt idx="10">
                  <c:v>1.590435865583844</c:v>
                </c:pt>
                <c:pt idx="11">
                  <c:v>1.56833246182371</c:v>
                </c:pt>
                <c:pt idx="12">
                  <c:v>1.6059592683202695</c:v>
                </c:pt>
                <c:pt idx="13">
                  <c:v>1.5705698089287752</c:v>
                </c:pt>
                <c:pt idx="14">
                  <c:v>1.6786500677902219</c:v>
                </c:pt>
                <c:pt idx="15">
                  <c:v>1.734827103086462</c:v>
                </c:pt>
                <c:pt idx="16">
                  <c:v>1.7318153705035662</c:v>
                </c:pt>
                <c:pt idx="17">
                  <c:v>2.0732057311565826</c:v>
                </c:pt>
                <c:pt idx="18">
                  <c:v>2.11194624419259</c:v>
                </c:pt>
                <c:pt idx="19">
                  <c:v>2.070904007876295</c:v>
                </c:pt>
                <c:pt idx="20">
                  <c:v>2.065209479919569</c:v>
                </c:pt>
                <c:pt idx="21">
                  <c:v>2.081778403703381</c:v>
                </c:pt>
                <c:pt idx="22">
                  <c:v>2.0681454152680745</c:v>
                </c:pt>
                <c:pt idx="23">
                  <c:v>2.2137615301836298</c:v>
                </c:pt>
                <c:pt idx="24">
                  <c:v>2.452170346761101</c:v>
                </c:pt>
                <c:pt idx="25">
                  <c:v>2.4477066784449857</c:v>
                </c:pt>
                <c:pt idx="26">
                  <c:v>1.9845936636115857</c:v>
                </c:pt>
                <c:pt idx="27">
                  <c:v>1.9696167278662735</c:v>
                </c:pt>
                <c:pt idx="28">
                  <c:v>1.885814882341052</c:v>
                </c:pt>
                <c:pt idx="29">
                  <c:v>1.8904258858807412</c:v>
                </c:pt>
                <c:pt idx="30">
                  <c:v>1.8817811022102116</c:v>
                </c:pt>
                <c:pt idx="31">
                  <c:v>1.7572906465112308</c:v>
                </c:pt>
                <c:pt idx="32">
                  <c:v>1.8016558758773873</c:v>
                </c:pt>
                <c:pt idx="33">
                  <c:v>1.7749638858542813</c:v>
                </c:pt>
                <c:pt idx="34">
                  <c:v>1.8088000094528265</c:v>
                </c:pt>
                <c:pt idx="35">
                  <c:v>1.9569900201000325</c:v>
                </c:pt>
                <c:pt idx="36">
                  <c:v>2.0258690333391183</c:v>
                </c:pt>
                <c:pt idx="37">
                  <c:v>2.105616812958275</c:v>
                </c:pt>
                <c:pt idx="38">
                  <c:v>2.160647684925759</c:v>
                </c:pt>
                <c:pt idx="39">
                  <c:v>2.168630309724613</c:v>
                </c:pt>
                <c:pt idx="40">
                  <c:v>2.222623849363252</c:v>
                </c:pt>
                <c:pt idx="41">
                  <c:v>2.27777638723036</c:v>
                </c:pt>
                <c:pt idx="42">
                  <c:v>2.2952302295858287</c:v>
                </c:pt>
                <c:pt idx="43">
                  <c:v>2.3037178818296944</c:v>
                </c:pt>
                <c:pt idx="44">
                  <c:v>2.1646109881201387</c:v>
                </c:pt>
                <c:pt idx="45">
                  <c:v>2.1287543393214747</c:v>
                </c:pt>
                <c:pt idx="46">
                  <c:v>2.144710138709568</c:v>
                </c:pt>
                <c:pt idx="47">
                  <c:v>2.0910834038855715</c:v>
                </c:pt>
                <c:pt idx="48">
                  <c:v>2.095343043979497</c:v>
                </c:pt>
                <c:pt idx="49">
                  <c:v>1.992011438830601</c:v>
                </c:pt>
                <c:pt idx="50">
                  <c:v>1.9650906335350546</c:v>
                </c:pt>
                <c:pt idx="51">
                  <c:v>2.017617663328769</c:v>
                </c:pt>
                <c:pt idx="52">
                  <c:v>2.0304436931459935</c:v>
                </c:pt>
                <c:pt idx="53">
                  <c:v>2.2015853088538457</c:v>
                </c:pt>
                <c:pt idx="54">
                  <c:v>2.263873590816808</c:v>
                </c:pt>
                <c:pt idx="55">
                  <c:v>2.244695354170162</c:v>
                </c:pt>
                <c:pt idx="56">
                  <c:v>2.278698582503602</c:v>
                </c:pt>
                <c:pt idx="57">
                  <c:v>2.2958465039880385</c:v>
                </c:pt>
                <c:pt idx="58">
                  <c:v>2.174094588136142</c:v>
                </c:pt>
                <c:pt idx="59">
                  <c:v>2.2490268585547724</c:v>
                </c:pt>
                <c:pt idx="60">
                  <c:v>2.2732437182956873</c:v>
                </c:pt>
                <c:pt idx="61">
                  <c:v>2.1966641530389515</c:v>
                </c:pt>
                <c:pt idx="62">
                  <c:v>2.083486426819858</c:v>
                </c:pt>
                <c:pt idx="63">
                  <c:v>2.1490002225193767</c:v>
                </c:pt>
                <c:pt idx="64">
                  <c:v>2.1072906867356536</c:v>
                </c:pt>
                <c:pt idx="65">
                  <c:v>2.0787251902108297</c:v>
                </c:pt>
                <c:pt idx="66">
                  <c:v>2.0897733563502476</c:v>
                </c:pt>
                <c:pt idx="67">
                  <c:v>2.1568972723458497</c:v>
                </c:pt>
                <c:pt idx="68">
                  <c:v>2.09195483308792</c:v>
                </c:pt>
                <c:pt idx="69">
                  <c:v>2.1975349180476678</c:v>
                </c:pt>
                <c:pt idx="70">
                  <c:v>2.188827842471067</c:v>
                </c:pt>
                <c:pt idx="71">
                  <c:v>2.272129453569698</c:v>
                </c:pt>
                <c:pt idx="72">
                  <c:v>2.4216156935055424</c:v>
                </c:pt>
                <c:pt idx="73">
                  <c:v>2.299874415595905</c:v>
                </c:pt>
                <c:pt idx="74">
                  <c:v>2.4060866548158417</c:v>
                </c:pt>
                <c:pt idx="75">
                  <c:v>2.2825769074059656</c:v>
                </c:pt>
                <c:pt idx="76">
                  <c:v>2.3244505340634287</c:v>
                </c:pt>
                <c:pt idx="77">
                  <c:v>2.3763846166997666</c:v>
                </c:pt>
                <c:pt idx="78">
                  <c:v>2.3058596033583387</c:v>
                </c:pt>
                <c:pt idx="79">
                  <c:v>2.600175966995355</c:v>
                </c:pt>
                <c:pt idx="80">
                  <c:v>2.423545223681403</c:v>
                </c:pt>
                <c:pt idx="81">
                  <c:v>2.4806084579452374</c:v>
                </c:pt>
                <c:pt idx="82">
                  <c:v>2.5756097885009237</c:v>
                </c:pt>
                <c:pt idx="83">
                  <c:v>2.3032502639375227</c:v>
                </c:pt>
                <c:pt idx="84">
                  <c:v>2.4095327549448697</c:v>
                </c:pt>
                <c:pt idx="85">
                  <c:v>2.346387888308991</c:v>
                </c:pt>
                <c:pt idx="86">
                  <c:v>2.287078229738058</c:v>
                </c:pt>
                <c:pt idx="87">
                  <c:v>2.4179440891673836</c:v>
                </c:pt>
                <c:pt idx="88">
                  <c:v>2.374680865267311</c:v>
                </c:pt>
                <c:pt idx="89">
                  <c:v>2.348321062211953</c:v>
                </c:pt>
                <c:pt idx="90">
                  <c:v>2.5061814412146095</c:v>
                </c:pt>
                <c:pt idx="91">
                  <c:v>2.5232663738405825</c:v>
                </c:pt>
                <c:pt idx="92">
                  <c:v>2.409001781200165</c:v>
                </c:pt>
                <c:pt idx="93">
                  <c:v>2.2493173460124725</c:v>
                </c:pt>
                <c:pt idx="94">
                  <c:v>2.169557965836267</c:v>
                </c:pt>
                <c:pt idx="95">
                  <c:v>2.141624744086316</c:v>
                </c:pt>
                <c:pt idx="96">
                  <c:v>2.0164410562109363</c:v>
                </c:pt>
                <c:pt idx="97">
                  <c:v>2.022767830850664</c:v>
                </c:pt>
                <c:pt idx="98">
                  <c:v>2.093425948831164</c:v>
                </c:pt>
                <c:pt idx="99">
                  <c:v>2.2865909613265645</c:v>
                </c:pt>
                <c:pt idx="100">
                  <c:v>2.0138099939141463</c:v>
                </c:pt>
                <c:pt idx="101">
                  <c:v>1.8806463584320388</c:v>
                </c:pt>
                <c:pt idx="102">
                  <c:v>1.8463634318989455</c:v>
                </c:pt>
                <c:pt idx="103">
                  <c:v>1.8152582012398413</c:v>
                </c:pt>
                <c:pt idx="104">
                  <c:v>1.8370423449379145</c:v>
                </c:pt>
              </c:numCache>
            </c:numRef>
          </c:xVal>
          <c:yVal>
            <c:numRef>
              <c:f>Sheet1!$B$2:$B$106</c:f>
              <c:numCache>
                <c:formatCode>General</c:formatCode>
                <c:ptCount val="105"/>
                <c:pt idx="0">
                  <c:v>0.15203376822716808</c:v>
                </c:pt>
                <c:pt idx="1">
                  <c:v>0.13131955484896662</c:v>
                </c:pt>
                <c:pt idx="2">
                  <c:v>0.14105589146143638</c:v>
                </c:pt>
                <c:pt idx="3">
                  <c:v>0.1350858532137973</c:v>
                </c:pt>
                <c:pt idx="4">
                  <c:v>0.14952040624412263</c:v>
                </c:pt>
                <c:pt idx="5">
                  <c:v>0.18022153477696837</c:v>
                </c:pt>
                <c:pt idx="6">
                  <c:v>0.20782469481689014</c:v>
                </c:pt>
                <c:pt idx="7">
                  <c:v>0.22278359196439312</c:v>
                </c:pt>
                <c:pt idx="8">
                  <c:v>0.22940510627594013</c:v>
                </c:pt>
                <c:pt idx="9">
                  <c:v>0.20650358581393063</c:v>
                </c:pt>
                <c:pt idx="10">
                  <c:v>0.21696969696969698</c:v>
                </c:pt>
                <c:pt idx="11">
                  <c:v>0.20811010530205062</c:v>
                </c:pt>
                <c:pt idx="12">
                  <c:v>0.1844922039612305</c:v>
                </c:pt>
                <c:pt idx="13">
                  <c:v>0.1690825375170532</c:v>
                </c:pt>
                <c:pt idx="14">
                  <c:v>0.12979326442147382</c:v>
                </c:pt>
                <c:pt idx="15">
                  <c:v>0.12148242540087077</c:v>
                </c:pt>
                <c:pt idx="16">
                  <c:v>0.11672155140870838</c:v>
                </c:pt>
                <c:pt idx="17">
                  <c:v>0.09924528301886792</c:v>
                </c:pt>
                <c:pt idx="18">
                  <c:v>0.09235625085769178</c:v>
                </c:pt>
                <c:pt idx="19">
                  <c:v>0.09352150994728788</c:v>
                </c:pt>
                <c:pt idx="20">
                  <c:v>0.08731422505307855</c:v>
                </c:pt>
                <c:pt idx="21">
                  <c:v>0.09053156146179402</c:v>
                </c:pt>
                <c:pt idx="22">
                  <c:v>0.09601650531661642</c:v>
                </c:pt>
                <c:pt idx="23">
                  <c:v>0.11016949152542373</c:v>
                </c:pt>
                <c:pt idx="24">
                  <c:v>0.11212558065032836</c:v>
                </c:pt>
                <c:pt idx="25">
                  <c:v>0.11815875317143892</c:v>
                </c:pt>
                <c:pt idx="26">
                  <c:v>0.13977371627502175</c:v>
                </c:pt>
                <c:pt idx="27">
                  <c:v>0.14005556463474425</c:v>
                </c:pt>
                <c:pt idx="28">
                  <c:v>0.16685330347144456</c:v>
                </c:pt>
                <c:pt idx="29">
                  <c:v>0.16854092526690392</c:v>
                </c:pt>
                <c:pt idx="30">
                  <c:v>0.1738241308793456</c:v>
                </c:pt>
                <c:pt idx="31">
                  <c:v>0.16885301042717793</c:v>
                </c:pt>
                <c:pt idx="32">
                  <c:v>0.1941530524505589</c:v>
                </c:pt>
                <c:pt idx="33">
                  <c:v>0.17708474576271185</c:v>
                </c:pt>
                <c:pt idx="34">
                  <c:v>0.18097960244251007</c:v>
                </c:pt>
                <c:pt idx="35">
                  <c:v>0.19191362785061145</c:v>
                </c:pt>
                <c:pt idx="36">
                  <c:v>0.15334485968878842</c:v>
                </c:pt>
                <c:pt idx="37">
                  <c:v>0.1492694682934177</c:v>
                </c:pt>
                <c:pt idx="38">
                  <c:v>0.14338561704646344</c:v>
                </c:pt>
                <c:pt idx="39">
                  <c:v>0.12966063004108963</c:v>
                </c:pt>
                <c:pt idx="40">
                  <c:v>0.13684895833333333</c:v>
                </c:pt>
                <c:pt idx="41">
                  <c:v>0.1338894967177243</c:v>
                </c:pt>
                <c:pt idx="42">
                  <c:v>0.13219741480611047</c:v>
                </c:pt>
                <c:pt idx="43">
                  <c:v>0.12925982200998481</c:v>
                </c:pt>
                <c:pt idx="44">
                  <c:v>0.1348750466243939</c:v>
                </c:pt>
                <c:pt idx="45">
                  <c:v>0.15498938428874734</c:v>
                </c:pt>
                <c:pt idx="46">
                  <c:v>0.15900846432889965</c:v>
                </c:pt>
                <c:pt idx="47">
                  <c:v>0.14745484400656814</c:v>
                </c:pt>
                <c:pt idx="48">
                  <c:v>0.1530822089582184</c:v>
                </c:pt>
                <c:pt idx="49">
                  <c:v>0.1467014462127716</c:v>
                </c:pt>
                <c:pt idx="50">
                  <c:v>0.15167560321715817</c:v>
                </c:pt>
                <c:pt idx="51">
                  <c:v>0.13935681470137826</c:v>
                </c:pt>
                <c:pt idx="52">
                  <c:v>0.1430183918730496</c:v>
                </c:pt>
                <c:pt idx="53">
                  <c:v>0.12857029828309202</c:v>
                </c:pt>
                <c:pt idx="54">
                  <c:v>0.13254773782900395</c:v>
                </c:pt>
                <c:pt idx="55">
                  <c:v>0.1281826931490069</c:v>
                </c:pt>
                <c:pt idx="56">
                  <c:v>0.13618157543391188</c:v>
                </c:pt>
                <c:pt idx="57">
                  <c:v>0.13316070307595732</c:v>
                </c:pt>
                <c:pt idx="58">
                  <c:v>0.15326787358085303</c:v>
                </c:pt>
                <c:pt idx="59">
                  <c:v>0.14013928138877674</c:v>
                </c:pt>
                <c:pt idx="60">
                  <c:v>0.1467167860918595</c:v>
                </c:pt>
                <c:pt idx="61">
                  <c:v>0.15204346415828737</c:v>
                </c:pt>
                <c:pt idx="62">
                  <c:v>0.16829385403329064</c:v>
                </c:pt>
                <c:pt idx="63">
                  <c:v>0.1751731406202951</c:v>
                </c:pt>
                <c:pt idx="64">
                  <c:v>0.16787756994898748</c:v>
                </c:pt>
                <c:pt idx="65">
                  <c:v>0.16462486988549924</c:v>
                </c:pt>
                <c:pt idx="66">
                  <c:v>0.1601910312449409</c:v>
                </c:pt>
                <c:pt idx="67">
                  <c:v>0.14912944738834216</c:v>
                </c:pt>
                <c:pt idx="68">
                  <c:v>0.1371638614819114</c:v>
                </c:pt>
                <c:pt idx="69">
                  <c:v>0.12905236907730674</c:v>
                </c:pt>
                <c:pt idx="70">
                  <c:v>0.1363848124854414</c:v>
                </c:pt>
                <c:pt idx="71">
                  <c:v>0.12382921785670843</c:v>
                </c:pt>
                <c:pt idx="72">
                  <c:v>0.12497035807446051</c:v>
                </c:pt>
                <c:pt idx="73">
                  <c:v>0.1250307049864898</c:v>
                </c:pt>
                <c:pt idx="74">
                  <c:v>0.12244665069040284</c:v>
                </c:pt>
                <c:pt idx="75">
                  <c:v>0.13474184972715825</c:v>
                </c:pt>
                <c:pt idx="76">
                  <c:v>0.15092005566723365</c:v>
                </c:pt>
                <c:pt idx="77">
                  <c:v>0.13680534467051322</c:v>
                </c:pt>
                <c:pt idx="78">
                  <c:v>0.15169561621174524</c:v>
                </c:pt>
                <c:pt idx="79">
                  <c:v>0.15736989716422561</c:v>
                </c:pt>
                <c:pt idx="80">
                  <c:v>0.1355775169857937</c:v>
                </c:pt>
                <c:pt idx="81">
                  <c:v>0.13393870601589103</c:v>
                </c:pt>
                <c:pt idx="82">
                  <c:v>0.15038965345713812</c:v>
                </c:pt>
                <c:pt idx="83">
                  <c:v>0.13358278765201123</c:v>
                </c:pt>
                <c:pt idx="84">
                  <c:v>0.13683168316831684</c:v>
                </c:pt>
                <c:pt idx="85">
                  <c:v>0.146780809702158</c:v>
                </c:pt>
                <c:pt idx="86">
                  <c:v>0.15664371996363163</c:v>
                </c:pt>
                <c:pt idx="87">
                  <c:v>0.17659462308908802</c:v>
                </c:pt>
                <c:pt idx="88">
                  <c:v>0.14726989079563182</c:v>
                </c:pt>
                <c:pt idx="89">
                  <c:v>0.1654392875492379</c:v>
                </c:pt>
                <c:pt idx="90">
                  <c:v>0.1436730323041228</c:v>
                </c:pt>
                <c:pt idx="91">
                  <c:v>0.1365415986949429</c:v>
                </c:pt>
                <c:pt idx="92">
                  <c:v>0.14522156967431926</c:v>
                </c:pt>
                <c:pt idx="93">
                  <c:v>0.145748987854251</c:v>
                </c:pt>
                <c:pt idx="94">
                  <c:v>0.14999226843977115</c:v>
                </c:pt>
                <c:pt idx="95">
                  <c:v>0.14889313406000673</c:v>
                </c:pt>
                <c:pt idx="96">
                  <c:v>0.14493518239372927</c:v>
                </c:pt>
                <c:pt idx="97">
                  <c:v>0.14856711915535445</c:v>
                </c:pt>
                <c:pt idx="98">
                  <c:v>0.15471226021684736</c:v>
                </c:pt>
                <c:pt idx="99">
                  <c:v>0.15064853883419285</c:v>
                </c:pt>
                <c:pt idx="100">
                  <c:v>0.1553972561435248</c:v>
                </c:pt>
                <c:pt idx="101">
                  <c:v>0.14507422402159245</c:v>
                </c:pt>
                <c:pt idx="102">
                  <c:v>0.1501465810950004</c:v>
                </c:pt>
                <c:pt idx="103">
                  <c:v>0.14516482713251955</c:v>
                </c:pt>
                <c:pt idx="104">
                  <c:v>0.144393769899320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753871457541386</c:v>
                </c:pt>
                <c:pt idx="1">
                  <c:v>1.830011001929387</c:v>
                </c:pt>
                <c:pt idx="2">
                  <c:v>1.790277214358831</c:v>
                </c:pt>
                <c:pt idx="3">
                  <c:v>1.6811794460266436</c:v>
                </c:pt>
                <c:pt idx="4">
                  <c:v>1.7053908498193497</c:v>
                </c:pt>
                <c:pt idx="5">
                  <c:v>1.702278878452684</c:v>
                </c:pt>
                <c:pt idx="6">
                  <c:v>1.7460383216189599</c:v>
                </c:pt>
                <c:pt idx="7">
                  <c:v>1.630594782873204</c:v>
                </c:pt>
                <c:pt idx="8">
                  <c:v>1.7094033983090453</c:v>
                </c:pt>
                <c:pt idx="9">
                  <c:v>1.7017844989868933</c:v>
                </c:pt>
                <c:pt idx="10">
                  <c:v>1.6618349099156762</c:v>
                </c:pt>
                <c:pt idx="11">
                  <c:v>1.8186768525002828</c:v>
                </c:pt>
                <c:pt idx="12">
                  <c:v>1.753788828952489</c:v>
                </c:pt>
                <c:pt idx="13">
                  <c:v>1.6551039285729012</c:v>
                </c:pt>
                <c:pt idx="14">
                  <c:v>1.6898386211388523</c:v>
                </c:pt>
                <c:pt idx="15">
                  <c:v>1.7546179698169102</c:v>
                </c:pt>
                <c:pt idx="16">
                  <c:v>1.7319613081162226</c:v>
                </c:pt>
                <c:pt idx="17">
                  <c:v>1.66849101858729</c:v>
                </c:pt>
                <c:pt idx="18">
                  <c:v>1.7620224370177904</c:v>
                </c:pt>
                <c:pt idx="19">
                  <c:v>1.8832300299231004</c:v>
                </c:pt>
                <c:pt idx="20">
                  <c:v>1.8569128986615189</c:v>
                </c:pt>
                <c:pt idx="21">
                  <c:v>1.825337380837623</c:v>
                </c:pt>
                <c:pt idx="22">
                  <c:v>1.7904271881054994</c:v>
                </c:pt>
                <c:pt idx="23">
                  <c:v>1.7967686027086174</c:v>
                </c:pt>
                <c:pt idx="24">
                  <c:v>1.7401542438035085</c:v>
                </c:pt>
                <c:pt idx="25">
                  <c:v>1.800392664258991</c:v>
                </c:pt>
                <c:pt idx="26">
                  <c:v>1.7205841881255655</c:v>
                </c:pt>
                <c:pt idx="27">
                  <c:v>1.6855210101628262</c:v>
                </c:pt>
                <c:pt idx="28">
                  <c:v>1.7900193537015379</c:v>
                </c:pt>
                <c:pt idx="29">
                  <c:v>1.7737988489663354</c:v>
                </c:pt>
                <c:pt idx="30">
                  <c:v>1.7907236203162746</c:v>
                </c:pt>
                <c:pt idx="31">
                  <c:v>1.760605266856165</c:v>
                </c:pt>
                <c:pt idx="32">
                  <c:v>1.7641428636168857</c:v>
                </c:pt>
                <c:pt idx="33">
                  <c:v>1.7039096468053063</c:v>
                </c:pt>
                <c:pt idx="34">
                  <c:v>1.7578621568108448</c:v>
                </c:pt>
                <c:pt idx="35">
                  <c:v>1.765058716602918</c:v>
                </c:pt>
                <c:pt idx="36">
                  <c:v>1.7486204611194731</c:v>
                </c:pt>
                <c:pt idx="37">
                  <c:v>1.7793704163966337</c:v>
                </c:pt>
                <c:pt idx="38">
                  <c:v>1.766422418803009</c:v>
                </c:pt>
                <c:pt idx="39">
                  <c:v>1.7739887852238234</c:v>
                </c:pt>
                <c:pt idx="40">
                  <c:v>1.73067371310373</c:v>
                </c:pt>
                <c:pt idx="41">
                  <c:v>1.76447929811004</c:v>
                </c:pt>
                <c:pt idx="42">
                  <c:v>1.7642927091671172</c:v>
                </c:pt>
                <c:pt idx="43">
                  <c:v>1.8033157435783842</c:v>
                </c:pt>
                <c:pt idx="44">
                  <c:v>1.76803168065304</c:v>
                </c:pt>
                <c:pt idx="45">
                  <c:v>1.8082054840516886</c:v>
                </c:pt>
                <c:pt idx="46">
                  <c:v>1.7628959377186246</c:v>
                </c:pt>
                <c:pt idx="47">
                  <c:v>1.77459735975893</c:v>
                </c:pt>
                <c:pt idx="48">
                  <c:v>1.7279864123581097</c:v>
                </c:pt>
                <c:pt idx="49">
                  <c:v>1.779639093260338</c:v>
                </c:pt>
                <c:pt idx="50">
                  <c:v>1.778200661950144</c:v>
                </c:pt>
                <c:pt idx="51">
                  <c:v>1.8109088079213496</c:v>
                </c:pt>
              </c:numCache>
            </c:numRef>
          </c:xVal>
          <c:yVal>
            <c:numRef>
              <c:f>Sheet1!$B$109:$B$160</c:f>
              <c:numCache>
                <c:formatCode>General</c:formatCode>
                <c:ptCount val="52"/>
                <c:pt idx="0">
                  <c:v>0.1605461393596987</c:v>
                </c:pt>
                <c:pt idx="1">
                  <c:v>0.14413895291405993</c:v>
                </c:pt>
                <c:pt idx="2">
                  <c:v>0.1673538506847298</c:v>
                </c:pt>
                <c:pt idx="3">
                  <c:v>0.19772113066978306</c:v>
                </c:pt>
                <c:pt idx="4">
                  <c:v>0.18746218995765276</c:v>
                </c:pt>
                <c:pt idx="5">
                  <c:v>0.18380814421374536</c:v>
                </c:pt>
                <c:pt idx="6">
                  <c:v>0.19407496977025393</c:v>
                </c:pt>
                <c:pt idx="7">
                  <c:v>0.2085666874092512</c:v>
                </c:pt>
                <c:pt idx="8">
                  <c:v>0.18858212447356107</c:v>
                </c:pt>
                <c:pt idx="9">
                  <c:v>0.1970842332613391</c:v>
                </c:pt>
                <c:pt idx="10">
                  <c:v>0.2098752489778803</c:v>
                </c:pt>
                <c:pt idx="11">
                  <c:v>0.19254133025759324</c:v>
                </c:pt>
                <c:pt idx="12">
                  <c:v>0.1878903068150964</c:v>
                </c:pt>
                <c:pt idx="13">
                  <c:v>0.18893412287194672</c:v>
                </c:pt>
                <c:pt idx="14">
                  <c:v>0.18463971533063162</c:v>
                </c:pt>
                <c:pt idx="15">
                  <c:v>0.17705500941225685</c:v>
                </c:pt>
                <c:pt idx="16">
                  <c:v>0.1609324218312227</c:v>
                </c:pt>
                <c:pt idx="17">
                  <c:v>0.18393338231692383</c:v>
                </c:pt>
                <c:pt idx="18">
                  <c:v>0.16355530788520478</c:v>
                </c:pt>
                <c:pt idx="19">
                  <c:v>0.1659034410571765</c:v>
                </c:pt>
                <c:pt idx="20">
                  <c:v>0.1475199543899658</c:v>
                </c:pt>
                <c:pt idx="21">
                  <c:v>0.15116883116883117</c:v>
                </c:pt>
                <c:pt idx="22">
                  <c:v>0.15857718591203784</c:v>
                </c:pt>
                <c:pt idx="23">
                  <c:v>0.1551473263004729</c:v>
                </c:pt>
                <c:pt idx="24">
                  <c:v>0.17107257113992255</c:v>
                </c:pt>
                <c:pt idx="25">
                  <c:v>0.16629915472252849</c:v>
                </c:pt>
                <c:pt idx="26">
                  <c:v>0.16182069920387676</c:v>
                </c:pt>
                <c:pt idx="27">
                  <c:v>0.1630819092516205</c:v>
                </c:pt>
                <c:pt idx="28">
                  <c:v>0.15857142857142856</c:v>
                </c:pt>
                <c:pt idx="29">
                  <c:v>0.15828894806924101</c:v>
                </c:pt>
                <c:pt idx="30">
                  <c:v>0.15847833503923575</c:v>
                </c:pt>
                <c:pt idx="31">
                  <c:v>0.15720362493064546</c:v>
                </c:pt>
                <c:pt idx="32">
                  <c:v>0.1521524811041735</c:v>
                </c:pt>
                <c:pt idx="33">
                  <c:v>0.17336581404790904</c:v>
                </c:pt>
                <c:pt idx="34">
                  <c:v>0.18772272675020119</c:v>
                </c:pt>
                <c:pt idx="35">
                  <c:v>0.1809410520750727</c:v>
                </c:pt>
                <c:pt idx="36">
                  <c:v>0.17780211756115372</c:v>
                </c:pt>
                <c:pt idx="37">
                  <c:v>0.1536039768019884</c:v>
                </c:pt>
                <c:pt idx="38">
                  <c:v>0.1590291613838073</c:v>
                </c:pt>
                <c:pt idx="39">
                  <c:v>0.17227666524641386</c:v>
                </c:pt>
                <c:pt idx="40">
                  <c:v>0.16235100698725852</c:v>
                </c:pt>
                <c:pt idx="41">
                  <c:v>0.17421926910299004</c:v>
                </c:pt>
                <c:pt idx="42">
                  <c:v>0.165417952108124</c:v>
                </c:pt>
                <c:pt idx="43">
                  <c:v>0.16425173010380623</c:v>
                </c:pt>
                <c:pt idx="44">
                  <c:v>0.17050734064300316</c:v>
                </c:pt>
                <c:pt idx="45">
                  <c:v>0.17971851317214002</c:v>
                </c:pt>
                <c:pt idx="46">
                  <c:v>0.20572160546541418</c:v>
                </c:pt>
                <c:pt idx="47">
                  <c:v>0.20394578554815943</c:v>
                </c:pt>
                <c:pt idx="48">
                  <c:v>0.2046908315565032</c:v>
                </c:pt>
                <c:pt idx="49">
                  <c:v>0.20980441960883922</c:v>
                </c:pt>
                <c:pt idx="50">
                  <c:v>0.211416402204777</c:v>
                </c:pt>
                <c:pt idx="51">
                  <c:v>0.1975665085584656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572509223561495</c:v>
                </c:pt>
              </c:numCache>
            </c:numRef>
          </c:xVal>
          <c:yVal>
            <c:numRef>
              <c:f>Sheet1!$B$163:$B$164</c:f>
              <c:numCache>
                <c:formatCode>General</c:formatCode>
                <c:ptCount val="2"/>
                <c:pt idx="0">
                  <c:v>0.20586954048214628</c:v>
                </c:pt>
                <c:pt idx="1">
                  <c:v>0.2058695404821462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572509223561495</c:v>
                </c:pt>
                <c:pt idx="1">
                  <c:v>1.572509223561495</c:v>
                </c:pt>
              </c:numCache>
            </c:numRef>
          </c:xVal>
          <c:yVal>
            <c:numRef>
              <c:f>Sheet1!$B$167:$B$168</c:f>
              <c:numCache>
                <c:formatCode>General</c:formatCode>
                <c:ptCount val="2"/>
                <c:pt idx="0">
                  <c:v>0.2058695404821462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572509223561495</c:v>
                </c:pt>
              </c:numCache>
            </c:numRef>
          </c:xVal>
          <c:yVal>
            <c:numRef>
              <c:f>Sheet1!$B$171:$B$172</c:f>
              <c:numCache>
                <c:formatCode>General</c:formatCode>
                <c:ptCount val="2"/>
                <c:pt idx="0">
                  <c:v>0.20586954048214628</c:v>
                </c:pt>
                <c:pt idx="1">
                  <c:v>0.2058695404821462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572509223561495</c:v>
                </c:pt>
                <c:pt idx="1">
                  <c:v>1.572509223561495</c:v>
                </c:pt>
              </c:numCache>
            </c:numRef>
          </c:xVal>
          <c:yVal>
            <c:numRef>
              <c:f>Sheet1!$B$175:$B$176</c:f>
              <c:numCache>
                <c:formatCode>General</c:formatCode>
                <c:ptCount val="2"/>
                <c:pt idx="0">
                  <c:v>0.2058695404821462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6929996303314847</c:v>
                </c:pt>
              </c:numCache>
            </c:numRef>
          </c:xVal>
          <c:yVal>
            <c:numRef>
              <c:f>Sheet1!$B$179:$B$180</c:f>
              <c:numCache>
                <c:formatCode>General</c:formatCode>
                <c:ptCount val="2"/>
                <c:pt idx="0">
                  <c:v>0.18629907925429956</c:v>
                </c:pt>
                <c:pt idx="1">
                  <c:v>0.1862990792542995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6929996303314847</c:v>
                </c:pt>
                <c:pt idx="1">
                  <c:v>1.6929996303314847</c:v>
                </c:pt>
              </c:numCache>
            </c:numRef>
          </c:xVal>
          <c:yVal>
            <c:numRef>
              <c:f>Sheet1!$B$183:$B$184</c:f>
              <c:numCache>
                <c:formatCode>General</c:formatCode>
                <c:ptCount val="2"/>
                <c:pt idx="0">
                  <c:v>0.1862990792542995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753871457541386</c:v>
                </c:pt>
                <c:pt idx="1">
                  <c:v>1.830011001929387</c:v>
                </c:pt>
                <c:pt idx="2">
                  <c:v>1.790277214358831</c:v>
                </c:pt>
                <c:pt idx="3">
                  <c:v>1.6811794460266436</c:v>
                </c:pt>
                <c:pt idx="4">
                  <c:v>1.7053908498193497</c:v>
                </c:pt>
                <c:pt idx="5">
                  <c:v>1.702278878452684</c:v>
                </c:pt>
                <c:pt idx="6">
                  <c:v>1.7460383216189599</c:v>
                </c:pt>
                <c:pt idx="7">
                  <c:v>1.630594782873204</c:v>
                </c:pt>
                <c:pt idx="8">
                  <c:v>1.7094033983090453</c:v>
                </c:pt>
                <c:pt idx="9">
                  <c:v>1.7017844989868933</c:v>
                </c:pt>
                <c:pt idx="10">
                  <c:v>1.6618349099156762</c:v>
                </c:pt>
                <c:pt idx="11">
                  <c:v>1.8186768525002828</c:v>
                </c:pt>
                <c:pt idx="12">
                  <c:v>1.753788828952489</c:v>
                </c:pt>
                <c:pt idx="13">
                  <c:v>1.6551039285729012</c:v>
                </c:pt>
                <c:pt idx="14">
                  <c:v>1.6898386211388523</c:v>
                </c:pt>
                <c:pt idx="15">
                  <c:v>1.7546179698169102</c:v>
                </c:pt>
                <c:pt idx="16">
                  <c:v>1.7319613081162226</c:v>
                </c:pt>
                <c:pt idx="17">
                  <c:v>1.66849101858729</c:v>
                </c:pt>
                <c:pt idx="18">
                  <c:v>1.7620224370177904</c:v>
                </c:pt>
                <c:pt idx="19">
                  <c:v>1.8832300299231004</c:v>
                </c:pt>
                <c:pt idx="20">
                  <c:v>1.8569128986615189</c:v>
                </c:pt>
                <c:pt idx="21">
                  <c:v>1.825337380837623</c:v>
                </c:pt>
                <c:pt idx="22">
                  <c:v>1.7904271881054994</c:v>
                </c:pt>
                <c:pt idx="23">
                  <c:v>1.7967686027086174</c:v>
                </c:pt>
                <c:pt idx="24">
                  <c:v>1.7401542438035085</c:v>
                </c:pt>
                <c:pt idx="25">
                  <c:v>1.800392664258991</c:v>
                </c:pt>
                <c:pt idx="26">
                  <c:v>1.7205841881255655</c:v>
                </c:pt>
                <c:pt idx="27">
                  <c:v>1.6855210101628262</c:v>
                </c:pt>
                <c:pt idx="28">
                  <c:v>1.7900193537015379</c:v>
                </c:pt>
                <c:pt idx="29">
                  <c:v>1.7737988489663354</c:v>
                </c:pt>
                <c:pt idx="30">
                  <c:v>1.7907236203162746</c:v>
                </c:pt>
                <c:pt idx="31">
                  <c:v>1.760605266856165</c:v>
                </c:pt>
                <c:pt idx="32">
                  <c:v>1.7641428636168857</c:v>
                </c:pt>
                <c:pt idx="33">
                  <c:v>1.7039096468053063</c:v>
                </c:pt>
                <c:pt idx="34">
                  <c:v>1.7578621568108448</c:v>
                </c:pt>
                <c:pt idx="35">
                  <c:v>1.765058716602918</c:v>
                </c:pt>
                <c:pt idx="36">
                  <c:v>1.7486204611194731</c:v>
                </c:pt>
                <c:pt idx="37">
                  <c:v>1.7793704163966337</c:v>
                </c:pt>
                <c:pt idx="38">
                  <c:v>1.766422418803009</c:v>
                </c:pt>
                <c:pt idx="39">
                  <c:v>1.7739887852238234</c:v>
                </c:pt>
                <c:pt idx="40">
                  <c:v>1.73067371310373</c:v>
                </c:pt>
                <c:pt idx="41">
                  <c:v>1.76447929811004</c:v>
                </c:pt>
                <c:pt idx="42">
                  <c:v>1.7642927091671172</c:v>
                </c:pt>
                <c:pt idx="43">
                  <c:v>1.8033157435783842</c:v>
                </c:pt>
                <c:pt idx="44">
                  <c:v>1.76803168065304</c:v>
                </c:pt>
                <c:pt idx="45">
                  <c:v>1.8082054840516886</c:v>
                </c:pt>
                <c:pt idx="46">
                  <c:v>1.7628959377186246</c:v>
                </c:pt>
                <c:pt idx="47">
                  <c:v>1.77459735975893</c:v>
                </c:pt>
                <c:pt idx="48">
                  <c:v>1.7279864123581097</c:v>
                </c:pt>
                <c:pt idx="49">
                  <c:v>1.779639093260338</c:v>
                </c:pt>
                <c:pt idx="50">
                  <c:v>1.778200661950144</c:v>
                </c:pt>
                <c:pt idx="51">
                  <c:v>1.8109088079213496</c:v>
                </c:pt>
                <c:pt idx="52">
                  <c:v>1.572509223561495</c:v>
                </c:pt>
                <c:pt idx="53">
                  <c:v>1.572509223561495</c:v>
                </c:pt>
                <c:pt idx="54">
                  <c:v>1.6929996303314847</c:v>
                </c:pt>
              </c:numCache>
            </c:numRef>
          </c:xVal>
          <c:yVal>
            <c:numRef>
              <c:f>Sheet1!$B$187:$B$241</c:f>
              <c:numCache>
                <c:formatCode>General</c:formatCode>
                <c:ptCount val="55"/>
                <c:pt idx="0">
                  <c:v>0.17641207026981104</c:v>
                </c:pt>
                <c:pt idx="1">
                  <c:v>0.16404522678993316</c:v>
                </c:pt>
                <c:pt idx="2">
                  <c:v>0.17049892356074314</c:v>
                </c:pt>
                <c:pt idx="3">
                  <c:v>0.18821895374759</c:v>
                </c:pt>
                <c:pt idx="4">
                  <c:v>0.1842864552865182</c:v>
                </c:pt>
                <c:pt idx="5">
                  <c:v>0.1847919122486626</c:v>
                </c:pt>
                <c:pt idx="6">
                  <c:v>0.17768435481902778</c:v>
                </c:pt>
                <c:pt idx="7">
                  <c:v>0.19643508659589115</c:v>
                </c:pt>
                <c:pt idx="8">
                  <c:v>0.1836347235283846</c:v>
                </c:pt>
                <c:pt idx="9">
                  <c:v>0.1848722110411264</c:v>
                </c:pt>
                <c:pt idx="10">
                  <c:v>0.19136095902484884</c:v>
                </c:pt>
                <c:pt idx="11">
                  <c:v>0.16588615784742666</c:v>
                </c:pt>
                <c:pt idx="12">
                  <c:v>0.1764254910859463</c:v>
                </c:pt>
                <c:pt idx="13">
                  <c:v>0.19245422788272232</c:v>
                </c:pt>
                <c:pt idx="14">
                  <c:v>0.18681250110674108</c:v>
                </c:pt>
                <c:pt idx="15">
                  <c:v>0.17629081920978146</c:v>
                </c:pt>
                <c:pt idx="16">
                  <c:v>0.17997079117810738</c:v>
                </c:pt>
                <c:pt idx="17">
                  <c:v>0.19027985124060154</c:v>
                </c:pt>
                <c:pt idx="18">
                  <c:v>0.1750881604906993</c:v>
                </c:pt>
                <c:pt idx="19">
                  <c:v>0.15540121145414904</c:v>
                </c:pt>
                <c:pt idx="20">
                  <c:v>0.15967572932482166</c:v>
                </c:pt>
                <c:pt idx="21">
                  <c:v>0.16480433220605656</c:v>
                </c:pt>
                <c:pt idx="22">
                  <c:v>0.1704745643152808</c:v>
                </c:pt>
                <c:pt idx="23">
                  <c:v>0.16944457021079634</c:v>
                </c:pt>
                <c:pt idx="24">
                  <c:v>0.17864006672868005</c:v>
                </c:pt>
                <c:pt idx="25">
                  <c:v>0.16885593782121278</c:v>
                </c:pt>
                <c:pt idx="26">
                  <c:v>0.18181870166019876</c:v>
                </c:pt>
                <c:pt idx="27">
                  <c:v>0.18751378215033937</c:v>
                </c:pt>
                <c:pt idx="28">
                  <c:v>0.17054080616476963</c:v>
                </c:pt>
                <c:pt idx="29">
                  <c:v>0.1731753956522329</c:v>
                </c:pt>
                <c:pt idx="30">
                  <c:v>0.17042641678849274</c:v>
                </c:pt>
                <c:pt idx="31">
                  <c:v>0.1753183420831168</c:v>
                </c:pt>
                <c:pt idx="32">
                  <c:v>0.17474375359842853</c:v>
                </c:pt>
                <c:pt idx="33">
                  <c:v>0.18452703731237396</c:v>
                </c:pt>
                <c:pt idx="34">
                  <c:v>0.17576388733625997</c:v>
                </c:pt>
                <c:pt idx="35">
                  <c:v>0.17459499764487146</c:v>
                </c:pt>
                <c:pt idx="36">
                  <c:v>0.17726495494866173</c:v>
                </c:pt>
                <c:pt idx="37">
                  <c:v>0.17227044274107595</c:v>
                </c:pt>
                <c:pt idx="38">
                  <c:v>0.1743735005004211</c:v>
                </c:pt>
                <c:pt idx="39">
                  <c:v>0.17314454555999254</c:v>
                </c:pt>
                <c:pt idx="40">
                  <c:v>0.1801799267345775</c:v>
                </c:pt>
                <c:pt idx="41">
                  <c:v>0.1746891087650307</c:v>
                </c:pt>
                <c:pt idx="42">
                  <c:v>0.174719415175067</c:v>
                </c:pt>
                <c:pt idx="43">
                  <c:v>0.16838116134713788</c:v>
                </c:pt>
                <c:pt idx="44">
                  <c:v>0.17411211872335064</c:v>
                </c:pt>
                <c:pt idx="45">
                  <c:v>0.1675869530868096</c:v>
                </c:pt>
                <c:pt idx="46">
                  <c:v>0.1749462835391939</c:v>
                </c:pt>
                <c:pt idx="47">
                  <c:v>0.1730456988163983</c:v>
                </c:pt>
                <c:pt idx="48">
                  <c:v>0.18061640725165407</c:v>
                </c:pt>
                <c:pt idx="49">
                  <c:v>0.1722268033320566</c:v>
                </c:pt>
                <c:pt idx="50">
                  <c:v>0.17246043823245832</c:v>
                </c:pt>
                <c:pt idx="51">
                  <c:v>0.1671478700394886</c:v>
                </c:pt>
                <c:pt idx="52">
                  <c:v>0.20586954048214628</c:v>
                </c:pt>
                <c:pt idx="53">
                  <c:v>0.20586954048214628</c:v>
                </c:pt>
                <c:pt idx="54">
                  <c:v>0.1862990792542995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528612753112813"/>
          <c:min val="0.069851380042462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1.3397</c:v>
                </c:pt>
                <c:pt idx="1">
                  <c:v>863.5551</c:v>
                </c:pt>
                <c:pt idx="2">
                  <c:v>897.2039</c:v>
                </c:pt>
                <c:pt idx="3">
                  <c:v>910.8735</c:v>
                </c:pt>
                <c:pt idx="4">
                  <c:v>896.5</c:v>
                </c:pt>
                <c:pt idx="5">
                  <c:v>877.2215</c:v>
                </c:pt>
                <c:pt idx="6">
                  <c:v>836.5002</c:v>
                </c:pt>
                <c:pt idx="7">
                  <c:v>843.6463</c:v>
                </c:pt>
                <c:pt idx="8">
                  <c:v>837.9156</c:v>
                </c:pt>
                <c:pt idx="9">
                  <c:v>826.8154</c:v>
                </c:pt>
                <c:pt idx="10">
                  <c:v>797.3752</c:v>
                </c:pt>
                <c:pt idx="11">
                  <c:v>808.9015</c:v>
                </c:pt>
                <c:pt idx="12">
                  <c:v>829.2133</c:v>
                </c:pt>
                <c:pt idx="13">
                  <c:v>817.4029</c:v>
                </c:pt>
                <c:pt idx="14">
                  <c:v>898.7521</c:v>
                </c:pt>
                <c:pt idx="15">
                  <c:v>914.6836</c:v>
                </c:pt>
                <c:pt idx="16">
                  <c:v>934.9446</c:v>
                </c:pt>
                <c:pt idx="17">
                  <c:v>937.9417</c:v>
                </c:pt>
                <c:pt idx="18">
                  <c:v>958.5275</c:v>
                </c:pt>
                <c:pt idx="19">
                  <c:v>954.5364</c:v>
                </c:pt>
                <c:pt idx="20">
                  <c:v>987.4225</c:v>
                </c:pt>
                <c:pt idx="21">
                  <c:v>998.0716</c:v>
                </c:pt>
                <c:pt idx="22">
                  <c:v>985.6992</c:v>
                </c:pt>
                <c:pt idx="23">
                  <c:v>991.1369</c:v>
                </c:pt>
                <c:pt idx="24">
                  <c:v>1009.8729</c:v>
                </c:pt>
                <c:pt idx="25">
                  <c:v>993.0767</c:v>
                </c:pt>
                <c:pt idx="26">
                  <c:v>960.4832</c:v>
                </c:pt>
                <c:pt idx="27">
                  <c:v>1000.5846</c:v>
                </c:pt>
                <c:pt idx="28">
                  <c:v>989.9655</c:v>
                </c:pt>
                <c:pt idx="29">
                  <c:v>973.2576</c:v>
                </c:pt>
                <c:pt idx="30">
                  <c:v>974.8567</c:v>
                </c:pt>
                <c:pt idx="31">
                  <c:v>986.3516</c:v>
                </c:pt>
                <c:pt idx="32">
                  <c:v>971.248</c:v>
                </c:pt>
                <c:pt idx="33">
                  <c:v>957.7856</c:v>
                </c:pt>
                <c:pt idx="34">
                  <c:v>949.0969</c:v>
                </c:pt>
                <c:pt idx="35">
                  <c:v>1004.7813</c:v>
                </c:pt>
                <c:pt idx="36">
                  <c:v>1055.2298</c:v>
                </c:pt>
                <c:pt idx="37">
                  <c:v>1089.3078</c:v>
                </c:pt>
                <c:pt idx="38">
                  <c:v>1111.2466</c:v>
                </c:pt>
                <c:pt idx="39">
                  <c:v>1134.0258</c:v>
                </c:pt>
                <c:pt idx="40">
                  <c:v>1140.4443</c:v>
                </c:pt>
                <c:pt idx="41">
                  <c:v>1155.7303</c:v>
                </c:pt>
                <c:pt idx="42">
                  <c:v>1169.44</c:v>
                </c:pt>
                <c:pt idx="43">
                  <c:v>1178.0688</c:v>
                </c:pt>
                <c:pt idx="44">
                  <c:v>1116.1178</c:v>
                </c:pt>
                <c:pt idx="45">
                  <c:v>1086.926</c:v>
                </c:pt>
                <c:pt idx="46">
                  <c:v>1074.755</c:v>
                </c:pt>
                <c:pt idx="47">
                  <c:v>1051.1893</c:v>
                </c:pt>
                <c:pt idx="48">
                  <c:v>1052.1763</c:v>
                </c:pt>
                <c:pt idx="49">
                  <c:v>1009.8998</c:v>
                </c:pt>
                <c:pt idx="50">
                  <c:v>1002.5409</c:v>
                </c:pt>
                <c:pt idx="51">
                  <c:v>1017.967</c:v>
                </c:pt>
                <c:pt idx="52">
                  <c:v>1021.1546</c:v>
                </c:pt>
                <c:pt idx="53">
                  <c:v>1121.9926</c:v>
                </c:pt>
                <c:pt idx="54">
                  <c:v>1103.7158</c:v>
                </c:pt>
                <c:pt idx="55">
                  <c:v>1103.6662</c:v>
                </c:pt>
                <c:pt idx="56">
                  <c:v>1101.5908</c:v>
                </c:pt>
                <c:pt idx="57">
                  <c:v>1109.2263</c:v>
                </c:pt>
                <c:pt idx="58">
                  <c:v>1057.6481</c:v>
                </c:pt>
                <c:pt idx="59">
                  <c:v>1055.7681</c:v>
                </c:pt>
                <c:pt idx="60">
                  <c:v>1066.3343</c:v>
                </c:pt>
                <c:pt idx="61">
                  <c:v>1077.5211</c:v>
                </c:pt>
                <c:pt idx="62">
                  <c:v>1001.9805</c:v>
                </c:pt>
                <c:pt idx="63">
                  <c:v>1033.3618</c:v>
                </c:pt>
                <c:pt idx="64">
                  <c:v>1043.8633</c:v>
                </c:pt>
                <c:pt idx="65">
                  <c:v>1026.9815</c:v>
                </c:pt>
                <c:pt idx="66">
                  <c:v>1046.4189</c:v>
                </c:pt>
                <c:pt idx="67">
                  <c:v>1075.454</c:v>
                </c:pt>
                <c:pt idx="68">
                  <c:v>1077.4605</c:v>
                </c:pt>
                <c:pt idx="69">
                  <c:v>1113.6184</c:v>
                </c:pt>
                <c:pt idx="70">
                  <c:v>1100.3544</c:v>
                </c:pt>
                <c:pt idx="71">
                  <c:v>1153.9607</c:v>
                </c:pt>
                <c:pt idx="72">
                  <c:v>1225.0484</c:v>
                </c:pt>
                <c:pt idx="73">
                  <c:v>1200.9912</c:v>
                </c:pt>
                <c:pt idx="74">
                  <c:v>1191.3868</c:v>
                </c:pt>
                <c:pt idx="75">
                  <c:v>1175.8962</c:v>
                </c:pt>
                <c:pt idx="76">
                  <c:v>1128.835</c:v>
                </c:pt>
                <c:pt idx="77">
                  <c:v>1125.8557</c:v>
                </c:pt>
                <c:pt idx="78">
                  <c:v>1147.0185</c:v>
                </c:pt>
                <c:pt idx="79">
                  <c:v>1224.0851</c:v>
                </c:pt>
                <c:pt idx="80">
                  <c:v>1158.5661</c:v>
                </c:pt>
                <c:pt idx="81">
                  <c:v>1183.4849</c:v>
                </c:pt>
                <c:pt idx="82">
                  <c:v>1240.7552</c:v>
                </c:pt>
                <c:pt idx="83">
                  <c:v>1143.3894</c:v>
                </c:pt>
                <c:pt idx="84">
                  <c:v>1164.6585</c:v>
                </c:pt>
                <c:pt idx="85">
                  <c:v>1142.2892</c:v>
                </c:pt>
                <c:pt idx="86">
                  <c:v>1119.9909</c:v>
                </c:pt>
                <c:pt idx="87">
                  <c:v>1182.1672</c:v>
                </c:pt>
                <c:pt idx="88">
                  <c:v>1177.4449</c:v>
                </c:pt>
                <c:pt idx="89">
                  <c:v>1168.5673</c:v>
                </c:pt>
                <c:pt idx="90">
                  <c:v>1246.0075</c:v>
                </c:pt>
                <c:pt idx="91">
                  <c:v>1248.3656</c:v>
                </c:pt>
                <c:pt idx="92">
                  <c:v>1193.6811</c:v>
                </c:pt>
                <c:pt idx="93">
                  <c:v>1235.198</c:v>
                </c:pt>
                <c:pt idx="94">
                  <c:v>1233.5536</c:v>
                </c:pt>
                <c:pt idx="95">
                  <c:v>1204.5472</c:v>
                </c:pt>
                <c:pt idx="96">
                  <c:v>1133.5252</c:v>
                </c:pt>
                <c:pt idx="97">
                  <c:v>1129.9705</c:v>
                </c:pt>
                <c:pt idx="98">
                  <c:v>1120.4359</c:v>
                </c:pt>
                <c:pt idx="99">
                  <c:v>1082.4246</c:v>
                </c:pt>
                <c:pt idx="100">
                  <c:v>1090.316</c:v>
                </c:pt>
                <c:pt idx="101">
                  <c:v>1128.0414</c:v>
                </c:pt>
                <c:pt idx="102">
                  <c:v>1128.7789</c:v>
                </c:pt>
                <c:pt idx="103">
                  <c:v>1099.8359</c:v>
                </c:pt>
                <c:pt idx="104">
                  <c:v>1115.7104</c:v>
                </c:pt>
              </c:numCache>
            </c:numRef>
          </c:xVal>
          <c:yVal>
            <c:numRef>
              <c:f>Sheet1!$B$2:$B$106</c:f>
              <c:numCache>
                <c:formatCode>General</c:formatCode>
                <c:ptCount val="105"/>
                <c:pt idx="0">
                  <c:v>0.15203376822716808</c:v>
                </c:pt>
                <c:pt idx="1">
                  <c:v>0.13131955484896662</c:v>
                </c:pt>
                <c:pt idx="2">
                  <c:v>0.14105589146143638</c:v>
                </c:pt>
                <c:pt idx="3">
                  <c:v>0.1350858532137973</c:v>
                </c:pt>
                <c:pt idx="4">
                  <c:v>0.14952040624412263</c:v>
                </c:pt>
                <c:pt idx="5">
                  <c:v>0.18022153477696837</c:v>
                </c:pt>
                <c:pt idx="6">
                  <c:v>0.20782469481689014</c:v>
                </c:pt>
                <c:pt idx="7">
                  <c:v>0.22278359196439312</c:v>
                </c:pt>
                <c:pt idx="8">
                  <c:v>0.22940510627594013</c:v>
                </c:pt>
                <c:pt idx="9">
                  <c:v>0.20650358581393063</c:v>
                </c:pt>
                <c:pt idx="10">
                  <c:v>0.21696969696969698</c:v>
                </c:pt>
                <c:pt idx="11">
                  <c:v>0.20811010530205062</c:v>
                </c:pt>
                <c:pt idx="12">
                  <c:v>0.1844922039612305</c:v>
                </c:pt>
                <c:pt idx="13">
                  <c:v>0.1690825375170532</c:v>
                </c:pt>
                <c:pt idx="14">
                  <c:v>0.12979326442147382</c:v>
                </c:pt>
                <c:pt idx="15">
                  <c:v>0.12148242540087077</c:v>
                </c:pt>
                <c:pt idx="16">
                  <c:v>0.11672155140870838</c:v>
                </c:pt>
                <c:pt idx="17">
                  <c:v>0.09924528301886792</c:v>
                </c:pt>
                <c:pt idx="18">
                  <c:v>0.09235625085769178</c:v>
                </c:pt>
                <c:pt idx="19">
                  <c:v>0.09352150994728788</c:v>
                </c:pt>
                <c:pt idx="20">
                  <c:v>0.08731422505307855</c:v>
                </c:pt>
                <c:pt idx="21">
                  <c:v>0.09053156146179402</c:v>
                </c:pt>
                <c:pt idx="22">
                  <c:v>0.09601650531661642</c:v>
                </c:pt>
                <c:pt idx="23">
                  <c:v>0.11016949152542373</c:v>
                </c:pt>
                <c:pt idx="24">
                  <c:v>0.11212558065032836</c:v>
                </c:pt>
                <c:pt idx="25">
                  <c:v>0.11815875317143892</c:v>
                </c:pt>
                <c:pt idx="26">
                  <c:v>0.13977371627502175</c:v>
                </c:pt>
                <c:pt idx="27">
                  <c:v>0.14005556463474425</c:v>
                </c:pt>
                <c:pt idx="28">
                  <c:v>0.16685330347144456</c:v>
                </c:pt>
                <c:pt idx="29">
                  <c:v>0.16854092526690392</c:v>
                </c:pt>
                <c:pt idx="30">
                  <c:v>0.1738241308793456</c:v>
                </c:pt>
                <c:pt idx="31">
                  <c:v>0.16885301042717793</c:v>
                </c:pt>
                <c:pt idx="32">
                  <c:v>0.1941530524505589</c:v>
                </c:pt>
                <c:pt idx="33">
                  <c:v>0.17708474576271185</c:v>
                </c:pt>
                <c:pt idx="34">
                  <c:v>0.18097960244251007</c:v>
                </c:pt>
                <c:pt idx="35">
                  <c:v>0.19191362785061145</c:v>
                </c:pt>
                <c:pt idx="36">
                  <c:v>0.15334485968878842</c:v>
                </c:pt>
                <c:pt idx="37">
                  <c:v>0.1492694682934177</c:v>
                </c:pt>
                <c:pt idx="38">
                  <c:v>0.14338561704646344</c:v>
                </c:pt>
                <c:pt idx="39">
                  <c:v>0.12966063004108963</c:v>
                </c:pt>
                <c:pt idx="40">
                  <c:v>0.13684895833333333</c:v>
                </c:pt>
                <c:pt idx="41">
                  <c:v>0.1338894967177243</c:v>
                </c:pt>
                <c:pt idx="42">
                  <c:v>0.13219741480611047</c:v>
                </c:pt>
                <c:pt idx="43">
                  <c:v>0.12925982200998481</c:v>
                </c:pt>
                <c:pt idx="44">
                  <c:v>0.1348750466243939</c:v>
                </c:pt>
                <c:pt idx="45">
                  <c:v>0.15498938428874734</c:v>
                </c:pt>
                <c:pt idx="46">
                  <c:v>0.15900846432889965</c:v>
                </c:pt>
                <c:pt idx="47">
                  <c:v>0.14745484400656814</c:v>
                </c:pt>
                <c:pt idx="48">
                  <c:v>0.1530822089582184</c:v>
                </c:pt>
                <c:pt idx="49">
                  <c:v>0.1467014462127716</c:v>
                </c:pt>
                <c:pt idx="50">
                  <c:v>0.15167560321715817</c:v>
                </c:pt>
                <c:pt idx="51">
                  <c:v>0.13935681470137826</c:v>
                </c:pt>
                <c:pt idx="52">
                  <c:v>0.1430183918730496</c:v>
                </c:pt>
                <c:pt idx="53">
                  <c:v>0.12857029828309202</c:v>
                </c:pt>
                <c:pt idx="54">
                  <c:v>0.13254773782900395</c:v>
                </c:pt>
                <c:pt idx="55">
                  <c:v>0.1281826931490069</c:v>
                </c:pt>
                <c:pt idx="56">
                  <c:v>0.13618157543391188</c:v>
                </c:pt>
                <c:pt idx="57">
                  <c:v>0.13316070307595732</c:v>
                </c:pt>
                <c:pt idx="58">
                  <c:v>0.15326787358085303</c:v>
                </c:pt>
                <c:pt idx="59">
                  <c:v>0.14013928138877674</c:v>
                </c:pt>
                <c:pt idx="60">
                  <c:v>0.1467167860918595</c:v>
                </c:pt>
                <c:pt idx="61">
                  <c:v>0.15204346415828737</c:v>
                </c:pt>
                <c:pt idx="62">
                  <c:v>0.16829385403329064</c:v>
                </c:pt>
                <c:pt idx="63">
                  <c:v>0.1751731406202951</c:v>
                </c:pt>
                <c:pt idx="64">
                  <c:v>0.16787756994898748</c:v>
                </c:pt>
                <c:pt idx="65">
                  <c:v>0.16462486988549924</c:v>
                </c:pt>
                <c:pt idx="66">
                  <c:v>0.1601910312449409</c:v>
                </c:pt>
                <c:pt idx="67">
                  <c:v>0.14912944738834216</c:v>
                </c:pt>
                <c:pt idx="68">
                  <c:v>0.1371638614819114</c:v>
                </c:pt>
                <c:pt idx="69">
                  <c:v>0.12905236907730674</c:v>
                </c:pt>
                <c:pt idx="70">
                  <c:v>0.1363848124854414</c:v>
                </c:pt>
                <c:pt idx="71">
                  <c:v>0.12382921785670843</c:v>
                </c:pt>
                <c:pt idx="72">
                  <c:v>0.12497035807446051</c:v>
                </c:pt>
                <c:pt idx="73">
                  <c:v>0.1250307049864898</c:v>
                </c:pt>
                <c:pt idx="74">
                  <c:v>0.12244665069040284</c:v>
                </c:pt>
                <c:pt idx="75">
                  <c:v>0.13474184972715825</c:v>
                </c:pt>
                <c:pt idx="76">
                  <c:v>0.15092005566723365</c:v>
                </c:pt>
                <c:pt idx="77">
                  <c:v>0.13680534467051322</c:v>
                </c:pt>
                <c:pt idx="78">
                  <c:v>0.15169561621174524</c:v>
                </c:pt>
                <c:pt idx="79">
                  <c:v>0.15736989716422561</c:v>
                </c:pt>
                <c:pt idx="80">
                  <c:v>0.1355775169857937</c:v>
                </c:pt>
                <c:pt idx="81">
                  <c:v>0.13393870601589103</c:v>
                </c:pt>
                <c:pt idx="82">
                  <c:v>0.15038965345713812</c:v>
                </c:pt>
                <c:pt idx="83">
                  <c:v>0.13358278765201123</c:v>
                </c:pt>
                <c:pt idx="84">
                  <c:v>0.13683168316831684</c:v>
                </c:pt>
                <c:pt idx="85">
                  <c:v>0.146780809702158</c:v>
                </c:pt>
                <c:pt idx="86">
                  <c:v>0.15664371996363163</c:v>
                </c:pt>
                <c:pt idx="87">
                  <c:v>0.17659462308908802</c:v>
                </c:pt>
                <c:pt idx="88">
                  <c:v>0.14726989079563182</c:v>
                </c:pt>
                <c:pt idx="89">
                  <c:v>0.1654392875492379</c:v>
                </c:pt>
                <c:pt idx="90">
                  <c:v>0.1436730323041228</c:v>
                </c:pt>
                <c:pt idx="91">
                  <c:v>0.1365415986949429</c:v>
                </c:pt>
                <c:pt idx="92">
                  <c:v>0.14522156967431926</c:v>
                </c:pt>
                <c:pt idx="93">
                  <c:v>0.145748987854251</c:v>
                </c:pt>
                <c:pt idx="94">
                  <c:v>0.14999226843977115</c:v>
                </c:pt>
                <c:pt idx="95">
                  <c:v>0.14889313406000673</c:v>
                </c:pt>
                <c:pt idx="96">
                  <c:v>0.14493518239372927</c:v>
                </c:pt>
                <c:pt idx="97">
                  <c:v>0.14856711915535445</c:v>
                </c:pt>
                <c:pt idx="98">
                  <c:v>0.15471226021684736</c:v>
                </c:pt>
                <c:pt idx="99">
                  <c:v>0.15064853883419285</c:v>
                </c:pt>
                <c:pt idx="100">
                  <c:v>0.1553972561435248</c:v>
                </c:pt>
                <c:pt idx="101">
                  <c:v>0.14507422402159245</c:v>
                </c:pt>
                <c:pt idx="102">
                  <c:v>0.1501465810950004</c:v>
                </c:pt>
                <c:pt idx="103">
                  <c:v>0.14516482713251955</c:v>
                </c:pt>
                <c:pt idx="104">
                  <c:v>0.144393769899320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20.0958</c:v>
                </c:pt>
                <c:pt idx="1">
                  <c:v>1174.9937</c:v>
                </c:pt>
                <c:pt idx="2">
                  <c:v>1170.388</c:v>
                </c:pt>
                <c:pt idx="3">
                  <c:v>1091.4839</c:v>
                </c:pt>
                <c:pt idx="4">
                  <c:v>1110.4615</c:v>
                </c:pt>
                <c:pt idx="5">
                  <c:v>1145.7045</c:v>
                </c:pt>
                <c:pt idx="6">
                  <c:v>1098.3812</c:v>
                </c:pt>
                <c:pt idx="7">
                  <c:v>1089.2621</c:v>
                </c:pt>
                <c:pt idx="8">
                  <c:v>1144.4919</c:v>
                </c:pt>
                <c:pt idx="9">
                  <c:v>1098.7364</c:v>
                </c:pt>
                <c:pt idx="10">
                  <c:v>1103.4401</c:v>
                </c:pt>
                <c:pt idx="11">
                  <c:v>1037.4924</c:v>
                </c:pt>
                <c:pt idx="12">
                  <c:v>1075.303</c:v>
                </c:pt>
                <c:pt idx="13">
                  <c:v>1083.7791</c:v>
                </c:pt>
                <c:pt idx="14">
                  <c:v>1097.4395</c:v>
                </c:pt>
                <c:pt idx="15">
                  <c:v>1111.6326</c:v>
                </c:pt>
                <c:pt idx="16">
                  <c:v>1147.6852</c:v>
                </c:pt>
                <c:pt idx="17">
                  <c:v>1058.0619</c:v>
                </c:pt>
                <c:pt idx="18">
                  <c:v>1151.8279</c:v>
                </c:pt>
                <c:pt idx="19">
                  <c:v>1239.7066</c:v>
                </c:pt>
                <c:pt idx="20">
                  <c:v>1255.5459</c:v>
                </c:pt>
                <c:pt idx="21">
                  <c:v>1221.7308</c:v>
                </c:pt>
                <c:pt idx="22">
                  <c:v>1211.2376</c:v>
                </c:pt>
                <c:pt idx="23">
                  <c:v>1211.7995</c:v>
                </c:pt>
                <c:pt idx="24">
                  <c:v>1193.8671</c:v>
                </c:pt>
                <c:pt idx="25">
                  <c:v>1198.6287</c:v>
                </c:pt>
                <c:pt idx="26">
                  <c:v>1177.2428</c:v>
                </c:pt>
                <c:pt idx="27">
                  <c:v>1158.4237</c:v>
                </c:pt>
                <c:pt idx="28">
                  <c:v>1224.7495</c:v>
                </c:pt>
                <c:pt idx="29">
                  <c:v>1211.2334</c:v>
                </c:pt>
                <c:pt idx="30">
                  <c:v>1225.7847</c:v>
                </c:pt>
                <c:pt idx="31">
                  <c:v>1223.98</c:v>
                </c:pt>
                <c:pt idx="32">
                  <c:v>1230.122</c:v>
                </c:pt>
                <c:pt idx="33">
                  <c:v>1206.9477</c:v>
                </c:pt>
                <c:pt idx="34">
                  <c:v>1216.6614</c:v>
                </c:pt>
                <c:pt idx="35">
                  <c:v>1254.16</c:v>
                </c:pt>
                <c:pt idx="36">
                  <c:v>1265.385</c:v>
                </c:pt>
                <c:pt idx="37">
                  <c:v>1278.3538</c:v>
                </c:pt>
                <c:pt idx="38">
                  <c:v>1282.6834</c:v>
                </c:pt>
                <c:pt idx="39">
                  <c:v>1243.2564</c:v>
                </c:pt>
                <c:pt idx="40">
                  <c:v>1258.6354</c:v>
                </c:pt>
                <c:pt idx="41">
                  <c:v>1286.8741</c:v>
                </c:pt>
                <c:pt idx="42">
                  <c:v>1284.3721</c:v>
                </c:pt>
                <c:pt idx="43">
                  <c:v>1286.2943</c:v>
                </c:pt>
                <c:pt idx="44">
                  <c:v>1211.5232</c:v>
                </c:pt>
                <c:pt idx="45">
                  <c:v>1180.9739</c:v>
                </c:pt>
                <c:pt idx="46">
                  <c:v>1166.9502</c:v>
                </c:pt>
                <c:pt idx="47">
                  <c:v>1148.0731</c:v>
                </c:pt>
                <c:pt idx="48">
                  <c:v>1133.8779</c:v>
                </c:pt>
                <c:pt idx="49">
                  <c:v>1141.1174</c:v>
                </c:pt>
                <c:pt idx="50">
                  <c:v>1112.3456</c:v>
                </c:pt>
                <c:pt idx="51">
                  <c:v>1096.0167</c:v>
                </c:pt>
              </c:numCache>
            </c:numRef>
          </c:xVal>
          <c:yVal>
            <c:numRef>
              <c:f>Sheet1!$B$109:$B$160</c:f>
              <c:numCache>
                <c:formatCode>General</c:formatCode>
                <c:ptCount val="52"/>
                <c:pt idx="0">
                  <c:v>0.1605461393596987</c:v>
                </c:pt>
                <c:pt idx="1">
                  <c:v>0.14413895291405993</c:v>
                </c:pt>
                <c:pt idx="2">
                  <c:v>0.1673538506847298</c:v>
                </c:pt>
                <c:pt idx="3">
                  <c:v>0.19772113066978306</c:v>
                </c:pt>
                <c:pt idx="4">
                  <c:v>0.18746218995765276</c:v>
                </c:pt>
                <c:pt idx="5">
                  <c:v>0.18380814421374536</c:v>
                </c:pt>
                <c:pt idx="6">
                  <c:v>0.19407496977025393</c:v>
                </c:pt>
                <c:pt idx="7">
                  <c:v>0.2085666874092512</c:v>
                </c:pt>
                <c:pt idx="8">
                  <c:v>0.18858212447356107</c:v>
                </c:pt>
                <c:pt idx="9">
                  <c:v>0.1970842332613391</c:v>
                </c:pt>
                <c:pt idx="10">
                  <c:v>0.2098752489778803</c:v>
                </c:pt>
                <c:pt idx="11">
                  <c:v>0.19254133025759324</c:v>
                </c:pt>
                <c:pt idx="12">
                  <c:v>0.1878903068150964</c:v>
                </c:pt>
                <c:pt idx="13">
                  <c:v>0.18893412287194672</c:v>
                </c:pt>
                <c:pt idx="14">
                  <c:v>0.18463971533063162</c:v>
                </c:pt>
                <c:pt idx="15">
                  <c:v>0.17705500941225685</c:v>
                </c:pt>
                <c:pt idx="16">
                  <c:v>0.1609324218312227</c:v>
                </c:pt>
                <c:pt idx="17">
                  <c:v>0.18393338231692383</c:v>
                </c:pt>
                <c:pt idx="18">
                  <c:v>0.16355530788520478</c:v>
                </c:pt>
                <c:pt idx="19">
                  <c:v>0.1659034410571765</c:v>
                </c:pt>
                <c:pt idx="20">
                  <c:v>0.1475199543899658</c:v>
                </c:pt>
                <c:pt idx="21">
                  <c:v>0.15116883116883117</c:v>
                </c:pt>
                <c:pt idx="22">
                  <c:v>0.15857718591203784</c:v>
                </c:pt>
                <c:pt idx="23">
                  <c:v>0.1551473263004729</c:v>
                </c:pt>
                <c:pt idx="24">
                  <c:v>0.17107257113992255</c:v>
                </c:pt>
                <c:pt idx="25">
                  <c:v>0.16629915472252849</c:v>
                </c:pt>
                <c:pt idx="26">
                  <c:v>0.16182069920387676</c:v>
                </c:pt>
                <c:pt idx="27">
                  <c:v>0.1630819092516205</c:v>
                </c:pt>
                <c:pt idx="28">
                  <c:v>0.15857142857142856</c:v>
                </c:pt>
                <c:pt idx="29">
                  <c:v>0.15828894806924101</c:v>
                </c:pt>
                <c:pt idx="30">
                  <c:v>0.15847833503923575</c:v>
                </c:pt>
                <c:pt idx="31">
                  <c:v>0.15720362493064546</c:v>
                </c:pt>
                <c:pt idx="32">
                  <c:v>0.1521524811041735</c:v>
                </c:pt>
                <c:pt idx="33">
                  <c:v>0.17336581404790904</c:v>
                </c:pt>
                <c:pt idx="34">
                  <c:v>0.18772272675020119</c:v>
                </c:pt>
                <c:pt idx="35">
                  <c:v>0.1809410520750727</c:v>
                </c:pt>
                <c:pt idx="36">
                  <c:v>0.17780211756115372</c:v>
                </c:pt>
                <c:pt idx="37">
                  <c:v>0.1536039768019884</c:v>
                </c:pt>
                <c:pt idx="38">
                  <c:v>0.1590291613838073</c:v>
                </c:pt>
                <c:pt idx="39">
                  <c:v>0.17227666524641386</c:v>
                </c:pt>
                <c:pt idx="40">
                  <c:v>0.16235100698725852</c:v>
                </c:pt>
                <c:pt idx="41">
                  <c:v>0.17421926910299004</c:v>
                </c:pt>
                <c:pt idx="42">
                  <c:v>0.165417952108124</c:v>
                </c:pt>
                <c:pt idx="43">
                  <c:v>0.16425173010380623</c:v>
                </c:pt>
                <c:pt idx="44">
                  <c:v>0.17050734064300316</c:v>
                </c:pt>
                <c:pt idx="45">
                  <c:v>0.17971851317214002</c:v>
                </c:pt>
                <c:pt idx="46">
                  <c:v>0.20572160546541418</c:v>
                </c:pt>
                <c:pt idx="47">
                  <c:v>0.20394578554815943</c:v>
                </c:pt>
                <c:pt idx="48">
                  <c:v>0.2046908315565032</c:v>
                </c:pt>
                <c:pt idx="49">
                  <c:v>0.20980441960883922</c:v>
                </c:pt>
                <c:pt idx="50">
                  <c:v>0.211416402204777</c:v>
                </c:pt>
                <c:pt idx="51">
                  <c:v>0.1975665085584656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06.394189076129</c:v>
                </c:pt>
              </c:numCache>
            </c:numRef>
          </c:xVal>
          <c:yVal>
            <c:numRef>
              <c:f>Sheet1!$B$163:$B$164</c:f>
              <c:numCache>
                <c:formatCode>General</c:formatCode>
                <c:ptCount val="2"/>
                <c:pt idx="0">
                  <c:v>0.20586954048214628</c:v>
                </c:pt>
                <c:pt idx="1">
                  <c:v>0.2058695404821462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06.394189076129</c:v>
                </c:pt>
                <c:pt idx="1">
                  <c:v>1006.394189076129</c:v>
                </c:pt>
              </c:numCache>
            </c:numRef>
          </c:xVal>
          <c:yVal>
            <c:numRef>
              <c:f>Sheet1!$B$167:$B$168</c:f>
              <c:numCache>
                <c:formatCode>General</c:formatCode>
                <c:ptCount val="2"/>
                <c:pt idx="0">
                  <c:v>0.2058695404821462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06.394189076129</c:v>
                </c:pt>
              </c:numCache>
            </c:numRef>
          </c:xVal>
          <c:yVal>
            <c:numRef>
              <c:f>Sheet1!$B$171:$B$172</c:f>
              <c:numCache>
                <c:formatCode>General</c:formatCode>
                <c:ptCount val="2"/>
                <c:pt idx="0">
                  <c:v>0.20586954048214628</c:v>
                </c:pt>
                <c:pt idx="1">
                  <c:v>0.2058695404821462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06.394189076129</c:v>
                </c:pt>
                <c:pt idx="1">
                  <c:v>1006.394189076129</c:v>
                </c:pt>
              </c:numCache>
            </c:numRef>
          </c:xVal>
          <c:yVal>
            <c:numRef>
              <c:f>Sheet1!$B$175:$B$176</c:f>
              <c:numCache>
                <c:formatCode>General</c:formatCode>
                <c:ptCount val="2"/>
                <c:pt idx="0">
                  <c:v>0.2058695404821462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17.9393529649428</c:v>
                </c:pt>
              </c:numCache>
            </c:numRef>
          </c:xVal>
          <c:yVal>
            <c:numRef>
              <c:f>Sheet1!$B$179:$B$180</c:f>
              <c:numCache>
                <c:formatCode>General</c:formatCode>
                <c:ptCount val="2"/>
                <c:pt idx="0">
                  <c:v>0.18629907925429956</c:v>
                </c:pt>
                <c:pt idx="1">
                  <c:v>0.1862990792542995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17.9393529649428</c:v>
                </c:pt>
                <c:pt idx="1">
                  <c:v>1117.9393529649428</c:v>
                </c:pt>
              </c:numCache>
            </c:numRef>
          </c:xVal>
          <c:yVal>
            <c:numRef>
              <c:f>Sheet1!$B$183:$B$184</c:f>
              <c:numCache>
                <c:formatCode>General</c:formatCode>
                <c:ptCount val="2"/>
                <c:pt idx="0">
                  <c:v>0.1862990792542995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20.0958</c:v>
                </c:pt>
                <c:pt idx="1">
                  <c:v>1174.9937</c:v>
                </c:pt>
                <c:pt idx="2">
                  <c:v>1170.388</c:v>
                </c:pt>
                <c:pt idx="3">
                  <c:v>1091.4839</c:v>
                </c:pt>
                <c:pt idx="4">
                  <c:v>1110.4615</c:v>
                </c:pt>
                <c:pt idx="5">
                  <c:v>1145.7045</c:v>
                </c:pt>
                <c:pt idx="6">
                  <c:v>1098.3812</c:v>
                </c:pt>
                <c:pt idx="7">
                  <c:v>1089.2621</c:v>
                </c:pt>
                <c:pt idx="8">
                  <c:v>1144.4919</c:v>
                </c:pt>
                <c:pt idx="9">
                  <c:v>1098.7364</c:v>
                </c:pt>
                <c:pt idx="10">
                  <c:v>1103.4401</c:v>
                </c:pt>
                <c:pt idx="11">
                  <c:v>1037.4924</c:v>
                </c:pt>
                <c:pt idx="12">
                  <c:v>1075.303</c:v>
                </c:pt>
                <c:pt idx="13">
                  <c:v>1083.7791</c:v>
                </c:pt>
                <c:pt idx="14">
                  <c:v>1097.4395</c:v>
                </c:pt>
                <c:pt idx="15">
                  <c:v>1111.6326</c:v>
                </c:pt>
                <c:pt idx="16">
                  <c:v>1147.6852</c:v>
                </c:pt>
                <c:pt idx="17">
                  <c:v>1058.0619</c:v>
                </c:pt>
                <c:pt idx="18">
                  <c:v>1151.8279</c:v>
                </c:pt>
                <c:pt idx="19">
                  <c:v>1239.7066</c:v>
                </c:pt>
                <c:pt idx="20">
                  <c:v>1255.5459</c:v>
                </c:pt>
                <c:pt idx="21">
                  <c:v>1221.7308</c:v>
                </c:pt>
                <c:pt idx="22">
                  <c:v>1211.2376</c:v>
                </c:pt>
                <c:pt idx="23">
                  <c:v>1211.7995</c:v>
                </c:pt>
                <c:pt idx="24">
                  <c:v>1193.8671</c:v>
                </c:pt>
                <c:pt idx="25">
                  <c:v>1198.6287</c:v>
                </c:pt>
                <c:pt idx="26">
                  <c:v>1177.2428</c:v>
                </c:pt>
                <c:pt idx="27">
                  <c:v>1158.4237</c:v>
                </c:pt>
                <c:pt idx="28">
                  <c:v>1224.7495</c:v>
                </c:pt>
                <c:pt idx="29">
                  <c:v>1211.2334</c:v>
                </c:pt>
                <c:pt idx="30">
                  <c:v>1225.7847</c:v>
                </c:pt>
                <c:pt idx="31">
                  <c:v>1223.98</c:v>
                </c:pt>
                <c:pt idx="32">
                  <c:v>1230.122</c:v>
                </c:pt>
                <c:pt idx="33">
                  <c:v>1206.9477</c:v>
                </c:pt>
                <c:pt idx="34">
                  <c:v>1216.6614</c:v>
                </c:pt>
                <c:pt idx="35">
                  <c:v>1254.16</c:v>
                </c:pt>
                <c:pt idx="36">
                  <c:v>1265.385</c:v>
                </c:pt>
                <c:pt idx="37">
                  <c:v>1278.3538</c:v>
                </c:pt>
                <c:pt idx="38">
                  <c:v>1282.6834</c:v>
                </c:pt>
                <c:pt idx="39">
                  <c:v>1243.2564</c:v>
                </c:pt>
                <c:pt idx="40">
                  <c:v>1258.6354</c:v>
                </c:pt>
                <c:pt idx="41">
                  <c:v>1286.8741</c:v>
                </c:pt>
                <c:pt idx="42">
                  <c:v>1284.3721</c:v>
                </c:pt>
                <c:pt idx="43">
                  <c:v>1286.2943</c:v>
                </c:pt>
                <c:pt idx="44">
                  <c:v>1211.5232</c:v>
                </c:pt>
                <c:pt idx="45">
                  <c:v>1180.9739</c:v>
                </c:pt>
                <c:pt idx="46">
                  <c:v>1166.9502</c:v>
                </c:pt>
                <c:pt idx="47">
                  <c:v>1148.0731</c:v>
                </c:pt>
                <c:pt idx="48">
                  <c:v>1133.8779</c:v>
                </c:pt>
                <c:pt idx="49">
                  <c:v>1141.1174</c:v>
                </c:pt>
                <c:pt idx="50">
                  <c:v>1112.3456</c:v>
                </c:pt>
                <c:pt idx="51">
                  <c:v>1096.0167</c:v>
                </c:pt>
                <c:pt idx="52">
                  <c:v>1006.394189076129</c:v>
                </c:pt>
                <c:pt idx="53">
                  <c:v>1006.394189076129</c:v>
                </c:pt>
                <c:pt idx="54">
                  <c:v>1117.9393529649428</c:v>
                </c:pt>
              </c:numCache>
            </c:numRef>
          </c:xVal>
          <c:yVal>
            <c:numRef>
              <c:f>Sheet1!$B$187:$B$241</c:f>
              <c:numCache>
                <c:formatCode>General</c:formatCode>
                <c:ptCount val="55"/>
                <c:pt idx="0">
                  <c:v>0.1859207332855621</c:v>
                </c:pt>
                <c:pt idx="1">
                  <c:v>0.17628896453841028</c:v>
                </c:pt>
                <c:pt idx="2">
                  <c:v>0.17709702891462062</c:v>
                </c:pt>
                <c:pt idx="3">
                  <c:v>0.1909406558002054</c:v>
                </c:pt>
                <c:pt idx="4">
                  <c:v>0.18761105932063243</c:v>
                </c:pt>
                <c:pt idx="5">
                  <c:v>0.1814277185014777</c:v>
                </c:pt>
                <c:pt idx="6">
                  <c:v>0.18973053303449428</c:v>
                </c:pt>
                <c:pt idx="7">
                  <c:v>0.1913304678659205</c:v>
                </c:pt>
                <c:pt idx="8">
                  <c:v>0.18164046767371922</c:v>
                </c:pt>
                <c:pt idx="9">
                  <c:v>0.18966821363322414</c:v>
                </c:pt>
                <c:pt idx="10">
                  <c:v>0.18884295527805978</c:v>
                </c:pt>
                <c:pt idx="11">
                  <c:v>0.2004133977869088</c:v>
                </c:pt>
                <c:pt idx="12">
                  <c:v>0.19377957471915833</c:v>
                </c:pt>
                <c:pt idx="13">
                  <c:v>0.19229245344352242</c:v>
                </c:pt>
                <c:pt idx="14">
                  <c:v>0.1898957531363414</c:v>
                </c:pt>
                <c:pt idx="15">
                  <c:v>0.18740559127213166</c:v>
                </c:pt>
                <c:pt idx="16">
                  <c:v>0.18108020713296485</c:v>
                </c:pt>
                <c:pt idx="17">
                  <c:v>0.19680450441859168</c:v>
                </c:pt>
                <c:pt idx="18">
                  <c:v>0.18035337553487407</c:v>
                </c:pt>
                <c:pt idx="19">
                  <c:v>0.16493516616438209</c:v>
                </c:pt>
                <c:pt idx="20">
                  <c:v>0.16215618054349745</c:v>
                </c:pt>
                <c:pt idx="21">
                  <c:v>0.16808899807134123</c:v>
                </c:pt>
                <c:pt idx="22">
                  <c:v>0.16993001705053012</c:v>
                </c:pt>
                <c:pt idx="23">
                  <c:v>0.16983143238956813</c:v>
                </c:pt>
                <c:pt idx="24">
                  <c:v>0.17297764982013336</c:v>
                </c:pt>
                <c:pt idx="25">
                  <c:v>0.1721422329814849</c:v>
                </c:pt>
                <c:pt idx="26">
                  <c:v>0.17589436272141512</c:v>
                </c:pt>
                <c:pt idx="27">
                  <c:v>0.1791961505717614</c:v>
                </c:pt>
                <c:pt idx="28">
                  <c:v>0.16755937088492742</c:v>
                </c:pt>
                <c:pt idx="29">
                  <c:v>0.16993075393534243</c:v>
                </c:pt>
                <c:pt idx="30">
                  <c:v>0.16737774632356803</c:v>
                </c:pt>
                <c:pt idx="31">
                  <c:v>0.16769437870946957</c:v>
                </c:pt>
                <c:pt idx="32">
                  <c:v>0.16661677239583997</c:v>
                </c:pt>
                <c:pt idx="33">
                  <c:v>0.1706826747068049</c:v>
                </c:pt>
                <c:pt idx="34">
                  <c:v>0.16897841803980654</c:v>
                </c:pt>
                <c:pt idx="35">
                  <c:v>0.1623993349866852</c:v>
                </c:pt>
                <c:pt idx="36">
                  <c:v>0.16042992260138855</c:v>
                </c:pt>
                <c:pt idx="37">
                  <c:v>0.15815456265996886</c:v>
                </c:pt>
                <c:pt idx="38">
                  <c:v>0.1573949396877301</c:v>
                </c:pt>
                <c:pt idx="39">
                  <c:v>0.16431235813896328</c:v>
                </c:pt>
                <c:pt idx="40">
                  <c:v>0.1616141315845332</c:v>
                </c:pt>
                <c:pt idx="41">
                  <c:v>0.15665968654892715</c:v>
                </c:pt>
                <c:pt idx="42">
                  <c:v>0.1570986593585496</c:v>
                </c:pt>
                <c:pt idx="43">
                  <c:v>0.15676141174277972</c:v>
                </c:pt>
                <c:pt idx="44">
                  <c:v>0.16987990888329263</c:v>
                </c:pt>
                <c:pt idx="45">
                  <c:v>0.17523974583493132</c:v>
                </c:pt>
                <c:pt idx="46">
                  <c:v>0.17770018667837767</c:v>
                </c:pt>
                <c:pt idx="47">
                  <c:v>0.1810121505570845</c:v>
                </c:pt>
                <c:pt idx="48">
                  <c:v>0.18350268086370042</c:v>
                </c:pt>
                <c:pt idx="49">
                  <c:v>0.18223251953066205</c:v>
                </c:pt>
                <c:pt idx="50">
                  <c:v>0.18728049630280277</c:v>
                </c:pt>
                <c:pt idx="51">
                  <c:v>0.19014538163895167</c:v>
                </c:pt>
                <c:pt idx="52">
                  <c:v>0.20586954048214628</c:v>
                </c:pt>
                <c:pt idx="53">
                  <c:v>0.20586954048214628</c:v>
                </c:pt>
                <c:pt idx="54">
                  <c:v>0.1862990792542995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4.0"/>
          <c:min val="60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528612753112813"/>
          <c:min val="0.069851380042462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020213527660071</c:v>
                </c:pt>
                <c:pt idx="1">
                  <c:v>0.7754747403088681</c:v>
                </c:pt>
                <c:pt idx="2">
                  <c:v>0.7860486089926303</c:v>
                </c:pt>
                <c:pt idx="3">
                  <c:v>0.8823479837970276</c:v>
                </c:pt>
                <c:pt idx="4">
                  <c:v>0.84598903998315</c:v>
                </c:pt>
                <c:pt idx="5">
                  <c:v>0.6682201973821675</c:v>
                </c:pt>
                <c:pt idx="6">
                  <c:v>0.6731677027330762</c:v>
                </c:pt>
                <c:pt idx="7">
                  <c:v>0.7074131674094963</c:v>
                </c:pt>
                <c:pt idx="8">
                  <c:v>0.7297313891261337</c:v>
                </c:pt>
                <c:pt idx="9">
                  <c:v>0.780284609833347</c:v>
                </c:pt>
                <c:pt idx="10">
                  <c:v>0.745602012870123</c:v>
                </c:pt>
                <c:pt idx="11">
                  <c:v>0.6758284460001625</c:v>
                </c:pt>
                <c:pt idx="12">
                  <c:v>0.7657020655987086</c:v>
                </c:pt>
                <c:pt idx="13">
                  <c:v>0.7099577518443289</c:v>
                </c:pt>
                <c:pt idx="14">
                  <c:v>0.749061581177583</c:v>
                </c:pt>
                <c:pt idx="15">
                  <c:v>0.7576339595735769</c:v>
                </c:pt>
                <c:pt idx="16">
                  <c:v>0.8273646864429458</c:v>
                </c:pt>
                <c:pt idx="17">
                  <c:v>0.8008983769272281</c:v>
                </c:pt>
                <c:pt idx="18">
                  <c:v>0.8666185316151183</c:v>
                </c:pt>
                <c:pt idx="19">
                  <c:v>0.8606683779593983</c:v>
                </c:pt>
                <c:pt idx="20">
                  <c:v>0.8696944803139003</c:v>
                </c:pt>
                <c:pt idx="21">
                  <c:v>0.8412131851297328</c:v>
                </c:pt>
                <c:pt idx="22">
                  <c:v>0.9428751315501752</c:v>
                </c:pt>
                <c:pt idx="23">
                  <c:v>0.8503944135345558</c:v>
                </c:pt>
                <c:pt idx="24">
                  <c:v>0.814032215550617</c:v>
                </c:pt>
                <c:pt idx="25">
                  <c:v>0.8669209729436791</c:v>
                </c:pt>
                <c:pt idx="26">
                  <c:v>0.818443898332237</c:v>
                </c:pt>
                <c:pt idx="27">
                  <c:v>0.8980769315346268</c:v>
                </c:pt>
                <c:pt idx="28">
                  <c:v>0.8814330606612687</c:v>
                </c:pt>
                <c:pt idx="29">
                  <c:v>0.8157761707040531</c:v>
                </c:pt>
                <c:pt idx="30">
                  <c:v>0.8438721332804141</c:v>
                </c:pt>
                <c:pt idx="31">
                  <c:v>0.8004183413534631</c:v>
                </c:pt>
                <c:pt idx="32">
                  <c:v>0.7846948122699132</c:v>
                </c:pt>
                <c:pt idx="33">
                  <c:v>0.8793443873976984</c:v>
                </c:pt>
                <c:pt idx="34">
                  <c:v>0.7790441767345179</c:v>
                </c:pt>
                <c:pt idx="35">
                  <c:v>0.8651222007850992</c:v>
                </c:pt>
                <c:pt idx="36">
                  <c:v>0.9363673310025379</c:v>
                </c:pt>
                <c:pt idx="37">
                  <c:v>0.9137362182462582</c:v>
                </c:pt>
                <c:pt idx="38">
                  <c:v>1.0072181849279092</c:v>
                </c:pt>
                <c:pt idx="39">
                  <c:v>1.0340673676827379</c:v>
                </c:pt>
                <c:pt idx="40">
                  <c:v>1.0644901594489062</c:v>
                </c:pt>
                <c:pt idx="41">
                  <c:v>0.9491487409387908</c:v>
                </c:pt>
                <c:pt idx="42">
                  <c:v>0.9944233753438888</c:v>
                </c:pt>
                <c:pt idx="43">
                  <c:v>1.0344834308351667</c:v>
                </c:pt>
                <c:pt idx="44">
                  <c:v>0.9121618717024457</c:v>
                </c:pt>
                <c:pt idx="45">
                  <c:v>0.8276204976035824</c:v>
                </c:pt>
                <c:pt idx="46">
                  <c:v>0.8136613926108609</c:v>
                </c:pt>
                <c:pt idx="47">
                  <c:v>0.7880426356995943</c:v>
                </c:pt>
                <c:pt idx="48">
                  <c:v>0.8395175944414737</c:v>
                </c:pt>
                <c:pt idx="49">
                  <c:v>0.8501744630068385</c:v>
                </c:pt>
                <c:pt idx="50">
                  <c:v>0.9085329924940565</c:v>
                </c:pt>
                <c:pt idx="51">
                  <c:v>0.8629045971249256</c:v>
                </c:pt>
                <c:pt idx="52">
                  <c:v>0.8935451009203084</c:v>
                </c:pt>
                <c:pt idx="53">
                  <c:v>1.038324994905511</c:v>
                </c:pt>
                <c:pt idx="54">
                  <c:v>0.9775960374490892</c:v>
                </c:pt>
                <c:pt idx="55">
                  <c:v>1.01899410743557</c:v>
                </c:pt>
                <c:pt idx="56">
                  <c:v>0.9292639958483079</c:v>
                </c:pt>
                <c:pt idx="57">
                  <c:v>0.951361795118477</c:v>
                </c:pt>
                <c:pt idx="58">
                  <c:v>0.8690041563393583</c:v>
                </c:pt>
                <c:pt idx="59">
                  <c:v>0.8815750426062944</c:v>
                </c:pt>
                <c:pt idx="60">
                  <c:v>0.8828584020321565</c:v>
                </c:pt>
                <c:pt idx="61">
                  <c:v>0.8928185485200714</c:v>
                </c:pt>
                <c:pt idx="62">
                  <c:v>0.8512545586970556</c:v>
                </c:pt>
                <c:pt idx="63">
                  <c:v>0.8614983856520784</c:v>
                </c:pt>
                <c:pt idx="64">
                  <c:v>0.831669948236107</c:v>
                </c:pt>
                <c:pt idx="65">
                  <c:v>0.847172730742621</c:v>
                </c:pt>
                <c:pt idx="66">
                  <c:v>0.8829524404030524</c:v>
                </c:pt>
                <c:pt idx="67">
                  <c:v>0.8842036651090148</c:v>
                </c:pt>
                <c:pt idx="68">
                  <c:v>0.849225934695087</c:v>
                </c:pt>
                <c:pt idx="69">
                  <c:v>0.9407196741392782</c:v>
                </c:pt>
                <c:pt idx="70">
                  <c:v>0.9036800866202254</c:v>
                </c:pt>
                <c:pt idx="71">
                  <c:v>0.9482697924368882</c:v>
                </c:pt>
                <c:pt idx="72">
                  <c:v>0.9779628569213844</c:v>
                </c:pt>
                <c:pt idx="73">
                  <c:v>1.011243663682648</c:v>
                </c:pt>
                <c:pt idx="74">
                  <c:v>0.8577267282891905</c:v>
                </c:pt>
                <c:pt idx="75">
                  <c:v>0.9439671521810176</c:v>
                </c:pt>
                <c:pt idx="76">
                  <c:v>0.9741259695329286</c:v>
                </c:pt>
                <c:pt idx="77">
                  <c:v>0.9744300498044313</c:v>
                </c:pt>
                <c:pt idx="78">
                  <c:v>1.0312118611725327</c:v>
                </c:pt>
                <c:pt idx="79">
                  <c:v>1.1079451887657101</c:v>
                </c:pt>
                <c:pt idx="80">
                  <c:v>0.9485836411448771</c:v>
                </c:pt>
                <c:pt idx="81">
                  <c:v>1.0211618320990075</c:v>
                </c:pt>
                <c:pt idx="82">
                  <c:v>1.1125490523802846</c:v>
                </c:pt>
                <c:pt idx="83">
                  <c:v>0.95387177171603</c:v>
                </c:pt>
                <c:pt idx="84">
                  <c:v>0.9521602348118818</c:v>
                </c:pt>
                <c:pt idx="85">
                  <c:v>0.9364790187528765</c:v>
                </c:pt>
                <c:pt idx="86">
                  <c:v>0.896457730553993</c:v>
                </c:pt>
                <c:pt idx="87">
                  <c:v>0.8636374860336258</c:v>
                </c:pt>
                <c:pt idx="88">
                  <c:v>0.8853598244386537</c:v>
                </c:pt>
                <c:pt idx="89">
                  <c:v>0.9194862095240853</c:v>
                </c:pt>
                <c:pt idx="90">
                  <c:v>0.955766971914504</c:v>
                </c:pt>
                <c:pt idx="91">
                  <c:v>1.0050004254704912</c:v>
                </c:pt>
                <c:pt idx="92">
                  <c:v>0.9547479727780942</c:v>
                </c:pt>
                <c:pt idx="93">
                  <c:v>0.934965518927519</c:v>
                </c:pt>
                <c:pt idx="94">
                  <c:v>0.9136496737186592</c:v>
                </c:pt>
                <c:pt idx="95">
                  <c:v>0.9701636238254796</c:v>
                </c:pt>
                <c:pt idx="96">
                  <c:v>0.9726472948692988</c:v>
                </c:pt>
                <c:pt idx="97">
                  <c:v>1.0140991279955744</c:v>
                </c:pt>
                <c:pt idx="98">
                  <c:v>1.0032348901092751</c:v>
                </c:pt>
                <c:pt idx="99">
                  <c:v>0.9879328713775135</c:v>
                </c:pt>
                <c:pt idx="100">
                  <c:v>0.9940355097860417</c:v>
                </c:pt>
                <c:pt idx="101">
                  <c:v>0.9926333993568711</c:v>
                </c:pt>
                <c:pt idx="102">
                  <c:v>1.0423453319176577</c:v>
                </c:pt>
                <c:pt idx="103">
                  <c:v>0.9605094009474482</c:v>
                </c:pt>
                <c:pt idx="104">
                  <c:v>0.9749117873399661</c:v>
                </c:pt>
              </c:numCache>
            </c:numRef>
          </c:xVal>
          <c:yVal>
            <c:numRef>
              <c:f>Sheet1!$B$2:$B$106</c:f>
              <c:numCache>
                <c:formatCode>General</c:formatCode>
                <c:ptCount val="105"/>
                <c:pt idx="0">
                  <c:v>0.15203376822716808</c:v>
                </c:pt>
                <c:pt idx="1">
                  <c:v>0.13131955484896662</c:v>
                </c:pt>
                <c:pt idx="2">
                  <c:v>0.14105589146143638</c:v>
                </c:pt>
                <c:pt idx="3">
                  <c:v>0.1350858532137973</c:v>
                </c:pt>
                <c:pt idx="4">
                  <c:v>0.14952040624412263</c:v>
                </c:pt>
                <c:pt idx="5">
                  <c:v>0.18022153477696837</c:v>
                </c:pt>
                <c:pt idx="6">
                  <c:v>0.20782469481689014</c:v>
                </c:pt>
                <c:pt idx="7">
                  <c:v>0.22278359196439312</c:v>
                </c:pt>
                <c:pt idx="8">
                  <c:v>0.22940510627594013</c:v>
                </c:pt>
                <c:pt idx="9">
                  <c:v>0.20650358581393063</c:v>
                </c:pt>
                <c:pt idx="10">
                  <c:v>0.21696969696969698</c:v>
                </c:pt>
                <c:pt idx="11">
                  <c:v>0.20811010530205062</c:v>
                </c:pt>
                <c:pt idx="12">
                  <c:v>0.1844922039612305</c:v>
                </c:pt>
                <c:pt idx="13">
                  <c:v>0.1690825375170532</c:v>
                </c:pt>
                <c:pt idx="14">
                  <c:v>0.12979326442147382</c:v>
                </c:pt>
                <c:pt idx="15">
                  <c:v>0.12148242540087077</c:v>
                </c:pt>
                <c:pt idx="16">
                  <c:v>0.11672155140870838</c:v>
                </c:pt>
                <c:pt idx="17">
                  <c:v>0.09924528301886792</c:v>
                </c:pt>
                <c:pt idx="18">
                  <c:v>0.09235625085769178</c:v>
                </c:pt>
                <c:pt idx="19">
                  <c:v>0.09352150994728788</c:v>
                </c:pt>
                <c:pt idx="20">
                  <c:v>0.08731422505307855</c:v>
                </c:pt>
                <c:pt idx="21">
                  <c:v>0.09053156146179402</c:v>
                </c:pt>
                <c:pt idx="22">
                  <c:v>0.09601650531661642</c:v>
                </c:pt>
                <c:pt idx="23">
                  <c:v>0.11016949152542373</c:v>
                </c:pt>
                <c:pt idx="24">
                  <c:v>0.11212558065032836</c:v>
                </c:pt>
                <c:pt idx="25">
                  <c:v>0.11815875317143892</c:v>
                </c:pt>
                <c:pt idx="26">
                  <c:v>0.13977371627502175</c:v>
                </c:pt>
                <c:pt idx="27">
                  <c:v>0.14005556463474425</c:v>
                </c:pt>
                <c:pt idx="28">
                  <c:v>0.16685330347144456</c:v>
                </c:pt>
                <c:pt idx="29">
                  <c:v>0.16854092526690392</c:v>
                </c:pt>
                <c:pt idx="30">
                  <c:v>0.1738241308793456</c:v>
                </c:pt>
                <c:pt idx="31">
                  <c:v>0.16885301042717793</c:v>
                </c:pt>
                <c:pt idx="32">
                  <c:v>0.1941530524505589</c:v>
                </c:pt>
                <c:pt idx="33">
                  <c:v>0.17708474576271185</c:v>
                </c:pt>
                <c:pt idx="34">
                  <c:v>0.18097960244251007</c:v>
                </c:pt>
                <c:pt idx="35">
                  <c:v>0.19191362785061145</c:v>
                </c:pt>
                <c:pt idx="36">
                  <c:v>0.15334485968878842</c:v>
                </c:pt>
                <c:pt idx="37">
                  <c:v>0.1492694682934177</c:v>
                </c:pt>
                <c:pt idx="38">
                  <c:v>0.14338561704646344</c:v>
                </c:pt>
                <c:pt idx="39">
                  <c:v>0.12966063004108963</c:v>
                </c:pt>
                <c:pt idx="40">
                  <c:v>0.13684895833333333</c:v>
                </c:pt>
                <c:pt idx="41">
                  <c:v>0.1338894967177243</c:v>
                </c:pt>
                <c:pt idx="42">
                  <c:v>0.13219741480611047</c:v>
                </c:pt>
                <c:pt idx="43">
                  <c:v>0.12925982200998481</c:v>
                </c:pt>
                <c:pt idx="44">
                  <c:v>0.1348750466243939</c:v>
                </c:pt>
                <c:pt idx="45">
                  <c:v>0.15498938428874734</c:v>
                </c:pt>
                <c:pt idx="46">
                  <c:v>0.15900846432889965</c:v>
                </c:pt>
                <c:pt idx="47">
                  <c:v>0.14745484400656814</c:v>
                </c:pt>
                <c:pt idx="48">
                  <c:v>0.1530822089582184</c:v>
                </c:pt>
                <c:pt idx="49">
                  <c:v>0.1467014462127716</c:v>
                </c:pt>
                <c:pt idx="50">
                  <c:v>0.15167560321715817</c:v>
                </c:pt>
                <c:pt idx="51">
                  <c:v>0.13935681470137826</c:v>
                </c:pt>
                <c:pt idx="52">
                  <c:v>0.1430183918730496</c:v>
                </c:pt>
                <c:pt idx="53">
                  <c:v>0.12857029828309202</c:v>
                </c:pt>
                <c:pt idx="54">
                  <c:v>0.13254773782900395</c:v>
                </c:pt>
                <c:pt idx="55">
                  <c:v>0.1281826931490069</c:v>
                </c:pt>
                <c:pt idx="56">
                  <c:v>0.13618157543391188</c:v>
                </c:pt>
                <c:pt idx="57">
                  <c:v>0.13316070307595732</c:v>
                </c:pt>
                <c:pt idx="58">
                  <c:v>0.15326787358085303</c:v>
                </c:pt>
                <c:pt idx="59">
                  <c:v>0.14013928138877674</c:v>
                </c:pt>
                <c:pt idx="60">
                  <c:v>0.1467167860918595</c:v>
                </c:pt>
                <c:pt idx="61">
                  <c:v>0.15204346415828737</c:v>
                </c:pt>
                <c:pt idx="62">
                  <c:v>0.16829385403329064</c:v>
                </c:pt>
                <c:pt idx="63">
                  <c:v>0.1751731406202951</c:v>
                </c:pt>
                <c:pt idx="64">
                  <c:v>0.16787756994898748</c:v>
                </c:pt>
                <c:pt idx="65">
                  <c:v>0.16462486988549924</c:v>
                </c:pt>
                <c:pt idx="66">
                  <c:v>0.1601910312449409</c:v>
                </c:pt>
                <c:pt idx="67">
                  <c:v>0.14912944738834216</c:v>
                </c:pt>
                <c:pt idx="68">
                  <c:v>0.1371638614819114</c:v>
                </c:pt>
                <c:pt idx="69">
                  <c:v>0.12905236907730674</c:v>
                </c:pt>
                <c:pt idx="70">
                  <c:v>0.1363848124854414</c:v>
                </c:pt>
                <c:pt idx="71">
                  <c:v>0.12382921785670843</c:v>
                </c:pt>
                <c:pt idx="72">
                  <c:v>0.12497035807446051</c:v>
                </c:pt>
                <c:pt idx="73">
                  <c:v>0.1250307049864898</c:v>
                </c:pt>
                <c:pt idx="74">
                  <c:v>0.12244665069040284</c:v>
                </c:pt>
                <c:pt idx="75">
                  <c:v>0.13474184972715825</c:v>
                </c:pt>
                <c:pt idx="76">
                  <c:v>0.15092005566723365</c:v>
                </c:pt>
                <c:pt idx="77">
                  <c:v>0.13680534467051322</c:v>
                </c:pt>
                <c:pt idx="78">
                  <c:v>0.15169561621174524</c:v>
                </c:pt>
                <c:pt idx="79">
                  <c:v>0.15736989716422561</c:v>
                </c:pt>
                <c:pt idx="80">
                  <c:v>0.1355775169857937</c:v>
                </c:pt>
                <c:pt idx="81">
                  <c:v>0.13393870601589103</c:v>
                </c:pt>
                <c:pt idx="82">
                  <c:v>0.15038965345713812</c:v>
                </c:pt>
                <c:pt idx="83">
                  <c:v>0.13358278765201123</c:v>
                </c:pt>
                <c:pt idx="84">
                  <c:v>0.13683168316831684</c:v>
                </c:pt>
                <c:pt idx="85">
                  <c:v>0.146780809702158</c:v>
                </c:pt>
                <c:pt idx="86">
                  <c:v>0.15664371996363163</c:v>
                </c:pt>
                <c:pt idx="87">
                  <c:v>0.17659462308908802</c:v>
                </c:pt>
                <c:pt idx="88">
                  <c:v>0.14726989079563182</c:v>
                </c:pt>
                <c:pt idx="89">
                  <c:v>0.1654392875492379</c:v>
                </c:pt>
                <c:pt idx="90">
                  <c:v>0.1436730323041228</c:v>
                </c:pt>
                <c:pt idx="91">
                  <c:v>0.1365415986949429</c:v>
                </c:pt>
                <c:pt idx="92">
                  <c:v>0.14522156967431926</c:v>
                </c:pt>
                <c:pt idx="93">
                  <c:v>0.145748987854251</c:v>
                </c:pt>
                <c:pt idx="94">
                  <c:v>0.14999226843977115</c:v>
                </c:pt>
                <c:pt idx="95">
                  <c:v>0.14889313406000673</c:v>
                </c:pt>
                <c:pt idx="96">
                  <c:v>0.14493518239372927</c:v>
                </c:pt>
                <c:pt idx="97">
                  <c:v>0.14856711915535445</c:v>
                </c:pt>
                <c:pt idx="98">
                  <c:v>0.15471226021684736</c:v>
                </c:pt>
                <c:pt idx="99">
                  <c:v>0.15064853883419285</c:v>
                </c:pt>
                <c:pt idx="100">
                  <c:v>0.1553972561435248</c:v>
                </c:pt>
                <c:pt idx="101">
                  <c:v>0.14507422402159245</c:v>
                </c:pt>
                <c:pt idx="102">
                  <c:v>0.1501465810950004</c:v>
                </c:pt>
                <c:pt idx="103">
                  <c:v>0.14516482713251955</c:v>
                </c:pt>
                <c:pt idx="104">
                  <c:v>0.144393769899320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008663952452046</c:v>
                </c:pt>
                <c:pt idx="1">
                  <c:v>1.1028090056898678</c:v>
                </c:pt>
                <c:pt idx="2">
                  <c:v>1.0558602150877152</c:v>
                </c:pt>
                <c:pt idx="3">
                  <c:v>0.9353058709539925</c:v>
                </c:pt>
                <c:pt idx="4">
                  <c:v>1.015222279676785</c:v>
                </c:pt>
                <c:pt idx="5">
                  <c:v>1.0995357629872016</c:v>
                </c:pt>
                <c:pt idx="6">
                  <c:v>1.0729463627042775</c:v>
                </c:pt>
                <c:pt idx="7">
                  <c:v>1.0948735458974335</c:v>
                </c:pt>
                <c:pt idx="8">
                  <c:v>1.1061320159782844</c:v>
                </c:pt>
                <c:pt idx="9">
                  <c:v>1.0877983698316687</c:v>
                </c:pt>
                <c:pt idx="10">
                  <c:v>1.0968450994704142</c:v>
                </c:pt>
                <c:pt idx="11">
                  <c:v>1.0411062881474173</c:v>
                </c:pt>
                <c:pt idx="12">
                  <c:v>1.0539842709483813</c:v>
                </c:pt>
                <c:pt idx="13">
                  <c:v>1.0819866808644798</c:v>
                </c:pt>
                <c:pt idx="14">
                  <c:v>1.069815577997413</c:v>
                </c:pt>
                <c:pt idx="15">
                  <c:v>1.0869274988014912</c:v>
                </c:pt>
                <c:pt idx="16">
                  <c:v>1.0585548791735842</c:v>
                </c:pt>
                <c:pt idx="17">
                  <c:v>1.0195741975321966</c:v>
                </c:pt>
                <c:pt idx="18">
                  <c:v>1.2364395611143058</c:v>
                </c:pt>
                <c:pt idx="19">
                  <c:v>1.4255529435953433</c:v>
                </c:pt>
                <c:pt idx="20">
                  <c:v>1.4501561271909638</c:v>
                </c:pt>
                <c:pt idx="21">
                  <c:v>1.3730433333329588</c:v>
                </c:pt>
                <c:pt idx="22">
                  <c:v>1.2971622778670524</c:v>
                </c:pt>
                <c:pt idx="23">
                  <c:v>1.3642302683846654</c:v>
                </c:pt>
                <c:pt idx="24">
                  <c:v>1.3316898035416183</c:v>
                </c:pt>
                <c:pt idx="25">
                  <c:v>1.3479729102843507</c:v>
                </c:pt>
                <c:pt idx="26">
                  <c:v>1.373376801018679</c:v>
                </c:pt>
                <c:pt idx="27">
                  <c:v>1.243481703298927</c:v>
                </c:pt>
                <c:pt idx="28">
                  <c:v>1.2690953726986725</c:v>
                </c:pt>
                <c:pt idx="29">
                  <c:v>1.2357975959747085</c:v>
                </c:pt>
                <c:pt idx="30">
                  <c:v>1.143444890408236</c:v>
                </c:pt>
                <c:pt idx="31">
                  <c:v>1.2815766162892726</c:v>
                </c:pt>
                <c:pt idx="32">
                  <c:v>1.278357097851856</c:v>
                </c:pt>
                <c:pt idx="33">
                  <c:v>1.306889174460698</c:v>
                </c:pt>
                <c:pt idx="34">
                  <c:v>1.3087845172344539</c:v>
                </c:pt>
                <c:pt idx="35">
                  <c:v>1.3461122550890021</c:v>
                </c:pt>
                <c:pt idx="36">
                  <c:v>1.2517011526589024</c:v>
                </c:pt>
                <c:pt idx="37">
                  <c:v>1.2616577779611293</c:v>
                </c:pt>
                <c:pt idx="38">
                  <c:v>1.2017057378327005</c:v>
                </c:pt>
                <c:pt idx="39">
                  <c:v>1.3316592662174804</c:v>
                </c:pt>
                <c:pt idx="40">
                  <c:v>1.3039902679020623</c:v>
                </c:pt>
                <c:pt idx="41">
                  <c:v>1.2955706177717932</c:v>
                </c:pt>
                <c:pt idx="42">
                  <c:v>1.338447381899826</c:v>
                </c:pt>
                <c:pt idx="43">
                  <c:v>1.106563776913414</c:v>
                </c:pt>
                <c:pt idx="44">
                  <c:v>1.05433209058258</c:v>
                </c:pt>
                <c:pt idx="45">
                  <c:v>1.1338933987991218</c:v>
                </c:pt>
                <c:pt idx="46">
                  <c:v>1.1725802267004797</c:v>
                </c:pt>
                <c:pt idx="47">
                  <c:v>1.0753448401018142</c:v>
                </c:pt>
                <c:pt idx="48">
                  <c:v>1.014691886593197</c:v>
                </c:pt>
                <c:pt idx="49">
                  <c:v>0.977381220143048</c:v>
                </c:pt>
                <c:pt idx="50">
                  <c:v>0.9885613134395637</c:v>
                </c:pt>
                <c:pt idx="51">
                  <c:v>0.8925066252949461</c:v>
                </c:pt>
              </c:numCache>
            </c:numRef>
          </c:xVal>
          <c:yVal>
            <c:numRef>
              <c:f>Sheet1!$B$109:$B$160</c:f>
              <c:numCache>
                <c:formatCode>General</c:formatCode>
                <c:ptCount val="52"/>
                <c:pt idx="0">
                  <c:v>0.1605461393596987</c:v>
                </c:pt>
                <c:pt idx="1">
                  <c:v>0.14413895291405993</c:v>
                </c:pt>
                <c:pt idx="2">
                  <c:v>0.1673538506847298</c:v>
                </c:pt>
                <c:pt idx="3">
                  <c:v>0.19772113066978306</c:v>
                </c:pt>
                <c:pt idx="4">
                  <c:v>0.18746218995765276</c:v>
                </c:pt>
                <c:pt idx="5">
                  <c:v>0.18380814421374536</c:v>
                </c:pt>
                <c:pt idx="6">
                  <c:v>0.19407496977025393</c:v>
                </c:pt>
                <c:pt idx="7">
                  <c:v>0.2085666874092512</c:v>
                </c:pt>
                <c:pt idx="8">
                  <c:v>0.18858212447356107</c:v>
                </c:pt>
                <c:pt idx="9">
                  <c:v>0.1970842332613391</c:v>
                </c:pt>
                <c:pt idx="10">
                  <c:v>0.2098752489778803</c:v>
                </c:pt>
                <c:pt idx="11">
                  <c:v>0.19254133025759324</c:v>
                </c:pt>
                <c:pt idx="12">
                  <c:v>0.1878903068150964</c:v>
                </c:pt>
                <c:pt idx="13">
                  <c:v>0.18893412287194672</c:v>
                </c:pt>
                <c:pt idx="14">
                  <c:v>0.18463971533063162</c:v>
                </c:pt>
                <c:pt idx="15">
                  <c:v>0.17705500941225685</c:v>
                </c:pt>
                <c:pt idx="16">
                  <c:v>0.1609324218312227</c:v>
                </c:pt>
                <c:pt idx="17">
                  <c:v>0.18393338231692383</c:v>
                </c:pt>
                <c:pt idx="18">
                  <c:v>0.16355530788520478</c:v>
                </c:pt>
                <c:pt idx="19">
                  <c:v>0.1659034410571765</c:v>
                </c:pt>
                <c:pt idx="20">
                  <c:v>0.1475199543899658</c:v>
                </c:pt>
                <c:pt idx="21">
                  <c:v>0.15116883116883117</c:v>
                </c:pt>
                <c:pt idx="22">
                  <c:v>0.15857718591203784</c:v>
                </c:pt>
                <c:pt idx="23">
                  <c:v>0.1551473263004729</c:v>
                </c:pt>
                <c:pt idx="24">
                  <c:v>0.17107257113992255</c:v>
                </c:pt>
                <c:pt idx="25">
                  <c:v>0.16629915472252849</c:v>
                </c:pt>
                <c:pt idx="26">
                  <c:v>0.16182069920387676</c:v>
                </c:pt>
                <c:pt idx="27">
                  <c:v>0.1630819092516205</c:v>
                </c:pt>
                <c:pt idx="28">
                  <c:v>0.15857142857142856</c:v>
                </c:pt>
                <c:pt idx="29">
                  <c:v>0.15828894806924101</c:v>
                </c:pt>
                <c:pt idx="30">
                  <c:v>0.15847833503923575</c:v>
                </c:pt>
                <c:pt idx="31">
                  <c:v>0.15720362493064546</c:v>
                </c:pt>
                <c:pt idx="32">
                  <c:v>0.1521524811041735</c:v>
                </c:pt>
                <c:pt idx="33">
                  <c:v>0.17336581404790904</c:v>
                </c:pt>
                <c:pt idx="34">
                  <c:v>0.18772272675020119</c:v>
                </c:pt>
                <c:pt idx="35">
                  <c:v>0.1809410520750727</c:v>
                </c:pt>
                <c:pt idx="36">
                  <c:v>0.17780211756115372</c:v>
                </c:pt>
                <c:pt idx="37">
                  <c:v>0.1536039768019884</c:v>
                </c:pt>
                <c:pt idx="38">
                  <c:v>0.1590291613838073</c:v>
                </c:pt>
                <c:pt idx="39">
                  <c:v>0.17227666524641386</c:v>
                </c:pt>
                <c:pt idx="40">
                  <c:v>0.16235100698725852</c:v>
                </c:pt>
                <c:pt idx="41">
                  <c:v>0.17421926910299004</c:v>
                </c:pt>
                <c:pt idx="42">
                  <c:v>0.165417952108124</c:v>
                </c:pt>
                <c:pt idx="43">
                  <c:v>0.16425173010380623</c:v>
                </c:pt>
                <c:pt idx="44">
                  <c:v>0.17050734064300316</c:v>
                </c:pt>
                <c:pt idx="45">
                  <c:v>0.17971851317214002</c:v>
                </c:pt>
                <c:pt idx="46">
                  <c:v>0.20572160546541418</c:v>
                </c:pt>
                <c:pt idx="47">
                  <c:v>0.20394578554815943</c:v>
                </c:pt>
                <c:pt idx="48">
                  <c:v>0.2046908315565032</c:v>
                </c:pt>
                <c:pt idx="49">
                  <c:v>0.20980441960883922</c:v>
                </c:pt>
                <c:pt idx="50">
                  <c:v>0.211416402204777</c:v>
                </c:pt>
                <c:pt idx="51">
                  <c:v>0.1975665085584656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8088926199904023</c:v>
                </c:pt>
              </c:numCache>
            </c:numRef>
          </c:xVal>
          <c:yVal>
            <c:numRef>
              <c:f>Sheet1!$B$163:$B$164</c:f>
              <c:numCache>
                <c:formatCode>General</c:formatCode>
                <c:ptCount val="2"/>
                <c:pt idx="0">
                  <c:v>0.20586954048214628</c:v>
                </c:pt>
                <c:pt idx="1">
                  <c:v>0.2058695404821462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8088926199904023</c:v>
                </c:pt>
                <c:pt idx="1">
                  <c:v>0.8088926199904023</c:v>
                </c:pt>
              </c:numCache>
            </c:numRef>
          </c:xVal>
          <c:yVal>
            <c:numRef>
              <c:f>Sheet1!$B$167:$B$168</c:f>
              <c:numCache>
                <c:formatCode>General</c:formatCode>
                <c:ptCount val="2"/>
                <c:pt idx="0">
                  <c:v>0.2058695404821462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088926199904023</c:v>
                </c:pt>
              </c:numCache>
            </c:numRef>
          </c:xVal>
          <c:yVal>
            <c:numRef>
              <c:f>Sheet1!$B$171:$B$172</c:f>
              <c:numCache>
                <c:formatCode>General</c:formatCode>
                <c:ptCount val="2"/>
                <c:pt idx="0">
                  <c:v>0.20586954048214628</c:v>
                </c:pt>
                <c:pt idx="1">
                  <c:v>0.2058695404821462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088926199904023</c:v>
                </c:pt>
                <c:pt idx="1">
                  <c:v>0.8088926199904023</c:v>
                </c:pt>
              </c:numCache>
            </c:numRef>
          </c:xVal>
          <c:yVal>
            <c:numRef>
              <c:f>Sheet1!$B$175:$B$176</c:f>
              <c:numCache>
                <c:formatCode>General</c:formatCode>
                <c:ptCount val="2"/>
                <c:pt idx="0">
                  <c:v>0.2058695404821462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0497690447981876</c:v>
                </c:pt>
              </c:numCache>
            </c:numRef>
          </c:xVal>
          <c:yVal>
            <c:numRef>
              <c:f>Sheet1!$B$179:$B$180</c:f>
              <c:numCache>
                <c:formatCode>General</c:formatCode>
                <c:ptCount val="2"/>
                <c:pt idx="0">
                  <c:v>0.18629907925429956</c:v>
                </c:pt>
                <c:pt idx="1">
                  <c:v>0.1862990792542995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0497690447981876</c:v>
                </c:pt>
                <c:pt idx="1">
                  <c:v>1.0497690447981876</c:v>
                </c:pt>
              </c:numCache>
            </c:numRef>
          </c:xVal>
          <c:yVal>
            <c:numRef>
              <c:f>Sheet1!$B$183:$B$184</c:f>
              <c:numCache>
                <c:formatCode>General</c:formatCode>
                <c:ptCount val="2"/>
                <c:pt idx="0">
                  <c:v>0.1862990792542995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008663952452046</c:v>
                </c:pt>
                <c:pt idx="1">
                  <c:v>1.1028090056898678</c:v>
                </c:pt>
                <c:pt idx="2">
                  <c:v>1.0558602150877152</c:v>
                </c:pt>
                <c:pt idx="3">
                  <c:v>0.9353058709539925</c:v>
                </c:pt>
                <c:pt idx="4">
                  <c:v>1.015222279676785</c:v>
                </c:pt>
                <c:pt idx="5">
                  <c:v>1.0995357629872016</c:v>
                </c:pt>
                <c:pt idx="6">
                  <c:v>1.0729463627042775</c:v>
                </c:pt>
                <c:pt idx="7">
                  <c:v>1.0948735458974335</c:v>
                </c:pt>
                <c:pt idx="8">
                  <c:v>1.1061320159782844</c:v>
                </c:pt>
                <c:pt idx="9">
                  <c:v>1.0877983698316687</c:v>
                </c:pt>
                <c:pt idx="10">
                  <c:v>1.0968450994704142</c:v>
                </c:pt>
                <c:pt idx="11">
                  <c:v>1.0411062881474173</c:v>
                </c:pt>
                <c:pt idx="12">
                  <c:v>1.0539842709483813</c:v>
                </c:pt>
                <c:pt idx="13">
                  <c:v>1.0819866808644798</c:v>
                </c:pt>
                <c:pt idx="14">
                  <c:v>1.069815577997413</c:v>
                </c:pt>
                <c:pt idx="15">
                  <c:v>1.0869274988014912</c:v>
                </c:pt>
                <c:pt idx="16">
                  <c:v>1.0585548791735842</c:v>
                </c:pt>
                <c:pt idx="17">
                  <c:v>1.0195741975321966</c:v>
                </c:pt>
                <c:pt idx="18">
                  <c:v>1.2364395611143058</c:v>
                </c:pt>
                <c:pt idx="19">
                  <c:v>1.4255529435953433</c:v>
                </c:pt>
                <c:pt idx="20">
                  <c:v>1.4501561271909638</c:v>
                </c:pt>
                <c:pt idx="21">
                  <c:v>1.3730433333329588</c:v>
                </c:pt>
                <c:pt idx="22">
                  <c:v>1.2971622778670524</c:v>
                </c:pt>
                <c:pt idx="23">
                  <c:v>1.3642302683846654</c:v>
                </c:pt>
                <c:pt idx="24">
                  <c:v>1.3316898035416183</c:v>
                </c:pt>
                <c:pt idx="25">
                  <c:v>1.3479729102843507</c:v>
                </c:pt>
                <c:pt idx="26">
                  <c:v>1.373376801018679</c:v>
                </c:pt>
                <c:pt idx="27">
                  <c:v>1.243481703298927</c:v>
                </c:pt>
                <c:pt idx="28">
                  <c:v>1.2690953726986725</c:v>
                </c:pt>
                <c:pt idx="29">
                  <c:v>1.2357975959747085</c:v>
                </c:pt>
                <c:pt idx="30">
                  <c:v>1.143444890408236</c:v>
                </c:pt>
                <c:pt idx="31">
                  <c:v>1.2815766162892726</c:v>
                </c:pt>
                <c:pt idx="32">
                  <c:v>1.278357097851856</c:v>
                </c:pt>
                <c:pt idx="33">
                  <c:v>1.306889174460698</c:v>
                </c:pt>
                <c:pt idx="34">
                  <c:v>1.3087845172344539</c:v>
                </c:pt>
                <c:pt idx="35">
                  <c:v>1.3461122550890021</c:v>
                </c:pt>
                <c:pt idx="36">
                  <c:v>1.2517011526589024</c:v>
                </c:pt>
                <c:pt idx="37">
                  <c:v>1.2616577779611293</c:v>
                </c:pt>
                <c:pt idx="38">
                  <c:v>1.2017057378327005</c:v>
                </c:pt>
                <c:pt idx="39">
                  <c:v>1.3316592662174804</c:v>
                </c:pt>
                <c:pt idx="40">
                  <c:v>1.3039902679020623</c:v>
                </c:pt>
                <c:pt idx="41">
                  <c:v>1.2955706177717932</c:v>
                </c:pt>
                <c:pt idx="42">
                  <c:v>1.338447381899826</c:v>
                </c:pt>
                <c:pt idx="43">
                  <c:v>1.106563776913414</c:v>
                </c:pt>
                <c:pt idx="44">
                  <c:v>1.05433209058258</c:v>
                </c:pt>
                <c:pt idx="45">
                  <c:v>1.1338933987991218</c:v>
                </c:pt>
                <c:pt idx="46">
                  <c:v>1.1725802267004797</c:v>
                </c:pt>
                <c:pt idx="47">
                  <c:v>1.0753448401018142</c:v>
                </c:pt>
                <c:pt idx="48">
                  <c:v>1.014691886593197</c:v>
                </c:pt>
                <c:pt idx="49">
                  <c:v>0.977381220143048</c:v>
                </c:pt>
                <c:pt idx="50">
                  <c:v>0.9885613134395637</c:v>
                </c:pt>
                <c:pt idx="51">
                  <c:v>0.8925066252949461</c:v>
                </c:pt>
                <c:pt idx="52">
                  <c:v>0.8088926199904023</c:v>
                </c:pt>
                <c:pt idx="53">
                  <c:v>0.8088926199904023</c:v>
                </c:pt>
                <c:pt idx="54">
                  <c:v>1.0497690447981876</c:v>
                </c:pt>
              </c:numCache>
            </c:numRef>
          </c:xVal>
          <c:yVal>
            <c:numRef>
              <c:f>Sheet1!$B$187:$B$241</c:f>
              <c:numCache>
                <c:formatCode>General</c:formatCode>
                <c:ptCount val="55"/>
                <c:pt idx="0">
                  <c:v>0.18963874031357159</c:v>
                </c:pt>
                <c:pt idx="1">
                  <c:v>0.18198974720162792</c:v>
                </c:pt>
                <c:pt idx="2">
                  <c:v>0.18580419059062675</c:v>
                </c:pt>
                <c:pt idx="3">
                  <c:v>0.19559885654683307</c:v>
                </c:pt>
                <c:pt idx="4">
                  <c:v>0.18910589660014587</c:v>
                </c:pt>
                <c:pt idx="5">
                  <c:v>0.18225568800282083</c:v>
                </c:pt>
                <c:pt idx="6">
                  <c:v>0.1844159941752655</c:v>
                </c:pt>
                <c:pt idx="7">
                  <c:v>0.182634478658087</c:v>
                </c:pt>
                <c:pt idx="8">
                  <c:v>0.1817197629386969</c:v>
                </c:pt>
                <c:pt idx="9">
                  <c:v>0.183209314734244</c:v>
                </c:pt>
                <c:pt idx="10">
                  <c:v>0.1824742960549558</c:v>
                </c:pt>
                <c:pt idx="11">
                  <c:v>0.1870029013211351</c:v>
                </c:pt>
                <c:pt idx="12">
                  <c:v>0.18595660522428686</c:v>
                </c:pt>
                <c:pt idx="13">
                  <c:v>0.18368149640869152</c:v>
                </c:pt>
                <c:pt idx="14">
                  <c:v>0.18467036070684834</c:v>
                </c:pt>
                <c:pt idx="15">
                  <c:v>0.18328007030006638</c:v>
                </c:pt>
                <c:pt idx="16">
                  <c:v>0.18558525750468174</c:v>
                </c:pt>
                <c:pt idx="17">
                  <c:v>0.18875231679371995</c:v>
                </c:pt>
                <c:pt idx="18">
                  <c:v>0.17113267969958212</c:v>
                </c:pt>
                <c:pt idx="19">
                  <c:v>0.1557678048577812</c:v>
                </c:pt>
                <c:pt idx="20">
                  <c:v>0.15376887262095518</c:v>
                </c:pt>
                <c:pt idx="21">
                  <c:v>0.16003404756936818</c:v>
                </c:pt>
                <c:pt idx="22">
                  <c:v>0.16619914759984492</c:v>
                </c:pt>
                <c:pt idx="23">
                  <c:v>0.1607500817184415</c:v>
                </c:pt>
                <c:pt idx="24">
                  <c:v>0.16339389339928634</c:v>
                </c:pt>
                <c:pt idx="25">
                  <c:v>0.16207094156026003</c:v>
                </c:pt>
                <c:pt idx="26">
                  <c:v>0.1600069543558279</c:v>
                </c:pt>
                <c:pt idx="27">
                  <c:v>0.17056052752364756</c:v>
                </c:pt>
                <c:pt idx="28">
                  <c:v>0.16847949645433222</c:v>
                </c:pt>
                <c:pt idx="29">
                  <c:v>0.17118483737289591</c:v>
                </c:pt>
                <c:pt idx="30">
                  <c:v>0.17868820780450895</c:v>
                </c:pt>
                <c:pt idx="31">
                  <c:v>0.16746543418584717</c:v>
                </c:pt>
                <c:pt idx="32">
                  <c:v>0.1677270100573841</c:v>
                </c:pt>
                <c:pt idx="33">
                  <c:v>0.16540886746842431</c:v>
                </c:pt>
                <c:pt idx="34">
                  <c:v>0.1652548767559797</c:v>
                </c:pt>
                <c:pt idx="35">
                  <c:v>0.1622221140147168</c:v>
                </c:pt>
                <c:pt idx="36">
                  <c:v>0.16989272279704548</c:v>
                </c:pt>
                <c:pt idx="37">
                  <c:v>0.16908377792170984</c:v>
                </c:pt>
                <c:pt idx="38">
                  <c:v>0.17395469493984472</c:v>
                </c:pt>
                <c:pt idx="39">
                  <c:v>0.16339637446200767</c:v>
                </c:pt>
                <c:pt idx="40">
                  <c:v>0.165644394620798</c:v>
                </c:pt>
                <c:pt idx="41">
                  <c:v>0.16632846503805845</c:v>
                </c:pt>
                <c:pt idx="42">
                  <c:v>0.1628448611502442</c:v>
                </c:pt>
                <c:pt idx="43">
                  <c:v>0.18168468370399224</c:v>
                </c:pt>
                <c:pt idx="44">
                  <c:v>0.1859283459595174</c:v>
                </c:pt>
                <c:pt idx="45">
                  <c:v>0.1794642368258357</c:v>
                </c:pt>
                <c:pt idx="46">
                  <c:v>0.17632105224031194</c:v>
                </c:pt>
                <c:pt idx="47">
                  <c:v>0.18422112533763718</c:v>
                </c:pt>
                <c:pt idx="48">
                  <c:v>0.1891489893905099</c:v>
                </c:pt>
                <c:pt idx="49">
                  <c:v>0.19218036513319803</c:v>
                </c:pt>
                <c:pt idx="50">
                  <c:v>0.19127201728405602</c:v>
                </c:pt>
                <c:pt idx="51">
                  <c:v>0.19907616229985498</c:v>
                </c:pt>
                <c:pt idx="52">
                  <c:v>0.20586954048214628</c:v>
                </c:pt>
                <c:pt idx="53">
                  <c:v>0.20586954048214628</c:v>
                </c:pt>
                <c:pt idx="54">
                  <c:v>0.1862990792542995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528612753112813"/>
          <c:min val="0.069851380042462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1.3397</c:v>
                </c:pt>
                <c:pt idx="1">
                  <c:v>863.5551</c:v>
                </c:pt>
                <c:pt idx="2">
                  <c:v>897.2039</c:v>
                </c:pt>
                <c:pt idx="3">
                  <c:v>910.8735</c:v>
                </c:pt>
                <c:pt idx="4">
                  <c:v>896.5</c:v>
                </c:pt>
                <c:pt idx="5">
                  <c:v>877.2215</c:v>
                </c:pt>
                <c:pt idx="6">
                  <c:v>836.5002</c:v>
                </c:pt>
                <c:pt idx="7">
                  <c:v>843.6463</c:v>
                </c:pt>
                <c:pt idx="8">
                  <c:v>837.9156</c:v>
                </c:pt>
                <c:pt idx="9">
                  <c:v>826.8154</c:v>
                </c:pt>
                <c:pt idx="10">
                  <c:v>797.3752</c:v>
                </c:pt>
                <c:pt idx="11">
                  <c:v>808.9015</c:v>
                </c:pt>
                <c:pt idx="12">
                  <c:v>829.2133</c:v>
                </c:pt>
                <c:pt idx="13">
                  <c:v>817.4029</c:v>
                </c:pt>
                <c:pt idx="14">
                  <c:v>898.7521</c:v>
                </c:pt>
                <c:pt idx="15">
                  <c:v>914.6836</c:v>
                </c:pt>
                <c:pt idx="16">
                  <c:v>934.9446</c:v>
                </c:pt>
                <c:pt idx="17">
                  <c:v>937.9417</c:v>
                </c:pt>
                <c:pt idx="18">
                  <c:v>958.5275</c:v>
                </c:pt>
                <c:pt idx="19">
                  <c:v>954.5364</c:v>
                </c:pt>
                <c:pt idx="20">
                  <c:v>987.4225</c:v>
                </c:pt>
                <c:pt idx="21">
                  <c:v>998.0716</c:v>
                </c:pt>
                <c:pt idx="22">
                  <c:v>985.6992</c:v>
                </c:pt>
                <c:pt idx="23">
                  <c:v>991.1369</c:v>
                </c:pt>
                <c:pt idx="24">
                  <c:v>1009.8729</c:v>
                </c:pt>
                <c:pt idx="25">
                  <c:v>993.0767</c:v>
                </c:pt>
                <c:pt idx="26">
                  <c:v>960.4832</c:v>
                </c:pt>
                <c:pt idx="27">
                  <c:v>1000.5846</c:v>
                </c:pt>
                <c:pt idx="28">
                  <c:v>989.9655</c:v>
                </c:pt>
                <c:pt idx="29">
                  <c:v>973.2576</c:v>
                </c:pt>
                <c:pt idx="30">
                  <c:v>974.8567</c:v>
                </c:pt>
                <c:pt idx="31">
                  <c:v>986.3516</c:v>
                </c:pt>
                <c:pt idx="32">
                  <c:v>971.248</c:v>
                </c:pt>
                <c:pt idx="33">
                  <c:v>957.7856</c:v>
                </c:pt>
                <c:pt idx="34">
                  <c:v>949.0969</c:v>
                </c:pt>
                <c:pt idx="35">
                  <c:v>1004.7813</c:v>
                </c:pt>
                <c:pt idx="36">
                  <c:v>1055.2298</c:v>
                </c:pt>
                <c:pt idx="37">
                  <c:v>1089.3078</c:v>
                </c:pt>
                <c:pt idx="38">
                  <c:v>1111.2466</c:v>
                </c:pt>
                <c:pt idx="39">
                  <c:v>1134.0258</c:v>
                </c:pt>
                <c:pt idx="40">
                  <c:v>1140.4443</c:v>
                </c:pt>
                <c:pt idx="41">
                  <c:v>1155.7303</c:v>
                </c:pt>
                <c:pt idx="42">
                  <c:v>1169.44</c:v>
                </c:pt>
                <c:pt idx="43">
                  <c:v>1178.0688</c:v>
                </c:pt>
                <c:pt idx="44">
                  <c:v>1116.1178</c:v>
                </c:pt>
                <c:pt idx="45">
                  <c:v>1086.926</c:v>
                </c:pt>
                <c:pt idx="46">
                  <c:v>1074.755</c:v>
                </c:pt>
                <c:pt idx="47">
                  <c:v>1051.1893</c:v>
                </c:pt>
                <c:pt idx="48">
                  <c:v>1052.1763</c:v>
                </c:pt>
                <c:pt idx="49">
                  <c:v>1009.8998</c:v>
                </c:pt>
                <c:pt idx="50">
                  <c:v>1002.5409</c:v>
                </c:pt>
                <c:pt idx="51">
                  <c:v>1017.967</c:v>
                </c:pt>
                <c:pt idx="52">
                  <c:v>1021.1546</c:v>
                </c:pt>
                <c:pt idx="53">
                  <c:v>1121.9926</c:v>
                </c:pt>
                <c:pt idx="54">
                  <c:v>1103.7158</c:v>
                </c:pt>
                <c:pt idx="55">
                  <c:v>1103.6662</c:v>
                </c:pt>
                <c:pt idx="56">
                  <c:v>1101.5908</c:v>
                </c:pt>
                <c:pt idx="57">
                  <c:v>1109.2263</c:v>
                </c:pt>
                <c:pt idx="58">
                  <c:v>1057.6481</c:v>
                </c:pt>
                <c:pt idx="59">
                  <c:v>1055.7681</c:v>
                </c:pt>
                <c:pt idx="60">
                  <c:v>1066.3343</c:v>
                </c:pt>
                <c:pt idx="61">
                  <c:v>1077.5211</c:v>
                </c:pt>
                <c:pt idx="62">
                  <c:v>1001.9805</c:v>
                </c:pt>
                <c:pt idx="63">
                  <c:v>1033.3618</c:v>
                </c:pt>
                <c:pt idx="64">
                  <c:v>1043.8633</c:v>
                </c:pt>
                <c:pt idx="65">
                  <c:v>1026.9815</c:v>
                </c:pt>
                <c:pt idx="66">
                  <c:v>1046.4189</c:v>
                </c:pt>
                <c:pt idx="67">
                  <c:v>1075.454</c:v>
                </c:pt>
                <c:pt idx="68">
                  <c:v>1077.4605</c:v>
                </c:pt>
                <c:pt idx="69">
                  <c:v>1113.6184</c:v>
                </c:pt>
                <c:pt idx="70">
                  <c:v>1100.3544</c:v>
                </c:pt>
                <c:pt idx="71">
                  <c:v>1153.9607</c:v>
                </c:pt>
                <c:pt idx="72">
                  <c:v>1225.0484</c:v>
                </c:pt>
                <c:pt idx="73">
                  <c:v>1200.9912</c:v>
                </c:pt>
                <c:pt idx="74">
                  <c:v>1191.3868</c:v>
                </c:pt>
                <c:pt idx="75">
                  <c:v>1175.8962</c:v>
                </c:pt>
                <c:pt idx="76">
                  <c:v>1128.835</c:v>
                </c:pt>
                <c:pt idx="77">
                  <c:v>1125.8557</c:v>
                </c:pt>
                <c:pt idx="78">
                  <c:v>1147.0185</c:v>
                </c:pt>
                <c:pt idx="79">
                  <c:v>1224.0851</c:v>
                </c:pt>
                <c:pt idx="80">
                  <c:v>1158.5661</c:v>
                </c:pt>
                <c:pt idx="81">
                  <c:v>1183.4849</c:v>
                </c:pt>
                <c:pt idx="82">
                  <c:v>1240.7552</c:v>
                </c:pt>
                <c:pt idx="83">
                  <c:v>1143.3894</c:v>
                </c:pt>
                <c:pt idx="84">
                  <c:v>1164.6585</c:v>
                </c:pt>
                <c:pt idx="85">
                  <c:v>1142.2892</c:v>
                </c:pt>
                <c:pt idx="86">
                  <c:v>1119.9909</c:v>
                </c:pt>
                <c:pt idx="87">
                  <c:v>1182.1672</c:v>
                </c:pt>
                <c:pt idx="88">
                  <c:v>1177.4449</c:v>
                </c:pt>
                <c:pt idx="89">
                  <c:v>1168.5673</c:v>
                </c:pt>
                <c:pt idx="90">
                  <c:v>1246.0075</c:v>
                </c:pt>
                <c:pt idx="91">
                  <c:v>1248.3656</c:v>
                </c:pt>
                <c:pt idx="92">
                  <c:v>1193.6811</c:v>
                </c:pt>
                <c:pt idx="93">
                  <c:v>1235.198</c:v>
                </c:pt>
                <c:pt idx="94">
                  <c:v>1233.5536</c:v>
                </c:pt>
                <c:pt idx="95">
                  <c:v>1204.5472</c:v>
                </c:pt>
                <c:pt idx="96">
                  <c:v>1133.5252</c:v>
                </c:pt>
                <c:pt idx="97">
                  <c:v>1129.9705</c:v>
                </c:pt>
                <c:pt idx="98">
                  <c:v>1120.4359</c:v>
                </c:pt>
                <c:pt idx="99">
                  <c:v>1082.4246</c:v>
                </c:pt>
                <c:pt idx="100">
                  <c:v>1090.316</c:v>
                </c:pt>
                <c:pt idx="101">
                  <c:v>1128.0414</c:v>
                </c:pt>
                <c:pt idx="102">
                  <c:v>1128.7789</c:v>
                </c:pt>
                <c:pt idx="103">
                  <c:v>1099.8359</c:v>
                </c:pt>
                <c:pt idx="104">
                  <c:v>1115.7104</c:v>
                </c:pt>
              </c:numCache>
            </c:numRef>
          </c:xVal>
          <c:yVal>
            <c:numRef>
              <c:f>Sheet1!$B$2:$B$106</c:f>
              <c:numCache>
                <c:formatCode>General</c:formatCode>
                <c:ptCount val="105"/>
                <c:pt idx="0">
                  <c:v>0.15203376822716808</c:v>
                </c:pt>
                <c:pt idx="1">
                  <c:v>0.13131955484896662</c:v>
                </c:pt>
                <c:pt idx="2">
                  <c:v>0.14105589146143638</c:v>
                </c:pt>
                <c:pt idx="3">
                  <c:v>0.1350858532137973</c:v>
                </c:pt>
                <c:pt idx="4">
                  <c:v>0.14952040624412263</c:v>
                </c:pt>
                <c:pt idx="5">
                  <c:v>0.18022153477696837</c:v>
                </c:pt>
                <c:pt idx="6">
                  <c:v>0.20782469481689014</c:v>
                </c:pt>
                <c:pt idx="7">
                  <c:v>0.22278359196439312</c:v>
                </c:pt>
                <c:pt idx="8">
                  <c:v>0.22940510627594013</c:v>
                </c:pt>
                <c:pt idx="9">
                  <c:v>0.20650358581393063</c:v>
                </c:pt>
                <c:pt idx="10">
                  <c:v>0.21696969696969698</c:v>
                </c:pt>
                <c:pt idx="11">
                  <c:v>0.20811010530205062</c:v>
                </c:pt>
                <c:pt idx="12">
                  <c:v>0.1844922039612305</c:v>
                </c:pt>
                <c:pt idx="13">
                  <c:v>0.1690825375170532</c:v>
                </c:pt>
                <c:pt idx="14">
                  <c:v>0.12979326442147382</c:v>
                </c:pt>
                <c:pt idx="15">
                  <c:v>0.12148242540087077</c:v>
                </c:pt>
                <c:pt idx="16">
                  <c:v>0.11672155140870838</c:v>
                </c:pt>
                <c:pt idx="17">
                  <c:v>0.09924528301886792</c:v>
                </c:pt>
                <c:pt idx="18">
                  <c:v>0.09235625085769178</c:v>
                </c:pt>
                <c:pt idx="19">
                  <c:v>0.09352150994728788</c:v>
                </c:pt>
                <c:pt idx="20">
                  <c:v>0.08731422505307855</c:v>
                </c:pt>
                <c:pt idx="21">
                  <c:v>0.09053156146179402</c:v>
                </c:pt>
                <c:pt idx="22">
                  <c:v>0.09601650531661642</c:v>
                </c:pt>
                <c:pt idx="23">
                  <c:v>0.11016949152542373</c:v>
                </c:pt>
                <c:pt idx="24">
                  <c:v>0.11212558065032836</c:v>
                </c:pt>
                <c:pt idx="25">
                  <c:v>0.11815875317143892</c:v>
                </c:pt>
                <c:pt idx="26">
                  <c:v>0.13977371627502175</c:v>
                </c:pt>
                <c:pt idx="27">
                  <c:v>0.14005556463474425</c:v>
                </c:pt>
                <c:pt idx="28">
                  <c:v>0.16685330347144456</c:v>
                </c:pt>
                <c:pt idx="29">
                  <c:v>0.16854092526690392</c:v>
                </c:pt>
                <c:pt idx="30">
                  <c:v>0.1738241308793456</c:v>
                </c:pt>
                <c:pt idx="31">
                  <c:v>0.16885301042717793</c:v>
                </c:pt>
                <c:pt idx="32">
                  <c:v>0.1941530524505589</c:v>
                </c:pt>
                <c:pt idx="33">
                  <c:v>0.17708474576271185</c:v>
                </c:pt>
                <c:pt idx="34">
                  <c:v>0.18097960244251007</c:v>
                </c:pt>
                <c:pt idx="35">
                  <c:v>0.19191362785061145</c:v>
                </c:pt>
                <c:pt idx="36">
                  <c:v>0.15334485968878842</c:v>
                </c:pt>
                <c:pt idx="37">
                  <c:v>0.1492694682934177</c:v>
                </c:pt>
                <c:pt idx="38">
                  <c:v>0.14338561704646344</c:v>
                </c:pt>
                <c:pt idx="39">
                  <c:v>0.12966063004108963</c:v>
                </c:pt>
                <c:pt idx="40">
                  <c:v>0.13684895833333333</c:v>
                </c:pt>
                <c:pt idx="41">
                  <c:v>0.1338894967177243</c:v>
                </c:pt>
                <c:pt idx="42">
                  <c:v>0.13219741480611047</c:v>
                </c:pt>
                <c:pt idx="43">
                  <c:v>0.12925982200998481</c:v>
                </c:pt>
                <c:pt idx="44">
                  <c:v>0.1348750466243939</c:v>
                </c:pt>
                <c:pt idx="45">
                  <c:v>0.15498938428874734</c:v>
                </c:pt>
                <c:pt idx="46">
                  <c:v>0.15900846432889965</c:v>
                </c:pt>
                <c:pt idx="47">
                  <c:v>0.14745484400656814</c:v>
                </c:pt>
                <c:pt idx="48">
                  <c:v>0.1530822089582184</c:v>
                </c:pt>
                <c:pt idx="49">
                  <c:v>0.1467014462127716</c:v>
                </c:pt>
                <c:pt idx="50">
                  <c:v>0.15167560321715817</c:v>
                </c:pt>
                <c:pt idx="51">
                  <c:v>0.13935681470137826</c:v>
                </c:pt>
                <c:pt idx="52">
                  <c:v>0.1430183918730496</c:v>
                </c:pt>
                <c:pt idx="53">
                  <c:v>0.12857029828309202</c:v>
                </c:pt>
                <c:pt idx="54">
                  <c:v>0.13254773782900395</c:v>
                </c:pt>
                <c:pt idx="55">
                  <c:v>0.1281826931490069</c:v>
                </c:pt>
                <c:pt idx="56">
                  <c:v>0.13618157543391188</c:v>
                </c:pt>
                <c:pt idx="57">
                  <c:v>0.13316070307595732</c:v>
                </c:pt>
                <c:pt idx="58">
                  <c:v>0.15326787358085303</c:v>
                </c:pt>
                <c:pt idx="59">
                  <c:v>0.14013928138877674</c:v>
                </c:pt>
                <c:pt idx="60">
                  <c:v>0.1467167860918595</c:v>
                </c:pt>
                <c:pt idx="61">
                  <c:v>0.15204346415828737</c:v>
                </c:pt>
                <c:pt idx="62">
                  <c:v>0.16829385403329064</c:v>
                </c:pt>
                <c:pt idx="63">
                  <c:v>0.1751731406202951</c:v>
                </c:pt>
                <c:pt idx="64">
                  <c:v>0.16787756994898748</c:v>
                </c:pt>
                <c:pt idx="65">
                  <c:v>0.16462486988549924</c:v>
                </c:pt>
                <c:pt idx="66">
                  <c:v>0.1601910312449409</c:v>
                </c:pt>
                <c:pt idx="67">
                  <c:v>0.14912944738834216</c:v>
                </c:pt>
                <c:pt idx="68">
                  <c:v>0.1371638614819114</c:v>
                </c:pt>
                <c:pt idx="69">
                  <c:v>0.12905236907730674</c:v>
                </c:pt>
                <c:pt idx="70">
                  <c:v>0.1363848124854414</c:v>
                </c:pt>
                <c:pt idx="71">
                  <c:v>0.12382921785670843</c:v>
                </c:pt>
                <c:pt idx="72">
                  <c:v>0.12497035807446051</c:v>
                </c:pt>
                <c:pt idx="73">
                  <c:v>0.1250307049864898</c:v>
                </c:pt>
                <c:pt idx="74">
                  <c:v>0.12244665069040284</c:v>
                </c:pt>
                <c:pt idx="75">
                  <c:v>0.13474184972715825</c:v>
                </c:pt>
                <c:pt idx="76">
                  <c:v>0.15092005566723365</c:v>
                </c:pt>
                <c:pt idx="77">
                  <c:v>0.13680534467051322</c:v>
                </c:pt>
                <c:pt idx="78">
                  <c:v>0.15169561621174524</c:v>
                </c:pt>
                <c:pt idx="79">
                  <c:v>0.15736989716422561</c:v>
                </c:pt>
                <c:pt idx="80">
                  <c:v>0.1355775169857937</c:v>
                </c:pt>
                <c:pt idx="81">
                  <c:v>0.13393870601589103</c:v>
                </c:pt>
                <c:pt idx="82">
                  <c:v>0.15038965345713812</c:v>
                </c:pt>
                <c:pt idx="83">
                  <c:v>0.13358278765201123</c:v>
                </c:pt>
                <c:pt idx="84">
                  <c:v>0.13683168316831684</c:v>
                </c:pt>
                <c:pt idx="85">
                  <c:v>0.146780809702158</c:v>
                </c:pt>
                <c:pt idx="86">
                  <c:v>0.15664371996363163</c:v>
                </c:pt>
                <c:pt idx="87">
                  <c:v>0.17659462308908802</c:v>
                </c:pt>
                <c:pt idx="88">
                  <c:v>0.14726989079563182</c:v>
                </c:pt>
                <c:pt idx="89">
                  <c:v>0.1654392875492379</c:v>
                </c:pt>
                <c:pt idx="90">
                  <c:v>0.1436730323041228</c:v>
                </c:pt>
                <c:pt idx="91">
                  <c:v>0.1365415986949429</c:v>
                </c:pt>
                <c:pt idx="92">
                  <c:v>0.14522156967431926</c:v>
                </c:pt>
                <c:pt idx="93">
                  <c:v>0.145748987854251</c:v>
                </c:pt>
                <c:pt idx="94">
                  <c:v>0.14999226843977115</c:v>
                </c:pt>
                <c:pt idx="95">
                  <c:v>0.14889313406000673</c:v>
                </c:pt>
                <c:pt idx="96">
                  <c:v>0.14493518239372927</c:v>
                </c:pt>
                <c:pt idx="97">
                  <c:v>0.14856711915535445</c:v>
                </c:pt>
                <c:pt idx="98">
                  <c:v>0.15471226021684736</c:v>
                </c:pt>
                <c:pt idx="99">
                  <c:v>0.15064853883419285</c:v>
                </c:pt>
                <c:pt idx="100">
                  <c:v>0.1553972561435248</c:v>
                </c:pt>
                <c:pt idx="101">
                  <c:v>0.14507422402159245</c:v>
                </c:pt>
                <c:pt idx="102">
                  <c:v>0.1501465810950004</c:v>
                </c:pt>
                <c:pt idx="103">
                  <c:v>0.14516482713251955</c:v>
                </c:pt>
                <c:pt idx="104">
                  <c:v>0.144393769899320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20.0958</c:v>
                </c:pt>
                <c:pt idx="1">
                  <c:v>1174.9937</c:v>
                </c:pt>
                <c:pt idx="2">
                  <c:v>1170.388</c:v>
                </c:pt>
                <c:pt idx="3">
                  <c:v>1091.4839</c:v>
                </c:pt>
                <c:pt idx="4">
                  <c:v>1110.4615</c:v>
                </c:pt>
                <c:pt idx="5">
                  <c:v>1145.7045</c:v>
                </c:pt>
                <c:pt idx="6">
                  <c:v>1098.3812</c:v>
                </c:pt>
                <c:pt idx="7">
                  <c:v>1089.2621</c:v>
                </c:pt>
                <c:pt idx="8">
                  <c:v>1144.4919</c:v>
                </c:pt>
                <c:pt idx="9">
                  <c:v>1098.7364</c:v>
                </c:pt>
                <c:pt idx="10">
                  <c:v>1103.4401</c:v>
                </c:pt>
                <c:pt idx="11">
                  <c:v>1037.4924</c:v>
                </c:pt>
                <c:pt idx="12">
                  <c:v>1075.303</c:v>
                </c:pt>
                <c:pt idx="13">
                  <c:v>1083.7791</c:v>
                </c:pt>
                <c:pt idx="14">
                  <c:v>1097.4395</c:v>
                </c:pt>
                <c:pt idx="15">
                  <c:v>1111.6326</c:v>
                </c:pt>
                <c:pt idx="16">
                  <c:v>1147.6852</c:v>
                </c:pt>
                <c:pt idx="17">
                  <c:v>1058.0619</c:v>
                </c:pt>
                <c:pt idx="18">
                  <c:v>1151.8279</c:v>
                </c:pt>
                <c:pt idx="19">
                  <c:v>1239.7066</c:v>
                </c:pt>
                <c:pt idx="20">
                  <c:v>1255.5459</c:v>
                </c:pt>
                <c:pt idx="21">
                  <c:v>1221.7308</c:v>
                </c:pt>
                <c:pt idx="22">
                  <c:v>1211.2376</c:v>
                </c:pt>
                <c:pt idx="23">
                  <c:v>1211.7995</c:v>
                </c:pt>
                <c:pt idx="24">
                  <c:v>1193.8671</c:v>
                </c:pt>
                <c:pt idx="25">
                  <c:v>1198.6287</c:v>
                </c:pt>
                <c:pt idx="26">
                  <c:v>1177.2428</c:v>
                </c:pt>
                <c:pt idx="27">
                  <c:v>1158.4237</c:v>
                </c:pt>
                <c:pt idx="28">
                  <c:v>1224.7495</c:v>
                </c:pt>
                <c:pt idx="29">
                  <c:v>1211.2334</c:v>
                </c:pt>
                <c:pt idx="30">
                  <c:v>1225.7847</c:v>
                </c:pt>
                <c:pt idx="31">
                  <c:v>1223.98</c:v>
                </c:pt>
                <c:pt idx="32">
                  <c:v>1230.122</c:v>
                </c:pt>
                <c:pt idx="33">
                  <c:v>1206.9477</c:v>
                </c:pt>
                <c:pt idx="34">
                  <c:v>1216.6614</c:v>
                </c:pt>
                <c:pt idx="35">
                  <c:v>1254.16</c:v>
                </c:pt>
                <c:pt idx="36">
                  <c:v>1265.385</c:v>
                </c:pt>
                <c:pt idx="37">
                  <c:v>1278.3538</c:v>
                </c:pt>
                <c:pt idx="38">
                  <c:v>1282.6834</c:v>
                </c:pt>
                <c:pt idx="39">
                  <c:v>1243.2564</c:v>
                </c:pt>
                <c:pt idx="40">
                  <c:v>1258.6354</c:v>
                </c:pt>
                <c:pt idx="41">
                  <c:v>1286.8741</c:v>
                </c:pt>
                <c:pt idx="42">
                  <c:v>1284.3721</c:v>
                </c:pt>
                <c:pt idx="43">
                  <c:v>1286.2943</c:v>
                </c:pt>
                <c:pt idx="44">
                  <c:v>1211.5232</c:v>
                </c:pt>
                <c:pt idx="45">
                  <c:v>1180.9739</c:v>
                </c:pt>
                <c:pt idx="46">
                  <c:v>1166.9502</c:v>
                </c:pt>
                <c:pt idx="47">
                  <c:v>1148.0731</c:v>
                </c:pt>
                <c:pt idx="48">
                  <c:v>1133.8779</c:v>
                </c:pt>
                <c:pt idx="49">
                  <c:v>1141.1174</c:v>
                </c:pt>
                <c:pt idx="50">
                  <c:v>1112.3456</c:v>
                </c:pt>
                <c:pt idx="51">
                  <c:v>1096.0167</c:v>
                </c:pt>
              </c:numCache>
            </c:numRef>
          </c:xVal>
          <c:yVal>
            <c:numRef>
              <c:f>Sheet1!$B$109:$B$160</c:f>
              <c:numCache>
                <c:formatCode>General</c:formatCode>
                <c:ptCount val="52"/>
                <c:pt idx="0">
                  <c:v>0.1605461393596987</c:v>
                </c:pt>
                <c:pt idx="1">
                  <c:v>0.14413895291405993</c:v>
                </c:pt>
                <c:pt idx="2">
                  <c:v>0.1673538506847298</c:v>
                </c:pt>
                <c:pt idx="3">
                  <c:v>0.19772113066978306</c:v>
                </c:pt>
                <c:pt idx="4">
                  <c:v>0.18746218995765276</c:v>
                </c:pt>
                <c:pt idx="5">
                  <c:v>0.18380814421374536</c:v>
                </c:pt>
                <c:pt idx="6">
                  <c:v>0.19407496977025393</c:v>
                </c:pt>
                <c:pt idx="7">
                  <c:v>0.2085666874092512</c:v>
                </c:pt>
                <c:pt idx="8">
                  <c:v>0.18858212447356107</c:v>
                </c:pt>
                <c:pt idx="9">
                  <c:v>0.1970842332613391</c:v>
                </c:pt>
                <c:pt idx="10">
                  <c:v>0.2098752489778803</c:v>
                </c:pt>
                <c:pt idx="11">
                  <c:v>0.19254133025759324</c:v>
                </c:pt>
                <c:pt idx="12">
                  <c:v>0.1878903068150964</c:v>
                </c:pt>
                <c:pt idx="13">
                  <c:v>0.18893412287194672</c:v>
                </c:pt>
                <c:pt idx="14">
                  <c:v>0.18463971533063162</c:v>
                </c:pt>
                <c:pt idx="15">
                  <c:v>0.17705500941225685</c:v>
                </c:pt>
                <c:pt idx="16">
                  <c:v>0.1609324218312227</c:v>
                </c:pt>
                <c:pt idx="17">
                  <c:v>0.18393338231692383</c:v>
                </c:pt>
                <c:pt idx="18">
                  <c:v>0.16355530788520478</c:v>
                </c:pt>
                <c:pt idx="19">
                  <c:v>0.1659034410571765</c:v>
                </c:pt>
                <c:pt idx="20">
                  <c:v>0.1475199543899658</c:v>
                </c:pt>
                <c:pt idx="21">
                  <c:v>0.15116883116883117</c:v>
                </c:pt>
                <c:pt idx="22">
                  <c:v>0.15857718591203784</c:v>
                </c:pt>
                <c:pt idx="23">
                  <c:v>0.1551473263004729</c:v>
                </c:pt>
                <c:pt idx="24">
                  <c:v>0.17107257113992255</c:v>
                </c:pt>
                <c:pt idx="25">
                  <c:v>0.16629915472252849</c:v>
                </c:pt>
                <c:pt idx="26">
                  <c:v>0.16182069920387676</c:v>
                </c:pt>
                <c:pt idx="27">
                  <c:v>0.1630819092516205</c:v>
                </c:pt>
                <c:pt idx="28">
                  <c:v>0.15857142857142856</c:v>
                </c:pt>
                <c:pt idx="29">
                  <c:v>0.15828894806924101</c:v>
                </c:pt>
                <c:pt idx="30">
                  <c:v>0.15847833503923575</c:v>
                </c:pt>
                <c:pt idx="31">
                  <c:v>0.15720362493064546</c:v>
                </c:pt>
                <c:pt idx="32">
                  <c:v>0.1521524811041735</c:v>
                </c:pt>
                <c:pt idx="33">
                  <c:v>0.17336581404790904</c:v>
                </c:pt>
                <c:pt idx="34">
                  <c:v>0.18772272675020119</c:v>
                </c:pt>
                <c:pt idx="35">
                  <c:v>0.1809410520750727</c:v>
                </c:pt>
                <c:pt idx="36">
                  <c:v>0.17780211756115372</c:v>
                </c:pt>
                <c:pt idx="37">
                  <c:v>0.1536039768019884</c:v>
                </c:pt>
                <c:pt idx="38">
                  <c:v>0.1590291613838073</c:v>
                </c:pt>
                <c:pt idx="39">
                  <c:v>0.17227666524641386</c:v>
                </c:pt>
                <c:pt idx="40">
                  <c:v>0.16235100698725852</c:v>
                </c:pt>
                <c:pt idx="41">
                  <c:v>0.17421926910299004</c:v>
                </c:pt>
                <c:pt idx="42">
                  <c:v>0.165417952108124</c:v>
                </c:pt>
                <c:pt idx="43">
                  <c:v>0.16425173010380623</c:v>
                </c:pt>
                <c:pt idx="44">
                  <c:v>0.17050734064300316</c:v>
                </c:pt>
                <c:pt idx="45">
                  <c:v>0.17971851317214002</c:v>
                </c:pt>
                <c:pt idx="46">
                  <c:v>0.20572160546541418</c:v>
                </c:pt>
                <c:pt idx="47">
                  <c:v>0.20394578554815943</c:v>
                </c:pt>
                <c:pt idx="48">
                  <c:v>0.2046908315565032</c:v>
                </c:pt>
                <c:pt idx="49">
                  <c:v>0.20980441960883922</c:v>
                </c:pt>
                <c:pt idx="50">
                  <c:v>0.211416402204777</c:v>
                </c:pt>
                <c:pt idx="51">
                  <c:v>0.1975665085584656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06.394189076129</c:v>
                </c:pt>
              </c:numCache>
            </c:numRef>
          </c:xVal>
          <c:yVal>
            <c:numRef>
              <c:f>Sheet1!$B$163:$B$164</c:f>
              <c:numCache>
                <c:formatCode>General</c:formatCode>
                <c:ptCount val="2"/>
                <c:pt idx="0">
                  <c:v>0.20586954048214628</c:v>
                </c:pt>
                <c:pt idx="1">
                  <c:v>0.2058695404821462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06.394189076129</c:v>
                </c:pt>
                <c:pt idx="1">
                  <c:v>1006.394189076129</c:v>
                </c:pt>
              </c:numCache>
            </c:numRef>
          </c:xVal>
          <c:yVal>
            <c:numRef>
              <c:f>Sheet1!$B$167:$B$168</c:f>
              <c:numCache>
                <c:formatCode>General</c:formatCode>
                <c:ptCount val="2"/>
                <c:pt idx="0">
                  <c:v>0.2058695404821462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06.394189076129</c:v>
                </c:pt>
              </c:numCache>
            </c:numRef>
          </c:xVal>
          <c:yVal>
            <c:numRef>
              <c:f>Sheet1!$B$171:$B$172</c:f>
              <c:numCache>
                <c:formatCode>General</c:formatCode>
                <c:ptCount val="2"/>
                <c:pt idx="0">
                  <c:v>0.20586954048214628</c:v>
                </c:pt>
                <c:pt idx="1">
                  <c:v>0.2058695404821462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06.394189076129</c:v>
                </c:pt>
                <c:pt idx="1">
                  <c:v>1006.394189076129</c:v>
                </c:pt>
              </c:numCache>
            </c:numRef>
          </c:xVal>
          <c:yVal>
            <c:numRef>
              <c:f>Sheet1!$B$175:$B$176</c:f>
              <c:numCache>
                <c:formatCode>General</c:formatCode>
                <c:ptCount val="2"/>
                <c:pt idx="0">
                  <c:v>0.2058695404821462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17.9393529649428</c:v>
                </c:pt>
              </c:numCache>
            </c:numRef>
          </c:xVal>
          <c:yVal>
            <c:numRef>
              <c:f>Sheet1!$B$179:$B$180</c:f>
              <c:numCache>
                <c:formatCode>General</c:formatCode>
                <c:ptCount val="2"/>
                <c:pt idx="0">
                  <c:v>0.18629907925429956</c:v>
                </c:pt>
                <c:pt idx="1">
                  <c:v>0.1862990792542995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17.9393529649428</c:v>
                </c:pt>
                <c:pt idx="1">
                  <c:v>1117.9393529649428</c:v>
                </c:pt>
              </c:numCache>
            </c:numRef>
          </c:xVal>
          <c:yVal>
            <c:numRef>
              <c:f>Sheet1!$B$183:$B$184</c:f>
              <c:numCache>
                <c:formatCode>General</c:formatCode>
                <c:ptCount val="2"/>
                <c:pt idx="0">
                  <c:v>0.1862990792542995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20.0958</c:v>
                </c:pt>
                <c:pt idx="1">
                  <c:v>1174.9937</c:v>
                </c:pt>
                <c:pt idx="2">
                  <c:v>1170.388</c:v>
                </c:pt>
                <c:pt idx="3">
                  <c:v>1091.4839</c:v>
                </c:pt>
                <c:pt idx="4">
                  <c:v>1110.4615</c:v>
                </c:pt>
                <c:pt idx="5">
                  <c:v>1145.7045</c:v>
                </c:pt>
                <c:pt idx="6">
                  <c:v>1098.3812</c:v>
                </c:pt>
                <c:pt idx="7">
                  <c:v>1089.2621</c:v>
                </c:pt>
                <c:pt idx="8">
                  <c:v>1144.4919</c:v>
                </c:pt>
                <c:pt idx="9">
                  <c:v>1098.7364</c:v>
                </c:pt>
                <c:pt idx="10">
                  <c:v>1103.4401</c:v>
                </c:pt>
                <c:pt idx="11">
                  <c:v>1037.4924</c:v>
                </c:pt>
                <c:pt idx="12">
                  <c:v>1075.303</c:v>
                </c:pt>
                <c:pt idx="13">
                  <c:v>1083.7791</c:v>
                </c:pt>
                <c:pt idx="14">
                  <c:v>1097.4395</c:v>
                </c:pt>
                <c:pt idx="15">
                  <c:v>1111.6326</c:v>
                </c:pt>
                <c:pt idx="16">
                  <c:v>1147.6852</c:v>
                </c:pt>
                <c:pt idx="17">
                  <c:v>1058.0619</c:v>
                </c:pt>
                <c:pt idx="18">
                  <c:v>1151.8279</c:v>
                </c:pt>
                <c:pt idx="19">
                  <c:v>1239.7066</c:v>
                </c:pt>
                <c:pt idx="20">
                  <c:v>1255.5459</c:v>
                </c:pt>
                <c:pt idx="21">
                  <c:v>1221.7308</c:v>
                </c:pt>
                <c:pt idx="22">
                  <c:v>1211.2376</c:v>
                </c:pt>
                <c:pt idx="23">
                  <c:v>1211.7995</c:v>
                </c:pt>
                <c:pt idx="24">
                  <c:v>1193.8671</c:v>
                </c:pt>
                <c:pt idx="25">
                  <c:v>1198.6287</c:v>
                </c:pt>
                <c:pt idx="26">
                  <c:v>1177.2428</c:v>
                </c:pt>
                <c:pt idx="27">
                  <c:v>1158.4237</c:v>
                </c:pt>
                <c:pt idx="28">
                  <c:v>1224.7495</c:v>
                </c:pt>
                <c:pt idx="29">
                  <c:v>1211.2334</c:v>
                </c:pt>
                <c:pt idx="30">
                  <c:v>1225.7847</c:v>
                </c:pt>
                <c:pt idx="31">
                  <c:v>1223.98</c:v>
                </c:pt>
                <c:pt idx="32">
                  <c:v>1230.122</c:v>
                </c:pt>
                <c:pt idx="33">
                  <c:v>1206.9477</c:v>
                </c:pt>
                <c:pt idx="34">
                  <c:v>1216.6614</c:v>
                </c:pt>
                <c:pt idx="35">
                  <c:v>1254.16</c:v>
                </c:pt>
                <c:pt idx="36">
                  <c:v>1265.385</c:v>
                </c:pt>
                <c:pt idx="37">
                  <c:v>1278.3538</c:v>
                </c:pt>
                <c:pt idx="38">
                  <c:v>1282.6834</c:v>
                </c:pt>
                <c:pt idx="39">
                  <c:v>1243.2564</c:v>
                </c:pt>
                <c:pt idx="40">
                  <c:v>1258.6354</c:v>
                </c:pt>
                <c:pt idx="41">
                  <c:v>1286.8741</c:v>
                </c:pt>
                <c:pt idx="42">
                  <c:v>1284.3721</c:v>
                </c:pt>
                <c:pt idx="43">
                  <c:v>1286.2943</c:v>
                </c:pt>
                <c:pt idx="44">
                  <c:v>1211.5232</c:v>
                </c:pt>
                <c:pt idx="45">
                  <c:v>1180.9739</c:v>
                </c:pt>
                <c:pt idx="46">
                  <c:v>1166.9502</c:v>
                </c:pt>
                <c:pt idx="47">
                  <c:v>1148.0731</c:v>
                </c:pt>
                <c:pt idx="48">
                  <c:v>1133.8779</c:v>
                </c:pt>
                <c:pt idx="49">
                  <c:v>1141.1174</c:v>
                </c:pt>
                <c:pt idx="50">
                  <c:v>1112.3456</c:v>
                </c:pt>
                <c:pt idx="51">
                  <c:v>1096.0167</c:v>
                </c:pt>
                <c:pt idx="52">
                  <c:v>1006.394189076129</c:v>
                </c:pt>
                <c:pt idx="53">
                  <c:v>1006.394189076129</c:v>
                </c:pt>
                <c:pt idx="54">
                  <c:v>1117.9393529649428</c:v>
                </c:pt>
              </c:numCache>
            </c:numRef>
          </c:xVal>
          <c:yVal>
            <c:numRef>
              <c:f>Sheet1!$B$187:$B$241</c:f>
              <c:numCache>
                <c:formatCode>General</c:formatCode>
                <c:ptCount val="55"/>
                <c:pt idx="0">
                  <c:v>0.1859207332855621</c:v>
                </c:pt>
                <c:pt idx="1">
                  <c:v>0.17628896453841028</c:v>
                </c:pt>
                <c:pt idx="2">
                  <c:v>0.17709702891462062</c:v>
                </c:pt>
                <c:pt idx="3">
                  <c:v>0.1909406558002054</c:v>
                </c:pt>
                <c:pt idx="4">
                  <c:v>0.18761105932063243</c:v>
                </c:pt>
                <c:pt idx="5">
                  <c:v>0.1814277185014777</c:v>
                </c:pt>
                <c:pt idx="6">
                  <c:v>0.18973053303449428</c:v>
                </c:pt>
                <c:pt idx="7">
                  <c:v>0.1913304678659205</c:v>
                </c:pt>
                <c:pt idx="8">
                  <c:v>0.18164046767371922</c:v>
                </c:pt>
                <c:pt idx="9">
                  <c:v>0.18966821363322414</c:v>
                </c:pt>
                <c:pt idx="10">
                  <c:v>0.18884295527805978</c:v>
                </c:pt>
                <c:pt idx="11">
                  <c:v>0.2004133977869088</c:v>
                </c:pt>
                <c:pt idx="12">
                  <c:v>0.19377957471915833</c:v>
                </c:pt>
                <c:pt idx="13">
                  <c:v>0.19229245344352242</c:v>
                </c:pt>
                <c:pt idx="14">
                  <c:v>0.1898957531363414</c:v>
                </c:pt>
                <c:pt idx="15">
                  <c:v>0.18740559127213166</c:v>
                </c:pt>
                <c:pt idx="16">
                  <c:v>0.18108020713296485</c:v>
                </c:pt>
                <c:pt idx="17">
                  <c:v>0.19680450441859168</c:v>
                </c:pt>
                <c:pt idx="18">
                  <c:v>0.18035337553487407</c:v>
                </c:pt>
                <c:pt idx="19">
                  <c:v>0.16493516616438209</c:v>
                </c:pt>
                <c:pt idx="20">
                  <c:v>0.16215618054349745</c:v>
                </c:pt>
                <c:pt idx="21">
                  <c:v>0.16808899807134123</c:v>
                </c:pt>
                <c:pt idx="22">
                  <c:v>0.16993001705053012</c:v>
                </c:pt>
                <c:pt idx="23">
                  <c:v>0.16983143238956813</c:v>
                </c:pt>
                <c:pt idx="24">
                  <c:v>0.17297764982013336</c:v>
                </c:pt>
                <c:pt idx="25">
                  <c:v>0.1721422329814849</c:v>
                </c:pt>
                <c:pt idx="26">
                  <c:v>0.17589436272141512</c:v>
                </c:pt>
                <c:pt idx="27">
                  <c:v>0.1791961505717614</c:v>
                </c:pt>
                <c:pt idx="28">
                  <c:v>0.16755937088492742</c:v>
                </c:pt>
                <c:pt idx="29">
                  <c:v>0.16993075393534243</c:v>
                </c:pt>
                <c:pt idx="30">
                  <c:v>0.16737774632356803</c:v>
                </c:pt>
                <c:pt idx="31">
                  <c:v>0.16769437870946957</c:v>
                </c:pt>
                <c:pt idx="32">
                  <c:v>0.16661677239583997</c:v>
                </c:pt>
                <c:pt idx="33">
                  <c:v>0.1706826747068049</c:v>
                </c:pt>
                <c:pt idx="34">
                  <c:v>0.16897841803980654</c:v>
                </c:pt>
                <c:pt idx="35">
                  <c:v>0.1623993349866852</c:v>
                </c:pt>
                <c:pt idx="36">
                  <c:v>0.16042992260138855</c:v>
                </c:pt>
                <c:pt idx="37">
                  <c:v>0.15815456265996886</c:v>
                </c:pt>
                <c:pt idx="38">
                  <c:v>0.1573949396877301</c:v>
                </c:pt>
                <c:pt idx="39">
                  <c:v>0.16431235813896328</c:v>
                </c:pt>
                <c:pt idx="40">
                  <c:v>0.1616141315845332</c:v>
                </c:pt>
                <c:pt idx="41">
                  <c:v>0.15665968654892715</c:v>
                </c:pt>
                <c:pt idx="42">
                  <c:v>0.1570986593585496</c:v>
                </c:pt>
                <c:pt idx="43">
                  <c:v>0.15676141174277972</c:v>
                </c:pt>
                <c:pt idx="44">
                  <c:v>0.16987990888329263</c:v>
                </c:pt>
                <c:pt idx="45">
                  <c:v>0.17523974583493132</c:v>
                </c:pt>
                <c:pt idx="46">
                  <c:v>0.17770018667837767</c:v>
                </c:pt>
                <c:pt idx="47">
                  <c:v>0.1810121505570845</c:v>
                </c:pt>
                <c:pt idx="48">
                  <c:v>0.18350268086370042</c:v>
                </c:pt>
                <c:pt idx="49">
                  <c:v>0.18223251953066205</c:v>
                </c:pt>
                <c:pt idx="50">
                  <c:v>0.18728049630280277</c:v>
                </c:pt>
                <c:pt idx="51">
                  <c:v>0.19014538163895167</c:v>
                </c:pt>
                <c:pt idx="52">
                  <c:v>0.20586954048214628</c:v>
                </c:pt>
                <c:pt idx="53">
                  <c:v>0.20586954048214628</c:v>
                </c:pt>
                <c:pt idx="54">
                  <c:v>0.1862990792542995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4.0"/>
          <c:min val="60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528612753112813"/>
          <c:min val="0.069851380042462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108922287359783</c:v>
                </c:pt>
                <c:pt idx="1">
                  <c:v>0.3749104574819467</c:v>
                </c:pt>
                <c:pt idx="2">
                  <c:v>0.45480143561384245</c:v>
                </c:pt>
                <c:pt idx="3">
                  <c:v>0.4581257441458118</c:v>
                </c:pt>
                <c:pt idx="4">
                  <c:v>0.423969106323628</c:v>
                </c:pt>
                <c:pt idx="5">
                  <c:v>0.44279239049752106</c:v>
                </c:pt>
                <c:pt idx="6">
                  <c:v>0.4107499199577697</c:v>
                </c:pt>
                <c:pt idx="7">
                  <c:v>0.38272173154061034</c:v>
                </c:pt>
                <c:pt idx="8">
                  <c:v>0.37986667507718763</c:v>
                </c:pt>
                <c:pt idx="9">
                  <c:v>0.4001439416407115</c:v>
                </c:pt>
                <c:pt idx="10">
                  <c:v>0.4491351712067911</c:v>
                </c:pt>
                <c:pt idx="11">
                  <c:v>0.46694289953907764</c:v>
                </c:pt>
                <c:pt idx="12">
                  <c:v>0.4923263944642963</c:v>
                </c:pt>
                <c:pt idx="13">
                  <c:v>0.4931370123136206</c:v>
                </c:pt>
                <c:pt idx="14">
                  <c:v>0.4874724066127517</c:v>
                </c:pt>
                <c:pt idx="15">
                  <c:v>0.4740448572555626</c:v>
                </c:pt>
                <c:pt idx="16">
                  <c:v>0.449886710178976</c:v>
                </c:pt>
                <c:pt idx="17">
                  <c:v>0.44875636840305766</c:v>
                </c:pt>
                <c:pt idx="18">
                  <c:v>0.4881132601923958</c:v>
                </c:pt>
                <c:pt idx="19">
                  <c:v>0.44751090240178526</c:v>
                </c:pt>
                <c:pt idx="20">
                  <c:v>0.4837430779567672</c:v>
                </c:pt>
                <c:pt idx="21">
                  <c:v>0.4216918911077801</c:v>
                </c:pt>
                <c:pt idx="22">
                  <c:v>0.37884118107536585</c:v>
                </c:pt>
                <c:pt idx="23">
                  <c:v>0.36499545573992837</c:v>
                </c:pt>
                <c:pt idx="24">
                  <c:v>0.3513789030589518</c:v>
                </c:pt>
                <c:pt idx="25">
                  <c:v>0.3336448679058577</c:v>
                </c:pt>
                <c:pt idx="26">
                  <c:v>0.3295649073376807</c:v>
                </c:pt>
                <c:pt idx="27">
                  <c:v>0.34936685660729133</c:v>
                </c:pt>
                <c:pt idx="28">
                  <c:v>0.3301593739417827</c:v>
                </c:pt>
                <c:pt idx="29">
                  <c:v>0.2883281971674134</c:v>
                </c:pt>
                <c:pt idx="30">
                  <c:v>0.304127393273437</c:v>
                </c:pt>
                <c:pt idx="31">
                  <c:v>0.30500272587345506</c:v>
                </c:pt>
                <c:pt idx="32">
                  <c:v>0.30230341899336344</c:v>
                </c:pt>
                <c:pt idx="33">
                  <c:v>0.27329734640106546</c:v>
                </c:pt>
                <c:pt idx="34">
                  <c:v>0.35094171125372736</c:v>
                </c:pt>
                <c:pt idx="35">
                  <c:v>0.3870805573357587</c:v>
                </c:pt>
                <c:pt idx="36">
                  <c:v>0.3932480272280606</c:v>
                </c:pt>
                <c:pt idx="37">
                  <c:v>0.3623166518247475</c:v>
                </c:pt>
                <c:pt idx="38">
                  <c:v>0.3816260712427456</c:v>
                </c:pt>
                <c:pt idx="39">
                  <c:v>0.3962609616338368</c:v>
                </c:pt>
                <c:pt idx="40">
                  <c:v>0.40168900227804355</c:v>
                </c:pt>
                <c:pt idx="41">
                  <c:v>0.39019603364118255</c:v>
                </c:pt>
                <c:pt idx="42">
                  <c:v>0.407824965861112</c:v>
                </c:pt>
                <c:pt idx="43">
                  <c:v>0.4035985206151953</c:v>
                </c:pt>
                <c:pt idx="44">
                  <c:v>0.4031638545264153</c:v>
                </c:pt>
                <c:pt idx="45">
                  <c:v>0.40167539013240544</c:v>
                </c:pt>
                <c:pt idx="46">
                  <c:v>0.41521831432725714</c:v>
                </c:pt>
                <c:pt idx="47">
                  <c:v>0.4118818419784252</c:v>
                </c:pt>
                <c:pt idx="48">
                  <c:v>0.43076158881977794</c:v>
                </c:pt>
                <c:pt idx="49">
                  <c:v>0.46229889131567886</c:v>
                </c:pt>
                <c:pt idx="50">
                  <c:v>0.3903600811614319</c:v>
                </c:pt>
                <c:pt idx="51">
                  <c:v>0.3842876746938462</c:v>
                </c:pt>
                <c:pt idx="52">
                  <c:v>0.3900575921417318</c:v>
                </c:pt>
                <c:pt idx="53">
                  <c:v>0.3887927253901496</c:v>
                </c:pt>
                <c:pt idx="54">
                  <c:v>0.35361190796846004</c:v>
                </c:pt>
                <c:pt idx="55">
                  <c:v>0.3723685734633525</c:v>
                </c:pt>
                <c:pt idx="56">
                  <c:v>0.3290973949504206</c:v>
                </c:pt>
                <c:pt idx="57">
                  <c:v>0.3693680191983649</c:v>
                </c:pt>
                <c:pt idx="58">
                  <c:v>0.3374044667223305</c:v>
                </c:pt>
                <c:pt idx="59">
                  <c:v>0.3769206768005887</c:v>
                </c:pt>
                <c:pt idx="60">
                  <c:v>0.3875062404303449</c:v>
                </c:pt>
                <c:pt idx="61">
                  <c:v>0.3473790297171049</c:v>
                </c:pt>
                <c:pt idx="62">
                  <c:v>0.32297830456178467</c:v>
                </c:pt>
                <c:pt idx="63">
                  <c:v>0.347155623592559</c:v>
                </c:pt>
                <c:pt idx="64">
                  <c:v>0.37602012157561254</c:v>
                </c:pt>
                <c:pt idx="65">
                  <c:v>0.38705543818969046</c:v>
                </c:pt>
                <c:pt idx="66">
                  <c:v>0.4309736240917907</c:v>
                </c:pt>
                <c:pt idx="67">
                  <c:v>0.40362103047965087</c:v>
                </c:pt>
                <c:pt idx="68">
                  <c:v>0.4298170097342411</c:v>
                </c:pt>
                <c:pt idx="69">
                  <c:v>0.413340539451557</c:v>
                </c:pt>
                <c:pt idx="70">
                  <c:v>0.4138097710401591</c:v>
                </c:pt>
                <c:pt idx="71">
                  <c:v>0.36990861667827246</c:v>
                </c:pt>
                <c:pt idx="72">
                  <c:v>0.3839582446645919</c:v>
                </c:pt>
                <c:pt idx="73">
                  <c:v>0.4264065987418176</c:v>
                </c:pt>
                <c:pt idx="74">
                  <c:v>0.4130280422426596</c:v>
                </c:pt>
                <c:pt idx="75">
                  <c:v>0.38727671343586106</c:v>
                </c:pt>
                <c:pt idx="76">
                  <c:v>0.3992109159790218</c:v>
                </c:pt>
                <c:pt idx="77">
                  <c:v>0.35085778260796924</c:v>
                </c:pt>
                <c:pt idx="78">
                  <c:v>0.3859251447008129</c:v>
                </c:pt>
                <c:pt idx="79">
                  <c:v>0.39625450177859833</c:v>
                </c:pt>
                <c:pt idx="80">
                  <c:v>0.369799413272841</c:v>
                </c:pt>
                <c:pt idx="81">
                  <c:v>0.3857733719314831</c:v>
                </c:pt>
                <c:pt idx="82">
                  <c:v>0.3845630603262635</c:v>
                </c:pt>
                <c:pt idx="83">
                  <c:v>0.4103639451369287</c:v>
                </c:pt>
                <c:pt idx="84">
                  <c:v>0.3951412649916495</c:v>
                </c:pt>
                <c:pt idx="85">
                  <c:v>0.4043132269244137</c:v>
                </c:pt>
                <c:pt idx="86">
                  <c:v>0.42954039676249955</c:v>
                </c:pt>
                <c:pt idx="87">
                  <c:v>0.4511285767480307</c:v>
                </c:pt>
                <c:pt idx="88">
                  <c:v>0.4138041886919865</c:v>
                </c:pt>
                <c:pt idx="89">
                  <c:v>0.3786817378007795</c:v>
                </c:pt>
                <c:pt idx="90">
                  <c:v>0.3832459559871959</c:v>
                </c:pt>
                <c:pt idx="91">
                  <c:v>0.41251903581900673</c:v>
                </c:pt>
                <c:pt idx="92">
                  <c:v>0.4129788368103921</c:v>
                </c:pt>
                <c:pt idx="93">
                  <c:v>0.42527946557648516</c:v>
                </c:pt>
                <c:pt idx="94">
                  <c:v>0.4332174381085179</c:v>
                </c:pt>
                <c:pt idx="95">
                  <c:v>0.4684871771690446</c:v>
                </c:pt>
                <c:pt idx="96">
                  <c:v>0.4696089007416365</c:v>
                </c:pt>
                <c:pt idx="97">
                  <c:v>0.5079939529160542</c:v>
                </c:pt>
                <c:pt idx="98">
                  <c:v>0.5242546290067983</c:v>
                </c:pt>
                <c:pt idx="99">
                  <c:v>0.49546752833671026</c:v>
                </c:pt>
                <c:pt idx="100">
                  <c:v>0.5303490496346919</c:v>
                </c:pt>
                <c:pt idx="101">
                  <c:v>0.478591591958799</c:v>
                </c:pt>
                <c:pt idx="102">
                  <c:v>0.44374117575117894</c:v>
                </c:pt>
                <c:pt idx="103">
                  <c:v>0.4393461505551862</c:v>
                </c:pt>
                <c:pt idx="104">
                  <c:v>0.45596628541318085</c:v>
                </c:pt>
              </c:numCache>
            </c:numRef>
          </c:xVal>
          <c:yVal>
            <c:numRef>
              <c:f>Sheet1!$B$2:$B$106</c:f>
              <c:numCache>
                <c:formatCode>General</c:formatCode>
                <c:ptCount val="105"/>
                <c:pt idx="0">
                  <c:v>0.21933998465080584</c:v>
                </c:pt>
                <c:pt idx="1">
                  <c:v>0.19069952305246424</c:v>
                </c:pt>
                <c:pt idx="2">
                  <c:v>0.15764636484294353</c:v>
                </c:pt>
                <c:pt idx="3">
                  <c:v>0.16243731955629845</c:v>
                </c:pt>
                <c:pt idx="4">
                  <c:v>0.14980252021816814</c:v>
                </c:pt>
                <c:pt idx="5">
                  <c:v>0.14439676678974153</c:v>
                </c:pt>
                <c:pt idx="6">
                  <c:v>0.17270362217330398</c:v>
                </c:pt>
                <c:pt idx="7">
                  <c:v>0.1611933116805004</c:v>
                </c:pt>
                <c:pt idx="8">
                  <c:v>0.16048295811847565</c:v>
                </c:pt>
                <c:pt idx="9">
                  <c:v>0.16180371352785147</c:v>
                </c:pt>
                <c:pt idx="10">
                  <c:v>0.1695104895104895</c:v>
                </c:pt>
                <c:pt idx="11">
                  <c:v>0.16044707186403104</c:v>
                </c:pt>
                <c:pt idx="12">
                  <c:v>0.17437842393594605</c:v>
                </c:pt>
                <c:pt idx="13">
                  <c:v>0.17121418826739426</c:v>
                </c:pt>
                <c:pt idx="14">
                  <c:v>0.16830610203401133</c:v>
                </c:pt>
                <c:pt idx="15">
                  <c:v>0.17840076457470533</c:v>
                </c:pt>
                <c:pt idx="16">
                  <c:v>0.17441151359921941</c:v>
                </c:pt>
                <c:pt idx="17">
                  <c:v>0.15169811320754717</c:v>
                </c:pt>
                <c:pt idx="18">
                  <c:v>0.18800603815013037</c:v>
                </c:pt>
                <c:pt idx="19">
                  <c:v>0.15099472878762116</c:v>
                </c:pt>
                <c:pt idx="20">
                  <c:v>0.1602972399150743</c:v>
                </c:pt>
                <c:pt idx="21">
                  <c:v>0.14950166112956811</c:v>
                </c:pt>
                <c:pt idx="22">
                  <c:v>0.16251388668465322</c:v>
                </c:pt>
                <c:pt idx="23">
                  <c:v>0.17288135593220338</c:v>
                </c:pt>
                <c:pt idx="24">
                  <c:v>0.17027070318757007</c:v>
                </c:pt>
                <c:pt idx="25">
                  <c:v>0.17125770206596594</c:v>
                </c:pt>
                <c:pt idx="26">
                  <c:v>0.1599651871192341</c:v>
                </c:pt>
                <c:pt idx="27">
                  <c:v>0.1438143487497957</c:v>
                </c:pt>
                <c:pt idx="28">
                  <c:v>0.14381698928171494</c:v>
                </c:pt>
                <c:pt idx="29">
                  <c:v>0.1795017793594306</c:v>
                </c:pt>
                <c:pt idx="30">
                  <c:v>0.16601598810187768</c:v>
                </c:pt>
                <c:pt idx="31">
                  <c:v>0.15304406323578876</c:v>
                </c:pt>
                <c:pt idx="32">
                  <c:v>0.15442820292347378</c:v>
                </c:pt>
                <c:pt idx="33">
                  <c:v>0.18454237288135594</c:v>
                </c:pt>
                <c:pt idx="34">
                  <c:v>0.16421982590619721</c:v>
                </c:pt>
                <c:pt idx="35">
                  <c:v>0.17924424369285005</c:v>
                </c:pt>
                <c:pt idx="36">
                  <c:v>0.12554861018752494</c:v>
                </c:pt>
                <c:pt idx="37">
                  <c:v>0.11342069588793494</c:v>
                </c:pt>
                <c:pt idx="38">
                  <c:v>0.10565255992897307</c:v>
                </c:pt>
                <c:pt idx="39">
                  <c:v>0.09131030284583777</c:v>
                </c:pt>
                <c:pt idx="40">
                  <c:v>0.09518229166666667</c:v>
                </c:pt>
                <c:pt idx="41">
                  <c:v>0.07959518599562364</c:v>
                </c:pt>
                <c:pt idx="42">
                  <c:v>0.07896592244418331</c:v>
                </c:pt>
                <c:pt idx="43">
                  <c:v>0.08313436075537226</c:v>
                </c:pt>
                <c:pt idx="44">
                  <c:v>0.0948153674002238</c:v>
                </c:pt>
                <c:pt idx="45">
                  <c:v>0.10679405520169852</c:v>
                </c:pt>
                <c:pt idx="46">
                  <c:v>0.1124546553808948</c:v>
                </c:pt>
                <c:pt idx="47">
                  <c:v>0.09760262725779967</c:v>
                </c:pt>
                <c:pt idx="48">
                  <c:v>0.11852334854792597</c:v>
                </c:pt>
                <c:pt idx="49">
                  <c:v>0.1411543287327478</c:v>
                </c:pt>
                <c:pt idx="50">
                  <c:v>0.11621983914209115</c:v>
                </c:pt>
                <c:pt idx="51">
                  <c:v>0.10727411944869832</c:v>
                </c:pt>
                <c:pt idx="52">
                  <c:v>0.12376336232653874</c:v>
                </c:pt>
                <c:pt idx="53">
                  <c:v>0.10119471477173828</c:v>
                </c:pt>
                <c:pt idx="54">
                  <c:v>0.09513160158265956</c:v>
                </c:pt>
                <c:pt idx="55">
                  <c:v>0.08154694198967538</c:v>
                </c:pt>
                <c:pt idx="56">
                  <c:v>0.10031152647975078</c:v>
                </c:pt>
                <c:pt idx="57">
                  <c:v>0.08788449466415568</c:v>
                </c:pt>
                <c:pt idx="58">
                  <c:v>0.10770174900276158</c:v>
                </c:pt>
                <c:pt idx="59">
                  <c:v>0.10466289866774324</c:v>
                </c:pt>
                <c:pt idx="60">
                  <c:v>0.10296017855045225</c:v>
                </c:pt>
                <c:pt idx="61">
                  <c:v>0.12066169315601687</c:v>
                </c:pt>
                <c:pt idx="62">
                  <c:v>0.13740396927016646</c:v>
                </c:pt>
                <c:pt idx="63">
                  <c:v>0.14054501656127671</c:v>
                </c:pt>
                <c:pt idx="64">
                  <c:v>0.13665172360488484</c:v>
                </c:pt>
                <c:pt idx="65">
                  <c:v>0.14332612699175273</c:v>
                </c:pt>
                <c:pt idx="66">
                  <c:v>0.1478063785008904</c:v>
                </c:pt>
                <c:pt idx="67">
                  <c:v>0.12599882244091176</c:v>
                </c:pt>
                <c:pt idx="68">
                  <c:v>0.10524279357709422</c:v>
                </c:pt>
                <c:pt idx="69">
                  <c:v>0.08815461346633416</c:v>
                </c:pt>
                <c:pt idx="70">
                  <c:v>0.07558816678313533</c:v>
                </c:pt>
                <c:pt idx="71">
                  <c:v>0.0945140493857195</c:v>
                </c:pt>
                <c:pt idx="72">
                  <c:v>0.08501304244723737</c:v>
                </c:pt>
                <c:pt idx="73">
                  <c:v>0.07700810611643331</c:v>
                </c:pt>
                <c:pt idx="74">
                  <c:v>0.10190574004336414</c:v>
                </c:pt>
                <c:pt idx="75">
                  <c:v>0.07303763816986147</c:v>
                </c:pt>
                <c:pt idx="76">
                  <c:v>0.07546002783361683</c:v>
                </c:pt>
                <c:pt idx="77">
                  <c:v>0.12511387792286668</c:v>
                </c:pt>
                <c:pt idx="78">
                  <c:v>0.08982630272952853</c:v>
                </c:pt>
                <c:pt idx="79">
                  <c:v>0.06466188843876597</c:v>
                </c:pt>
                <c:pt idx="80">
                  <c:v>0.09342186534898085</c:v>
                </c:pt>
                <c:pt idx="81">
                  <c:v>0.11085887249337874</c:v>
                </c:pt>
                <c:pt idx="82">
                  <c:v>0.07975460122699386</c:v>
                </c:pt>
                <c:pt idx="83">
                  <c:v>0.058746492048643593</c:v>
                </c:pt>
                <c:pt idx="84">
                  <c:v>0.06811881188118812</c:v>
                </c:pt>
                <c:pt idx="85">
                  <c:v>0.07900838237916889</c:v>
                </c:pt>
                <c:pt idx="86">
                  <c:v>0.09780490972853617</c:v>
                </c:pt>
                <c:pt idx="87">
                  <c:v>0.09620453347390617</c:v>
                </c:pt>
                <c:pt idx="88">
                  <c:v>0.0937597503900156</c:v>
                </c:pt>
                <c:pt idx="89">
                  <c:v>0.066963521150882</c:v>
                </c:pt>
                <c:pt idx="90">
                  <c:v>0.06942709262894878</c:v>
                </c:pt>
                <c:pt idx="91">
                  <c:v>0.06394779771615008</c:v>
                </c:pt>
                <c:pt idx="92">
                  <c:v>0.08662573411639082</c:v>
                </c:pt>
                <c:pt idx="93">
                  <c:v>0.06516912628966959</c:v>
                </c:pt>
                <c:pt idx="94">
                  <c:v>0.07128498531003556</c:v>
                </c:pt>
                <c:pt idx="95">
                  <c:v>0.07427800876502978</c:v>
                </c:pt>
                <c:pt idx="96">
                  <c:v>0.0725052758516732</c:v>
                </c:pt>
                <c:pt idx="97">
                  <c:v>0.08172219936925819</c:v>
                </c:pt>
                <c:pt idx="98">
                  <c:v>0.09627070177528893</c:v>
                </c:pt>
                <c:pt idx="99">
                  <c:v>0.10277647549096212</c:v>
                </c:pt>
                <c:pt idx="100">
                  <c:v>0.11401326699834162</c:v>
                </c:pt>
                <c:pt idx="101">
                  <c:v>0.094896331738437</c:v>
                </c:pt>
                <c:pt idx="102">
                  <c:v>0.07788606291102132</c:v>
                </c:pt>
                <c:pt idx="103">
                  <c:v>0.08471602953000512</c:v>
                </c:pt>
                <c:pt idx="104">
                  <c:v>0.0845882454177781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227386610400207</c:v>
                </c:pt>
                <c:pt idx="1">
                  <c:v>0.4006552469314521</c:v>
                </c:pt>
                <c:pt idx="2">
                  <c:v>0.4121126148603717</c:v>
                </c:pt>
                <c:pt idx="3">
                  <c:v>0.37895244451491505</c:v>
                </c:pt>
                <c:pt idx="4">
                  <c:v>0.3840945974425957</c:v>
                </c:pt>
                <c:pt idx="5">
                  <c:v>0.41527247855602967</c:v>
                </c:pt>
                <c:pt idx="6">
                  <c:v>0.4208504289507641</c:v>
                </c:pt>
                <c:pt idx="7">
                  <c:v>0.4244412214947054</c:v>
                </c:pt>
                <c:pt idx="8">
                  <c:v>0.4269982306543059</c:v>
                </c:pt>
                <c:pt idx="9">
                  <c:v>0.42905299884316</c:v>
                </c:pt>
                <c:pt idx="10">
                  <c:v>0.4283192044198688</c:v>
                </c:pt>
                <c:pt idx="11">
                  <c:v>0.4305291493676911</c:v>
                </c:pt>
                <c:pt idx="12">
                  <c:v>0.43665888529877367</c:v>
                </c:pt>
                <c:pt idx="13">
                  <c:v>0.42072364721154454</c:v>
                </c:pt>
                <c:pt idx="14">
                  <c:v>0.41671584278752405</c:v>
                </c:pt>
                <c:pt idx="15">
                  <c:v>0.4201946723312657</c:v>
                </c:pt>
                <c:pt idx="16">
                  <c:v>0.3989596196789281</c:v>
                </c:pt>
                <c:pt idx="17">
                  <c:v>0.4109101530771979</c:v>
                </c:pt>
                <c:pt idx="18">
                  <c:v>0.35180043102740405</c:v>
                </c:pt>
                <c:pt idx="19">
                  <c:v>0.4116151610230964</c:v>
                </c:pt>
                <c:pt idx="20">
                  <c:v>0.3825036221597151</c:v>
                </c:pt>
                <c:pt idx="21">
                  <c:v>0.3872293119858736</c:v>
                </c:pt>
                <c:pt idx="22">
                  <c:v>0.38790182435056136</c:v>
                </c:pt>
                <c:pt idx="23">
                  <c:v>0.3814333188471333</c:v>
                </c:pt>
                <c:pt idx="24">
                  <c:v>0.40473185278798235</c:v>
                </c:pt>
                <c:pt idx="25">
                  <c:v>0.39515524981267114</c:v>
                </c:pt>
                <c:pt idx="26">
                  <c:v>0.3913337076700635</c:v>
                </c:pt>
                <c:pt idx="27">
                  <c:v>0.40325030382122995</c:v>
                </c:pt>
                <c:pt idx="28">
                  <c:v>0.3783124826885625</c:v>
                </c:pt>
                <c:pt idx="29">
                  <c:v>0.3640714179750523</c:v>
                </c:pt>
                <c:pt idx="30">
                  <c:v>0.3558750412437945</c:v>
                </c:pt>
                <c:pt idx="31">
                  <c:v>0.3441089913141752</c:v>
                </c:pt>
                <c:pt idx="32">
                  <c:v>0.35169581081309775</c:v>
                </c:pt>
                <c:pt idx="33">
                  <c:v>0.38332245572175827</c:v>
                </c:pt>
                <c:pt idx="34">
                  <c:v>0.4064147495080776</c:v>
                </c:pt>
                <c:pt idx="35">
                  <c:v>0.3926836265112126</c:v>
                </c:pt>
                <c:pt idx="36">
                  <c:v>0.31944173764912376</c:v>
                </c:pt>
                <c:pt idx="37">
                  <c:v>0.38073781549349434</c:v>
                </c:pt>
                <c:pt idx="38">
                  <c:v>0.34727556057576703</c:v>
                </c:pt>
                <c:pt idx="39">
                  <c:v>0.38510537509502113</c:v>
                </c:pt>
                <c:pt idx="40">
                  <c:v>0.3883786810933868</c:v>
                </c:pt>
                <c:pt idx="41">
                  <c:v>0.37670555327524774</c:v>
                </c:pt>
                <c:pt idx="42">
                  <c:v>0.37853647257555073</c:v>
                </c:pt>
                <c:pt idx="43">
                  <c:v>0.44670703388342814</c:v>
                </c:pt>
                <c:pt idx="44">
                  <c:v>0.4999218323040073</c:v>
                </c:pt>
                <c:pt idx="45">
                  <c:v>0.5156107512839718</c:v>
                </c:pt>
                <c:pt idx="46">
                  <c:v>0.49698483595412235</c:v>
                </c:pt>
                <c:pt idx="47">
                  <c:v>0.48438101800248046</c:v>
                </c:pt>
                <c:pt idx="48">
                  <c:v>0.5263537615339463</c:v>
                </c:pt>
                <c:pt idx="49">
                  <c:v>0.5515297953194722</c:v>
                </c:pt>
                <c:pt idx="50">
                  <c:v>0.521436414312735</c:v>
                </c:pt>
                <c:pt idx="51">
                  <c:v>0.4776446335497975</c:v>
                </c:pt>
              </c:numCache>
            </c:numRef>
          </c:xVal>
          <c:yVal>
            <c:numRef>
              <c:f>Sheet1!$B$109:$B$160</c:f>
              <c:numCache>
                <c:formatCode>General</c:formatCode>
                <c:ptCount val="52"/>
                <c:pt idx="0">
                  <c:v>0.08490269930947897</c:v>
                </c:pt>
                <c:pt idx="1">
                  <c:v>0.08445834705301285</c:v>
                </c:pt>
                <c:pt idx="2">
                  <c:v>0.08606979826240613</c:v>
                </c:pt>
                <c:pt idx="3">
                  <c:v>0.09831276020743554</c:v>
                </c:pt>
                <c:pt idx="4">
                  <c:v>0.0823502722323049</c:v>
                </c:pt>
                <c:pt idx="5">
                  <c:v>0.08385643006599067</c:v>
                </c:pt>
                <c:pt idx="6">
                  <c:v>0.08864873035066505</c:v>
                </c:pt>
                <c:pt idx="7">
                  <c:v>0.08483717071147065</c:v>
                </c:pt>
                <c:pt idx="8">
                  <c:v>0.08926064576509125</c:v>
                </c:pt>
                <c:pt idx="9">
                  <c:v>0.09222462203023758</c:v>
                </c:pt>
                <c:pt idx="10">
                  <c:v>0.10126847677953664</c:v>
                </c:pt>
                <c:pt idx="11">
                  <c:v>0.14309880815071127</c:v>
                </c:pt>
                <c:pt idx="12">
                  <c:v>0.11258937460403656</c:v>
                </c:pt>
                <c:pt idx="13">
                  <c:v>0.1016839378238342</c:v>
                </c:pt>
                <c:pt idx="14">
                  <c:v>0.12088563803499061</c:v>
                </c:pt>
                <c:pt idx="15">
                  <c:v>0.09359966534197867</c:v>
                </c:pt>
                <c:pt idx="16">
                  <c:v>0.12809593186148158</c:v>
                </c:pt>
                <c:pt idx="17">
                  <c:v>0.0689444036247857</c:v>
                </c:pt>
                <c:pt idx="18">
                  <c:v>0.07787684591808303</c:v>
                </c:pt>
                <c:pt idx="19">
                  <c:v>0.07287714248331807</c:v>
                </c:pt>
                <c:pt idx="20">
                  <c:v>0.07140820980615735</c:v>
                </c:pt>
                <c:pt idx="21">
                  <c:v>0.06337662337662338</c:v>
                </c:pt>
                <c:pt idx="22">
                  <c:v>0.06343087436481513</c:v>
                </c:pt>
                <c:pt idx="23">
                  <c:v>0.062386322299017825</c:v>
                </c:pt>
                <c:pt idx="24">
                  <c:v>0.05270247516416905</c:v>
                </c:pt>
                <c:pt idx="25">
                  <c:v>0.06210951855935318</c:v>
                </c:pt>
                <c:pt idx="26">
                  <c:v>0.0579785392869505</c:v>
                </c:pt>
                <c:pt idx="27">
                  <c:v>0.05480259281084266</c:v>
                </c:pt>
                <c:pt idx="28">
                  <c:v>0.07242857142857143</c:v>
                </c:pt>
                <c:pt idx="29">
                  <c:v>0.05792276964047936</c:v>
                </c:pt>
                <c:pt idx="30">
                  <c:v>0.0709655407710679</c:v>
                </c:pt>
                <c:pt idx="31">
                  <c:v>0.06972443129276863</c:v>
                </c:pt>
                <c:pt idx="32">
                  <c:v>0.07591192901741703</c:v>
                </c:pt>
                <c:pt idx="33">
                  <c:v>0.08133712275003384</c:v>
                </c:pt>
                <c:pt idx="34">
                  <c:v>0.09276928382572709</c:v>
                </c:pt>
                <c:pt idx="35">
                  <c:v>0.08207771609833465</c:v>
                </c:pt>
                <c:pt idx="36">
                  <c:v>0.08579773640014604</c:v>
                </c:pt>
                <c:pt idx="37">
                  <c:v>0.06512013256006628</c:v>
                </c:pt>
                <c:pt idx="38">
                  <c:v>0.06393769244702047</c:v>
                </c:pt>
                <c:pt idx="39">
                  <c:v>0.07328504473796335</c:v>
                </c:pt>
                <c:pt idx="40">
                  <c:v>0.052746951637210576</c:v>
                </c:pt>
                <c:pt idx="41">
                  <c:v>0.061794019933554815</c:v>
                </c:pt>
                <c:pt idx="42">
                  <c:v>0.05582488614661378</c:v>
                </c:pt>
                <c:pt idx="43">
                  <c:v>0.052984429065743945</c:v>
                </c:pt>
                <c:pt idx="44">
                  <c:v>0.05203493774391377</c:v>
                </c:pt>
                <c:pt idx="45">
                  <c:v>0.0659689642728257</c:v>
                </c:pt>
                <c:pt idx="46">
                  <c:v>0.056874466268146885</c:v>
                </c:pt>
                <c:pt idx="47">
                  <c:v>0.06119175555377336</c:v>
                </c:pt>
                <c:pt idx="48">
                  <c:v>0.06203358208955224</c:v>
                </c:pt>
                <c:pt idx="49">
                  <c:v>0.07416814833629667</c:v>
                </c:pt>
                <c:pt idx="50">
                  <c:v>0.09495573743110072</c:v>
                </c:pt>
                <c:pt idx="51">
                  <c:v>0.077747989276139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9.300708699312223</c:v>
                </c:pt>
              </c:numCache>
            </c:numRef>
          </c:xVal>
          <c:yVal>
            <c:numRef>
              <c:f>Sheet1!$B$163:$B$164</c:f>
              <c:numCache>
                <c:formatCode>General</c:formatCode>
                <c:ptCount val="2"/>
                <c:pt idx="0">
                  <c:v>0.16874470789807797</c:v>
                </c:pt>
                <c:pt idx="1">
                  <c:v>0.1687447078980779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9.300708699312223</c:v>
                </c:pt>
                <c:pt idx="1">
                  <c:v>9.300708699312223</c:v>
                </c:pt>
              </c:numCache>
            </c:numRef>
          </c:xVal>
          <c:yVal>
            <c:numRef>
              <c:f>Sheet1!$B$167:$B$168</c:f>
              <c:numCache>
                <c:formatCode>General</c:formatCode>
                <c:ptCount val="2"/>
                <c:pt idx="0">
                  <c:v>0.1687447078980779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193613294080518</c:v>
                </c:pt>
              </c:numCache>
            </c:numRef>
          </c:xVal>
          <c:yVal>
            <c:numRef>
              <c:f>Sheet1!$B$171:$B$172</c:f>
              <c:numCache>
                <c:formatCode>General</c:formatCode>
                <c:ptCount val="2"/>
                <c:pt idx="0">
                  <c:v>0.09599459075659805</c:v>
                </c:pt>
                <c:pt idx="1">
                  <c:v>0.0959945907565980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193613294080518</c:v>
                </c:pt>
                <c:pt idx="1">
                  <c:v>2.193613294080518</c:v>
                </c:pt>
              </c:numCache>
            </c:numRef>
          </c:xVal>
          <c:yVal>
            <c:numRef>
              <c:f>Sheet1!$B$175:$B$176</c:f>
              <c:numCache>
                <c:formatCode>General</c:formatCode>
                <c:ptCount val="2"/>
                <c:pt idx="0">
                  <c:v>0.095994590756598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597745934410544</c:v>
                </c:pt>
              </c:numCache>
            </c:numRef>
          </c:xVal>
          <c:yVal>
            <c:numRef>
              <c:f>Sheet1!$B$179:$B$180</c:f>
              <c:numCache>
                <c:formatCode>General</c:formatCode>
                <c:ptCount val="2"/>
                <c:pt idx="0">
                  <c:v>0.06473930096098733</c:v>
                </c:pt>
                <c:pt idx="1">
                  <c:v>0.0647393009609873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597745934410544</c:v>
                </c:pt>
                <c:pt idx="1">
                  <c:v>-0.8597745934410544</c:v>
                </c:pt>
              </c:numCache>
            </c:numRef>
          </c:xVal>
          <c:yVal>
            <c:numRef>
              <c:f>Sheet1!$B$183:$B$184</c:f>
              <c:numCache>
                <c:formatCode>General</c:formatCode>
                <c:ptCount val="2"/>
                <c:pt idx="0">
                  <c:v>0.0647393009609873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227386610400207</c:v>
                </c:pt>
                <c:pt idx="1">
                  <c:v>0.4006552469314521</c:v>
                </c:pt>
                <c:pt idx="2">
                  <c:v>0.4121126148603717</c:v>
                </c:pt>
                <c:pt idx="3">
                  <c:v>0.37895244451491505</c:v>
                </c:pt>
                <c:pt idx="4">
                  <c:v>0.3840945974425957</c:v>
                </c:pt>
                <c:pt idx="5">
                  <c:v>0.41527247855602967</c:v>
                </c:pt>
                <c:pt idx="6">
                  <c:v>0.4208504289507641</c:v>
                </c:pt>
                <c:pt idx="7">
                  <c:v>0.4244412214947054</c:v>
                </c:pt>
                <c:pt idx="8">
                  <c:v>0.4269982306543059</c:v>
                </c:pt>
                <c:pt idx="9">
                  <c:v>0.42905299884316</c:v>
                </c:pt>
                <c:pt idx="10">
                  <c:v>0.4283192044198688</c:v>
                </c:pt>
                <c:pt idx="11">
                  <c:v>0.4305291493676911</c:v>
                </c:pt>
                <c:pt idx="12">
                  <c:v>0.43665888529877367</c:v>
                </c:pt>
                <c:pt idx="13">
                  <c:v>0.42072364721154454</c:v>
                </c:pt>
                <c:pt idx="14">
                  <c:v>0.41671584278752405</c:v>
                </c:pt>
                <c:pt idx="15">
                  <c:v>0.4201946723312657</c:v>
                </c:pt>
                <c:pt idx="16">
                  <c:v>0.3989596196789281</c:v>
                </c:pt>
                <c:pt idx="17">
                  <c:v>0.4109101530771979</c:v>
                </c:pt>
                <c:pt idx="18">
                  <c:v>0.35180043102740405</c:v>
                </c:pt>
                <c:pt idx="19">
                  <c:v>0.4116151610230964</c:v>
                </c:pt>
                <c:pt idx="20">
                  <c:v>0.3825036221597151</c:v>
                </c:pt>
                <c:pt idx="21">
                  <c:v>0.3872293119858736</c:v>
                </c:pt>
                <c:pt idx="22">
                  <c:v>0.38790182435056136</c:v>
                </c:pt>
                <c:pt idx="23">
                  <c:v>0.3814333188471333</c:v>
                </c:pt>
                <c:pt idx="24">
                  <c:v>0.40473185278798235</c:v>
                </c:pt>
                <c:pt idx="25">
                  <c:v>0.39515524981267114</c:v>
                </c:pt>
                <c:pt idx="26">
                  <c:v>0.3913337076700635</c:v>
                </c:pt>
                <c:pt idx="27">
                  <c:v>0.40325030382122995</c:v>
                </c:pt>
                <c:pt idx="28">
                  <c:v>0.3783124826885625</c:v>
                </c:pt>
                <c:pt idx="29">
                  <c:v>0.3640714179750523</c:v>
                </c:pt>
                <c:pt idx="30">
                  <c:v>0.3558750412437945</c:v>
                </c:pt>
                <c:pt idx="31">
                  <c:v>0.3441089913141752</c:v>
                </c:pt>
                <c:pt idx="32">
                  <c:v>0.35169581081309775</c:v>
                </c:pt>
                <c:pt idx="33">
                  <c:v>0.38332245572175827</c:v>
                </c:pt>
                <c:pt idx="34">
                  <c:v>0.4064147495080776</c:v>
                </c:pt>
                <c:pt idx="35">
                  <c:v>0.3926836265112126</c:v>
                </c:pt>
                <c:pt idx="36">
                  <c:v>0.31944173764912376</c:v>
                </c:pt>
                <c:pt idx="37">
                  <c:v>0.38073781549349434</c:v>
                </c:pt>
                <c:pt idx="38">
                  <c:v>0.34727556057576703</c:v>
                </c:pt>
                <c:pt idx="39">
                  <c:v>0.38510537509502113</c:v>
                </c:pt>
                <c:pt idx="40">
                  <c:v>0.3883786810933868</c:v>
                </c:pt>
                <c:pt idx="41">
                  <c:v>0.37670555327524774</c:v>
                </c:pt>
                <c:pt idx="42">
                  <c:v>0.37853647257555073</c:v>
                </c:pt>
                <c:pt idx="43">
                  <c:v>0.44670703388342814</c:v>
                </c:pt>
                <c:pt idx="44">
                  <c:v>0.4999218323040073</c:v>
                </c:pt>
                <c:pt idx="45">
                  <c:v>0.5156107512839718</c:v>
                </c:pt>
                <c:pt idx="46">
                  <c:v>0.49698483595412235</c:v>
                </c:pt>
                <c:pt idx="47">
                  <c:v>0.48438101800248046</c:v>
                </c:pt>
                <c:pt idx="48">
                  <c:v>0.5263537615339463</c:v>
                </c:pt>
                <c:pt idx="49">
                  <c:v>0.5515297953194722</c:v>
                </c:pt>
                <c:pt idx="50">
                  <c:v>0.521436414312735</c:v>
                </c:pt>
                <c:pt idx="51">
                  <c:v>0.4776446335497975</c:v>
                </c:pt>
                <c:pt idx="52">
                  <c:v>2.193613294080518</c:v>
                </c:pt>
                <c:pt idx="53">
                  <c:v>9.300708699312223</c:v>
                </c:pt>
                <c:pt idx="54">
                  <c:v>-0.8597745934410544</c:v>
                </c:pt>
              </c:numCache>
            </c:numRef>
          </c:xVal>
          <c:yVal>
            <c:numRef>
              <c:f>Sheet1!$B$187:$B$241</c:f>
              <c:numCache>
                <c:formatCode>General</c:formatCode>
                <c:ptCount val="55"/>
                <c:pt idx="0">
                  <c:v>0.07786744743701694</c:v>
                </c:pt>
                <c:pt idx="1">
                  <c:v>0.07764139574196026</c:v>
                </c:pt>
                <c:pt idx="2">
                  <c:v>0.07775867640465524</c:v>
                </c:pt>
                <c:pt idx="3">
                  <c:v>0.07741924008932344</c:v>
                </c:pt>
                <c:pt idx="4">
                  <c:v>0.07747187653311914</c:v>
                </c:pt>
                <c:pt idx="5">
                  <c:v>0.07779102160911681</c:v>
                </c:pt>
                <c:pt idx="6">
                  <c:v>0.07784811899159005</c:v>
                </c:pt>
                <c:pt idx="7">
                  <c:v>0.0778848752982537</c:v>
                </c:pt>
                <c:pt idx="8">
                  <c:v>0.07791104952348724</c:v>
                </c:pt>
                <c:pt idx="9">
                  <c:v>0.07793208267668336</c:v>
                </c:pt>
                <c:pt idx="10">
                  <c:v>0.07792457136197484</c:v>
                </c:pt>
                <c:pt idx="11">
                  <c:v>0.077947192945711</c:v>
                </c:pt>
                <c:pt idx="12">
                  <c:v>0.07800993855156066</c:v>
                </c:pt>
                <c:pt idx="13">
                  <c:v>0.0778468212200176</c:v>
                </c:pt>
                <c:pt idx="14">
                  <c:v>0.0778057962689366</c:v>
                </c:pt>
                <c:pt idx="15">
                  <c:v>0.0778414064925782</c:v>
                </c:pt>
                <c:pt idx="16">
                  <c:v>0.0776240388508232</c:v>
                </c:pt>
                <c:pt idx="17">
                  <c:v>0.07774636768631164</c:v>
                </c:pt>
                <c:pt idx="18">
                  <c:v>0.07714130486414138</c:v>
                </c:pt>
                <c:pt idx="19">
                  <c:v>0.07775358433498812</c:v>
                </c:pt>
                <c:pt idx="20">
                  <c:v>0.07745559088735257</c:v>
                </c:pt>
                <c:pt idx="21">
                  <c:v>0.07750396430417406</c:v>
                </c:pt>
                <c:pt idx="22">
                  <c:v>0.0775108483194462</c:v>
                </c:pt>
                <c:pt idx="23">
                  <c:v>0.07744463497823252</c:v>
                </c:pt>
                <c:pt idx="24">
                  <c:v>0.07768312496278709</c:v>
                </c:pt>
                <c:pt idx="25">
                  <c:v>0.07758509630993426</c:v>
                </c:pt>
                <c:pt idx="26">
                  <c:v>0.07754597798906142</c:v>
                </c:pt>
                <c:pt idx="27">
                  <c:v>0.07766795943387035</c:v>
                </c:pt>
                <c:pt idx="28">
                  <c:v>0.07741268927001138</c:v>
                </c:pt>
                <c:pt idx="29">
                  <c:v>0.07726691394731561</c:v>
                </c:pt>
                <c:pt idx="30">
                  <c:v>0.07718301365706542</c:v>
                </c:pt>
                <c:pt idx="31">
                  <c:v>0.077062573243385</c:v>
                </c:pt>
                <c:pt idx="32">
                  <c:v>0.07714023394382694</c:v>
                </c:pt>
                <c:pt idx="33">
                  <c:v>0.07746397268528288</c:v>
                </c:pt>
                <c:pt idx="34">
                  <c:v>0.07770035154081133</c:v>
                </c:pt>
                <c:pt idx="35">
                  <c:v>0.07755979611703431</c:v>
                </c:pt>
                <c:pt idx="36">
                  <c:v>0.07681007268002264</c:v>
                </c:pt>
                <c:pt idx="37">
                  <c:v>0.07743751562108807</c:v>
                </c:pt>
                <c:pt idx="38">
                  <c:v>0.07709498708780137</c:v>
                </c:pt>
                <c:pt idx="39">
                  <c:v>0.07748222312176403</c:v>
                </c:pt>
                <c:pt idx="40">
                  <c:v>0.07751572955178124</c:v>
                </c:pt>
                <c:pt idx="41">
                  <c:v>0.07739624031352618</c:v>
                </c:pt>
                <c:pt idx="42">
                  <c:v>0.07741498209001559</c:v>
                </c:pt>
                <c:pt idx="43">
                  <c:v>0.07811279407057486</c:v>
                </c:pt>
                <c:pt idx="44">
                  <c:v>0.07865751488801423</c:v>
                </c:pt>
                <c:pt idx="45">
                  <c:v>0.07881811083172077</c:v>
                </c:pt>
                <c:pt idx="46">
                  <c:v>0.07862745101292667</c:v>
                </c:pt>
                <c:pt idx="47">
                  <c:v>0.07849843498315213</c:v>
                </c:pt>
                <c:pt idx="48">
                  <c:v>0.07892807913938728</c:v>
                </c:pt>
                <c:pt idx="49">
                  <c:v>0.07918578771126134</c:v>
                </c:pt>
                <c:pt idx="50">
                  <c:v>0.07887774386654078</c:v>
                </c:pt>
                <c:pt idx="51">
                  <c:v>0.07842947956183023</c:v>
                </c:pt>
                <c:pt idx="52">
                  <c:v>0.09599459075659805</c:v>
                </c:pt>
                <c:pt idx="53">
                  <c:v>0.16874470789807797</c:v>
                </c:pt>
                <c:pt idx="54">
                  <c:v>0.0647393009609873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3207981580967"/>
          <c:min val="0.041627950195131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2.5666</c:v>
                </c:pt>
                <c:pt idx="1">
                  <c:v>872.0111</c:v>
                </c:pt>
                <c:pt idx="2">
                  <c:v>900.1709</c:v>
                </c:pt>
                <c:pt idx="3">
                  <c:v>925.0432</c:v>
                </c:pt>
                <c:pt idx="4">
                  <c:v>912.1921</c:v>
                </c:pt>
                <c:pt idx="5">
                  <c:v>901.0272</c:v>
                </c:pt>
                <c:pt idx="6">
                  <c:v>865.8392</c:v>
                </c:pt>
                <c:pt idx="7">
                  <c:v>870.6566</c:v>
                </c:pt>
                <c:pt idx="8">
                  <c:v>877.8398</c:v>
                </c:pt>
                <c:pt idx="9">
                  <c:v>847.7171</c:v>
                </c:pt>
                <c:pt idx="10">
                  <c:v>833.988</c:v>
                </c:pt>
                <c:pt idx="11">
                  <c:v>871.5871</c:v>
                </c:pt>
                <c:pt idx="12">
                  <c:v>871.9647</c:v>
                </c:pt>
                <c:pt idx="13">
                  <c:v>878.4732</c:v>
                </c:pt>
                <c:pt idx="14">
                  <c:v>903.0785</c:v>
                </c:pt>
                <c:pt idx="15">
                  <c:v>917.3083</c:v>
                </c:pt>
                <c:pt idx="16">
                  <c:v>938.2692</c:v>
                </c:pt>
                <c:pt idx="17">
                  <c:v>922.7628</c:v>
                </c:pt>
                <c:pt idx="18">
                  <c:v>979.7761</c:v>
                </c:pt>
                <c:pt idx="19">
                  <c:v>988.3479</c:v>
                </c:pt>
                <c:pt idx="20">
                  <c:v>1012.9016</c:v>
                </c:pt>
                <c:pt idx="21">
                  <c:v>1022.9061</c:v>
                </c:pt>
                <c:pt idx="22">
                  <c:v>998.707</c:v>
                </c:pt>
                <c:pt idx="23">
                  <c:v>1006.9474</c:v>
                </c:pt>
                <c:pt idx="24">
                  <c:v>1019.6003</c:v>
                </c:pt>
                <c:pt idx="25">
                  <c:v>1003.4215</c:v>
                </c:pt>
                <c:pt idx="26">
                  <c:v>986.5536</c:v>
                </c:pt>
                <c:pt idx="27">
                  <c:v>999.7904</c:v>
                </c:pt>
                <c:pt idx="28">
                  <c:v>1006.4917</c:v>
                </c:pt>
                <c:pt idx="29">
                  <c:v>993.4089</c:v>
                </c:pt>
                <c:pt idx="30">
                  <c:v>995.3143</c:v>
                </c:pt>
                <c:pt idx="31">
                  <c:v>981.2178</c:v>
                </c:pt>
                <c:pt idx="32">
                  <c:v>970.219</c:v>
                </c:pt>
                <c:pt idx="33">
                  <c:v>928.2519</c:v>
                </c:pt>
                <c:pt idx="34">
                  <c:v>940.4915</c:v>
                </c:pt>
                <c:pt idx="35">
                  <c:v>981.2692</c:v>
                </c:pt>
                <c:pt idx="36">
                  <c:v>1026.2341</c:v>
                </c:pt>
                <c:pt idx="37">
                  <c:v>1027.2868</c:v>
                </c:pt>
                <c:pt idx="38">
                  <c:v>1059.2012</c:v>
                </c:pt>
                <c:pt idx="39">
                  <c:v>1112.4994</c:v>
                </c:pt>
                <c:pt idx="40">
                  <c:v>1110.5343</c:v>
                </c:pt>
                <c:pt idx="41">
                  <c:v>1130.2013</c:v>
                </c:pt>
                <c:pt idx="42">
                  <c:v>1150.4098</c:v>
                </c:pt>
                <c:pt idx="43">
                  <c:v>1140.076</c:v>
                </c:pt>
                <c:pt idx="44">
                  <c:v>1111.1514</c:v>
                </c:pt>
                <c:pt idx="45">
                  <c:v>1077.0212</c:v>
                </c:pt>
                <c:pt idx="46">
                  <c:v>1061.1769</c:v>
                </c:pt>
                <c:pt idx="47">
                  <c:v>1045.8912</c:v>
                </c:pt>
                <c:pt idx="48">
                  <c:v>1043.8683</c:v>
                </c:pt>
                <c:pt idx="49">
                  <c:v>1001.6732</c:v>
                </c:pt>
                <c:pt idx="50">
                  <c:v>1006.6643</c:v>
                </c:pt>
                <c:pt idx="51">
                  <c:v>1007.4755</c:v>
                </c:pt>
                <c:pt idx="52">
                  <c:v>1022.2327</c:v>
                </c:pt>
                <c:pt idx="53">
                  <c:v>1115.2755</c:v>
                </c:pt>
                <c:pt idx="54">
                  <c:v>1104.3599</c:v>
                </c:pt>
                <c:pt idx="55">
                  <c:v>1123.1172</c:v>
                </c:pt>
                <c:pt idx="56">
                  <c:v>1121.0377</c:v>
                </c:pt>
                <c:pt idx="57">
                  <c:v>1098.7739</c:v>
                </c:pt>
                <c:pt idx="58">
                  <c:v>1083.7183</c:v>
                </c:pt>
                <c:pt idx="59">
                  <c:v>1072.0835</c:v>
                </c:pt>
                <c:pt idx="60">
                  <c:v>1087.6664</c:v>
                </c:pt>
                <c:pt idx="61">
                  <c:v>1099.122</c:v>
                </c:pt>
                <c:pt idx="62">
                  <c:v>1035.1867</c:v>
                </c:pt>
                <c:pt idx="63">
                  <c:v>1056.0471</c:v>
                </c:pt>
                <c:pt idx="64">
                  <c:v>1061.5768</c:v>
                </c:pt>
                <c:pt idx="65">
                  <c:v>1054.6548</c:v>
                </c:pt>
                <c:pt idx="66">
                  <c:v>1084.64</c:v>
                </c:pt>
                <c:pt idx="67">
                  <c:v>1105.461</c:v>
                </c:pt>
                <c:pt idx="68">
                  <c:v>1118.696</c:v>
                </c:pt>
                <c:pt idx="69">
                  <c:v>1149.0121</c:v>
                </c:pt>
                <c:pt idx="70">
                  <c:v>1139.1925</c:v>
                </c:pt>
                <c:pt idx="71">
                  <c:v>1186.6311</c:v>
                </c:pt>
                <c:pt idx="72">
                  <c:v>1254.1648</c:v>
                </c:pt>
                <c:pt idx="73">
                  <c:v>1235.9873</c:v>
                </c:pt>
                <c:pt idx="74">
                  <c:v>1231.8107</c:v>
                </c:pt>
                <c:pt idx="75">
                  <c:v>1199.4123</c:v>
                </c:pt>
                <c:pt idx="76">
                  <c:v>1167.563</c:v>
                </c:pt>
                <c:pt idx="77">
                  <c:v>1171.0387</c:v>
                </c:pt>
                <c:pt idx="78">
                  <c:v>1200.0509</c:v>
                </c:pt>
                <c:pt idx="79">
                  <c:v>1187.2492</c:v>
                </c:pt>
                <c:pt idx="80">
                  <c:v>1206.8508</c:v>
                </c:pt>
                <c:pt idx="81">
                  <c:v>1203.4817</c:v>
                </c:pt>
                <c:pt idx="82">
                  <c:v>1233.5346</c:v>
                </c:pt>
                <c:pt idx="83">
                  <c:v>1180.8858</c:v>
                </c:pt>
                <c:pt idx="84">
                  <c:v>1203.088</c:v>
                </c:pt>
                <c:pt idx="85">
                  <c:v>1186.1807</c:v>
                </c:pt>
                <c:pt idx="86">
                  <c:v>1179.256</c:v>
                </c:pt>
                <c:pt idx="87">
                  <c:v>1185.655</c:v>
                </c:pt>
                <c:pt idx="88">
                  <c:v>1225.303</c:v>
                </c:pt>
                <c:pt idx="89">
                  <c:v>1217.4435</c:v>
                </c:pt>
                <c:pt idx="90">
                  <c:v>1275.8005</c:v>
                </c:pt>
                <c:pt idx="91">
                  <c:v>1262.028</c:v>
                </c:pt>
                <c:pt idx="92">
                  <c:v>1217.7472</c:v>
                </c:pt>
                <c:pt idx="93">
                  <c:v>1247.006</c:v>
                </c:pt>
                <c:pt idx="94">
                  <c:v>1227.8971</c:v>
                </c:pt>
                <c:pt idx="95">
                  <c:v>1181.5481</c:v>
                </c:pt>
                <c:pt idx="96">
                  <c:v>1151.501</c:v>
                </c:pt>
                <c:pt idx="97">
                  <c:v>1146.4279</c:v>
                </c:pt>
                <c:pt idx="98">
                  <c:v>1128.289</c:v>
                </c:pt>
                <c:pt idx="99">
                  <c:v>1098.9471</c:v>
                </c:pt>
                <c:pt idx="100">
                  <c:v>1084.0729</c:v>
                </c:pt>
                <c:pt idx="101">
                  <c:v>1119.4264</c:v>
                </c:pt>
                <c:pt idx="102">
                  <c:v>1135.817</c:v>
                </c:pt>
                <c:pt idx="103">
                  <c:v>1118.4844</c:v>
                </c:pt>
                <c:pt idx="104">
                  <c:v>1151.7239</c:v>
                </c:pt>
              </c:numCache>
            </c:numRef>
          </c:xVal>
          <c:yVal>
            <c:numRef>
              <c:f>Sheet1!$B$2:$B$106</c:f>
              <c:numCache>
                <c:formatCode>General</c:formatCode>
                <c:ptCount val="105"/>
                <c:pt idx="0">
                  <c:v>0.2222146569528608</c:v>
                </c:pt>
                <c:pt idx="1">
                  <c:v>0.21436831795331712</c:v>
                </c:pt>
                <c:pt idx="2">
                  <c:v>0.21788056610286502</c:v>
                </c:pt>
                <c:pt idx="3">
                  <c:v>0.22284236976901517</c:v>
                </c:pt>
                <c:pt idx="4">
                  <c:v>0.23230982175644757</c:v>
                </c:pt>
                <c:pt idx="5">
                  <c:v>0.23291621013782365</c:v>
                </c:pt>
                <c:pt idx="6">
                  <c:v>0.26065601535595323</c:v>
                </c:pt>
                <c:pt idx="7">
                  <c:v>0.26437738022850193</c:v>
                </c:pt>
                <c:pt idx="8">
                  <c:v>0.257263214202133</c:v>
                </c:pt>
                <c:pt idx="9">
                  <c:v>0.25305166789434913</c:v>
                </c:pt>
                <c:pt idx="10">
                  <c:v>0.24550973309251456</c:v>
                </c:pt>
                <c:pt idx="11">
                  <c:v>0.22982810920121335</c:v>
                </c:pt>
                <c:pt idx="12">
                  <c:v>0.22160040869403677</c:v>
                </c:pt>
                <c:pt idx="13">
                  <c:v>0.21053404833614928</c:v>
                </c:pt>
                <c:pt idx="14">
                  <c:v>0.1929620755584598</c:v>
                </c:pt>
                <c:pt idx="15">
                  <c:v>0.19070869326553608</c:v>
                </c:pt>
                <c:pt idx="16">
                  <c:v>0.18037248344153714</c:v>
                </c:pt>
                <c:pt idx="17">
                  <c:v>0.17803368978219664</c:v>
                </c:pt>
                <c:pt idx="18">
                  <c:v>0.16207250612115948</c:v>
                </c:pt>
                <c:pt idx="19">
                  <c:v>0.1645387436742653</c:v>
                </c:pt>
                <c:pt idx="20">
                  <c:v>0.17074384594770492</c:v>
                </c:pt>
                <c:pt idx="21">
                  <c:v>0.1679692794217303</c:v>
                </c:pt>
                <c:pt idx="22">
                  <c:v>0.18874264911789415</c:v>
                </c:pt>
                <c:pt idx="23">
                  <c:v>0.19065880039331368</c:v>
                </c:pt>
                <c:pt idx="24">
                  <c:v>0.19545118343195267</c:v>
                </c:pt>
                <c:pt idx="25">
                  <c:v>0.1965481171548117</c:v>
                </c:pt>
                <c:pt idx="26">
                  <c:v>0.2142291015898177</c:v>
                </c:pt>
                <c:pt idx="27">
                  <c:v>0.2190428532435629</c:v>
                </c:pt>
                <c:pt idx="28">
                  <c:v>0.21610719584569732</c:v>
                </c:pt>
                <c:pt idx="29">
                  <c:v>0.21404179201561102</c:v>
                </c:pt>
                <c:pt idx="30">
                  <c:v>0.21525529915422367</c:v>
                </c:pt>
                <c:pt idx="31">
                  <c:v>0.2158156532331743</c:v>
                </c:pt>
                <c:pt idx="32">
                  <c:v>0.22579515903180636</c:v>
                </c:pt>
                <c:pt idx="33">
                  <c:v>0.2243625609463672</c:v>
                </c:pt>
                <c:pt idx="34">
                  <c:v>0.22853110411464553</c:v>
                </c:pt>
                <c:pt idx="35">
                  <c:v>0.24465431218816822</c:v>
                </c:pt>
                <c:pt idx="36">
                  <c:v>0.21023367645953867</c:v>
                </c:pt>
                <c:pt idx="37">
                  <c:v>0.21509433962264152</c:v>
                </c:pt>
                <c:pt idx="38">
                  <c:v>0.2002953183357943</c:v>
                </c:pt>
                <c:pt idx="39">
                  <c:v>0.18644224973338897</c:v>
                </c:pt>
                <c:pt idx="40">
                  <c:v>0.1933965902954563</c:v>
                </c:pt>
                <c:pt idx="41">
                  <c:v>0.1845035313668467</c:v>
                </c:pt>
                <c:pt idx="42">
                  <c:v>0.1825368689733409</c:v>
                </c:pt>
                <c:pt idx="43">
                  <c:v>0.18491152406925856</c:v>
                </c:pt>
                <c:pt idx="44">
                  <c:v>0.179719027169339</c:v>
                </c:pt>
                <c:pt idx="45">
                  <c:v>0.19425275927214875</c:v>
                </c:pt>
                <c:pt idx="46">
                  <c:v>0.20227789562193046</c:v>
                </c:pt>
                <c:pt idx="47">
                  <c:v>0.19447760619247506</c:v>
                </c:pt>
                <c:pt idx="48">
                  <c:v>0.1946365151844604</c:v>
                </c:pt>
                <c:pt idx="49">
                  <c:v>0.2024177181681814</c:v>
                </c:pt>
                <c:pt idx="50">
                  <c:v>0.19343004525223934</c:v>
                </c:pt>
                <c:pt idx="51">
                  <c:v>0.1905886056027699</c:v>
                </c:pt>
                <c:pt idx="52">
                  <c:v>0.19163722255841645</c:v>
                </c:pt>
                <c:pt idx="53">
                  <c:v>0.1821459475050476</c:v>
                </c:pt>
                <c:pt idx="54">
                  <c:v>0.18893706477466823</c:v>
                </c:pt>
                <c:pt idx="55">
                  <c:v>0.18618821936357483</c:v>
                </c:pt>
                <c:pt idx="56">
                  <c:v>0.1827687615728134</c:v>
                </c:pt>
                <c:pt idx="57">
                  <c:v>0.17984808924756707</c:v>
                </c:pt>
                <c:pt idx="58">
                  <c:v>0.19077375079479927</c:v>
                </c:pt>
                <c:pt idx="59">
                  <c:v>0.18824739239018656</c:v>
                </c:pt>
                <c:pt idx="60">
                  <c:v>0.1917924831352393</c:v>
                </c:pt>
                <c:pt idx="61">
                  <c:v>0.18711292376081656</c:v>
                </c:pt>
                <c:pt idx="62">
                  <c:v>0.19957863689034025</c:v>
                </c:pt>
                <c:pt idx="63">
                  <c:v>0.2039075557604749</c:v>
                </c:pt>
                <c:pt idx="64">
                  <c:v>0.1943246991790681</c:v>
                </c:pt>
                <c:pt idx="65">
                  <c:v>0.19147112834115487</c:v>
                </c:pt>
                <c:pt idx="66">
                  <c:v>0.18685303480699092</c:v>
                </c:pt>
                <c:pt idx="67">
                  <c:v>0.1743600914933014</c:v>
                </c:pt>
                <c:pt idx="68">
                  <c:v>0.16798753104031278</c:v>
                </c:pt>
                <c:pt idx="69">
                  <c:v>0.1637571027589512</c:v>
                </c:pt>
                <c:pt idx="70">
                  <c:v>0.16157501697216564</c:v>
                </c:pt>
                <c:pt idx="71">
                  <c:v>0.15957227341493604</c:v>
                </c:pt>
                <c:pt idx="72">
                  <c:v>0.16045343380263072</c:v>
                </c:pt>
                <c:pt idx="73">
                  <c:v>0.16063700882811147</c:v>
                </c:pt>
                <c:pt idx="74">
                  <c:v>0.16004937942079275</c:v>
                </c:pt>
                <c:pt idx="75">
                  <c:v>0.1704176288700145</c:v>
                </c:pt>
                <c:pt idx="76">
                  <c:v>0.17403464829889376</c:v>
                </c:pt>
                <c:pt idx="77">
                  <c:v>0.16306754103838603</c:v>
                </c:pt>
                <c:pt idx="78">
                  <c:v>0.17122101414413549</c:v>
                </c:pt>
                <c:pt idx="79">
                  <c:v>0.16867216425445977</c:v>
                </c:pt>
                <c:pt idx="80">
                  <c:v>0.15128412624047022</c:v>
                </c:pt>
                <c:pt idx="81">
                  <c:v>0.15918572867213351</c:v>
                </c:pt>
                <c:pt idx="82">
                  <c:v>0.1604518736223365</c:v>
                </c:pt>
                <c:pt idx="83">
                  <c:v>0.15352127547249497</c:v>
                </c:pt>
                <c:pt idx="84">
                  <c:v>0.1606915980776667</c:v>
                </c:pt>
                <c:pt idx="85">
                  <c:v>0.16671613733056298</c:v>
                </c:pt>
                <c:pt idx="86">
                  <c:v>0.1759307231144993</c:v>
                </c:pt>
                <c:pt idx="87">
                  <c:v>0.19704711230134958</c:v>
                </c:pt>
                <c:pt idx="88">
                  <c:v>0.18048567053161235</c:v>
                </c:pt>
                <c:pt idx="89">
                  <c:v>0.17244673736505206</c:v>
                </c:pt>
                <c:pt idx="90">
                  <c:v>0.1624969158647915</c:v>
                </c:pt>
                <c:pt idx="91">
                  <c:v>0.1546732452057345</c:v>
                </c:pt>
                <c:pt idx="92">
                  <c:v>0.17381197362905376</c:v>
                </c:pt>
                <c:pt idx="93">
                  <c:v>0.16256891670391893</c:v>
                </c:pt>
                <c:pt idx="94">
                  <c:v>0.16598507525612377</c:v>
                </c:pt>
                <c:pt idx="95">
                  <c:v>0.17649211625850134</c:v>
                </c:pt>
                <c:pt idx="96">
                  <c:v>0.17222309294046526</c:v>
                </c:pt>
                <c:pt idx="97">
                  <c:v>0.17688563038294014</c:v>
                </c:pt>
                <c:pt idx="98">
                  <c:v>0.184845203101095</c:v>
                </c:pt>
                <c:pt idx="99">
                  <c:v>0.1852970193428802</c:v>
                </c:pt>
                <c:pt idx="100">
                  <c:v>0.18696157822191592</c:v>
                </c:pt>
                <c:pt idx="101">
                  <c:v>0.17836053875657837</c:v>
                </c:pt>
                <c:pt idx="102">
                  <c:v>0.16761097479366496</c:v>
                </c:pt>
                <c:pt idx="103">
                  <c:v>0.16980733033013978</c:v>
                </c:pt>
                <c:pt idx="104">
                  <c:v>0.1651442481502012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87.3113</c:v>
                </c:pt>
                <c:pt idx="1">
                  <c:v>1205.9892</c:v>
                </c:pt>
                <c:pt idx="2">
                  <c:v>1198.2105</c:v>
                </c:pt>
                <c:pt idx="3">
                  <c:v>1171.3652</c:v>
                </c:pt>
                <c:pt idx="4">
                  <c:v>1182.2029</c:v>
                </c:pt>
                <c:pt idx="5">
                  <c:v>1187.2975</c:v>
                </c:pt>
                <c:pt idx="6">
                  <c:v>1118.0794</c:v>
                </c:pt>
                <c:pt idx="7">
                  <c:v>1139.9863</c:v>
                </c:pt>
                <c:pt idx="8">
                  <c:v>1185.7356</c:v>
                </c:pt>
                <c:pt idx="9">
                  <c:v>1126.6432</c:v>
                </c:pt>
                <c:pt idx="10">
                  <c:v>1147.6971</c:v>
                </c:pt>
                <c:pt idx="11">
                  <c:v>1070.2266</c:v>
                </c:pt>
                <c:pt idx="12">
                  <c:v>1103.7668</c:v>
                </c:pt>
                <c:pt idx="13">
                  <c:v>1128.5695</c:v>
                </c:pt>
                <c:pt idx="14">
                  <c:v>1134.3797</c:v>
                </c:pt>
                <c:pt idx="15">
                  <c:v>1149.4107</c:v>
                </c:pt>
                <c:pt idx="16">
                  <c:v>1191.8027</c:v>
                </c:pt>
                <c:pt idx="17">
                  <c:v>1155.8286</c:v>
                </c:pt>
                <c:pt idx="18">
                  <c:v>1166.5389</c:v>
                </c:pt>
                <c:pt idx="19">
                  <c:v>1241.8705</c:v>
                </c:pt>
                <c:pt idx="20">
                  <c:v>1234.2292</c:v>
                </c:pt>
                <c:pt idx="21">
                  <c:v>1089.6954</c:v>
                </c:pt>
                <c:pt idx="22">
                  <c:v>1203.3258</c:v>
                </c:pt>
                <c:pt idx="23">
                  <c:v>1198.4213</c:v>
                </c:pt>
                <c:pt idx="24">
                  <c:v>1176.2103</c:v>
                </c:pt>
                <c:pt idx="25">
                  <c:v>1176.0433</c:v>
                </c:pt>
                <c:pt idx="26">
                  <c:v>1192.2911</c:v>
                </c:pt>
                <c:pt idx="27">
                  <c:v>1191.1064</c:v>
                </c:pt>
                <c:pt idx="28">
                  <c:v>1237.1884</c:v>
                </c:pt>
                <c:pt idx="29">
                  <c:v>1238.2347</c:v>
                </c:pt>
                <c:pt idx="30">
                  <c:v>1235.1392</c:v>
                </c:pt>
                <c:pt idx="31">
                  <c:v>1220.5075</c:v>
                </c:pt>
                <c:pt idx="32">
                  <c:v>1240.6515</c:v>
                </c:pt>
                <c:pt idx="33">
                  <c:v>1237.6143</c:v>
                </c:pt>
                <c:pt idx="34">
                  <c:v>1245.0728</c:v>
                </c:pt>
                <c:pt idx="35">
                  <c:v>1266.4226</c:v>
                </c:pt>
                <c:pt idx="36">
                  <c:v>1274.9988</c:v>
                </c:pt>
                <c:pt idx="37">
                  <c:v>1267.3615</c:v>
                </c:pt>
                <c:pt idx="38">
                  <c:v>1270.0503</c:v>
                </c:pt>
                <c:pt idx="39">
                  <c:v>1238.4698</c:v>
                </c:pt>
                <c:pt idx="40">
                  <c:v>1266.1894</c:v>
                </c:pt>
                <c:pt idx="41">
                  <c:v>1289.9675</c:v>
                </c:pt>
                <c:pt idx="42">
                  <c:v>1282.2537</c:v>
                </c:pt>
                <c:pt idx="43">
                  <c:v>1291.4705</c:v>
                </c:pt>
                <c:pt idx="44">
                  <c:v>1219.8948</c:v>
                </c:pt>
                <c:pt idx="45">
                  <c:v>1184.8793</c:v>
                </c:pt>
                <c:pt idx="46">
                  <c:v>1182.9872</c:v>
                </c:pt>
                <c:pt idx="47">
                  <c:v>1162.7617</c:v>
                </c:pt>
                <c:pt idx="48">
                  <c:v>1147.8243</c:v>
                </c:pt>
                <c:pt idx="49">
                  <c:v>1156.9224</c:v>
                </c:pt>
                <c:pt idx="50">
                  <c:v>1116.4614</c:v>
                </c:pt>
                <c:pt idx="51">
                  <c:v>1094.5253</c:v>
                </c:pt>
              </c:numCache>
            </c:numRef>
          </c:xVal>
          <c:yVal>
            <c:numRef>
              <c:f>Sheet1!$B$109:$B$160</c:f>
              <c:numCache>
                <c:formatCode>General</c:formatCode>
                <c:ptCount val="52"/>
                <c:pt idx="0">
                  <c:v>0.17802485284499672</c:v>
                </c:pt>
                <c:pt idx="1">
                  <c:v>0.17281702961977452</c:v>
                </c:pt>
                <c:pt idx="2">
                  <c:v>0.19121979964643487</c:v>
                </c:pt>
                <c:pt idx="3">
                  <c:v>0.20584655418450432</c:v>
                </c:pt>
                <c:pt idx="4">
                  <c:v>0.1907154821727686</c:v>
                </c:pt>
                <c:pt idx="5">
                  <c:v>0.1865470261731862</c:v>
                </c:pt>
                <c:pt idx="6">
                  <c:v>0.1957534188576993</c:v>
                </c:pt>
                <c:pt idx="7">
                  <c:v>0.19280505867608522</c:v>
                </c:pt>
                <c:pt idx="8">
                  <c:v>0.18257041154062326</c:v>
                </c:pt>
                <c:pt idx="9">
                  <c:v>0.19004784140716763</c:v>
                </c:pt>
                <c:pt idx="10">
                  <c:v>0.19452803622208112</c:v>
                </c:pt>
                <c:pt idx="11">
                  <c:v>0.19565534334451087</c:v>
                </c:pt>
                <c:pt idx="12">
                  <c:v>0.19433398432904303</c:v>
                </c:pt>
                <c:pt idx="13">
                  <c:v>0.19587603827658231</c:v>
                </c:pt>
                <c:pt idx="14">
                  <c:v>0.19433897134967207</c:v>
                </c:pt>
                <c:pt idx="15">
                  <c:v>0.18689389213406682</c:v>
                </c:pt>
                <c:pt idx="16">
                  <c:v>0.1760687035086039</c:v>
                </c:pt>
                <c:pt idx="17">
                  <c:v>0.17739695871575167</c:v>
                </c:pt>
                <c:pt idx="18">
                  <c:v>0.17960259529602596</c:v>
                </c:pt>
                <c:pt idx="19">
                  <c:v>0.1812227074235808</c:v>
                </c:pt>
                <c:pt idx="20">
                  <c:v>0.16823110535685387</c:v>
                </c:pt>
                <c:pt idx="21">
                  <c:v>0.18844209005538165</c:v>
                </c:pt>
                <c:pt idx="22">
                  <c:v>0.16644015144160762</c:v>
                </c:pt>
                <c:pt idx="23">
                  <c:v>0.17566196611545096</c:v>
                </c:pt>
                <c:pt idx="24">
                  <c:v>0.18963132541613012</c:v>
                </c:pt>
                <c:pt idx="25">
                  <c:v>0.17986905892348443</c:v>
                </c:pt>
                <c:pt idx="26">
                  <c:v>0.17374981951196034</c:v>
                </c:pt>
                <c:pt idx="27">
                  <c:v>0.17513859275053306</c:v>
                </c:pt>
                <c:pt idx="28">
                  <c:v>0.16510977099838398</c:v>
                </c:pt>
                <c:pt idx="29">
                  <c:v>0.16586046511627908</c:v>
                </c:pt>
                <c:pt idx="30">
                  <c:v>0.17418667699457785</c:v>
                </c:pt>
                <c:pt idx="31">
                  <c:v>0.1685892228540482</c:v>
                </c:pt>
                <c:pt idx="32">
                  <c:v>0.16543958423559982</c:v>
                </c:pt>
                <c:pt idx="33">
                  <c:v>0.18127976309576213</c:v>
                </c:pt>
                <c:pt idx="34">
                  <c:v>0.20100297758971947</c:v>
                </c:pt>
                <c:pt idx="35">
                  <c:v>0.19222462203023757</c:v>
                </c:pt>
                <c:pt idx="36">
                  <c:v>0.17836587596148673</c:v>
                </c:pt>
                <c:pt idx="37">
                  <c:v>0.16997222357584912</c:v>
                </c:pt>
                <c:pt idx="38">
                  <c:v>0.1698518359458879</c:v>
                </c:pt>
                <c:pt idx="39">
                  <c:v>0.18550688671051</c:v>
                </c:pt>
                <c:pt idx="40">
                  <c:v>0.17479890572046874</c:v>
                </c:pt>
                <c:pt idx="41">
                  <c:v>0.17807064592751512</c:v>
                </c:pt>
                <c:pt idx="42">
                  <c:v>0.17420122365737595</c:v>
                </c:pt>
                <c:pt idx="43">
                  <c:v>0.17370469237448943</c:v>
                </c:pt>
                <c:pt idx="44">
                  <c:v>0.17378871696197118</c:v>
                </c:pt>
                <c:pt idx="45">
                  <c:v>0.19017245932275692</c:v>
                </c:pt>
                <c:pt idx="46">
                  <c:v>0.19968408262454435</c:v>
                </c:pt>
                <c:pt idx="47">
                  <c:v>0.19999542344568774</c:v>
                </c:pt>
                <c:pt idx="48">
                  <c:v>0.19529320987654322</c:v>
                </c:pt>
                <c:pt idx="49">
                  <c:v>0.20265524023602136</c:v>
                </c:pt>
                <c:pt idx="50">
                  <c:v>0.21063819791886876</c:v>
                </c:pt>
                <c:pt idx="51">
                  <c:v>0.1990822240243685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03.3028371059421</c:v>
                </c:pt>
              </c:numCache>
            </c:numRef>
          </c:xVal>
          <c:yVal>
            <c:numRef>
              <c:f>Sheet1!$B$163:$B$164</c:f>
              <c:numCache>
                <c:formatCode>General</c:formatCode>
                <c:ptCount val="2"/>
                <c:pt idx="0">
                  <c:v>0.23609206138432418</c:v>
                </c:pt>
                <c:pt idx="1">
                  <c:v>0.2360920613843241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03.3028371059421</c:v>
                </c:pt>
                <c:pt idx="1">
                  <c:v>803.3028371059421</c:v>
                </c:pt>
              </c:numCache>
            </c:numRef>
          </c:xVal>
          <c:yVal>
            <c:numRef>
              <c:f>Sheet1!$B$167:$B$168</c:f>
              <c:numCache>
                <c:formatCode>General</c:formatCode>
                <c:ptCount val="2"/>
                <c:pt idx="0">
                  <c:v>0.2360920613843241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58.8722094838085</c:v>
                </c:pt>
              </c:numCache>
            </c:numRef>
          </c:xVal>
          <c:yVal>
            <c:numRef>
              <c:f>Sheet1!$B$171:$B$172</c:f>
              <c:numCache>
                <c:formatCode>General</c:formatCode>
                <c:ptCount val="2"/>
                <c:pt idx="0">
                  <c:v>0.20191721801395046</c:v>
                </c:pt>
                <c:pt idx="1">
                  <c:v>0.2019172180139504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58.8722094838085</c:v>
                </c:pt>
                <c:pt idx="1">
                  <c:v>1058.8722094838085</c:v>
                </c:pt>
              </c:numCache>
            </c:numRef>
          </c:xVal>
          <c:yVal>
            <c:numRef>
              <c:f>Sheet1!$B$175:$B$176</c:f>
              <c:numCache>
                <c:formatCode>General</c:formatCode>
                <c:ptCount val="2"/>
                <c:pt idx="0">
                  <c:v>0.2019172180139504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5.1304080043649</c:v>
                </c:pt>
              </c:numCache>
            </c:numRef>
          </c:xVal>
          <c:yVal>
            <c:numRef>
              <c:f>Sheet1!$B$179:$B$180</c:f>
              <c:numCache>
                <c:formatCode>General</c:formatCode>
                <c:ptCount val="2"/>
                <c:pt idx="0">
                  <c:v>0.1890455314462401</c:v>
                </c:pt>
                <c:pt idx="1">
                  <c:v>0.189045531446240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5.1304080043649</c:v>
                </c:pt>
                <c:pt idx="1">
                  <c:v>1155.1304080043649</c:v>
                </c:pt>
              </c:numCache>
            </c:numRef>
          </c:xVal>
          <c:yVal>
            <c:numRef>
              <c:f>Sheet1!$B$183:$B$184</c:f>
              <c:numCache>
                <c:formatCode>General</c:formatCode>
                <c:ptCount val="2"/>
                <c:pt idx="0">
                  <c:v>0.189045531446240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87.3113</c:v>
                </c:pt>
                <c:pt idx="1">
                  <c:v>1205.9892</c:v>
                </c:pt>
                <c:pt idx="2">
                  <c:v>1198.2105</c:v>
                </c:pt>
                <c:pt idx="3">
                  <c:v>1171.3652</c:v>
                </c:pt>
                <c:pt idx="4">
                  <c:v>1182.2029</c:v>
                </c:pt>
                <c:pt idx="5">
                  <c:v>1187.2975</c:v>
                </c:pt>
                <c:pt idx="6">
                  <c:v>1118.0794</c:v>
                </c:pt>
                <c:pt idx="7">
                  <c:v>1139.9863</c:v>
                </c:pt>
                <c:pt idx="8">
                  <c:v>1185.7356</c:v>
                </c:pt>
                <c:pt idx="9">
                  <c:v>1126.6432</c:v>
                </c:pt>
                <c:pt idx="10">
                  <c:v>1147.6971</c:v>
                </c:pt>
                <c:pt idx="11">
                  <c:v>1070.2266</c:v>
                </c:pt>
                <c:pt idx="12">
                  <c:v>1103.7668</c:v>
                </c:pt>
                <c:pt idx="13">
                  <c:v>1128.5695</c:v>
                </c:pt>
                <c:pt idx="14">
                  <c:v>1134.3797</c:v>
                </c:pt>
                <c:pt idx="15">
                  <c:v>1149.4107</c:v>
                </c:pt>
                <c:pt idx="16">
                  <c:v>1191.8027</c:v>
                </c:pt>
                <c:pt idx="17">
                  <c:v>1155.8286</c:v>
                </c:pt>
                <c:pt idx="18">
                  <c:v>1166.5389</c:v>
                </c:pt>
                <c:pt idx="19">
                  <c:v>1241.8705</c:v>
                </c:pt>
                <c:pt idx="20">
                  <c:v>1234.2292</c:v>
                </c:pt>
                <c:pt idx="21">
                  <c:v>1089.6954</c:v>
                </c:pt>
                <c:pt idx="22">
                  <c:v>1203.3258</c:v>
                </c:pt>
                <c:pt idx="23">
                  <c:v>1198.4213</c:v>
                </c:pt>
                <c:pt idx="24">
                  <c:v>1176.2103</c:v>
                </c:pt>
                <c:pt idx="25">
                  <c:v>1176.0433</c:v>
                </c:pt>
                <c:pt idx="26">
                  <c:v>1192.2911</c:v>
                </c:pt>
                <c:pt idx="27">
                  <c:v>1191.1064</c:v>
                </c:pt>
                <c:pt idx="28">
                  <c:v>1237.1884</c:v>
                </c:pt>
                <c:pt idx="29">
                  <c:v>1238.2347</c:v>
                </c:pt>
                <c:pt idx="30">
                  <c:v>1235.1392</c:v>
                </c:pt>
                <c:pt idx="31">
                  <c:v>1220.5075</c:v>
                </c:pt>
                <c:pt idx="32">
                  <c:v>1240.6515</c:v>
                </c:pt>
                <c:pt idx="33">
                  <c:v>1237.6143</c:v>
                </c:pt>
                <c:pt idx="34">
                  <c:v>1245.0728</c:v>
                </c:pt>
                <c:pt idx="35">
                  <c:v>1266.4226</c:v>
                </c:pt>
                <c:pt idx="36">
                  <c:v>1274.9988</c:v>
                </c:pt>
                <c:pt idx="37">
                  <c:v>1267.3615</c:v>
                </c:pt>
                <c:pt idx="38">
                  <c:v>1270.0503</c:v>
                </c:pt>
                <c:pt idx="39">
                  <c:v>1238.4698</c:v>
                </c:pt>
                <c:pt idx="40">
                  <c:v>1266.1894</c:v>
                </c:pt>
                <c:pt idx="41">
                  <c:v>1289.9675</c:v>
                </c:pt>
                <c:pt idx="42">
                  <c:v>1282.2537</c:v>
                </c:pt>
                <c:pt idx="43">
                  <c:v>1291.4705</c:v>
                </c:pt>
                <c:pt idx="44">
                  <c:v>1219.8948</c:v>
                </c:pt>
                <c:pt idx="45">
                  <c:v>1184.8793</c:v>
                </c:pt>
                <c:pt idx="46">
                  <c:v>1182.9872</c:v>
                </c:pt>
                <c:pt idx="47">
                  <c:v>1162.7617</c:v>
                </c:pt>
                <c:pt idx="48">
                  <c:v>1147.8243</c:v>
                </c:pt>
                <c:pt idx="49">
                  <c:v>1156.9224</c:v>
                </c:pt>
                <c:pt idx="50">
                  <c:v>1116.4614</c:v>
                </c:pt>
                <c:pt idx="51">
                  <c:v>1094.5253</c:v>
                </c:pt>
                <c:pt idx="52">
                  <c:v>1058.8722094838085</c:v>
                </c:pt>
                <c:pt idx="53">
                  <c:v>803.3028371059421</c:v>
                </c:pt>
                <c:pt idx="54">
                  <c:v>1155.1304080043649</c:v>
                </c:pt>
              </c:numCache>
            </c:numRef>
          </c:xVal>
          <c:yVal>
            <c:numRef>
              <c:f>Sheet1!$B$187:$B$241</c:f>
              <c:numCache>
                <c:formatCode>General</c:formatCode>
                <c:ptCount val="55"/>
                <c:pt idx="0">
                  <c:v>0.18474228910840748</c:v>
                </c:pt>
                <c:pt idx="1">
                  <c:v>0.18224467250807505</c:v>
                </c:pt>
                <c:pt idx="2">
                  <c:v>0.1832848435256416</c:v>
                </c:pt>
                <c:pt idx="3">
                  <c:v>0.1868746082701206</c:v>
                </c:pt>
                <c:pt idx="4">
                  <c:v>0.18542538649307805</c:v>
                </c:pt>
                <c:pt idx="5">
                  <c:v>0.18474413445017956</c:v>
                </c:pt>
                <c:pt idx="6">
                  <c:v>0.1940000077337645</c:v>
                </c:pt>
                <c:pt idx="7">
                  <c:v>0.1910706079028508</c:v>
                </c:pt>
                <c:pt idx="8">
                  <c:v>0.1849529923714694</c:v>
                </c:pt>
                <c:pt idx="9">
                  <c:v>0.19285485281581724</c:v>
                </c:pt>
                <c:pt idx="10">
                  <c:v>0.19003951650168452</c:v>
                </c:pt>
                <c:pt idx="11">
                  <c:v>0.20039890416496867</c:v>
                </c:pt>
                <c:pt idx="12">
                  <c:v>0.1959138945922399</c:v>
                </c:pt>
                <c:pt idx="13">
                  <c:v>0.19259726717411124</c:v>
                </c:pt>
                <c:pt idx="14">
                  <c:v>0.19182032479990155</c:v>
                </c:pt>
                <c:pt idx="15">
                  <c:v>0.18981037319294375</c:v>
                </c:pt>
                <c:pt idx="16">
                  <c:v>0.18414169722180712</c:v>
                </c:pt>
                <c:pt idx="17">
                  <c:v>0.18895216892055372</c:v>
                </c:pt>
                <c:pt idx="18">
                  <c:v>0.18751998312479828</c:v>
                </c:pt>
                <c:pt idx="19">
                  <c:v>0.17744661006414353</c:v>
                </c:pt>
                <c:pt idx="20">
                  <c:v>0.1784684078962403</c:v>
                </c:pt>
                <c:pt idx="21">
                  <c:v>0.19779552808582956</c:v>
                </c:pt>
                <c:pt idx="22">
                  <c:v>0.18260082347008497</c:v>
                </c:pt>
                <c:pt idx="23">
                  <c:v>0.18325665526147109</c:v>
                </c:pt>
                <c:pt idx="24">
                  <c:v>0.1862267194715795</c:v>
                </c:pt>
                <c:pt idx="25">
                  <c:v>0.18624905078142992</c:v>
                </c:pt>
                <c:pt idx="26">
                  <c:v>0.18407638816952596</c:v>
                </c:pt>
                <c:pt idx="27">
                  <c:v>0.18423480674904583</c:v>
                </c:pt>
                <c:pt idx="28">
                  <c:v>0.17807270243450724</c:v>
                </c:pt>
                <c:pt idx="29">
                  <c:v>0.17793279076087543</c:v>
                </c:pt>
                <c:pt idx="30">
                  <c:v>0.17834672231561813</c:v>
                </c:pt>
                <c:pt idx="31">
                  <c:v>0.18030327935956228</c:v>
                </c:pt>
                <c:pt idx="32">
                  <c:v>0.17760961525400992</c:v>
                </c:pt>
                <c:pt idx="33">
                  <c:v>0.17801575090836771</c:v>
                </c:pt>
                <c:pt idx="34">
                  <c:v>0.17701839716873</c:v>
                </c:pt>
                <c:pt idx="35">
                  <c:v>0.17416349298283232</c:v>
                </c:pt>
                <c:pt idx="36">
                  <c:v>0.17301667993169859</c:v>
                </c:pt>
                <c:pt idx="37">
                  <c:v>0.1740379428821223</c:v>
                </c:pt>
                <c:pt idx="38">
                  <c:v>0.17367839542148839</c:v>
                </c:pt>
                <c:pt idx="39">
                  <c:v>0.17790135309054106</c:v>
                </c:pt>
                <c:pt idx="40">
                  <c:v>0.174194676584372</c:v>
                </c:pt>
                <c:pt idx="41">
                  <c:v>0.1710150591067988</c:v>
                </c:pt>
                <c:pt idx="42">
                  <c:v>0.17204655166921984</c:v>
                </c:pt>
                <c:pt idx="43">
                  <c:v>0.17081407731814482</c:v>
                </c:pt>
                <c:pt idx="44">
                  <c:v>0.18038520985983392</c:v>
                </c:pt>
                <c:pt idx="45">
                  <c:v>0.18506749716563065</c:v>
                </c:pt>
                <c:pt idx="46">
                  <c:v>0.18532050956903193</c:v>
                </c:pt>
                <c:pt idx="47">
                  <c:v>0.188025071888673</c:v>
                </c:pt>
                <c:pt idx="48">
                  <c:v>0.19002250726448108</c:v>
                </c:pt>
                <c:pt idx="49">
                  <c:v>0.18880590552705429</c:v>
                </c:pt>
                <c:pt idx="50">
                  <c:v>0.19421636737051906</c:v>
                </c:pt>
                <c:pt idx="51">
                  <c:v>0.19714967183764612</c:v>
                </c:pt>
                <c:pt idx="52">
                  <c:v>0.20191721801395046</c:v>
                </c:pt>
                <c:pt idx="53">
                  <c:v>0.23609206138432418</c:v>
                </c:pt>
                <c:pt idx="54">
                  <c:v>0.189045531446240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50.0"/>
          <c:min val="64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72528562742023"/>
          <c:min val="0.1210273009923761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4.1047</c:v>
                </c:pt>
                <c:pt idx="1">
                  <c:v>871.9001</c:v>
                </c:pt>
                <c:pt idx="2">
                  <c:v>898.2265</c:v>
                </c:pt>
                <c:pt idx="3">
                  <c:v>910.7331</c:v>
                </c:pt>
                <c:pt idx="4">
                  <c:v>904.1224</c:v>
                </c:pt>
                <c:pt idx="5">
                  <c:v>893.8169</c:v>
                </c:pt>
                <c:pt idx="6">
                  <c:v>858.8036</c:v>
                </c:pt>
                <c:pt idx="7">
                  <c:v>867.0558</c:v>
                </c:pt>
                <c:pt idx="8">
                  <c:v>868.809</c:v>
                </c:pt>
                <c:pt idx="9">
                  <c:v>842.1731</c:v>
                </c:pt>
                <c:pt idx="10">
                  <c:v>826.7434</c:v>
                </c:pt>
                <c:pt idx="11">
                  <c:v>861.1664</c:v>
                </c:pt>
                <c:pt idx="12">
                  <c:v>867.1068</c:v>
                </c:pt>
                <c:pt idx="13">
                  <c:v>868.5584</c:v>
                </c:pt>
                <c:pt idx="14">
                  <c:v>895.9741</c:v>
                </c:pt>
                <c:pt idx="15">
                  <c:v>914.0135</c:v>
                </c:pt>
                <c:pt idx="16">
                  <c:v>930.0587</c:v>
                </c:pt>
                <c:pt idx="17">
                  <c:v>919.9987</c:v>
                </c:pt>
                <c:pt idx="18">
                  <c:v>972.0593</c:v>
                </c:pt>
                <c:pt idx="19">
                  <c:v>990.7156</c:v>
                </c:pt>
                <c:pt idx="20">
                  <c:v>1014.1583</c:v>
                </c:pt>
                <c:pt idx="21">
                  <c:v>1027.6645</c:v>
                </c:pt>
                <c:pt idx="22">
                  <c:v>1008.3504</c:v>
                </c:pt>
                <c:pt idx="23">
                  <c:v>1004.1741</c:v>
                </c:pt>
                <c:pt idx="24">
                  <c:v>1013.5886</c:v>
                </c:pt>
                <c:pt idx="25">
                  <c:v>990.419</c:v>
                </c:pt>
                <c:pt idx="26">
                  <c:v>979.0327</c:v>
                </c:pt>
                <c:pt idx="27">
                  <c:v>996.4611</c:v>
                </c:pt>
                <c:pt idx="28">
                  <c:v>998.4049</c:v>
                </c:pt>
                <c:pt idx="29">
                  <c:v>987.1565</c:v>
                </c:pt>
                <c:pt idx="30">
                  <c:v>989.7549</c:v>
                </c:pt>
                <c:pt idx="31">
                  <c:v>975.2188</c:v>
                </c:pt>
                <c:pt idx="32">
                  <c:v>964.5709</c:v>
                </c:pt>
                <c:pt idx="33">
                  <c:v>921.5912</c:v>
                </c:pt>
                <c:pt idx="34">
                  <c:v>934.5094</c:v>
                </c:pt>
                <c:pt idx="35">
                  <c:v>965.3223</c:v>
                </c:pt>
                <c:pt idx="36">
                  <c:v>1025.9005</c:v>
                </c:pt>
                <c:pt idx="37">
                  <c:v>1045.4788</c:v>
                </c:pt>
                <c:pt idx="38">
                  <c:v>1082.9511</c:v>
                </c:pt>
                <c:pt idx="39">
                  <c:v>1108.7055</c:v>
                </c:pt>
                <c:pt idx="40">
                  <c:v>1106.815</c:v>
                </c:pt>
                <c:pt idx="41">
                  <c:v>1131.6485</c:v>
                </c:pt>
                <c:pt idx="42">
                  <c:v>1148.8976</c:v>
                </c:pt>
                <c:pt idx="43">
                  <c:v>1154.9292</c:v>
                </c:pt>
                <c:pt idx="44">
                  <c:v>1113.0708</c:v>
                </c:pt>
                <c:pt idx="45">
                  <c:v>1078.0761</c:v>
                </c:pt>
                <c:pt idx="46">
                  <c:v>1061.4059</c:v>
                </c:pt>
                <c:pt idx="47">
                  <c:v>1047.8382</c:v>
                </c:pt>
                <c:pt idx="48">
                  <c:v>1044.792</c:v>
                </c:pt>
                <c:pt idx="49">
                  <c:v>999.338</c:v>
                </c:pt>
                <c:pt idx="50">
                  <c:v>1004.3309</c:v>
                </c:pt>
                <c:pt idx="51">
                  <c:v>1014.8195</c:v>
                </c:pt>
                <c:pt idx="52">
                  <c:v>1016.3603</c:v>
                </c:pt>
                <c:pt idx="53">
                  <c:v>1111.8357</c:v>
                </c:pt>
                <c:pt idx="54">
                  <c:v>1105.4646</c:v>
                </c:pt>
                <c:pt idx="55">
                  <c:v>1118.4436</c:v>
                </c:pt>
                <c:pt idx="56">
                  <c:v>1124.8373</c:v>
                </c:pt>
                <c:pt idx="57">
                  <c:v>1102.1197</c:v>
                </c:pt>
                <c:pt idx="58">
                  <c:v>1081.0693</c:v>
                </c:pt>
                <c:pt idx="59">
                  <c:v>1077.478</c:v>
                </c:pt>
                <c:pt idx="60">
                  <c:v>1092.2519</c:v>
                </c:pt>
                <c:pt idx="61">
                  <c:v>1097.7472</c:v>
                </c:pt>
                <c:pt idx="62">
                  <c:v>1033.3266</c:v>
                </c:pt>
                <c:pt idx="63">
                  <c:v>1053.9903</c:v>
                </c:pt>
                <c:pt idx="64">
                  <c:v>1060.6227</c:v>
                </c:pt>
                <c:pt idx="65">
                  <c:v>1053.3096</c:v>
                </c:pt>
                <c:pt idx="66">
                  <c:v>1083.3464</c:v>
                </c:pt>
                <c:pt idx="67">
                  <c:v>1105.0394</c:v>
                </c:pt>
                <c:pt idx="68">
                  <c:v>1116.0063</c:v>
                </c:pt>
                <c:pt idx="69">
                  <c:v>1146.5405</c:v>
                </c:pt>
                <c:pt idx="70">
                  <c:v>1135.5569</c:v>
                </c:pt>
                <c:pt idx="71">
                  <c:v>1184.6456</c:v>
                </c:pt>
                <c:pt idx="72">
                  <c:v>1253.7753</c:v>
                </c:pt>
                <c:pt idx="73">
                  <c:v>1235.0861</c:v>
                </c:pt>
                <c:pt idx="74">
                  <c:v>1227.9679</c:v>
                </c:pt>
                <c:pt idx="75">
                  <c:v>1196.1969</c:v>
                </c:pt>
                <c:pt idx="76">
                  <c:v>1160.9117</c:v>
                </c:pt>
                <c:pt idx="77">
                  <c:v>1163.9833</c:v>
                </c:pt>
                <c:pt idx="78">
                  <c:v>1207.1764</c:v>
                </c:pt>
                <c:pt idx="79">
                  <c:v>1195.5859</c:v>
                </c:pt>
                <c:pt idx="80">
                  <c:v>1214.1439</c:v>
                </c:pt>
                <c:pt idx="81">
                  <c:v>1212.0495</c:v>
                </c:pt>
                <c:pt idx="82">
                  <c:v>1220.6117</c:v>
                </c:pt>
                <c:pt idx="83">
                  <c:v>1184.5929</c:v>
                </c:pt>
                <c:pt idx="84">
                  <c:v>1204.6501</c:v>
                </c:pt>
                <c:pt idx="85">
                  <c:v>1185.7867</c:v>
                </c:pt>
                <c:pt idx="86">
                  <c:v>1181.1099</c:v>
                </c:pt>
                <c:pt idx="87">
                  <c:v>1181.1963</c:v>
                </c:pt>
                <c:pt idx="88">
                  <c:v>1222.5552</c:v>
                </c:pt>
                <c:pt idx="89">
                  <c:v>1217.5926</c:v>
                </c:pt>
                <c:pt idx="90">
                  <c:v>1271.0298</c:v>
                </c:pt>
                <c:pt idx="91">
                  <c:v>1268.4142</c:v>
                </c:pt>
                <c:pt idx="92">
                  <c:v>1222.2023</c:v>
                </c:pt>
                <c:pt idx="93">
                  <c:v>1248.6531</c:v>
                </c:pt>
                <c:pt idx="94">
                  <c:v>1233.51</c:v>
                </c:pt>
                <c:pt idx="95">
                  <c:v>1198.1168</c:v>
                </c:pt>
                <c:pt idx="96">
                  <c:v>1150.1633</c:v>
                </c:pt>
                <c:pt idx="97">
                  <c:v>1148.0502</c:v>
                </c:pt>
                <c:pt idx="98">
                  <c:v>1130.0131</c:v>
                </c:pt>
                <c:pt idx="99">
                  <c:v>1100.8128</c:v>
                </c:pt>
                <c:pt idx="100">
                  <c:v>1087.9755</c:v>
                </c:pt>
                <c:pt idx="101">
                  <c:v>1123.3286</c:v>
                </c:pt>
                <c:pt idx="102">
                  <c:v>1145.7458</c:v>
                </c:pt>
                <c:pt idx="103">
                  <c:v>1119.9822</c:v>
                </c:pt>
                <c:pt idx="104">
                  <c:v>1148.4012</c:v>
                </c:pt>
              </c:numCache>
            </c:numRef>
          </c:xVal>
          <c:yVal>
            <c:numRef>
              <c:f>Sheet1!$B$2:$B$106</c:f>
              <c:numCache>
                <c:formatCode>General</c:formatCode>
                <c:ptCount val="105"/>
                <c:pt idx="0">
                  <c:v>0.23418296003728872</c:v>
                </c:pt>
                <c:pt idx="1">
                  <c:v>0.23165931366074022</c:v>
                </c:pt>
                <c:pt idx="2">
                  <c:v>0.23278705032349017</c:v>
                </c:pt>
                <c:pt idx="3">
                  <c:v>0.2333306651724966</c:v>
                </c:pt>
                <c:pt idx="4">
                  <c:v>0.24390852650297945</c:v>
                </c:pt>
                <c:pt idx="5">
                  <c:v>0.24548332427333483</c:v>
                </c:pt>
                <c:pt idx="6">
                  <c:v>0.2714250734573947</c:v>
                </c:pt>
                <c:pt idx="7">
                  <c:v>0.2720096286594216</c:v>
                </c:pt>
                <c:pt idx="8">
                  <c:v>0.26972618872368614</c:v>
                </c:pt>
                <c:pt idx="9">
                  <c:v>0.2604732837193745</c:v>
                </c:pt>
                <c:pt idx="10">
                  <c:v>0.2556938879776278</c:v>
                </c:pt>
                <c:pt idx="11">
                  <c:v>0.2384407146724418</c:v>
                </c:pt>
                <c:pt idx="12">
                  <c:v>0.22535420957296345</c:v>
                </c:pt>
                <c:pt idx="13">
                  <c:v>0.2139852513502285</c:v>
                </c:pt>
                <c:pt idx="14">
                  <c:v>0.19951765538574462</c:v>
                </c:pt>
                <c:pt idx="15">
                  <c:v>0.19060190073917635</c:v>
                </c:pt>
                <c:pt idx="16">
                  <c:v>0.18443732193732193</c:v>
                </c:pt>
                <c:pt idx="17">
                  <c:v>0.18215192345245068</c:v>
                </c:pt>
                <c:pt idx="18">
                  <c:v>0.16783307976526843</c:v>
                </c:pt>
                <c:pt idx="19">
                  <c:v>0.1664623557053836</c:v>
                </c:pt>
                <c:pt idx="20">
                  <c:v>0.1770842061164642</c:v>
                </c:pt>
                <c:pt idx="21">
                  <c:v>0.18135450625722999</c:v>
                </c:pt>
                <c:pt idx="22">
                  <c:v>0.19217118997912316</c:v>
                </c:pt>
                <c:pt idx="23">
                  <c:v>0.20130612244897958</c:v>
                </c:pt>
                <c:pt idx="24">
                  <c:v>0.20415400202634246</c:v>
                </c:pt>
                <c:pt idx="25">
                  <c:v>0.20853382804800277</c:v>
                </c:pt>
                <c:pt idx="26">
                  <c:v>0.22318810760763336</c:v>
                </c:pt>
                <c:pt idx="27">
                  <c:v>0.22061949590039479</c:v>
                </c:pt>
                <c:pt idx="28">
                  <c:v>0.22781491002570695</c:v>
                </c:pt>
                <c:pt idx="29">
                  <c:v>0.22411392120749293</c:v>
                </c:pt>
                <c:pt idx="30">
                  <c:v>0.22836372028617585</c:v>
                </c:pt>
                <c:pt idx="31">
                  <c:v>0.23155645524066576</c:v>
                </c:pt>
                <c:pt idx="32">
                  <c:v>0.2391124358337473</c:v>
                </c:pt>
                <c:pt idx="33">
                  <c:v>0.23732728936930655</c:v>
                </c:pt>
                <c:pt idx="34">
                  <c:v>0.2376046610332986</c:v>
                </c:pt>
                <c:pt idx="35">
                  <c:v>0.25597164957235835</c:v>
                </c:pt>
                <c:pt idx="36">
                  <c:v>0.2249256444150694</c:v>
                </c:pt>
                <c:pt idx="37">
                  <c:v>0.21881479338444476</c:v>
                </c:pt>
                <c:pt idx="38">
                  <c:v>0.20735478882767952</c:v>
                </c:pt>
                <c:pt idx="39">
                  <c:v>0.20157617317435136</c:v>
                </c:pt>
                <c:pt idx="40">
                  <c:v>0.2043353918846106</c:v>
                </c:pt>
                <c:pt idx="41">
                  <c:v>0.19930262433474033</c:v>
                </c:pt>
                <c:pt idx="42">
                  <c:v>0.19792563600782778</c:v>
                </c:pt>
                <c:pt idx="43">
                  <c:v>0.19148566463944397</c:v>
                </c:pt>
                <c:pt idx="44">
                  <c:v>0.18882872746876686</c:v>
                </c:pt>
                <c:pt idx="45">
                  <c:v>0.20146325946347152</c:v>
                </c:pt>
                <c:pt idx="46">
                  <c:v>0.20674221893734088</c:v>
                </c:pt>
                <c:pt idx="47">
                  <c:v>0.20248705097825404</c:v>
                </c:pt>
                <c:pt idx="48">
                  <c:v>0.20068823124569857</c:v>
                </c:pt>
                <c:pt idx="49">
                  <c:v>0.21421377913941334</c:v>
                </c:pt>
                <c:pt idx="50">
                  <c:v>0.20370295834171864</c:v>
                </c:pt>
                <c:pt idx="51">
                  <c:v>0.19657907167540958</c:v>
                </c:pt>
                <c:pt idx="52">
                  <c:v>0.1990873753591347</c:v>
                </c:pt>
                <c:pt idx="53">
                  <c:v>0.1924849250862364</c:v>
                </c:pt>
                <c:pt idx="54">
                  <c:v>0.19632599504300918</c:v>
                </c:pt>
                <c:pt idx="55">
                  <c:v>0.1932637372498579</c:v>
                </c:pt>
                <c:pt idx="56">
                  <c:v>0.1963961784980046</c:v>
                </c:pt>
                <c:pt idx="57">
                  <c:v>0.1902930783620869</c:v>
                </c:pt>
                <c:pt idx="58">
                  <c:v>0.2004390569819605</c:v>
                </c:pt>
                <c:pt idx="59">
                  <c:v>0.19565183241961073</c:v>
                </c:pt>
                <c:pt idx="60">
                  <c:v>0.1985710596539554</c:v>
                </c:pt>
                <c:pt idx="61">
                  <c:v>0.19782154510669264</c:v>
                </c:pt>
                <c:pt idx="62">
                  <c:v>0.21214106590154305</c:v>
                </c:pt>
                <c:pt idx="63">
                  <c:v>0.2160689782292584</c:v>
                </c:pt>
                <c:pt idx="64">
                  <c:v>0.2057314629258517</c:v>
                </c:pt>
                <c:pt idx="65">
                  <c:v>0.20019627085377822</c:v>
                </c:pt>
                <c:pt idx="66">
                  <c:v>0.1993405749644317</c:v>
                </c:pt>
                <c:pt idx="67">
                  <c:v>0.18906573406609092</c:v>
                </c:pt>
                <c:pt idx="68">
                  <c:v>0.1790146244498083</c:v>
                </c:pt>
                <c:pt idx="69">
                  <c:v>0.17184334908845375</c:v>
                </c:pt>
                <c:pt idx="70">
                  <c:v>0.17183179516644523</c:v>
                </c:pt>
                <c:pt idx="71">
                  <c:v>0.1720010810393421</c:v>
                </c:pt>
                <c:pt idx="72">
                  <c:v>0.1703549517966696</c:v>
                </c:pt>
                <c:pt idx="73">
                  <c:v>0.17289084055492948</c:v>
                </c:pt>
                <c:pt idx="74">
                  <c:v>0.1736186858238989</c:v>
                </c:pt>
                <c:pt idx="75">
                  <c:v>0.18380130535722108</c:v>
                </c:pt>
                <c:pt idx="76">
                  <c:v>0.1867787900023359</c:v>
                </c:pt>
                <c:pt idx="77">
                  <c:v>0.17921302316620913</c:v>
                </c:pt>
                <c:pt idx="78">
                  <c:v>0.183714055361462</c:v>
                </c:pt>
                <c:pt idx="79">
                  <c:v>0.16925569427237205</c:v>
                </c:pt>
                <c:pt idx="80">
                  <c:v>0.1642047079005051</c:v>
                </c:pt>
                <c:pt idx="81">
                  <c:v>0.1722029753413491</c:v>
                </c:pt>
                <c:pt idx="82">
                  <c:v>0.17136125654450263</c:v>
                </c:pt>
                <c:pt idx="83">
                  <c:v>0.17091711623344777</c:v>
                </c:pt>
                <c:pt idx="84">
                  <c:v>0.1731971525843392</c:v>
                </c:pt>
                <c:pt idx="85">
                  <c:v>0.1781016320069865</c:v>
                </c:pt>
                <c:pt idx="86">
                  <c:v>0.18914164143687096</c:v>
                </c:pt>
                <c:pt idx="87">
                  <c:v>0.20626872551279096</c:v>
                </c:pt>
                <c:pt idx="88">
                  <c:v>0.19925086345283846</c:v>
                </c:pt>
                <c:pt idx="89">
                  <c:v>0.18920077137347333</c:v>
                </c:pt>
                <c:pt idx="90">
                  <c:v>0.17882288228822882</c:v>
                </c:pt>
                <c:pt idx="91">
                  <c:v>0.17116303770578864</c:v>
                </c:pt>
                <c:pt idx="92">
                  <c:v>0.18376905390445372</c:v>
                </c:pt>
                <c:pt idx="93">
                  <c:v>0.17386494017374202</c:v>
                </c:pt>
                <c:pt idx="94">
                  <c:v>0.17872005918801442</c:v>
                </c:pt>
                <c:pt idx="95">
                  <c:v>0.18349928876244664</c:v>
                </c:pt>
                <c:pt idx="96">
                  <c:v>0.1838017571962526</c:v>
                </c:pt>
                <c:pt idx="97">
                  <c:v>0.18564141638622558</c:v>
                </c:pt>
                <c:pt idx="98">
                  <c:v>0.19047008859925313</c:v>
                </c:pt>
                <c:pt idx="99">
                  <c:v>0.19314582541492462</c:v>
                </c:pt>
                <c:pt idx="100">
                  <c:v>0.19683051921857891</c:v>
                </c:pt>
                <c:pt idx="101">
                  <c:v>0.19314315106433488</c:v>
                </c:pt>
                <c:pt idx="102">
                  <c:v>0.17887716504081227</c:v>
                </c:pt>
                <c:pt idx="103">
                  <c:v>0.1841797332085186</c:v>
                </c:pt>
                <c:pt idx="104">
                  <c:v>0.1828788495455162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95.6848</c:v>
                </c:pt>
                <c:pt idx="1">
                  <c:v>1198.9994</c:v>
                </c:pt>
                <c:pt idx="2">
                  <c:v>1210.5629</c:v>
                </c:pt>
                <c:pt idx="3">
                  <c:v>1199.603</c:v>
                </c:pt>
                <c:pt idx="4">
                  <c:v>1217.8573</c:v>
                </c:pt>
                <c:pt idx="5">
                  <c:v>1213.9471</c:v>
                </c:pt>
                <c:pt idx="6">
                  <c:v>1133.9565</c:v>
                </c:pt>
                <c:pt idx="7">
                  <c:v>1164.5555</c:v>
                </c:pt>
                <c:pt idx="8">
                  <c:v>1201.2923</c:v>
                </c:pt>
                <c:pt idx="9">
                  <c:v>1136.7634</c:v>
                </c:pt>
                <c:pt idx="10">
                  <c:v>1160.9751</c:v>
                </c:pt>
                <c:pt idx="11">
                  <c:v>1076.0515</c:v>
                </c:pt>
                <c:pt idx="12">
                  <c:v>1107.9836</c:v>
                </c:pt>
                <c:pt idx="13">
                  <c:v>1135.0708</c:v>
                </c:pt>
                <c:pt idx="14">
                  <c:v>1145.0448</c:v>
                </c:pt>
                <c:pt idx="15">
                  <c:v>1152.681</c:v>
                </c:pt>
                <c:pt idx="16">
                  <c:v>1202.9584</c:v>
                </c:pt>
                <c:pt idx="17">
                  <c:v>1161.3676</c:v>
                </c:pt>
                <c:pt idx="18">
                  <c:v>1174.7117</c:v>
                </c:pt>
                <c:pt idx="19">
                  <c:v>1255.5536</c:v>
                </c:pt>
                <c:pt idx="20">
                  <c:v>1241.1818</c:v>
                </c:pt>
                <c:pt idx="21">
                  <c:v>1182.4799</c:v>
                </c:pt>
                <c:pt idx="22">
                  <c:v>1207.6495</c:v>
                </c:pt>
                <c:pt idx="23">
                  <c:v>1197.7542</c:v>
                </c:pt>
                <c:pt idx="24">
                  <c:v>1194.7574</c:v>
                </c:pt>
                <c:pt idx="25">
                  <c:v>1180.9858</c:v>
                </c:pt>
                <c:pt idx="26">
                  <c:v>1195.4343</c:v>
                </c:pt>
                <c:pt idx="27">
                  <c:v>1200.8557</c:v>
                </c:pt>
                <c:pt idx="28">
                  <c:v>1239.3249</c:v>
                </c:pt>
                <c:pt idx="29">
                  <c:v>1245.4634</c:v>
                </c:pt>
                <c:pt idx="30">
                  <c:v>1236.1846</c:v>
                </c:pt>
                <c:pt idx="31">
                  <c:v>1222.3516</c:v>
                </c:pt>
                <c:pt idx="32">
                  <c:v>1238.381</c:v>
                </c:pt>
                <c:pt idx="33">
                  <c:v>1235.9333</c:v>
                </c:pt>
                <c:pt idx="34">
                  <c:v>1249.3299</c:v>
                </c:pt>
                <c:pt idx="35">
                  <c:v>1268.9072</c:v>
                </c:pt>
                <c:pt idx="36">
                  <c:v>1290.0027</c:v>
                </c:pt>
                <c:pt idx="37">
                  <c:v>1273.1904</c:v>
                </c:pt>
                <c:pt idx="38">
                  <c:v>1281.431</c:v>
                </c:pt>
                <c:pt idx="39">
                  <c:v>1247.9419</c:v>
                </c:pt>
                <c:pt idx="40">
                  <c:v>1274.4374</c:v>
                </c:pt>
                <c:pt idx="41">
                  <c:v>1296.8614</c:v>
                </c:pt>
                <c:pt idx="42">
                  <c:v>1292.6702</c:v>
                </c:pt>
                <c:pt idx="43">
                  <c:v>1302.0746</c:v>
                </c:pt>
                <c:pt idx="44">
                  <c:v>1228.3732</c:v>
                </c:pt>
                <c:pt idx="45">
                  <c:v>1191.7719</c:v>
                </c:pt>
                <c:pt idx="46">
                  <c:v>1187.7071</c:v>
                </c:pt>
                <c:pt idx="47">
                  <c:v>1166.1368</c:v>
                </c:pt>
                <c:pt idx="48">
                  <c:v>1151.4027</c:v>
                </c:pt>
                <c:pt idx="49">
                  <c:v>1160.7003</c:v>
                </c:pt>
                <c:pt idx="50">
                  <c:v>1117.3454</c:v>
                </c:pt>
                <c:pt idx="51">
                  <c:v>1097.8635</c:v>
                </c:pt>
              </c:numCache>
            </c:numRef>
          </c:xVal>
          <c:yVal>
            <c:numRef>
              <c:f>Sheet1!$B$109:$B$160</c:f>
              <c:numCache>
                <c:formatCode>General</c:formatCode>
                <c:ptCount val="52"/>
                <c:pt idx="0">
                  <c:v>0.1895009881422925</c:v>
                </c:pt>
                <c:pt idx="1">
                  <c:v>0.18778197460917007</c:v>
                </c:pt>
                <c:pt idx="2">
                  <c:v>0.20062526444454892</c:v>
                </c:pt>
                <c:pt idx="3">
                  <c:v>0.2109382344646047</c:v>
                </c:pt>
                <c:pt idx="4">
                  <c:v>0.19643423331138266</c:v>
                </c:pt>
                <c:pt idx="5">
                  <c:v>0.19497255978047826</c:v>
                </c:pt>
                <c:pt idx="6">
                  <c:v>0.20213940648723258</c:v>
                </c:pt>
                <c:pt idx="7">
                  <c:v>0.19750794499858407</c:v>
                </c:pt>
                <c:pt idx="8">
                  <c:v>0.18985678180286436</c:v>
                </c:pt>
                <c:pt idx="9">
                  <c:v>0.19953445065176909</c:v>
                </c:pt>
                <c:pt idx="10">
                  <c:v>0.20161601758607373</c:v>
                </c:pt>
                <c:pt idx="11">
                  <c:v>0.20536135246177678</c:v>
                </c:pt>
                <c:pt idx="12">
                  <c:v>0.2045144675049235</c:v>
                </c:pt>
                <c:pt idx="13">
                  <c:v>0.20614427991779521</c:v>
                </c:pt>
                <c:pt idx="14">
                  <c:v>0.20374727668845316</c:v>
                </c:pt>
                <c:pt idx="15">
                  <c:v>0.20129224652087474</c:v>
                </c:pt>
                <c:pt idx="16">
                  <c:v>0.19142342342342342</c:v>
                </c:pt>
                <c:pt idx="17">
                  <c:v>0.19288650850526157</c:v>
                </c:pt>
                <c:pt idx="18">
                  <c:v>0.19724100127900604</c:v>
                </c:pt>
                <c:pt idx="19">
                  <c:v>0.19699765179469977</c:v>
                </c:pt>
                <c:pt idx="20">
                  <c:v>0.1840305244055651</c:v>
                </c:pt>
                <c:pt idx="21">
                  <c:v>0.19424171024653755</c:v>
                </c:pt>
                <c:pt idx="22">
                  <c:v>0.19073538583659352</c:v>
                </c:pt>
                <c:pt idx="23">
                  <c:v>0.19870296798317363</c:v>
                </c:pt>
                <c:pt idx="24">
                  <c:v>0.19888425499647944</c:v>
                </c:pt>
                <c:pt idx="25">
                  <c:v>0.19659187730758307</c:v>
                </c:pt>
                <c:pt idx="26">
                  <c:v>0.19053030303030302</c:v>
                </c:pt>
                <c:pt idx="27">
                  <c:v>0.19100848163945677</c:v>
                </c:pt>
                <c:pt idx="28">
                  <c:v>0.18142673236560572</c:v>
                </c:pt>
                <c:pt idx="29">
                  <c:v>0.18295873151460146</c:v>
                </c:pt>
                <c:pt idx="30">
                  <c:v>0.19096874652430207</c:v>
                </c:pt>
                <c:pt idx="31">
                  <c:v>0.1822752604797674</c:v>
                </c:pt>
                <c:pt idx="32">
                  <c:v>0.17781783480012725</c:v>
                </c:pt>
                <c:pt idx="33">
                  <c:v>0.1965108041091038</c:v>
                </c:pt>
                <c:pt idx="34">
                  <c:v>0.21435682653026195</c:v>
                </c:pt>
                <c:pt idx="35">
                  <c:v>0.21057403057650306</c:v>
                </c:pt>
                <c:pt idx="36">
                  <c:v>0.1951282884053264</c:v>
                </c:pt>
                <c:pt idx="37">
                  <c:v>0.19675832127351664</c:v>
                </c:pt>
                <c:pt idx="38">
                  <c:v>0.19594594594594594</c:v>
                </c:pt>
                <c:pt idx="39">
                  <c:v>0.20339545691658367</c:v>
                </c:pt>
                <c:pt idx="40">
                  <c:v>0.19003562011379932</c:v>
                </c:pt>
                <c:pt idx="41">
                  <c:v>0.1933872088981578</c:v>
                </c:pt>
                <c:pt idx="42">
                  <c:v>0.19131495486704075</c:v>
                </c:pt>
                <c:pt idx="43">
                  <c:v>0.18496799799764008</c:v>
                </c:pt>
                <c:pt idx="44">
                  <c:v>0.1825501390718782</c:v>
                </c:pt>
                <c:pt idx="45">
                  <c:v>0.1977002885653237</c:v>
                </c:pt>
                <c:pt idx="46">
                  <c:v>0.2098371043113235</c:v>
                </c:pt>
                <c:pt idx="47">
                  <c:v>0.21031106704672203</c:v>
                </c:pt>
                <c:pt idx="48">
                  <c:v>0.20441701986204605</c:v>
                </c:pt>
                <c:pt idx="49">
                  <c:v>0.21285381785419324</c:v>
                </c:pt>
                <c:pt idx="50">
                  <c:v>0.21914104646980764</c:v>
                </c:pt>
                <c:pt idx="51">
                  <c:v>0.210663171014741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01.6273839627527</c:v>
                </c:pt>
              </c:numCache>
            </c:numRef>
          </c:xVal>
          <c:yVal>
            <c:numRef>
              <c:f>Sheet1!$B$163:$B$164</c:f>
              <c:numCache>
                <c:formatCode>General</c:formatCode>
                <c:ptCount val="2"/>
                <c:pt idx="0">
                  <c:v>0.2482791923123147</c:v>
                </c:pt>
                <c:pt idx="1">
                  <c:v>0.248279192312314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01.6273839627527</c:v>
                </c:pt>
                <c:pt idx="1">
                  <c:v>601.6273839627527</c:v>
                </c:pt>
              </c:numCache>
            </c:numRef>
          </c:xVal>
          <c:yVal>
            <c:numRef>
              <c:f>Sheet1!$B$167:$B$168</c:f>
              <c:numCache>
                <c:formatCode>General</c:formatCode>
                <c:ptCount val="2"/>
                <c:pt idx="0">
                  <c:v>0.24827919231231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30.6676908402665</c:v>
                </c:pt>
              </c:numCache>
            </c:numRef>
          </c:xVal>
          <c:yVal>
            <c:numRef>
              <c:f>Sheet1!$B$171:$B$172</c:f>
              <c:numCache>
                <c:formatCode>General</c:formatCode>
                <c:ptCount val="2"/>
                <c:pt idx="0">
                  <c:v>0.2117687638001972</c:v>
                </c:pt>
                <c:pt idx="1">
                  <c:v>0.211768763800197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30.6676908402665</c:v>
                </c:pt>
                <c:pt idx="1">
                  <c:v>1030.6676908402665</c:v>
                </c:pt>
              </c:numCache>
            </c:numRef>
          </c:xVal>
          <c:yVal>
            <c:numRef>
              <c:f>Sheet1!$B$175:$B$176</c:f>
              <c:numCache>
                <c:formatCode>General</c:formatCode>
                <c:ptCount val="2"/>
                <c:pt idx="0">
                  <c:v>0.211768763800197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9.4054232510846</c:v>
                </c:pt>
              </c:numCache>
            </c:numRef>
          </c:xVal>
          <c:yVal>
            <c:numRef>
              <c:f>Sheet1!$B$179:$B$180</c:f>
              <c:numCache>
                <c:formatCode>General</c:formatCode>
                <c:ptCount val="2"/>
                <c:pt idx="0">
                  <c:v>0.20081345330686598</c:v>
                </c:pt>
                <c:pt idx="1">
                  <c:v>0.2008134533068659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9.4054232510846</c:v>
                </c:pt>
                <c:pt idx="1">
                  <c:v>1159.4054232510846</c:v>
                </c:pt>
              </c:numCache>
            </c:numRef>
          </c:xVal>
          <c:yVal>
            <c:numRef>
              <c:f>Sheet1!$B$183:$B$184</c:f>
              <c:numCache>
                <c:formatCode>General</c:formatCode>
                <c:ptCount val="2"/>
                <c:pt idx="0">
                  <c:v>0.2008134533068659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95.6848</c:v>
                </c:pt>
                <c:pt idx="1">
                  <c:v>1198.9994</c:v>
                </c:pt>
                <c:pt idx="2">
                  <c:v>1210.5629</c:v>
                </c:pt>
                <c:pt idx="3">
                  <c:v>1199.603</c:v>
                </c:pt>
                <c:pt idx="4">
                  <c:v>1217.8573</c:v>
                </c:pt>
                <c:pt idx="5">
                  <c:v>1213.9471</c:v>
                </c:pt>
                <c:pt idx="6">
                  <c:v>1133.9565</c:v>
                </c:pt>
                <c:pt idx="7">
                  <c:v>1164.5555</c:v>
                </c:pt>
                <c:pt idx="8">
                  <c:v>1201.2923</c:v>
                </c:pt>
                <c:pt idx="9">
                  <c:v>1136.7634</c:v>
                </c:pt>
                <c:pt idx="10">
                  <c:v>1160.9751</c:v>
                </c:pt>
                <c:pt idx="11">
                  <c:v>1076.0515</c:v>
                </c:pt>
                <c:pt idx="12">
                  <c:v>1107.9836</c:v>
                </c:pt>
                <c:pt idx="13">
                  <c:v>1135.0708</c:v>
                </c:pt>
                <c:pt idx="14">
                  <c:v>1145.0448</c:v>
                </c:pt>
                <c:pt idx="15">
                  <c:v>1152.681</c:v>
                </c:pt>
                <c:pt idx="16">
                  <c:v>1202.9584</c:v>
                </c:pt>
                <c:pt idx="17">
                  <c:v>1161.3676</c:v>
                </c:pt>
                <c:pt idx="18">
                  <c:v>1174.7117</c:v>
                </c:pt>
                <c:pt idx="19">
                  <c:v>1255.5536</c:v>
                </c:pt>
                <c:pt idx="20">
                  <c:v>1241.1818</c:v>
                </c:pt>
                <c:pt idx="21">
                  <c:v>1182.4799</c:v>
                </c:pt>
                <c:pt idx="22">
                  <c:v>1207.6495</c:v>
                </c:pt>
                <c:pt idx="23">
                  <c:v>1197.7542</c:v>
                </c:pt>
                <c:pt idx="24">
                  <c:v>1194.7574</c:v>
                </c:pt>
                <c:pt idx="25">
                  <c:v>1180.9858</c:v>
                </c:pt>
                <c:pt idx="26">
                  <c:v>1195.4343</c:v>
                </c:pt>
                <c:pt idx="27">
                  <c:v>1200.8557</c:v>
                </c:pt>
                <c:pt idx="28">
                  <c:v>1239.3249</c:v>
                </c:pt>
                <c:pt idx="29">
                  <c:v>1245.4634</c:v>
                </c:pt>
                <c:pt idx="30">
                  <c:v>1236.1846</c:v>
                </c:pt>
                <c:pt idx="31">
                  <c:v>1222.3516</c:v>
                </c:pt>
                <c:pt idx="32">
                  <c:v>1238.381</c:v>
                </c:pt>
                <c:pt idx="33">
                  <c:v>1235.9333</c:v>
                </c:pt>
                <c:pt idx="34">
                  <c:v>1249.3299</c:v>
                </c:pt>
                <c:pt idx="35">
                  <c:v>1268.9072</c:v>
                </c:pt>
                <c:pt idx="36">
                  <c:v>1290.0027</c:v>
                </c:pt>
                <c:pt idx="37">
                  <c:v>1273.1904</c:v>
                </c:pt>
                <c:pt idx="38">
                  <c:v>1281.431</c:v>
                </c:pt>
                <c:pt idx="39">
                  <c:v>1247.9419</c:v>
                </c:pt>
                <c:pt idx="40">
                  <c:v>1274.4374</c:v>
                </c:pt>
                <c:pt idx="41">
                  <c:v>1296.8614</c:v>
                </c:pt>
                <c:pt idx="42">
                  <c:v>1292.6702</c:v>
                </c:pt>
                <c:pt idx="43">
                  <c:v>1302.0746</c:v>
                </c:pt>
                <c:pt idx="44">
                  <c:v>1228.3732</c:v>
                </c:pt>
                <c:pt idx="45">
                  <c:v>1191.7719</c:v>
                </c:pt>
                <c:pt idx="46">
                  <c:v>1187.7071</c:v>
                </c:pt>
                <c:pt idx="47">
                  <c:v>1166.1368</c:v>
                </c:pt>
                <c:pt idx="48">
                  <c:v>1151.4027</c:v>
                </c:pt>
                <c:pt idx="49">
                  <c:v>1160.7003</c:v>
                </c:pt>
                <c:pt idx="50">
                  <c:v>1117.3454</c:v>
                </c:pt>
                <c:pt idx="51">
                  <c:v>1097.8635</c:v>
                </c:pt>
                <c:pt idx="52">
                  <c:v>1030.6676908402665</c:v>
                </c:pt>
                <c:pt idx="53">
                  <c:v>601.6273839627527</c:v>
                </c:pt>
                <c:pt idx="54">
                  <c:v>1159.4054232510846</c:v>
                </c:pt>
              </c:numCache>
            </c:numRef>
          </c:xVal>
          <c:yVal>
            <c:numRef>
              <c:f>Sheet1!$B$187:$B$241</c:f>
              <c:numCache>
                <c:formatCode>General</c:formatCode>
                <c:ptCount val="55"/>
                <c:pt idx="0">
                  <c:v>0.19772615458452564</c:v>
                </c:pt>
                <c:pt idx="1">
                  <c:v>0.19744408908996405</c:v>
                </c:pt>
                <c:pt idx="2">
                  <c:v>0.19646005953998424</c:v>
                </c:pt>
                <c:pt idx="3">
                  <c:v>0.1973927239983942</c:v>
                </c:pt>
                <c:pt idx="4">
                  <c:v>0.19583932142874005</c:v>
                </c:pt>
                <c:pt idx="5">
                  <c:v>0.19617207123168298</c:v>
                </c:pt>
                <c:pt idx="6">
                  <c:v>0.20297910319610668</c:v>
                </c:pt>
                <c:pt idx="7">
                  <c:v>0.20037519259811892</c:v>
                </c:pt>
                <c:pt idx="8">
                  <c:v>0.1972489681183595</c:v>
                </c:pt>
                <c:pt idx="9">
                  <c:v>0.20274024190464318</c:v>
                </c:pt>
                <c:pt idx="10">
                  <c:v>0.20067987711411733</c:v>
                </c:pt>
                <c:pt idx="11">
                  <c:v>0.2079066970121295</c:v>
                </c:pt>
                <c:pt idx="12">
                  <c:v>0.20518934240557354</c:v>
                </c:pt>
                <c:pt idx="13">
                  <c:v>0.2028842786077431</c:v>
                </c:pt>
                <c:pt idx="14">
                  <c:v>0.20203551216752186</c:v>
                </c:pt>
                <c:pt idx="15">
                  <c:v>0.20138568759455036</c:v>
                </c:pt>
                <c:pt idx="16">
                  <c:v>0.19710718650957143</c:v>
                </c:pt>
                <c:pt idx="17">
                  <c:v>0.20064647618893316</c:v>
                </c:pt>
                <c:pt idx="18">
                  <c:v>0.19951092132078033</c:v>
                </c:pt>
                <c:pt idx="19">
                  <c:v>0.19263144551531391</c:v>
                </c:pt>
                <c:pt idx="20">
                  <c:v>0.19385445549381516</c:v>
                </c:pt>
                <c:pt idx="21">
                  <c:v>0.19884986382519915</c:v>
                </c:pt>
                <c:pt idx="22">
                  <c:v>0.19670798375764423</c:v>
                </c:pt>
                <c:pt idx="23">
                  <c:v>0.19755005299324893</c:v>
                </c:pt>
                <c:pt idx="24">
                  <c:v>0.19780507437564868</c:v>
                </c:pt>
                <c:pt idx="25">
                  <c:v>0.1989770085954352</c:v>
                </c:pt>
                <c:pt idx="26">
                  <c:v>0.1977474716081145</c:v>
                </c:pt>
                <c:pt idx="27">
                  <c:v>0.19728612186087013</c:v>
                </c:pt>
                <c:pt idx="28">
                  <c:v>0.1940124737816482</c:v>
                </c:pt>
                <c:pt idx="29">
                  <c:v>0.19349010033134761</c:v>
                </c:pt>
                <c:pt idx="30">
                  <c:v>0.1942797067124911</c:v>
                </c:pt>
                <c:pt idx="31">
                  <c:v>0.19545686594324913</c:v>
                </c:pt>
                <c:pt idx="32">
                  <c:v>0.19409279768809745</c:v>
                </c:pt>
                <c:pt idx="33">
                  <c:v>0.1943010918143988</c:v>
                </c:pt>
                <c:pt idx="34">
                  <c:v>0.19316106930657168</c:v>
                </c:pt>
                <c:pt idx="35">
                  <c:v>0.19149508221712475</c:v>
                </c:pt>
                <c:pt idx="36">
                  <c:v>0.18969989949808652</c:v>
                </c:pt>
                <c:pt idx="37">
                  <c:v>0.19113059089801954</c:v>
                </c:pt>
                <c:pt idx="38">
                  <c:v>0.19042933315515936</c:v>
                </c:pt>
                <c:pt idx="39">
                  <c:v>0.1932791851897707</c:v>
                </c:pt>
                <c:pt idx="40">
                  <c:v>0.19102447381851723</c:v>
                </c:pt>
                <c:pt idx="41">
                  <c:v>0.18911623854124418</c:v>
                </c:pt>
                <c:pt idx="42">
                  <c:v>0.18947290085368204</c:v>
                </c:pt>
                <c:pt idx="43">
                  <c:v>0.18867260617647966</c:v>
                </c:pt>
                <c:pt idx="44">
                  <c:v>0.19494444043728998</c:v>
                </c:pt>
                <c:pt idx="45">
                  <c:v>0.1980591341517947</c:v>
                </c:pt>
                <c:pt idx="46">
                  <c:v>0.1984050400898548</c:v>
                </c:pt>
                <c:pt idx="47">
                  <c:v>0.20024062729112857</c:v>
                </c:pt>
                <c:pt idx="48">
                  <c:v>0.20149446823827752</c:v>
                </c:pt>
                <c:pt idx="49">
                  <c:v>0.20070326201664118</c:v>
                </c:pt>
                <c:pt idx="50">
                  <c:v>0.20439267289884974</c:v>
                </c:pt>
                <c:pt idx="51">
                  <c:v>0.20605054164877418</c:v>
                </c:pt>
                <c:pt idx="52">
                  <c:v>0.2117687638001972</c:v>
                </c:pt>
                <c:pt idx="53">
                  <c:v>0.2482791923123147</c:v>
                </c:pt>
                <c:pt idx="54">
                  <c:v>0.2008134533068659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2.0"/>
          <c:min val="48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641155439130587"/>
          <c:min val="0.1313637663204040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6.7792</c:v>
                </c:pt>
                <c:pt idx="1">
                  <c:v>850.6845</c:v>
                </c:pt>
                <c:pt idx="2">
                  <c:v>874.5561</c:v>
                </c:pt>
                <c:pt idx="3">
                  <c:v>886.5982</c:v>
                </c:pt>
                <c:pt idx="4">
                  <c:v>870.1023</c:v>
                </c:pt>
                <c:pt idx="5">
                  <c:v>867.2944</c:v>
                </c:pt>
                <c:pt idx="6">
                  <c:v>847.3662</c:v>
                </c:pt>
                <c:pt idx="7">
                  <c:v>844.4321</c:v>
                </c:pt>
                <c:pt idx="8">
                  <c:v>836.4679</c:v>
                </c:pt>
                <c:pt idx="9">
                  <c:v>842.5889</c:v>
                </c:pt>
                <c:pt idx="10">
                  <c:v>850.9213</c:v>
                </c:pt>
                <c:pt idx="11">
                  <c:v>890.5118</c:v>
                </c:pt>
                <c:pt idx="12">
                  <c:v>899.8956</c:v>
                </c:pt>
                <c:pt idx="13">
                  <c:v>886.865</c:v>
                </c:pt>
                <c:pt idx="14">
                  <c:v>891.0649</c:v>
                </c:pt>
                <c:pt idx="15">
                  <c:v>898.7726</c:v>
                </c:pt>
                <c:pt idx="16">
                  <c:v>904.6196</c:v>
                </c:pt>
                <c:pt idx="17">
                  <c:v>923.2289</c:v>
                </c:pt>
                <c:pt idx="18">
                  <c:v>1043.1591</c:v>
                </c:pt>
                <c:pt idx="19">
                  <c:v>966.6261</c:v>
                </c:pt>
                <c:pt idx="20">
                  <c:v>951.4329</c:v>
                </c:pt>
                <c:pt idx="21">
                  <c:v>959.3111</c:v>
                </c:pt>
                <c:pt idx="22">
                  <c:v>926.1816</c:v>
                </c:pt>
                <c:pt idx="23">
                  <c:v>914.7657</c:v>
                </c:pt>
                <c:pt idx="24">
                  <c:v>902.8053</c:v>
                </c:pt>
                <c:pt idx="25">
                  <c:v>893.9048</c:v>
                </c:pt>
                <c:pt idx="26">
                  <c:v>904.691</c:v>
                </c:pt>
                <c:pt idx="27">
                  <c:v>948.9011</c:v>
                </c:pt>
                <c:pt idx="28">
                  <c:v>923.6051</c:v>
                </c:pt>
                <c:pt idx="29">
                  <c:v>751.8596</c:v>
                </c:pt>
                <c:pt idx="30">
                  <c:v>833.3225</c:v>
                </c:pt>
                <c:pt idx="31">
                  <c:v>856.1956</c:v>
                </c:pt>
                <c:pt idx="32">
                  <c:v>845.4176</c:v>
                </c:pt>
                <c:pt idx="33">
                  <c:v>755.1315</c:v>
                </c:pt>
                <c:pt idx="34">
                  <c:v>908.3252</c:v>
                </c:pt>
                <c:pt idx="35">
                  <c:v>916.4935</c:v>
                </c:pt>
                <c:pt idx="36">
                  <c:v>998.6525</c:v>
                </c:pt>
                <c:pt idx="37">
                  <c:v>1003.7689</c:v>
                </c:pt>
                <c:pt idx="38">
                  <c:v>1047.4482</c:v>
                </c:pt>
                <c:pt idx="39">
                  <c:v>1091.2633</c:v>
                </c:pt>
                <c:pt idx="40">
                  <c:v>1093.5677</c:v>
                </c:pt>
                <c:pt idx="41">
                  <c:v>1101.7663</c:v>
                </c:pt>
                <c:pt idx="42">
                  <c:v>1112.8943</c:v>
                </c:pt>
                <c:pt idx="43">
                  <c:v>1114.1005</c:v>
                </c:pt>
                <c:pt idx="44">
                  <c:v>1032.2769</c:v>
                </c:pt>
                <c:pt idx="45">
                  <c:v>1011.0033</c:v>
                </c:pt>
                <c:pt idx="46">
                  <c:v>997.0938</c:v>
                </c:pt>
                <c:pt idx="47">
                  <c:v>1005.3836</c:v>
                </c:pt>
                <c:pt idx="48">
                  <c:v>993.7249</c:v>
                </c:pt>
                <c:pt idx="49">
                  <c:v>938.563</c:v>
                </c:pt>
                <c:pt idx="50">
                  <c:v>938.406</c:v>
                </c:pt>
                <c:pt idx="51">
                  <c:v>933.2998</c:v>
                </c:pt>
                <c:pt idx="52">
                  <c:v>907.5156</c:v>
                </c:pt>
                <c:pt idx="53">
                  <c:v>1015.1845</c:v>
                </c:pt>
                <c:pt idx="54">
                  <c:v>973.1492</c:v>
                </c:pt>
                <c:pt idx="55">
                  <c:v>1025.176</c:v>
                </c:pt>
                <c:pt idx="56">
                  <c:v>939.811</c:v>
                </c:pt>
                <c:pt idx="57">
                  <c:v>995.7009</c:v>
                </c:pt>
                <c:pt idx="58">
                  <c:v>945.953</c:v>
                </c:pt>
                <c:pt idx="59">
                  <c:v>990.5743</c:v>
                </c:pt>
                <c:pt idx="60">
                  <c:v>1038.2464</c:v>
                </c:pt>
                <c:pt idx="61">
                  <c:v>970.2124</c:v>
                </c:pt>
                <c:pt idx="62">
                  <c:v>919.2749</c:v>
                </c:pt>
                <c:pt idx="63">
                  <c:v>1007.1789</c:v>
                </c:pt>
                <c:pt idx="64">
                  <c:v>1041.8156</c:v>
                </c:pt>
                <c:pt idx="65">
                  <c:v>971.4927</c:v>
                </c:pt>
                <c:pt idx="66">
                  <c:v>1049.046</c:v>
                </c:pt>
                <c:pt idx="67">
                  <c:v>958.0574</c:v>
                </c:pt>
                <c:pt idx="68">
                  <c:v>1003.4835</c:v>
                </c:pt>
                <c:pt idx="69">
                  <c:v>1011.901</c:v>
                </c:pt>
                <c:pt idx="70">
                  <c:v>1010.7242</c:v>
                </c:pt>
                <c:pt idx="71">
                  <c:v>980.036</c:v>
                </c:pt>
                <c:pt idx="72">
                  <c:v>1087.1646</c:v>
                </c:pt>
                <c:pt idx="73">
                  <c:v>1139.3844</c:v>
                </c:pt>
                <c:pt idx="74">
                  <c:v>1147.6607</c:v>
                </c:pt>
                <c:pt idx="75">
                  <c:v>1112.887</c:v>
                </c:pt>
                <c:pt idx="76">
                  <c:v>1134.3668</c:v>
                </c:pt>
                <c:pt idx="77">
                  <c:v>982.8471</c:v>
                </c:pt>
                <c:pt idx="78">
                  <c:v>1075.0902</c:v>
                </c:pt>
                <c:pt idx="79">
                  <c:v>1118.1735</c:v>
                </c:pt>
                <c:pt idx="80">
                  <c:v>1005.9818</c:v>
                </c:pt>
                <c:pt idx="81">
                  <c:v>997.835</c:v>
                </c:pt>
                <c:pt idx="82">
                  <c:v>1015.3202</c:v>
                </c:pt>
                <c:pt idx="83">
                  <c:v>1118.4013</c:v>
                </c:pt>
                <c:pt idx="84">
                  <c:v>1075.6366</c:v>
                </c:pt>
                <c:pt idx="85">
                  <c:v>1084.991</c:v>
                </c:pt>
                <c:pt idx="86">
                  <c:v>1112.7317</c:v>
                </c:pt>
                <c:pt idx="87">
                  <c:v>1129.7534</c:v>
                </c:pt>
                <c:pt idx="88">
                  <c:v>1133.7804</c:v>
                </c:pt>
                <c:pt idx="89">
                  <c:v>1087.8747</c:v>
                </c:pt>
                <c:pt idx="90">
                  <c:v>1147.6967</c:v>
                </c:pt>
                <c:pt idx="91">
                  <c:v>1156.7806</c:v>
                </c:pt>
                <c:pt idx="92">
                  <c:v>1126.4915</c:v>
                </c:pt>
                <c:pt idx="93">
                  <c:v>1138.1964</c:v>
                </c:pt>
                <c:pt idx="94">
                  <c:v>1154.9826</c:v>
                </c:pt>
                <c:pt idx="95">
                  <c:v>1144.6959</c:v>
                </c:pt>
                <c:pt idx="96">
                  <c:v>1088.659</c:v>
                </c:pt>
                <c:pt idx="97">
                  <c:v>1103.4413</c:v>
                </c:pt>
                <c:pt idx="98">
                  <c:v>1082.9455</c:v>
                </c:pt>
                <c:pt idx="99">
                  <c:v>1017.8109</c:v>
                </c:pt>
                <c:pt idx="100">
                  <c:v>1043.5071</c:v>
                </c:pt>
                <c:pt idx="101">
                  <c:v>1036.7912</c:v>
                </c:pt>
                <c:pt idx="102">
                  <c:v>1069.6267</c:v>
                </c:pt>
                <c:pt idx="103">
                  <c:v>1001.2545</c:v>
                </c:pt>
                <c:pt idx="104">
                  <c:v>1074.468</c:v>
                </c:pt>
              </c:numCache>
            </c:numRef>
          </c:xVal>
          <c:yVal>
            <c:numRef>
              <c:f>Sheet1!$B$2:$B$106</c:f>
              <c:numCache>
                <c:formatCode>General</c:formatCode>
                <c:ptCount val="105"/>
                <c:pt idx="0">
                  <c:v>0.21933998465080584</c:v>
                </c:pt>
                <c:pt idx="1">
                  <c:v>0.19069952305246424</c:v>
                </c:pt>
                <c:pt idx="2">
                  <c:v>0.15764636484294353</c:v>
                </c:pt>
                <c:pt idx="3">
                  <c:v>0.16243731955629845</c:v>
                </c:pt>
                <c:pt idx="4">
                  <c:v>0.14980252021816814</c:v>
                </c:pt>
                <c:pt idx="5">
                  <c:v>0.14439676678974153</c:v>
                </c:pt>
                <c:pt idx="6">
                  <c:v>0.17270362217330398</c:v>
                </c:pt>
                <c:pt idx="7">
                  <c:v>0.1611933116805004</c:v>
                </c:pt>
                <c:pt idx="8">
                  <c:v>0.16048295811847565</c:v>
                </c:pt>
                <c:pt idx="9">
                  <c:v>0.16180371352785147</c:v>
                </c:pt>
                <c:pt idx="10">
                  <c:v>0.1695104895104895</c:v>
                </c:pt>
                <c:pt idx="11">
                  <c:v>0.16044707186403104</c:v>
                </c:pt>
                <c:pt idx="12">
                  <c:v>0.17437842393594605</c:v>
                </c:pt>
                <c:pt idx="13">
                  <c:v>0.17121418826739426</c:v>
                </c:pt>
                <c:pt idx="14">
                  <c:v>0.16830610203401133</c:v>
                </c:pt>
                <c:pt idx="15">
                  <c:v>0.17840076457470533</c:v>
                </c:pt>
                <c:pt idx="16">
                  <c:v>0.17441151359921941</c:v>
                </c:pt>
                <c:pt idx="17">
                  <c:v>0.15169811320754717</c:v>
                </c:pt>
                <c:pt idx="18">
                  <c:v>0.18800603815013037</c:v>
                </c:pt>
                <c:pt idx="19">
                  <c:v>0.15099472878762116</c:v>
                </c:pt>
                <c:pt idx="20">
                  <c:v>0.1602972399150743</c:v>
                </c:pt>
                <c:pt idx="21">
                  <c:v>0.14950166112956811</c:v>
                </c:pt>
                <c:pt idx="22">
                  <c:v>0.16251388668465322</c:v>
                </c:pt>
                <c:pt idx="23">
                  <c:v>0.17288135593220338</c:v>
                </c:pt>
                <c:pt idx="24">
                  <c:v>0.17027070318757007</c:v>
                </c:pt>
                <c:pt idx="25">
                  <c:v>0.17125770206596594</c:v>
                </c:pt>
                <c:pt idx="26">
                  <c:v>0.1599651871192341</c:v>
                </c:pt>
                <c:pt idx="27">
                  <c:v>0.1438143487497957</c:v>
                </c:pt>
                <c:pt idx="28">
                  <c:v>0.14381698928171494</c:v>
                </c:pt>
                <c:pt idx="29">
                  <c:v>0.1795017793594306</c:v>
                </c:pt>
                <c:pt idx="30">
                  <c:v>0.16601598810187768</c:v>
                </c:pt>
                <c:pt idx="31">
                  <c:v>0.15304406323578876</c:v>
                </c:pt>
                <c:pt idx="32">
                  <c:v>0.15442820292347378</c:v>
                </c:pt>
                <c:pt idx="33">
                  <c:v>0.18454237288135594</c:v>
                </c:pt>
                <c:pt idx="34">
                  <c:v>0.16421982590619721</c:v>
                </c:pt>
                <c:pt idx="35">
                  <c:v>0.17924424369285005</c:v>
                </c:pt>
                <c:pt idx="36">
                  <c:v>0.12554861018752494</c:v>
                </c:pt>
                <c:pt idx="37">
                  <c:v>0.11342069588793494</c:v>
                </c:pt>
                <c:pt idx="38">
                  <c:v>0.10565255992897307</c:v>
                </c:pt>
                <c:pt idx="39">
                  <c:v>0.09131030284583777</c:v>
                </c:pt>
                <c:pt idx="40">
                  <c:v>0.09518229166666667</c:v>
                </c:pt>
                <c:pt idx="41">
                  <c:v>0.07959518599562364</c:v>
                </c:pt>
                <c:pt idx="42">
                  <c:v>0.07896592244418331</c:v>
                </c:pt>
                <c:pt idx="43">
                  <c:v>0.08313436075537226</c:v>
                </c:pt>
                <c:pt idx="44">
                  <c:v>0.0948153674002238</c:v>
                </c:pt>
                <c:pt idx="45">
                  <c:v>0.10679405520169852</c:v>
                </c:pt>
                <c:pt idx="46">
                  <c:v>0.1124546553808948</c:v>
                </c:pt>
                <c:pt idx="47">
                  <c:v>0.09760262725779967</c:v>
                </c:pt>
                <c:pt idx="48">
                  <c:v>0.11852334854792597</c:v>
                </c:pt>
                <c:pt idx="49">
                  <c:v>0.1411543287327478</c:v>
                </c:pt>
                <c:pt idx="50">
                  <c:v>0.11621983914209115</c:v>
                </c:pt>
                <c:pt idx="51">
                  <c:v>0.10727411944869832</c:v>
                </c:pt>
                <c:pt idx="52">
                  <c:v>0.12376336232653874</c:v>
                </c:pt>
                <c:pt idx="53">
                  <c:v>0.10119471477173828</c:v>
                </c:pt>
                <c:pt idx="54">
                  <c:v>0.09513160158265956</c:v>
                </c:pt>
                <c:pt idx="55">
                  <c:v>0.08154694198967538</c:v>
                </c:pt>
                <c:pt idx="56">
                  <c:v>0.10031152647975078</c:v>
                </c:pt>
                <c:pt idx="57">
                  <c:v>0.08788449466415568</c:v>
                </c:pt>
                <c:pt idx="58">
                  <c:v>0.10770174900276158</c:v>
                </c:pt>
                <c:pt idx="59">
                  <c:v>0.10466289866774324</c:v>
                </c:pt>
                <c:pt idx="60">
                  <c:v>0.10296017855045225</c:v>
                </c:pt>
                <c:pt idx="61">
                  <c:v>0.12066169315601687</c:v>
                </c:pt>
                <c:pt idx="62">
                  <c:v>0.13740396927016646</c:v>
                </c:pt>
                <c:pt idx="63">
                  <c:v>0.14054501656127671</c:v>
                </c:pt>
                <c:pt idx="64">
                  <c:v>0.13665172360488484</c:v>
                </c:pt>
                <c:pt idx="65">
                  <c:v>0.14332612699175273</c:v>
                </c:pt>
                <c:pt idx="66">
                  <c:v>0.1478063785008904</c:v>
                </c:pt>
                <c:pt idx="67">
                  <c:v>0.12599882244091176</c:v>
                </c:pt>
                <c:pt idx="68">
                  <c:v>0.10524279357709422</c:v>
                </c:pt>
                <c:pt idx="69">
                  <c:v>0.08815461346633416</c:v>
                </c:pt>
                <c:pt idx="70">
                  <c:v>0.07558816678313533</c:v>
                </c:pt>
                <c:pt idx="71">
                  <c:v>0.0945140493857195</c:v>
                </c:pt>
                <c:pt idx="72">
                  <c:v>0.08501304244723737</c:v>
                </c:pt>
                <c:pt idx="73">
                  <c:v>0.07700810611643331</c:v>
                </c:pt>
                <c:pt idx="74">
                  <c:v>0.10190574004336414</c:v>
                </c:pt>
                <c:pt idx="75">
                  <c:v>0.07303763816986147</c:v>
                </c:pt>
                <c:pt idx="76">
                  <c:v>0.07546002783361683</c:v>
                </c:pt>
                <c:pt idx="77">
                  <c:v>0.12511387792286668</c:v>
                </c:pt>
                <c:pt idx="78">
                  <c:v>0.08982630272952853</c:v>
                </c:pt>
                <c:pt idx="79">
                  <c:v>0.06466188843876597</c:v>
                </c:pt>
                <c:pt idx="80">
                  <c:v>0.09342186534898085</c:v>
                </c:pt>
                <c:pt idx="81">
                  <c:v>0.11085887249337874</c:v>
                </c:pt>
                <c:pt idx="82">
                  <c:v>0.07975460122699386</c:v>
                </c:pt>
                <c:pt idx="83">
                  <c:v>0.058746492048643593</c:v>
                </c:pt>
                <c:pt idx="84">
                  <c:v>0.06811881188118812</c:v>
                </c:pt>
                <c:pt idx="85">
                  <c:v>0.07900838237916889</c:v>
                </c:pt>
                <c:pt idx="86">
                  <c:v>0.09780490972853617</c:v>
                </c:pt>
                <c:pt idx="87">
                  <c:v>0.09620453347390617</c:v>
                </c:pt>
                <c:pt idx="88">
                  <c:v>0.0937597503900156</c:v>
                </c:pt>
                <c:pt idx="89">
                  <c:v>0.066963521150882</c:v>
                </c:pt>
                <c:pt idx="90">
                  <c:v>0.06942709262894878</c:v>
                </c:pt>
                <c:pt idx="91">
                  <c:v>0.06394779771615008</c:v>
                </c:pt>
                <c:pt idx="92">
                  <c:v>0.08662573411639082</c:v>
                </c:pt>
                <c:pt idx="93">
                  <c:v>0.06516912628966959</c:v>
                </c:pt>
                <c:pt idx="94">
                  <c:v>0.07128498531003556</c:v>
                </c:pt>
                <c:pt idx="95">
                  <c:v>0.07427800876502978</c:v>
                </c:pt>
                <c:pt idx="96">
                  <c:v>0.0725052758516732</c:v>
                </c:pt>
                <c:pt idx="97">
                  <c:v>0.08172219936925819</c:v>
                </c:pt>
                <c:pt idx="98">
                  <c:v>0.09627070177528893</c:v>
                </c:pt>
                <c:pt idx="99">
                  <c:v>0.10277647549096212</c:v>
                </c:pt>
                <c:pt idx="100">
                  <c:v>0.11401326699834162</c:v>
                </c:pt>
                <c:pt idx="101">
                  <c:v>0.094896331738437</c:v>
                </c:pt>
                <c:pt idx="102">
                  <c:v>0.07788606291102132</c:v>
                </c:pt>
                <c:pt idx="103">
                  <c:v>0.08471602953000512</c:v>
                </c:pt>
                <c:pt idx="104">
                  <c:v>0.0845882454177781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88.2856</c:v>
                </c:pt>
                <c:pt idx="1">
                  <c:v>1063.4825</c:v>
                </c:pt>
                <c:pt idx="2">
                  <c:v>1063.6416</c:v>
                </c:pt>
                <c:pt idx="3">
                  <c:v>1017.8923</c:v>
                </c:pt>
                <c:pt idx="4">
                  <c:v>1055.4068</c:v>
                </c:pt>
                <c:pt idx="5">
                  <c:v>1081.5758</c:v>
                </c:pt>
                <c:pt idx="6">
                  <c:v>990.3188</c:v>
                </c:pt>
                <c:pt idx="7">
                  <c:v>1046.1724</c:v>
                </c:pt>
                <c:pt idx="8">
                  <c:v>1108.8925</c:v>
                </c:pt>
                <c:pt idx="9">
                  <c:v>1079.0117</c:v>
                </c:pt>
                <c:pt idx="10">
                  <c:v>1093.4752</c:v>
                </c:pt>
                <c:pt idx="11">
                  <c:v>995.388</c:v>
                </c:pt>
                <c:pt idx="12">
                  <c:v>1033.7307</c:v>
                </c:pt>
                <c:pt idx="13">
                  <c:v>1078.0218</c:v>
                </c:pt>
                <c:pt idx="14">
                  <c:v>1066.305</c:v>
                </c:pt>
                <c:pt idx="15">
                  <c:v>1105.8022</c:v>
                </c:pt>
                <c:pt idx="16">
                  <c:v>1078.7069</c:v>
                </c:pt>
                <c:pt idx="17">
                  <c:v>1116.2664</c:v>
                </c:pt>
                <c:pt idx="18">
                  <c:v>968.263</c:v>
                </c:pt>
                <c:pt idx="19">
                  <c:v>1165.0323</c:v>
                </c:pt>
                <c:pt idx="20">
                  <c:v>1118.6048</c:v>
                </c:pt>
                <c:pt idx="21">
                  <c:v>1137.8798</c:v>
                </c:pt>
                <c:pt idx="22">
                  <c:v>1163.6796</c:v>
                </c:pt>
                <c:pt idx="23">
                  <c:v>1104.5773</c:v>
                </c:pt>
                <c:pt idx="24">
                  <c:v>1143.0575</c:v>
                </c:pt>
                <c:pt idx="25">
                  <c:v>1081.7633</c:v>
                </c:pt>
                <c:pt idx="26">
                  <c:v>1107.2239</c:v>
                </c:pt>
                <c:pt idx="27">
                  <c:v>1123.328</c:v>
                </c:pt>
                <c:pt idx="28">
                  <c:v>1052.5108</c:v>
                </c:pt>
                <c:pt idx="29">
                  <c:v>1084.9799</c:v>
                </c:pt>
                <c:pt idx="30">
                  <c:v>1067.6779</c:v>
                </c:pt>
                <c:pt idx="31">
                  <c:v>973.8568</c:v>
                </c:pt>
                <c:pt idx="32">
                  <c:v>1016.2229</c:v>
                </c:pt>
                <c:pt idx="33">
                  <c:v>1044.2662</c:v>
                </c:pt>
                <c:pt idx="34">
                  <c:v>1082.1673</c:v>
                </c:pt>
                <c:pt idx="35">
                  <c:v>1084.2721</c:v>
                </c:pt>
                <c:pt idx="36">
                  <c:v>986.2426</c:v>
                </c:pt>
                <c:pt idx="37">
                  <c:v>1123.4275</c:v>
                </c:pt>
                <c:pt idx="38">
                  <c:v>1107.6686</c:v>
                </c:pt>
                <c:pt idx="39">
                  <c:v>1103.436</c:v>
                </c:pt>
                <c:pt idx="40">
                  <c:v>1177.9532</c:v>
                </c:pt>
                <c:pt idx="41">
                  <c:v>1133.1763</c:v>
                </c:pt>
                <c:pt idx="42">
                  <c:v>1183.6421</c:v>
                </c:pt>
                <c:pt idx="43">
                  <c:v>1209.4714</c:v>
                </c:pt>
                <c:pt idx="44">
                  <c:v>1164.9411</c:v>
                </c:pt>
                <c:pt idx="45">
                  <c:v>1116.5788</c:v>
                </c:pt>
                <c:pt idx="46">
                  <c:v>1135.6351</c:v>
                </c:pt>
                <c:pt idx="47">
                  <c:v>1106.0904</c:v>
                </c:pt>
                <c:pt idx="48">
                  <c:v>1086.0204</c:v>
                </c:pt>
                <c:pt idx="49">
                  <c:v>1124.6404</c:v>
                </c:pt>
                <c:pt idx="50">
                  <c:v>1004.1653</c:v>
                </c:pt>
                <c:pt idx="51">
                  <c:v>974.8064</c:v>
                </c:pt>
              </c:numCache>
            </c:numRef>
          </c:xVal>
          <c:yVal>
            <c:numRef>
              <c:f>Sheet1!$B$109:$B$160</c:f>
              <c:numCache>
                <c:formatCode>General</c:formatCode>
                <c:ptCount val="52"/>
                <c:pt idx="0">
                  <c:v>0.08490269930947897</c:v>
                </c:pt>
                <c:pt idx="1">
                  <c:v>0.08445834705301285</c:v>
                </c:pt>
                <c:pt idx="2">
                  <c:v>0.08606979826240613</c:v>
                </c:pt>
                <c:pt idx="3">
                  <c:v>0.09831276020743554</c:v>
                </c:pt>
                <c:pt idx="4">
                  <c:v>0.0823502722323049</c:v>
                </c:pt>
                <c:pt idx="5">
                  <c:v>0.08385643006599067</c:v>
                </c:pt>
                <c:pt idx="6">
                  <c:v>0.08864873035066505</c:v>
                </c:pt>
                <c:pt idx="7">
                  <c:v>0.08483717071147065</c:v>
                </c:pt>
                <c:pt idx="8">
                  <c:v>0.08926064576509125</c:v>
                </c:pt>
                <c:pt idx="9">
                  <c:v>0.09222462203023758</c:v>
                </c:pt>
                <c:pt idx="10">
                  <c:v>0.10126847677953664</c:v>
                </c:pt>
                <c:pt idx="11">
                  <c:v>0.14309880815071127</c:v>
                </c:pt>
                <c:pt idx="12">
                  <c:v>0.11258937460403656</c:v>
                </c:pt>
                <c:pt idx="13">
                  <c:v>0.1016839378238342</c:v>
                </c:pt>
                <c:pt idx="14">
                  <c:v>0.12088563803499061</c:v>
                </c:pt>
                <c:pt idx="15">
                  <c:v>0.09359966534197867</c:v>
                </c:pt>
                <c:pt idx="16">
                  <c:v>0.12809593186148158</c:v>
                </c:pt>
                <c:pt idx="17">
                  <c:v>0.0689444036247857</c:v>
                </c:pt>
                <c:pt idx="18">
                  <c:v>0.07787684591808303</c:v>
                </c:pt>
                <c:pt idx="19">
                  <c:v>0.07287714248331807</c:v>
                </c:pt>
                <c:pt idx="20">
                  <c:v>0.07140820980615735</c:v>
                </c:pt>
                <c:pt idx="21">
                  <c:v>0.06337662337662338</c:v>
                </c:pt>
                <c:pt idx="22">
                  <c:v>0.06343087436481513</c:v>
                </c:pt>
                <c:pt idx="23">
                  <c:v>0.062386322299017825</c:v>
                </c:pt>
                <c:pt idx="24">
                  <c:v>0.05270247516416905</c:v>
                </c:pt>
                <c:pt idx="25">
                  <c:v>0.06210951855935318</c:v>
                </c:pt>
                <c:pt idx="26">
                  <c:v>0.0579785392869505</c:v>
                </c:pt>
                <c:pt idx="27">
                  <c:v>0.05480259281084266</c:v>
                </c:pt>
                <c:pt idx="28">
                  <c:v>0.07242857142857143</c:v>
                </c:pt>
                <c:pt idx="29">
                  <c:v>0.05792276964047936</c:v>
                </c:pt>
                <c:pt idx="30">
                  <c:v>0.0709655407710679</c:v>
                </c:pt>
                <c:pt idx="31">
                  <c:v>0.06972443129276863</c:v>
                </c:pt>
                <c:pt idx="32">
                  <c:v>0.07591192901741703</c:v>
                </c:pt>
                <c:pt idx="33">
                  <c:v>0.08133712275003384</c:v>
                </c:pt>
                <c:pt idx="34">
                  <c:v>0.09276928382572709</c:v>
                </c:pt>
                <c:pt idx="35">
                  <c:v>0.08207771609833465</c:v>
                </c:pt>
                <c:pt idx="36">
                  <c:v>0.08579773640014604</c:v>
                </c:pt>
                <c:pt idx="37">
                  <c:v>0.06512013256006628</c:v>
                </c:pt>
                <c:pt idx="38">
                  <c:v>0.06393769244702047</c:v>
                </c:pt>
                <c:pt idx="39">
                  <c:v>0.07328504473796335</c:v>
                </c:pt>
                <c:pt idx="40">
                  <c:v>0.052746951637210576</c:v>
                </c:pt>
                <c:pt idx="41">
                  <c:v>0.061794019933554815</c:v>
                </c:pt>
                <c:pt idx="42">
                  <c:v>0.05582488614661378</c:v>
                </c:pt>
                <c:pt idx="43">
                  <c:v>0.052984429065743945</c:v>
                </c:pt>
                <c:pt idx="44">
                  <c:v>0.05203493774391377</c:v>
                </c:pt>
                <c:pt idx="45">
                  <c:v>0.0659689642728257</c:v>
                </c:pt>
                <c:pt idx="46">
                  <c:v>0.056874466268146885</c:v>
                </c:pt>
                <c:pt idx="47">
                  <c:v>0.06119175555377336</c:v>
                </c:pt>
                <c:pt idx="48">
                  <c:v>0.06203358208955224</c:v>
                </c:pt>
                <c:pt idx="49">
                  <c:v>0.07416814833629667</c:v>
                </c:pt>
                <c:pt idx="50">
                  <c:v>0.09495573743110072</c:v>
                </c:pt>
                <c:pt idx="51">
                  <c:v>0.077747989276139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07.8675776783695</c:v>
                </c:pt>
              </c:numCache>
            </c:numRef>
          </c:xVal>
          <c:yVal>
            <c:numRef>
              <c:f>Sheet1!$B$163:$B$164</c:f>
              <c:numCache>
                <c:formatCode>General</c:formatCode>
                <c:ptCount val="2"/>
                <c:pt idx="0">
                  <c:v>0.16874470789807797</c:v>
                </c:pt>
                <c:pt idx="1">
                  <c:v>0.1687447078980779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07.8675776783695</c:v>
                </c:pt>
                <c:pt idx="1">
                  <c:v>607.8675776783695</c:v>
                </c:pt>
              </c:numCache>
            </c:numRef>
          </c:xVal>
          <c:yVal>
            <c:numRef>
              <c:f>Sheet1!$B$167:$B$168</c:f>
              <c:numCache>
                <c:formatCode>General</c:formatCode>
                <c:ptCount val="2"/>
                <c:pt idx="0">
                  <c:v>0.1687447078980779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89.3802028281448</c:v>
                </c:pt>
              </c:numCache>
            </c:numRef>
          </c:xVal>
          <c:yVal>
            <c:numRef>
              <c:f>Sheet1!$B$171:$B$172</c:f>
              <c:numCache>
                <c:formatCode>General</c:formatCode>
                <c:ptCount val="2"/>
                <c:pt idx="0">
                  <c:v>0.09599459075659805</c:v>
                </c:pt>
                <c:pt idx="1">
                  <c:v>0.0959945907565980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89.3802028281448</c:v>
                </c:pt>
                <c:pt idx="1">
                  <c:v>989.3802028281448</c:v>
                </c:pt>
              </c:numCache>
            </c:numRef>
          </c:xVal>
          <c:yVal>
            <c:numRef>
              <c:f>Sheet1!$B$175:$B$176</c:f>
              <c:numCache>
                <c:formatCode>General</c:formatCode>
                <c:ptCount val="2"/>
                <c:pt idx="0">
                  <c:v>0.095994590756598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3.2876730601283</c:v>
                </c:pt>
              </c:numCache>
            </c:numRef>
          </c:xVal>
          <c:yVal>
            <c:numRef>
              <c:f>Sheet1!$B$179:$B$180</c:f>
              <c:numCache>
                <c:formatCode>General</c:formatCode>
                <c:ptCount val="2"/>
                <c:pt idx="0">
                  <c:v>0.06473930096098733</c:v>
                </c:pt>
                <c:pt idx="1">
                  <c:v>0.0647393009609873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3.2876730601283</c:v>
                </c:pt>
                <c:pt idx="1">
                  <c:v>1153.2876730601283</c:v>
                </c:pt>
              </c:numCache>
            </c:numRef>
          </c:xVal>
          <c:yVal>
            <c:numRef>
              <c:f>Sheet1!$B$183:$B$184</c:f>
              <c:numCache>
                <c:formatCode>General</c:formatCode>
                <c:ptCount val="2"/>
                <c:pt idx="0">
                  <c:v>0.0647393009609873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88.2856</c:v>
                </c:pt>
                <c:pt idx="1">
                  <c:v>1063.4825</c:v>
                </c:pt>
                <c:pt idx="2">
                  <c:v>1063.6416</c:v>
                </c:pt>
                <c:pt idx="3">
                  <c:v>1017.8923</c:v>
                </c:pt>
                <c:pt idx="4">
                  <c:v>1055.4068</c:v>
                </c:pt>
                <c:pt idx="5">
                  <c:v>1081.5758</c:v>
                </c:pt>
                <c:pt idx="6">
                  <c:v>990.3188</c:v>
                </c:pt>
                <c:pt idx="7">
                  <c:v>1046.1724</c:v>
                </c:pt>
                <c:pt idx="8">
                  <c:v>1108.8925</c:v>
                </c:pt>
                <c:pt idx="9">
                  <c:v>1079.0117</c:v>
                </c:pt>
                <c:pt idx="10">
                  <c:v>1093.4752</c:v>
                </c:pt>
                <c:pt idx="11">
                  <c:v>995.388</c:v>
                </c:pt>
                <c:pt idx="12">
                  <c:v>1033.7307</c:v>
                </c:pt>
                <c:pt idx="13">
                  <c:v>1078.0218</c:v>
                </c:pt>
                <c:pt idx="14">
                  <c:v>1066.305</c:v>
                </c:pt>
                <c:pt idx="15">
                  <c:v>1105.8022</c:v>
                </c:pt>
                <c:pt idx="16">
                  <c:v>1078.7069</c:v>
                </c:pt>
                <c:pt idx="17">
                  <c:v>1116.2664</c:v>
                </c:pt>
                <c:pt idx="18">
                  <c:v>968.263</c:v>
                </c:pt>
                <c:pt idx="19">
                  <c:v>1165.0323</c:v>
                </c:pt>
                <c:pt idx="20">
                  <c:v>1118.6048</c:v>
                </c:pt>
                <c:pt idx="21">
                  <c:v>1137.8798</c:v>
                </c:pt>
                <c:pt idx="22">
                  <c:v>1163.6796</c:v>
                </c:pt>
                <c:pt idx="23">
                  <c:v>1104.5773</c:v>
                </c:pt>
                <c:pt idx="24">
                  <c:v>1143.0575</c:v>
                </c:pt>
                <c:pt idx="25">
                  <c:v>1081.7633</c:v>
                </c:pt>
                <c:pt idx="26">
                  <c:v>1107.2239</c:v>
                </c:pt>
                <c:pt idx="27">
                  <c:v>1123.328</c:v>
                </c:pt>
                <c:pt idx="28">
                  <c:v>1052.5108</c:v>
                </c:pt>
                <c:pt idx="29">
                  <c:v>1084.9799</c:v>
                </c:pt>
                <c:pt idx="30">
                  <c:v>1067.6779</c:v>
                </c:pt>
                <c:pt idx="31">
                  <c:v>973.8568</c:v>
                </c:pt>
                <c:pt idx="32">
                  <c:v>1016.2229</c:v>
                </c:pt>
                <c:pt idx="33">
                  <c:v>1044.2662</c:v>
                </c:pt>
                <c:pt idx="34">
                  <c:v>1082.1673</c:v>
                </c:pt>
                <c:pt idx="35">
                  <c:v>1084.2721</c:v>
                </c:pt>
                <c:pt idx="36">
                  <c:v>986.2426</c:v>
                </c:pt>
                <c:pt idx="37">
                  <c:v>1123.4275</c:v>
                </c:pt>
                <c:pt idx="38">
                  <c:v>1107.6686</c:v>
                </c:pt>
                <c:pt idx="39">
                  <c:v>1103.436</c:v>
                </c:pt>
                <c:pt idx="40">
                  <c:v>1177.9532</c:v>
                </c:pt>
                <c:pt idx="41">
                  <c:v>1133.1763</c:v>
                </c:pt>
                <c:pt idx="42">
                  <c:v>1183.6421</c:v>
                </c:pt>
                <c:pt idx="43">
                  <c:v>1209.4714</c:v>
                </c:pt>
                <c:pt idx="44">
                  <c:v>1164.9411</c:v>
                </c:pt>
                <c:pt idx="45">
                  <c:v>1116.5788</c:v>
                </c:pt>
                <c:pt idx="46">
                  <c:v>1135.6351</c:v>
                </c:pt>
                <c:pt idx="47">
                  <c:v>1106.0904</c:v>
                </c:pt>
                <c:pt idx="48">
                  <c:v>1086.0204</c:v>
                </c:pt>
                <c:pt idx="49">
                  <c:v>1124.6404</c:v>
                </c:pt>
                <c:pt idx="50">
                  <c:v>1004.1653</c:v>
                </c:pt>
                <c:pt idx="51">
                  <c:v>974.8064</c:v>
                </c:pt>
                <c:pt idx="52">
                  <c:v>989.3802028281448</c:v>
                </c:pt>
                <c:pt idx="53">
                  <c:v>607.8675776783695</c:v>
                </c:pt>
                <c:pt idx="54">
                  <c:v>1153.2876730601283</c:v>
                </c:pt>
              </c:numCache>
            </c:numRef>
          </c:xVal>
          <c:yVal>
            <c:numRef>
              <c:f>Sheet1!$B$187:$B$241</c:f>
              <c:numCache>
                <c:formatCode>General</c:formatCode>
                <c:ptCount val="55"/>
                <c:pt idx="0">
                  <c:v>0.07713445676404074</c:v>
                </c:pt>
                <c:pt idx="1">
                  <c:v>0.08186412574881796</c:v>
                </c:pt>
                <c:pt idx="2">
                  <c:v>0.08183378718890097</c:v>
                </c:pt>
                <c:pt idx="3">
                  <c:v>0.09055765820846179</c:v>
                </c:pt>
                <c:pt idx="4">
                  <c:v>0.08340406986146379</c:v>
                </c:pt>
                <c:pt idx="5">
                  <c:v>0.07841393928655033</c:v>
                </c:pt>
                <c:pt idx="6">
                  <c:v>0.0958156109543587</c:v>
                </c:pt>
                <c:pt idx="7">
                  <c:v>0.0851649648815632</c:v>
                </c:pt>
                <c:pt idx="8">
                  <c:v>0.07320495537903618</c:v>
                </c:pt>
                <c:pt idx="9">
                  <c:v>0.07890288398474804</c:v>
                </c:pt>
                <c:pt idx="10">
                  <c:v>0.07614485908619398</c:v>
                </c:pt>
                <c:pt idx="11">
                  <c:v>0.09484897218671945</c:v>
                </c:pt>
                <c:pt idx="12">
                  <c:v>0.08753745552216466</c:v>
                </c:pt>
                <c:pt idx="13">
                  <c:v>0.07909164665264162</c:v>
                </c:pt>
                <c:pt idx="14">
                  <c:v>0.08132590711044074</c:v>
                </c:pt>
                <c:pt idx="15">
                  <c:v>0.07379424043064894</c:v>
                </c:pt>
                <c:pt idx="16">
                  <c:v>0.07896100587703411</c:v>
                </c:pt>
                <c:pt idx="17">
                  <c:v>0.07179883654200175</c:v>
                </c:pt>
                <c:pt idx="18">
                  <c:v>0.10002140108520724</c:v>
                </c:pt>
                <c:pt idx="19">
                  <c:v>0.062499734222342146</c:v>
                </c:pt>
                <c:pt idx="20">
                  <c:v>0.07135293026601192</c:v>
                </c:pt>
                <c:pt idx="21">
                  <c:v>0.06767740705796207</c:v>
                </c:pt>
                <c:pt idx="22">
                  <c:v>0.06275767872265495</c:v>
                </c:pt>
                <c:pt idx="23">
                  <c:v>0.0740278149249442</c:v>
                </c:pt>
                <c:pt idx="24">
                  <c:v>0.06669007857472889</c:v>
                </c:pt>
                <c:pt idx="25">
                  <c:v>0.07837818516974052</c:v>
                </c:pt>
                <c:pt idx="26">
                  <c:v>0.07352313841535016</c:v>
                </c:pt>
                <c:pt idx="27">
                  <c:v>0.07045226976192576</c:v>
                </c:pt>
                <c:pt idx="28">
                  <c:v>0.08395630411363045</c:v>
                </c:pt>
                <c:pt idx="29">
                  <c:v>0.07776481614504463</c:v>
                </c:pt>
                <c:pt idx="30">
                  <c:v>0.08106411069994368</c:v>
                </c:pt>
                <c:pt idx="31">
                  <c:v>0.09895472706594971</c:v>
                </c:pt>
                <c:pt idx="32">
                  <c:v>0.09087599379567415</c:v>
                </c:pt>
                <c:pt idx="33">
                  <c:v>0.08552845553469857</c:v>
                </c:pt>
                <c:pt idx="34">
                  <c:v>0.07830114696605428</c:v>
                </c:pt>
                <c:pt idx="35">
                  <c:v>0.07789978555239396</c:v>
                </c:pt>
                <c:pt idx="36">
                  <c:v>0.09659289591937309</c:v>
                </c:pt>
                <c:pt idx="37">
                  <c:v>0.07043329624393865</c:v>
                </c:pt>
                <c:pt idx="38">
                  <c:v>0.0734383391847084</c:v>
                </c:pt>
                <c:pt idx="39">
                  <c:v>0.0742454478503578</c:v>
                </c:pt>
                <c:pt idx="40">
                  <c:v>0.06003586559360591</c:v>
                </c:pt>
                <c:pt idx="41">
                  <c:v>0.06857431099617539</c:v>
                </c:pt>
                <c:pt idx="42">
                  <c:v>0.05895105708630238</c:v>
                </c:pt>
                <c:pt idx="43">
                  <c:v>0.05402570343661722</c:v>
                </c:pt>
                <c:pt idx="44">
                  <c:v>0.06251712502475845</c:v>
                </c:pt>
                <c:pt idx="45">
                  <c:v>0.071739265416181</c:v>
                </c:pt>
                <c:pt idx="46">
                  <c:v>0.06810544580997813</c:v>
                </c:pt>
                <c:pt idx="47">
                  <c:v>0.07373928396950447</c:v>
                </c:pt>
                <c:pt idx="48">
                  <c:v>0.07756640463282796</c:v>
                </c:pt>
                <c:pt idx="49">
                  <c:v>0.07020201001311926</c:v>
                </c:pt>
                <c:pt idx="50">
                  <c:v>0.09317524093618684</c:v>
                </c:pt>
                <c:pt idx="51">
                  <c:v>0.09877364914956246</c:v>
                </c:pt>
                <c:pt idx="52">
                  <c:v>0.09599459075659805</c:v>
                </c:pt>
                <c:pt idx="53">
                  <c:v>0.16874470789807797</c:v>
                </c:pt>
                <c:pt idx="54">
                  <c:v>0.0647393009609873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51.0"/>
          <c:min val="48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3207981580967"/>
          <c:min val="0.041627950195131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991449639727658</c:v>
                </c:pt>
                <c:pt idx="1">
                  <c:v>1.9832119807116473</c:v>
                </c:pt>
                <c:pt idx="2">
                  <c:v>2.191205423919062</c:v>
                </c:pt>
                <c:pt idx="3">
                  <c:v>2.1555584028412778</c:v>
                </c:pt>
                <c:pt idx="4">
                  <c:v>2.1905512742726088</c:v>
                </c:pt>
                <c:pt idx="5">
                  <c:v>1.8429932971390601</c:v>
                </c:pt>
                <c:pt idx="6">
                  <c:v>1.6618484084332856</c:v>
                </c:pt>
                <c:pt idx="7">
                  <c:v>1.6396778011909932</c:v>
                </c:pt>
                <c:pt idx="8">
                  <c:v>1.6330575153106237</c:v>
                </c:pt>
                <c:pt idx="9">
                  <c:v>1.7454600557618238</c:v>
                </c:pt>
                <c:pt idx="10">
                  <c:v>1.6972383318533482</c:v>
                </c:pt>
                <c:pt idx="11">
                  <c:v>1.726561965303641</c:v>
                </c:pt>
                <c:pt idx="12">
                  <c:v>1.7428515429511682</c:v>
                </c:pt>
                <c:pt idx="13">
                  <c:v>1.7040352971534822</c:v>
                </c:pt>
                <c:pt idx="14">
                  <c:v>1.6642922500993178</c:v>
                </c:pt>
                <c:pt idx="15">
                  <c:v>1.7046496362146293</c:v>
                </c:pt>
                <c:pt idx="16">
                  <c:v>1.6756438057814202</c:v>
                </c:pt>
                <c:pt idx="17">
                  <c:v>2.040684881213179</c:v>
                </c:pt>
                <c:pt idx="18">
                  <c:v>2.2984170442061624</c:v>
                </c:pt>
                <c:pt idx="19">
                  <c:v>2.097133084299176</c:v>
                </c:pt>
                <c:pt idx="20">
                  <c:v>1.9899366730931967</c:v>
                </c:pt>
                <c:pt idx="21">
                  <c:v>2.000931727155581</c:v>
                </c:pt>
                <c:pt idx="22">
                  <c:v>1.943268524257349</c:v>
                </c:pt>
                <c:pt idx="23">
                  <c:v>2.0431820425528495</c:v>
                </c:pt>
                <c:pt idx="24">
                  <c:v>2.1921891215803093</c:v>
                </c:pt>
                <c:pt idx="25">
                  <c:v>2.203270652562918</c:v>
                </c:pt>
                <c:pt idx="26">
                  <c:v>1.8693133061842508</c:v>
                </c:pt>
                <c:pt idx="27">
                  <c:v>1.867879517284903</c:v>
                </c:pt>
                <c:pt idx="28">
                  <c:v>1.7594029721097306</c:v>
                </c:pt>
                <c:pt idx="29">
                  <c:v>1.4603891615004494</c:v>
                </c:pt>
                <c:pt idx="30">
                  <c:v>1.608575427082328</c:v>
                </c:pt>
                <c:pt idx="31">
                  <c:v>1.5254038412510014</c:v>
                </c:pt>
                <c:pt idx="32">
                  <c:v>1.5682416711387397</c:v>
                </c:pt>
                <c:pt idx="33">
                  <c:v>1.3994062361879027</c:v>
                </c:pt>
                <c:pt idx="34">
                  <c:v>1.7310968251463474</c:v>
                </c:pt>
                <c:pt idx="35">
                  <c:v>1.785033850636501</c:v>
                </c:pt>
                <c:pt idx="36">
                  <c:v>1.9172498491008252</c:v>
                </c:pt>
                <c:pt idx="37">
                  <c:v>1.9402713100600522</c:v>
                </c:pt>
                <c:pt idx="38">
                  <c:v>2.0366015323778304</c:v>
                </c:pt>
                <c:pt idx="39">
                  <c:v>2.0868543451746016</c:v>
                </c:pt>
                <c:pt idx="40">
                  <c:v>2.131265552305639</c:v>
                </c:pt>
                <c:pt idx="41">
                  <c:v>2.171421189170312</c:v>
                </c:pt>
                <c:pt idx="42">
                  <c:v>2.184249418263237</c:v>
                </c:pt>
                <c:pt idx="43">
                  <c:v>2.1786276353345437</c:v>
                </c:pt>
                <c:pt idx="44">
                  <c:v>2.002009035715221</c:v>
                </c:pt>
                <c:pt idx="45">
                  <c:v>1.9800590490459613</c:v>
                </c:pt>
                <c:pt idx="46">
                  <c:v>1.9897345740233356</c:v>
                </c:pt>
                <c:pt idx="47">
                  <c:v>1.9999641934128611</c:v>
                </c:pt>
                <c:pt idx="48">
                  <c:v>1.978940750560739</c:v>
                </c:pt>
                <c:pt idx="49">
                  <c:v>1.851300725144381</c:v>
                </c:pt>
                <c:pt idx="50">
                  <c:v>1.839379162539001</c:v>
                </c:pt>
                <c:pt idx="51">
                  <c:v>1.8498066849526626</c:v>
                </c:pt>
                <c:pt idx="52">
                  <c:v>1.8044861438724382</c:v>
                </c:pt>
                <c:pt idx="53">
                  <c:v>1.992005367037302</c:v>
                </c:pt>
                <c:pt idx="54">
                  <c:v>1.996063455650906</c:v>
                </c:pt>
                <c:pt idx="55">
                  <c:v>2.0850577868623232</c:v>
                </c:pt>
                <c:pt idx="56">
                  <c:v>1.9440485464487296</c:v>
                </c:pt>
                <c:pt idx="57">
                  <c:v>2.06087471085273</c:v>
                </c:pt>
                <c:pt idx="58">
                  <c:v>1.9444948635856745</c:v>
                </c:pt>
                <c:pt idx="59">
                  <c:v>2.110149194784435</c:v>
                </c:pt>
                <c:pt idx="60">
                  <c:v>2.21336508339187</c:v>
                </c:pt>
                <c:pt idx="61">
                  <c:v>1.9779016855576086</c:v>
                </c:pt>
                <c:pt idx="62">
                  <c:v>1.911511029073103</c:v>
                </c:pt>
                <c:pt idx="63">
                  <c:v>2.0945497310011083</c:v>
                </c:pt>
                <c:pt idx="64">
                  <c:v>2.103156908740749</c:v>
                </c:pt>
                <c:pt idx="65">
                  <c:v>1.9664096652139618</c:v>
                </c:pt>
                <c:pt idx="66">
                  <c:v>2.095019862873083</c:v>
                </c:pt>
                <c:pt idx="67">
                  <c:v>1.9214502831462406</c:v>
                </c:pt>
                <c:pt idx="68">
                  <c:v>1.9483240060763078</c:v>
                </c:pt>
                <c:pt idx="69">
                  <c:v>1.9968130744852572</c:v>
                </c:pt>
                <c:pt idx="70">
                  <c:v>2.010535214853774</c:v>
                </c:pt>
                <c:pt idx="71">
                  <c:v>1.9296746077735856</c:v>
                </c:pt>
                <c:pt idx="72">
                  <c:v>2.149053749046712</c:v>
                </c:pt>
                <c:pt idx="73">
                  <c:v>2.181898610988233</c:v>
                </c:pt>
                <c:pt idx="74">
                  <c:v>2.317778822567622</c:v>
                </c:pt>
                <c:pt idx="75">
                  <c:v>2.1602673490672926</c:v>
                </c:pt>
                <c:pt idx="76">
                  <c:v>2.335841388762594</c:v>
                </c:pt>
                <c:pt idx="77">
                  <c:v>2.074531157952104</c:v>
                </c:pt>
                <c:pt idx="78">
                  <c:v>2.1612616205810435</c:v>
                </c:pt>
                <c:pt idx="79">
                  <c:v>2.3752007614757185</c:v>
                </c:pt>
                <c:pt idx="80">
                  <c:v>2.104361923329554</c:v>
                </c:pt>
                <c:pt idx="81">
                  <c:v>2.0914824858633905</c:v>
                </c:pt>
                <c:pt idx="82">
                  <c:v>2.107642704687206</c:v>
                </c:pt>
                <c:pt idx="83">
                  <c:v>2.2529140898219526</c:v>
                </c:pt>
                <c:pt idx="84">
                  <c:v>2.225357579168085</c:v>
                </c:pt>
                <c:pt idx="85">
                  <c:v>2.2286910716868022</c:v>
                </c:pt>
                <c:pt idx="86">
                  <c:v>2.2722545751125476</c:v>
                </c:pt>
                <c:pt idx="87">
                  <c:v>2.3107395939819297</c:v>
                </c:pt>
                <c:pt idx="88">
                  <c:v>2.2866179311618895</c:v>
                </c:pt>
                <c:pt idx="89">
                  <c:v>2.1861634080103984</c:v>
                </c:pt>
                <c:pt idx="90">
                  <c:v>2.308442099813405</c:v>
                </c:pt>
                <c:pt idx="91">
                  <c:v>2.338149649342415</c:v>
                </c:pt>
                <c:pt idx="92">
                  <c:v>2.2734045382865204</c:v>
                </c:pt>
                <c:pt idx="93">
                  <c:v>2.072675721373375</c:v>
                </c:pt>
                <c:pt idx="94">
                  <c:v>2.0313683168954175</c:v>
                </c:pt>
                <c:pt idx="95">
                  <c:v>2.035212122774562</c:v>
                </c:pt>
                <c:pt idx="96">
                  <c:v>1.9366280553917479</c:v>
                </c:pt>
                <c:pt idx="97">
                  <c:v>1.9752777305885745</c:v>
                </c:pt>
                <c:pt idx="98">
                  <c:v>2.0233787679151836</c:v>
                </c:pt>
                <c:pt idx="99">
                  <c:v>2.15009637094321</c:v>
                </c:pt>
                <c:pt idx="100">
                  <c:v>1.9273541126612546</c:v>
                </c:pt>
                <c:pt idx="101">
                  <c:v>1.72851598774157</c:v>
                </c:pt>
                <c:pt idx="102">
                  <c:v>1.7496071415427272</c:v>
                </c:pt>
                <c:pt idx="103">
                  <c:v>1.652551478500835</c:v>
                </c:pt>
                <c:pt idx="104">
                  <c:v>1.7691358028756847</c:v>
                </c:pt>
              </c:numCache>
            </c:numRef>
          </c:xVal>
          <c:yVal>
            <c:numRef>
              <c:f>Sheet1!$B$2:$B$106</c:f>
              <c:numCache>
                <c:formatCode>General</c:formatCode>
                <c:ptCount val="105"/>
                <c:pt idx="0">
                  <c:v>0.21933998465080584</c:v>
                </c:pt>
                <c:pt idx="1">
                  <c:v>0.19069952305246424</c:v>
                </c:pt>
                <c:pt idx="2">
                  <c:v>0.15764636484294353</c:v>
                </c:pt>
                <c:pt idx="3">
                  <c:v>0.16243731955629845</c:v>
                </c:pt>
                <c:pt idx="4">
                  <c:v>0.14980252021816814</c:v>
                </c:pt>
                <c:pt idx="5">
                  <c:v>0.14439676678974153</c:v>
                </c:pt>
                <c:pt idx="6">
                  <c:v>0.17270362217330398</c:v>
                </c:pt>
                <c:pt idx="7">
                  <c:v>0.1611933116805004</c:v>
                </c:pt>
                <c:pt idx="8">
                  <c:v>0.16048295811847565</c:v>
                </c:pt>
                <c:pt idx="9">
                  <c:v>0.16180371352785147</c:v>
                </c:pt>
                <c:pt idx="10">
                  <c:v>0.1695104895104895</c:v>
                </c:pt>
                <c:pt idx="11">
                  <c:v>0.16044707186403104</c:v>
                </c:pt>
                <c:pt idx="12">
                  <c:v>0.17437842393594605</c:v>
                </c:pt>
                <c:pt idx="13">
                  <c:v>0.17121418826739426</c:v>
                </c:pt>
                <c:pt idx="14">
                  <c:v>0.16830610203401133</c:v>
                </c:pt>
                <c:pt idx="15">
                  <c:v>0.17840076457470533</c:v>
                </c:pt>
                <c:pt idx="16">
                  <c:v>0.17441151359921941</c:v>
                </c:pt>
                <c:pt idx="17">
                  <c:v>0.15169811320754717</c:v>
                </c:pt>
                <c:pt idx="18">
                  <c:v>0.18800603815013037</c:v>
                </c:pt>
                <c:pt idx="19">
                  <c:v>0.15099472878762116</c:v>
                </c:pt>
                <c:pt idx="20">
                  <c:v>0.1602972399150743</c:v>
                </c:pt>
                <c:pt idx="21">
                  <c:v>0.14950166112956811</c:v>
                </c:pt>
                <c:pt idx="22">
                  <c:v>0.16251388668465322</c:v>
                </c:pt>
                <c:pt idx="23">
                  <c:v>0.17288135593220338</c:v>
                </c:pt>
                <c:pt idx="24">
                  <c:v>0.17027070318757007</c:v>
                </c:pt>
                <c:pt idx="25">
                  <c:v>0.17125770206596594</c:v>
                </c:pt>
                <c:pt idx="26">
                  <c:v>0.1599651871192341</c:v>
                </c:pt>
                <c:pt idx="27">
                  <c:v>0.1438143487497957</c:v>
                </c:pt>
                <c:pt idx="28">
                  <c:v>0.14381698928171494</c:v>
                </c:pt>
                <c:pt idx="29">
                  <c:v>0.1795017793594306</c:v>
                </c:pt>
                <c:pt idx="30">
                  <c:v>0.16601598810187768</c:v>
                </c:pt>
                <c:pt idx="31">
                  <c:v>0.15304406323578876</c:v>
                </c:pt>
                <c:pt idx="32">
                  <c:v>0.15442820292347378</c:v>
                </c:pt>
                <c:pt idx="33">
                  <c:v>0.18454237288135594</c:v>
                </c:pt>
                <c:pt idx="34">
                  <c:v>0.16421982590619721</c:v>
                </c:pt>
                <c:pt idx="35">
                  <c:v>0.17924424369285005</c:v>
                </c:pt>
                <c:pt idx="36">
                  <c:v>0.12554861018752494</c:v>
                </c:pt>
                <c:pt idx="37">
                  <c:v>0.11342069588793494</c:v>
                </c:pt>
                <c:pt idx="38">
                  <c:v>0.10565255992897307</c:v>
                </c:pt>
                <c:pt idx="39">
                  <c:v>0.09131030284583777</c:v>
                </c:pt>
                <c:pt idx="40">
                  <c:v>0.09518229166666667</c:v>
                </c:pt>
                <c:pt idx="41">
                  <c:v>0.07959518599562364</c:v>
                </c:pt>
                <c:pt idx="42">
                  <c:v>0.07896592244418331</c:v>
                </c:pt>
                <c:pt idx="43">
                  <c:v>0.08313436075537226</c:v>
                </c:pt>
                <c:pt idx="44">
                  <c:v>0.0948153674002238</c:v>
                </c:pt>
                <c:pt idx="45">
                  <c:v>0.10679405520169852</c:v>
                </c:pt>
                <c:pt idx="46">
                  <c:v>0.1124546553808948</c:v>
                </c:pt>
                <c:pt idx="47">
                  <c:v>0.09760262725779967</c:v>
                </c:pt>
                <c:pt idx="48">
                  <c:v>0.11852334854792597</c:v>
                </c:pt>
                <c:pt idx="49">
                  <c:v>0.1411543287327478</c:v>
                </c:pt>
                <c:pt idx="50">
                  <c:v>0.11621983914209115</c:v>
                </c:pt>
                <c:pt idx="51">
                  <c:v>0.10727411944869832</c:v>
                </c:pt>
                <c:pt idx="52">
                  <c:v>0.12376336232653874</c:v>
                </c:pt>
                <c:pt idx="53">
                  <c:v>0.10119471477173828</c:v>
                </c:pt>
                <c:pt idx="54">
                  <c:v>0.09513160158265956</c:v>
                </c:pt>
                <c:pt idx="55">
                  <c:v>0.08154694198967538</c:v>
                </c:pt>
                <c:pt idx="56">
                  <c:v>0.10031152647975078</c:v>
                </c:pt>
                <c:pt idx="57">
                  <c:v>0.08788449466415568</c:v>
                </c:pt>
                <c:pt idx="58">
                  <c:v>0.10770174900276158</c:v>
                </c:pt>
                <c:pt idx="59">
                  <c:v>0.10466289866774324</c:v>
                </c:pt>
                <c:pt idx="60">
                  <c:v>0.10296017855045225</c:v>
                </c:pt>
                <c:pt idx="61">
                  <c:v>0.12066169315601687</c:v>
                </c:pt>
                <c:pt idx="62">
                  <c:v>0.13740396927016646</c:v>
                </c:pt>
                <c:pt idx="63">
                  <c:v>0.14054501656127671</c:v>
                </c:pt>
                <c:pt idx="64">
                  <c:v>0.13665172360488484</c:v>
                </c:pt>
                <c:pt idx="65">
                  <c:v>0.14332612699175273</c:v>
                </c:pt>
                <c:pt idx="66">
                  <c:v>0.1478063785008904</c:v>
                </c:pt>
                <c:pt idx="67">
                  <c:v>0.12599882244091176</c:v>
                </c:pt>
                <c:pt idx="68">
                  <c:v>0.10524279357709422</c:v>
                </c:pt>
                <c:pt idx="69">
                  <c:v>0.08815461346633416</c:v>
                </c:pt>
                <c:pt idx="70">
                  <c:v>0.07558816678313533</c:v>
                </c:pt>
                <c:pt idx="71">
                  <c:v>0.0945140493857195</c:v>
                </c:pt>
                <c:pt idx="72">
                  <c:v>0.08501304244723737</c:v>
                </c:pt>
                <c:pt idx="73">
                  <c:v>0.07700810611643331</c:v>
                </c:pt>
                <c:pt idx="74">
                  <c:v>0.10190574004336414</c:v>
                </c:pt>
                <c:pt idx="75">
                  <c:v>0.07303763816986147</c:v>
                </c:pt>
                <c:pt idx="76">
                  <c:v>0.07546002783361683</c:v>
                </c:pt>
                <c:pt idx="77">
                  <c:v>0.12511387792286668</c:v>
                </c:pt>
                <c:pt idx="78">
                  <c:v>0.08982630272952853</c:v>
                </c:pt>
                <c:pt idx="79">
                  <c:v>0.06466188843876597</c:v>
                </c:pt>
                <c:pt idx="80">
                  <c:v>0.09342186534898085</c:v>
                </c:pt>
                <c:pt idx="81">
                  <c:v>0.11085887249337874</c:v>
                </c:pt>
                <c:pt idx="82">
                  <c:v>0.07975460122699386</c:v>
                </c:pt>
                <c:pt idx="83">
                  <c:v>0.058746492048643593</c:v>
                </c:pt>
                <c:pt idx="84">
                  <c:v>0.06811881188118812</c:v>
                </c:pt>
                <c:pt idx="85">
                  <c:v>0.07900838237916889</c:v>
                </c:pt>
                <c:pt idx="86">
                  <c:v>0.09780490972853617</c:v>
                </c:pt>
                <c:pt idx="87">
                  <c:v>0.09620453347390617</c:v>
                </c:pt>
                <c:pt idx="88">
                  <c:v>0.0937597503900156</c:v>
                </c:pt>
                <c:pt idx="89">
                  <c:v>0.066963521150882</c:v>
                </c:pt>
                <c:pt idx="90">
                  <c:v>0.06942709262894878</c:v>
                </c:pt>
                <c:pt idx="91">
                  <c:v>0.06394779771615008</c:v>
                </c:pt>
                <c:pt idx="92">
                  <c:v>0.08662573411639082</c:v>
                </c:pt>
                <c:pt idx="93">
                  <c:v>0.06516912628966959</c:v>
                </c:pt>
                <c:pt idx="94">
                  <c:v>0.07128498531003556</c:v>
                </c:pt>
                <c:pt idx="95">
                  <c:v>0.07427800876502978</c:v>
                </c:pt>
                <c:pt idx="96">
                  <c:v>0.0725052758516732</c:v>
                </c:pt>
                <c:pt idx="97">
                  <c:v>0.08172219936925819</c:v>
                </c:pt>
                <c:pt idx="98">
                  <c:v>0.09627070177528893</c:v>
                </c:pt>
                <c:pt idx="99">
                  <c:v>0.10277647549096212</c:v>
                </c:pt>
                <c:pt idx="100">
                  <c:v>0.11401326699834162</c:v>
                </c:pt>
                <c:pt idx="101">
                  <c:v>0.094896331738437</c:v>
                </c:pt>
                <c:pt idx="102">
                  <c:v>0.07788606291102132</c:v>
                </c:pt>
                <c:pt idx="103">
                  <c:v>0.08471602953000512</c:v>
                </c:pt>
                <c:pt idx="104">
                  <c:v>0.0845882454177781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7040623235024197</c:v>
                </c:pt>
                <c:pt idx="1">
                  <c:v>1.656336264066241</c:v>
                </c:pt>
                <c:pt idx="2">
                  <c:v>1.6269932028730387</c:v>
                </c:pt>
                <c:pt idx="3">
                  <c:v>1.5678285433516574</c:v>
                </c:pt>
                <c:pt idx="4">
                  <c:v>1.6208406140664224</c:v>
                </c:pt>
                <c:pt idx="5">
                  <c:v>1.6069969523429162</c:v>
                </c:pt>
                <c:pt idx="6">
                  <c:v>1.5742572573344322</c:v>
                </c:pt>
                <c:pt idx="7">
                  <c:v>1.566090711708356</c:v>
                </c:pt>
                <c:pt idx="8">
                  <c:v>1.6562324362972012</c:v>
                </c:pt>
                <c:pt idx="9">
                  <c:v>1.6712337784435796</c:v>
                </c:pt>
                <c:pt idx="10">
                  <c:v>1.6468272817772585</c:v>
                </c:pt>
                <c:pt idx="11">
                  <c:v>1.7448697598715435</c:v>
                </c:pt>
                <c:pt idx="12">
                  <c:v>1.6859855815572324</c:v>
                </c:pt>
                <c:pt idx="13">
                  <c:v>1.6463116111643326</c:v>
                </c:pt>
                <c:pt idx="14">
                  <c:v>1.6418976817523556</c:v>
                </c:pt>
                <c:pt idx="15">
                  <c:v>1.745415176905637</c:v>
                </c:pt>
                <c:pt idx="16">
                  <c:v>1.6278667822831516</c:v>
                </c:pt>
                <c:pt idx="17">
                  <c:v>1.760275521451786</c:v>
                </c:pt>
                <c:pt idx="18">
                  <c:v>1.4812118467821076</c:v>
                </c:pt>
                <c:pt idx="19">
                  <c:v>1.769792798707677</c:v>
                </c:pt>
                <c:pt idx="20">
                  <c:v>1.6543813186158216</c:v>
                </c:pt>
                <c:pt idx="21">
                  <c:v>1.7000590750761444</c:v>
                </c:pt>
                <c:pt idx="22">
                  <c:v>1.7201279039585067</c:v>
                </c:pt>
                <c:pt idx="23">
                  <c:v>1.637787284038867</c:v>
                </c:pt>
                <c:pt idx="24">
                  <c:v>1.6660952961484816</c:v>
                </c:pt>
                <c:pt idx="25">
                  <c:v>1.6248557287044754</c:v>
                </c:pt>
                <c:pt idx="26">
                  <c:v>1.6182489585451039</c:v>
                </c:pt>
                <c:pt idx="27">
                  <c:v>1.6344563265618504</c:v>
                </c:pt>
                <c:pt idx="28">
                  <c:v>1.538285749028588</c:v>
                </c:pt>
                <c:pt idx="29">
                  <c:v>1.5889060669657968</c:v>
                </c:pt>
                <c:pt idx="30">
                  <c:v>1.5597486527770148</c:v>
                </c:pt>
                <c:pt idx="31">
                  <c:v>1.4008214278368036</c:v>
                </c:pt>
                <c:pt idx="32">
                  <c:v>1.4573858339896824</c:v>
                </c:pt>
                <c:pt idx="33">
                  <c:v>1.474243873212335</c:v>
                </c:pt>
                <c:pt idx="34">
                  <c:v>1.5635417906807667</c:v>
                </c:pt>
                <c:pt idx="35">
                  <c:v>1.525964726409988</c:v>
                </c:pt>
                <c:pt idx="36">
                  <c:v>1.3628769030671835</c:v>
                </c:pt>
                <c:pt idx="37">
                  <c:v>1.5637248924878457</c:v>
                </c:pt>
                <c:pt idx="38">
                  <c:v>1.5254042015700389</c:v>
                </c:pt>
                <c:pt idx="39">
                  <c:v>1.574480605297696</c:v>
                </c:pt>
                <c:pt idx="40">
                  <c:v>1.6197324805153428</c:v>
                </c:pt>
                <c:pt idx="41">
                  <c:v>1.5537387242924015</c:v>
                </c:pt>
                <c:pt idx="42">
                  <c:v>1.625923770294649</c:v>
                </c:pt>
                <c:pt idx="43">
                  <c:v>1.6956141506868134</c:v>
                </c:pt>
                <c:pt idx="44">
                  <c:v>1.700052273778002</c:v>
                </c:pt>
                <c:pt idx="45">
                  <c:v>1.7096092551544566</c:v>
                </c:pt>
                <c:pt idx="46">
                  <c:v>1.7155886382475312</c:v>
                </c:pt>
                <c:pt idx="47">
                  <c:v>1.7097039408855574</c:v>
                </c:pt>
                <c:pt idx="48">
                  <c:v>1.6550534186650252</c:v>
                </c:pt>
                <c:pt idx="49">
                  <c:v>1.7539422514282437</c:v>
                </c:pt>
                <c:pt idx="50">
                  <c:v>1.605263149481029</c:v>
                </c:pt>
                <c:pt idx="51">
                  <c:v>1.610637407056026</c:v>
                </c:pt>
              </c:numCache>
            </c:numRef>
          </c:xVal>
          <c:yVal>
            <c:numRef>
              <c:f>Sheet1!$B$109:$B$160</c:f>
              <c:numCache>
                <c:formatCode>General</c:formatCode>
                <c:ptCount val="52"/>
                <c:pt idx="0">
                  <c:v>0.08490269930947897</c:v>
                </c:pt>
                <c:pt idx="1">
                  <c:v>0.08445834705301285</c:v>
                </c:pt>
                <c:pt idx="2">
                  <c:v>0.08606979826240613</c:v>
                </c:pt>
                <c:pt idx="3">
                  <c:v>0.09831276020743554</c:v>
                </c:pt>
                <c:pt idx="4">
                  <c:v>0.0823502722323049</c:v>
                </c:pt>
                <c:pt idx="5">
                  <c:v>0.08385643006599067</c:v>
                </c:pt>
                <c:pt idx="6">
                  <c:v>0.08864873035066505</c:v>
                </c:pt>
                <c:pt idx="7">
                  <c:v>0.08483717071147065</c:v>
                </c:pt>
                <c:pt idx="8">
                  <c:v>0.08926064576509125</c:v>
                </c:pt>
                <c:pt idx="9">
                  <c:v>0.09222462203023758</c:v>
                </c:pt>
                <c:pt idx="10">
                  <c:v>0.10126847677953664</c:v>
                </c:pt>
                <c:pt idx="11">
                  <c:v>0.14309880815071127</c:v>
                </c:pt>
                <c:pt idx="12">
                  <c:v>0.11258937460403656</c:v>
                </c:pt>
                <c:pt idx="13">
                  <c:v>0.1016839378238342</c:v>
                </c:pt>
                <c:pt idx="14">
                  <c:v>0.12088563803499061</c:v>
                </c:pt>
                <c:pt idx="15">
                  <c:v>0.09359966534197867</c:v>
                </c:pt>
                <c:pt idx="16">
                  <c:v>0.12809593186148158</c:v>
                </c:pt>
                <c:pt idx="17">
                  <c:v>0.0689444036247857</c:v>
                </c:pt>
                <c:pt idx="18">
                  <c:v>0.07787684591808303</c:v>
                </c:pt>
                <c:pt idx="19">
                  <c:v>0.07287714248331807</c:v>
                </c:pt>
                <c:pt idx="20">
                  <c:v>0.07140820980615735</c:v>
                </c:pt>
                <c:pt idx="21">
                  <c:v>0.06337662337662338</c:v>
                </c:pt>
                <c:pt idx="22">
                  <c:v>0.06343087436481513</c:v>
                </c:pt>
                <c:pt idx="23">
                  <c:v>0.062386322299017825</c:v>
                </c:pt>
                <c:pt idx="24">
                  <c:v>0.05270247516416905</c:v>
                </c:pt>
                <c:pt idx="25">
                  <c:v>0.06210951855935318</c:v>
                </c:pt>
                <c:pt idx="26">
                  <c:v>0.0579785392869505</c:v>
                </c:pt>
                <c:pt idx="27">
                  <c:v>0.05480259281084266</c:v>
                </c:pt>
                <c:pt idx="28">
                  <c:v>0.07242857142857143</c:v>
                </c:pt>
                <c:pt idx="29">
                  <c:v>0.05792276964047936</c:v>
                </c:pt>
                <c:pt idx="30">
                  <c:v>0.0709655407710679</c:v>
                </c:pt>
                <c:pt idx="31">
                  <c:v>0.06972443129276863</c:v>
                </c:pt>
                <c:pt idx="32">
                  <c:v>0.07591192901741703</c:v>
                </c:pt>
                <c:pt idx="33">
                  <c:v>0.08133712275003384</c:v>
                </c:pt>
                <c:pt idx="34">
                  <c:v>0.09276928382572709</c:v>
                </c:pt>
                <c:pt idx="35">
                  <c:v>0.08207771609833465</c:v>
                </c:pt>
                <c:pt idx="36">
                  <c:v>0.08579773640014604</c:v>
                </c:pt>
                <c:pt idx="37">
                  <c:v>0.06512013256006628</c:v>
                </c:pt>
                <c:pt idx="38">
                  <c:v>0.06393769244702047</c:v>
                </c:pt>
                <c:pt idx="39">
                  <c:v>0.07328504473796335</c:v>
                </c:pt>
                <c:pt idx="40">
                  <c:v>0.052746951637210576</c:v>
                </c:pt>
                <c:pt idx="41">
                  <c:v>0.061794019933554815</c:v>
                </c:pt>
                <c:pt idx="42">
                  <c:v>0.05582488614661378</c:v>
                </c:pt>
                <c:pt idx="43">
                  <c:v>0.052984429065743945</c:v>
                </c:pt>
                <c:pt idx="44">
                  <c:v>0.05203493774391377</c:v>
                </c:pt>
                <c:pt idx="45">
                  <c:v>0.0659689642728257</c:v>
                </c:pt>
                <c:pt idx="46">
                  <c:v>0.056874466268146885</c:v>
                </c:pt>
                <c:pt idx="47">
                  <c:v>0.06119175555377336</c:v>
                </c:pt>
                <c:pt idx="48">
                  <c:v>0.06203358208955224</c:v>
                </c:pt>
                <c:pt idx="49">
                  <c:v>0.07416814833629667</c:v>
                </c:pt>
                <c:pt idx="50">
                  <c:v>0.09495573743110072</c:v>
                </c:pt>
                <c:pt idx="51">
                  <c:v>0.077747989276139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4.836720230277216</c:v>
                </c:pt>
              </c:numCache>
            </c:numRef>
          </c:xVal>
          <c:yVal>
            <c:numRef>
              <c:f>Sheet1!$B$163:$B$164</c:f>
              <c:numCache>
                <c:formatCode>General</c:formatCode>
                <c:ptCount val="2"/>
                <c:pt idx="0">
                  <c:v>0.16874470789807797</c:v>
                </c:pt>
                <c:pt idx="1">
                  <c:v>0.1687447078980779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4.836720230277216</c:v>
                </c:pt>
                <c:pt idx="1">
                  <c:v>24.836720230277216</c:v>
                </c:pt>
              </c:numCache>
            </c:numRef>
          </c:xVal>
          <c:yVal>
            <c:numRef>
              <c:f>Sheet1!$B$167:$B$168</c:f>
              <c:numCache>
                <c:formatCode>General</c:formatCode>
                <c:ptCount val="2"/>
                <c:pt idx="0">
                  <c:v>0.1687447078980779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6.274131764914748</c:v>
                </c:pt>
              </c:numCache>
            </c:numRef>
          </c:xVal>
          <c:yVal>
            <c:numRef>
              <c:f>Sheet1!$B$171:$B$172</c:f>
              <c:numCache>
                <c:formatCode>General</c:formatCode>
                <c:ptCount val="2"/>
                <c:pt idx="0">
                  <c:v>0.09599459075659805</c:v>
                </c:pt>
                <c:pt idx="1">
                  <c:v>0.0959945907565980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6.274131764914748</c:v>
                </c:pt>
                <c:pt idx="1">
                  <c:v>6.274131764914748</c:v>
                </c:pt>
              </c:numCache>
            </c:numRef>
          </c:xVal>
          <c:yVal>
            <c:numRef>
              <c:f>Sheet1!$B$175:$B$176</c:f>
              <c:numCache>
                <c:formatCode>General</c:formatCode>
                <c:ptCount val="2"/>
                <c:pt idx="0">
                  <c:v>0.095994590756598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7008255910063221</c:v>
                </c:pt>
              </c:numCache>
            </c:numRef>
          </c:xVal>
          <c:yVal>
            <c:numRef>
              <c:f>Sheet1!$B$179:$B$180</c:f>
              <c:numCache>
                <c:formatCode>General</c:formatCode>
                <c:ptCount val="2"/>
                <c:pt idx="0">
                  <c:v>0.06473930096098733</c:v>
                </c:pt>
                <c:pt idx="1">
                  <c:v>0.0647393009609873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7008255910063221</c:v>
                </c:pt>
                <c:pt idx="1">
                  <c:v>-1.7008255910063221</c:v>
                </c:pt>
              </c:numCache>
            </c:numRef>
          </c:xVal>
          <c:yVal>
            <c:numRef>
              <c:f>Sheet1!$B$183:$B$184</c:f>
              <c:numCache>
                <c:formatCode>General</c:formatCode>
                <c:ptCount val="2"/>
                <c:pt idx="0">
                  <c:v>0.0647393009609873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7040623235024197</c:v>
                </c:pt>
                <c:pt idx="1">
                  <c:v>1.656336264066241</c:v>
                </c:pt>
                <c:pt idx="2">
                  <c:v>1.6269932028730387</c:v>
                </c:pt>
                <c:pt idx="3">
                  <c:v>1.5678285433516574</c:v>
                </c:pt>
                <c:pt idx="4">
                  <c:v>1.6208406140664224</c:v>
                </c:pt>
                <c:pt idx="5">
                  <c:v>1.6069969523429162</c:v>
                </c:pt>
                <c:pt idx="6">
                  <c:v>1.5742572573344322</c:v>
                </c:pt>
                <c:pt idx="7">
                  <c:v>1.566090711708356</c:v>
                </c:pt>
                <c:pt idx="8">
                  <c:v>1.6562324362972012</c:v>
                </c:pt>
                <c:pt idx="9">
                  <c:v>1.6712337784435796</c:v>
                </c:pt>
                <c:pt idx="10">
                  <c:v>1.6468272817772585</c:v>
                </c:pt>
                <c:pt idx="11">
                  <c:v>1.7448697598715435</c:v>
                </c:pt>
                <c:pt idx="12">
                  <c:v>1.6859855815572324</c:v>
                </c:pt>
                <c:pt idx="13">
                  <c:v>1.6463116111643326</c:v>
                </c:pt>
                <c:pt idx="14">
                  <c:v>1.6418976817523556</c:v>
                </c:pt>
                <c:pt idx="15">
                  <c:v>1.745415176905637</c:v>
                </c:pt>
                <c:pt idx="16">
                  <c:v>1.6278667822831516</c:v>
                </c:pt>
                <c:pt idx="17">
                  <c:v>1.760275521451786</c:v>
                </c:pt>
                <c:pt idx="18">
                  <c:v>1.4812118467821076</c:v>
                </c:pt>
                <c:pt idx="19">
                  <c:v>1.769792798707677</c:v>
                </c:pt>
                <c:pt idx="20">
                  <c:v>1.6543813186158216</c:v>
                </c:pt>
                <c:pt idx="21">
                  <c:v>1.7000590750761444</c:v>
                </c:pt>
                <c:pt idx="22">
                  <c:v>1.7201279039585067</c:v>
                </c:pt>
                <c:pt idx="23">
                  <c:v>1.637787284038867</c:v>
                </c:pt>
                <c:pt idx="24">
                  <c:v>1.6660952961484816</c:v>
                </c:pt>
                <c:pt idx="25">
                  <c:v>1.6248557287044754</c:v>
                </c:pt>
                <c:pt idx="26">
                  <c:v>1.6182489585451039</c:v>
                </c:pt>
                <c:pt idx="27">
                  <c:v>1.6344563265618504</c:v>
                </c:pt>
                <c:pt idx="28">
                  <c:v>1.538285749028588</c:v>
                </c:pt>
                <c:pt idx="29">
                  <c:v>1.5889060669657968</c:v>
                </c:pt>
                <c:pt idx="30">
                  <c:v>1.5597486527770148</c:v>
                </c:pt>
                <c:pt idx="31">
                  <c:v>1.4008214278368036</c:v>
                </c:pt>
                <c:pt idx="32">
                  <c:v>1.4573858339896824</c:v>
                </c:pt>
                <c:pt idx="33">
                  <c:v>1.474243873212335</c:v>
                </c:pt>
                <c:pt idx="34">
                  <c:v>1.5635417906807667</c:v>
                </c:pt>
                <c:pt idx="35">
                  <c:v>1.525964726409988</c:v>
                </c:pt>
                <c:pt idx="36">
                  <c:v>1.3628769030671835</c:v>
                </c:pt>
                <c:pt idx="37">
                  <c:v>1.5637248924878457</c:v>
                </c:pt>
                <c:pt idx="38">
                  <c:v>1.5254042015700389</c:v>
                </c:pt>
                <c:pt idx="39">
                  <c:v>1.574480605297696</c:v>
                </c:pt>
                <c:pt idx="40">
                  <c:v>1.6197324805153428</c:v>
                </c:pt>
                <c:pt idx="41">
                  <c:v>1.5537387242924015</c:v>
                </c:pt>
                <c:pt idx="42">
                  <c:v>1.625923770294649</c:v>
                </c:pt>
                <c:pt idx="43">
                  <c:v>1.6956141506868134</c:v>
                </c:pt>
                <c:pt idx="44">
                  <c:v>1.700052273778002</c:v>
                </c:pt>
                <c:pt idx="45">
                  <c:v>1.7096092551544566</c:v>
                </c:pt>
                <c:pt idx="46">
                  <c:v>1.7155886382475312</c:v>
                </c:pt>
                <c:pt idx="47">
                  <c:v>1.7097039408855574</c:v>
                </c:pt>
                <c:pt idx="48">
                  <c:v>1.6550534186650252</c:v>
                </c:pt>
                <c:pt idx="49">
                  <c:v>1.7539422514282437</c:v>
                </c:pt>
                <c:pt idx="50">
                  <c:v>1.605263149481029</c:v>
                </c:pt>
                <c:pt idx="51">
                  <c:v>1.610637407056026</c:v>
                </c:pt>
                <c:pt idx="52">
                  <c:v>6.274131764914748</c:v>
                </c:pt>
                <c:pt idx="53">
                  <c:v>24.836720230277216</c:v>
                </c:pt>
                <c:pt idx="54">
                  <c:v>-1.7008255910063221</c:v>
                </c:pt>
              </c:numCache>
            </c:numRef>
          </c:xVal>
          <c:yVal>
            <c:numRef>
              <c:f>Sheet1!$B$187:$B$241</c:f>
              <c:numCache>
                <c:formatCode>General</c:formatCode>
                <c:ptCount val="55"/>
                <c:pt idx="0">
                  <c:v>0.07808366805161891</c:v>
                </c:pt>
                <c:pt idx="1">
                  <c:v>0.07789662105538979</c:v>
                </c:pt>
                <c:pt idx="2">
                  <c:v>0.07778162032997489</c:v>
                </c:pt>
                <c:pt idx="3">
                  <c:v>0.0775497434061909</c:v>
                </c:pt>
                <c:pt idx="4">
                  <c:v>0.07775750722973351</c:v>
                </c:pt>
                <c:pt idx="5">
                  <c:v>0.07770325143378504</c:v>
                </c:pt>
                <c:pt idx="6">
                  <c:v>0.07757493869057641</c:v>
                </c:pt>
                <c:pt idx="7">
                  <c:v>0.07754293253195005</c:v>
                </c:pt>
                <c:pt idx="8">
                  <c:v>0.07789621413572047</c:v>
                </c:pt>
                <c:pt idx="9">
                  <c:v>0.07795500708910975</c:v>
                </c:pt>
                <c:pt idx="10">
                  <c:v>0.07785935364644461</c:v>
                </c:pt>
                <c:pt idx="11">
                  <c:v>0.07824359972179717</c:v>
                </c:pt>
                <c:pt idx="12">
                  <c:v>0.0780128220542246</c:v>
                </c:pt>
                <c:pt idx="13">
                  <c:v>0.07785733264072299</c:v>
                </c:pt>
                <c:pt idx="14">
                  <c:v>0.07784003365882858</c:v>
                </c:pt>
                <c:pt idx="15">
                  <c:v>0.07824573730908438</c:v>
                </c:pt>
                <c:pt idx="16">
                  <c:v>0.07778504404453586</c:v>
                </c:pt>
                <c:pt idx="17">
                  <c:v>0.078303977667562</c:v>
                </c:pt>
                <c:pt idx="18">
                  <c:v>0.07721027702015315</c:v>
                </c:pt>
                <c:pt idx="19">
                  <c:v>0.07834127758597187</c:v>
                </c:pt>
                <c:pt idx="20">
                  <c:v>0.07788895927315567</c:v>
                </c:pt>
                <c:pt idx="21">
                  <c:v>0.07806797860224597</c:v>
                </c:pt>
                <c:pt idx="22">
                  <c:v>0.07814663194602982</c:v>
                </c:pt>
                <c:pt idx="23">
                  <c:v>0.07782392427216021</c:v>
                </c:pt>
                <c:pt idx="24">
                  <c:v>0.07793486845437164</c:v>
                </c:pt>
                <c:pt idx="25">
                  <c:v>0.077773243184921</c:v>
                </c:pt>
                <c:pt idx="26">
                  <c:v>0.07774735006640911</c:v>
                </c:pt>
                <c:pt idx="27">
                  <c:v>0.07781086965172845</c:v>
                </c:pt>
                <c:pt idx="28">
                  <c:v>0.07743395989077761</c:v>
                </c:pt>
                <c:pt idx="29">
                  <c:v>0.07763235000574152</c:v>
                </c:pt>
                <c:pt idx="30">
                  <c:v>0.07751807686427017</c:v>
                </c:pt>
                <c:pt idx="31">
                  <c:v>0.07689521253406402</c:v>
                </c:pt>
                <c:pt idx="32">
                  <c:v>0.07711689859801672</c:v>
                </c:pt>
                <c:pt idx="33">
                  <c:v>0.07718296828062118</c:v>
                </c:pt>
                <c:pt idx="34">
                  <c:v>0.07753294285277963</c:v>
                </c:pt>
                <c:pt idx="35">
                  <c:v>0.07738567159087383</c:v>
                </c:pt>
                <c:pt idx="36">
                  <c:v>0.07674650112848506</c:v>
                </c:pt>
                <c:pt idx="37">
                  <c:v>0.07753366046163783</c:v>
                </c:pt>
                <c:pt idx="38">
                  <c:v>0.07738347479338284</c:v>
                </c:pt>
                <c:pt idx="39">
                  <c:v>0.07757581403134697</c:v>
                </c:pt>
                <c:pt idx="40">
                  <c:v>0.07775316425537948</c:v>
                </c:pt>
                <c:pt idx="41">
                  <c:v>0.07749452287544564</c:v>
                </c:pt>
                <c:pt idx="42">
                  <c:v>0.07777742903168167</c:v>
                </c:pt>
                <c:pt idx="43">
                  <c:v>0.07805055814547011</c:v>
                </c:pt>
                <c:pt idx="44">
                  <c:v>0.07806795194673737</c:v>
                </c:pt>
                <c:pt idx="45">
                  <c:v>0.07810540747272467</c:v>
                </c:pt>
                <c:pt idx="46">
                  <c:v>0.07812884174867528</c:v>
                </c:pt>
                <c:pt idx="47">
                  <c:v>0.07810577856310584</c:v>
                </c:pt>
                <c:pt idx="48">
                  <c:v>0.07789159335392526</c:v>
                </c:pt>
                <c:pt idx="49">
                  <c:v>0.07827915644518986</c:v>
                </c:pt>
                <c:pt idx="50">
                  <c:v>0.07769645634906193</c:v>
                </c:pt>
                <c:pt idx="51">
                  <c:v>0.07771751902945583</c:v>
                </c:pt>
                <c:pt idx="52">
                  <c:v>0.09599459075659805</c:v>
                </c:pt>
                <c:pt idx="53">
                  <c:v>0.16874470789807797</c:v>
                </c:pt>
                <c:pt idx="54">
                  <c:v>0.0647393009609873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3207981580967"/>
          <c:min val="0.041627950195131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6.7792</c:v>
                </c:pt>
                <c:pt idx="1">
                  <c:v>850.6845</c:v>
                </c:pt>
                <c:pt idx="2">
                  <c:v>874.5561</c:v>
                </c:pt>
                <c:pt idx="3">
                  <c:v>886.5982</c:v>
                </c:pt>
                <c:pt idx="4">
                  <c:v>870.1023</c:v>
                </c:pt>
                <c:pt idx="5">
                  <c:v>867.2944</c:v>
                </c:pt>
                <c:pt idx="6">
                  <c:v>847.3662</c:v>
                </c:pt>
                <c:pt idx="7">
                  <c:v>844.4321</c:v>
                </c:pt>
                <c:pt idx="8">
                  <c:v>836.4679</c:v>
                </c:pt>
                <c:pt idx="9">
                  <c:v>842.5889</c:v>
                </c:pt>
                <c:pt idx="10">
                  <c:v>850.9213</c:v>
                </c:pt>
                <c:pt idx="11">
                  <c:v>890.5118</c:v>
                </c:pt>
                <c:pt idx="12">
                  <c:v>899.8956</c:v>
                </c:pt>
                <c:pt idx="13">
                  <c:v>886.865</c:v>
                </c:pt>
                <c:pt idx="14">
                  <c:v>891.0649</c:v>
                </c:pt>
                <c:pt idx="15">
                  <c:v>898.7726</c:v>
                </c:pt>
                <c:pt idx="16">
                  <c:v>904.6196</c:v>
                </c:pt>
                <c:pt idx="17">
                  <c:v>923.2289</c:v>
                </c:pt>
                <c:pt idx="18">
                  <c:v>1043.1591</c:v>
                </c:pt>
                <c:pt idx="19">
                  <c:v>966.6261</c:v>
                </c:pt>
                <c:pt idx="20">
                  <c:v>951.4329</c:v>
                </c:pt>
                <c:pt idx="21">
                  <c:v>959.3111</c:v>
                </c:pt>
                <c:pt idx="22">
                  <c:v>926.1816</c:v>
                </c:pt>
                <c:pt idx="23">
                  <c:v>914.7657</c:v>
                </c:pt>
                <c:pt idx="24">
                  <c:v>902.8053</c:v>
                </c:pt>
                <c:pt idx="25">
                  <c:v>893.9048</c:v>
                </c:pt>
                <c:pt idx="26">
                  <c:v>904.691</c:v>
                </c:pt>
                <c:pt idx="27">
                  <c:v>948.9011</c:v>
                </c:pt>
                <c:pt idx="28">
                  <c:v>923.6051</c:v>
                </c:pt>
                <c:pt idx="29">
                  <c:v>751.8596</c:v>
                </c:pt>
                <c:pt idx="30">
                  <c:v>833.3225</c:v>
                </c:pt>
                <c:pt idx="31">
                  <c:v>856.1956</c:v>
                </c:pt>
                <c:pt idx="32">
                  <c:v>845.4176</c:v>
                </c:pt>
                <c:pt idx="33">
                  <c:v>755.1315</c:v>
                </c:pt>
                <c:pt idx="34">
                  <c:v>908.3252</c:v>
                </c:pt>
                <c:pt idx="35">
                  <c:v>916.4935</c:v>
                </c:pt>
                <c:pt idx="36">
                  <c:v>998.6525</c:v>
                </c:pt>
                <c:pt idx="37">
                  <c:v>1003.7689</c:v>
                </c:pt>
                <c:pt idx="38">
                  <c:v>1047.4482</c:v>
                </c:pt>
                <c:pt idx="39">
                  <c:v>1091.2633</c:v>
                </c:pt>
                <c:pt idx="40">
                  <c:v>1093.5677</c:v>
                </c:pt>
                <c:pt idx="41">
                  <c:v>1101.7663</c:v>
                </c:pt>
                <c:pt idx="42">
                  <c:v>1112.8943</c:v>
                </c:pt>
                <c:pt idx="43">
                  <c:v>1114.1005</c:v>
                </c:pt>
                <c:pt idx="44">
                  <c:v>1032.2769</c:v>
                </c:pt>
                <c:pt idx="45">
                  <c:v>1011.0033</c:v>
                </c:pt>
                <c:pt idx="46">
                  <c:v>997.0938</c:v>
                </c:pt>
                <c:pt idx="47">
                  <c:v>1005.3836</c:v>
                </c:pt>
                <c:pt idx="48">
                  <c:v>993.7249</c:v>
                </c:pt>
                <c:pt idx="49">
                  <c:v>938.563</c:v>
                </c:pt>
                <c:pt idx="50">
                  <c:v>938.406</c:v>
                </c:pt>
                <c:pt idx="51">
                  <c:v>933.2998</c:v>
                </c:pt>
                <c:pt idx="52">
                  <c:v>907.5156</c:v>
                </c:pt>
                <c:pt idx="53">
                  <c:v>1015.1845</c:v>
                </c:pt>
                <c:pt idx="54">
                  <c:v>973.1492</c:v>
                </c:pt>
                <c:pt idx="55">
                  <c:v>1025.176</c:v>
                </c:pt>
                <c:pt idx="56">
                  <c:v>939.811</c:v>
                </c:pt>
                <c:pt idx="57">
                  <c:v>995.7009</c:v>
                </c:pt>
                <c:pt idx="58">
                  <c:v>945.953</c:v>
                </c:pt>
                <c:pt idx="59">
                  <c:v>990.5743</c:v>
                </c:pt>
                <c:pt idx="60">
                  <c:v>1038.2464</c:v>
                </c:pt>
                <c:pt idx="61">
                  <c:v>970.2124</c:v>
                </c:pt>
                <c:pt idx="62">
                  <c:v>919.2749</c:v>
                </c:pt>
                <c:pt idx="63">
                  <c:v>1007.1789</c:v>
                </c:pt>
                <c:pt idx="64">
                  <c:v>1041.8156</c:v>
                </c:pt>
                <c:pt idx="65">
                  <c:v>971.4927</c:v>
                </c:pt>
                <c:pt idx="66">
                  <c:v>1049.046</c:v>
                </c:pt>
                <c:pt idx="67">
                  <c:v>958.0574</c:v>
                </c:pt>
                <c:pt idx="68">
                  <c:v>1003.4835</c:v>
                </c:pt>
                <c:pt idx="69">
                  <c:v>1011.901</c:v>
                </c:pt>
                <c:pt idx="70">
                  <c:v>1010.7242</c:v>
                </c:pt>
                <c:pt idx="71">
                  <c:v>980.036</c:v>
                </c:pt>
                <c:pt idx="72">
                  <c:v>1087.1646</c:v>
                </c:pt>
                <c:pt idx="73">
                  <c:v>1139.3844</c:v>
                </c:pt>
                <c:pt idx="74">
                  <c:v>1147.6607</c:v>
                </c:pt>
                <c:pt idx="75">
                  <c:v>1112.887</c:v>
                </c:pt>
                <c:pt idx="76">
                  <c:v>1134.3668</c:v>
                </c:pt>
                <c:pt idx="77">
                  <c:v>982.8471</c:v>
                </c:pt>
                <c:pt idx="78">
                  <c:v>1075.0902</c:v>
                </c:pt>
                <c:pt idx="79">
                  <c:v>1118.1735</c:v>
                </c:pt>
                <c:pt idx="80">
                  <c:v>1005.9818</c:v>
                </c:pt>
                <c:pt idx="81">
                  <c:v>997.835</c:v>
                </c:pt>
                <c:pt idx="82">
                  <c:v>1015.3202</c:v>
                </c:pt>
                <c:pt idx="83">
                  <c:v>1118.4013</c:v>
                </c:pt>
                <c:pt idx="84">
                  <c:v>1075.6366</c:v>
                </c:pt>
                <c:pt idx="85">
                  <c:v>1084.991</c:v>
                </c:pt>
                <c:pt idx="86">
                  <c:v>1112.7317</c:v>
                </c:pt>
                <c:pt idx="87">
                  <c:v>1129.7534</c:v>
                </c:pt>
                <c:pt idx="88">
                  <c:v>1133.7804</c:v>
                </c:pt>
                <c:pt idx="89">
                  <c:v>1087.8747</c:v>
                </c:pt>
                <c:pt idx="90">
                  <c:v>1147.6967</c:v>
                </c:pt>
                <c:pt idx="91">
                  <c:v>1156.7806</c:v>
                </c:pt>
                <c:pt idx="92">
                  <c:v>1126.4915</c:v>
                </c:pt>
                <c:pt idx="93">
                  <c:v>1138.1964</c:v>
                </c:pt>
                <c:pt idx="94">
                  <c:v>1154.9826</c:v>
                </c:pt>
                <c:pt idx="95">
                  <c:v>1144.6959</c:v>
                </c:pt>
                <c:pt idx="96">
                  <c:v>1088.659</c:v>
                </c:pt>
                <c:pt idx="97">
                  <c:v>1103.4413</c:v>
                </c:pt>
                <c:pt idx="98">
                  <c:v>1082.9455</c:v>
                </c:pt>
                <c:pt idx="99">
                  <c:v>1017.8109</c:v>
                </c:pt>
                <c:pt idx="100">
                  <c:v>1043.5071</c:v>
                </c:pt>
                <c:pt idx="101">
                  <c:v>1036.7912</c:v>
                </c:pt>
                <c:pt idx="102">
                  <c:v>1069.6267</c:v>
                </c:pt>
                <c:pt idx="103">
                  <c:v>1001.2545</c:v>
                </c:pt>
                <c:pt idx="104">
                  <c:v>1074.468</c:v>
                </c:pt>
              </c:numCache>
            </c:numRef>
          </c:xVal>
          <c:yVal>
            <c:numRef>
              <c:f>Sheet1!$B$2:$B$106</c:f>
              <c:numCache>
                <c:formatCode>General</c:formatCode>
                <c:ptCount val="105"/>
                <c:pt idx="0">
                  <c:v>0.21933998465080584</c:v>
                </c:pt>
                <c:pt idx="1">
                  <c:v>0.19069952305246424</c:v>
                </c:pt>
                <c:pt idx="2">
                  <c:v>0.15764636484294353</c:v>
                </c:pt>
                <c:pt idx="3">
                  <c:v>0.16243731955629845</c:v>
                </c:pt>
                <c:pt idx="4">
                  <c:v>0.14980252021816814</c:v>
                </c:pt>
                <c:pt idx="5">
                  <c:v>0.14439676678974153</c:v>
                </c:pt>
                <c:pt idx="6">
                  <c:v>0.17270362217330398</c:v>
                </c:pt>
                <c:pt idx="7">
                  <c:v>0.1611933116805004</c:v>
                </c:pt>
                <c:pt idx="8">
                  <c:v>0.16048295811847565</c:v>
                </c:pt>
                <c:pt idx="9">
                  <c:v>0.16180371352785147</c:v>
                </c:pt>
                <c:pt idx="10">
                  <c:v>0.1695104895104895</c:v>
                </c:pt>
                <c:pt idx="11">
                  <c:v>0.16044707186403104</c:v>
                </c:pt>
                <c:pt idx="12">
                  <c:v>0.17437842393594605</c:v>
                </c:pt>
                <c:pt idx="13">
                  <c:v>0.17121418826739426</c:v>
                </c:pt>
                <c:pt idx="14">
                  <c:v>0.16830610203401133</c:v>
                </c:pt>
                <c:pt idx="15">
                  <c:v>0.17840076457470533</c:v>
                </c:pt>
                <c:pt idx="16">
                  <c:v>0.17441151359921941</c:v>
                </c:pt>
                <c:pt idx="17">
                  <c:v>0.15169811320754717</c:v>
                </c:pt>
                <c:pt idx="18">
                  <c:v>0.18800603815013037</c:v>
                </c:pt>
                <c:pt idx="19">
                  <c:v>0.15099472878762116</c:v>
                </c:pt>
                <c:pt idx="20">
                  <c:v>0.1602972399150743</c:v>
                </c:pt>
                <c:pt idx="21">
                  <c:v>0.14950166112956811</c:v>
                </c:pt>
                <c:pt idx="22">
                  <c:v>0.16251388668465322</c:v>
                </c:pt>
                <c:pt idx="23">
                  <c:v>0.17288135593220338</c:v>
                </c:pt>
                <c:pt idx="24">
                  <c:v>0.17027070318757007</c:v>
                </c:pt>
                <c:pt idx="25">
                  <c:v>0.17125770206596594</c:v>
                </c:pt>
                <c:pt idx="26">
                  <c:v>0.1599651871192341</c:v>
                </c:pt>
                <c:pt idx="27">
                  <c:v>0.1438143487497957</c:v>
                </c:pt>
                <c:pt idx="28">
                  <c:v>0.14381698928171494</c:v>
                </c:pt>
                <c:pt idx="29">
                  <c:v>0.1795017793594306</c:v>
                </c:pt>
                <c:pt idx="30">
                  <c:v>0.16601598810187768</c:v>
                </c:pt>
                <c:pt idx="31">
                  <c:v>0.15304406323578876</c:v>
                </c:pt>
                <c:pt idx="32">
                  <c:v>0.15442820292347378</c:v>
                </c:pt>
                <c:pt idx="33">
                  <c:v>0.18454237288135594</c:v>
                </c:pt>
                <c:pt idx="34">
                  <c:v>0.16421982590619721</c:v>
                </c:pt>
                <c:pt idx="35">
                  <c:v>0.17924424369285005</c:v>
                </c:pt>
                <c:pt idx="36">
                  <c:v>0.12554861018752494</c:v>
                </c:pt>
                <c:pt idx="37">
                  <c:v>0.11342069588793494</c:v>
                </c:pt>
                <c:pt idx="38">
                  <c:v>0.10565255992897307</c:v>
                </c:pt>
                <c:pt idx="39">
                  <c:v>0.09131030284583777</c:v>
                </c:pt>
                <c:pt idx="40">
                  <c:v>0.09518229166666667</c:v>
                </c:pt>
                <c:pt idx="41">
                  <c:v>0.07959518599562364</c:v>
                </c:pt>
                <c:pt idx="42">
                  <c:v>0.07896592244418331</c:v>
                </c:pt>
                <c:pt idx="43">
                  <c:v>0.08313436075537226</c:v>
                </c:pt>
                <c:pt idx="44">
                  <c:v>0.0948153674002238</c:v>
                </c:pt>
                <c:pt idx="45">
                  <c:v>0.10679405520169852</c:v>
                </c:pt>
                <c:pt idx="46">
                  <c:v>0.1124546553808948</c:v>
                </c:pt>
                <c:pt idx="47">
                  <c:v>0.09760262725779967</c:v>
                </c:pt>
                <c:pt idx="48">
                  <c:v>0.11852334854792597</c:v>
                </c:pt>
                <c:pt idx="49">
                  <c:v>0.1411543287327478</c:v>
                </c:pt>
                <c:pt idx="50">
                  <c:v>0.11621983914209115</c:v>
                </c:pt>
                <c:pt idx="51">
                  <c:v>0.10727411944869832</c:v>
                </c:pt>
                <c:pt idx="52">
                  <c:v>0.12376336232653874</c:v>
                </c:pt>
                <c:pt idx="53">
                  <c:v>0.10119471477173828</c:v>
                </c:pt>
                <c:pt idx="54">
                  <c:v>0.09513160158265956</c:v>
                </c:pt>
                <c:pt idx="55">
                  <c:v>0.08154694198967538</c:v>
                </c:pt>
                <c:pt idx="56">
                  <c:v>0.10031152647975078</c:v>
                </c:pt>
                <c:pt idx="57">
                  <c:v>0.08788449466415568</c:v>
                </c:pt>
                <c:pt idx="58">
                  <c:v>0.10770174900276158</c:v>
                </c:pt>
                <c:pt idx="59">
                  <c:v>0.10466289866774324</c:v>
                </c:pt>
                <c:pt idx="60">
                  <c:v>0.10296017855045225</c:v>
                </c:pt>
                <c:pt idx="61">
                  <c:v>0.12066169315601687</c:v>
                </c:pt>
                <c:pt idx="62">
                  <c:v>0.13740396927016646</c:v>
                </c:pt>
                <c:pt idx="63">
                  <c:v>0.14054501656127671</c:v>
                </c:pt>
                <c:pt idx="64">
                  <c:v>0.13665172360488484</c:v>
                </c:pt>
                <c:pt idx="65">
                  <c:v>0.14332612699175273</c:v>
                </c:pt>
                <c:pt idx="66">
                  <c:v>0.1478063785008904</c:v>
                </c:pt>
                <c:pt idx="67">
                  <c:v>0.12599882244091176</c:v>
                </c:pt>
                <c:pt idx="68">
                  <c:v>0.10524279357709422</c:v>
                </c:pt>
                <c:pt idx="69">
                  <c:v>0.08815461346633416</c:v>
                </c:pt>
                <c:pt idx="70">
                  <c:v>0.07558816678313533</c:v>
                </c:pt>
                <c:pt idx="71">
                  <c:v>0.0945140493857195</c:v>
                </c:pt>
                <c:pt idx="72">
                  <c:v>0.08501304244723737</c:v>
                </c:pt>
                <c:pt idx="73">
                  <c:v>0.07700810611643331</c:v>
                </c:pt>
                <c:pt idx="74">
                  <c:v>0.10190574004336414</c:v>
                </c:pt>
                <c:pt idx="75">
                  <c:v>0.07303763816986147</c:v>
                </c:pt>
                <c:pt idx="76">
                  <c:v>0.07546002783361683</c:v>
                </c:pt>
                <c:pt idx="77">
                  <c:v>0.12511387792286668</c:v>
                </c:pt>
                <c:pt idx="78">
                  <c:v>0.08982630272952853</c:v>
                </c:pt>
                <c:pt idx="79">
                  <c:v>0.06466188843876597</c:v>
                </c:pt>
                <c:pt idx="80">
                  <c:v>0.09342186534898085</c:v>
                </c:pt>
                <c:pt idx="81">
                  <c:v>0.11085887249337874</c:v>
                </c:pt>
                <c:pt idx="82">
                  <c:v>0.07975460122699386</c:v>
                </c:pt>
                <c:pt idx="83">
                  <c:v>0.058746492048643593</c:v>
                </c:pt>
                <c:pt idx="84">
                  <c:v>0.06811881188118812</c:v>
                </c:pt>
                <c:pt idx="85">
                  <c:v>0.07900838237916889</c:v>
                </c:pt>
                <c:pt idx="86">
                  <c:v>0.09780490972853617</c:v>
                </c:pt>
                <c:pt idx="87">
                  <c:v>0.09620453347390617</c:v>
                </c:pt>
                <c:pt idx="88">
                  <c:v>0.0937597503900156</c:v>
                </c:pt>
                <c:pt idx="89">
                  <c:v>0.066963521150882</c:v>
                </c:pt>
                <c:pt idx="90">
                  <c:v>0.06942709262894878</c:v>
                </c:pt>
                <c:pt idx="91">
                  <c:v>0.06394779771615008</c:v>
                </c:pt>
                <c:pt idx="92">
                  <c:v>0.08662573411639082</c:v>
                </c:pt>
                <c:pt idx="93">
                  <c:v>0.06516912628966959</c:v>
                </c:pt>
                <c:pt idx="94">
                  <c:v>0.07128498531003556</c:v>
                </c:pt>
                <c:pt idx="95">
                  <c:v>0.07427800876502978</c:v>
                </c:pt>
                <c:pt idx="96">
                  <c:v>0.0725052758516732</c:v>
                </c:pt>
                <c:pt idx="97">
                  <c:v>0.08172219936925819</c:v>
                </c:pt>
                <c:pt idx="98">
                  <c:v>0.09627070177528893</c:v>
                </c:pt>
                <c:pt idx="99">
                  <c:v>0.10277647549096212</c:v>
                </c:pt>
                <c:pt idx="100">
                  <c:v>0.11401326699834162</c:v>
                </c:pt>
                <c:pt idx="101">
                  <c:v>0.094896331738437</c:v>
                </c:pt>
                <c:pt idx="102">
                  <c:v>0.07788606291102132</c:v>
                </c:pt>
                <c:pt idx="103">
                  <c:v>0.08471602953000512</c:v>
                </c:pt>
                <c:pt idx="104">
                  <c:v>0.0845882454177781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88.2856</c:v>
                </c:pt>
                <c:pt idx="1">
                  <c:v>1063.4825</c:v>
                </c:pt>
                <c:pt idx="2">
                  <c:v>1063.6416</c:v>
                </c:pt>
                <c:pt idx="3">
                  <c:v>1017.8923</c:v>
                </c:pt>
                <c:pt idx="4">
                  <c:v>1055.4068</c:v>
                </c:pt>
                <c:pt idx="5">
                  <c:v>1081.5758</c:v>
                </c:pt>
                <c:pt idx="6">
                  <c:v>990.3188</c:v>
                </c:pt>
                <c:pt idx="7">
                  <c:v>1046.1724</c:v>
                </c:pt>
                <c:pt idx="8">
                  <c:v>1108.8925</c:v>
                </c:pt>
                <c:pt idx="9">
                  <c:v>1079.0117</c:v>
                </c:pt>
                <c:pt idx="10">
                  <c:v>1093.4752</c:v>
                </c:pt>
                <c:pt idx="11">
                  <c:v>995.388</c:v>
                </c:pt>
                <c:pt idx="12">
                  <c:v>1033.7307</c:v>
                </c:pt>
                <c:pt idx="13">
                  <c:v>1078.0218</c:v>
                </c:pt>
                <c:pt idx="14">
                  <c:v>1066.305</c:v>
                </c:pt>
                <c:pt idx="15">
                  <c:v>1105.8022</c:v>
                </c:pt>
                <c:pt idx="16">
                  <c:v>1078.7069</c:v>
                </c:pt>
                <c:pt idx="17">
                  <c:v>1116.2664</c:v>
                </c:pt>
                <c:pt idx="18">
                  <c:v>968.263</c:v>
                </c:pt>
                <c:pt idx="19">
                  <c:v>1165.0323</c:v>
                </c:pt>
                <c:pt idx="20">
                  <c:v>1118.6048</c:v>
                </c:pt>
                <c:pt idx="21">
                  <c:v>1137.8798</c:v>
                </c:pt>
                <c:pt idx="22">
                  <c:v>1163.6796</c:v>
                </c:pt>
                <c:pt idx="23">
                  <c:v>1104.5773</c:v>
                </c:pt>
                <c:pt idx="24">
                  <c:v>1143.0575</c:v>
                </c:pt>
                <c:pt idx="25">
                  <c:v>1081.7633</c:v>
                </c:pt>
                <c:pt idx="26">
                  <c:v>1107.2239</c:v>
                </c:pt>
                <c:pt idx="27">
                  <c:v>1123.328</c:v>
                </c:pt>
                <c:pt idx="28">
                  <c:v>1052.5108</c:v>
                </c:pt>
                <c:pt idx="29">
                  <c:v>1084.9799</c:v>
                </c:pt>
                <c:pt idx="30">
                  <c:v>1067.6779</c:v>
                </c:pt>
                <c:pt idx="31">
                  <c:v>973.8568</c:v>
                </c:pt>
                <c:pt idx="32">
                  <c:v>1016.2229</c:v>
                </c:pt>
                <c:pt idx="33">
                  <c:v>1044.2662</c:v>
                </c:pt>
                <c:pt idx="34">
                  <c:v>1082.1673</c:v>
                </c:pt>
                <c:pt idx="35">
                  <c:v>1084.2721</c:v>
                </c:pt>
                <c:pt idx="36">
                  <c:v>986.2426</c:v>
                </c:pt>
                <c:pt idx="37">
                  <c:v>1123.4275</c:v>
                </c:pt>
                <c:pt idx="38">
                  <c:v>1107.6686</c:v>
                </c:pt>
                <c:pt idx="39">
                  <c:v>1103.436</c:v>
                </c:pt>
                <c:pt idx="40">
                  <c:v>1177.9532</c:v>
                </c:pt>
                <c:pt idx="41">
                  <c:v>1133.1763</c:v>
                </c:pt>
                <c:pt idx="42">
                  <c:v>1183.6421</c:v>
                </c:pt>
                <c:pt idx="43">
                  <c:v>1209.4714</c:v>
                </c:pt>
                <c:pt idx="44">
                  <c:v>1164.9411</c:v>
                </c:pt>
                <c:pt idx="45">
                  <c:v>1116.5788</c:v>
                </c:pt>
                <c:pt idx="46">
                  <c:v>1135.6351</c:v>
                </c:pt>
                <c:pt idx="47">
                  <c:v>1106.0904</c:v>
                </c:pt>
                <c:pt idx="48">
                  <c:v>1086.0204</c:v>
                </c:pt>
                <c:pt idx="49">
                  <c:v>1124.6404</c:v>
                </c:pt>
                <c:pt idx="50">
                  <c:v>1004.1653</c:v>
                </c:pt>
                <c:pt idx="51">
                  <c:v>974.8064</c:v>
                </c:pt>
              </c:numCache>
            </c:numRef>
          </c:xVal>
          <c:yVal>
            <c:numRef>
              <c:f>Sheet1!$B$109:$B$160</c:f>
              <c:numCache>
                <c:formatCode>General</c:formatCode>
                <c:ptCount val="52"/>
                <c:pt idx="0">
                  <c:v>0.08490269930947897</c:v>
                </c:pt>
                <c:pt idx="1">
                  <c:v>0.08445834705301285</c:v>
                </c:pt>
                <c:pt idx="2">
                  <c:v>0.08606979826240613</c:v>
                </c:pt>
                <c:pt idx="3">
                  <c:v>0.09831276020743554</c:v>
                </c:pt>
                <c:pt idx="4">
                  <c:v>0.0823502722323049</c:v>
                </c:pt>
                <c:pt idx="5">
                  <c:v>0.08385643006599067</c:v>
                </c:pt>
                <c:pt idx="6">
                  <c:v>0.08864873035066505</c:v>
                </c:pt>
                <c:pt idx="7">
                  <c:v>0.08483717071147065</c:v>
                </c:pt>
                <c:pt idx="8">
                  <c:v>0.08926064576509125</c:v>
                </c:pt>
                <c:pt idx="9">
                  <c:v>0.09222462203023758</c:v>
                </c:pt>
                <c:pt idx="10">
                  <c:v>0.10126847677953664</c:v>
                </c:pt>
                <c:pt idx="11">
                  <c:v>0.14309880815071127</c:v>
                </c:pt>
                <c:pt idx="12">
                  <c:v>0.11258937460403656</c:v>
                </c:pt>
                <c:pt idx="13">
                  <c:v>0.1016839378238342</c:v>
                </c:pt>
                <c:pt idx="14">
                  <c:v>0.12088563803499061</c:v>
                </c:pt>
                <c:pt idx="15">
                  <c:v>0.09359966534197867</c:v>
                </c:pt>
                <c:pt idx="16">
                  <c:v>0.12809593186148158</c:v>
                </c:pt>
                <c:pt idx="17">
                  <c:v>0.0689444036247857</c:v>
                </c:pt>
                <c:pt idx="18">
                  <c:v>0.07787684591808303</c:v>
                </c:pt>
                <c:pt idx="19">
                  <c:v>0.07287714248331807</c:v>
                </c:pt>
                <c:pt idx="20">
                  <c:v>0.07140820980615735</c:v>
                </c:pt>
                <c:pt idx="21">
                  <c:v>0.06337662337662338</c:v>
                </c:pt>
                <c:pt idx="22">
                  <c:v>0.06343087436481513</c:v>
                </c:pt>
                <c:pt idx="23">
                  <c:v>0.062386322299017825</c:v>
                </c:pt>
                <c:pt idx="24">
                  <c:v>0.05270247516416905</c:v>
                </c:pt>
                <c:pt idx="25">
                  <c:v>0.06210951855935318</c:v>
                </c:pt>
                <c:pt idx="26">
                  <c:v>0.0579785392869505</c:v>
                </c:pt>
                <c:pt idx="27">
                  <c:v>0.05480259281084266</c:v>
                </c:pt>
                <c:pt idx="28">
                  <c:v>0.07242857142857143</c:v>
                </c:pt>
                <c:pt idx="29">
                  <c:v>0.05792276964047936</c:v>
                </c:pt>
                <c:pt idx="30">
                  <c:v>0.0709655407710679</c:v>
                </c:pt>
                <c:pt idx="31">
                  <c:v>0.06972443129276863</c:v>
                </c:pt>
                <c:pt idx="32">
                  <c:v>0.07591192901741703</c:v>
                </c:pt>
                <c:pt idx="33">
                  <c:v>0.08133712275003384</c:v>
                </c:pt>
                <c:pt idx="34">
                  <c:v>0.09276928382572709</c:v>
                </c:pt>
                <c:pt idx="35">
                  <c:v>0.08207771609833465</c:v>
                </c:pt>
                <c:pt idx="36">
                  <c:v>0.08579773640014604</c:v>
                </c:pt>
                <c:pt idx="37">
                  <c:v>0.06512013256006628</c:v>
                </c:pt>
                <c:pt idx="38">
                  <c:v>0.06393769244702047</c:v>
                </c:pt>
                <c:pt idx="39">
                  <c:v>0.07328504473796335</c:v>
                </c:pt>
                <c:pt idx="40">
                  <c:v>0.052746951637210576</c:v>
                </c:pt>
                <c:pt idx="41">
                  <c:v>0.061794019933554815</c:v>
                </c:pt>
                <c:pt idx="42">
                  <c:v>0.05582488614661378</c:v>
                </c:pt>
                <c:pt idx="43">
                  <c:v>0.052984429065743945</c:v>
                </c:pt>
                <c:pt idx="44">
                  <c:v>0.05203493774391377</c:v>
                </c:pt>
                <c:pt idx="45">
                  <c:v>0.0659689642728257</c:v>
                </c:pt>
                <c:pt idx="46">
                  <c:v>0.056874466268146885</c:v>
                </c:pt>
                <c:pt idx="47">
                  <c:v>0.06119175555377336</c:v>
                </c:pt>
                <c:pt idx="48">
                  <c:v>0.06203358208955224</c:v>
                </c:pt>
                <c:pt idx="49">
                  <c:v>0.07416814833629667</c:v>
                </c:pt>
                <c:pt idx="50">
                  <c:v>0.09495573743110072</c:v>
                </c:pt>
                <c:pt idx="51">
                  <c:v>0.077747989276139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07.8675776783695</c:v>
                </c:pt>
              </c:numCache>
            </c:numRef>
          </c:xVal>
          <c:yVal>
            <c:numRef>
              <c:f>Sheet1!$B$163:$B$164</c:f>
              <c:numCache>
                <c:formatCode>General</c:formatCode>
                <c:ptCount val="2"/>
                <c:pt idx="0">
                  <c:v>0.16874470789807797</c:v>
                </c:pt>
                <c:pt idx="1">
                  <c:v>0.1687447078980779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07.8675776783695</c:v>
                </c:pt>
                <c:pt idx="1">
                  <c:v>607.8675776783695</c:v>
                </c:pt>
              </c:numCache>
            </c:numRef>
          </c:xVal>
          <c:yVal>
            <c:numRef>
              <c:f>Sheet1!$B$167:$B$168</c:f>
              <c:numCache>
                <c:formatCode>General</c:formatCode>
                <c:ptCount val="2"/>
                <c:pt idx="0">
                  <c:v>0.1687447078980779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89.3802028281448</c:v>
                </c:pt>
              </c:numCache>
            </c:numRef>
          </c:xVal>
          <c:yVal>
            <c:numRef>
              <c:f>Sheet1!$B$171:$B$172</c:f>
              <c:numCache>
                <c:formatCode>General</c:formatCode>
                <c:ptCount val="2"/>
                <c:pt idx="0">
                  <c:v>0.09599459075659805</c:v>
                </c:pt>
                <c:pt idx="1">
                  <c:v>0.0959945907565980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89.3802028281448</c:v>
                </c:pt>
                <c:pt idx="1">
                  <c:v>989.3802028281448</c:v>
                </c:pt>
              </c:numCache>
            </c:numRef>
          </c:xVal>
          <c:yVal>
            <c:numRef>
              <c:f>Sheet1!$B$175:$B$176</c:f>
              <c:numCache>
                <c:formatCode>General</c:formatCode>
                <c:ptCount val="2"/>
                <c:pt idx="0">
                  <c:v>0.095994590756598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3.2876730601283</c:v>
                </c:pt>
              </c:numCache>
            </c:numRef>
          </c:xVal>
          <c:yVal>
            <c:numRef>
              <c:f>Sheet1!$B$179:$B$180</c:f>
              <c:numCache>
                <c:formatCode>General</c:formatCode>
                <c:ptCount val="2"/>
                <c:pt idx="0">
                  <c:v>0.06473930096098733</c:v>
                </c:pt>
                <c:pt idx="1">
                  <c:v>0.0647393009609873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3.2876730601283</c:v>
                </c:pt>
                <c:pt idx="1">
                  <c:v>1153.2876730601283</c:v>
                </c:pt>
              </c:numCache>
            </c:numRef>
          </c:xVal>
          <c:yVal>
            <c:numRef>
              <c:f>Sheet1!$B$183:$B$184</c:f>
              <c:numCache>
                <c:formatCode>General</c:formatCode>
                <c:ptCount val="2"/>
                <c:pt idx="0">
                  <c:v>0.0647393009609873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88.2856</c:v>
                </c:pt>
                <c:pt idx="1">
                  <c:v>1063.4825</c:v>
                </c:pt>
                <c:pt idx="2">
                  <c:v>1063.6416</c:v>
                </c:pt>
                <c:pt idx="3">
                  <c:v>1017.8923</c:v>
                </c:pt>
                <c:pt idx="4">
                  <c:v>1055.4068</c:v>
                </c:pt>
                <c:pt idx="5">
                  <c:v>1081.5758</c:v>
                </c:pt>
                <c:pt idx="6">
                  <c:v>990.3188</c:v>
                </c:pt>
                <c:pt idx="7">
                  <c:v>1046.1724</c:v>
                </c:pt>
                <c:pt idx="8">
                  <c:v>1108.8925</c:v>
                </c:pt>
                <c:pt idx="9">
                  <c:v>1079.0117</c:v>
                </c:pt>
                <c:pt idx="10">
                  <c:v>1093.4752</c:v>
                </c:pt>
                <c:pt idx="11">
                  <c:v>995.388</c:v>
                </c:pt>
                <c:pt idx="12">
                  <c:v>1033.7307</c:v>
                </c:pt>
                <c:pt idx="13">
                  <c:v>1078.0218</c:v>
                </c:pt>
                <c:pt idx="14">
                  <c:v>1066.305</c:v>
                </c:pt>
                <c:pt idx="15">
                  <c:v>1105.8022</c:v>
                </c:pt>
                <c:pt idx="16">
                  <c:v>1078.7069</c:v>
                </c:pt>
                <c:pt idx="17">
                  <c:v>1116.2664</c:v>
                </c:pt>
                <c:pt idx="18">
                  <c:v>968.263</c:v>
                </c:pt>
                <c:pt idx="19">
                  <c:v>1165.0323</c:v>
                </c:pt>
                <c:pt idx="20">
                  <c:v>1118.6048</c:v>
                </c:pt>
                <c:pt idx="21">
                  <c:v>1137.8798</c:v>
                </c:pt>
                <c:pt idx="22">
                  <c:v>1163.6796</c:v>
                </c:pt>
                <c:pt idx="23">
                  <c:v>1104.5773</c:v>
                </c:pt>
                <c:pt idx="24">
                  <c:v>1143.0575</c:v>
                </c:pt>
                <c:pt idx="25">
                  <c:v>1081.7633</c:v>
                </c:pt>
                <c:pt idx="26">
                  <c:v>1107.2239</c:v>
                </c:pt>
                <c:pt idx="27">
                  <c:v>1123.328</c:v>
                </c:pt>
                <c:pt idx="28">
                  <c:v>1052.5108</c:v>
                </c:pt>
                <c:pt idx="29">
                  <c:v>1084.9799</c:v>
                </c:pt>
                <c:pt idx="30">
                  <c:v>1067.6779</c:v>
                </c:pt>
                <c:pt idx="31">
                  <c:v>973.8568</c:v>
                </c:pt>
                <c:pt idx="32">
                  <c:v>1016.2229</c:v>
                </c:pt>
                <c:pt idx="33">
                  <c:v>1044.2662</c:v>
                </c:pt>
                <c:pt idx="34">
                  <c:v>1082.1673</c:v>
                </c:pt>
                <c:pt idx="35">
                  <c:v>1084.2721</c:v>
                </c:pt>
                <c:pt idx="36">
                  <c:v>986.2426</c:v>
                </c:pt>
                <c:pt idx="37">
                  <c:v>1123.4275</c:v>
                </c:pt>
                <c:pt idx="38">
                  <c:v>1107.6686</c:v>
                </c:pt>
                <c:pt idx="39">
                  <c:v>1103.436</c:v>
                </c:pt>
                <c:pt idx="40">
                  <c:v>1177.9532</c:v>
                </c:pt>
                <c:pt idx="41">
                  <c:v>1133.1763</c:v>
                </c:pt>
                <c:pt idx="42">
                  <c:v>1183.6421</c:v>
                </c:pt>
                <c:pt idx="43">
                  <c:v>1209.4714</c:v>
                </c:pt>
                <c:pt idx="44">
                  <c:v>1164.9411</c:v>
                </c:pt>
                <c:pt idx="45">
                  <c:v>1116.5788</c:v>
                </c:pt>
                <c:pt idx="46">
                  <c:v>1135.6351</c:v>
                </c:pt>
                <c:pt idx="47">
                  <c:v>1106.0904</c:v>
                </c:pt>
                <c:pt idx="48">
                  <c:v>1086.0204</c:v>
                </c:pt>
                <c:pt idx="49">
                  <c:v>1124.6404</c:v>
                </c:pt>
                <c:pt idx="50">
                  <c:v>1004.1653</c:v>
                </c:pt>
                <c:pt idx="51">
                  <c:v>974.8064</c:v>
                </c:pt>
                <c:pt idx="52">
                  <c:v>989.3802028281448</c:v>
                </c:pt>
                <c:pt idx="53">
                  <c:v>607.8675776783695</c:v>
                </c:pt>
                <c:pt idx="54">
                  <c:v>1153.2876730601283</c:v>
                </c:pt>
              </c:numCache>
            </c:numRef>
          </c:xVal>
          <c:yVal>
            <c:numRef>
              <c:f>Sheet1!$B$187:$B$241</c:f>
              <c:numCache>
                <c:formatCode>General</c:formatCode>
                <c:ptCount val="55"/>
                <c:pt idx="0">
                  <c:v>0.07713445676404074</c:v>
                </c:pt>
                <c:pt idx="1">
                  <c:v>0.08186412574881796</c:v>
                </c:pt>
                <c:pt idx="2">
                  <c:v>0.08183378718890097</c:v>
                </c:pt>
                <c:pt idx="3">
                  <c:v>0.09055765820846179</c:v>
                </c:pt>
                <c:pt idx="4">
                  <c:v>0.08340406986146379</c:v>
                </c:pt>
                <c:pt idx="5">
                  <c:v>0.07841393928655033</c:v>
                </c:pt>
                <c:pt idx="6">
                  <c:v>0.0958156109543587</c:v>
                </c:pt>
                <c:pt idx="7">
                  <c:v>0.0851649648815632</c:v>
                </c:pt>
                <c:pt idx="8">
                  <c:v>0.07320495537903618</c:v>
                </c:pt>
                <c:pt idx="9">
                  <c:v>0.07890288398474804</c:v>
                </c:pt>
                <c:pt idx="10">
                  <c:v>0.07614485908619398</c:v>
                </c:pt>
                <c:pt idx="11">
                  <c:v>0.09484897218671945</c:v>
                </c:pt>
                <c:pt idx="12">
                  <c:v>0.08753745552216466</c:v>
                </c:pt>
                <c:pt idx="13">
                  <c:v>0.07909164665264162</c:v>
                </c:pt>
                <c:pt idx="14">
                  <c:v>0.08132590711044074</c:v>
                </c:pt>
                <c:pt idx="15">
                  <c:v>0.07379424043064894</c:v>
                </c:pt>
                <c:pt idx="16">
                  <c:v>0.07896100587703411</c:v>
                </c:pt>
                <c:pt idx="17">
                  <c:v>0.07179883654200175</c:v>
                </c:pt>
                <c:pt idx="18">
                  <c:v>0.10002140108520724</c:v>
                </c:pt>
                <c:pt idx="19">
                  <c:v>0.062499734222342146</c:v>
                </c:pt>
                <c:pt idx="20">
                  <c:v>0.07135293026601192</c:v>
                </c:pt>
                <c:pt idx="21">
                  <c:v>0.06767740705796207</c:v>
                </c:pt>
                <c:pt idx="22">
                  <c:v>0.06275767872265495</c:v>
                </c:pt>
                <c:pt idx="23">
                  <c:v>0.0740278149249442</c:v>
                </c:pt>
                <c:pt idx="24">
                  <c:v>0.06669007857472889</c:v>
                </c:pt>
                <c:pt idx="25">
                  <c:v>0.07837818516974052</c:v>
                </c:pt>
                <c:pt idx="26">
                  <c:v>0.07352313841535016</c:v>
                </c:pt>
                <c:pt idx="27">
                  <c:v>0.07045226976192576</c:v>
                </c:pt>
                <c:pt idx="28">
                  <c:v>0.08395630411363045</c:v>
                </c:pt>
                <c:pt idx="29">
                  <c:v>0.07776481614504463</c:v>
                </c:pt>
                <c:pt idx="30">
                  <c:v>0.08106411069994368</c:v>
                </c:pt>
                <c:pt idx="31">
                  <c:v>0.09895472706594971</c:v>
                </c:pt>
                <c:pt idx="32">
                  <c:v>0.09087599379567415</c:v>
                </c:pt>
                <c:pt idx="33">
                  <c:v>0.08552845553469857</c:v>
                </c:pt>
                <c:pt idx="34">
                  <c:v>0.07830114696605428</c:v>
                </c:pt>
                <c:pt idx="35">
                  <c:v>0.07789978555239396</c:v>
                </c:pt>
                <c:pt idx="36">
                  <c:v>0.09659289591937309</c:v>
                </c:pt>
                <c:pt idx="37">
                  <c:v>0.07043329624393865</c:v>
                </c:pt>
                <c:pt idx="38">
                  <c:v>0.0734383391847084</c:v>
                </c:pt>
                <c:pt idx="39">
                  <c:v>0.0742454478503578</c:v>
                </c:pt>
                <c:pt idx="40">
                  <c:v>0.06003586559360591</c:v>
                </c:pt>
                <c:pt idx="41">
                  <c:v>0.06857431099617539</c:v>
                </c:pt>
                <c:pt idx="42">
                  <c:v>0.05895105708630238</c:v>
                </c:pt>
                <c:pt idx="43">
                  <c:v>0.05402570343661722</c:v>
                </c:pt>
                <c:pt idx="44">
                  <c:v>0.06251712502475845</c:v>
                </c:pt>
                <c:pt idx="45">
                  <c:v>0.071739265416181</c:v>
                </c:pt>
                <c:pt idx="46">
                  <c:v>0.06810544580997813</c:v>
                </c:pt>
                <c:pt idx="47">
                  <c:v>0.07373928396950447</c:v>
                </c:pt>
                <c:pt idx="48">
                  <c:v>0.07756640463282796</c:v>
                </c:pt>
                <c:pt idx="49">
                  <c:v>0.07020201001311926</c:v>
                </c:pt>
                <c:pt idx="50">
                  <c:v>0.09317524093618684</c:v>
                </c:pt>
                <c:pt idx="51">
                  <c:v>0.09877364914956246</c:v>
                </c:pt>
                <c:pt idx="52">
                  <c:v>0.09599459075659805</c:v>
                </c:pt>
                <c:pt idx="53">
                  <c:v>0.16874470789807797</c:v>
                </c:pt>
                <c:pt idx="54">
                  <c:v>0.0647393009609873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51.0"/>
          <c:min val="48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3207981580967"/>
          <c:min val="0.041627950195131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346996509440095</c:v>
                </c:pt>
                <c:pt idx="1">
                  <c:v>0.7639169078177863</c:v>
                </c:pt>
                <c:pt idx="2">
                  <c:v>0.7662066626003518</c:v>
                </c:pt>
                <c:pt idx="3">
                  <c:v>0.8588329051268632</c:v>
                </c:pt>
                <c:pt idx="4">
                  <c:v>0.8210786497090138</c:v>
                </c:pt>
                <c:pt idx="5">
                  <c:v>0.6606582660781212</c:v>
                </c:pt>
                <c:pt idx="6">
                  <c:v>0.681912040460548</c:v>
                </c:pt>
                <c:pt idx="7">
                  <c:v>0.7080720753747779</c:v>
                </c:pt>
                <c:pt idx="8">
                  <c:v>0.7284706032760576</c:v>
                </c:pt>
                <c:pt idx="9">
                  <c:v>0.795170422667997</c:v>
                </c:pt>
                <c:pt idx="10">
                  <c:v>0.7956713904245603</c:v>
                </c:pt>
                <c:pt idx="11">
                  <c:v>0.7440129681287615</c:v>
                </c:pt>
                <c:pt idx="12">
                  <c:v>0.8309706558531915</c:v>
                </c:pt>
                <c:pt idx="13">
                  <c:v>0.7702892681068549</c:v>
                </c:pt>
                <c:pt idx="14">
                  <c:v>0.7426547130469512</c:v>
                </c:pt>
                <c:pt idx="15">
                  <c:v>0.7444548515948451</c:v>
                </c:pt>
                <c:pt idx="16">
                  <c:v>0.8005290492122668</c:v>
                </c:pt>
                <c:pt idx="17">
                  <c:v>0.7883352745083304</c:v>
                </c:pt>
                <c:pt idx="18">
                  <c:v>0.9431351812889545</c:v>
                </c:pt>
                <c:pt idx="19">
                  <c:v>0.8715691906355998</c:v>
                </c:pt>
                <c:pt idx="20">
                  <c:v>0.8379958341227256</c:v>
                </c:pt>
                <c:pt idx="21">
                  <c:v>0.8085443428721021</c:v>
                </c:pt>
                <c:pt idx="22">
                  <c:v>0.8859432958242756</c:v>
                </c:pt>
                <c:pt idx="23">
                  <c:v>0.7848680045844599</c:v>
                </c:pt>
                <c:pt idx="24">
                  <c:v>0.7277278146287909</c:v>
                </c:pt>
                <c:pt idx="25">
                  <c:v>0.7803473980761253</c:v>
                </c:pt>
                <c:pt idx="26">
                  <c:v>0.7709024258061877</c:v>
                </c:pt>
                <c:pt idx="27">
                  <c:v>0.8516882912427715</c:v>
                </c:pt>
                <c:pt idx="28">
                  <c:v>0.8223479203420292</c:v>
                </c:pt>
                <c:pt idx="29">
                  <c:v>0.630202266486366</c:v>
                </c:pt>
                <c:pt idx="30">
                  <c:v>0.7213548778867375</c:v>
                </c:pt>
                <c:pt idx="31">
                  <c:v>0.6947975367263897</c:v>
                </c:pt>
                <c:pt idx="32">
                  <c:v>0.6830333806830805</c:v>
                </c:pt>
                <c:pt idx="33">
                  <c:v>0.6932873560348005</c:v>
                </c:pt>
                <c:pt idx="34">
                  <c:v>0.7455776724602264</c:v>
                </c:pt>
                <c:pt idx="35">
                  <c:v>0.7891059215823766</c:v>
                </c:pt>
                <c:pt idx="36">
                  <c:v>0.8861629722966617</c:v>
                </c:pt>
                <c:pt idx="37">
                  <c:v>0.8419842386873632</c:v>
                </c:pt>
                <c:pt idx="38">
                  <c:v>0.9493922184418884</c:v>
                </c:pt>
                <c:pt idx="39">
                  <c:v>0.9950741579951514</c:v>
                </c:pt>
                <c:pt idx="40">
                  <c:v>1.0207355636230313</c:v>
                </c:pt>
                <c:pt idx="41">
                  <c:v>0.9048305616403672</c:v>
                </c:pt>
                <c:pt idx="42">
                  <c:v>0.9463402194272252</c:v>
                </c:pt>
                <c:pt idx="43">
                  <c:v>0.978311714506975</c:v>
                </c:pt>
                <c:pt idx="44">
                  <c:v>0.8436417994760037</c:v>
                </c:pt>
                <c:pt idx="45">
                  <c:v>0.7698105061658879</c:v>
                </c:pt>
                <c:pt idx="46">
                  <c:v>0.7548666718197684</c:v>
                </c:pt>
                <c:pt idx="47">
                  <c:v>0.7537035832015667</c:v>
                </c:pt>
                <c:pt idx="48">
                  <c:v>0.7928799931956213</c:v>
                </c:pt>
                <c:pt idx="49">
                  <c:v>0.7901202619537971</c:v>
                </c:pt>
                <c:pt idx="50">
                  <c:v>0.8504119995048357</c:v>
                </c:pt>
                <c:pt idx="51">
                  <c:v>0.7911343765719062</c:v>
                </c:pt>
                <c:pt idx="52">
                  <c:v>0.7941071003242351</c:v>
                </c:pt>
                <c:pt idx="53">
                  <c:v>0.9394816336495031</c:v>
                </c:pt>
                <c:pt idx="54">
                  <c:v>0.8619490649375059</c:v>
                </c:pt>
                <c:pt idx="55">
                  <c:v>0.9465255917816165</c:v>
                </c:pt>
                <c:pt idx="56">
                  <c:v>0.7927921376995833</c:v>
                </c:pt>
                <c:pt idx="57">
                  <c:v>0.8539932704670662</c:v>
                </c:pt>
                <c:pt idx="58">
                  <c:v>0.777231187482571</c:v>
                </c:pt>
                <c:pt idx="59">
                  <c:v>0.8271376836704957</c:v>
                </c:pt>
                <c:pt idx="60">
                  <c:v>0.8596033698059222</c:v>
                </c:pt>
                <c:pt idx="61">
                  <c:v>0.8039040968424422</c:v>
                </c:pt>
                <c:pt idx="62">
                  <c:v>0.7809901982331792</c:v>
                </c:pt>
                <c:pt idx="63">
                  <c:v>0.8396700907783085</c:v>
                </c:pt>
                <c:pt idx="64">
                  <c:v>0.8300384984543174</c:v>
                </c:pt>
                <c:pt idx="65">
                  <c:v>0.8013991718015581</c:v>
                </c:pt>
                <c:pt idx="66">
                  <c:v>0.8851691476473338</c:v>
                </c:pt>
                <c:pt idx="67">
                  <c:v>0.787683959020854</c:v>
                </c:pt>
                <c:pt idx="68">
                  <c:v>0.7909192153574052</c:v>
                </c:pt>
                <c:pt idx="69">
                  <c:v>0.8547947654072612</c:v>
                </c:pt>
                <c:pt idx="70">
                  <c:v>0.830070141588163</c:v>
                </c:pt>
                <c:pt idx="71">
                  <c:v>0.8053467802678879</c:v>
                </c:pt>
                <c:pt idx="72">
                  <c:v>0.8678894631100242</c:v>
                </c:pt>
                <c:pt idx="73">
                  <c:v>0.9593702726538343</c:v>
                </c:pt>
                <c:pt idx="74">
                  <c:v>0.82624657029697</c:v>
                </c:pt>
                <c:pt idx="75">
                  <c:v>0.8933856339439451</c:v>
                </c:pt>
                <c:pt idx="76">
                  <c:v>0.9788996255927267</c:v>
                </c:pt>
                <c:pt idx="77">
                  <c:v>0.8506558598967352</c:v>
                </c:pt>
                <c:pt idx="78">
                  <c:v>0.9665456712950581</c:v>
                </c:pt>
                <c:pt idx="79">
                  <c:v>1.012082370359965</c:v>
                </c:pt>
                <c:pt idx="80">
                  <c:v>0.8236542384327296</c:v>
                </c:pt>
                <c:pt idx="81">
                  <c:v>0.8609750886830184</c:v>
                </c:pt>
                <c:pt idx="82">
                  <c:v>0.9104080533956747</c:v>
                </c:pt>
                <c:pt idx="83">
                  <c:v>0.933025467544575</c:v>
                </c:pt>
                <c:pt idx="84">
                  <c:v>0.8793808636851526</c:v>
                </c:pt>
                <c:pt idx="85">
                  <c:v>0.8895044328841614</c:v>
                </c:pt>
                <c:pt idx="86">
                  <c:v>0.8906473565968139</c:v>
                </c:pt>
                <c:pt idx="87">
                  <c:v>0.8253463522029212</c:v>
                </c:pt>
                <c:pt idx="88">
                  <c:v>0.8525270404551301</c:v>
                </c:pt>
                <c:pt idx="89">
                  <c:v>0.8559933042283072</c:v>
                </c:pt>
                <c:pt idx="90">
                  <c:v>0.8803563378513122</c:v>
                </c:pt>
                <c:pt idx="91">
                  <c:v>0.9312696498333581</c:v>
                </c:pt>
                <c:pt idx="92">
                  <c:v>0.9010073762387245</c:v>
                </c:pt>
                <c:pt idx="93">
                  <c:v>0.8615415405201708</c:v>
                </c:pt>
                <c:pt idx="94">
                  <c:v>0.855454903330288</c:v>
                </c:pt>
                <c:pt idx="95">
                  <c:v>0.9219583280108647</c:v>
                </c:pt>
                <c:pt idx="96">
                  <c:v>0.9341488229684846</c:v>
                </c:pt>
                <c:pt idx="97">
                  <c:v>0.9902903306982821</c:v>
                </c:pt>
                <c:pt idx="98">
                  <c:v>0.969666100208708</c:v>
                </c:pt>
                <c:pt idx="99">
                  <c:v>0.9289597122573999</c:v>
                </c:pt>
                <c:pt idx="100">
                  <c:v>0.9513600755320971</c:v>
                </c:pt>
                <c:pt idx="101">
                  <c:v>0.9123367043791917</c:v>
                </c:pt>
                <c:pt idx="102">
                  <c:v>0.9877225713906318</c:v>
                </c:pt>
                <c:pt idx="103">
                  <c:v>0.8744162288128046</c:v>
                </c:pt>
                <c:pt idx="104">
                  <c:v>0.9388740288874234</c:v>
                </c:pt>
              </c:numCache>
            </c:numRef>
          </c:xVal>
          <c:yVal>
            <c:numRef>
              <c:f>Sheet1!$B$2:$B$106</c:f>
              <c:numCache>
                <c:formatCode>General</c:formatCode>
                <c:ptCount val="105"/>
                <c:pt idx="0">
                  <c:v>0.21933998465080584</c:v>
                </c:pt>
                <c:pt idx="1">
                  <c:v>0.19069952305246424</c:v>
                </c:pt>
                <c:pt idx="2">
                  <c:v>0.15764636484294353</c:v>
                </c:pt>
                <c:pt idx="3">
                  <c:v>0.16243731955629845</c:v>
                </c:pt>
                <c:pt idx="4">
                  <c:v>0.14980252021816814</c:v>
                </c:pt>
                <c:pt idx="5">
                  <c:v>0.14439676678974153</c:v>
                </c:pt>
                <c:pt idx="6">
                  <c:v>0.17270362217330398</c:v>
                </c:pt>
                <c:pt idx="7">
                  <c:v>0.1611933116805004</c:v>
                </c:pt>
                <c:pt idx="8">
                  <c:v>0.16048295811847565</c:v>
                </c:pt>
                <c:pt idx="9">
                  <c:v>0.16180371352785147</c:v>
                </c:pt>
                <c:pt idx="10">
                  <c:v>0.1695104895104895</c:v>
                </c:pt>
                <c:pt idx="11">
                  <c:v>0.16044707186403104</c:v>
                </c:pt>
                <c:pt idx="12">
                  <c:v>0.17437842393594605</c:v>
                </c:pt>
                <c:pt idx="13">
                  <c:v>0.17121418826739426</c:v>
                </c:pt>
                <c:pt idx="14">
                  <c:v>0.16830610203401133</c:v>
                </c:pt>
                <c:pt idx="15">
                  <c:v>0.17840076457470533</c:v>
                </c:pt>
                <c:pt idx="16">
                  <c:v>0.17441151359921941</c:v>
                </c:pt>
                <c:pt idx="17">
                  <c:v>0.15169811320754717</c:v>
                </c:pt>
                <c:pt idx="18">
                  <c:v>0.18800603815013037</c:v>
                </c:pt>
                <c:pt idx="19">
                  <c:v>0.15099472878762116</c:v>
                </c:pt>
                <c:pt idx="20">
                  <c:v>0.1602972399150743</c:v>
                </c:pt>
                <c:pt idx="21">
                  <c:v>0.14950166112956811</c:v>
                </c:pt>
                <c:pt idx="22">
                  <c:v>0.16251388668465322</c:v>
                </c:pt>
                <c:pt idx="23">
                  <c:v>0.17288135593220338</c:v>
                </c:pt>
                <c:pt idx="24">
                  <c:v>0.17027070318757007</c:v>
                </c:pt>
                <c:pt idx="25">
                  <c:v>0.17125770206596594</c:v>
                </c:pt>
                <c:pt idx="26">
                  <c:v>0.1599651871192341</c:v>
                </c:pt>
                <c:pt idx="27">
                  <c:v>0.1438143487497957</c:v>
                </c:pt>
                <c:pt idx="28">
                  <c:v>0.14381698928171494</c:v>
                </c:pt>
                <c:pt idx="29">
                  <c:v>0.1795017793594306</c:v>
                </c:pt>
                <c:pt idx="30">
                  <c:v>0.16601598810187768</c:v>
                </c:pt>
                <c:pt idx="31">
                  <c:v>0.15304406323578876</c:v>
                </c:pt>
                <c:pt idx="32">
                  <c:v>0.15442820292347378</c:v>
                </c:pt>
                <c:pt idx="33">
                  <c:v>0.18454237288135594</c:v>
                </c:pt>
                <c:pt idx="34">
                  <c:v>0.16421982590619721</c:v>
                </c:pt>
                <c:pt idx="35">
                  <c:v>0.17924424369285005</c:v>
                </c:pt>
                <c:pt idx="36">
                  <c:v>0.12554861018752494</c:v>
                </c:pt>
                <c:pt idx="37">
                  <c:v>0.11342069588793494</c:v>
                </c:pt>
                <c:pt idx="38">
                  <c:v>0.10565255992897307</c:v>
                </c:pt>
                <c:pt idx="39">
                  <c:v>0.09131030284583777</c:v>
                </c:pt>
                <c:pt idx="40">
                  <c:v>0.09518229166666667</c:v>
                </c:pt>
                <c:pt idx="41">
                  <c:v>0.07959518599562364</c:v>
                </c:pt>
                <c:pt idx="42">
                  <c:v>0.07896592244418331</c:v>
                </c:pt>
                <c:pt idx="43">
                  <c:v>0.08313436075537226</c:v>
                </c:pt>
                <c:pt idx="44">
                  <c:v>0.0948153674002238</c:v>
                </c:pt>
                <c:pt idx="45">
                  <c:v>0.10679405520169852</c:v>
                </c:pt>
                <c:pt idx="46">
                  <c:v>0.1124546553808948</c:v>
                </c:pt>
                <c:pt idx="47">
                  <c:v>0.09760262725779967</c:v>
                </c:pt>
                <c:pt idx="48">
                  <c:v>0.11852334854792597</c:v>
                </c:pt>
                <c:pt idx="49">
                  <c:v>0.1411543287327478</c:v>
                </c:pt>
                <c:pt idx="50">
                  <c:v>0.11621983914209115</c:v>
                </c:pt>
                <c:pt idx="51">
                  <c:v>0.10727411944869832</c:v>
                </c:pt>
                <c:pt idx="52">
                  <c:v>0.12376336232653874</c:v>
                </c:pt>
                <c:pt idx="53">
                  <c:v>0.10119471477173828</c:v>
                </c:pt>
                <c:pt idx="54">
                  <c:v>0.09513160158265956</c:v>
                </c:pt>
                <c:pt idx="55">
                  <c:v>0.08154694198967538</c:v>
                </c:pt>
                <c:pt idx="56">
                  <c:v>0.10031152647975078</c:v>
                </c:pt>
                <c:pt idx="57">
                  <c:v>0.08788449466415568</c:v>
                </c:pt>
                <c:pt idx="58">
                  <c:v>0.10770174900276158</c:v>
                </c:pt>
                <c:pt idx="59">
                  <c:v>0.10466289866774324</c:v>
                </c:pt>
                <c:pt idx="60">
                  <c:v>0.10296017855045225</c:v>
                </c:pt>
                <c:pt idx="61">
                  <c:v>0.12066169315601687</c:v>
                </c:pt>
                <c:pt idx="62">
                  <c:v>0.13740396927016646</c:v>
                </c:pt>
                <c:pt idx="63">
                  <c:v>0.14054501656127671</c:v>
                </c:pt>
                <c:pt idx="64">
                  <c:v>0.13665172360488484</c:v>
                </c:pt>
                <c:pt idx="65">
                  <c:v>0.14332612699175273</c:v>
                </c:pt>
                <c:pt idx="66">
                  <c:v>0.1478063785008904</c:v>
                </c:pt>
                <c:pt idx="67">
                  <c:v>0.12599882244091176</c:v>
                </c:pt>
                <c:pt idx="68">
                  <c:v>0.10524279357709422</c:v>
                </c:pt>
                <c:pt idx="69">
                  <c:v>0.08815461346633416</c:v>
                </c:pt>
                <c:pt idx="70">
                  <c:v>0.07558816678313533</c:v>
                </c:pt>
                <c:pt idx="71">
                  <c:v>0.0945140493857195</c:v>
                </c:pt>
                <c:pt idx="72">
                  <c:v>0.08501304244723737</c:v>
                </c:pt>
                <c:pt idx="73">
                  <c:v>0.07700810611643331</c:v>
                </c:pt>
                <c:pt idx="74">
                  <c:v>0.10190574004336414</c:v>
                </c:pt>
                <c:pt idx="75">
                  <c:v>0.07303763816986147</c:v>
                </c:pt>
                <c:pt idx="76">
                  <c:v>0.07546002783361683</c:v>
                </c:pt>
                <c:pt idx="77">
                  <c:v>0.12511387792286668</c:v>
                </c:pt>
                <c:pt idx="78">
                  <c:v>0.08982630272952853</c:v>
                </c:pt>
                <c:pt idx="79">
                  <c:v>0.06466188843876597</c:v>
                </c:pt>
                <c:pt idx="80">
                  <c:v>0.09342186534898085</c:v>
                </c:pt>
                <c:pt idx="81">
                  <c:v>0.11085887249337874</c:v>
                </c:pt>
                <c:pt idx="82">
                  <c:v>0.07975460122699386</c:v>
                </c:pt>
                <c:pt idx="83">
                  <c:v>0.058746492048643593</c:v>
                </c:pt>
                <c:pt idx="84">
                  <c:v>0.06811881188118812</c:v>
                </c:pt>
                <c:pt idx="85">
                  <c:v>0.07900838237916889</c:v>
                </c:pt>
                <c:pt idx="86">
                  <c:v>0.09780490972853617</c:v>
                </c:pt>
                <c:pt idx="87">
                  <c:v>0.09620453347390617</c:v>
                </c:pt>
                <c:pt idx="88">
                  <c:v>0.0937597503900156</c:v>
                </c:pt>
                <c:pt idx="89">
                  <c:v>0.066963521150882</c:v>
                </c:pt>
                <c:pt idx="90">
                  <c:v>0.06942709262894878</c:v>
                </c:pt>
                <c:pt idx="91">
                  <c:v>0.06394779771615008</c:v>
                </c:pt>
                <c:pt idx="92">
                  <c:v>0.08662573411639082</c:v>
                </c:pt>
                <c:pt idx="93">
                  <c:v>0.06516912628966959</c:v>
                </c:pt>
                <c:pt idx="94">
                  <c:v>0.07128498531003556</c:v>
                </c:pt>
                <c:pt idx="95">
                  <c:v>0.07427800876502978</c:v>
                </c:pt>
                <c:pt idx="96">
                  <c:v>0.0725052758516732</c:v>
                </c:pt>
                <c:pt idx="97">
                  <c:v>0.08172219936925819</c:v>
                </c:pt>
                <c:pt idx="98">
                  <c:v>0.09627070177528893</c:v>
                </c:pt>
                <c:pt idx="99">
                  <c:v>0.10277647549096212</c:v>
                </c:pt>
                <c:pt idx="100">
                  <c:v>0.11401326699834162</c:v>
                </c:pt>
                <c:pt idx="101">
                  <c:v>0.094896331738437</c:v>
                </c:pt>
                <c:pt idx="102">
                  <c:v>0.07788606291102132</c:v>
                </c:pt>
                <c:pt idx="103">
                  <c:v>0.08471602953000512</c:v>
                </c:pt>
                <c:pt idx="104">
                  <c:v>0.0845882454177781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800183651189892</c:v>
                </c:pt>
                <c:pt idx="1">
                  <c:v>0.9981483972157256</c:v>
                </c:pt>
                <c:pt idx="2">
                  <c:v>0.9595594354626342</c:v>
                </c:pt>
                <c:pt idx="3">
                  <c:v>0.8722443310330668</c:v>
                </c:pt>
                <c:pt idx="4">
                  <c:v>0.9648893703044912</c:v>
                </c:pt>
                <c:pt idx="5">
                  <c:v>1.0379912730389842</c:v>
                </c:pt>
                <c:pt idx="6">
                  <c:v>0.9673863266939245</c:v>
                </c:pt>
                <c:pt idx="7">
                  <c:v>1.0515618648698308</c:v>
                </c:pt>
                <c:pt idx="8">
                  <c:v>1.071725799482023</c:v>
                </c:pt>
                <c:pt idx="9">
                  <c:v>1.0682700311824542</c:v>
                </c:pt>
                <c:pt idx="10">
                  <c:v>1.0869397573211552</c:v>
                </c:pt>
                <c:pt idx="11">
                  <c:v>0.9988552262613986</c:v>
                </c:pt>
                <c:pt idx="12">
                  <c:v>1.013236174544719</c:v>
                </c:pt>
                <c:pt idx="13">
                  <c:v>1.0762389026338965</c:v>
                </c:pt>
                <c:pt idx="14">
                  <c:v>1.0394647722234636</c:v>
                </c:pt>
                <c:pt idx="15">
                  <c:v>1.0812266745462364</c:v>
                </c:pt>
                <c:pt idx="16">
                  <c:v>0.9949334993543625</c:v>
                </c:pt>
                <c:pt idx="17">
                  <c:v>1.0756614702903051</c:v>
                </c:pt>
                <c:pt idx="18">
                  <c:v>1.0393902411664286</c:v>
                </c:pt>
                <c:pt idx="19">
                  <c:v>1.3396841031972027</c:v>
                </c:pt>
                <c:pt idx="20">
                  <c:v>1.2919890898653905</c:v>
                </c:pt>
                <c:pt idx="21">
                  <c:v>1.27880730642482</c:v>
                </c:pt>
                <c:pt idx="22">
                  <c:v>1.246230533665253</c:v>
                </c:pt>
                <c:pt idx="23">
                  <c:v>1.2435207197482825</c:v>
                </c:pt>
                <c:pt idx="24">
                  <c:v>1.2750146290251012</c:v>
                </c:pt>
                <c:pt idx="25">
                  <c:v>1.2165465616998852</c:v>
                </c:pt>
                <c:pt idx="26">
                  <c:v>1.2916924340445537</c:v>
                </c:pt>
                <c:pt idx="27">
                  <c:v>1.2058090790126073</c:v>
                </c:pt>
                <c:pt idx="28">
                  <c:v>1.0906202337664788</c:v>
                </c:pt>
                <c:pt idx="29">
                  <c:v>1.1069836351118452</c:v>
                </c:pt>
                <c:pt idx="30">
                  <c:v>0.9959586209199669</c:v>
                </c:pt>
                <c:pt idx="31">
                  <c:v>1.0196834118974973</c:v>
                </c:pt>
                <c:pt idx="32">
                  <c:v>1.0560706638972368</c:v>
                </c:pt>
                <c:pt idx="33">
                  <c:v>1.1307368099174557</c:v>
                </c:pt>
                <c:pt idx="34">
                  <c:v>1.1641067985697684</c:v>
                </c:pt>
                <c:pt idx="35">
                  <c:v>1.1637685476024493</c:v>
                </c:pt>
                <c:pt idx="36">
                  <c:v>0.9755773928261461</c:v>
                </c:pt>
                <c:pt idx="37">
                  <c:v>1.1087549028683816</c:v>
                </c:pt>
                <c:pt idx="38">
                  <c:v>1.0377398758236946</c:v>
                </c:pt>
                <c:pt idx="39">
                  <c:v>1.181896810728625</c:v>
                </c:pt>
                <c:pt idx="40">
                  <c:v>1.2204006885902714</c:v>
                </c:pt>
                <c:pt idx="41">
                  <c:v>1.1408341492266842</c:v>
                </c:pt>
                <c:pt idx="42">
                  <c:v>1.2334763966388027</c:v>
                </c:pt>
                <c:pt idx="43">
                  <c:v>1.040475138895317</c:v>
                </c:pt>
                <c:pt idx="44">
                  <c:v>1.013793863269453</c:v>
                </c:pt>
                <c:pt idx="45">
                  <c:v>1.0720654627160218</c:v>
                </c:pt>
                <c:pt idx="46">
                  <c:v>1.1411140449755455</c:v>
                </c:pt>
                <c:pt idx="47">
                  <c:v>1.0360216647582385</c:v>
                </c:pt>
                <c:pt idx="48">
                  <c:v>0.9718648617762977</c:v>
                </c:pt>
                <c:pt idx="49">
                  <c:v>0.9632684650800745</c:v>
                </c:pt>
                <c:pt idx="50">
                  <c:v>0.8924195572656856</c:v>
                </c:pt>
                <c:pt idx="51">
                  <c:v>0.7938028411245152</c:v>
                </c:pt>
              </c:numCache>
            </c:numRef>
          </c:xVal>
          <c:yVal>
            <c:numRef>
              <c:f>Sheet1!$B$109:$B$160</c:f>
              <c:numCache>
                <c:formatCode>General</c:formatCode>
                <c:ptCount val="52"/>
                <c:pt idx="0">
                  <c:v>0.08490269930947897</c:v>
                </c:pt>
                <c:pt idx="1">
                  <c:v>0.08445834705301285</c:v>
                </c:pt>
                <c:pt idx="2">
                  <c:v>0.08606979826240613</c:v>
                </c:pt>
                <c:pt idx="3">
                  <c:v>0.09831276020743554</c:v>
                </c:pt>
                <c:pt idx="4">
                  <c:v>0.0823502722323049</c:v>
                </c:pt>
                <c:pt idx="5">
                  <c:v>0.08385643006599067</c:v>
                </c:pt>
                <c:pt idx="6">
                  <c:v>0.08864873035066505</c:v>
                </c:pt>
                <c:pt idx="7">
                  <c:v>0.08483717071147065</c:v>
                </c:pt>
                <c:pt idx="8">
                  <c:v>0.08926064576509125</c:v>
                </c:pt>
                <c:pt idx="9">
                  <c:v>0.09222462203023758</c:v>
                </c:pt>
                <c:pt idx="10">
                  <c:v>0.10126847677953664</c:v>
                </c:pt>
                <c:pt idx="11">
                  <c:v>0.14309880815071127</c:v>
                </c:pt>
                <c:pt idx="12">
                  <c:v>0.11258937460403656</c:v>
                </c:pt>
                <c:pt idx="13">
                  <c:v>0.1016839378238342</c:v>
                </c:pt>
                <c:pt idx="14">
                  <c:v>0.12088563803499061</c:v>
                </c:pt>
                <c:pt idx="15">
                  <c:v>0.09359966534197867</c:v>
                </c:pt>
                <c:pt idx="16">
                  <c:v>0.12809593186148158</c:v>
                </c:pt>
                <c:pt idx="17">
                  <c:v>0.0689444036247857</c:v>
                </c:pt>
                <c:pt idx="18">
                  <c:v>0.07787684591808303</c:v>
                </c:pt>
                <c:pt idx="19">
                  <c:v>0.07287714248331807</c:v>
                </c:pt>
                <c:pt idx="20">
                  <c:v>0.07140820980615735</c:v>
                </c:pt>
                <c:pt idx="21">
                  <c:v>0.06337662337662338</c:v>
                </c:pt>
                <c:pt idx="22">
                  <c:v>0.06343087436481513</c:v>
                </c:pt>
                <c:pt idx="23">
                  <c:v>0.062386322299017825</c:v>
                </c:pt>
                <c:pt idx="24">
                  <c:v>0.05270247516416905</c:v>
                </c:pt>
                <c:pt idx="25">
                  <c:v>0.06210951855935318</c:v>
                </c:pt>
                <c:pt idx="26">
                  <c:v>0.0579785392869505</c:v>
                </c:pt>
                <c:pt idx="27">
                  <c:v>0.05480259281084266</c:v>
                </c:pt>
                <c:pt idx="28">
                  <c:v>0.07242857142857143</c:v>
                </c:pt>
                <c:pt idx="29">
                  <c:v>0.05792276964047936</c:v>
                </c:pt>
                <c:pt idx="30">
                  <c:v>0.0709655407710679</c:v>
                </c:pt>
                <c:pt idx="31">
                  <c:v>0.06972443129276863</c:v>
                </c:pt>
                <c:pt idx="32">
                  <c:v>0.07591192901741703</c:v>
                </c:pt>
                <c:pt idx="33">
                  <c:v>0.08133712275003384</c:v>
                </c:pt>
                <c:pt idx="34">
                  <c:v>0.09276928382572709</c:v>
                </c:pt>
                <c:pt idx="35">
                  <c:v>0.08207771609833465</c:v>
                </c:pt>
                <c:pt idx="36">
                  <c:v>0.08579773640014604</c:v>
                </c:pt>
                <c:pt idx="37">
                  <c:v>0.06512013256006628</c:v>
                </c:pt>
                <c:pt idx="38">
                  <c:v>0.06393769244702047</c:v>
                </c:pt>
                <c:pt idx="39">
                  <c:v>0.07328504473796335</c:v>
                </c:pt>
                <c:pt idx="40">
                  <c:v>0.052746951637210576</c:v>
                </c:pt>
                <c:pt idx="41">
                  <c:v>0.061794019933554815</c:v>
                </c:pt>
                <c:pt idx="42">
                  <c:v>0.05582488614661378</c:v>
                </c:pt>
                <c:pt idx="43">
                  <c:v>0.052984429065743945</c:v>
                </c:pt>
                <c:pt idx="44">
                  <c:v>0.05203493774391377</c:v>
                </c:pt>
                <c:pt idx="45">
                  <c:v>0.0659689642728257</c:v>
                </c:pt>
                <c:pt idx="46">
                  <c:v>0.056874466268146885</c:v>
                </c:pt>
                <c:pt idx="47">
                  <c:v>0.06119175555377336</c:v>
                </c:pt>
                <c:pt idx="48">
                  <c:v>0.06203358208955224</c:v>
                </c:pt>
                <c:pt idx="49">
                  <c:v>0.07416814833629667</c:v>
                </c:pt>
                <c:pt idx="50">
                  <c:v>0.09495573743110072</c:v>
                </c:pt>
                <c:pt idx="51">
                  <c:v>0.077747989276139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32881274085332</c:v>
                </c:pt>
              </c:numCache>
            </c:numRef>
          </c:xVal>
          <c:yVal>
            <c:numRef>
              <c:f>Sheet1!$B$163:$B$164</c:f>
              <c:numCache>
                <c:formatCode>General</c:formatCode>
                <c:ptCount val="2"/>
                <c:pt idx="0">
                  <c:v>0.16874470789807797</c:v>
                </c:pt>
                <c:pt idx="1">
                  <c:v>0.1687447078980779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32881274085332</c:v>
                </c:pt>
                <c:pt idx="1">
                  <c:v>-0.132881274085332</c:v>
                </c:pt>
              </c:numCache>
            </c:numRef>
          </c:xVal>
          <c:yVal>
            <c:numRef>
              <c:f>Sheet1!$B$167:$B$168</c:f>
              <c:numCache>
                <c:formatCode>General</c:formatCode>
                <c:ptCount val="2"/>
                <c:pt idx="0">
                  <c:v>0.1687447078980779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393834192474184</c:v>
                </c:pt>
              </c:numCache>
            </c:numRef>
          </c:xVal>
          <c:yVal>
            <c:numRef>
              <c:f>Sheet1!$B$171:$B$172</c:f>
              <c:numCache>
                <c:formatCode>General</c:formatCode>
                <c:ptCount val="2"/>
                <c:pt idx="0">
                  <c:v>0.09599459075659805</c:v>
                </c:pt>
                <c:pt idx="1">
                  <c:v>0.0959945907565980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393834192474184</c:v>
                </c:pt>
                <c:pt idx="1">
                  <c:v>0.8393834192474184</c:v>
                </c:pt>
              </c:numCache>
            </c:numRef>
          </c:xVal>
          <c:yVal>
            <c:numRef>
              <c:f>Sheet1!$B$175:$B$176</c:f>
              <c:numCache>
                <c:formatCode>General</c:formatCode>
                <c:ptCount val="2"/>
                <c:pt idx="0">
                  <c:v>0.095994590756598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2570929150143901</c:v>
                </c:pt>
              </c:numCache>
            </c:numRef>
          </c:xVal>
          <c:yVal>
            <c:numRef>
              <c:f>Sheet1!$B$179:$B$180</c:f>
              <c:numCache>
                <c:formatCode>General</c:formatCode>
                <c:ptCount val="2"/>
                <c:pt idx="0">
                  <c:v>0.06473930096098733</c:v>
                </c:pt>
                <c:pt idx="1">
                  <c:v>0.0647393009609873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2570929150143901</c:v>
                </c:pt>
                <c:pt idx="1">
                  <c:v>1.2570929150143901</c:v>
                </c:pt>
              </c:numCache>
            </c:numRef>
          </c:xVal>
          <c:yVal>
            <c:numRef>
              <c:f>Sheet1!$B$183:$B$184</c:f>
              <c:numCache>
                <c:formatCode>General</c:formatCode>
                <c:ptCount val="2"/>
                <c:pt idx="0">
                  <c:v>0.0647393009609873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800183651189892</c:v>
                </c:pt>
                <c:pt idx="1">
                  <c:v>0.9981483972157256</c:v>
                </c:pt>
                <c:pt idx="2">
                  <c:v>0.9595594354626342</c:v>
                </c:pt>
                <c:pt idx="3">
                  <c:v>0.8722443310330668</c:v>
                </c:pt>
                <c:pt idx="4">
                  <c:v>0.9648893703044912</c:v>
                </c:pt>
                <c:pt idx="5">
                  <c:v>1.0379912730389842</c:v>
                </c:pt>
                <c:pt idx="6">
                  <c:v>0.9673863266939245</c:v>
                </c:pt>
                <c:pt idx="7">
                  <c:v>1.0515618648698308</c:v>
                </c:pt>
                <c:pt idx="8">
                  <c:v>1.071725799482023</c:v>
                </c:pt>
                <c:pt idx="9">
                  <c:v>1.0682700311824542</c:v>
                </c:pt>
                <c:pt idx="10">
                  <c:v>1.0869397573211552</c:v>
                </c:pt>
                <c:pt idx="11">
                  <c:v>0.9988552262613986</c:v>
                </c:pt>
                <c:pt idx="12">
                  <c:v>1.013236174544719</c:v>
                </c:pt>
                <c:pt idx="13">
                  <c:v>1.0762389026338965</c:v>
                </c:pt>
                <c:pt idx="14">
                  <c:v>1.0394647722234636</c:v>
                </c:pt>
                <c:pt idx="15">
                  <c:v>1.0812266745462364</c:v>
                </c:pt>
                <c:pt idx="16">
                  <c:v>0.9949334993543625</c:v>
                </c:pt>
                <c:pt idx="17">
                  <c:v>1.0756614702903051</c:v>
                </c:pt>
                <c:pt idx="18">
                  <c:v>1.0393902411664286</c:v>
                </c:pt>
                <c:pt idx="19">
                  <c:v>1.3396841031972027</c:v>
                </c:pt>
                <c:pt idx="20">
                  <c:v>1.2919890898653905</c:v>
                </c:pt>
                <c:pt idx="21">
                  <c:v>1.27880730642482</c:v>
                </c:pt>
                <c:pt idx="22">
                  <c:v>1.246230533665253</c:v>
                </c:pt>
                <c:pt idx="23">
                  <c:v>1.2435207197482825</c:v>
                </c:pt>
                <c:pt idx="24">
                  <c:v>1.2750146290251012</c:v>
                </c:pt>
                <c:pt idx="25">
                  <c:v>1.2165465616998852</c:v>
                </c:pt>
                <c:pt idx="26">
                  <c:v>1.2916924340445537</c:v>
                </c:pt>
                <c:pt idx="27">
                  <c:v>1.2058090790126073</c:v>
                </c:pt>
                <c:pt idx="28">
                  <c:v>1.0906202337664788</c:v>
                </c:pt>
                <c:pt idx="29">
                  <c:v>1.1069836351118452</c:v>
                </c:pt>
                <c:pt idx="30">
                  <c:v>0.9959586209199669</c:v>
                </c:pt>
                <c:pt idx="31">
                  <c:v>1.0196834118974973</c:v>
                </c:pt>
                <c:pt idx="32">
                  <c:v>1.0560706638972368</c:v>
                </c:pt>
                <c:pt idx="33">
                  <c:v>1.1307368099174557</c:v>
                </c:pt>
                <c:pt idx="34">
                  <c:v>1.1641067985697684</c:v>
                </c:pt>
                <c:pt idx="35">
                  <c:v>1.1637685476024493</c:v>
                </c:pt>
                <c:pt idx="36">
                  <c:v>0.9755773928261461</c:v>
                </c:pt>
                <c:pt idx="37">
                  <c:v>1.1087549028683816</c:v>
                </c:pt>
                <c:pt idx="38">
                  <c:v>1.0377398758236946</c:v>
                </c:pt>
                <c:pt idx="39">
                  <c:v>1.181896810728625</c:v>
                </c:pt>
                <c:pt idx="40">
                  <c:v>1.2204006885902714</c:v>
                </c:pt>
                <c:pt idx="41">
                  <c:v>1.1408341492266842</c:v>
                </c:pt>
                <c:pt idx="42">
                  <c:v>1.2334763966388027</c:v>
                </c:pt>
                <c:pt idx="43">
                  <c:v>1.040475138895317</c:v>
                </c:pt>
                <c:pt idx="44">
                  <c:v>1.013793863269453</c:v>
                </c:pt>
                <c:pt idx="45">
                  <c:v>1.0720654627160218</c:v>
                </c:pt>
                <c:pt idx="46">
                  <c:v>1.1411140449755455</c:v>
                </c:pt>
                <c:pt idx="47">
                  <c:v>1.0360216647582385</c:v>
                </c:pt>
                <c:pt idx="48">
                  <c:v>0.9718648617762977</c:v>
                </c:pt>
                <c:pt idx="49">
                  <c:v>0.9632684650800745</c:v>
                </c:pt>
                <c:pt idx="50">
                  <c:v>0.8924195572656856</c:v>
                </c:pt>
                <c:pt idx="51">
                  <c:v>0.7938028411245152</c:v>
                </c:pt>
                <c:pt idx="52">
                  <c:v>0.8393834192474184</c:v>
                </c:pt>
                <c:pt idx="53">
                  <c:v>-0.132881274085332</c:v>
                </c:pt>
                <c:pt idx="54">
                  <c:v>1.2570929150143901</c:v>
                </c:pt>
              </c:numCache>
            </c:numRef>
          </c:xVal>
          <c:yVal>
            <c:numRef>
              <c:f>Sheet1!$B$187:$B$241</c:f>
              <c:numCache>
                <c:formatCode>General</c:formatCode>
                <c:ptCount val="55"/>
                <c:pt idx="0">
                  <c:v>0.08547152141498522</c:v>
                </c:pt>
                <c:pt idx="1">
                  <c:v>0.08411493409070916</c:v>
                </c:pt>
                <c:pt idx="2">
                  <c:v>0.08700236948475025</c:v>
                </c:pt>
                <c:pt idx="3">
                  <c:v>0.09353575912548422</c:v>
                </c:pt>
                <c:pt idx="4">
                  <c:v>0.08660355485457748</c:v>
                </c:pt>
                <c:pt idx="5">
                  <c:v>0.08113367404571081</c:v>
                </c:pt>
                <c:pt idx="6">
                  <c:v>0.08641671903602505</c:v>
                </c:pt>
                <c:pt idx="7">
                  <c:v>0.08011824876888712</c:v>
                </c:pt>
                <c:pt idx="8">
                  <c:v>0.07860947382814362</c:v>
                </c:pt>
                <c:pt idx="9">
                  <c:v>0.07886805315364157</c:v>
                </c:pt>
                <c:pt idx="10">
                  <c:v>0.07747108299427674</c:v>
                </c:pt>
                <c:pt idx="11">
                  <c:v>0.08406204530823631</c:v>
                </c:pt>
                <c:pt idx="12">
                  <c:v>0.08298598476691306</c:v>
                </c:pt>
                <c:pt idx="13">
                  <c:v>0.0782717789748574</c:v>
                </c:pt>
                <c:pt idx="14">
                  <c:v>0.08102341884564662</c:v>
                </c:pt>
                <c:pt idx="15">
                  <c:v>0.07789856683068924</c:v>
                </c:pt>
                <c:pt idx="16">
                  <c:v>0.08435549018373188</c:v>
                </c:pt>
                <c:pt idx="17">
                  <c:v>0.07831498559433625</c:v>
                </c:pt>
                <c:pt idx="18">
                  <c:v>0.08102899566353085</c:v>
                </c:pt>
                <c:pt idx="19">
                  <c:v>0.05855938035258028</c:v>
                </c:pt>
                <c:pt idx="20">
                  <c:v>0.06212817990968429</c:v>
                </c:pt>
                <c:pt idx="21">
                  <c:v>0.06311451243416168</c:v>
                </c:pt>
                <c:pt idx="22">
                  <c:v>0.06555208324240121</c:v>
                </c:pt>
                <c:pt idx="23">
                  <c:v>0.065754846215533</c:v>
                </c:pt>
                <c:pt idx="24">
                  <c:v>0.06339830112565842</c:v>
                </c:pt>
                <c:pt idx="25">
                  <c:v>0.06777319900698019</c:v>
                </c:pt>
                <c:pt idx="26">
                  <c:v>0.062150377307023275</c:v>
                </c:pt>
                <c:pt idx="27">
                  <c:v>0.06857663569316327</c:v>
                </c:pt>
                <c:pt idx="28">
                  <c:v>0.07719568978667611</c:v>
                </c:pt>
                <c:pt idx="29">
                  <c:v>0.07597129135601023</c:v>
                </c:pt>
                <c:pt idx="30">
                  <c:v>0.08427878502875362</c:v>
                </c:pt>
                <c:pt idx="31">
                  <c:v>0.08250356750351766</c:v>
                </c:pt>
                <c:pt idx="32">
                  <c:v>0.0797808759735357</c:v>
                </c:pt>
                <c:pt idx="33">
                  <c:v>0.07419394999882613</c:v>
                </c:pt>
                <c:pt idx="34">
                  <c:v>0.07169702647572258</c:v>
                </c:pt>
                <c:pt idx="35">
                  <c:v>0.0717223362475002</c:v>
                </c:pt>
                <c:pt idx="36">
                  <c:v>0.08580381904621869</c:v>
                </c:pt>
                <c:pt idx="37">
                  <c:v>0.07583875549652608</c:v>
                </c:pt>
                <c:pt idx="38">
                  <c:v>0.08115248494873627</c:v>
                </c:pt>
                <c:pt idx="39">
                  <c:v>0.07036588128719497</c:v>
                </c:pt>
                <c:pt idx="40">
                  <c:v>0.0674848123313388</c:v>
                </c:pt>
                <c:pt idx="41">
                  <c:v>0.07343841231181455</c:v>
                </c:pt>
                <c:pt idx="42">
                  <c:v>0.06650641694296189</c:v>
                </c:pt>
                <c:pt idx="43">
                  <c:v>0.08094781773183755</c:v>
                </c:pt>
                <c:pt idx="44">
                  <c:v>0.08294425547207072</c:v>
                </c:pt>
                <c:pt idx="45">
                  <c:v>0.07858405838291403</c:v>
                </c:pt>
                <c:pt idx="46">
                  <c:v>0.073417468993954</c:v>
                </c:pt>
                <c:pt idx="47">
                  <c:v>0.08128105081885673</c:v>
                </c:pt>
                <c:pt idx="48">
                  <c:v>0.0860816107531684</c:v>
                </c:pt>
                <c:pt idx="49">
                  <c:v>0.08672483977396228</c:v>
                </c:pt>
                <c:pt idx="50">
                  <c:v>0.09202613928446368</c:v>
                </c:pt>
                <c:pt idx="51">
                  <c:v>0.09940517680436552</c:v>
                </c:pt>
                <c:pt idx="52">
                  <c:v>0.09599459075659805</c:v>
                </c:pt>
                <c:pt idx="53">
                  <c:v>0.16874470789807797</c:v>
                </c:pt>
                <c:pt idx="54">
                  <c:v>0.0647393009609873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3207981580967"/>
          <c:min val="0.041627950195131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6.7792</c:v>
                </c:pt>
                <c:pt idx="1">
                  <c:v>850.6845</c:v>
                </c:pt>
                <c:pt idx="2">
                  <c:v>874.5561</c:v>
                </c:pt>
                <c:pt idx="3">
                  <c:v>886.5982</c:v>
                </c:pt>
                <c:pt idx="4">
                  <c:v>870.1023</c:v>
                </c:pt>
                <c:pt idx="5">
                  <c:v>867.2944</c:v>
                </c:pt>
                <c:pt idx="6">
                  <c:v>847.3662</c:v>
                </c:pt>
                <c:pt idx="7">
                  <c:v>844.4321</c:v>
                </c:pt>
                <c:pt idx="8">
                  <c:v>836.4679</c:v>
                </c:pt>
                <c:pt idx="9">
                  <c:v>842.5889</c:v>
                </c:pt>
                <c:pt idx="10">
                  <c:v>850.9213</c:v>
                </c:pt>
                <c:pt idx="11">
                  <c:v>890.5118</c:v>
                </c:pt>
                <c:pt idx="12">
                  <c:v>899.8956</c:v>
                </c:pt>
                <c:pt idx="13">
                  <c:v>886.865</c:v>
                </c:pt>
                <c:pt idx="14">
                  <c:v>891.0649</c:v>
                </c:pt>
                <c:pt idx="15">
                  <c:v>898.7726</c:v>
                </c:pt>
                <c:pt idx="16">
                  <c:v>904.6196</c:v>
                </c:pt>
                <c:pt idx="17">
                  <c:v>923.2289</c:v>
                </c:pt>
                <c:pt idx="18">
                  <c:v>1043.1591</c:v>
                </c:pt>
                <c:pt idx="19">
                  <c:v>966.6261</c:v>
                </c:pt>
                <c:pt idx="20">
                  <c:v>951.4329</c:v>
                </c:pt>
                <c:pt idx="21">
                  <c:v>959.3111</c:v>
                </c:pt>
                <c:pt idx="22">
                  <c:v>926.1816</c:v>
                </c:pt>
                <c:pt idx="23">
                  <c:v>914.7657</c:v>
                </c:pt>
                <c:pt idx="24">
                  <c:v>902.8053</c:v>
                </c:pt>
                <c:pt idx="25">
                  <c:v>893.9048</c:v>
                </c:pt>
                <c:pt idx="26">
                  <c:v>904.691</c:v>
                </c:pt>
                <c:pt idx="27">
                  <c:v>948.9011</c:v>
                </c:pt>
                <c:pt idx="28">
                  <c:v>923.6051</c:v>
                </c:pt>
                <c:pt idx="29">
                  <c:v>751.8596</c:v>
                </c:pt>
                <c:pt idx="30">
                  <c:v>833.3225</c:v>
                </c:pt>
                <c:pt idx="31">
                  <c:v>856.1956</c:v>
                </c:pt>
                <c:pt idx="32">
                  <c:v>845.4176</c:v>
                </c:pt>
                <c:pt idx="33">
                  <c:v>755.1315</c:v>
                </c:pt>
                <c:pt idx="34">
                  <c:v>908.3252</c:v>
                </c:pt>
                <c:pt idx="35">
                  <c:v>916.4935</c:v>
                </c:pt>
                <c:pt idx="36">
                  <c:v>998.6525</c:v>
                </c:pt>
                <c:pt idx="37">
                  <c:v>1003.7689</c:v>
                </c:pt>
                <c:pt idx="38">
                  <c:v>1047.4482</c:v>
                </c:pt>
                <c:pt idx="39">
                  <c:v>1091.2633</c:v>
                </c:pt>
                <c:pt idx="40">
                  <c:v>1093.5677</c:v>
                </c:pt>
                <c:pt idx="41">
                  <c:v>1101.7663</c:v>
                </c:pt>
                <c:pt idx="42">
                  <c:v>1112.8943</c:v>
                </c:pt>
                <c:pt idx="43">
                  <c:v>1114.1005</c:v>
                </c:pt>
                <c:pt idx="44">
                  <c:v>1032.2769</c:v>
                </c:pt>
                <c:pt idx="45">
                  <c:v>1011.0033</c:v>
                </c:pt>
                <c:pt idx="46">
                  <c:v>997.0938</c:v>
                </c:pt>
                <c:pt idx="47">
                  <c:v>1005.3836</c:v>
                </c:pt>
                <c:pt idx="48">
                  <c:v>993.7249</c:v>
                </c:pt>
                <c:pt idx="49">
                  <c:v>938.563</c:v>
                </c:pt>
                <c:pt idx="50">
                  <c:v>938.406</c:v>
                </c:pt>
                <c:pt idx="51">
                  <c:v>933.2998</c:v>
                </c:pt>
                <c:pt idx="52">
                  <c:v>907.5156</c:v>
                </c:pt>
                <c:pt idx="53">
                  <c:v>1015.1845</c:v>
                </c:pt>
                <c:pt idx="54">
                  <c:v>973.1492</c:v>
                </c:pt>
                <c:pt idx="55">
                  <c:v>1025.176</c:v>
                </c:pt>
                <c:pt idx="56">
                  <c:v>939.811</c:v>
                </c:pt>
                <c:pt idx="57">
                  <c:v>995.7009</c:v>
                </c:pt>
                <c:pt idx="58">
                  <c:v>945.953</c:v>
                </c:pt>
                <c:pt idx="59">
                  <c:v>990.5743</c:v>
                </c:pt>
                <c:pt idx="60">
                  <c:v>1038.2464</c:v>
                </c:pt>
                <c:pt idx="61">
                  <c:v>970.2124</c:v>
                </c:pt>
                <c:pt idx="62">
                  <c:v>919.2749</c:v>
                </c:pt>
                <c:pt idx="63">
                  <c:v>1007.1789</c:v>
                </c:pt>
                <c:pt idx="64">
                  <c:v>1041.8156</c:v>
                </c:pt>
                <c:pt idx="65">
                  <c:v>971.4927</c:v>
                </c:pt>
                <c:pt idx="66">
                  <c:v>1049.046</c:v>
                </c:pt>
                <c:pt idx="67">
                  <c:v>958.0574</c:v>
                </c:pt>
                <c:pt idx="68">
                  <c:v>1003.4835</c:v>
                </c:pt>
                <c:pt idx="69">
                  <c:v>1011.901</c:v>
                </c:pt>
                <c:pt idx="70">
                  <c:v>1010.7242</c:v>
                </c:pt>
                <c:pt idx="71">
                  <c:v>980.036</c:v>
                </c:pt>
                <c:pt idx="72">
                  <c:v>1087.1646</c:v>
                </c:pt>
                <c:pt idx="73">
                  <c:v>1139.3844</c:v>
                </c:pt>
                <c:pt idx="74">
                  <c:v>1147.6607</c:v>
                </c:pt>
                <c:pt idx="75">
                  <c:v>1112.887</c:v>
                </c:pt>
                <c:pt idx="76">
                  <c:v>1134.3668</c:v>
                </c:pt>
                <c:pt idx="77">
                  <c:v>982.8471</c:v>
                </c:pt>
                <c:pt idx="78">
                  <c:v>1075.0902</c:v>
                </c:pt>
                <c:pt idx="79">
                  <c:v>1118.1735</c:v>
                </c:pt>
                <c:pt idx="80">
                  <c:v>1005.9818</c:v>
                </c:pt>
                <c:pt idx="81">
                  <c:v>997.835</c:v>
                </c:pt>
                <c:pt idx="82">
                  <c:v>1015.3202</c:v>
                </c:pt>
                <c:pt idx="83">
                  <c:v>1118.4013</c:v>
                </c:pt>
                <c:pt idx="84">
                  <c:v>1075.6366</c:v>
                </c:pt>
                <c:pt idx="85">
                  <c:v>1084.991</c:v>
                </c:pt>
                <c:pt idx="86">
                  <c:v>1112.7317</c:v>
                </c:pt>
                <c:pt idx="87">
                  <c:v>1129.7534</c:v>
                </c:pt>
                <c:pt idx="88">
                  <c:v>1133.7804</c:v>
                </c:pt>
                <c:pt idx="89">
                  <c:v>1087.8747</c:v>
                </c:pt>
                <c:pt idx="90">
                  <c:v>1147.6967</c:v>
                </c:pt>
                <c:pt idx="91">
                  <c:v>1156.7806</c:v>
                </c:pt>
                <c:pt idx="92">
                  <c:v>1126.4915</c:v>
                </c:pt>
                <c:pt idx="93">
                  <c:v>1138.1964</c:v>
                </c:pt>
                <c:pt idx="94">
                  <c:v>1154.9826</c:v>
                </c:pt>
                <c:pt idx="95">
                  <c:v>1144.6959</c:v>
                </c:pt>
                <c:pt idx="96">
                  <c:v>1088.659</c:v>
                </c:pt>
                <c:pt idx="97">
                  <c:v>1103.4413</c:v>
                </c:pt>
                <c:pt idx="98">
                  <c:v>1082.9455</c:v>
                </c:pt>
                <c:pt idx="99">
                  <c:v>1017.8109</c:v>
                </c:pt>
                <c:pt idx="100">
                  <c:v>1043.5071</c:v>
                </c:pt>
                <c:pt idx="101">
                  <c:v>1036.7912</c:v>
                </c:pt>
                <c:pt idx="102">
                  <c:v>1069.6267</c:v>
                </c:pt>
                <c:pt idx="103">
                  <c:v>1001.2545</c:v>
                </c:pt>
                <c:pt idx="104">
                  <c:v>1074.468</c:v>
                </c:pt>
              </c:numCache>
            </c:numRef>
          </c:xVal>
          <c:yVal>
            <c:numRef>
              <c:f>Sheet1!$B$2:$B$106</c:f>
              <c:numCache>
                <c:formatCode>General</c:formatCode>
                <c:ptCount val="105"/>
                <c:pt idx="0">
                  <c:v>0.21933998465080584</c:v>
                </c:pt>
                <c:pt idx="1">
                  <c:v>0.19069952305246424</c:v>
                </c:pt>
                <c:pt idx="2">
                  <c:v>0.15764636484294353</c:v>
                </c:pt>
                <c:pt idx="3">
                  <c:v>0.16243731955629845</c:v>
                </c:pt>
                <c:pt idx="4">
                  <c:v>0.14980252021816814</c:v>
                </c:pt>
                <c:pt idx="5">
                  <c:v>0.14439676678974153</c:v>
                </c:pt>
                <c:pt idx="6">
                  <c:v>0.17270362217330398</c:v>
                </c:pt>
                <c:pt idx="7">
                  <c:v>0.1611933116805004</c:v>
                </c:pt>
                <c:pt idx="8">
                  <c:v>0.16048295811847565</c:v>
                </c:pt>
                <c:pt idx="9">
                  <c:v>0.16180371352785147</c:v>
                </c:pt>
                <c:pt idx="10">
                  <c:v>0.1695104895104895</c:v>
                </c:pt>
                <c:pt idx="11">
                  <c:v>0.16044707186403104</c:v>
                </c:pt>
                <c:pt idx="12">
                  <c:v>0.17437842393594605</c:v>
                </c:pt>
                <c:pt idx="13">
                  <c:v>0.17121418826739426</c:v>
                </c:pt>
                <c:pt idx="14">
                  <c:v>0.16830610203401133</c:v>
                </c:pt>
                <c:pt idx="15">
                  <c:v>0.17840076457470533</c:v>
                </c:pt>
                <c:pt idx="16">
                  <c:v>0.17441151359921941</c:v>
                </c:pt>
                <c:pt idx="17">
                  <c:v>0.15169811320754717</c:v>
                </c:pt>
                <c:pt idx="18">
                  <c:v>0.18800603815013037</c:v>
                </c:pt>
                <c:pt idx="19">
                  <c:v>0.15099472878762116</c:v>
                </c:pt>
                <c:pt idx="20">
                  <c:v>0.1602972399150743</c:v>
                </c:pt>
                <c:pt idx="21">
                  <c:v>0.14950166112956811</c:v>
                </c:pt>
                <c:pt idx="22">
                  <c:v>0.16251388668465322</c:v>
                </c:pt>
                <c:pt idx="23">
                  <c:v>0.17288135593220338</c:v>
                </c:pt>
                <c:pt idx="24">
                  <c:v>0.17027070318757007</c:v>
                </c:pt>
                <c:pt idx="25">
                  <c:v>0.17125770206596594</c:v>
                </c:pt>
                <c:pt idx="26">
                  <c:v>0.1599651871192341</c:v>
                </c:pt>
                <c:pt idx="27">
                  <c:v>0.1438143487497957</c:v>
                </c:pt>
                <c:pt idx="28">
                  <c:v>0.14381698928171494</c:v>
                </c:pt>
                <c:pt idx="29">
                  <c:v>0.1795017793594306</c:v>
                </c:pt>
                <c:pt idx="30">
                  <c:v>0.16601598810187768</c:v>
                </c:pt>
                <c:pt idx="31">
                  <c:v>0.15304406323578876</c:v>
                </c:pt>
                <c:pt idx="32">
                  <c:v>0.15442820292347378</c:v>
                </c:pt>
                <c:pt idx="33">
                  <c:v>0.18454237288135594</c:v>
                </c:pt>
                <c:pt idx="34">
                  <c:v>0.16421982590619721</c:v>
                </c:pt>
                <c:pt idx="35">
                  <c:v>0.17924424369285005</c:v>
                </c:pt>
                <c:pt idx="36">
                  <c:v>0.12554861018752494</c:v>
                </c:pt>
                <c:pt idx="37">
                  <c:v>0.11342069588793494</c:v>
                </c:pt>
                <c:pt idx="38">
                  <c:v>0.10565255992897307</c:v>
                </c:pt>
                <c:pt idx="39">
                  <c:v>0.09131030284583777</c:v>
                </c:pt>
                <c:pt idx="40">
                  <c:v>0.09518229166666667</c:v>
                </c:pt>
                <c:pt idx="41">
                  <c:v>0.07959518599562364</c:v>
                </c:pt>
                <c:pt idx="42">
                  <c:v>0.07896592244418331</c:v>
                </c:pt>
                <c:pt idx="43">
                  <c:v>0.08313436075537226</c:v>
                </c:pt>
                <c:pt idx="44">
                  <c:v>0.0948153674002238</c:v>
                </c:pt>
                <c:pt idx="45">
                  <c:v>0.10679405520169852</c:v>
                </c:pt>
                <c:pt idx="46">
                  <c:v>0.1124546553808948</c:v>
                </c:pt>
                <c:pt idx="47">
                  <c:v>0.09760262725779967</c:v>
                </c:pt>
                <c:pt idx="48">
                  <c:v>0.11852334854792597</c:v>
                </c:pt>
                <c:pt idx="49">
                  <c:v>0.1411543287327478</c:v>
                </c:pt>
                <c:pt idx="50">
                  <c:v>0.11621983914209115</c:v>
                </c:pt>
                <c:pt idx="51">
                  <c:v>0.10727411944869832</c:v>
                </c:pt>
                <c:pt idx="52">
                  <c:v>0.12376336232653874</c:v>
                </c:pt>
                <c:pt idx="53">
                  <c:v>0.10119471477173828</c:v>
                </c:pt>
                <c:pt idx="54">
                  <c:v>0.09513160158265956</c:v>
                </c:pt>
                <c:pt idx="55">
                  <c:v>0.08154694198967538</c:v>
                </c:pt>
                <c:pt idx="56">
                  <c:v>0.10031152647975078</c:v>
                </c:pt>
                <c:pt idx="57">
                  <c:v>0.08788449466415568</c:v>
                </c:pt>
                <c:pt idx="58">
                  <c:v>0.10770174900276158</c:v>
                </c:pt>
                <c:pt idx="59">
                  <c:v>0.10466289866774324</c:v>
                </c:pt>
                <c:pt idx="60">
                  <c:v>0.10296017855045225</c:v>
                </c:pt>
                <c:pt idx="61">
                  <c:v>0.12066169315601687</c:v>
                </c:pt>
                <c:pt idx="62">
                  <c:v>0.13740396927016646</c:v>
                </c:pt>
                <c:pt idx="63">
                  <c:v>0.14054501656127671</c:v>
                </c:pt>
                <c:pt idx="64">
                  <c:v>0.13665172360488484</c:v>
                </c:pt>
                <c:pt idx="65">
                  <c:v>0.14332612699175273</c:v>
                </c:pt>
                <c:pt idx="66">
                  <c:v>0.1478063785008904</c:v>
                </c:pt>
                <c:pt idx="67">
                  <c:v>0.12599882244091176</c:v>
                </c:pt>
                <c:pt idx="68">
                  <c:v>0.10524279357709422</c:v>
                </c:pt>
                <c:pt idx="69">
                  <c:v>0.08815461346633416</c:v>
                </c:pt>
                <c:pt idx="70">
                  <c:v>0.07558816678313533</c:v>
                </c:pt>
                <c:pt idx="71">
                  <c:v>0.0945140493857195</c:v>
                </c:pt>
                <c:pt idx="72">
                  <c:v>0.08501304244723737</c:v>
                </c:pt>
                <c:pt idx="73">
                  <c:v>0.07700810611643331</c:v>
                </c:pt>
                <c:pt idx="74">
                  <c:v>0.10190574004336414</c:v>
                </c:pt>
                <c:pt idx="75">
                  <c:v>0.07303763816986147</c:v>
                </c:pt>
                <c:pt idx="76">
                  <c:v>0.07546002783361683</c:v>
                </c:pt>
                <c:pt idx="77">
                  <c:v>0.12511387792286668</c:v>
                </c:pt>
                <c:pt idx="78">
                  <c:v>0.08982630272952853</c:v>
                </c:pt>
                <c:pt idx="79">
                  <c:v>0.06466188843876597</c:v>
                </c:pt>
                <c:pt idx="80">
                  <c:v>0.09342186534898085</c:v>
                </c:pt>
                <c:pt idx="81">
                  <c:v>0.11085887249337874</c:v>
                </c:pt>
                <c:pt idx="82">
                  <c:v>0.07975460122699386</c:v>
                </c:pt>
                <c:pt idx="83">
                  <c:v>0.058746492048643593</c:v>
                </c:pt>
                <c:pt idx="84">
                  <c:v>0.06811881188118812</c:v>
                </c:pt>
                <c:pt idx="85">
                  <c:v>0.07900838237916889</c:v>
                </c:pt>
                <c:pt idx="86">
                  <c:v>0.09780490972853617</c:v>
                </c:pt>
                <c:pt idx="87">
                  <c:v>0.09620453347390617</c:v>
                </c:pt>
                <c:pt idx="88">
                  <c:v>0.0937597503900156</c:v>
                </c:pt>
                <c:pt idx="89">
                  <c:v>0.066963521150882</c:v>
                </c:pt>
                <c:pt idx="90">
                  <c:v>0.06942709262894878</c:v>
                </c:pt>
                <c:pt idx="91">
                  <c:v>0.06394779771615008</c:v>
                </c:pt>
                <c:pt idx="92">
                  <c:v>0.08662573411639082</c:v>
                </c:pt>
                <c:pt idx="93">
                  <c:v>0.06516912628966959</c:v>
                </c:pt>
                <c:pt idx="94">
                  <c:v>0.07128498531003556</c:v>
                </c:pt>
                <c:pt idx="95">
                  <c:v>0.07427800876502978</c:v>
                </c:pt>
                <c:pt idx="96">
                  <c:v>0.0725052758516732</c:v>
                </c:pt>
                <c:pt idx="97">
                  <c:v>0.08172219936925819</c:v>
                </c:pt>
                <c:pt idx="98">
                  <c:v>0.09627070177528893</c:v>
                </c:pt>
                <c:pt idx="99">
                  <c:v>0.10277647549096212</c:v>
                </c:pt>
                <c:pt idx="100">
                  <c:v>0.11401326699834162</c:v>
                </c:pt>
                <c:pt idx="101">
                  <c:v>0.094896331738437</c:v>
                </c:pt>
                <c:pt idx="102">
                  <c:v>0.07788606291102132</c:v>
                </c:pt>
                <c:pt idx="103">
                  <c:v>0.08471602953000512</c:v>
                </c:pt>
                <c:pt idx="104">
                  <c:v>0.0845882454177781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88.2856</c:v>
                </c:pt>
                <c:pt idx="1">
                  <c:v>1063.4825</c:v>
                </c:pt>
                <c:pt idx="2">
                  <c:v>1063.6416</c:v>
                </c:pt>
                <c:pt idx="3">
                  <c:v>1017.8923</c:v>
                </c:pt>
                <c:pt idx="4">
                  <c:v>1055.4068</c:v>
                </c:pt>
                <c:pt idx="5">
                  <c:v>1081.5758</c:v>
                </c:pt>
                <c:pt idx="6">
                  <c:v>990.3188</c:v>
                </c:pt>
                <c:pt idx="7">
                  <c:v>1046.1724</c:v>
                </c:pt>
                <c:pt idx="8">
                  <c:v>1108.8925</c:v>
                </c:pt>
                <c:pt idx="9">
                  <c:v>1079.0117</c:v>
                </c:pt>
                <c:pt idx="10">
                  <c:v>1093.4752</c:v>
                </c:pt>
                <c:pt idx="11">
                  <c:v>995.388</c:v>
                </c:pt>
                <c:pt idx="12">
                  <c:v>1033.7307</c:v>
                </c:pt>
                <c:pt idx="13">
                  <c:v>1078.0218</c:v>
                </c:pt>
                <c:pt idx="14">
                  <c:v>1066.305</c:v>
                </c:pt>
                <c:pt idx="15">
                  <c:v>1105.8022</c:v>
                </c:pt>
                <c:pt idx="16">
                  <c:v>1078.7069</c:v>
                </c:pt>
                <c:pt idx="17">
                  <c:v>1116.2664</c:v>
                </c:pt>
                <c:pt idx="18">
                  <c:v>968.263</c:v>
                </c:pt>
                <c:pt idx="19">
                  <c:v>1165.0323</c:v>
                </c:pt>
                <c:pt idx="20">
                  <c:v>1118.6048</c:v>
                </c:pt>
                <c:pt idx="21">
                  <c:v>1137.8798</c:v>
                </c:pt>
                <c:pt idx="22">
                  <c:v>1163.6796</c:v>
                </c:pt>
                <c:pt idx="23">
                  <c:v>1104.5773</c:v>
                </c:pt>
                <c:pt idx="24">
                  <c:v>1143.0575</c:v>
                </c:pt>
                <c:pt idx="25">
                  <c:v>1081.7633</c:v>
                </c:pt>
                <c:pt idx="26">
                  <c:v>1107.2239</c:v>
                </c:pt>
                <c:pt idx="27">
                  <c:v>1123.328</c:v>
                </c:pt>
                <c:pt idx="28">
                  <c:v>1052.5108</c:v>
                </c:pt>
                <c:pt idx="29">
                  <c:v>1084.9799</c:v>
                </c:pt>
                <c:pt idx="30">
                  <c:v>1067.6779</c:v>
                </c:pt>
                <c:pt idx="31">
                  <c:v>973.8568</c:v>
                </c:pt>
                <c:pt idx="32">
                  <c:v>1016.2229</c:v>
                </c:pt>
                <c:pt idx="33">
                  <c:v>1044.2662</c:v>
                </c:pt>
                <c:pt idx="34">
                  <c:v>1082.1673</c:v>
                </c:pt>
                <c:pt idx="35">
                  <c:v>1084.2721</c:v>
                </c:pt>
                <c:pt idx="36">
                  <c:v>986.2426</c:v>
                </c:pt>
                <c:pt idx="37">
                  <c:v>1123.4275</c:v>
                </c:pt>
                <c:pt idx="38">
                  <c:v>1107.6686</c:v>
                </c:pt>
                <c:pt idx="39">
                  <c:v>1103.436</c:v>
                </c:pt>
                <c:pt idx="40">
                  <c:v>1177.9532</c:v>
                </c:pt>
                <c:pt idx="41">
                  <c:v>1133.1763</c:v>
                </c:pt>
                <c:pt idx="42">
                  <c:v>1183.6421</c:v>
                </c:pt>
                <c:pt idx="43">
                  <c:v>1209.4714</c:v>
                </c:pt>
                <c:pt idx="44">
                  <c:v>1164.9411</c:v>
                </c:pt>
                <c:pt idx="45">
                  <c:v>1116.5788</c:v>
                </c:pt>
                <c:pt idx="46">
                  <c:v>1135.6351</c:v>
                </c:pt>
                <c:pt idx="47">
                  <c:v>1106.0904</c:v>
                </c:pt>
                <c:pt idx="48">
                  <c:v>1086.0204</c:v>
                </c:pt>
                <c:pt idx="49">
                  <c:v>1124.6404</c:v>
                </c:pt>
                <c:pt idx="50">
                  <c:v>1004.1653</c:v>
                </c:pt>
                <c:pt idx="51">
                  <c:v>974.8064</c:v>
                </c:pt>
              </c:numCache>
            </c:numRef>
          </c:xVal>
          <c:yVal>
            <c:numRef>
              <c:f>Sheet1!$B$109:$B$160</c:f>
              <c:numCache>
                <c:formatCode>General</c:formatCode>
                <c:ptCount val="52"/>
                <c:pt idx="0">
                  <c:v>0.08490269930947897</c:v>
                </c:pt>
                <c:pt idx="1">
                  <c:v>0.08445834705301285</c:v>
                </c:pt>
                <c:pt idx="2">
                  <c:v>0.08606979826240613</c:v>
                </c:pt>
                <c:pt idx="3">
                  <c:v>0.09831276020743554</c:v>
                </c:pt>
                <c:pt idx="4">
                  <c:v>0.0823502722323049</c:v>
                </c:pt>
                <c:pt idx="5">
                  <c:v>0.08385643006599067</c:v>
                </c:pt>
                <c:pt idx="6">
                  <c:v>0.08864873035066505</c:v>
                </c:pt>
                <c:pt idx="7">
                  <c:v>0.08483717071147065</c:v>
                </c:pt>
                <c:pt idx="8">
                  <c:v>0.08926064576509125</c:v>
                </c:pt>
                <c:pt idx="9">
                  <c:v>0.09222462203023758</c:v>
                </c:pt>
                <c:pt idx="10">
                  <c:v>0.10126847677953664</c:v>
                </c:pt>
                <c:pt idx="11">
                  <c:v>0.14309880815071127</c:v>
                </c:pt>
                <c:pt idx="12">
                  <c:v>0.11258937460403656</c:v>
                </c:pt>
                <c:pt idx="13">
                  <c:v>0.1016839378238342</c:v>
                </c:pt>
                <c:pt idx="14">
                  <c:v>0.12088563803499061</c:v>
                </c:pt>
                <c:pt idx="15">
                  <c:v>0.09359966534197867</c:v>
                </c:pt>
                <c:pt idx="16">
                  <c:v>0.12809593186148158</c:v>
                </c:pt>
                <c:pt idx="17">
                  <c:v>0.0689444036247857</c:v>
                </c:pt>
                <c:pt idx="18">
                  <c:v>0.07787684591808303</c:v>
                </c:pt>
                <c:pt idx="19">
                  <c:v>0.07287714248331807</c:v>
                </c:pt>
                <c:pt idx="20">
                  <c:v>0.07140820980615735</c:v>
                </c:pt>
                <c:pt idx="21">
                  <c:v>0.06337662337662338</c:v>
                </c:pt>
                <c:pt idx="22">
                  <c:v>0.06343087436481513</c:v>
                </c:pt>
                <c:pt idx="23">
                  <c:v>0.062386322299017825</c:v>
                </c:pt>
                <c:pt idx="24">
                  <c:v>0.05270247516416905</c:v>
                </c:pt>
                <c:pt idx="25">
                  <c:v>0.06210951855935318</c:v>
                </c:pt>
                <c:pt idx="26">
                  <c:v>0.0579785392869505</c:v>
                </c:pt>
                <c:pt idx="27">
                  <c:v>0.05480259281084266</c:v>
                </c:pt>
                <c:pt idx="28">
                  <c:v>0.07242857142857143</c:v>
                </c:pt>
                <c:pt idx="29">
                  <c:v>0.05792276964047936</c:v>
                </c:pt>
                <c:pt idx="30">
                  <c:v>0.0709655407710679</c:v>
                </c:pt>
                <c:pt idx="31">
                  <c:v>0.06972443129276863</c:v>
                </c:pt>
                <c:pt idx="32">
                  <c:v>0.07591192901741703</c:v>
                </c:pt>
                <c:pt idx="33">
                  <c:v>0.08133712275003384</c:v>
                </c:pt>
                <c:pt idx="34">
                  <c:v>0.09276928382572709</c:v>
                </c:pt>
                <c:pt idx="35">
                  <c:v>0.08207771609833465</c:v>
                </c:pt>
                <c:pt idx="36">
                  <c:v>0.08579773640014604</c:v>
                </c:pt>
                <c:pt idx="37">
                  <c:v>0.06512013256006628</c:v>
                </c:pt>
                <c:pt idx="38">
                  <c:v>0.06393769244702047</c:v>
                </c:pt>
                <c:pt idx="39">
                  <c:v>0.07328504473796335</c:v>
                </c:pt>
                <c:pt idx="40">
                  <c:v>0.052746951637210576</c:v>
                </c:pt>
                <c:pt idx="41">
                  <c:v>0.061794019933554815</c:v>
                </c:pt>
                <c:pt idx="42">
                  <c:v>0.05582488614661378</c:v>
                </c:pt>
                <c:pt idx="43">
                  <c:v>0.052984429065743945</c:v>
                </c:pt>
                <c:pt idx="44">
                  <c:v>0.05203493774391377</c:v>
                </c:pt>
                <c:pt idx="45">
                  <c:v>0.0659689642728257</c:v>
                </c:pt>
                <c:pt idx="46">
                  <c:v>0.056874466268146885</c:v>
                </c:pt>
                <c:pt idx="47">
                  <c:v>0.06119175555377336</c:v>
                </c:pt>
                <c:pt idx="48">
                  <c:v>0.06203358208955224</c:v>
                </c:pt>
                <c:pt idx="49">
                  <c:v>0.07416814833629667</c:v>
                </c:pt>
                <c:pt idx="50">
                  <c:v>0.09495573743110072</c:v>
                </c:pt>
                <c:pt idx="51">
                  <c:v>0.077747989276139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07.8675776783695</c:v>
                </c:pt>
              </c:numCache>
            </c:numRef>
          </c:xVal>
          <c:yVal>
            <c:numRef>
              <c:f>Sheet1!$B$163:$B$164</c:f>
              <c:numCache>
                <c:formatCode>General</c:formatCode>
                <c:ptCount val="2"/>
                <c:pt idx="0">
                  <c:v>0.16874470789807797</c:v>
                </c:pt>
                <c:pt idx="1">
                  <c:v>0.1687447078980779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07.8675776783695</c:v>
                </c:pt>
                <c:pt idx="1">
                  <c:v>607.8675776783695</c:v>
                </c:pt>
              </c:numCache>
            </c:numRef>
          </c:xVal>
          <c:yVal>
            <c:numRef>
              <c:f>Sheet1!$B$167:$B$168</c:f>
              <c:numCache>
                <c:formatCode>General</c:formatCode>
                <c:ptCount val="2"/>
                <c:pt idx="0">
                  <c:v>0.1687447078980779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89.3802028281448</c:v>
                </c:pt>
              </c:numCache>
            </c:numRef>
          </c:xVal>
          <c:yVal>
            <c:numRef>
              <c:f>Sheet1!$B$171:$B$172</c:f>
              <c:numCache>
                <c:formatCode>General</c:formatCode>
                <c:ptCount val="2"/>
                <c:pt idx="0">
                  <c:v>0.09599459075659805</c:v>
                </c:pt>
                <c:pt idx="1">
                  <c:v>0.0959945907565980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89.3802028281448</c:v>
                </c:pt>
                <c:pt idx="1">
                  <c:v>989.3802028281448</c:v>
                </c:pt>
              </c:numCache>
            </c:numRef>
          </c:xVal>
          <c:yVal>
            <c:numRef>
              <c:f>Sheet1!$B$175:$B$176</c:f>
              <c:numCache>
                <c:formatCode>General</c:formatCode>
                <c:ptCount val="2"/>
                <c:pt idx="0">
                  <c:v>0.095994590756598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3.2876730601283</c:v>
                </c:pt>
              </c:numCache>
            </c:numRef>
          </c:xVal>
          <c:yVal>
            <c:numRef>
              <c:f>Sheet1!$B$179:$B$180</c:f>
              <c:numCache>
                <c:formatCode>General</c:formatCode>
                <c:ptCount val="2"/>
                <c:pt idx="0">
                  <c:v>0.06473930096098733</c:v>
                </c:pt>
                <c:pt idx="1">
                  <c:v>0.0647393009609873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3.2876730601283</c:v>
                </c:pt>
                <c:pt idx="1">
                  <c:v>1153.2876730601283</c:v>
                </c:pt>
              </c:numCache>
            </c:numRef>
          </c:xVal>
          <c:yVal>
            <c:numRef>
              <c:f>Sheet1!$B$183:$B$184</c:f>
              <c:numCache>
                <c:formatCode>General</c:formatCode>
                <c:ptCount val="2"/>
                <c:pt idx="0">
                  <c:v>0.0647393009609873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88.2856</c:v>
                </c:pt>
                <c:pt idx="1">
                  <c:v>1063.4825</c:v>
                </c:pt>
                <c:pt idx="2">
                  <c:v>1063.6416</c:v>
                </c:pt>
                <c:pt idx="3">
                  <c:v>1017.8923</c:v>
                </c:pt>
                <c:pt idx="4">
                  <c:v>1055.4068</c:v>
                </c:pt>
                <c:pt idx="5">
                  <c:v>1081.5758</c:v>
                </c:pt>
                <c:pt idx="6">
                  <c:v>990.3188</c:v>
                </c:pt>
                <c:pt idx="7">
                  <c:v>1046.1724</c:v>
                </c:pt>
                <c:pt idx="8">
                  <c:v>1108.8925</c:v>
                </c:pt>
                <c:pt idx="9">
                  <c:v>1079.0117</c:v>
                </c:pt>
                <c:pt idx="10">
                  <c:v>1093.4752</c:v>
                </c:pt>
                <c:pt idx="11">
                  <c:v>995.388</c:v>
                </c:pt>
                <c:pt idx="12">
                  <c:v>1033.7307</c:v>
                </c:pt>
                <c:pt idx="13">
                  <c:v>1078.0218</c:v>
                </c:pt>
                <c:pt idx="14">
                  <c:v>1066.305</c:v>
                </c:pt>
                <c:pt idx="15">
                  <c:v>1105.8022</c:v>
                </c:pt>
                <c:pt idx="16">
                  <c:v>1078.7069</c:v>
                </c:pt>
                <c:pt idx="17">
                  <c:v>1116.2664</c:v>
                </c:pt>
                <c:pt idx="18">
                  <c:v>968.263</c:v>
                </c:pt>
                <c:pt idx="19">
                  <c:v>1165.0323</c:v>
                </c:pt>
                <c:pt idx="20">
                  <c:v>1118.6048</c:v>
                </c:pt>
                <c:pt idx="21">
                  <c:v>1137.8798</c:v>
                </c:pt>
                <c:pt idx="22">
                  <c:v>1163.6796</c:v>
                </c:pt>
                <c:pt idx="23">
                  <c:v>1104.5773</c:v>
                </c:pt>
                <c:pt idx="24">
                  <c:v>1143.0575</c:v>
                </c:pt>
                <c:pt idx="25">
                  <c:v>1081.7633</c:v>
                </c:pt>
                <c:pt idx="26">
                  <c:v>1107.2239</c:v>
                </c:pt>
                <c:pt idx="27">
                  <c:v>1123.328</c:v>
                </c:pt>
                <c:pt idx="28">
                  <c:v>1052.5108</c:v>
                </c:pt>
                <c:pt idx="29">
                  <c:v>1084.9799</c:v>
                </c:pt>
                <c:pt idx="30">
                  <c:v>1067.6779</c:v>
                </c:pt>
                <c:pt idx="31">
                  <c:v>973.8568</c:v>
                </c:pt>
                <c:pt idx="32">
                  <c:v>1016.2229</c:v>
                </c:pt>
                <c:pt idx="33">
                  <c:v>1044.2662</c:v>
                </c:pt>
                <c:pt idx="34">
                  <c:v>1082.1673</c:v>
                </c:pt>
                <c:pt idx="35">
                  <c:v>1084.2721</c:v>
                </c:pt>
                <c:pt idx="36">
                  <c:v>986.2426</c:v>
                </c:pt>
                <c:pt idx="37">
                  <c:v>1123.4275</c:v>
                </c:pt>
                <c:pt idx="38">
                  <c:v>1107.6686</c:v>
                </c:pt>
                <c:pt idx="39">
                  <c:v>1103.436</c:v>
                </c:pt>
                <c:pt idx="40">
                  <c:v>1177.9532</c:v>
                </c:pt>
                <c:pt idx="41">
                  <c:v>1133.1763</c:v>
                </c:pt>
                <c:pt idx="42">
                  <c:v>1183.6421</c:v>
                </c:pt>
                <c:pt idx="43">
                  <c:v>1209.4714</c:v>
                </c:pt>
                <c:pt idx="44">
                  <c:v>1164.9411</c:v>
                </c:pt>
                <c:pt idx="45">
                  <c:v>1116.5788</c:v>
                </c:pt>
                <c:pt idx="46">
                  <c:v>1135.6351</c:v>
                </c:pt>
                <c:pt idx="47">
                  <c:v>1106.0904</c:v>
                </c:pt>
                <c:pt idx="48">
                  <c:v>1086.0204</c:v>
                </c:pt>
                <c:pt idx="49">
                  <c:v>1124.6404</c:v>
                </c:pt>
                <c:pt idx="50">
                  <c:v>1004.1653</c:v>
                </c:pt>
                <c:pt idx="51">
                  <c:v>974.8064</c:v>
                </c:pt>
                <c:pt idx="52">
                  <c:v>989.3802028281448</c:v>
                </c:pt>
                <c:pt idx="53">
                  <c:v>607.8675776783695</c:v>
                </c:pt>
                <c:pt idx="54">
                  <c:v>1153.2876730601283</c:v>
                </c:pt>
              </c:numCache>
            </c:numRef>
          </c:xVal>
          <c:yVal>
            <c:numRef>
              <c:f>Sheet1!$B$187:$B$241</c:f>
              <c:numCache>
                <c:formatCode>General</c:formatCode>
                <c:ptCount val="55"/>
                <c:pt idx="0">
                  <c:v>0.07713445676404074</c:v>
                </c:pt>
                <c:pt idx="1">
                  <c:v>0.08186412574881796</c:v>
                </c:pt>
                <c:pt idx="2">
                  <c:v>0.08183378718890097</c:v>
                </c:pt>
                <c:pt idx="3">
                  <c:v>0.09055765820846179</c:v>
                </c:pt>
                <c:pt idx="4">
                  <c:v>0.08340406986146379</c:v>
                </c:pt>
                <c:pt idx="5">
                  <c:v>0.07841393928655033</c:v>
                </c:pt>
                <c:pt idx="6">
                  <c:v>0.0958156109543587</c:v>
                </c:pt>
                <c:pt idx="7">
                  <c:v>0.0851649648815632</c:v>
                </c:pt>
                <c:pt idx="8">
                  <c:v>0.07320495537903618</c:v>
                </c:pt>
                <c:pt idx="9">
                  <c:v>0.07890288398474804</c:v>
                </c:pt>
                <c:pt idx="10">
                  <c:v>0.07614485908619398</c:v>
                </c:pt>
                <c:pt idx="11">
                  <c:v>0.09484897218671945</c:v>
                </c:pt>
                <c:pt idx="12">
                  <c:v>0.08753745552216466</c:v>
                </c:pt>
                <c:pt idx="13">
                  <c:v>0.07909164665264162</c:v>
                </c:pt>
                <c:pt idx="14">
                  <c:v>0.08132590711044074</c:v>
                </c:pt>
                <c:pt idx="15">
                  <c:v>0.07379424043064894</c:v>
                </c:pt>
                <c:pt idx="16">
                  <c:v>0.07896100587703411</c:v>
                </c:pt>
                <c:pt idx="17">
                  <c:v>0.07179883654200175</c:v>
                </c:pt>
                <c:pt idx="18">
                  <c:v>0.10002140108520724</c:v>
                </c:pt>
                <c:pt idx="19">
                  <c:v>0.062499734222342146</c:v>
                </c:pt>
                <c:pt idx="20">
                  <c:v>0.07135293026601192</c:v>
                </c:pt>
                <c:pt idx="21">
                  <c:v>0.06767740705796207</c:v>
                </c:pt>
                <c:pt idx="22">
                  <c:v>0.06275767872265495</c:v>
                </c:pt>
                <c:pt idx="23">
                  <c:v>0.0740278149249442</c:v>
                </c:pt>
                <c:pt idx="24">
                  <c:v>0.06669007857472889</c:v>
                </c:pt>
                <c:pt idx="25">
                  <c:v>0.07837818516974052</c:v>
                </c:pt>
                <c:pt idx="26">
                  <c:v>0.07352313841535016</c:v>
                </c:pt>
                <c:pt idx="27">
                  <c:v>0.07045226976192576</c:v>
                </c:pt>
                <c:pt idx="28">
                  <c:v>0.08395630411363045</c:v>
                </c:pt>
                <c:pt idx="29">
                  <c:v>0.07776481614504463</c:v>
                </c:pt>
                <c:pt idx="30">
                  <c:v>0.08106411069994368</c:v>
                </c:pt>
                <c:pt idx="31">
                  <c:v>0.09895472706594971</c:v>
                </c:pt>
                <c:pt idx="32">
                  <c:v>0.09087599379567415</c:v>
                </c:pt>
                <c:pt idx="33">
                  <c:v>0.08552845553469857</c:v>
                </c:pt>
                <c:pt idx="34">
                  <c:v>0.07830114696605428</c:v>
                </c:pt>
                <c:pt idx="35">
                  <c:v>0.07789978555239396</c:v>
                </c:pt>
                <c:pt idx="36">
                  <c:v>0.09659289591937309</c:v>
                </c:pt>
                <c:pt idx="37">
                  <c:v>0.07043329624393865</c:v>
                </c:pt>
                <c:pt idx="38">
                  <c:v>0.0734383391847084</c:v>
                </c:pt>
                <c:pt idx="39">
                  <c:v>0.0742454478503578</c:v>
                </c:pt>
                <c:pt idx="40">
                  <c:v>0.06003586559360591</c:v>
                </c:pt>
                <c:pt idx="41">
                  <c:v>0.06857431099617539</c:v>
                </c:pt>
                <c:pt idx="42">
                  <c:v>0.05895105708630238</c:v>
                </c:pt>
                <c:pt idx="43">
                  <c:v>0.05402570343661722</c:v>
                </c:pt>
                <c:pt idx="44">
                  <c:v>0.06251712502475845</c:v>
                </c:pt>
                <c:pt idx="45">
                  <c:v>0.071739265416181</c:v>
                </c:pt>
                <c:pt idx="46">
                  <c:v>0.06810544580997813</c:v>
                </c:pt>
                <c:pt idx="47">
                  <c:v>0.07373928396950447</c:v>
                </c:pt>
                <c:pt idx="48">
                  <c:v>0.07756640463282796</c:v>
                </c:pt>
                <c:pt idx="49">
                  <c:v>0.07020201001311926</c:v>
                </c:pt>
                <c:pt idx="50">
                  <c:v>0.09317524093618684</c:v>
                </c:pt>
                <c:pt idx="51">
                  <c:v>0.09877364914956246</c:v>
                </c:pt>
                <c:pt idx="52">
                  <c:v>0.09599459075659805</c:v>
                </c:pt>
                <c:pt idx="53">
                  <c:v>0.16874470789807797</c:v>
                </c:pt>
                <c:pt idx="54">
                  <c:v>0.0647393009609873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51.0"/>
          <c:min val="48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3207981580967"/>
          <c:min val="0.041627950195131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20</c:f>
              <c:numCache>
                <c:formatCode>General</c:formatCode>
                <c:ptCount val="17"/>
                <c:pt idx="0">
                  <c:v>0.47392997857012914</c:v>
                </c:pt>
                <c:pt idx="1">
                  <c:v>0.6761705347673214</c:v>
                </c:pt>
                <c:pt idx="2">
                  <c:v>0.9299785748908354</c:v>
                </c:pt>
                <c:pt idx="3">
                  <c:v>0.9147504465386715</c:v>
                </c:pt>
                <c:pt idx="4">
                  <c:v>0.8034152031624652</c:v>
                </c:pt>
                <c:pt idx="5">
                  <c:v>0.8600771664381052</c:v>
                </c:pt>
                <c:pt idx="6">
                  <c:v>0.8589101151904843</c:v>
                </c:pt>
                <c:pt idx="7">
                  <c:v>0.9221543726121356</c:v>
                </c:pt>
                <c:pt idx="8">
                  <c:v>0.9679077787712351</c:v>
                </c:pt>
                <c:pt idx="9">
                  <c:v>0.9267211303428684</c:v>
                </c:pt>
                <c:pt idx="10">
                  <c:v>0.9732088692839327</c:v>
                </c:pt>
                <c:pt idx="11">
                  <c:v>0.920214925401807</c:v>
                </c:pt>
                <c:pt idx="12">
                  <c:v>0.9154036485690855</c:v>
                </c:pt>
                <c:pt idx="13">
                  <c:v>0.9111550355833519</c:v>
                </c:pt>
                <c:pt idx="14">
                  <c:v>0.8787725468658063</c:v>
                </c:pt>
                <c:pt idx="15">
                  <c:v>0.8857034277579416</c:v>
                </c:pt>
                <c:pt idx="16">
                  <c:v>0.971271583168787</c:v>
                </c:pt>
              </c:numCache>
            </c:numRef>
          </c:xVal>
          <c:yVal>
            <c:numRef>
              <c:f>Sheet1!$B$4:$B$20</c:f>
              <c:numCache>
                <c:formatCode>General</c:formatCode>
                <c:ptCount val="17"/>
                <c:pt idx="0">
                  <c:v>0.017543859649122806</c:v>
                </c:pt>
                <c:pt idx="1">
                  <c:v>0.044444444444444446</c:v>
                </c:pt>
                <c:pt idx="2">
                  <c:v>0.0392156862745098</c:v>
                </c:pt>
                <c:pt idx="3">
                  <c:v>0.04878048780487805</c:v>
                </c:pt>
                <c:pt idx="4">
                  <c:v>0.08333333333333333</c:v>
                </c:pt>
                <c:pt idx="5">
                  <c:v>0.06153846153846154</c:v>
                </c:pt>
                <c:pt idx="6">
                  <c:v>0.08823529411764706</c:v>
                </c:pt>
                <c:pt idx="7">
                  <c:v>0.07894736842105263</c:v>
                </c:pt>
                <c:pt idx="8">
                  <c:v>0.047619047619047616</c:v>
                </c:pt>
                <c:pt idx="9">
                  <c:v>0.07563025210084033</c:v>
                </c:pt>
                <c:pt idx="10">
                  <c:v>0.06428571428571428</c:v>
                </c:pt>
                <c:pt idx="11">
                  <c:v>0.06666666666666667</c:v>
                </c:pt>
                <c:pt idx="12">
                  <c:v>0.0759493670886076</c:v>
                </c:pt>
                <c:pt idx="13">
                  <c:v>0.06912442396313365</c:v>
                </c:pt>
                <c:pt idx="14">
                  <c:v>0.08695652173913043</c:v>
                </c:pt>
                <c:pt idx="15">
                  <c:v>0.09826589595375723</c:v>
                </c:pt>
                <c:pt idx="16">
                  <c:v>0.05755395683453238</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1.0369548244860238</c:v>
                </c:pt>
              </c:numCache>
            </c:numRef>
          </c:xVal>
          <c:yVal>
            <c:numRef>
              <c:f>Sheet1!$B$23:$B$24</c:f>
              <c:numCache>
                <c:formatCode>General</c:formatCode>
                <c:ptCount val="2"/>
                <c:pt idx="0">
                  <c:v>0.07797519962263842</c:v>
                </c:pt>
                <c:pt idx="1">
                  <c:v>0.07797519962263842</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1.0369548244860238</c:v>
                </c:pt>
                <c:pt idx="1">
                  <c:v>1.0369548244860238</c:v>
                </c:pt>
              </c:numCache>
            </c:numRef>
          </c:xVal>
          <c:yVal>
            <c:numRef>
              <c:f>Sheet1!$B$27:$B$28</c:f>
              <c:numCache>
                <c:formatCode>General</c:formatCode>
                <c:ptCount val="2"/>
                <c:pt idx="0">
                  <c:v>0.0779751996226384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1.0369548244860238</c:v>
                </c:pt>
              </c:numCache>
            </c:numRef>
          </c:xVal>
          <c:yVal>
            <c:numRef>
              <c:f>Sheet1!$B$31:$B$32</c:f>
              <c:numCache>
                <c:formatCode>General</c:formatCode>
                <c:ptCount val="2"/>
                <c:pt idx="0">
                  <c:v>0.07797519962263842</c:v>
                </c:pt>
                <c:pt idx="1">
                  <c:v>0.07797519962263842</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1.0369548244860238</c:v>
                </c:pt>
                <c:pt idx="1">
                  <c:v>1.0369548244860238</c:v>
                </c:pt>
              </c:numCache>
            </c:numRef>
          </c:xVal>
          <c:yVal>
            <c:numRef>
              <c:f>Sheet1!$B$35:$B$36</c:f>
              <c:numCache>
                <c:formatCode>General</c:formatCode>
                <c:ptCount val="2"/>
                <c:pt idx="0">
                  <c:v>0.0779751996226384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978228734950343</c:v>
                </c:pt>
              </c:numCache>
            </c:numRef>
          </c:xVal>
          <c:yVal>
            <c:numRef>
              <c:f>Sheet1!$B$39:$B$40</c:f>
              <c:numCache>
                <c:formatCode>General</c:formatCode>
                <c:ptCount val="2"/>
                <c:pt idx="0">
                  <c:v>0.07339279258937882</c:v>
                </c:pt>
                <c:pt idx="1">
                  <c:v>0.07339279258937882</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978228734950343</c:v>
                </c:pt>
                <c:pt idx="1">
                  <c:v>0.978228734950343</c:v>
                </c:pt>
              </c:numCache>
            </c:numRef>
          </c:xVal>
          <c:yVal>
            <c:numRef>
              <c:f>Sheet1!$B$43:$B$44</c:f>
              <c:numCache>
                <c:formatCode>General</c:formatCode>
                <c:ptCount val="2"/>
                <c:pt idx="0">
                  <c:v>0.0733927925893788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6</c:f>
              <c:numCache>
                <c:formatCode>General</c:formatCode>
                <c:ptCount val="20"/>
                <c:pt idx="0">
                  <c:v>0.47392997857012914</c:v>
                </c:pt>
                <c:pt idx="1">
                  <c:v>0.6761705347673214</c:v>
                </c:pt>
                <c:pt idx="2">
                  <c:v>0.9299785748908354</c:v>
                </c:pt>
                <c:pt idx="3">
                  <c:v>0.9147504465386715</c:v>
                </c:pt>
                <c:pt idx="4">
                  <c:v>0.8034152031624652</c:v>
                </c:pt>
                <c:pt idx="5">
                  <c:v>0.8600771664381052</c:v>
                </c:pt>
                <c:pt idx="6">
                  <c:v>0.8589101151904843</c:v>
                </c:pt>
                <c:pt idx="7">
                  <c:v>0.9221543726121356</c:v>
                </c:pt>
                <c:pt idx="8">
                  <c:v>0.9679077787712351</c:v>
                </c:pt>
                <c:pt idx="9">
                  <c:v>0.9267211303428684</c:v>
                </c:pt>
                <c:pt idx="10">
                  <c:v>0.9732088692839327</c:v>
                </c:pt>
                <c:pt idx="11">
                  <c:v>0.920214925401807</c:v>
                </c:pt>
                <c:pt idx="12">
                  <c:v>0.9154036485690855</c:v>
                </c:pt>
                <c:pt idx="13">
                  <c:v>0.9111550355833519</c:v>
                </c:pt>
                <c:pt idx="14">
                  <c:v>0.8787725468658063</c:v>
                </c:pt>
                <c:pt idx="15">
                  <c:v>0.8857034277579416</c:v>
                </c:pt>
                <c:pt idx="16">
                  <c:v>0.971271583168787</c:v>
                </c:pt>
                <c:pt idx="17">
                  <c:v>1.0369548244860238</c:v>
                </c:pt>
                <c:pt idx="18">
                  <c:v>1.0369548244860238</c:v>
                </c:pt>
                <c:pt idx="19">
                  <c:v>0.978228734950343</c:v>
                </c:pt>
              </c:numCache>
            </c:numRef>
          </c:xVal>
          <c:yVal>
            <c:numRef>
              <c:f>Sheet1!$B$47:$B$66</c:f>
              <c:numCache>
                <c:formatCode>General</c:formatCode>
                <c:ptCount val="20"/>
                <c:pt idx="0">
                  <c:v>0.034042272464984966</c:v>
                </c:pt>
                <c:pt idx="1">
                  <c:v>0.049823138421763405</c:v>
                </c:pt>
                <c:pt idx="2">
                  <c:v>0.0696278241645997</c:v>
                </c:pt>
                <c:pt idx="3">
                  <c:v>0.06843957064702234</c:v>
                </c:pt>
                <c:pt idx="4">
                  <c:v>0.05975206214218958</c:v>
                </c:pt>
                <c:pt idx="5">
                  <c:v>0.06417340504251726</c:v>
                </c:pt>
                <c:pt idx="6">
                  <c:v>0.06408233982963564</c:v>
                </c:pt>
                <c:pt idx="7">
                  <c:v>0.06901730029292635</c:v>
                </c:pt>
                <c:pt idx="8">
                  <c:v>0.07258744657436154</c:v>
                </c:pt>
                <c:pt idx="9">
                  <c:v>0.069373645197039</c:v>
                </c:pt>
                <c:pt idx="10">
                  <c:v>0.07300109159383066</c:v>
                </c:pt>
                <c:pt idx="11">
                  <c:v>0.0688659648880405</c:v>
                </c:pt>
                <c:pt idx="12">
                  <c:v>0.06849054011565162</c:v>
                </c:pt>
                <c:pt idx="13">
                  <c:v>0.06815902010161091</c:v>
                </c:pt>
                <c:pt idx="14">
                  <c:v>0.06563220884571125</c:v>
                </c:pt>
                <c:pt idx="15">
                  <c:v>0.06617302669341603</c:v>
                </c:pt>
                <c:pt idx="16">
                  <c:v>0.07284992481957973</c:v>
                </c:pt>
                <c:pt idx="17">
                  <c:v>0.07797519962263842</c:v>
                </c:pt>
                <c:pt idx="18">
                  <c:v>0.07797519962263842</c:v>
                </c:pt>
                <c:pt idx="19">
                  <c:v>0.0733927925893788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1791907514450867"/>
          <c:min val="0.01403508771929824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3188.0</c:v>
                </c:pt>
                <c:pt idx="1">
                  <c:v>4806.0</c:v>
                </c:pt>
                <c:pt idx="2">
                  <c:v>6661.0</c:v>
                </c:pt>
                <c:pt idx="3">
                  <c:v>7105.5</c:v>
                </c:pt>
                <c:pt idx="4">
                  <c:v>6198.75</c:v>
                </c:pt>
                <c:pt idx="5">
                  <c:v>6367.25</c:v>
                </c:pt>
                <c:pt idx="6">
                  <c:v>6216.6667</c:v>
                </c:pt>
                <c:pt idx="7">
                  <c:v>6130.6667</c:v>
                </c:pt>
                <c:pt idx="8">
                  <c:v>6062.2</c:v>
                </c:pt>
                <c:pt idx="9">
                  <c:v>5611.1111</c:v>
                </c:pt>
                <c:pt idx="10">
                  <c:v>5785.4444</c:v>
                </c:pt>
                <c:pt idx="11">
                  <c:v>5518.2222</c:v>
                </c:pt>
                <c:pt idx="12">
                  <c:v>5216.9167</c:v>
                </c:pt>
                <c:pt idx="13">
                  <c:v>4687.3333</c:v>
                </c:pt>
                <c:pt idx="14">
                  <c:v>4899.0</c:v>
                </c:pt>
                <c:pt idx="15">
                  <c:v>5356.7059</c:v>
                </c:pt>
                <c:pt idx="16">
                  <c:v>5675.125</c:v>
                </c:pt>
              </c:numCache>
            </c:numRef>
          </c:xVal>
          <c:yVal>
            <c:numRef>
              <c:f>Sheet1!$B$4:$B$20</c:f>
              <c:numCache>
                <c:formatCode>General</c:formatCode>
                <c:ptCount val="17"/>
                <c:pt idx="0">
                  <c:v>0.017543859649122806</c:v>
                </c:pt>
                <c:pt idx="1">
                  <c:v>0.044444444444444446</c:v>
                </c:pt>
                <c:pt idx="2">
                  <c:v>0.0392156862745098</c:v>
                </c:pt>
                <c:pt idx="3">
                  <c:v>0.04878048780487805</c:v>
                </c:pt>
                <c:pt idx="4">
                  <c:v>0.08333333333333333</c:v>
                </c:pt>
                <c:pt idx="5">
                  <c:v>0.06153846153846154</c:v>
                </c:pt>
                <c:pt idx="6">
                  <c:v>0.08823529411764706</c:v>
                </c:pt>
                <c:pt idx="7">
                  <c:v>0.07894736842105263</c:v>
                </c:pt>
                <c:pt idx="8">
                  <c:v>0.047619047619047616</c:v>
                </c:pt>
                <c:pt idx="9">
                  <c:v>0.07563025210084033</c:v>
                </c:pt>
                <c:pt idx="10">
                  <c:v>0.06428571428571428</c:v>
                </c:pt>
                <c:pt idx="11">
                  <c:v>0.06666666666666667</c:v>
                </c:pt>
                <c:pt idx="12">
                  <c:v>0.0759493670886076</c:v>
                </c:pt>
                <c:pt idx="13">
                  <c:v>0.06912442396313365</c:v>
                </c:pt>
                <c:pt idx="14">
                  <c:v>0.08695652173913043</c:v>
                </c:pt>
                <c:pt idx="15">
                  <c:v>0.09826589595375723</c:v>
                </c:pt>
                <c:pt idx="16">
                  <c:v>0.05755395683453238</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8119.988497349567</c:v>
                </c:pt>
              </c:numCache>
            </c:numRef>
          </c:xVal>
          <c:yVal>
            <c:numRef>
              <c:f>Sheet1!$B$23:$B$24</c:f>
              <c:numCache>
                <c:formatCode>General</c:formatCode>
                <c:ptCount val="2"/>
                <c:pt idx="0">
                  <c:v>0.07797519962263842</c:v>
                </c:pt>
                <c:pt idx="1">
                  <c:v>0.07797519962263842</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8119.988497349567</c:v>
                </c:pt>
                <c:pt idx="1">
                  <c:v>8119.988497349567</c:v>
                </c:pt>
              </c:numCache>
            </c:numRef>
          </c:xVal>
          <c:yVal>
            <c:numRef>
              <c:f>Sheet1!$B$27:$B$28</c:f>
              <c:numCache>
                <c:formatCode>General</c:formatCode>
                <c:ptCount val="2"/>
                <c:pt idx="0">
                  <c:v>0.0779751996226384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8119.988497349567</c:v>
                </c:pt>
              </c:numCache>
            </c:numRef>
          </c:xVal>
          <c:yVal>
            <c:numRef>
              <c:f>Sheet1!$B$31:$B$32</c:f>
              <c:numCache>
                <c:formatCode>General</c:formatCode>
                <c:ptCount val="2"/>
                <c:pt idx="0">
                  <c:v>0.07797519962263842</c:v>
                </c:pt>
                <c:pt idx="1">
                  <c:v>0.07797519962263842</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8119.988497349567</c:v>
                </c:pt>
                <c:pt idx="1">
                  <c:v>8119.988497349567</c:v>
                </c:pt>
              </c:numCache>
            </c:numRef>
          </c:xVal>
          <c:yVal>
            <c:numRef>
              <c:f>Sheet1!$B$35:$B$36</c:f>
              <c:numCache>
                <c:formatCode>General</c:formatCode>
                <c:ptCount val="2"/>
                <c:pt idx="0">
                  <c:v>0.0779751996226384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7239.58102812114</c:v>
                </c:pt>
              </c:numCache>
            </c:numRef>
          </c:xVal>
          <c:yVal>
            <c:numRef>
              <c:f>Sheet1!$B$39:$B$40</c:f>
              <c:numCache>
                <c:formatCode>General</c:formatCode>
                <c:ptCount val="2"/>
                <c:pt idx="0">
                  <c:v>0.07339279258937882</c:v>
                </c:pt>
                <c:pt idx="1">
                  <c:v>0.07339279258937882</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7239.58102812114</c:v>
                </c:pt>
                <c:pt idx="1">
                  <c:v>7239.58102812114</c:v>
                </c:pt>
              </c:numCache>
            </c:numRef>
          </c:xVal>
          <c:yVal>
            <c:numRef>
              <c:f>Sheet1!$B$43:$B$44</c:f>
              <c:numCache>
                <c:formatCode>General</c:formatCode>
                <c:ptCount val="2"/>
                <c:pt idx="0">
                  <c:v>0.0733927925893788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3188.0</c:v>
                </c:pt>
                <c:pt idx="1">
                  <c:v>4806.0</c:v>
                </c:pt>
                <c:pt idx="2">
                  <c:v>6661.0</c:v>
                </c:pt>
                <c:pt idx="3">
                  <c:v>7105.5</c:v>
                </c:pt>
                <c:pt idx="4">
                  <c:v>6198.75</c:v>
                </c:pt>
                <c:pt idx="5">
                  <c:v>6367.25</c:v>
                </c:pt>
                <c:pt idx="6">
                  <c:v>6216.6667</c:v>
                </c:pt>
                <c:pt idx="7">
                  <c:v>6130.6667</c:v>
                </c:pt>
                <c:pt idx="8">
                  <c:v>6062.2</c:v>
                </c:pt>
                <c:pt idx="9">
                  <c:v>5611.1111</c:v>
                </c:pt>
                <c:pt idx="10">
                  <c:v>5785.4444</c:v>
                </c:pt>
                <c:pt idx="11">
                  <c:v>5518.2222</c:v>
                </c:pt>
                <c:pt idx="12">
                  <c:v>5216.9167</c:v>
                </c:pt>
                <c:pt idx="13">
                  <c:v>4687.3333</c:v>
                </c:pt>
                <c:pt idx="14">
                  <c:v>4899.0</c:v>
                </c:pt>
                <c:pt idx="15">
                  <c:v>5356.7059</c:v>
                </c:pt>
                <c:pt idx="16">
                  <c:v>5675.125</c:v>
                </c:pt>
                <c:pt idx="17">
                  <c:v>8119.988497349567</c:v>
                </c:pt>
                <c:pt idx="18">
                  <c:v>8119.988497349567</c:v>
                </c:pt>
                <c:pt idx="19">
                  <c:v>7239.58102812114</c:v>
                </c:pt>
              </c:numCache>
            </c:numRef>
          </c:xVal>
          <c:yVal>
            <c:numRef>
              <c:f>Sheet1!$B$47:$B$66</c:f>
              <c:numCache>
                <c:formatCode>General</c:formatCode>
                <c:ptCount val="20"/>
                <c:pt idx="0">
                  <c:v>0.05230483724143707</c:v>
                </c:pt>
                <c:pt idx="1">
                  <c:v>0.06072631802045842</c:v>
                </c:pt>
                <c:pt idx="2">
                  <c:v>0.07038135315339081</c:v>
                </c:pt>
                <c:pt idx="3">
                  <c:v>0.07269491817581047</c:v>
                </c:pt>
                <c:pt idx="4">
                  <c:v>0.06797540167619513</c:v>
                </c:pt>
                <c:pt idx="5">
                  <c:v>0.06885242238773104</c:v>
                </c:pt>
                <c:pt idx="6">
                  <c:v>0.06806865578291546</c:v>
                </c:pt>
                <c:pt idx="7">
                  <c:v>0.06762103690343718</c:v>
                </c:pt>
                <c:pt idx="8">
                  <c:v>0.06726467658325609</c:v>
                </c:pt>
                <c:pt idx="9">
                  <c:v>0.0649168171883365</c:v>
                </c:pt>
                <c:pt idx="10">
                  <c:v>0.06582419947207777</c:v>
                </c:pt>
                <c:pt idx="11">
                  <c:v>0.06443334247515083</c:v>
                </c:pt>
                <c:pt idx="12">
                  <c:v>0.0628650863089806</c:v>
                </c:pt>
                <c:pt idx="13">
                  <c:v>0.06010867319155862</c:v>
                </c:pt>
                <c:pt idx="14">
                  <c:v>0.06121037099477794</c:v>
                </c:pt>
                <c:pt idx="15">
                  <c:v>0.06359267101906389</c:v>
                </c:pt>
                <c:pt idx="16">
                  <c:v>0.06525000126030202</c:v>
                </c:pt>
                <c:pt idx="17">
                  <c:v>0.07797519962263842</c:v>
                </c:pt>
                <c:pt idx="18">
                  <c:v>0.07797519962263842</c:v>
                </c:pt>
                <c:pt idx="19">
                  <c:v>0.0733927925893788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744.0"/>
          <c:min val="255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1791907514450867"/>
          <c:min val="0.01403508771929824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8</c:f>
              <c:numCache>
                <c:formatCode>General</c:formatCode>
                <c:ptCount val="17"/>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numCache>
            </c:numRef>
          </c:xVal>
          <c:yVal>
            <c:numRef>
              <c:f>Sheet1!$B$2:$B$18</c:f>
              <c:numCache>
                <c:formatCode>General</c:formatCode>
                <c:ptCount val="17"/>
                <c:pt idx="0">
                  <c:v>0.017543859649122806</c:v>
                </c:pt>
                <c:pt idx="1">
                  <c:v>0.044444444444444446</c:v>
                </c:pt>
                <c:pt idx="2">
                  <c:v>0.0392156862745098</c:v>
                </c:pt>
                <c:pt idx="3">
                  <c:v>0.04878048780487805</c:v>
                </c:pt>
                <c:pt idx="4">
                  <c:v>0.08333333333333333</c:v>
                </c:pt>
                <c:pt idx="5">
                  <c:v>0.06153846153846154</c:v>
                </c:pt>
                <c:pt idx="6">
                  <c:v>0.08823529411764706</c:v>
                </c:pt>
                <c:pt idx="7">
                  <c:v>0.07894736842105263</c:v>
                </c:pt>
                <c:pt idx="8">
                  <c:v>0.047619047619047616</c:v>
                </c:pt>
                <c:pt idx="9">
                  <c:v>0.07563025210084033</c:v>
                </c:pt>
                <c:pt idx="10">
                  <c:v>0.06428571428571428</c:v>
                </c:pt>
                <c:pt idx="11">
                  <c:v>0.06666666666666667</c:v>
                </c:pt>
                <c:pt idx="12">
                  <c:v>0.0759493670886076</c:v>
                </c:pt>
                <c:pt idx="13">
                  <c:v>0.06912442396313365</c:v>
                </c:pt>
                <c:pt idx="14">
                  <c:v>0.08695652173913043</c:v>
                </c:pt>
                <c:pt idx="15">
                  <c:v>0.09826589595375723</c:v>
                </c:pt>
                <c:pt idx="16">
                  <c:v>0.05755395683453238</c:v>
                </c:pt>
              </c:numCache>
            </c:numRef>
          </c:yVal>
          <c:smooth val="0"/>
          <c:extLst>
            <c:ext xmlns:c16="http://schemas.microsoft.com/office/drawing/2014/chart" uri="{C3380CC4-5D6E-409C-BE32-E72D297353CC}">
              <c16:uniqueId val="{00000000-096C-4121-9522-6AB7243CCAAE}"/>
            </c:ext>
          </c:extLst>
        </c:ser>
        <c:ser>
          <c:idx val="1"/>
          <c:order val="1"/>
          <c:tx>
            <c:strRef>
              <c:f>Sheet1!$B$2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1:$A$20</c:f>
              <c:numCache>
                <c:formatCode>General</c:formatCode>
                <c:ptCount val="0"/>
              </c:numCache>
            </c:numRef>
          </c:xVal>
          <c:yVal>
            <c:numRef>
              <c:f>Sheet1!$B$21:$B$20</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07797519962263842</c:v>
                </c:pt>
              </c:numCache>
            </c:numRef>
          </c:xVal>
          <c:yVal>
            <c:numRef>
              <c:f>Sheet1!$B$23:$B$24</c:f>
              <c:numCache>
                <c:formatCode>General</c:formatCode>
                <c:ptCount val="2"/>
                <c:pt idx="0">
                  <c:v>0.07797519962263842</c:v>
                </c:pt>
                <c:pt idx="1">
                  <c:v>0.07797519962263842</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07797519962263842</c:v>
                </c:pt>
                <c:pt idx="1">
                  <c:v>0.07797519962263842</c:v>
                </c:pt>
              </c:numCache>
            </c:numRef>
          </c:xVal>
          <c:yVal>
            <c:numRef>
              <c:f>Sheet1!$B$27:$B$28</c:f>
              <c:numCache>
                <c:formatCode>General</c:formatCode>
                <c:ptCount val="2"/>
                <c:pt idx="0">
                  <c:v>0.0779751996226384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07797519962263842</c:v>
                </c:pt>
              </c:numCache>
            </c:numRef>
          </c:xVal>
          <c:yVal>
            <c:numRef>
              <c:f>Sheet1!$B$31:$B$32</c:f>
              <c:numCache>
                <c:formatCode>General</c:formatCode>
                <c:ptCount val="2"/>
                <c:pt idx="0">
                  <c:v>0.07797519962263842</c:v>
                </c:pt>
                <c:pt idx="1">
                  <c:v>0.07797519962263842</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07797519962263842</c:v>
                </c:pt>
                <c:pt idx="1">
                  <c:v>0.07797519962263842</c:v>
                </c:pt>
              </c:numCache>
            </c:numRef>
          </c:xVal>
          <c:yVal>
            <c:numRef>
              <c:f>Sheet1!$B$35:$B$36</c:f>
              <c:numCache>
                <c:formatCode>General</c:formatCode>
                <c:ptCount val="2"/>
                <c:pt idx="0">
                  <c:v>0.0779751996226384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07339279258937882</c:v>
                </c:pt>
              </c:numCache>
            </c:numRef>
          </c:xVal>
          <c:yVal>
            <c:numRef>
              <c:f>Sheet1!$B$39:$B$40</c:f>
              <c:numCache>
                <c:formatCode>General</c:formatCode>
                <c:ptCount val="2"/>
                <c:pt idx="0">
                  <c:v>0.07339279258937882</c:v>
                </c:pt>
                <c:pt idx="1">
                  <c:v>0.07339279258937882</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07339279258937882</c:v>
                </c:pt>
                <c:pt idx="1">
                  <c:v>0.07339279258937882</c:v>
                </c:pt>
              </c:numCache>
            </c:numRef>
          </c:xVal>
          <c:yVal>
            <c:numRef>
              <c:f>Sheet1!$B$43:$B$44</c:f>
              <c:numCache>
                <c:formatCode>General</c:formatCode>
                <c:ptCount val="2"/>
                <c:pt idx="0">
                  <c:v>0.0733927925893788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49</c:f>
              <c:numCache>
                <c:formatCode>General</c:formatCode>
                <c:ptCount val="3"/>
                <c:pt idx="0">
                  <c:v>0.07797519962263842</c:v>
                </c:pt>
                <c:pt idx="1">
                  <c:v>0.07797519962263842</c:v>
                </c:pt>
                <c:pt idx="2">
                  <c:v>0.07339279258937882</c:v>
                </c:pt>
              </c:numCache>
            </c:numRef>
          </c:xVal>
          <c:yVal>
            <c:numRef>
              <c:f>Sheet1!$B$47:$B$49</c:f>
              <c:numCache>
                <c:formatCode>General</c:formatCode>
                <c:ptCount val="3"/>
                <c:pt idx="0">
                  <c:v>0.07797519962263842</c:v>
                </c:pt>
                <c:pt idx="1">
                  <c:v>0.07797519962263842</c:v>
                </c:pt>
                <c:pt idx="2">
                  <c:v>0.0733927925893788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1791907514450867"/>
          <c:min val="0.01403508771929824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3188.0</c:v>
                </c:pt>
                <c:pt idx="1">
                  <c:v>4806.0</c:v>
                </c:pt>
                <c:pt idx="2">
                  <c:v>6661.0</c:v>
                </c:pt>
                <c:pt idx="3">
                  <c:v>7105.5</c:v>
                </c:pt>
                <c:pt idx="4">
                  <c:v>6198.75</c:v>
                </c:pt>
                <c:pt idx="5">
                  <c:v>6367.25</c:v>
                </c:pt>
                <c:pt idx="6">
                  <c:v>6216.6667</c:v>
                </c:pt>
                <c:pt idx="7">
                  <c:v>6130.6667</c:v>
                </c:pt>
                <c:pt idx="8">
                  <c:v>6062.2</c:v>
                </c:pt>
                <c:pt idx="9">
                  <c:v>5611.1111</c:v>
                </c:pt>
                <c:pt idx="10">
                  <c:v>5785.4444</c:v>
                </c:pt>
                <c:pt idx="11">
                  <c:v>5518.2222</c:v>
                </c:pt>
                <c:pt idx="12">
                  <c:v>5216.9167</c:v>
                </c:pt>
                <c:pt idx="13">
                  <c:v>4687.3333</c:v>
                </c:pt>
                <c:pt idx="14">
                  <c:v>4899.0</c:v>
                </c:pt>
                <c:pt idx="15">
                  <c:v>5356.7059</c:v>
                </c:pt>
                <c:pt idx="16">
                  <c:v>5675.125</c:v>
                </c:pt>
              </c:numCache>
            </c:numRef>
          </c:xVal>
          <c:yVal>
            <c:numRef>
              <c:f>Sheet1!$B$4:$B$20</c:f>
              <c:numCache>
                <c:formatCode>General</c:formatCode>
                <c:ptCount val="17"/>
                <c:pt idx="0">
                  <c:v>0.017543859649122806</c:v>
                </c:pt>
                <c:pt idx="1">
                  <c:v>0.044444444444444446</c:v>
                </c:pt>
                <c:pt idx="2">
                  <c:v>0.0392156862745098</c:v>
                </c:pt>
                <c:pt idx="3">
                  <c:v>0.04878048780487805</c:v>
                </c:pt>
                <c:pt idx="4">
                  <c:v>0.08333333333333333</c:v>
                </c:pt>
                <c:pt idx="5">
                  <c:v>0.06153846153846154</c:v>
                </c:pt>
                <c:pt idx="6">
                  <c:v>0.08823529411764706</c:v>
                </c:pt>
                <c:pt idx="7">
                  <c:v>0.07894736842105263</c:v>
                </c:pt>
                <c:pt idx="8">
                  <c:v>0.047619047619047616</c:v>
                </c:pt>
                <c:pt idx="9">
                  <c:v>0.07563025210084033</c:v>
                </c:pt>
                <c:pt idx="10">
                  <c:v>0.06428571428571428</c:v>
                </c:pt>
                <c:pt idx="11">
                  <c:v>0.06666666666666667</c:v>
                </c:pt>
                <c:pt idx="12">
                  <c:v>0.0759493670886076</c:v>
                </c:pt>
                <c:pt idx="13">
                  <c:v>0.06912442396313365</c:v>
                </c:pt>
                <c:pt idx="14">
                  <c:v>0.08695652173913043</c:v>
                </c:pt>
                <c:pt idx="15">
                  <c:v>0.09826589595375723</c:v>
                </c:pt>
                <c:pt idx="16">
                  <c:v>0.05755395683453238</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8119.988497349567</c:v>
                </c:pt>
              </c:numCache>
            </c:numRef>
          </c:xVal>
          <c:yVal>
            <c:numRef>
              <c:f>Sheet1!$B$23:$B$24</c:f>
              <c:numCache>
                <c:formatCode>General</c:formatCode>
                <c:ptCount val="2"/>
                <c:pt idx="0">
                  <c:v>0.07797519962263842</c:v>
                </c:pt>
                <c:pt idx="1">
                  <c:v>0.07797519962263842</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8119.988497349567</c:v>
                </c:pt>
                <c:pt idx="1">
                  <c:v>8119.988497349567</c:v>
                </c:pt>
              </c:numCache>
            </c:numRef>
          </c:xVal>
          <c:yVal>
            <c:numRef>
              <c:f>Sheet1!$B$27:$B$28</c:f>
              <c:numCache>
                <c:formatCode>General</c:formatCode>
                <c:ptCount val="2"/>
                <c:pt idx="0">
                  <c:v>0.0779751996226384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8119.988497349567</c:v>
                </c:pt>
              </c:numCache>
            </c:numRef>
          </c:xVal>
          <c:yVal>
            <c:numRef>
              <c:f>Sheet1!$B$31:$B$32</c:f>
              <c:numCache>
                <c:formatCode>General</c:formatCode>
                <c:ptCount val="2"/>
                <c:pt idx="0">
                  <c:v>0.07797519962263842</c:v>
                </c:pt>
                <c:pt idx="1">
                  <c:v>0.07797519962263842</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8119.988497349567</c:v>
                </c:pt>
                <c:pt idx="1">
                  <c:v>8119.988497349567</c:v>
                </c:pt>
              </c:numCache>
            </c:numRef>
          </c:xVal>
          <c:yVal>
            <c:numRef>
              <c:f>Sheet1!$B$35:$B$36</c:f>
              <c:numCache>
                <c:formatCode>General</c:formatCode>
                <c:ptCount val="2"/>
                <c:pt idx="0">
                  <c:v>0.0779751996226384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7239.58102812114</c:v>
                </c:pt>
              </c:numCache>
            </c:numRef>
          </c:xVal>
          <c:yVal>
            <c:numRef>
              <c:f>Sheet1!$B$39:$B$40</c:f>
              <c:numCache>
                <c:formatCode>General</c:formatCode>
                <c:ptCount val="2"/>
                <c:pt idx="0">
                  <c:v>0.07339279258937882</c:v>
                </c:pt>
                <c:pt idx="1">
                  <c:v>0.07339279258937882</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7239.58102812114</c:v>
                </c:pt>
                <c:pt idx="1">
                  <c:v>7239.58102812114</c:v>
                </c:pt>
              </c:numCache>
            </c:numRef>
          </c:xVal>
          <c:yVal>
            <c:numRef>
              <c:f>Sheet1!$B$43:$B$44</c:f>
              <c:numCache>
                <c:formatCode>General</c:formatCode>
                <c:ptCount val="2"/>
                <c:pt idx="0">
                  <c:v>0.0733927925893788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3188.0</c:v>
                </c:pt>
                <c:pt idx="1">
                  <c:v>4806.0</c:v>
                </c:pt>
                <c:pt idx="2">
                  <c:v>6661.0</c:v>
                </c:pt>
                <c:pt idx="3">
                  <c:v>7105.5</c:v>
                </c:pt>
                <c:pt idx="4">
                  <c:v>6198.75</c:v>
                </c:pt>
                <c:pt idx="5">
                  <c:v>6367.25</c:v>
                </c:pt>
                <c:pt idx="6">
                  <c:v>6216.6667</c:v>
                </c:pt>
                <c:pt idx="7">
                  <c:v>6130.6667</c:v>
                </c:pt>
                <c:pt idx="8">
                  <c:v>6062.2</c:v>
                </c:pt>
                <c:pt idx="9">
                  <c:v>5611.1111</c:v>
                </c:pt>
                <c:pt idx="10">
                  <c:v>5785.4444</c:v>
                </c:pt>
                <c:pt idx="11">
                  <c:v>5518.2222</c:v>
                </c:pt>
                <c:pt idx="12">
                  <c:v>5216.9167</c:v>
                </c:pt>
                <c:pt idx="13">
                  <c:v>4687.3333</c:v>
                </c:pt>
                <c:pt idx="14">
                  <c:v>4899.0</c:v>
                </c:pt>
                <c:pt idx="15">
                  <c:v>5356.7059</c:v>
                </c:pt>
                <c:pt idx="16">
                  <c:v>5675.125</c:v>
                </c:pt>
                <c:pt idx="17">
                  <c:v>8119.988497349567</c:v>
                </c:pt>
                <c:pt idx="18">
                  <c:v>8119.988497349567</c:v>
                </c:pt>
                <c:pt idx="19">
                  <c:v>7239.58102812114</c:v>
                </c:pt>
              </c:numCache>
            </c:numRef>
          </c:xVal>
          <c:yVal>
            <c:numRef>
              <c:f>Sheet1!$B$47:$B$66</c:f>
              <c:numCache>
                <c:formatCode>General</c:formatCode>
                <c:ptCount val="20"/>
                <c:pt idx="0">
                  <c:v>0.05230483724143707</c:v>
                </c:pt>
                <c:pt idx="1">
                  <c:v>0.06072631802045842</c:v>
                </c:pt>
                <c:pt idx="2">
                  <c:v>0.07038135315339081</c:v>
                </c:pt>
                <c:pt idx="3">
                  <c:v>0.07269491817581047</c:v>
                </c:pt>
                <c:pt idx="4">
                  <c:v>0.06797540167619513</c:v>
                </c:pt>
                <c:pt idx="5">
                  <c:v>0.06885242238773104</c:v>
                </c:pt>
                <c:pt idx="6">
                  <c:v>0.06806865578291546</c:v>
                </c:pt>
                <c:pt idx="7">
                  <c:v>0.06762103690343718</c:v>
                </c:pt>
                <c:pt idx="8">
                  <c:v>0.06726467658325609</c:v>
                </c:pt>
                <c:pt idx="9">
                  <c:v>0.0649168171883365</c:v>
                </c:pt>
                <c:pt idx="10">
                  <c:v>0.06582419947207777</c:v>
                </c:pt>
                <c:pt idx="11">
                  <c:v>0.06443334247515083</c:v>
                </c:pt>
                <c:pt idx="12">
                  <c:v>0.0628650863089806</c:v>
                </c:pt>
                <c:pt idx="13">
                  <c:v>0.06010867319155862</c:v>
                </c:pt>
                <c:pt idx="14">
                  <c:v>0.06121037099477794</c:v>
                </c:pt>
                <c:pt idx="15">
                  <c:v>0.06359267101906389</c:v>
                </c:pt>
                <c:pt idx="16">
                  <c:v>0.06525000126030202</c:v>
                </c:pt>
                <c:pt idx="17">
                  <c:v>0.07797519962263842</c:v>
                </c:pt>
                <c:pt idx="18">
                  <c:v>0.07797519962263842</c:v>
                </c:pt>
                <c:pt idx="19">
                  <c:v>0.0733927925893788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744.0"/>
          <c:min val="255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1791907514450867"/>
          <c:min val="0.01403508771929824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833838114459209</c:v>
                </c:pt>
                <c:pt idx="1">
                  <c:v>0.7942521037592877</c:v>
                </c:pt>
                <c:pt idx="2">
                  <c:v>0.7759917453076771</c:v>
                </c:pt>
                <c:pt idx="3">
                  <c:v>0.7856699297968202</c:v>
                </c:pt>
                <c:pt idx="4">
                  <c:v>0.7893504228993551</c:v>
                </c:pt>
                <c:pt idx="5">
                  <c:v>0.7980864625567691</c:v>
                </c:pt>
                <c:pt idx="6">
                  <c:v>0.7723525199304576</c:v>
                </c:pt>
                <c:pt idx="7">
                  <c:v>0.7669757445877811</c:v>
                </c:pt>
                <c:pt idx="8">
                  <c:v>0.7936021089845481</c:v>
                </c:pt>
                <c:pt idx="9">
                  <c:v>0.7857442608243045</c:v>
                </c:pt>
                <c:pt idx="10">
                  <c:v>0.7963718112112376</c:v>
                </c:pt>
                <c:pt idx="11">
                  <c:v>0.8583692155262902</c:v>
                </c:pt>
                <c:pt idx="12">
                  <c:v>0.8513859618088822</c:v>
                </c:pt>
                <c:pt idx="13">
                  <c:v>0.8641562287240202</c:v>
                </c:pt>
                <c:pt idx="14">
                  <c:v>0.883693933419696</c:v>
                </c:pt>
                <c:pt idx="15">
                  <c:v>0.9044290210524939</c:v>
                </c:pt>
                <c:pt idx="16">
                  <c:v>0.909698648554613</c:v>
                </c:pt>
                <c:pt idx="17">
                  <c:v>0.8897760579816351</c:v>
                </c:pt>
                <c:pt idx="18">
                  <c:v>0.9591167544767759</c:v>
                </c:pt>
                <c:pt idx="19">
                  <c:v>0.9275385349727188</c:v>
                </c:pt>
                <c:pt idx="20">
                  <c:v>0.9515264504013377</c:v>
                </c:pt>
                <c:pt idx="21">
                  <c:v>0.887319063427128</c:v>
                </c:pt>
                <c:pt idx="22">
                  <c:v>0.8149843066170781</c:v>
                </c:pt>
                <c:pt idx="23">
                  <c:v>0.8183855941173168</c:v>
                </c:pt>
                <c:pt idx="24">
                  <c:v>0.821158446340008</c:v>
                </c:pt>
                <c:pt idx="25">
                  <c:v>0.7992659758972378</c:v>
                </c:pt>
                <c:pt idx="26">
                  <c:v>0.8089101714461759</c:v>
                </c:pt>
                <c:pt idx="27">
                  <c:v>0.8046206941349363</c:v>
                </c:pt>
                <c:pt idx="28">
                  <c:v>0.8132554455117966</c:v>
                </c:pt>
                <c:pt idx="29">
                  <c:v>0.7934337921206244</c:v>
                </c:pt>
                <c:pt idx="30">
                  <c:v>0.7936298815106634</c:v>
                </c:pt>
                <c:pt idx="31">
                  <c:v>0.7890083897193607</c:v>
                </c:pt>
                <c:pt idx="32">
                  <c:v>0.7722260906108165</c:v>
                </c:pt>
                <c:pt idx="33">
                  <c:v>0.7477138940163315</c:v>
                </c:pt>
                <c:pt idx="34">
                  <c:v>0.7925179991625355</c:v>
                </c:pt>
                <c:pt idx="35">
                  <c:v>0.8402245472095102</c:v>
                </c:pt>
                <c:pt idx="36">
                  <c:v>0.8929117160769339</c:v>
                </c:pt>
                <c:pt idx="37">
                  <c:v>0.8681052298558267</c:v>
                </c:pt>
                <c:pt idx="38">
                  <c:v>0.8912338349157393</c:v>
                </c:pt>
                <c:pt idx="39">
                  <c:v>0.9848959493509911</c:v>
                </c:pt>
                <c:pt idx="40">
                  <c:v>0.9450950635962332</c:v>
                </c:pt>
                <c:pt idx="41">
                  <c:v>0.9540262941595901</c:v>
                </c:pt>
                <c:pt idx="42">
                  <c:v>0.9497220091367594</c:v>
                </c:pt>
                <c:pt idx="43">
                  <c:v>0.9206028592495619</c:v>
                </c:pt>
                <c:pt idx="44">
                  <c:v>0.948058955463298</c:v>
                </c:pt>
                <c:pt idx="45">
                  <c:v>0.9407835502551886</c:v>
                </c:pt>
                <c:pt idx="46">
                  <c:v>0.9453238085181811</c:v>
                </c:pt>
                <c:pt idx="47">
                  <c:v>0.952632095998217</c:v>
                </c:pt>
                <c:pt idx="48">
                  <c:v>0.9394778340966098</c:v>
                </c:pt>
                <c:pt idx="49">
                  <c:v>0.8874453911228952</c:v>
                </c:pt>
                <c:pt idx="50">
                  <c:v>0.8943258400712663</c:v>
                </c:pt>
                <c:pt idx="51">
                  <c:v>0.8763231025425078</c:v>
                </c:pt>
                <c:pt idx="52">
                  <c:v>0.8798810688728792</c:v>
                </c:pt>
                <c:pt idx="53">
                  <c:v>0.8911417406173046</c:v>
                </c:pt>
                <c:pt idx="54">
                  <c:v>0.8589039855447383</c:v>
                </c:pt>
                <c:pt idx="55">
                  <c:v>0.9018747088704282</c:v>
                </c:pt>
                <c:pt idx="56">
                  <c:v>0.8674672054804138</c:v>
                </c:pt>
                <c:pt idx="57">
                  <c:v>0.8538825352641468</c:v>
                </c:pt>
                <c:pt idx="58">
                  <c:v>0.856987362278473</c:v>
                </c:pt>
                <c:pt idx="59">
                  <c:v>0.8354400091338476</c:v>
                </c:pt>
                <c:pt idx="60">
                  <c:v>0.8379857605887007</c:v>
                </c:pt>
                <c:pt idx="61">
                  <c:v>0.9145662948875656</c:v>
                </c:pt>
                <c:pt idx="62">
                  <c:v>0.910496023447422</c:v>
                </c:pt>
                <c:pt idx="63">
                  <c:v>0.9168124266838216</c:v>
                </c:pt>
                <c:pt idx="64">
                  <c:v>0.9442174345593545</c:v>
                </c:pt>
                <c:pt idx="65">
                  <c:v>0.9358624577889373</c:v>
                </c:pt>
                <c:pt idx="66">
                  <c:v>0.9617583223069213</c:v>
                </c:pt>
                <c:pt idx="67">
                  <c:v>0.9934731442743946</c:v>
                </c:pt>
                <c:pt idx="68">
                  <c:v>1.0275107847177432</c:v>
                </c:pt>
                <c:pt idx="69">
                  <c:v>1.046559730230469</c:v>
                </c:pt>
                <c:pt idx="70">
                  <c:v>1.0243374047944882</c:v>
                </c:pt>
                <c:pt idx="71">
                  <c:v>0.9848496615945102</c:v>
                </c:pt>
                <c:pt idx="72">
                  <c:v>1.0775837951777165</c:v>
                </c:pt>
                <c:pt idx="73">
                  <c:v>1.0040744117547058</c:v>
                </c:pt>
                <c:pt idx="74">
                  <c:v>0.9852357079346576</c:v>
                </c:pt>
                <c:pt idx="75">
                  <c:v>0.957775463300798</c:v>
                </c:pt>
                <c:pt idx="76">
                  <c:v>0.9401544605386057</c:v>
                </c:pt>
                <c:pt idx="77">
                  <c:v>0.9512091372899908</c:v>
                </c:pt>
                <c:pt idx="78">
                  <c:v>0.994347076331963</c:v>
                </c:pt>
                <c:pt idx="79">
                  <c:v>0.989044302958501</c:v>
                </c:pt>
                <c:pt idx="80">
                  <c:v>1.029583603065582</c:v>
                </c:pt>
                <c:pt idx="81">
                  <c:v>0.9809868758485443</c:v>
                </c:pt>
                <c:pt idx="82">
                  <c:v>1.0063644841543646</c:v>
                </c:pt>
                <c:pt idx="83">
                  <c:v>0.9809061789085686</c:v>
                </c:pt>
                <c:pt idx="84">
                  <c:v>1.0181347404051413</c:v>
                </c:pt>
                <c:pt idx="85">
                  <c:v>0.9948902828965981</c:v>
                </c:pt>
                <c:pt idx="86">
                  <c:v>1.0136346747163116</c:v>
                </c:pt>
                <c:pt idx="87">
                  <c:v>0.9675150300118094</c:v>
                </c:pt>
                <c:pt idx="88">
                  <c:v>0.9867449575069218</c:v>
                </c:pt>
                <c:pt idx="89">
                  <c:v>0.9826995524669176</c:v>
                </c:pt>
                <c:pt idx="90">
                  <c:v>1.0029212691260185</c:v>
                </c:pt>
                <c:pt idx="91">
                  <c:v>1.017229049940876</c:v>
                </c:pt>
                <c:pt idx="92">
                  <c:v>0.9790902851370993</c:v>
                </c:pt>
                <c:pt idx="93">
                  <c:v>0.9761826358366849</c:v>
                </c:pt>
                <c:pt idx="94">
                  <c:v>0.9965735498958701</c:v>
                </c:pt>
                <c:pt idx="95">
                  <c:v>0.9741709021301835</c:v>
                </c:pt>
                <c:pt idx="96">
                  <c:v>0.9852587375948691</c:v>
                </c:pt>
                <c:pt idx="97">
                  <c:v>1.0168977047094996</c:v>
                </c:pt>
                <c:pt idx="98">
                  <c:v>0.9938749072023336</c:v>
                </c:pt>
                <c:pt idx="99">
                  <c:v>0.9735114036549002</c:v>
                </c:pt>
                <c:pt idx="100">
                  <c:v>0.9109142532669935</c:v>
                </c:pt>
                <c:pt idx="101">
                  <c:v>0.9097377214382817</c:v>
                </c:pt>
                <c:pt idx="102">
                  <c:v>0.8873762456824726</c:v>
                </c:pt>
                <c:pt idx="103">
                  <c:v>0.9072132802923951</c:v>
                </c:pt>
                <c:pt idx="104">
                  <c:v>0.9104452137278368</c:v>
                </c:pt>
              </c:numCache>
            </c:numRef>
          </c:xVal>
          <c:yVal>
            <c:numRef>
              <c:f>Sheet1!$B$2:$B$106</c:f>
              <c:numCache>
                <c:formatCode>General</c:formatCode>
                <c:ptCount val="105"/>
                <c:pt idx="0">
                  <c:v>0.34535674735010286</c:v>
                </c:pt>
                <c:pt idx="1">
                  <c:v>0.36048252179272694</c:v>
                </c:pt>
                <c:pt idx="2">
                  <c:v>0.3888019154618289</c:v>
                </c:pt>
                <c:pt idx="3">
                  <c:v>0.40172064777327937</c:v>
                </c:pt>
                <c:pt idx="4">
                  <c:v>0.4191168123510047</c:v>
                </c:pt>
                <c:pt idx="5">
                  <c:v>0.38954560242923764</c:v>
                </c:pt>
                <c:pt idx="6">
                  <c:v>0.4241974785464562</c:v>
                </c:pt>
                <c:pt idx="7">
                  <c:v>0.4307825656265478</c:v>
                </c:pt>
                <c:pt idx="8">
                  <c:v>0.4045270612038442</c:v>
                </c:pt>
                <c:pt idx="9">
                  <c:v>0.398595343467385</c:v>
                </c:pt>
                <c:pt idx="10">
                  <c:v>0.38155907889769725</c:v>
                </c:pt>
                <c:pt idx="11">
                  <c:v>0.3429134967596506</c:v>
                </c:pt>
                <c:pt idx="12">
                  <c:v>0.3283718609679029</c:v>
                </c:pt>
                <c:pt idx="13">
                  <c:v>0.32891598197720645</c:v>
                </c:pt>
                <c:pt idx="14">
                  <c:v>0.30250990752972257</c:v>
                </c:pt>
                <c:pt idx="15">
                  <c:v>0.29776192020759</c:v>
                </c:pt>
                <c:pt idx="16">
                  <c:v>0.29018190879641165</c:v>
                </c:pt>
                <c:pt idx="17">
                  <c:v>0.2924260834345889</c:v>
                </c:pt>
                <c:pt idx="18">
                  <c:v>0.269364527347455</c:v>
                </c:pt>
                <c:pt idx="19">
                  <c:v>0.279264518478063</c:v>
                </c:pt>
                <c:pt idx="20">
                  <c:v>0.2820202631181007</c:v>
                </c:pt>
                <c:pt idx="21">
                  <c:v>0.3059532780708365</c:v>
                </c:pt>
                <c:pt idx="22">
                  <c:v>0.3503233168505135</c:v>
                </c:pt>
                <c:pt idx="23">
                  <c:v>0.3644256006460731</c:v>
                </c:pt>
                <c:pt idx="24">
                  <c:v>0.37865524306202275</c:v>
                </c:pt>
                <c:pt idx="25">
                  <c:v>0.3801546391752577</c:v>
                </c:pt>
                <c:pt idx="26">
                  <c:v>0.39286944540130897</c:v>
                </c:pt>
                <c:pt idx="27">
                  <c:v>0.41323792486583183</c:v>
                </c:pt>
                <c:pt idx="28">
                  <c:v>0.3720294067361942</c:v>
                </c:pt>
                <c:pt idx="29">
                  <c:v>0.3772208121827411</c:v>
                </c:pt>
                <c:pt idx="30">
                  <c:v>0.36666666666666664</c:v>
                </c:pt>
                <c:pt idx="31">
                  <c:v>0.3788927335640138</c:v>
                </c:pt>
                <c:pt idx="32">
                  <c:v>0.395821242019733</c:v>
                </c:pt>
                <c:pt idx="33">
                  <c:v>0.4005830009205278</c:v>
                </c:pt>
                <c:pt idx="34">
                  <c:v>0.39319313779745435</c:v>
                </c:pt>
                <c:pt idx="35">
                  <c:v>0.39588634435962683</c:v>
                </c:pt>
                <c:pt idx="36">
                  <c:v>0.33078982597054885</c:v>
                </c:pt>
                <c:pt idx="37">
                  <c:v>0.3654183266932271</c:v>
                </c:pt>
                <c:pt idx="38">
                  <c:v>0.35771276595744683</c:v>
                </c:pt>
                <c:pt idx="39">
                  <c:v>0.32903687790905833</c:v>
                </c:pt>
                <c:pt idx="40">
                  <c:v>0.3412196914033799</c:v>
                </c:pt>
                <c:pt idx="41">
                  <c:v>0.31542569902607603</c:v>
                </c:pt>
                <c:pt idx="42">
                  <c:v>0.3173860751035681</c:v>
                </c:pt>
                <c:pt idx="43">
                  <c:v>0.3248499399759904</c:v>
                </c:pt>
                <c:pt idx="44">
                  <c:v>0.31010425020048116</c:v>
                </c:pt>
                <c:pt idx="45">
                  <c:v>0.31930729550479</c:v>
                </c:pt>
                <c:pt idx="46">
                  <c:v>0.3429047929809296</c:v>
                </c:pt>
                <c:pt idx="47">
                  <c:v>0.321825714078058</c:v>
                </c:pt>
                <c:pt idx="48">
                  <c:v>0.31490823226360415</c:v>
                </c:pt>
                <c:pt idx="49">
                  <c:v>0.3321206008429091</c:v>
                </c:pt>
                <c:pt idx="50">
                  <c:v>0.31934650562033096</c:v>
                </c:pt>
                <c:pt idx="51">
                  <c:v>0.33135785253616873</c:v>
                </c:pt>
                <c:pt idx="52">
                  <c:v>0.3366093366093366</c:v>
                </c:pt>
                <c:pt idx="53">
                  <c:v>0.33346205831241554</c:v>
                </c:pt>
                <c:pt idx="54">
                  <c:v>0.3545645330535152</c:v>
                </c:pt>
                <c:pt idx="55">
                  <c:v>0.3509471585244267</c:v>
                </c:pt>
                <c:pt idx="56">
                  <c:v>0.3369379624359704</c:v>
                </c:pt>
                <c:pt idx="57">
                  <c:v>0.3409251948577791</c:v>
                </c:pt>
                <c:pt idx="58">
                  <c:v>0.34684602799491</c:v>
                </c:pt>
                <c:pt idx="59">
                  <c:v>0.34563445867287546</c:v>
                </c:pt>
                <c:pt idx="60">
                  <c:v>0.3501058662348985</c:v>
                </c:pt>
                <c:pt idx="61">
                  <c:v>0.3508646817614548</c:v>
                </c:pt>
                <c:pt idx="62">
                  <c:v>0.3595632203830488</c:v>
                </c:pt>
                <c:pt idx="63">
                  <c:v>0.36726824001234</c:v>
                </c:pt>
                <c:pt idx="64">
                  <c:v>0.3451998832798366</c:v>
                </c:pt>
                <c:pt idx="65">
                  <c:v>0.32117074701820464</c:v>
                </c:pt>
                <c:pt idx="66">
                  <c:v>0.3177641008346682</c:v>
                </c:pt>
                <c:pt idx="67">
                  <c:v>0.3051209103840683</c:v>
                </c:pt>
                <c:pt idx="68">
                  <c:v>0.3030070237050044</c:v>
                </c:pt>
                <c:pt idx="69">
                  <c:v>0.28987898789878985</c:v>
                </c:pt>
                <c:pt idx="70">
                  <c:v>0.2927390950961799</c:v>
                </c:pt>
                <c:pt idx="71">
                  <c:v>0.29948567229977957</c:v>
                </c:pt>
                <c:pt idx="72">
                  <c:v>0.289910252923579</c:v>
                </c:pt>
                <c:pt idx="73">
                  <c:v>0.30032611918173735</c:v>
                </c:pt>
                <c:pt idx="74">
                  <c:v>0.30510407755916735</c:v>
                </c:pt>
                <c:pt idx="75">
                  <c:v>0.31750205423171735</c:v>
                </c:pt>
                <c:pt idx="76">
                  <c:v>0.3006802721088435</c:v>
                </c:pt>
                <c:pt idx="77">
                  <c:v>0.31494501532359837</c:v>
                </c:pt>
                <c:pt idx="78">
                  <c:v>0.2981418918918919</c:v>
                </c:pt>
                <c:pt idx="79">
                  <c:v>0.30162325405813517</c:v>
                </c:pt>
                <c:pt idx="80">
                  <c:v>0.27624521072796937</c:v>
                </c:pt>
                <c:pt idx="81">
                  <c:v>0.28343707302262033</c:v>
                </c:pt>
                <c:pt idx="82">
                  <c:v>0.28123195380173244</c:v>
                </c:pt>
                <c:pt idx="83">
                  <c:v>0.2687937062937063</c:v>
                </c:pt>
                <c:pt idx="84">
                  <c:v>0.28508261577845007</c:v>
                </c:pt>
                <c:pt idx="85">
                  <c:v>0.3043753963221306</c:v>
                </c:pt>
                <c:pt idx="86">
                  <c:v>0.29567749846719804</c:v>
                </c:pt>
                <c:pt idx="87">
                  <c:v>0.3214524095581364</c:v>
                </c:pt>
                <c:pt idx="88">
                  <c:v>0.30559416261292566</c:v>
                </c:pt>
                <c:pt idx="89">
                  <c:v>0.3028</c:v>
                </c:pt>
                <c:pt idx="90">
                  <c:v>0.2973137973137973</c:v>
                </c:pt>
                <c:pt idx="91">
                  <c:v>0.25865277260885744</c:v>
                </c:pt>
                <c:pt idx="92">
                  <c:v>0.2939825447864033</c:v>
                </c:pt>
                <c:pt idx="93">
                  <c:v>0.27591729761211414</c:v>
                </c:pt>
                <c:pt idx="94">
                  <c:v>0.2721529240239754</c:v>
                </c:pt>
                <c:pt idx="95">
                  <c:v>0.27486881768449256</c:v>
                </c:pt>
                <c:pt idx="96">
                  <c:v>0.2910351913691241</c:v>
                </c:pt>
                <c:pt idx="97">
                  <c:v>0.288008800880088</c:v>
                </c:pt>
                <c:pt idx="98">
                  <c:v>0.2953028747433265</c:v>
                </c:pt>
                <c:pt idx="99">
                  <c:v>0.3003270553738581</c:v>
                </c:pt>
                <c:pt idx="100">
                  <c:v>0.2988939948594127</c:v>
                </c:pt>
                <c:pt idx="101">
                  <c:v>0.29854680153868074</c:v>
                </c:pt>
                <c:pt idx="102">
                  <c:v>0.2902367650971003</c:v>
                </c:pt>
                <c:pt idx="103">
                  <c:v>0.270535643011096</c:v>
                </c:pt>
                <c:pt idx="104">
                  <c:v>0.2779099647853811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089280301778306</c:v>
                </c:pt>
                <c:pt idx="1">
                  <c:v>0.890322725772053</c:v>
                </c:pt>
                <c:pt idx="2">
                  <c:v>0.88764090295284</c:v>
                </c:pt>
                <c:pt idx="3">
                  <c:v>0.8562368713049497</c:v>
                </c:pt>
                <c:pt idx="4">
                  <c:v>0.8608039885190343</c:v>
                </c:pt>
                <c:pt idx="5">
                  <c:v>0.880737405940091</c:v>
                </c:pt>
                <c:pt idx="6">
                  <c:v>0.867354463194733</c:v>
                </c:pt>
                <c:pt idx="7">
                  <c:v>0.896630964401111</c:v>
                </c:pt>
                <c:pt idx="8">
                  <c:v>0.9390244113772173</c:v>
                </c:pt>
                <c:pt idx="9">
                  <c:v>0.8925349669570695</c:v>
                </c:pt>
                <c:pt idx="10">
                  <c:v>0.9261766609747739</c:v>
                </c:pt>
                <c:pt idx="11">
                  <c:v>0.8807976399256083</c:v>
                </c:pt>
                <c:pt idx="12">
                  <c:v>0.8961300005366779</c:v>
                </c:pt>
                <c:pt idx="13">
                  <c:v>0.8681760543946967</c:v>
                </c:pt>
                <c:pt idx="14">
                  <c:v>0.8711380007924792</c:v>
                </c:pt>
                <c:pt idx="15">
                  <c:v>0.8734531891064404</c:v>
                </c:pt>
                <c:pt idx="16">
                  <c:v>0.9219253337372924</c:v>
                </c:pt>
                <c:pt idx="17">
                  <c:v>0.9237000864880782</c:v>
                </c:pt>
                <c:pt idx="18">
                  <c:v>0.9118159731370995</c:v>
                </c:pt>
                <c:pt idx="19">
                  <c:v>0.9146063003987948</c:v>
                </c:pt>
                <c:pt idx="20">
                  <c:v>0.8804997764244642</c:v>
                </c:pt>
                <c:pt idx="21">
                  <c:v>0.8320428459680063</c:v>
                </c:pt>
                <c:pt idx="22">
                  <c:v>0.8838104581157017</c:v>
                </c:pt>
                <c:pt idx="23">
                  <c:v>0.8777826787009396</c:v>
                </c:pt>
                <c:pt idx="24">
                  <c:v>0.8926368196782604</c:v>
                </c:pt>
                <c:pt idx="25">
                  <c:v>0.9252371780552271</c:v>
                </c:pt>
                <c:pt idx="26">
                  <c:v>0.9568877741565025</c:v>
                </c:pt>
                <c:pt idx="27">
                  <c:v>0.958896728247586</c:v>
                </c:pt>
                <c:pt idx="28">
                  <c:v>0.9501142734659777</c:v>
                </c:pt>
                <c:pt idx="29">
                  <c:v>0.9161938274735004</c:v>
                </c:pt>
                <c:pt idx="30">
                  <c:v>0.9148067992558353</c:v>
                </c:pt>
                <c:pt idx="31">
                  <c:v>0.9213113702388867</c:v>
                </c:pt>
                <c:pt idx="32">
                  <c:v>0.934988814254561</c:v>
                </c:pt>
                <c:pt idx="33">
                  <c:v>0.9417428893436754</c:v>
                </c:pt>
                <c:pt idx="34">
                  <c:v>0.9452785763484676</c:v>
                </c:pt>
                <c:pt idx="35">
                  <c:v>0.9372612150931939</c:v>
                </c:pt>
                <c:pt idx="36">
                  <c:v>0.9423126349832464</c:v>
                </c:pt>
                <c:pt idx="37">
                  <c:v>0.9084143945035545</c:v>
                </c:pt>
                <c:pt idx="38">
                  <c:v>0.93950733891345</c:v>
                </c:pt>
                <c:pt idx="39">
                  <c:v>0.9255176113000898</c:v>
                </c:pt>
                <c:pt idx="40">
                  <c:v>0.9515433099991703</c:v>
                </c:pt>
                <c:pt idx="41">
                  <c:v>0.965908573621942</c:v>
                </c:pt>
                <c:pt idx="42">
                  <c:v>0.9154056715880556</c:v>
                </c:pt>
                <c:pt idx="43">
                  <c:v>0.9455081578066047</c:v>
                </c:pt>
                <c:pt idx="44">
                  <c:v>0.9489700941469102</c:v>
                </c:pt>
                <c:pt idx="45">
                  <c:v>0.9213571103456701</c:v>
                </c:pt>
                <c:pt idx="46">
                  <c:v>0.924595020920465</c:v>
                </c:pt>
                <c:pt idx="47">
                  <c:v>0.9186589372161089</c:v>
                </c:pt>
                <c:pt idx="48">
                  <c:v>0.9578343906424349</c:v>
                </c:pt>
                <c:pt idx="49">
                  <c:v>0.974001795911192</c:v>
                </c:pt>
                <c:pt idx="50">
                  <c:v>0.9131503310686723</c:v>
                </c:pt>
                <c:pt idx="51">
                  <c:v>0.9121750800416641</c:v>
                </c:pt>
              </c:numCache>
            </c:numRef>
          </c:xVal>
          <c:yVal>
            <c:numRef>
              <c:f>Sheet1!$B$109:$B$160</c:f>
              <c:numCache>
                <c:formatCode>General</c:formatCode>
                <c:ptCount val="52"/>
                <c:pt idx="0">
                  <c:v>0.2916702558359893</c:v>
                </c:pt>
                <c:pt idx="1">
                  <c:v>0.29713189623675557</c:v>
                </c:pt>
                <c:pt idx="2">
                  <c:v>0.30235806425108863</c:v>
                </c:pt>
                <c:pt idx="3">
                  <c:v>0.337461811576253</c:v>
                </c:pt>
                <c:pt idx="4">
                  <c:v>0.3302561317766314</c:v>
                </c:pt>
                <c:pt idx="5">
                  <c:v>0.30656185919343815</c:v>
                </c:pt>
                <c:pt idx="6">
                  <c:v>0.3320905008050165</c:v>
                </c:pt>
                <c:pt idx="7">
                  <c:v>0.3125</c:v>
                </c:pt>
                <c:pt idx="8">
                  <c:v>0.313678299237866</c:v>
                </c:pt>
                <c:pt idx="9">
                  <c:v>0.3150065452814471</c:v>
                </c:pt>
                <c:pt idx="10">
                  <c:v>0.30897200550711335</c:v>
                </c:pt>
                <c:pt idx="11">
                  <c:v>0.3169037380086007</c:v>
                </c:pt>
                <c:pt idx="12">
                  <c:v>0.3254703466717601</c:v>
                </c:pt>
                <c:pt idx="13">
                  <c:v>0.33390497326742663</c:v>
                </c:pt>
                <c:pt idx="14">
                  <c:v>0.3321123321123321</c:v>
                </c:pt>
                <c:pt idx="15">
                  <c:v>0.31697800898557577</c:v>
                </c:pt>
                <c:pt idx="16">
                  <c:v>0.30112699285321604</c:v>
                </c:pt>
                <c:pt idx="17">
                  <c:v>0.29326647564469915</c:v>
                </c:pt>
                <c:pt idx="18">
                  <c:v>0.3079354516719348</c:v>
                </c:pt>
                <c:pt idx="19">
                  <c:v>0.300814281240213</c:v>
                </c:pt>
                <c:pt idx="20">
                  <c:v>0.31164200392226776</c:v>
                </c:pt>
                <c:pt idx="21">
                  <c:v>0.31462621885157094</c:v>
                </c:pt>
                <c:pt idx="22">
                  <c:v>0.3091070241524485</c:v>
                </c:pt>
                <c:pt idx="23">
                  <c:v>0.30545774647887325</c:v>
                </c:pt>
                <c:pt idx="24">
                  <c:v>0.30815840727115346</c:v>
                </c:pt>
                <c:pt idx="25">
                  <c:v>0.305513838232139</c:v>
                </c:pt>
                <c:pt idx="26">
                  <c:v>0.29310344827586204</c:v>
                </c:pt>
                <c:pt idx="27">
                  <c:v>0.28388245770258236</c:v>
                </c:pt>
                <c:pt idx="28">
                  <c:v>0.28780734253957563</c:v>
                </c:pt>
                <c:pt idx="29">
                  <c:v>0.2951048951048951</c:v>
                </c:pt>
                <c:pt idx="30">
                  <c:v>0.30057803468208094</c:v>
                </c:pt>
                <c:pt idx="31">
                  <c:v>0.2950011734334663</c:v>
                </c:pt>
                <c:pt idx="32">
                  <c:v>0.29774812343619683</c:v>
                </c:pt>
                <c:pt idx="33">
                  <c:v>0.3021088769004414</c:v>
                </c:pt>
                <c:pt idx="34">
                  <c:v>0.3245603093426469</c:v>
                </c:pt>
                <c:pt idx="35">
                  <c:v>0.3064798598949212</c:v>
                </c:pt>
                <c:pt idx="36">
                  <c:v>0.2856141989724428</c:v>
                </c:pt>
                <c:pt idx="37">
                  <c:v>0.29664769133459834</c:v>
                </c:pt>
                <c:pt idx="38">
                  <c:v>0.29234507897934386</c:v>
                </c:pt>
                <c:pt idx="39">
                  <c:v>0.3210865401358175</c:v>
                </c:pt>
                <c:pt idx="40">
                  <c:v>0.3143979992854591</c:v>
                </c:pt>
                <c:pt idx="41">
                  <c:v>0.3066428455416599</c:v>
                </c:pt>
                <c:pt idx="42">
                  <c:v>0.31561461794019935</c:v>
                </c:pt>
                <c:pt idx="43">
                  <c:v>0.3071615841037671</c:v>
                </c:pt>
                <c:pt idx="44">
                  <c:v>0.3025999312793494</c:v>
                </c:pt>
                <c:pt idx="45">
                  <c:v>0.3041220382992535</c:v>
                </c:pt>
                <c:pt idx="46">
                  <c:v>0.3246560427595764</c:v>
                </c:pt>
                <c:pt idx="47">
                  <c:v>0.31618114166439787</c:v>
                </c:pt>
                <c:pt idx="48">
                  <c:v>0.3015329662152106</c:v>
                </c:pt>
                <c:pt idx="49">
                  <c:v>0.3205233033524121</c:v>
                </c:pt>
                <c:pt idx="50">
                  <c:v>0.33075107964916967</c:v>
                </c:pt>
                <c:pt idx="51">
                  <c:v>0.3291760540714515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776820666334684</c:v>
                </c:pt>
              </c:numCache>
            </c:numRef>
          </c:xVal>
          <c:yVal>
            <c:numRef>
              <c:f>Sheet1!$B$163:$B$164</c:f>
              <c:numCache>
                <c:formatCode>General</c:formatCode>
                <c:ptCount val="2"/>
                <c:pt idx="0">
                  <c:v>0.39605903917055874</c:v>
                </c:pt>
                <c:pt idx="1">
                  <c:v>0.3960590391705587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776820666334684</c:v>
                </c:pt>
                <c:pt idx="1">
                  <c:v>0.4776820666334684</c:v>
                </c:pt>
              </c:numCache>
            </c:numRef>
          </c:xVal>
          <c:yVal>
            <c:numRef>
              <c:f>Sheet1!$B$167:$B$168</c:f>
              <c:numCache>
                <c:formatCode>General</c:formatCode>
                <c:ptCount val="2"/>
                <c:pt idx="0">
                  <c:v>0.396059039170558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574810965801493</c:v>
                </c:pt>
              </c:numCache>
            </c:numRef>
          </c:xVal>
          <c:yVal>
            <c:numRef>
              <c:f>Sheet1!$B$171:$B$172</c:f>
              <c:numCache>
                <c:formatCode>General</c:formatCode>
                <c:ptCount val="2"/>
                <c:pt idx="0">
                  <c:v>0.320495850822061</c:v>
                </c:pt>
                <c:pt idx="1">
                  <c:v>0.32049585082206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574810965801493</c:v>
                </c:pt>
                <c:pt idx="1">
                  <c:v>0.8574810965801493</c:v>
                </c:pt>
              </c:numCache>
            </c:numRef>
          </c:xVal>
          <c:yVal>
            <c:numRef>
              <c:f>Sheet1!$B$175:$B$176</c:f>
              <c:numCache>
                <c:formatCode>General</c:formatCode>
                <c:ptCount val="2"/>
                <c:pt idx="0">
                  <c:v>0.32049585082206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853187239084732</c:v>
                </c:pt>
              </c:numCache>
            </c:numRef>
          </c:xVal>
          <c:yVal>
            <c:numRef>
              <c:f>Sheet1!$B$179:$B$180</c:f>
              <c:numCache>
                <c:formatCode>General</c:formatCode>
                <c:ptCount val="2"/>
                <c:pt idx="0">
                  <c:v>0.31495739571520953</c:v>
                </c:pt>
                <c:pt idx="1">
                  <c:v>0.3149573957152095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853187239084732</c:v>
                </c:pt>
                <c:pt idx="1">
                  <c:v>0.8853187239084732</c:v>
                </c:pt>
              </c:numCache>
            </c:numRef>
          </c:xVal>
          <c:yVal>
            <c:numRef>
              <c:f>Sheet1!$B$183:$B$184</c:f>
              <c:numCache>
                <c:formatCode>General</c:formatCode>
                <c:ptCount val="2"/>
                <c:pt idx="0">
                  <c:v>0.3149573957152095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089280301778306</c:v>
                </c:pt>
                <c:pt idx="1">
                  <c:v>0.890322725772053</c:v>
                </c:pt>
                <c:pt idx="2">
                  <c:v>0.88764090295284</c:v>
                </c:pt>
                <c:pt idx="3">
                  <c:v>0.8562368713049497</c:v>
                </c:pt>
                <c:pt idx="4">
                  <c:v>0.8608039885190343</c:v>
                </c:pt>
                <c:pt idx="5">
                  <c:v>0.880737405940091</c:v>
                </c:pt>
                <c:pt idx="6">
                  <c:v>0.867354463194733</c:v>
                </c:pt>
                <c:pt idx="7">
                  <c:v>0.896630964401111</c:v>
                </c:pt>
                <c:pt idx="8">
                  <c:v>0.9390244113772173</c:v>
                </c:pt>
                <c:pt idx="9">
                  <c:v>0.8925349669570695</c:v>
                </c:pt>
                <c:pt idx="10">
                  <c:v>0.9261766609747739</c:v>
                </c:pt>
                <c:pt idx="11">
                  <c:v>0.8807976399256083</c:v>
                </c:pt>
                <c:pt idx="12">
                  <c:v>0.8961300005366779</c:v>
                </c:pt>
                <c:pt idx="13">
                  <c:v>0.8681760543946967</c:v>
                </c:pt>
                <c:pt idx="14">
                  <c:v>0.8711380007924792</c:v>
                </c:pt>
                <c:pt idx="15">
                  <c:v>0.8734531891064404</c:v>
                </c:pt>
                <c:pt idx="16">
                  <c:v>0.9219253337372924</c:v>
                </c:pt>
                <c:pt idx="17">
                  <c:v>0.9237000864880782</c:v>
                </c:pt>
                <c:pt idx="18">
                  <c:v>0.9118159731370995</c:v>
                </c:pt>
                <c:pt idx="19">
                  <c:v>0.9146063003987948</c:v>
                </c:pt>
                <c:pt idx="20">
                  <c:v>0.8804997764244642</c:v>
                </c:pt>
                <c:pt idx="21">
                  <c:v>0.8320428459680063</c:v>
                </c:pt>
                <c:pt idx="22">
                  <c:v>0.8838104581157017</c:v>
                </c:pt>
                <c:pt idx="23">
                  <c:v>0.8777826787009396</c:v>
                </c:pt>
                <c:pt idx="24">
                  <c:v>0.8926368196782604</c:v>
                </c:pt>
                <c:pt idx="25">
                  <c:v>0.9252371780552271</c:v>
                </c:pt>
                <c:pt idx="26">
                  <c:v>0.9568877741565025</c:v>
                </c:pt>
                <c:pt idx="27">
                  <c:v>0.958896728247586</c:v>
                </c:pt>
                <c:pt idx="28">
                  <c:v>0.9501142734659777</c:v>
                </c:pt>
                <c:pt idx="29">
                  <c:v>0.9161938274735004</c:v>
                </c:pt>
                <c:pt idx="30">
                  <c:v>0.9148067992558353</c:v>
                </c:pt>
                <c:pt idx="31">
                  <c:v>0.9213113702388867</c:v>
                </c:pt>
                <c:pt idx="32">
                  <c:v>0.934988814254561</c:v>
                </c:pt>
                <c:pt idx="33">
                  <c:v>0.9417428893436754</c:v>
                </c:pt>
                <c:pt idx="34">
                  <c:v>0.9452785763484676</c:v>
                </c:pt>
                <c:pt idx="35">
                  <c:v>0.9372612150931939</c:v>
                </c:pt>
                <c:pt idx="36">
                  <c:v>0.9423126349832464</c:v>
                </c:pt>
                <c:pt idx="37">
                  <c:v>0.9084143945035545</c:v>
                </c:pt>
                <c:pt idx="38">
                  <c:v>0.93950733891345</c:v>
                </c:pt>
                <c:pt idx="39">
                  <c:v>0.9255176113000898</c:v>
                </c:pt>
                <c:pt idx="40">
                  <c:v>0.9515433099991703</c:v>
                </c:pt>
                <c:pt idx="41">
                  <c:v>0.965908573621942</c:v>
                </c:pt>
                <c:pt idx="42">
                  <c:v>0.9154056715880556</c:v>
                </c:pt>
                <c:pt idx="43">
                  <c:v>0.9455081578066047</c:v>
                </c:pt>
                <c:pt idx="44">
                  <c:v>0.9489700941469102</c:v>
                </c:pt>
                <c:pt idx="45">
                  <c:v>0.9213571103456701</c:v>
                </c:pt>
                <c:pt idx="46">
                  <c:v>0.924595020920465</c:v>
                </c:pt>
                <c:pt idx="47">
                  <c:v>0.9186589372161089</c:v>
                </c:pt>
                <c:pt idx="48">
                  <c:v>0.9578343906424349</c:v>
                </c:pt>
                <c:pt idx="49">
                  <c:v>0.974001795911192</c:v>
                </c:pt>
                <c:pt idx="50">
                  <c:v>0.9131503310686723</c:v>
                </c:pt>
                <c:pt idx="51">
                  <c:v>0.9121750800416641</c:v>
                </c:pt>
                <c:pt idx="52">
                  <c:v>0.8574810965801493</c:v>
                </c:pt>
                <c:pt idx="53">
                  <c:v>0.4776820666334684</c:v>
                </c:pt>
                <c:pt idx="54">
                  <c:v>0.8853187239084732</c:v>
                </c:pt>
              </c:numCache>
            </c:numRef>
          </c:xVal>
          <c:yVal>
            <c:numRef>
              <c:f>Sheet1!$B$187:$B$241</c:f>
              <c:numCache>
                <c:formatCode>General</c:formatCode>
                <c:ptCount val="55"/>
                <c:pt idx="0">
                  <c:v>0.31026018925668</c:v>
                </c:pt>
                <c:pt idx="1">
                  <c:v>0.3139618209361823</c:v>
                </c:pt>
                <c:pt idx="2">
                  <c:v>0.31449538491825446</c:v>
                </c:pt>
                <c:pt idx="3">
                  <c:v>0.32074339655389467</c:v>
                </c:pt>
                <c:pt idx="4">
                  <c:v>0.31983474247358806</c:v>
                </c:pt>
                <c:pt idx="5">
                  <c:v>0.3158688751167705</c:v>
                </c:pt>
                <c:pt idx="6">
                  <c:v>0.31853148808728443</c:v>
                </c:pt>
                <c:pt idx="7">
                  <c:v>0.31270676079624016</c:v>
                </c:pt>
                <c:pt idx="8">
                  <c:v>0.3042723421537089</c:v>
                </c:pt>
                <c:pt idx="9">
                  <c:v>0.3135216829048683</c:v>
                </c:pt>
                <c:pt idx="10">
                  <c:v>0.30682847554786374</c:v>
                </c:pt>
                <c:pt idx="11">
                  <c:v>0.3158568912209894</c:v>
                </c:pt>
                <c:pt idx="12">
                  <c:v>0.31280643042111855</c:v>
                </c:pt>
                <c:pt idx="13">
                  <c:v>0.31836802782095086</c:v>
                </c:pt>
                <c:pt idx="14">
                  <c:v>0.317778731651434</c:v>
                </c:pt>
                <c:pt idx="15">
                  <c:v>0.31731811170025964</c:v>
                </c:pt>
                <c:pt idx="16">
                  <c:v>0.3076743014069293</c:v>
                </c:pt>
                <c:pt idx="17">
                  <c:v>0.30732120420076087</c:v>
                </c:pt>
                <c:pt idx="18">
                  <c:v>0.3096856164943388</c:v>
                </c:pt>
                <c:pt idx="19">
                  <c:v>0.3091304649331065</c:v>
                </c:pt>
                <c:pt idx="20">
                  <c:v>0.31591615286745084</c:v>
                </c:pt>
                <c:pt idx="21">
                  <c:v>0.3255569362138049</c:v>
                </c:pt>
                <c:pt idx="22">
                  <c:v>0.3152574738175543</c:v>
                </c:pt>
                <c:pt idx="23">
                  <c:v>0.31645673499340515</c:v>
                </c:pt>
                <c:pt idx="24">
                  <c:v>0.3135014187236875</c:v>
                </c:pt>
                <c:pt idx="25">
                  <c:v>0.30701539104580455</c:v>
                </c:pt>
                <c:pt idx="26">
                  <c:v>0.3007183240025352</c:v>
                </c:pt>
                <c:pt idx="27">
                  <c:v>0.3003186311007673</c:v>
                </c:pt>
                <c:pt idx="28">
                  <c:v>0.3020659506895456</c:v>
                </c:pt>
                <c:pt idx="29">
                  <c:v>0.30881461734557797</c:v>
                </c:pt>
                <c:pt idx="30">
                  <c:v>0.3090905745392307</c:v>
                </c:pt>
                <c:pt idx="31">
                  <c:v>0.30779645295501423</c:v>
                </c:pt>
                <c:pt idx="32">
                  <c:v>0.3050752472730841</c:v>
                </c:pt>
                <c:pt idx="33">
                  <c:v>0.303731485420532</c:v>
                </c:pt>
                <c:pt idx="34">
                  <c:v>0.30302804027713093</c:v>
                </c:pt>
                <c:pt idx="35">
                  <c:v>0.3046231401347457</c:v>
                </c:pt>
                <c:pt idx="36">
                  <c:v>0.3036181312682592</c:v>
                </c:pt>
                <c:pt idx="37">
                  <c:v>0.31036238001057226</c:v>
                </c:pt>
                <c:pt idx="38">
                  <c:v>0.30417626095944117</c:v>
                </c:pt>
                <c:pt idx="39">
                  <c:v>0.30695959724848043</c:v>
                </c:pt>
                <c:pt idx="40">
                  <c:v>0.30178163570135386</c:v>
                </c:pt>
                <c:pt idx="41">
                  <c:v>0.29892358437627353</c:v>
                </c:pt>
                <c:pt idx="42">
                  <c:v>0.3089714254649357</c:v>
                </c:pt>
                <c:pt idx="43">
                  <c:v>0.30298236373349946</c:v>
                </c:pt>
                <c:pt idx="44">
                  <c:v>0.3022935917064362</c:v>
                </c:pt>
                <c:pt idx="45">
                  <c:v>0.3077873526992699</c:v>
                </c:pt>
                <c:pt idx="46">
                  <c:v>0.30714315187902774</c:v>
                </c:pt>
                <c:pt idx="47">
                  <c:v>0.30832416966906184</c:v>
                </c:pt>
                <c:pt idx="48">
                  <c:v>0.30052998924077884</c:v>
                </c:pt>
                <c:pt idx="49">
                  <c:v>0.2973133915322458</c:v>
                </c:pt>
                <c:pt idx="50">
                  <c:v>0.3094201383552243</c:v>
                </c:pt>
                <c:pt idx="51">
                  <c:v>0.3096141701226336</c:v>
                </c:pt>
                <c:pt idx="52">
                  <c:v>0.320495850822061</c:v>
                </c:pt>
                <c:pt idx="53">
                  <c:v>0.39605903917055874</c:v>
                </c:pt>
                <c:pt idx="54">
                  <c:v>0.3149573957152095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169390787518574"/>
          <c:min val="0.2069222180870859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5335002138992396</c:v>
                </c:pt>
                <c:pt idx="1">
                  <c:v>0.16989149353642732</c:v>
                </c:pt>
                <c:pt idx="2">
                  <c:v>0.1717201998441449</c:v>
                </c:pt>
                <c:pt idx="3">
                  <c:v>0.1735169621098225</c:v>
                </c:pt>
                <c:pt idx="4">
                  <c:v>0.16681392829503544</c:v>
                </c:pt>
                <c:pt idx="5">
                  <c:v>0.16355385898015393</c:v>
                </c:pt>
                <c:pt idx="6">
                  <c:v>0.1638280510867441</c:v>
                </c:pt>
                <c:pt idx="7">
                  <c:v>0.159638498593992</c:v>
                </c:pt>
                <c:pt idx="8">
                  <c:v>0.1596597973113407</c:v>
                </c:pt>
                <c:pt idx="9">
                  <c:v>0.15799108982084095</c:v>
                </c:pt>
                <c:pt idx="10">
                  <c:v>0.1614350961392481</c:v>
                </c:pt>
                <c:pt idx="11">
                  <c:v>0.17274177997772042</c:v>
                </c:pt>
                <c:pt idx="12">
                  <c:v>0.17708068634228488</c:v>
                </c:pt>
                <c:pt idx="13">
                  <c:v>0.1732328505424726</c:v>
                </c:pt>
                <c:pt idx="14">
                  <c:v>0.17624536786835254</c:v>
                </c:pt>
                <c:pt idx="15">
                  <c:v>0.17797558565418797</c:v>
                </c:pt>
                <c:pt idx="16">
                  <c:v>0.170437864255872</c:v>
                </c:pt>
                <c:pt idx="17">
                  <c:v>0.1647367254511402</c:v>
                </c:pt>
                <c:pt idx="18">
                  <c:v>0.16064962015954376</c:v>
                </c:pt>
                <c:pt idx="19">
                  <c:v>0.16252617508700148</c:v>
                </c:pt>
                <c:pt idx="20">
                  <c:v>0.1726925423928072</c:v>
                </c:pt>
                <c:pt idx="21">
                  <c:v>0.16557816917002</c:v>
                </c:pt>
                <c:pt idx="22">
                  <c:v>0.15537442918969022</c:v>
                </c:pt>
                <c:pt idx="23">
                  <c:v>0.15261400242383183</c:v>
                </c:pt>
                <c:pt idx="24">
                  <c:v>0.15760933065195423</c:v>
                </c:pt>
                <c:pt idx="25">
                  <c:v>0.1468499234731452</c:v>
                </c:pt>
                <c:pt idx="26">
                  <c:v>0.14970936022457917</c:v>
                </c:pt>
                <c:pt idx="27">
                  <c:v>0.149679954789932</c:v>
                </c:pt>
                <c:pt idx="28">
                  <c:v>0.14731449530927215</c:v>
                </c:pt>
                <c:pt idx="29">
                  <c:v>0.1503752005256052</c:v>
                </c:pt>
                <c:pt idx="30">
                  <c:v>0.14179041230227266</c:v>
                </c:pt>
                <c:pt idx="31">
                  <c:v>0.13291030909051238</c:v>
                </c:pt>
                <c:pt idx="32">
                  <c:v>0.13435925369053006</c:v>
                </c:pt>
                <c:pt idx="33">
                  <c:v>0.13380793789486858</c:v>
                </c:pt>
                <c:pt idx="34">
                  <c:v>0.14411483645544051</c:v>
                </c:pt>
                <c:pt idx="35">
                  <c:v>0.15301218361285138</c:v>
                </c:pt>
                <c:pt idx="36">
                  <c:v>0.14650291821132633</c:v>
                </c:pt>
                <c:pt idx="37">
                  <c:v>0.13761551118189835</c:v>
                </c:pt>
                <c:pt idx="38">
                  <c:v>0.14656472897902298</c:v>
                </c:pt>
                <c:pt idx="39">
                  <c:v>0.14913877927467933</c:v>
                </c:pt>
                <c:pt idx="40">
                  <c:v>0.16190039703091452</c:v>
                </c:pt>
                <c:pt idx="41">
                  <c:v>0.1580029644252081</c:v>
                </c:pt>
                <c:pt idx="42">
                  <c:v>0.1582003071232188</c:v>
                </c:pt>
                <c:pt idx="43">
                  <c:v>0.167685139263205</c:v>
                </c:pt>
                <c:pt idx="44">
                  <c:v>0.1766401346150254</c:v>
                </c:pt>
                <c:pt idx="45">
                  <c:v>0.1806663695210737</c:v>
                </c:pt>
                <c:pt idx="46">
                  <c:v>0.17865641361177229</c:v>
                </c:pt>
                <c:pt idx="47">
                  <c:v>0.17249121838034182</c:v>
                </c:pt>
                <c:pt idx="48">
                  <c:v>0.19660150027211676</c:v>
                </c:pt>
                <c:pt idx="49">
                  <c:v>0.20533012882850724</c:v>
                </c:pt>
                <c:pt idx="50">
                  <c:v>0.1782782792342354</c:v>
                </c:pt>
                <c:pt idx="51">
                  <c:v>0.1681604539383348</c:v>
                </c:pt>
                <c:pt idx="52">
                  <c:v>0.18344813037050986</c:v>
                </c:pt>
                <c:pt idx="53">
                  <c:v>0.18497720850504484</c:v>
                </c:pt>
                <c:pt idx="54">
                  <c:v>0.1785541332898652</c:v>
                </c:pt>
                <c:pt idx="55">
                  <c:v>0.17634868174013857</c:v>
                </c:pt>
                <c:pt idx="56">
                  <c:v>0.1799587909954026</c:v>
                </c:pt>
                <c:pt idx="57">
                  <c:v>0.17521096160975633</c:v>
                </c:pt>
                <c:pt idx="58">
                  <c:v>0.1848654208721638</c:v>
                </c:pt>
                <c:pt idx="59">
                  <c:v>0.20821922509676694</c:v>
                </c:pt>
                <c:pt idx="60">
                  <c:v>0.20962568776441987</c:v>
                </c:pt>
                <c:pt idx="61">
                  <c:v>0.198724981610538</c:v>
                </c:pt>
                <c:pt idx="62">
                  <c:v>0.19429812394600027</c:v>
                </c:pt>
                <c:pt idx="63">
                  <c:v>0.1982984332718032</c:v>
                </c:pt>
                <c:pt idx="64">
                  <c:v>0.20517639724147918</c:v>
                </c:pt>
                <c:pt idx="65">
                  <c:v>0.19526987736262488</c:v>
                </c:pt>
                <c:pt idx="66">
                  <c:v>0.19685506207837333</c:v>
                </c:pt>
                <c:pt idx="67">
                  <c:v>0.20385625838444268</c:v>
                </c:pt>
                <c:pt idx="68">
                  <c:v>0.19120627434022</c:v>
                </c:pt>
                <c:pt idx="69">
                  <c:v>0.1833438367864135</c:v>
                </c:pt>
                <c:pt idx="70">
                  <c:v>0.17750753486027185</c:v>
                </c:pt>
                <c:pt idx="71">
                  <c:v>0.18435814213487414</c:v>
                </c:pt>
                <c:pt idx="72">
                  <c:v>0.20396260061050406</c:v>
                </c:pt>
                <c:pt idx="73">
                  <c:v>0.19834777383795377</c:v>
                </c:pt>
                <c:pt idx="74">
                  <c:v>0.19619224044518016</c:v>
                </c:pt>
                <c:pt idx="75">
                  <c:v>0.18571728526891707</c:v>
                </c:pt>
                <c:pt idx="76">
                  <c:v>0.17520789635874454</c:v>
                </c:pt>
                <c:pt idx="77">
                  <c:v>0.17854830932343105</c:v>
                </c:pt>
                <c:pt idx="78">
                  <c:v>0.17699829105043693</c:v>
                </c:pt>
                <c:pt idx="79">
                  <c:v>0.16641821259191894</c:v>
                </c:pt>
                <c:pt idx="80">
                  <c:v>0.16687772914630566</c:v>
                </c:pt>
                <c:pt idx="81">
                  <c:v>0.17633585137531618</c:v>
                </c:pt>
                <c:pt idx="82">
                  <c:v>0.16988368813088772</c:v>
                </c:pt>
                <c:pt idx="83">
                  <c:v>0.1554688095819968</c:v>
                </c:pt>
                <c:pt idx="84">
                  <c:v>0.15295596892382926</c:v>
                </c:pt>
                <c:pt idx="85">
                  <c:v>0.15534252218195052</c:v>
                </c:pt>
                <c:pt idx="86">
                  <c:v>0.16275068818119673</c:v>
                </c:pt>
                <c:pt idx="87">
                  <c:v>0.1782183698782974</c:v>
                </c:pt>
                <c:pt idx="88">
                  <c:v>0.16321937326083258</c:v>
                </c:pt>
                <c:pt idx="89">
                  <c:v>0.1556491851090532</c:v>
                </c:pt>
                <c:pt idx="90">
                  <c:v>0.16505734335565037</c:v>
                </c:pt>
                <c:pt idx="91">
                  <c:v>0.1711865561268803</c:v>
                </c:pt>
                <c:pt idx="92">
                  <c:v>0.17374692586725063</c:v>
                </c:pt>
                <c:pt idx="93">
                  <c:v>0.17342440055882893</c:v>
                </c:pt>
                <c:pt idx="94">
                  <c:v>0.16784818493560397</c:v>
                </c:pt>
                <c:pt idx="95">
                  <c:v>0.17512852566739243</c:v>
                </c:pt>
                <c:pt idx="96">
                  <c:v>0.1806661169018074</c:v>
                </c:pt>
                <c:pt idx="97">
                  <c:v>0.1902970831915284</c:v>
                </c:pt>
                <c:pt idx="98">
                  <c:v>0.19965885235125166</c:v>
                </c:pt>
                <c:pt idx="99">
                  <c:v>0.20397949585185982</c:v>
                </c:pt>
                <c:pt idx="100">
                  <c:v>0.2192975374851525</c:v>
                </c:pt>
                <c:pt idx="101">
                  <c:v>0.20404971979980277</c:v>
                </c:pt>
                <c:pt idx="102">
                  <c:v>0.20529610526193004</c:v>
                </c:pt>
                <c:pt idx="103">
                  <c:v>0.19602229095907545</c:v>
                </c:pt>
                <c:pt idx="104">
                  <c:v>0.2006191024963391</c:v>
                </c:pt>
              </c:numCache>
            </c:numRef>
          </c:xVal>
          <c:yVal>
            <c:numRef>
              <c:f>Sheet1!$B$2:$B$106</c:f>
              <c:numCache>
                <c:formatCode>General</c:formatCode>
                <c:ptCount val="105"/>
                <c:pt idx="0">
                  <c:v>0.23418296003728872</c:v>
                </c:pt>
                <c:pt idx="1">
                  <c:v>0.23165931366074022</c:v>
                </c:pt>
                <c:pt idx="2">
                  <c:v>0.23278705032349017</c:v>
                </c:pt>
                <c:pt idx="3">
                  <c:v>0.2333306651724966</c:v>
                </c:pt>
                <c:pt idx="4">
                  <c:v>0.24390852650297945</c:v>
                </c:pt>
                <c:pt idx="5">
                  <c:v>0.24548332427333483</c:v>
                </c:pt>
                <c:pt idx="6">
                  <c:v>0.2714250734573947</c:v>
                </c:pt>
                <c:pt idx="7">
                  <c:v>0.2720096286594216</c:v>
                </c:pt>
                <c:pt idx="8">
                  <c:v>0.26972618872368614</c:v>
                </c:pt>
                <c:pt idx="9">
                  <c:v>0.2604732837193745</c:v>
                </c:pt>
                <c:pt idx="10">
                  <c:v>0.2556938879776278</c:v>
                </c:pt>
                <c:pt idx="11">
                  <c:v>0.2384407146724418</c:v>
                </c:pt>
                <c:pt idx="12">
                  <c:v>0.22535420957296345</c:v>
                </c:pt>
                <c:pt idx="13">
                  <c:v>0.2139852513502285</c:v>
                </c:pt>
                <c:pt idx="14">
                  <c:v>0.19951765538574462</c:v>
                </c:pt>
                <c:pt idx="15">
                  <c:v>0.19060190073917635</c:v>
                </c:pt>
                <c:pt idx="16">
                  <c:v>0.18443732193732193</c:v>
                </c:pt>
                <c:pt idx="17">
                  <c:v>0.18215192345245068</c:v>
                </c:pt>
                <c:pt idx="18">
                  <c:v>0.16783307976526843</c:v>
                </c:pt>
                <c:pt idx="19">
                  <c:v>0.1664623557053836</c:v>
                </c:pt>
                <c:pt idx="20">
                  <c:v>0.1770842061164642</c:v>
                </c:pt>
                <c:pt idx="21">
                  <c:v>0.18135450625722999</c:v>
                </c:pt>
                <c:pt idx="22">
                  <c:v>0.19217118997912316</c:v>
                </c:pt>
                <c:pt idx="23">
                  <c:v>0.20130612244897958</c:v>
                </c:pt>
                <c:pt idx="24">
                  <c:v>0.20415400202634246</c:v>
                </c:pt>
                <c:pt idx="25">
                  <c:v>0.20853382804800277</c:v>
                </c:pt>
                <c:pt idx="26">
                  <c:v>0.22318810760763336</c:v>
                </c:pt>
                <c:pt idx="27">
                  <c:v>0.22061949590039479</c:v>
                </c:pt>
                <c:pt idx="28">
                  <c:v>0.22781491002570695</c:v>
                </c:pt>
                <c:pt idx="29">
                  <c:v>0.22411392120749293</c:v>
                </c:pt>
                <c:pt idx="30">
                  <c:v>0.22836372028617585</c:v>
                </c:pt>
                <c:pt idx="31">
                  <c:v>0.23155645524066576</c:v>
                </c:pt>
                <c:pt idx="32">
                  <c:v>0.2391124358337473</c:v>
                </c:pt>
                <c:pt idx="33">
                  <c:v>0.23732728936930655</c:v>
                </c:pt>
                <c:pt idx="34">
                  <c:v>0.2376046610332986</c:v>
                </c:pt>
                <c:pt idx="35">
                  <c:v>0.25597164957235835</c:v>
                </c:pt>
                <c:pt idx="36">
                  <c:v>0.2249256444150694</c:v>
                </c:pt>
                <c:pt idx="37">
                  <c:v>0.21881479338444476</c:v>
                </c:pt>
                <c:pt idx="38">
                  <c:v>0.20735478882767952</c:v>
                </c:pt>
                <c:pt idx="39">
                  <c:v>0.20157617317435136</c:v>
                </c:pt>
                <c:pt idx="40">
                  <c:v>0.2043353918846106</c:v>
                </c:pt>
                <c:pt idx="41">
                  <c:v>0.19930262433474033</c:v>
                </c:pt>
                <c:pt idx="42">
                  <c:v>0.19792563600782778</c:v>
                </c:pt>
                <c:pt idx="43">
                  <c:v>0.19148566463944397</c:v>
                </c:pt>
                <c:pt idx="44">
                  <c:v>0.18882872746876686</c:v>
                </c:pt>
                <c:pt idx="45">
                  <c:v>0.20146325946347152</c:v>
                </c:pt>
                <c:pt idx="46">
                  <c:v>0.20674221893734088</c:v>
                </c:pt>
                <c:pt idx="47">
                  <c:v>0.20248705097825404</c:v>
                </c:pt>
                <c:pt idx="48">
                  <c:v>0.20068823124569857</c:v>
                </c:pt>
                <c:pt idx="49">
                  <c:v>0.21421377913941334</c:v>
                </c:pt>
                <c:pt idx="50">
                  <c:v>0.20370295834171864</c:v>
                </c:pt>
                <c:pt idx="51">
                  <c:v>0.19657907167540958</c:v>
                </c:pt>
                <c:pt idx="52">
                  <c:v>0.1990873753591347</c:v>
                </c:pt>
                <c:pt idx="53">
                  <c:v>0.1924849250862364</c:v>
                </c:pt>
                <c:pt idx="54">
                  <c:v>0.19632599504300918</c:v>
                </c:pt>
                <c:pt idx="55">
                  <c:v>0.1932637372498579</c:v>
                </c:pt>
                <c:pt idx="56">
                  <c:v>0.1963961784980046</c:v>
                </c:pt>
                <c:pt idx="57">
                  <c:v>0.1902930783620869</c:v>
                </c:pt>
                <c:pt idx="58">
                  <c:v>0.2004390569819605</c:v>
                </c:pt>
                <c:pt idx="59">
                  <c:v>0.19565183241961073</c:v>
                </c:pt>
                <c:pt idx="60">
                  <c:v>0.1985710596539554</c:v>
                </c:pt>
                <c:pt idx="61">
                  <c:v>0.19782154510669264</c:v>
                </c:pt>
                <c:pt idx="62">
                  <c:v>0.21214106590154305</c:v>
                </c:pt>
                <c:pt idx="63">
                  <c:v>0.2160689782292584</c:v>
                </c:pt>
                <c:pt idx="64">
                  <c:v>0.2057314629258517</c:v>
                </c:pt>
                <c:pt idx="65">
                  <c:v>0.20019627085377822</c:v>
                </c:pt>
                <c:pt idx="66">
                  <c:v>0.1993405749644317</c:v>
                </c:pt>
                <c:pt idx="67">
                  <c:v>0.18906573406609092</c:v>
                </c:pt>
                <c:pt idx="68">
                  <c:v>0.1790146244498083</c:v>
                </c:pt>
                <c:pt idx="69">
                  <c:v>0.17184334908845375</c:v>
                </c:pt>
                <c:pt idx="70">
                  <c:v>0.17183179516644523</c:v>
                </c:pt>
                <c:pt idx="71">
                  <c:v>0.1720010810393421</c:v>
                </c:pt>
                <c:pt idx="72">
                  <c:v>0.1703549517966696</c:v>
                </c:pt>
                <c:pt idx="73">
                  <c:v>0.17289084055492948</c:v>
                </c:pt>
                <c:pt idx="74">
                  <c:v>0.1736186858238989</c:v>
                </c:pt>
                <c:pt idx="75">
                  <c:v>0.18380130535722108</c:v>
                </c:pt>
                <c:pt idx="76">
                  <c:v>0.1867787900023359</c:v>
                </c:pt>
                <c:pt idx="77">
                  <c:v>0.17921302316620913</c:v>
                </c:pt>
                <c:pt idx="78">
                  <c:v>0.183714055361462</c:v>
                </c:pt>
                <c:pt idx="79">
                  <c:v>0.16925569427237205</c:v>
                </c:pt>
                <c:pt idx="80">
                  <c:v>0.1642047079005051</c:v>
                </c:pt>
                <c:pt idx="81">
                  <c:v>0.1722029753413491</c:v>
                </c:pt>
                <c:pt idx="82">
                  <c:v>0.17136125654450263</c:v>
                </c:pt>
                <c:pt idx="83">
                  <c:v>0.17091711623344777</c:v>
                </c:pt>
                <c:pt idx="84">
                  <c:v>0.1731971525843392</c:v>
                </c:pt>
                <c:pt idx="85">
                  <c:v>0.1781016320069865</c:v>
                </c:pt>
                <c:pt idx="86">
                  <c:v>0.18914164143687096</c:v>
                </c:pt>
                <c:pt idx="87">
                  <c:v>0.20626872551279096</c:v>
                </c:pt>
                <c:pt idx="88">
                  <c:v>0.19925086345283846</c:v>
                </c:pt>
                <c:pt idx="89">
                  <c:v>0.18920077137347333</c:v>
                </c:pt>
                <c:pt idx="90">
                  <c:v>0.17882288228822882</c:v>
                </c:pt>
                <c:pt idx="91">
                  <c:v>0.17116303770578864</c:v>
                </c:pt>
                <c:pt idx="92">
                  <c:v>0.18376905390445372</c:v>
                </c:pt>
                <c:pt idx="93">
                  <c:v>0.17386494017374202</c:v>
                </c:pt>
                <c:pt idx="94">
                  <c:v>0.17872005918801442</c:v>
                </c:pt>
                <c:pt idx="95">
                  <c:v>0.18349928876244664</c:v>
                </c:pt>
                <c:pt idx="96">
                  <c:v>0.1838017571962526</c:v>
                </c:pt>
                <c:pt idx="97">
                  <c:v>0.18564141638622558</c:v>
                </c:pt>
                <c:pt idx="98">
                  <c:v>0.19047008859925313</c:v>
                </c:pt>
                <c:pt idx="99">
                  <c:v>0.19314582541492462</c:v>
                </c:pt>
                <c:pt idx="100">
                  <c:v>0.19683051921857891</c:v>
                </c:pt>
                <c:pt idx="101">
                  <c:v>0.19314315106433488</c:v>
                </c:pt>
                <c:pt idx="102">
                  <c:v>0.17887716504081227</c:v>
                </c:pt>
                <c:pt idx="103">
                  <c:v>0.1841797332085186</c:v>
                </c:pt>
                <c:pt idx="104">
                  <c:v>0.1828788495455162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131054590285244</c:v>
                </c:pt>
                <c:pt idx="1">
                  <c:v>0.21239605276175677</c:v>
                </c:pt>
                <c:pt idx="2">
                  <c:v>0.21236983615935148</c:v>
                </c:pt>
                <c:pt idx="3">
                  <c:v>0.21258065697714074</c:v>
                </c:pt>
                <c:pt idx="4">
                  <c:v>0.20676350376513258</c:v>
                </c:pt>
                <c:pt idx="5">
                  <c:v>0.21069389626160673</c:v>
                </c:pt>
                <c:pt idx="6">
                  <c:v>0.195572408848594</c:v>
                </c:pt>
                <c:pt idx="7">
                  <c:v>0.18929083022366103</c:v>
                </c:pt>
                <c:pt idx="8">
                  <c:v>0.20146703084026696</c:v>
                </c:pt>
                <c:pt idx="9">
                  <c:v>0.19388227160383326</c:v>
                </c:pt>
                <c:pt idx="10">
                  <c:v>0.20207161439327978</c:v>
                </c:pt>
                <c:pt idx="11">
                  <c:v>0.19200720813379263</c:v>
                </c:pt>
                <c:pt idx="12">
                  <c:v>0.19728675768000375</c:v>
                </c:pt>
                <c:pt idx="13">
                  <c:v>0.19186634467360608</c:v>
                </c:pt>
                <c:pt idx="14">
                  <c:v>0.1927254168824293</c:v>
                </c:pt>
                <c:pt idx="15">
                  <c:v>0.18488077014703916</c:v>
                </c:pt>
                <c:pt idx="16">
                  <c:v>0.1856368382394618</c:v>
                </c:pt>
                <c:pt idx="17">
                  <c:v>0.17783827367415564</c:v>
                </c:pt>
                <c:pt idx="18">
                  <c:v>0.16377940089458887</c:v>
                </c:pt>
                <c:pt idx="19">
                  <c:v>0.19126120603055646</c:v>
                </c:pt>
                <c:pt idx="20">
                  <c:v>0.17643817810268037</c:v>
                </c:pt>
                <c:pt idx="21">
                  <c:v>0.1623185511994632</c:v>
                </c:pt>
                <c:pt idx="22">
                  <c:v>0.16901598966240033</c:v>
                </c:pt>
                <c:pt idx="23">
                  <c:v>0.15804598292658095</c:v>
                </c:pt>
                <c:pt idx="24">
                  <c:v>0.15646944466322601</c:v>
                </c:pt>
                <c:pt idx="25">
                  <c:v>0.15314851323165896</c:v>
                </c:pt>
                <c:pt idx="26">
                  <c:v>0.15820453931303746</c:v>
                </c:pt>
                <c:pt idx="27">
                  <c:v>0.15779787925440072</c:v>
                </c:pt>
                <c:pt idx="28">
                  <c:v>0.16773555954493405</c:v>
                </c:pt>
                <c:pt idx="29">
                  <c:v>0.15968913208964136</c:v>
                </c:pt>
                <c:pt idx="30">
                  <c:v>0.15408488647378477</c:v>
                </c:pt>
                <c:pt idx="31">
                  <c:v>0.15433057711542963</c:v>
                </c:pt>
                <c:pt idx="32">
                  <c:v>0.15218349678850293</c:v>
                </c:pt>
                <c:pt idx="33">
                  <c:v>0.16317504279945325</c:v>
                </c:pt>
                <c:pt idx="34">
                  <c:v>0.178502577388081</c:v>
                </c:pt>
                <c:pt idx="35">
                  <c:v>0.17144082311556647</c:v>
                </c:pt>
                <c:pt idx="36">
                  <c:v>0.15708787215363307</c:v>
                </c:pt>
                <c:pt idx="37">
                  <c:v>0.1559558381476834</c:v>
                </c:pt>
                <c:pt idx="38">
                  <c:v>0.15866514800528475</c:v>
                </c:pt>
                <c:pt idx="39">
                  <c:v>0.16683169469041567</c:v>
                </c:pt>
                <c:pt idx="40">
                  <c:v>0.16900850313002017</c:v>
                </c:pt>
                <c:pt idx="41">
                  <c:v>0.17491288791634543</c:v>
                </c:pt>
                <c:pt idx="42">
                  <c:v>0.17145253353783438</c:v>
                </c:pt>
                <c:pt idx="43">
                  <c:v>0.18049942938693664</c:v>
                </c:pt>
                <c:pt idx="44">
                  <c:v>0.17955748930177845</c:v>
                </c:pt>
                <c:pt idx="45">
                  <c:v>0.1852500057357664</c:v>
                </c:pt>
                <c:pt idx="46">
                  <c:v>0.17251849526075919</c:v>
                </c:pt>
                <c:pt idx="47">
                  <c:v>0.17133563705225377</c:v>
                </c:pt>
                <c:pt idx="48">
                  <c:v>0.17514024648627416</c:v>
                </c:pt>
                <c:pt idx="49">
                  <c:v>0.1953828126024457</c:v>
                </c:pt>
                <c:pt idx="50">
                  <c:v>0.2072188916307592</c:v>
                </c:pt>
                <c:pt idx="51">
                  <c:v>0.18146984052470808</c:v>
                </c:pt>
              </c:numCache>
            </c:numRef>
          </c:xVal>
          <c:yVal>
            <c:numRef>
              <c:f>Sheet1!$B$109:$B$160</c:f>
              <c:numCache>
                <c:formatCode>General</c:formatCode>
                <c:ptCount val="52"/>
                <c:pt idx="0">
                  <c:v>0.1895009881422925</c:v>
                </c:pt>
                <c:pt idx="1">
                  <c:v>0.18778197460917007</c:v>
                </c:pt>
                <c:pt idx="2">
                  <c:v>0.20062526444454892</c:v>
                </c:pt>
                <c:pt idx="3">
                  <c:v>0.2109382344646047</c:v>
                </c:pt>
                <c:pt idx="4">
                  <c:v>0.19643423331138266</c:v>
                </c:pt>
                <c:pt idx="5">
                  <c:v>0.19497255978047826</c:v>
                </c:pt>
                <c:pt idx="6">
                  <c:v>0.20213940648723258</c:v>
                </c:pt>
                <c:pt idx="7">
                  <c:v>0.19750794499858407</c:v>
                </c:pt>
                <c:pt idx="8">
                  <c:v>0.18985678180286436</c:v>
                </c:pt>
                <c:pt idx="9">
                  <c:v>0.19953445065176909</c:v>
                </c:pt>
                <c:pt idx="10">
                  <c:v>0.20161601758607373</c:v>
                </c:pt>
                <c:pt idx="11">
                  <c:v>0.20536135246177678</c:v>
                </c:pt>
                <c:pt idx="12">
                  <c:v>0.2045144675049235</c:v>
                </c:pt>
                <c:pt idx="13">
                  <c:v>0.20614427991779521</c:v>
                </c:pt>
                <c:pt idx="14">
                  <c:v>0.20374727668845316</c:v>
                </c:pt>
                <c:pt idx="15">
                  <c:v>0.20129224652087474</c:v>
                </c:pt>
                <c:pt idx="16">
                  <c:v>0.19142342342342342</c:v>
                </c:pt>
                <c:pt idx="17">
                  <c:v>0.19288650850526157</c:v>
                </c:pt>
                <c:pt idx="18">
                  <c:v>0.19724100127900604</c:v>
                </c:pt>
                <c:pt idx="19">
                  <c:v>0.19699765179469977</c:v>
                </c:pt>
                <c:pt idx="20">
                  <c:v>0.1840305244055651</c:v>
                </c:pt>
                <c:pt idx="21">
                  <c:v>0.19424171024653755</c:v>
                </c:pt>
                <c:pt idx="22">
                  <c:v>0.19073538583659352</c:v>
                </c:pt>
                <c:pt idx="23">
                  <c:v>0.19870296798317363</c:v>
                </c:pt>
                <c:pt idx="24">
                  <c:v>0.19888425499647944</c:v>
                </c:pt>
                <c:pt idx="25">
                  <c:v>0.19659187730758307</c:v>
                </c:pt>
                <c:pt idx="26">
                  <c:v>0.19053030303030302</c:v>
                </c:pt>
                <c:pt idx="27">
                  <c:v>0.19100848163945677</c:v>
                </c:pt>
                <c:pt idx="28">
                  <c:v>0.18142673236560572</c:v>
                </c:pt>
                <c:pt idx="29">
                  <c:v>0.18295873151460146</c:v>
                </c:pt>
                <c:pt idx="30">
                  <c:v>0.19096874652430207</c:v>
                </c:pt>
                <c:pt idx="31">
                  <c:v>0.1822752604797674</c:v>
                </c:pt>
                <c:pt idx="32">
                  <c:v>0.17781783480012725</c:v>
                </c:pt>
                <c:pt idx="33">
                  <c:v>0.1965108041091038</c:v>
                </c:pt>
                <c:pt idx="34">
                  <c:v>0.21435682653026195</c:v>
                </c:pt>
                <c:pt idx="35">
                  <c:v>0.21057403057650306</c:v>
                </c:pt>
                <c:pt idx="36">
                  <c:v>0.1951282884053264</c:v>
                </c:pt>
                <c:pt idx="37">
                  <c:v>0.19675832127351664</c:v>
                </c:pt>
                <c:pt idx="38">
                  <c:v>0.19594594594594594</c:v>
                </c:pt>
                <c:pt idx="39">
                  <c:v>0.20339545691658367</c:v>
                </c:pt>
                <c:pt idx="40">
                  <c:v>0.19003562011379932</c:v>
                </c:pt>
                <c:pt idx="41">
                  <c:v>0.1933872088981578</c:v>
                </c:pt>
                <c:pt idx="42">
                  <c:v>0.19131495486704075</c:v>
                </c:pt>
                <c:pt idx="43">
                  <c:v>0.18496799799764008</c:v>
                </c:pt>
                <c:pt idx="44">
                  <c:v>0.1825501390718782</c:v>
                </c:pt>
                <c:pt idx="45">
                  <c:v>0.1977002885653237</c:v>
                </c:pt>
                <c:pt idx="46">
                  <c:v>0.2098371043113235</c:v>
                </c:pt>
                <c:pt idx="47">
                  <c:v>0.21031106704672203</c:v>
                </c:pt>
                <c:pt idx="48">
                  <c:v>0.20441701986204605</c:v>
                </c:pt>
                <c:pt idx="49">
                  <c:v>0.21285381785419324</c:v>
                </c:pt>
                <c:pt idx="50">
                  <c:v>0.21914104646980764</c:v>
                </c:pt>
                <c:pt idx="51">
                  <c:v>0.210663171014741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8686550763685865</c:v>
                </c:pt>
              </c:numCache>
            </c:numRef>
          </c:xVal>
          <c:yVal>
            <c:numRef>
              <c:f>Sheet1!$B$163:$B$164</c:f>
              <c:numCache>
                <c:formatCode>General</c:formatCode>
                <c:ptCount val="2"/>
                <c:pt idx="0">
                  <c:v>0.2482791923123147</c:v>
                </c:pt>
                <c:pt idx="1">
                  <c:v>0.248279192312314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8686550763685865</c:v>
                </c:pt>
                <c:pt idx="1">
                  <c:v>0.48686550763685865</c:v>
                </c:pt>
              </c:numCache>
            </c:numRef>
          </c:xVal>
          <c:yVal>
            <c:numRef>
              <c:f>Sheet1!$B$167:$B$168</c:f>
              <c:numCache>
                <c:formatCode>General</c:formatCode>
                <c:ptCount val="2"/>
                <c:pt idx="0">
                  <c:v>0.24827919231231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673255243814279</c:v>
                </c:pt>
              </c:numCache>
            </c:numRef>
          </c:xVal>
          <c:yVal>
            <c:numRef>
              <c:f>Sheet1!$B$171:$B$172</c:f>
              <c:numCache>
                <c:formatCode>General</c:formatCode>
                <c:ptCount val="2"/>
                <c:pt idx="0">
                  <c:v>0.2117687638001972</c:v>
                </c:pt>
                <c:pt idx="1">
                  <c:v>0.211768763800197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673255243814279</c:v>
                </c:pt>
                <c:pt idx="1">
                  <c:v>0.2673255243814279</c:v>
                </c:pt>
              </c:numCache>
            </c:numRef>
          </c:xVal>
          <c:yVal>
            <c:numRef>
              <c:f>Sheet1!$B$175:$B$176</c:f>
              <c:numCache>
                <c:formatCode>General</c:formatCode>
                <c:ptCount val="2"/>
                <c:pt idx="0">
                  <c:v>0.211768763800197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014504092354706</c:v>
                </c:pt>
              </c:numCache>
            </c:numRef>
          </c:xVal>
          <c:yVal>
            <c:numRef>
              <c:f>Sheet1!$B$179:$B$180</c:f>
              <c:numCache>
                <c:formatCode>General</c:formatCode>
                <c:ptCount val="2"/>
                <c:pt idx="0">
                  <c:v>0.20081345330686598</c:v>
                </c:pt>
                <c:pt idx="1">
                  <c:v>0.2008134533068659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014504092354706</c:v>
                </c:pt>
                <c:pt idx="1">
                  <c:v>0.2014504092354706</c:v>
                </c:pt>
              </c:numCache>
            </c:numRef>
          </c:xVal>
          <c:yVal>
            <c:numRef>
              <c:f>Sheet1!$B$183:$B$184</c:f>
              <c:numCache>
                <c:formatCode>General</c:formatCode>
                <c:ptCount val="2"/>
                <c:pt idx="0">
                  <c:v>0.2008134533068659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131054590285244</c:v>
                </c:pt>
                <c:pt idx="1">
                  <c:v>0.21239605276175677</c:v>
                </c:pt>
                <c:pt idx="2">
                  <c:v>0.21236983615935148</c:v>
                </c:pt>
                <c:pt idx="3">
                  <c:v>0.21258065697714074</c:v>
                </c:pt>
                <c:pt idx="4">
                  <c:v>0.20676350376513258</c:v>
                </c:pt>
                <c:pt idx="5">
                  <c:v>0.21069389626160673</c:v>
                </c:pt>
                <c:pt idx="6">
                  <c:v>0.195572408848594</c:v>
                </c:pt>
                <c:pt idx="7">
                  <c:v>0.18929083022366103</c:v>
                </c:pt>
                <c:pt idx="8">
                  <c:v>0.20146703084026696</c:v>
                </c:pt>
                <c:pt idx="9">
                  <c:v>0.19388227160383326</c:v>
                </c:pt>
                <c:pt idx="10">
                  <c:v>0.20207161439327978</c:v>
                </c:pt>
                <c:pt idx="11">
                  <c:v>0.19200720813379263</c:v>
                </c:pt>
                <c:pt idx="12">
                  <c:v>0.19728675768000375</c:v>
                </c:pt>
                <c:pt idx="13">
                  <c:v>0.19186634467360608</c:v>
                </c:pt>
                <c:pt idx="14">
                  <c:v>0.1927254168824293</c:v>
                </c:pt>
                <c:pt idx="15">
                  <c:v>0.18488077014703916</c:v>
                </c:pt>
                <c:pt idx="16">
                  <c:v>0.1856368382394618</c:v>
                </c:pt>
                <c:pt idx="17">
                  <c:v>0.17783827367415564</c:v>
                </c:pt>
                <c:pt idx="18">
                  <c:v>0.16377940089458887</c:v>
                </c:pt>
                <c:pt idx="19">
                  <c:v>0.19126120603055646</c:v>
                </c:pt>
                <c:pt idx="20">
                  <c:v>0.17643817810268037</c:v>
                </c:pt>
                <c:pt idx="21">
                  <c:v>0.1623185511994632</c:v>
                </c:pt>
                <c:pt idx="22">
                  <c:v>0.16901598966240033</c:v>
                </c:pt>
                <c:pt idx="23">
                  <c:v>0.15804598292658095</c:v>
                </c:pt>
                <c:pt idx="24">
                  <c:v>0.15646944466322601</c:v>
                </c:pt>
                <c:pt idx="25">
                  <c:v>0.15314851323165896</c:v>
                </c:pt>
                <c:pt idx="26">
                  <c:v>0.15820453931303746</c:v>
                </c:pt>
                <c:pt idx="27">
                  <c:v>0.15779787925440072</c:v>
                </c:pt>
                <c:pt idx="28">
                  <c:v>0.16773555954493405</c:v>
                </c:pt>
                <c:pt idx="29">
                  <c:v>0.15968913208964136</c:v>
                </c:pt>
                <c:pt idx="30">
                  <c:v>0.15408488647378477</c:v>
                </c:pt>
                <c:pt idx="31">
                  <c:v>0.15433057711542963</c:v>
                </c:pt>
                <c:pt idx="32">
                  <c:v>0.15218349678850293</c:v>
                </c:pt>
                <c:pt idx="33">
                  <c:v>0.16317504279945325</c:v>
                </c:pt>
                <c:pt idx="34">
                  <c:v>0.178502577388081</c:v>
                </c:pt>
                <c:pt idx="35">
                  <c:v>0.17144082311556647</c:v>
                </c:pt>
                <c:pt idx="36">
                  <c:v>0.15708787215363307</c:v>
                </c:pt>
                <c:pt idx="37">
                  <c:v>0.1559558381476834</c:v>
                </c:pt>
                <c:pt idx="38">
                  <c:v>0.15866514800528475</c:v>
                </c:pt>
                <c:pt idx="39">
                  <c:v>0.16683169469041567</c:v>
                </c:pt>
                <c:pt idx="40">
                  <c:v>0.16900850313002017</c:v>
                </c:pt>
                <c:pt idx="41">
                  <c:v>0.17491288791634543</c:v>
                </c:pt>
                <c:pt idx="42">
                  <c:v>0.17145253353783438</c:v>
                </c:pt>
                <c:pt idx="43">
                  <c:v>0.18049942938693664</c:v>
                </c:pt>
                <c:pt idx="44">
                  <c:v>0.17955748930177845</c:v>
                </c:pt>
                <c:pt idx="45">
                  <c:v>0.1852500057357664</c:v>
                </c:pt>
                <c:pt idx="46">
                  <c:v>0.17251849526075919</c:v>
                </c:pt>
                <c:pt idx="47">
                  <c:v>0.17133563705225377</c:v>
                </c:pt>
                <c:pt idx="48">
                  <c:v>0.17514024648627416</c:v>
                </c:pt>
                <c:pt idx="49">
                  <c:v>0.1953828126024457</c:v>
                </c:pt>
                <c:pt idx="50">
                  <c:v>0.2072188916307592</c:v>
                </c:pt>
                <c:pt idx="51">
                  <c:v>0.18146984052470808</c:v>
                </c:pt>
                <c:pt idx="52">
                  <c:v>0.2673255243814279</c:v>
                </c:pt>
                <c:pt idx="53">
                  <c:v>0.48686550763685865</c:v>
                </c:pt>
                <c:pt idx="54">
                  <c:v>0.2014504092354706</c:v>
                </c:pt>
              </c:numCache>
            </c:numRef>
          </c:xVal>
          <c:yVal>
            <c:numRef>
              <c:f>Sheet1!$B$187:$B$241</c:f>
              <c:numCache>
                <c:formatCode>General</c:formatCode>
                <c:ptCount val="55"/>
                <c:pt idx="0">
                  <c:v>0.20275173742242666</c:v>
                </c:pt>
                <c:pt idx="1">
                  <c:v>0.2026337601573982</c:v>
                </c:pt>
                <c:pt idx="2">
                  <c:v>0.20262940022544523</c:v>
                </c:pt>
                <c:pt idx="3">
                  <c:v>0.20266446061983276</c:v>
                </c:pt>
                <c:pt idx="4">
                  <c:v>0.20169704341709047</c:v>
                </c:pt>
                <c:pt idx="5">
                  <c:v>0.20235068432631892</c:v>
                </c:pt>
                <c:pt idx="6">
                  <c:v>0.19983591696138142</c:v>
                </c:pt>
                <c:pt idx="7">
                  <c:v>0.19879126384659082</c:v>
                </c:pt>
                <c:pt idx="8">
                  <c:v>0.20081621755010165</c:v>
                </c:pt>
                <c:pt idx="9">
                  <c:v>0.19955483998335</c:v>
                </c:pt>
                <c:pt idx="10">
                  <c:v>0.20091676235412578</c:v>
                </c:pt>
                <c:pt idx="11">
                  <c:v>0.1992430089912753</c:v>
                </c:pt>
                <c:pt idx="12">
                  <c:v>0.20012102042875846</c:v>
                </c:pt>
                <c:pt idx="13">
                  <c:v>0.19921958280158153</c:v>
                </c:pt>
                <c:pt idx="14">
                  <c:v>0.19936245014629883</c:v>
                </c:pt>
                <c:pt idx="15">
                  <c:v>0.1980578521883859</c:v>
                </c:pt>
                <c:pt idx="16">
                  <c:v>0.1981835895125369</c:v>
                </c:pt>
                <c:pt idx="17">
                  <c:v>0.19688665521457135</c:v>
                </c:pt>
                <c:pt idx="18">
                  <c:v>0.19454860516114617</c:v>
                </c:pt>
                <c:pt idx="19">
                  <c:v>0.19911894568373462</c:v>
                </c:pt>
                <c:pt idx="20">
                  <c:v>0.19665381339453258</c:v>
                </c:pt>
                <c:pt idx="21">
                  <c:v>0.19430565967317653</c:v>
                </c:pt>
                <c:pt idx="22">
                  <c:v>0.1954194720393316</c:v>
                </c:pt>
                <c:pt idx="23">
                  <c:v>0.1935951134839263</c:v>
                </c:pt>
                <c:pt idx="24">
                  <c:v>0.19333292849735886</c:v>
                </c:pt>
                <c:pt idx="25">
                  <c:v>0.19278064354302868</c:v>
                </c:pt>
                <c:pt idx="26">
                  <c:v>0.19362148208215163</c:v>
                </c:pt>
                <c:pt idx="27">
                  <c:v>0.19355385279303797</c:v>
                </c:pt>
                <c:pt idx="28">
                  <c:v>0.19520653109082964</c:v>
                </c:pt>
                <c:pt idx="29">
                  <c:v>0.19386837614507382</c:v>
                </c:pt>
                <c:pt idx="30">
                  <c:v>0.19293636637679387</c:v>
                </c:pt>
                <c:pt idx="31">
                  <c:v>0.19297722577048998</c:v>
                </c:pt>
                <c:pt idx="32">
                  <c:v>0.1926201572236876</c:v>
                </c:pt>
                <c:pt idx="33">
                  <c:v>0.19444809785172137</c:v>
                </c:pt>
                <c:pt idx="34">
                  <c:v>0.19699713173414632</c:v>
                </c:pt>
                <c:pt idx="35">
                  <c:v>0.19582273210673629</c:v>
                </c:pt>
                <c:pt idx="36">
                  <c:v>0.19343577560677203</c:v>
                </c:pt>
                <c:pt idx="37">
                  <c:v>0.19324751355976522</c:v>
                </c:pt>
                <c:pt idx="38">
                  <c:v>0.19369808325739535</c:v>
                </c:pt>
                <c:pt idx="39">
                  <c:v>0.1950562145395292</c:v>
                </c:pt>
                <c:pt idx="40">
                  <c:v>0.19541822699730682</c:v>
                </c:pt>
                <c:pt idx="41">
                  <c:v>0.19640015118010296</c:v>
                </c:pt>
                <c:pt idx="42">
                  <c:v>0.19582467959952882</c:v>
                </c:pt>
                <c:pt idx="43">
                  <c:v>0.19732921667408493</c:v>
                </c:pt>
                <c:pt idx="44">
                  <c:v>0.19717256805075942</c:v>
                </c:pt>
                <c:pt idx="45">
                  <c:v>0.19811925762973856</c:v>
                </c:pt>
                <c:pt idx="46">
                  <c:v>0.19600195354618946</c:v>
                </c:pt>
                <c:pt idx="47">
                  <c:v>0.19580523921916246</c:v>
                </c:pt>
                <c:pt idx="48">
                  <c:v>0.19643796187267434</c:v>
                </c:pt>
                <c:pt idx="49">
                  <c:v>0.19980438630309988</c:v>
                </c:pt>
                <c:pt idx="50">
                  <c:v>0.2017727763467678</c:v>
                </c:pt>
                <c:pt idx="51">
                  <c:v>0.19749060015397588</c:v>
                </c:pt>
                <c:pt idx="52">
                  <c:v>0.2117687638001972</c:v>
                </c:pt>
                <c:pt idx="53">
                  <c:v>0.2482791923123147</c:v>
                </c:pt>
                <c:pt idx="54">
                  <c:v>0.2008134533068659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641155439130587"/>
          <c:min val="0.1313637663204040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75.9792</c:v>
                </c:pt>
                <c:pt idx="1">
                  <c:v>934.7499</c:v>
                </c:pt>
                <c:pt idx="2">
                  <c:v>964.879</c:v>
                </c:pt>
                <c:pt idx="3">
                  <c:v>980.9126</c:v>
                </c:pt>
                <c:pt idx="4">
                  <c:v>983.7031</c:v>
                </c:pt>
                <c:pt idx="5">
                  <c:v>976.3449</c:v>
                </c:pt>
                <c:pt idx="6">
                  <c:v>944.25</c:v>
                </c:pt>
                <c:pt idx="7">
                  <c:v>952.4314</c:v>
                </c:pt>
                <c:pt idx="8">
                  <c:v>962.1132</c:v>
                </c:pt>
                <c:pt idx="9">
                  <c:v>917.8373</c:v>
                </c:pt>
                <c:pt idx="10">
                  <c:v>919.7967</c:v>
                </c:pt>
                <c:pt idx="11">
                  <c:v>987.1161</c:v>
                </c:pt>
                <c:pt idx="12">
                  <c:v>978.4789</c:v>
                </c:pt>
                <c:pt idx="13">
                  <c:v>998.4048</c:v>
                </c:pt>
                <c:pt idx="14">
                  <c:v>1028.9665</c:v>
                </c:pt>
                <c:pt idx="15">
                  <c:v>1057.5153</c:v>
                </c:pt>
                <c:pt idx="16">
                  <c:v>1070.6741</c:v>
                </c:pt>
                <c:pt idx="17">
                  <c:v>1067.9958</c:v>
                </c:pt>
                <c:pt idx="18">
                  <c:v>1146.2201</c:v>
                </c:pt>
                <c:pt idx="19">
                  <c:v>1113.0711</c:v>
                </c:pt>
                <c:pt idx="20">
                  <c:v>1146.5378</c:v>
                </c:pt>
                <c:pt idx="21">
                  <c:v>1138.545</c:v>
                </c:pt>
                <c:pt idx="22">
                  <c:v>1081.0885</c:v>
                </c:pt>
                <c:pt idx="23">
                  <c:v>1089.0582</c:v>
                </c:pt>
                <c:pt idx="24">
                  <c:v>1097.6714</c:v>
                </c:pt>
                <c:pt idx="25">
                  <c:v>1077.6452</c:v>
                </c:pt>
                <c:pt idx="26">
                  <c:v>1069.1771</c:v>
                </c:pt>
                <c:pt idx="27">
                  <c:v>1061.5706</c:v>
                </c:pt>
                <c:pt idx="28">
                  <c:v>1091.3736</c:v>
                </c:pt>
                <c:pt idx="29">
                  <c:v>1075.3793</c:v>
                </c:pt>
                <c:pt idx="30">
                  <c:v>1077.4378</c:v>
                </c:pt>
                <c:pt idx="31">
                  <c:v>1040.8676</c:v>
                </c:pt>
                <c:pt idx="32">
                  <c:v>1030.5073</c:v>
                </c:pt>
                <c:pt idx="33">
                  <c:v>985.54</c:v>
                </c:pt>
                <c:pt idx="34">
                  <c:v>1014.8445</c:v>
                </c:pt>
                <c:pt idx="35">
                  <c:v>1059.1264</c:v>
                </c:pt>
                <c:pt idx="36">
                  <c:v>1114.2331</c:v>
                </c:pt>
                <c:pt idx="37">
                  <c:v>1081.9429</c:v>
                </c:pt>
                <c:pt idx="38">
                  <c:v>1110.1427</c:v>
                </c:pt>
                <c:pt idx="39">
                  <c:v>1194.2345</c:v>
                </c:pt>
                <c:pt idx="40">
                  <c:v>1187.2494</c:v>
                </c:pt>
                <c:pt idx="41">
                  <c:v>1226.4029</c:v>
                </c:pt>
                <c:pt idx="42">
                  <c:v>1247.2173</c:v>
                </c:pt>
                <c:pt idx="43">
                  <c:v>1210.0798</c:v>
                </c:pt>
                <c:pt idx="44">
                  <c:v>1193.572</c:v>
                </c:pt>
                <c:pt idx="45">
                  <c:v>1164.0138</c:v>
                </c:pt>
                <c:pt idx="46">
                  <c:v>1142.3637</c:v>
                </c:pt>
                <c:pt idx="47">
                  <c:v>1133.5818</c:v>
                </c:pt>
                <c:pt idx="48">
                  <c:v>1135.7449</c:v>
                </c:pt>
                <c:pt idx="49">
                  <c:v>1088.3049</c:v>
                </c:pt>
                <c:pt idx="50">
                  <c:v>1098.4956</c:v>
                </c:pt>
                <c:pt idx="51">
                  <c:v>1076.4179</c:v>
                </c:pt>
                <c:pt idx="52">
                  <c:v>1109.1442</c:v>
                </c:pt>
                <c:pt idx="53">
                  <c:v>1212.4404</c:v>
                </c:pt>
                <c:pt idx="54">
                  <c:v>1182.8002</c:v>
                </c:pt>
                <c:pt idx="55">
                  <c:v>1225.5855</c:v>
                </c:pt>
                <c:pt idx="56">
                  <c:v>1223.353</c:v>
                </c:pt>
                <c:pt idx="57">
                  <c:v>1181.7473</c:v>
                </c:pt>
                <c:pt idx="58">
                  <c:v>1191.3187</c:v>
                </c:pt>
                <c:pt idx="59">
                  <c:v>1153.9399</c:v>
                </c:pt>
                <c:pt idx="60">
                  <c:v>1175.0176</c:v>
                </c:pt>
                <c:pt idx="61">
                  <c:v>1208.3056</c:v>
                </c:pt>
                <c:pt idx="62">
                  <c:v>1145.9299</c:v>
                </c:pt>
                <c:pt idx="63">
                  <c:v>1156.0792</c:v>
                </c:pt>
                <c:pt idx="64">
                  <c:v>1163.4905</c:v>
                </c:pt>
                <c:pt idx="65">
                  <c:v>1162.1219</c:v>
                </c:pt>
                <c:pt idx="66">
                  <c:v>1215.5272</c:v>
                </c:pt>
                <c:pt idx="67">
                  <c:v>1228.5274</c:v>
                </c:pt>
                <c:pt idx="68">
                  <c:v>1246.9315</c:v>
                </c:pt>
                <c:pt idx="69">
                  <c:v>1279.6627</c:v>
                </c:pt>
                <c:pt idx="70">
                  <c:v>1270.3012</c:v>
                </c:pt>
                <c:pt idx="71">
                  <c:v>1314.9887</c:v>
                </c:pt>
                <c:pt idx="72">
                  <c:v>1368.9381</c:v>
                </c:pt>
                <c:pt idx="73">
                  <c:v>1346.6397</c:v>
                </c:pt>
                <c:pt idx="74">
                  <c:v>1341.4262</c:v>
                </c:pt>
                <c:pt idx="75">
                  <c:v>1299.3929</c:v>
                </c:pt>
                <c:pt idx="76">
                  <c:v>1282.1505</c:v>
                </c:pt>
                <c:pt idx="77">
                  <c:v>1266.1288</c:v>
                </c:pt>
                <c:pt idx="78">
                  <c:v>1344.2776</c:v>
                </c:pt>
                <c:pt idx="79">
                  <c:v>1313.9324</c:v>
                </c:pt>
                <c:pt idx="80">
                  <c:v>1340.1054</c:v>
                </c:pt>
                <c:pt idx="81">
                  <c:v>1300.5924</c:v>
                </c:pt>
                <c:pt idx="82">
                  <c:v>1337.4743</c:v>
                </c:pt>
                <c:pt idx="83">
                  <c:v>1277.548</c:v>
                </c:pt>
                <c:pt idx="84">
                  <c:v>1309.5135</c:v>
                </c:pt>
                <c:pt idx="85">
                  <c:v>1288.3861</c:v>
                </c:pt>
                <c:pt idx="86">
                  <c:v>1314.3665</c:v>
                </c:pt>
                <c:pt idx="87">
                  <c:v>1284.2899</c:v>
                </c:pt>
                <c:pt idx="88">
                  <c:v>1359.9096</c:v>
                </c:pt>
                <c:pt idx="89">
                  <c:v>1354.3124</c:v>
                </c:pt>
                <c:pt idx="90">
                  <c:v>1391.1547</c:v>
                </c:pt>
                <c:pt idx="91">
                  <c:v>1376.8302</c:v>
                </c:pt>
                <c:pt idx="92">
                  <c:v>1308.974</c:v>
                </c:pt>
                <c:pt idx="93">
                  <c:v>1336.9731</c:v>
                </c:pt>
                <c:pt idx="94">
                  <c:v>1307.9982</c:v>
                </c:pt>
                <c:pt idx="95">
                  <c:v>1272.2445</c:v>
                </c:pt>
                <c:pt idx="96">
                  <c:v>1260.689</c:v>
                </c:pt>
                <c:pt idx="97">
                  <c:v>1248.0474</c:v>
                </c:pt>
                <c:pt idx="98">
                  <c:v>1223.3644</c:v>
                </c:pt>
                <c:pt idx="99">
                  <c:v>1193.9065</c:v>
                </c:pt>
                <c:pt idx="100">
                  <c:v>1147.4908</c:v>
                </c:pt>
                <c:pt idx="101">
                  <c:v>1207.7053</c:v>
                </c:pt>
                <c:pt idx="102">
                  <c:v>1199.2606</c:v>
                </c:pt>
                <c:pt idx="103">
                  <c:v>1201.9109</c:v>
                </c:pt>
                <c:pt idx="104">
                  <c:v>1245.5394</c:v>
                </c:pt>
              </c:numCache>
            </c:numRef>
          </c:xVal>
          <c:yVal>
            <c:numRef>
              <c:f>Sheet1!$B$2:$B$106</c:f>
              <c:numCache>
                <c:formatCode>General</c:formatCode>
                <c:ptCount val="105"/>
                <c:pt idx="0">
                  <c:v>0.34535674735010286</c:v>
                </c:pt>
                <c:pt idx="1">
                  <c:v>0.36048252179272694</c:v>
                </c:pt>
                <c:pt idx="2">
                  <c:v>0.3888019154618289</c:v>
                </c:pt>
                <c:pt idx="3">
                  <c:v>0.40172064777327937</c:v>
                </c:pt>
                <c:pt idx="4">
                  <c:v>0.4191168123510047</c:v>
                </c:pt>
                <c:pt idx="5">
                  <c:v>0.38954560242923764</c:v>
                </c:pt>
                <c:pt idx="6">
                  <c:v>0.4241974785464562</c:v>
                </c:pt>
                <c:pt idx="7">
                  <c:v>0.4307825656265478</c:v>
                </c:pt>
                <c:pt idx="8">
                  <c:v>0.4045270612038442</c:v>
                </c:pt>
                <c:pt idx="9">
                  <c:v>0.398595343467385</c:v>
                </c:pt>
                <c:pt idx="10">
                  <c:v>0.38155907889769725</c:v>
                </c:pt>
                <c:pt idx="11">
                  <c:v>0.3429134967596506</c:v>
                </c:pt>
                <c:pt idx="12">
                  <c:v>0.3283718609679029</c:v>
                </c:pt>
                <c:pt idx="13">
                  <c:v>0.32891598197720645</c:v>
                </c:pt>
                <c:pt idx="14">
                  <c:v>0.30250990752972257</c:v>
                </c:pt>
                <c:pt idx="15">
                  <c:v>0.29776192020759</c:v>
                </c:pt>
                <c:pt idx="16">
                  <c:v>0.29018190879641165</c:v>
                </c:pt>
                <c:pt idx="17">
                  <c:v>0.2924260834345889</c:v>
                </c:pt>
                <c:pt idx="18">
                  <c:v>0.269364527347455</c:v>
                </c:pt>
                <c:pt idx="19">
                  <c:v>0.279264518478063</c:v>
                </c:pt>
                <c:pt idx="20">
                  <c:v>0.2820202631181007</c:v>
                </c:pt>
                <c:pt idx="21">
                  <c:v>0.3059532780708365</c:v>
                </c:pt>
                <c:pt idx="22">
                  <c:v>0.3503233168505135</c:v>
                </c:pt>
                <c:pt idx="23">
                  <c:v>0.3644256006460731</c:v>
                </c:pt>
                <c:pt idx="24">
                  <c:v>0.37865524306202275</c:v>
                </c:pt>
                <c:pt idx="25">
                  <c:v>0.3801546391752577</c:v>
                </c:pt>
                <c:pt idx="26">
                  <c:v>0.39286944540130897</c:v>
                </c:pt>
                <c:pt idx="27">
                  <c:v>0.41323792486583183</c:v>
                </c:pt>
                <c:pt idx="28">
                  <c:v>0.3720294067361942</c:v>
                </c:pt>
                <c:pt idx="29">
                  <c:v>0.3772208121827411</c:v>
                </c:pt>
                <c:pt idx="30">
                  <c:v>0.36666666666666664</c:v>
                </c:pt>
                <c:pt idx="31">
                  <c:v>0.3788927335640138</c:v>
                </c:pt>
                <c:pt idx="32">
                  <c:v>0.395821242019733</c:v>
                </c:pt>
                <c:pt idx="33">
                  <c:v>0.4005830009205278</c:v>
                </c:pt>
                <c:pt idx="34">
                  <c:v>0.39319313779745435</c:v>
                </c:pt>
                <c:pt idx="35">
                  <c:v>0.39588634435962683</c:v>
                </c:pt>
                <c:pt idx="36">
                  <c:v>0.33078982597054885</c:v>
                </c:pt>
                <c:pt idx="37">
                  <c:v>0.3654183266932271</c:v>
                </c:pt>
                <c:pt idx="38">
                  <c:v>0.35771276595744683</c:v>
                </c:pt>
                <c:pt idx="39">
                  <c:v>0.32903687790905833</c:v>
                </c:pt>
                <c:pt idx="40">
                  <c:v>0.3412196914033799</c:v>
                </c:pt>
                <c:pt idx="41">
                  <c:v>0.31542569902607603</c:v>
                </c:pt>
                <c:pt idx="42">
                  <c:v>0.3173860751035681</c:v>
                </c:pt>
                <c:pt idx="43">
                  <c:v>0.3248499399759904</c:v>
                </c:pt>
                <c:pt idx="44">
                  <c:v>0.31010425020048116</c:v>
                </c:pt>
                <c:pt idx="45">
                  <c:v>0.31930729550479</c:v>
                </c:pt>
                <c:pt idx="46">
                  <c:v>0.3429047929809296</c:v>
                </c:pt>
                <c:pt idx="47">
                  <c:v>0.321825714078058</c:v>
                </c:pt>
                <c:pt idx="48">
                  <c:v>0.31490823226360415</c:v>
                </c:pt>
                <c:pt idx="49">
                  <c:v>0.3321206008429091</c:v>
                </c:pt>
                <c:pt idx="50">
                  <c:v>0.31934650562033096</c:v>
                </c:pt>
                <c:pt idx="51">
                  <c:v>0.33135785253616873</c:v>
                </c:pt>
                <c:pt idx="52">
                  <c:v>0.3366093366093366</c:v>
                </c:pt>
                <c:pt idx="53">
                  <c:v>0.33346205831241554</c:v>
                </c:pt>
                <c:pt idx="54">
                  <c:v>0.3545645330535152</c:v>
                </c:pt>
                <c:pt idx="55">
                  <c:v>0.3509471585244267</c:v>
                </c:pt>
                <c:pt idx="56">
                  <c:v>0.3369379624359704</c:v>
                </c:pt>
                <c:pt idx="57">
                  <c:v>0.3409251948577791</c:v>
                </c:pt>
                <c:pt idx="58">
                  <c:v>0.34684602799491</c:v>
                </c:pt>
                <c:pt idx="59">
                  <c:v>0.34563445867287546</c:v>
                </c:pt>
                <c:pt idx="60">
                  <c:v>0.3501058662348985</c:v>
                </c:pt>
                <c:pt idx="61">
                  <c:v>0.3508646817614548</c:v>
                </c:pt>
                <c:pt idx="62">
                  <c:v>0.3595632203830488</c:v>
                </c:pt>
                <c:pt idx="63">
                  <c:v>0.36726824001234</c:v>
                </c:pt>
                <c:pt idx="64">
                  <c:v>0.3451998832798366</c:v>
                </c:pt>
                <c:pt idx="65">
                  <c:v>0.32117074701820464</c:v>
                </c:pt>
                <c:pt idx="66">
                  <c:v>0.3177641008346682</c:v>
                </c:pt>
                <c:pt idx="67">
                  <c:v>0.3051209103840683</c:v>
                </c:pt>
                <c:pt idx="68">
                  <c:v>0.3030070237050044</c:v>
                </c:pt>
                <c:pt idx="69">
                  <c:v>0.28987898789878985</c:v>
                </c:pt>
                <c:pt idx="70">
                  <c:v>0.2927390950961799</c:v>
                </c:pt>
                <c:pt idx="71">
                  <c:v>0.29948567229977957</c:v>
                </c:pt>
                <c:pt idx="72">
                  <c:v>0.289910252923579</c:v>
                </c:pt>
                <c:pt idx="73">
                  <c:v>0.30032611918173735</c:v>
                </c:pt>
                <c:pt idx="74">
                  <c:v>0.30510407755916735</c:v>
                </c:pt>
                <c:pt idx="75">
                  <c:v>0.31750205423171735</c:v>
                </c:pt>
                <c:pt idx="76">
                  <c:v>0.3006802721088435</c:v>
                </c:pt>
                <c:pt idx="77">
                  <c:v>0.31494501532359837</c:v>
                </c:pt>
                <c:pt idx="78">
                  <c:v>0.2981418918918919</c:v>
                </c:pt>
                <c:pt idx="79">
                  <c:v>0.30162325405813517</c:v>
                </c:pt>
                <c:pt idx="80">
                  <c:v>0.27624521072796937</c:v>
                </c:pt>
                <c:pt idx="81">
                  <c:v>0.28343707302262033</c:v>
                </c:pt>
                <c:pt idx="82">
                  <c:v>0.28123195380173244</c:v>
                </c:pt>
                <c:pt idx="83">
                  <c:v>0.2687937062937063</c:v>
                </c:pt>
                <c:pt idx="84">
                  <c:v>0.28508261577845007</c:v>
                </c:pt>
                <c:pt idx="85">
                  <c:v>0.3043753963221306</c:v>
                </c:pt>
                <c:pt idx="86">
                  <c:v>0.29567749846719804</c:v>
                </c:pt>
                <c:pt idx="87">
                  <c:v>0.3214524095581364</c:v>
                </c:pt>
                <c:pt idx="88">
                  <c:v>0.30559416261292566</c:v>
                </c:pt>
                <c:pt idx="89">
                  <c:v>0.3028</c:v>
                </c:pt>
                <c:pt idx="90">
                  <c:v>0.2973137973137973</c:v>
                </c:pt>
                <c:pt idx="91">
                  <c:v>0.25865277260885744</c:v>
                </c:pt>
                <c:pt idx="92">
                  <c:v>0.2939825447864033</c:v>
                </c:pt>
                <c:pt idx="93">
                  <c:v>0.27591729761211414</c:v>
                </c:pt>
                <c:pt idx="94">
                  <c:v>0.2721529240239754</c:v>
                </c:pt>
                <c:pt idx="95">
                  <c:v>0.27486881768449256</c:v>
                </c:pt>
                <c:pt idx="96">
                  <c:v>0.2910351913691241</c:v>
                </c:pt>
                <c:pt idx="97">
                  <c:v>0.288008800880088</c:v>
                </c:pt>
                <c:pt idx="98">
                  <c:v>0.2953028747433265</c:v>
                </c:pt>
                <c:pt idx="99">
                  <c:v>0.3003270553738581</c:v>
                </c:pt>
                <c:pt idx="100">
                  <c:v>0.2988939948594127</c:v>
                </c:pt>
                <c:pt idx="101">
                  <c:v>0.29854680153868074</c:v>
                </c:pt>
                <c:pt idx="102">
                  <c:v>0.2902367650971003</c:v>
                </c:pt>
                <c:pt idx="103">
                  <c:v>0.270535643011096</c:v>
                </c:pt>
                <c:pt idx="104">
                  <c:v>0.2779099647853811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92.4693</c:v>
                </c:pt>
                <c:pt idx="1">
                  <c:v>1310.0741</c:v>
                </c:pt>
                <c:pt idx="2">
                  <c:v>1297.5019</c:v>
                </c:pt>
                <c:pt idx="3">
                  <c:v>1286.6841</c:v>
                </c:pt>
                <c:pt idx="4">
                  <c:v>1287.4985</c:v>
                </c:pt>
                <c:pt idx="5">
                  <c:v>1275.8813</c:v>
                </c:pt>
                <c:pt idx="6">
                  <c:v>1190.8298</c:v>
                </c:pt>
                <c:pt idx="7">
                  <c:v>1239.1474</c:v>
                </c:pt>
                <c:pt idx="8">
                  <c:v>1300.4889</c:v>
                </c:pt>
                <c:pt idx="9">
                  <c:v>1220.1443</c:v>
                </c:pt>
                <c:pt idx="10">
                  <c:v>1264.5403</c:v>
                </c:pt>
                <c:pt idx="11">
                  <c:v>1149.5689</c:v>
                </c:pt>
                <c:pt idx="12">
                  <c:v>1200.5666</c:v>
                </c:pt>
                <c:pt idx="13">
                  <c:v>1233.9006</c:v>
                </c:pt>
                <c:pt idx="14">
                  <c:v>1230.0682</c:v>
                </c:pt>
                <c:pt idx="15">
                  <c:v>1240.4114</c:v>
                </c:pt>
                <c:pt idx="16">
                  <c:v>1296.304</c:v>
                </c:pt>
                <c:pt idx="17">
                  <c:v>1283.6395</c:v>
                </c:pt>
                <c:pt idx="18">
                  <c:v>1222.2853</c:v>
                </c:pt>
                <c:pt idx="19">
                  <c:v>1329.5908</c:v>
                </c:pt>
                <c:pt idx="20">
                  <c:v>1295.8862</c:v>
                </c:pt>
                <c:pt idx="21">
                  <c:v>1207.1563</c:v>
                </c:pt>
                <c:pt idx="22">
                  <c:v>1276.0466</c:v>
                </c:pt>
                <c:pt idx="23">
                  <c:v>1303.4906</c:v>
                </c:pt>
                <c:pt idx="24">
                  <c:v>1321.2338</c:v>
                </c:pt>
                <c:pt idx="25">
                  <c:v>1293.9305</c:v>
                </c:pt>
                <c:pt idx="26">
                  <c:v>1318.2374</c:v>
                </c:pt>
                <c:pt idx="27">
                  <c:v>1309.4034</c:v>
                </c:pt>
                <c:pt idx="28">
                  <c:v>1329.3464</c:v>
                </c:pt>
                <c:pt idx="29">
                  <c:v>1327.302</c:v>
                </c:pt>
                <c:pt idx="30">
                  <c:v>1315.9483</c:v>
                </c:pt>
                <c:pt idx="31">
                  <c:v>1298.2228</c:v>
                </c:pt>
                <c:pt idx="32">
                  <c:v>1325.6982</c:v>
                </c:pt>
                <c:pt idx="33">
                  <c:v>1335.1185</c:v>
                </c:pt>
                <c:pt idx="34">
                  <c:v>1349.4658</c:v>
                </c:pt>
                <c:pt idx="35">
                  <c:v>1365.0367</c:v>
                </c:pt>
                <c:pt idx="36">
                  <c:v>1392.8324</c:v>
                </c:pt>
                <c:pt idx="37">
                  <c:v>1364.2829</c:v>
                </c:pt>
                <c:pt idx="38">
                  <c:v>1379.3408</c:v>
                </c:pt>
                <c:pt idx="39">
                  <c:v>1320.3313</c:v>
                </c:pt>
                <c:pt idx="40">
                  <c:v>1351.0619</c:v>
                </c:pt>
                <c:pt idx="41">
                  <c:v>1374.9809</c:v>
                </c:pt>
                <c:pt idx="42">
                  <c:v>1347.0708</c:v>
                </c:pt>
                <c:pt idx="43">
                  <c:v>1359.6725</c:v>
                </c:pt>
                <c:pt idx="44">
                  <c:v>1288.3032</c:v>
                </c:pt>
                <c:pt idx="45">
                  <c:v>1261.7126</c:v>
                </c:pt>
                <c:pt idx="46">
                  <c:v>1253.6558</c:v>
                </c:pt>
                <c:pt idx="47">
                  <c:v>1220.1165</c:v>
                </c:pt>
                <c:pt idx="48">
                  <c:v>1205.2774</c:v>
                </c:pt>
                <c:pt idx="49">
                  <c:v>1216.6947</c:v>
                </c:pt>
                <c:pt idx="50">
                  <c:v>1167.0316</c:v>
                </c:pt>
                <c:pt idx="51">
                  <c:v>1143.9844</c:v>
                </c:pt>
              </c:numCache>
            </c:numRef>
          </c:xVal>
          <c:yVal>
            <c:numRef>
              <c:f>Sheet1!$B$109:$B$160</c:f>
              <c:numCache>
                <c:formatCode>General</c:formatCode>
                <c:ptCount val="52"/>
                <c:pt idx="0">
                  <c:v>0.2916702558359893</c:v>
                </c:pt>
                <c:pt idx="1">
                  <c:v>0.29713189623675557</c:v>
                </c:pt>
                <c:pt idx="2">
                  <c:v>0.30235806425108863</c:v>
                </c:pt>
                <c:pt idx="3">
                  <c:v>0.337461811576253</c:v>
                </c:pt>
                <c:pt idx="4">
                  <c:v>0.3302561317766314</c:v>
                </c:pt>
                <c:pt idx="5">
                  <c:v>0.30656185919343815</c:v>
                </c:pt>
                <c:pt idx="6">
                  <c:v>0.3320905008050165</c:v>
                </c:pt>
                <c:pt idx="7">
                  <c:v>0.3125</c:v>
                </c:pt>
                <c:pt idx="8">
                  <c:v>0.313678299237866</c:v>
                </c:pt>
                <c:pt idx="9">
                  <c:v>0.3150065452814471</c:v>
                </c:pt>
                <c:pt idx="10">
                  <c:v>0.30897200550711335</c:v>
                </c:pt>
                <c:pt idx="11">
                  <c:v>0.3169037380086007</c:v>
                </c:pt>
                <c:pt idx="12">
                  <c:v>0.3254703466717601</c:v>
                </c:pt>
                <c:pt idx="13">
                  <c:v>0.33390497326742663</c:v>
                </c:pt>
                <c:pt idx="14">
                  <c:v>0.3321123321123321</c:v>
                </c:pt>
                <c:pt idx="15">
                  <c:v>0.31697800898557577</c:v>
                </c:pt>
                <c:pt idx="16">
                  <c:v>0.30112699285321604</c:v>
                </c:pt>
                <c:pt idx="17">
                  <c:v>0.29326647564469915</c:v>
                </c:pt>
                <c:pt idx="18">
                  <c:v>0.3079354516719348</c:v>
                </c:pt>
                <c:pt idx="19">
                  <c:v>0.300814281240213</c:v>
                </c:pt>
                <c:pt idx="20">
                  <c:v>0.31164200392226776</c:v>
                </c:pt>
                <c:pt idx="21">
                  <c:v>0.31462621885157094</c:v>
                </c:pt>
                <c:pt idx="22">
                  <c:v>0.3091070241524485</c:v>
                </c:pt>
                <c:pt idx="23">
                  <c:v>0.30545774647887325</c:v>
                </c:pt>
                <c:pt idx="24">
                  <c:v>0.30815840727115346</c:v>
                </c:pt>
                <c:pt idx="25">
                  <c:v>0.305513838232139</c:v>
                </c:pt>
                <c:pt idx="26">
                  <c:v>0.29310344827586204</c:v>
                </c:pt>
                <c:pt idx="27">
                  <c:v>0.28388245770258236</c:v>
                </c:pt>
                <c:pt idx="28">
                  <c:v>0.28780734253957563</c:v>
                </c:pt>
                <c:pt idx="29">
                  <c:v>0.2951048951048951</c:v>
                </c:pt>
                <c:pt idx="30">
                  <c:v>0.30057803468208094</c:v>
                </c:pt>
                <c:pt idx="31">
                  <c:v>0.2950011734334663</c:v>
                </c:pt>
                <c:pt idx="32">
                  <c:v>0.29774812343619683</c:v>
                </c:pt>
                <c:pt idx="33">
                  <c:v>0.3021088769004414</c:v>
                </c:pt>
                <c:pt idx="34">
                  <c:v>0.3245603093426469</c:v>
                </c:pt>
                <c:pt idx="35">
                  <c:v>0.3064798598949212</c:v>
                </c:pt>
                <c:pt idx="36">
                  <c:v>0.2856141989724428</c:v>
                </c:pt>
                <c:pt idx="37">
                  <c:v>0.29664769133459834</c:v>
                </c:pt>
                <c:pt idx="38">
                  <c:v>0.29234507897934386</c:v>
                </c:pt>
                <c:pt idx="39">
                  <c:v>0.3210865401358175</c:v>
                </c:pt>
                <c:pt idx="40">
                  <c:v>0.3143979992854591</c:v>
                </c:pt>
                <c:pt idx="41">
                  <c:v>0.3066428455416599</c:v>
                </c:pt>
                <c:pt idx="42">
                  <c:v>0.31561461794019935</c:v>
                </c:pt>
                <c:pt idx="43">
                  <c:v>0.3071615841037671</c:v>
                </c:pt>
                <c:pt idx="44">
                  <c:v>0.3025999312793494</c:v>
                </c:pt>
                <c:pt idx="45">
                  <c:v>0.3041220382992535</c:v>
                </c:pt>
                <c:pt idx="46">
                  <c:v>0.3246560427595764</c:v>
                </c:pt>
                <c:pt idx="47">
                  <c:v>0.31618114166439787</c:v>
                </c:pt>
                <c:pt idx="48">
                  <c:v>0.3015329662152106</c:v>
                </c:pt>
                <c:pt idx="49">
                  <c:v>0.3205233033524121</c:v>
                </c:pt>
                <c:pt idx="50">
                  <c:v>0.33075107964916967</c:v>
                </c:pt>
                <c:pt idx="51">
                  <c:v>0.3291760540714515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86.8216737094027</c:v>
                </c:pt>
              </c:numCache>
            </c:numRef>
          </c:xVal>
          <c:yVal>
            <c:numRef>
              <c:f>Sheet1!$B$163:$B$164</c:f>
              <c:numCache>
                <c:formatCode>General</c:formatCode>
                <c:ptCount val="2"/>
                <c:pt idx="0">
                  <c:v>0.39605903917055874</c:v>
                </c:pt>
                <c:pt idx="1">
                  <c:v>0.3960590391705587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86.8216737094027</c:v>
                </c:pt>
                <c:pt idx="1">
                  <c:v>586.8216737094027</c:v>
                </c:pt>
              </c:numCache>
            </c:numRef>
          </c:xVal>
          <c:yVal>
            <c:numRef>
              <c:f>Sheet1!$B$167:$B$168</c:f>
              <c:numCache>
                <c:formatCode>General</c:formatCode>
                <c:ptCount val="2"/>
                <c:pt idx="0">
                  <c:v>0.396059039170558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94.3980788008173</c:v>
                </c:pt>
              </c:numCache>
            </c:numRef>
          </c:xVal>
          <c:yVal>
            <c:numRef>
              <c:f>Sheet1!$B$171:$B$172</c:f>
              <c:numCache>
                <c:formatCode>General</c:formatCode>
                <c:ptCount val="2"/>
                <c:pt idx="0">
                  <c:v>0.320495850822061</c:v>
                </c:pt>
                <c:pt idx="1">
                  <c:v>0.32049585082206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94.3980788008173</c:v>
                </c:pt>
                <c:pt idx="1">
                  <c:v>1194.3980788008173</c:v>
                </c:pt>
              </c:numCache>
            </c:numRef>
          </c:xVal>
          <c:yVal>
            <c:numRef>
              <c:f>Sheet1!$B$175:$B$176</c:f>
              <c:numCache>
                <c:formatCode>General</c:formatCode>
                <c:ptCount val="2"/>
                <c:pt idx="0">
                  <c:v>0.32049585082206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38.9308032282388</c:v>
                </c:pt>
              </c:numCache>
            </c:numRef>
          </c:xVal>
          <c:yVal>
            <c:numRef>
              <c:f>Sheet1!$B$179:$B$180</c:f>
              <c:numCache>
                <c:formatCode>General</c:formatCode>
                <c:ptCount val="2"/>
                <c:pt idx="0">
                  <c:v>0.31495739571520953</c:v>
                </c:pt>
                <c:pt idx="1">
                  <c:v>0.3149573957152095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38.9308032282388</c:v>
                </c:pt>
                <c:pt idx="1">
                  <c:v>1238.9308032282388</c:v>
                </c:pt>
              </c:numCache>
            </c:numRef>
          </c:xVal>
          <c:yVal>
            <c:numRef>
              <c:f>Sheet1!$B$183:$B$184</c:f>
              <c:numCache>
                <c:formatCode>General</c:formatCode>
                <c:ptCount val="2"/>
                <c:pt idx="0">
                  <c:v>0.3149573957152095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92.4693</c:v>
                </c:pt>
                <c:pt idx="1">
                  <c:v>1310.0741</c:v>
                </c:pt>
                <c:pt idx="2">
                  <c:v>1297.5019</c:v>
                </c:pt>
                <c:pt idx="3">
                  <c:v>1286.6841</c:v>
                </c:pt>
                <c:pt idx="4">
                  <c:v>1287.4985</c:v>
                </c:pt>
                <c:pt idx="5">
                  <c:v>1275.8813</c:v>
                </c:pt>
                <c:pt idx="6">
                  <c:v>1190.8298</c:v>
                </c:pt>
                <c:pt idx="7">
                  <c:v>1239.1474</c:v>
                </c:pt>
                <c:pt idx="8">
                  <c:v>1300.4889</c:v>
                </c:pt>
                <c:pt idx="9">
                  <c:v>1220.1443</c:v>
                </c:pt>
                <c:pt idx="10">
                  <c:v>1264.5403</c:v>
                </c:pt>
                <c:pt idx="11">
                  <c:v>1149.5689</c:v>
                </c:pt>
                <c:pt idx="12">
                  <c:v>1200.5666</c:v>
                </c:pt>
                <c:pt idx="13">
                  <c:v>1233.9006</c:v>
                </c:pt>
                <c:pt idx="14">
                  <c:v>1230.0682</c:v>
                </c:pt>
                <c:pt idx="15">
                  <c:v>1240.4114</c:v>
                </c:pt>
                <c:pt idx="16">
                  <c:v>1296.304</c:v>
                </c:pt>
                <c:pt idx="17">
                  <c:v>1283.6395</c:v>
                </c:pt>
                <c:pt idx="18">
                  <c:v>1222.2853</c:v>
                </c:pt>
                <c:pt idx="19">
                  <c:v>1329.5908</c:v>
                </c:pt>
                <c:pt idx="20">
                  <c:v>1295.8862</c:v>
                </c:pt>
                <c:pt idx="21">
                  <c:v>1207.1563</c:v>
                </c:pt>
                <c:pt idx="22">
                  <c:v>1276.0466</c:v>
                </c:pt>
                <c:pt idx="23">
                  <c:v>1303.4906</c:v>
                </c:pt>
                <c:pt idx="24">
                  <c:v>1321.2338</c:v>
                </c:pt>
                <c:pt idx="25">
                  <c:v>1293.9305</c:v>
                </c:pt>
                <c:pt idx="26">
                  <c:v>1318.2374</c:v>
                </c:pt>
                <c:pt idx="27">
                  <c:v>1309.4034</c:v>
                </c:pt>
                <c:pt idx="28">
                  <c:v>1329.3464</c:v>
                </c:pt>
                <c:pt idx="29">
                  <c:v>1327.302</c:v>
                </c:pt>
                <c:pt idx="30">
                  <c:v>1315.9483</c:v>
                </c:pt>
                <c:pt idx="31">
                  <c:v>1298.2228</c:v>
                </c:pt>
                <c:pt idx="32">
                  <c:v>1325.6982</c:v>
                </c:pt>
                <c:pt idx="33">
                  <c:v>1335.1185</c:v>
                </c:pt>
                <c:pt idx="34">
                  <c:v>1349.4658</c:v>
                </c:pt>
                <c:pt idx="35">
                  <c:v>1365.0367</c:v>
                </c:pt>
                <c:pt idx="36">
                  <c:v>1392.8324</c:v>
                </c:pt>
                <c:pt idx="37">
                  <c:v>1364.2829</c:v>
                </c:pt>
                <c:pt idx="38">
                  <c:v>1379.3408</c:v>
                </c:pt>
                <c:pt idx="39">
                  <c:v>1320.3313</c:v>
                </c:pt>
                <c:pt idx="40">
                  <c:v>1351.0619</c:v>
                </c:pt>
                <c:pt idx="41">
                  <c:v>1374.9809</c:v>
                </c:pt>
                <c:pt idx="42">
                  <c:v>1347.0708</c:v>
                </c:pt>
                <c:pt idx="43">
                  <c:v>1359.6725</c:v>
                </c:pt>
                <c:pt idx="44">
                  <c:v>1288.3032</c:v>
                </c:pt>
                <c:pt idx="45">
                  <c:v>1261.7126</c:v>
                </c:pt>
                <c:pt idx="46">
                  <c:v>1253.6558</c:v>
                </c:pt>
                <c:pt idx="47">
                  <c:v>1220.1165</c:v>
                </c:pt>
                <c:pt idx="48">
                  <c:v>1205.2774</c:v>
                </c:pt>
                <c:pt idx="49">
                  <c:v>1216.6947</c:v>
                </c:pt>
                <c:pt idx="50">
                  <c:v>1167.0316</c:v>
                </c:pt>
                <c:pt idx="51">
                  <c:v>1143.9844</c:v>
                </c:pt>
                <c:pt idx="52">
                  <c:v>1194.3980788008173</c:v>
                </c:pt>
                <c:pt idx="53">
                  <c:v>586.8216737094027</c:v>
                </c:pt>
                <c:pt idx="54">
                  <c:v>1238.9308032282388</c:v>
                </c:pt>
              </c:numCache>
            </c:numRef>
          </c:xVal>
          <c:yVal>
            <c:numRef>
              <c:f>Sheet1!$B$187:$B$241</c:f>
              <c:numCache>
                <c:formatCode>General</c:formatCode>
                <c:ptCount val="55"/>
                <c:pt idx="0">
                  <c:v>0.3082989088458069</c:v>
                </c:pt>
                <c:pt idx="1">
                  <c:v>0.30610943142849756</c:v>
                </c:pt>
                <c:pt idx="2">
                  <c:v>0.3076730134053389</c:v>
                </c:pt>
                <c:pt idx="3">
                  <c:v>0.30901840379915024</c:v>
                </c:pt>
                <c:pt idx="4">
                  <c:v>0.3089171183310587</c:v>
                </c:pt>
                <c:pt idx="5">
                  <c:v>0.31036192866985074</c:v>
                </c:pt>
                <c:pt idx="6">
                  <c:v>0.32093963125995595</c:v>
                </c:pt>
                <c:pt idx="7">
                  <c:v>0.31493045796298097</c:v>
                </c:pt>
                <c:pt idx="8">
                  <c:v>0.30730152556989043</c:v>
                </c:pt>
                <c:pt idx="9">
                  <c:v>0.3172938394446718</c:v>
                </c:pt>
                <c:pt idx="10">
                  <c:v>0.311772388509764</c:v>
                </c:pt>
                <c:pt idx="11">
                  <c:v>0.3260711754279021</c:v>
                </c:pt>
                <c:pt idx="12">
                  <c:v>0.319728682898324</c:v>
                </c:pt>
                <c:pt idx="13">
                  <c:v>0.3155829930734701</c:v>
                </c:pt>
                <c:pt idx="14">
                  <c:v>0.31605962179143887</c:v>
                </c:pt>
                <c:pt idx="15">
                  <c:v>0.3147732565488508</c:v>
                </c:pt>
                <c:pt idx="16">
                  <c:v>0.30782199408096117</c:v>
                </c:pt>
                <c:pt idx="17">
                  <c:v>0.3093970552433438</c:v>
                </c:pt>
                <c:pt idx="18">
                  <c:v>0.3170275671126681</c:v>
                </c:pt>
                <c:pt idx="19">
                  <c:v>0.3036821744354956</c:v>
                </c:pt>
                <c:pt idx="20">
                  <c:v>0.3078739551180052</c:v>
                </c:pt>
                <c:pt idx="21">
                  <c:v>0.31890913372214236</c:v>
                </c:pt>
                <c:pt idx="22">
                  <c:v>0.31034137060517064</c:v>
                </c:pt>
                <c:pt idx="23">
                  <c:v>0.3069282095217935</c:v>
                </c:pt>
                <c:pt idx="24">
                  <c:v>0.3047215195445826</c:v>
                </c:pt>
                <c:pt idx="25">
                  <c:v>0.3081171820211811</c:v>
                </c:pt>
                <c:pt idx="26">
                  <c:v>0.3050941764411804</c:v>
                </c:pt>
                <c:pt idx="27">
                  <c:v>0.30619284518518836</c:v>
                </c:pt>
                <c:pt idx="28">
                  <c:v>0.30371257002537966</c:v>
                </c:pt>
                <c:pt idx="29">
                  <c:v>0.3039668283885504</c:v>
                </c:pt>
                <c:pt idx="30">
                  <c:v>0.30537886770469735</c:v>
                </c:pt>
                <c:pt idx="31">
                  <c:v>0.30758335636463763</c:v>
                </c:pt>
                <c:pt idx="32">
                  <c:v>0.30416629011954877</c:v>
                </c:pt>
                <c:pt idx="33">
                  <c:v>0.3029947042955531</c:v>
                </c:pt>
                <c:pt idx="34">
                  <c:v>0.3012103563137889</c:v>
                </c:pt>
                <c:pt idx="35">
                  <c:v>0.29927383139347274</c:v>
                </c:pt>
                <c:pt idx="36">
                  <c:v>0.2958169300115596</c:v>
                </c:pt>
                <c:pt idx="37">
                  <c:v>0.29936758014819687</c:v>
                </c:pt>
                <c:pt idx="38">
                  <c:v>0.2974948561182674</c:v>
                </c:pt>
                <c:pt idx="39">
                  <c:v>0.3048337618517444</c:v>
                </c:pt>
                <c:pt idx="40">
                  <c:v>0.3010118522179873</c:v>
                </c:pt>
                <c:pt idx="41">
                  <c:v>0.2980370890656299</c:v>
                </c:pt>
                <c:pt idx="42">
                  <c:v>0.3015082181704675</c:v>
                </c:pt>
                <c:pt idx="43">
                  <c:v>0.29994096733150843</c:v>
                </c:pt>
                <c:pt idx="44">
                  <c:v>0.3088170392345788</c:v>
                </c:pt>
                <c:pt idx="45">
                  <c:v>0.3121240644897766</c:v>
                </c:pt>
                <c:pt idx="46">
                  <c:v>0.31312607426300765</c:v>
                </c:pt>
                <c:pt idx="47">
                  <c:v>0.31729729688083697</c:v>
                </c:pt>
                <c:pt idx="48">
                  <c:v>0.31914280914699145</c:v>
                </c:pt>
                <c:pt idx="49">
                  <c:v>0.31772286001285494</c:v>
                </c:pt>
                <c:pt idx="50">
                  <c:v>0.3238993707328617</c:v>
                </c:pt>
                <c:pt idx="51">
                  <c:v>0.3267657096820239</c:v>
                </c:pt>
                <c:pt idx="52">
                  <c:v>0.320495850822061</c:v>
                </c:pt>
                <c:pt idx="53">
                  <c:v>0.39605903917055874</c:v>
                </c:pt>
                <c:pt idx="54">
                  <c:v>0.3149573957152095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71.0"/>
          <c:min val="46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169390787518574"/>
          <c:min val="0.2069222180870859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9596754435529435</c:v>
                </c:pt>
                <c:pt idx="1">
                  <c:v>0.38643691647657635</c:v>
                </c:pt>
                <c:pt idx="2">
                  <c:v>0.3497974581870737</c:v>
                </c:pt>
                <c:pt idx="3">
                  <c:v>0.34635611844047753</c:v>
                </c:pt>
                <c:pt idx="4">
                  <c:v>0.3440233192308814</c:v>
                </c:pt>
                <c:pt idx="5">
                  <c:v>0.24144632930543145</c:v>
                </c:pt>
                <c:pt idx="6">
                  <c:v>0.22720039522402027</c:v>
                </c:pt>
                <c:pt idx="7">
                  <c:v>0.27904600585649153</c:v>
                </c:pt>
                <c:pt idx="8">
                  <c:v>0.2120379155881168</c:v>
                </c:pt>
                <c:pt idx="9">
                  <c:v>0.27148475836827074</c:v>
                </c:pt>
                <c:pt idx="10">
                  <c:v>0.26368743517983145</c:v>
                </c:pt>
                <c:pt idx="11">
                  <c:v>0.27313671831765357</c:v>
                </c:pt>
                <c:pt idx="12">
                  <c:v>0.26818809476823224</c:v>
                </c:pt>
                <c:pt idx="13">
                  <c:v>0.31306608120915175</c:v>
                </c:pt>
                <c:pt idx="14">
                  <c:v>0.3545047426458112</c:v>
                </c:pt>
                <c:pt idx="15">
                  <c:v>0.3473374367715421</c:v>
                </c:pt>
                <c:pt idx="16">
                  <c:v>0.3595327338177813</c:v>
                </c:pt>
                <c:pt idx="17">
                  <c:v>0.37939063798054823</c:v>
                </c:pt>
                <c:pt idx="18">
                  <c:v>0.47392726324002293</c:v>
                </c:pt>
                <c:pt idx="19">
                  <c:v>0.4042945837066977</c:v>
                </c:pt>
                <c:pt idx="20">
                  <c:v>0.40475141668916</c:v>
                </c:pt>
                <c:pt idx="21">
                  <c:v>0.3685311382585166</c:v>
                </c:pt>
                <c:pt idx="22">
                  <c:v>0.3266915123276364</c:v>
                </c:pt>
                <c:pt idx="23">
                  <c:v>0.38023733222706124</c:v>
                </c:pt>
                <c:pt idx="24">
                  <c:v>0.2885675658062001</c:v>
                </c:pt>
                <c:pt idx="25">
                  <c:v>0.2558602320960492</c:v>
                </c:pt>
                <c:pt idx="26">
                  <c:v>0.3144638529411765</c:v>
                </c:pt>
                <c:pt idx="27">
                  <c:v>0.22686990721349384</c:v>
                </c:pt>
                <c:pt idx="28">
                  <c:v>0.18716905056588362</c:v>
                </c:pt>
                <c:pt idx="29">
                  <c:v>0.18093594342185326</c:v>
                </c:pt>
                <c:pt idx="30">
                  <c:v>0.21701146223030288</c:v>
                </c:pt>
                <c:pt idx="31">
                  <c:v>0.1697231176848857</c:v>
                </c:pt>
                <c:pt idx="32">
                  <c:v>0.14943062044169145</c:v>
                </c:pt>
                <c:pt idx="33">
                  <c:v>0.1399425093213832</c:v>
                </c:pt>
                <c:pt idx="34">
                  <c:v>0.1306845428276822</c:v>
                </c:pt>
                <c:pt idx="35">
                  <c:v>0.16094042419987664</c:v>
                </c:pt>
                <c:pt idx="36">
                  <c:v>0.2211574766939555</c:v>
                </c:pt>
                <c:pt idx="37">
                  <c:v>0.1656036884489816</c:v>
                </c:pt>
                <c:pt idx="38">
                  <c:v>0.15452032727819567</c:v>
                </c:pt>
                <c:pt idx="39">
                  <c:v>0.13775761036324416</c:v>
                </c:pt>
                <c:pt idx="40">
                  <c:v>0.155966410867611</c:v>
                </c:pt>
                <c:pt idx="41">
                  <c:v>0.1329203498580192</c:v>
                </c:pt>
                <c:pt idx="42">
                  <c:v>0.1951153627829022</c:v>
                </c:pt>
                <c:pt idx="43">
                  <c:v>0.21586615425680764</c:v>
                </c:pt>
                <c:pt idx="44">
                  <c:v>0.22468630384938496</c:v>
                </c:pt>
                <c:pt idx="45">
                  <c:v>0.1798339531222628</c:v>
                </c:pt>
                <c:pt idx="46">
                  <c:v>0.16371311363216237</c:v>
                </c:pt>
                <c:pt idx="47">
                  <c:v>0.16645377734485134</c:v>
                </c:pt>
                <c:pt idx="48">
                  <c:v>0.17771377427900653</c:v>
                </c:pt>
                <c:pt idx="49">
                  <c:v>0.2303608374707997</c:v>
                </c:pt>
                <c:pt idx="50">
                  <c:v>0.1311569040446993</c:v>
                </c:pt>
                <c:pt idx="51">
                  <c:v>0.13350991723180147</c:v>
                </c:pt>
                <c:pt idx="52">
                  <c:v>0.13003706782189287</c:v>
                </c:pt>
                <c:pt idx="53">
                  <c:v>0.1398556478038129</c:v>
                </c:pt>
                <c:pt idx="54">
                  <c:v>0.1382171532740095</c:v>
                </c:pt>
                <c:pt idx="55">
                  <c:v>0.13124791114325618</c:v>
                </c:pt>
                <c:pt idx="56">
                  <c:v>0.13357865113201775</c:v>
                </c:pt>
                <c:pt idx="57">
                  <c:v>0.12313985838701577</c:v>
                </c:pt>
                <c:pt idx="58">
                  <c:v>0.1495206690850154</c:v>
                </c:pt>
                <c:pt idx="59">
                  <c:v>0.1504524107538658</c:v>
                </c:pt>
                <c:pt idx="60">
                  <c:v>0.12472191145407648</c:v>
                </c:pt>
                <c:pt idx="61">
                  <c:v>0.10697155149790506</c:v>
                </c:pt>
                <c:pt idx="62">
                  <c:v>0.09448942082522511</c:v>
                </c:pt>
                <c:pt idx="63">
                  <c:v>0.11426929745989735</c:v>
                </c:pt>
                <c:pt idx="64">
                  <c:v>0.10351970493431259</c:v>
                </c:pt>
                <c:pt idx="65">
                  <c:v>0.09729359779502587</c:v>
                </c:pt>
                <c:pt idx="66">
                  <c:v>0.09299674157573382</c:v>
                </c:pt>
                <c:pt idx="67">
                  <c:v>0.09178511713275456</c:v>
                </c:pt>
                <c:pt idx="68">
                  <c:v>0.1009430019083242</c:v>
                </c:pt>
                <c:pt idx="69">
                  <c:v>0.09333017064872902</c:v>
                </c:pt>
                <c:pt idx="70">
                  <c:v>0.0922343331877514</c:v>
                </c:pt>
                <c:pt idx="71">
                  <c:v>0.08928797827194025</c:v>
                </c:pt>
                <c:pt idx="72">
                  <c:v>0.08791636688227594</c:v>
                </c:pt>
                <c:pt idx="73">
                  <c:v>0.10565771269972737</c:v>
                </c:pt>
                <c:pt idx="74">
                  <c:v>0.07842588398843547</c:v>
                </c:pt>
                <c:pt idx="75">
                  <c:v>0.10730802708729045</c:v>
                </c:pt>
                <c:pt idx="76">
                  <c:v>0.09055038091210721</c:v>
                </c:pt>
                <c:pt idx="77">
                  <c:v>0.07072423347184582</c:v>
                </c:pt>
                <c:pt idx="78">
                  <c:v>0.10158927019267944</c:v>
                </c:pt>
                <c:pt idx="79">
                  <c:v>0.09836039753359319</c:v>
                </c:pt>
                <c:pt idx="80">
                  <c:v>0.08887980087025449</c:v>
                </c:pt>
                <c:pt idx="81">
                  <c:v>0.09950467178541092</c:v>
                </c:pt>
                <c:pt idx="82">
                  <c:v>0.11254657382418316</c:v>
                </c:pt>
                <c:pt idx="83">
                  <c:v>0.09885880216342136</c:v>
                </c:pt>
                <c:pt idx="84">
                  <c:v>0.07624558854384898</c:v>
                </c:pt>
                <c:pt idx="85">
                  <c:v>0.07214101725430284</c:v>
                </c:pt>
                <c:pt idx="86">
                  <c:v>0.07333523695124684</c:v>
                </c:pt>
                <c:pt idx="87">
                  <c:v>0.08211309740737188</c:v>
                </c:pt>
                <c:pt idx="88">
                  <c:v>0.10494009798507019</c:v>
                </c:pt>
                <c:pt idx="89">
                  <c:v>0.09215412615046072</c:v>
                </c:pt>
                <c:pt idx="90">
                  <c:v>0.11138662601637701</c:v>
                </c:pt>
                <c:pt idx="91">
                  <c:v>0.10263809681713557</c:v>
                </c:pt>
                <c:pt idx="92">
                  <c:v>0.09042284322849561</c:v>
                </c:pt>
                <c:pt idx="93">
                  <c:v>0.08896779714183504</c:v>
                </c:pt>
                <c:pt idx="94">
                  <c:v>0.08301798725532508</c:v>
                </c:pt>
                <c:pt idx="95">
                  <c:v>0.07674242815274655</c:v>
                </c:pt>
                <c:pt idx="96">
                  <c:v>0.0751534867024292</c:v>
                </c:pt>
                <c:pt idx="97">
                  <c:v>0.07862058765561158</c:v>
                </c:pt>
                <c:pt idx="98">
                  <c:v>0.06819032309129543</c:v>
                </c:pt>
                <c:pt idx="99">
                  <c:v>0.06773361132385897</c:v>
                </c:pt>
                <c:pt idx="100">
                  <c:v>0.06598400040482012</c:v>
                </c:pt>
                <c:pt idx="101">
                  <c:v>0.07545311184773595</c:v>
                </c:pt>
                <c:pt idx="102">
                  <c:v>0.07236842549904657</c:v>
                </c:pt>
                <c:pt idx="103">
                  <c:v>0.06796350227345721</c:v>
                </c:pt>
                <c:pt idx="104">
                  <c:v>0.07798055935717452</c:v>
                </c:pt>
              </c:numCache>
            </c:numRef>
          </c:xVal>
          <c:yVal>
            <c:numRef>
              <c:f>Sheet1!$B$2:$B$106</c:f>
              <c:numCache>
                <c:formatCode>General</c:formatCode>
                <c:ptCount val="105"/>
                <c:pt idx="0">
                  <c:v>0.34535674735010286</c:v>
                </c:pt>
                <c:pt idx="1">
                  <c:v>0.36048252179272694</c:v>
                </c:pt>
                <c:pt idx="2">
                  <c:v>0.3888019154618289</c:v>
                </c:pt>
                <c:pt idx="3">
                  <c:v>0.40172064777327937</c:v>
                </c:pt>
                <c:pt idx="4">
                  <c:v>0.4191168123510047</c:v>
                </c:pt>
                <c:pt idx="5">
                  <c:v>0.38954560242923764</c:v>
                </c:pt>
                <c:pt idx="6">
                  <c:v>0.4241974785464562</c:v>
                </c:pt>
                <c:pt idx="7">
                  <c:v>0.4307825656265478</c:v>
                </c:pt>
                <c:pt idx="8">
                  <c:v>0.4045270612038442</c:v>
                </c:pt>
                <c:pt idx="9">
                  <c:v>0.398595343467385</c:v>
                </c:pt>
                <c:pt idx="10">
                  <c:v>0.38155907889769725</c:v>
                </c:pt>
                <c:pt idx="11">
                  <c:v>0.3429134967596506</c:v>
                </c:pt>
                <c:pt idx="12">
                  <c:v>0.3283718609679029</c:v>
                </c:pt>
                <c:pt idx="13">
                  <c:v>0.32891598197720645</c:v>
                </c:pt>
                <c:pt idx="14">
                  <c:v>0.30250990752972257</c:v>
                </c:pt>
                <c:pt idx="15">
                  <c:v>0.29776192020759</c:v>
                </c:pt>
                <c:pt idx="16">
                  <c:v>0.29018190879641165</c:v>
                </c:pt>
                <c:pt idx="17">
                  <c:v>0.2924260834345889</c:v>
                </c:pt>
                <c:pt idx="18">
                  <c:v>0.269364527347455</c:v>
                </c:pt>
                <c:pt idx="19">
                  <c:v>0.279264518478063</c:v>
                </c:pt>
                <c:pt idx="20">
                  <c:v>0.2820202631181007</c:v>
                </c:pt>
                <c:pt idx="21">
                  <c:v>0.3059532780708365</c:v>
                </c:pt>
                <c:pt idx="22">
                  <c:v>0.3503233168505135</c:v>
                </c:pt>
                <c:pt idx="23">
                  <c:v>0.3644256006460731</c:v>
                </c:pt>
                <c:pt idx="24">
                  <c:v>0.37865524306202275</c:v>
                </c:pt>
                <c:pt idx="25">
                  <c:v>0.3801546391752577</c:v>
                </c:pt>
                <c:pt idx="26">
                  <c:v>0.39286944540130897</c:v>
                </c:pt>
                <c:pt idx="27">
                  <c:v>0.41323792486583183</c:v>
                </c:pt>
                <c:pt idx="28">
                  <c:v>0.3720294067361942</c:v>
                </c:pt>
                <c:pt idx="29">
                  <c:v>0.3772208121827411</c:v>
                </c:pt>
                <c:pt idx="30">
                  <c:v>0.36666666666666664</c:v>
                </c:pt>
                <c:pt idx="31">
                  <c:v>0.3788927335640138</c:v>
                </c:pt>
                <c:pt idx="32">
                  <c:v>0.395821242019733</c:v>
                </c:pt>
                <c:pt idx="33">
                  <c:v>0.4005830009205278</c:v>
                </c:pt>
                <c:pt idx="34">
                  <c:v>0.39319313779745435</c:v>
                </c:pt>
                <c:pt idx="35">
                  <c:v>0.39588634435962683</c:v>
                </c:pt>
                <c:pt idx="36">
                  <c:v>0.33078982597054885</c:v>
                </c:pt>
                <c:pt idx="37">
                  <c:v>0.3654183266932271</c:v>
                </c:pt>
                <c:pt idx="38">
                  <c:v>0.35771276595744683</c:v>
                </c:pt>
                <c:pt idx="39">
                  <c:v>0.32903687790905833</c:v>
                </c:pt>
                <c:pt idx="40">
                  <c:v>0.3412196914033799</c:v>
                </c:pt>
                <c:pt idx="41">
                  <c:v>0.31542569902607603</c:v>
                </c:pt>
                <c:pt idx="42">
                  <c:v>0.3173860751035681</c:v>
                </c:pt>
                <c:pt idx="43">
                  <c:v>0.3248499399759904</c:v>
                </c:pt>
                <c:pt idx="44">
                  <c:v>0.31010425020048116</c:v>
                </c:pt>
                <c:pt idx="45">
                  <c:v>0.31930729550479</c:v>
                </c:pt>
                <c:pt idx="46">
                  <c:v>0.3429047929809296</c:v>
                </c:pt>
                <c:pt idx="47">
                  <c:v>0.321825714078058</c:v>
                </c:pt>
                <c:pt idx="48">
                  <c:v>0.31490823226360415</c:v>
                </c:pt>
                <c:pt idx="49">
                  <c:v>0.3321206008429091</c:v>
                </c:pt>
                <c:pt idx="50">
                  <c:v>0.31934650562033096</c:v>
                </c:pt>
                <c:pt idx="51">
                  <c:v>0.33135785253616873</c:v>
                </c:pt>
                <c:pt idx="52">
                  <c:v>0.3366093366093366</c:v>
                </c:pt>
                <c:pt idx="53">
                  <c:v>0.33346205831241554</c:v>
                </c:pt>
                <c:pt idx="54">
                  <c:v>0.3545645330535152</c:v>
                </c:pt>
                <c:pt idx="55">
                  <c:v>0.3509471585244267</c:v>
                </c:pt>
                <c:pt idx="56">
                  <c:v>0.3369379624359704</c:v>
                </c:pt>
                <c:pt idx="57">
                  <c:v>0.3409251948577791</c:v>
                </c:pt>
                <c:pt idx="58">
                  <c:v>0.34684602799491</c:v>
                </c:pt>
                <c:pt idx="59">
                  <c:v>0.34563445867287546</c:v>
                </c:pt>
                <c:pt idx="60">
                  <c:v>0.3501058662348985</c:v>
                </c:pt>
                <c:pt idx="61">
                  <c:v>0.3508646817614548</c:v>
                </c:pt>
                <c:pt idx="62">
                  <c:v>0.3595632203830488</c:v>
                </c:pt>
                <c:pt idx="63">
                  <c:v>0.36726824001234</c:v>
                </c:pt>
                <c:pt idx="64">
                  <c:v>0.3451998832798366</c:v>
                </c:pt>
                <c:pt idx="65">
                  <c:v>0.32117074701820464</c:v>
                </c:pt>
                <c:pt idx="66">
                  <c:v>0.3177641008346682</c:v>
                </c:pt>
                <c:pt idx="67">
                  <c:v>0.3051209103840683</c:v>
                </c:pt>
                <c:pt idx="68">
                  <c:v>0.3030070237050044</c:v>
                </c:pt>
                <c:pt idx="69">
                  <c:v>0.28987898789878985</c:v>
                </c:pt>
                <c:pt idx="70">
                  <c:v>0.2927390950961799</c:v>
                </c:pt>
                <c:pt idx="71">
                  <c:v>0.29948567229977957</c:v>
                </c:pt>
                <c:pt idx="72">
                  <c:v>0.289910252923579</c:v>
                </c:pt>
                <c:pt idx="73">
                  <c:v>0.30032611918173735</c:v>
                </c:pt>
                <c:pt idx="74">
                  <c:v>0.30510407755916735</c:v>
                </c:pt>
                <c:pt idx="75">
                  <c:v>0.31750205423171735</c:v>
                </c:pt>
                <c:pt idx="76">
                  <c:v>0.3006802721088435</c:v>
                </c:pt>
                <c:pt idx="77">
                  <c:v>0.31494501532359837</c:v>
                </c:pt>
                <c:pt idx="78">
                  <c:v>0.2981418918918919</c:v>
                </c:pt>
                <c:pt idx="79">
                  <c:v>0.30162325405813517</c:v>
                </c:pt>
                <c:pt idx="80">
                  <c:v>0.27624521072796937</c:v>
                </c:pt>
                <c:pt idx="81">
                  <c:v>0.28343707302262033</c:v>
                </c:pt>
                <c:pt idx="82">
                  <c:v>0.28123195380173244</c:v>
                </c:pt>
                <c:pt idx="83">
                  <c:v>0.2687937062937063</c:v>
                </c:pt>
                <c:pt idx="84">
                  <c:v>0.28508261577845007</c:v>
                </c:pt>
                <c:pt idx="85">
                  <c:v>0.3043753963221306</c:v>
                </c:pt>
                <c:pt idx="86">
                  <c:v>0.29567749846719804</c:v>
                </c:pt>
                <c:pt idx="87">
                  <c:v>0.3214524095581364</c:v>
                </c:pt>
                <c:pt idx="88">
                  <c:v>0.30559416261292566</c:v>
                </c:pt>
                <c:pt idx="89">
                  <c:v>0.3028</c:v>
                </c:pt>
                <c:pt idx="90">
                  <c:v>0.2973137973137973</c:v>
                </c:pt>
                <c:pt idx="91">
                  <c:v>0.25865277260885744</c:v>
                </c:pt>
                <c:pt idx="92">
                  <c:v>0.2939825447864033</c:v>
                </c:pt>
                <c:pt idx="93">
                  <c:v>0.27591729761211414</c:v>
                </c:pt>
                <c:pt idx="94">
                  <c:v>0.2721529240239754</c:v>
                </c:pt>
                <c:pt idx="95">
                  <c:v>0.27486881768449256</c:v>
                </c:pt>
                <c:pt idx="96">
                  <c:v>0.2910351913691241</c:v>
                </c:pt>
                <c:pt idx="97">
                  <c:v>0.288008800880088</c:v>
                </c:pt>
                <c:pt idx="98">
                  <c:v>0.2953028747433265</c:v>
                </c:pt>
                <c:pt idx="99">
                  <c:v>0.3003270553738581</c:v>
                </c:pt>
                <c:pt idx="100">
                  <c:v>0.2988939948594127</c:v>
                </c:pt>
                <c:pt idx="101">
                  <c:v>0.29854680153868074</c:v>
                </c:pt>
                <c:pt idx="102">
                  <c:v>0.2902367650971003</c:v>
                </c:pt>
                <c:pt idx="103">
                  <c:v>0.270535643011096</c:v>
                </c:pt>
                <c:pt idx="104">
                  <c:v>0.2779099647853811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07648570214814472</c:v>
                </c:pt>
                <c:pt idx="1">
                  <c:v>0.08011187706303552</c:v>
                </c:pt>
                <c:pt idx="2">
                  <c:v>0.1058754842806919</c:v>
                </c:pt>
                <c:pt idx="3">
                  <c:v>0.11599244372956004</c:v>
                </c:pt>
                <c:pt idx="4">
                  <c:v>0.12220038009819986</c:v>
                </c:pt>
                <c:pt idx="5">
                  <c:v>0.11328579800221976</c:v>
                </c:pt>
                <c:pt idx="6">
                  <c:v>0.10309228156720206</c:v>
                </c:pt>
                <c:pt idx="7">
                  <c:v>0.09941110698966443</c:v>
                </c:pt>
                <c:pt idx="8">
                  <c:v>0.13736756605252473</c:v>
                </c:pt>
                <c:pt idx="9">
                  <c:v>0.11402697921864832</c:v>
                </c:pt>
                <c:pt idx="10">
                  <c:v>0.13528835990157267</c:v>
                </c:pt>
                <c:pt idx="11">
                  <c:v>0.12035535608021064</c:v>
                </c:pt>
                <c:pt idx="12">
                  <c:v>0.15409538225311148</c:v>
                </c:pt>
                <c:pt idx="13">
                  <c:v>0.12565494259133053</c:v>
                </c:pt>
                <c:pt idx="14">
                  <c:v>0.10965256718619727</c:v>
                </c:pt>
                <c:pt idx="15">
                  <c:v>0.11761452922429644</c:v>
                </c:pt>
                <c:pt idx="16">
                  <c:v>0.08382507639048176</c:v>
                </c:pt>
                <c:pt idx="17">
                  <c:v>0.08871586908663708</c:v>
                </c:pt>
                <c:pt idx="18">
                  <c:v>0.09868923727352343</c:v>
                </c:pt>
                <c:pt idx="19">
                  <c:v>0.1349124189009264</c:v>
                </c:pt>
                <c:pt idx="20">
                  <c:v>0.11608647342047862</c:v>
                </c:pt>
                <c:pt idx="21">
                  <c:v>0.07719889725389771</c:v>
                </c:pt>
                <c:pt idx="22">
                  <c:v>0.09732593413753703</c:v>
                </c:pt>
                <c:pt idx="23">
                  <c:v>0.10326232066608045</c:v>
                </c:pt>
                <c:pt idx="24">
                  <c:v>0.09276291544166045</c:v>
                </c:pt>
                <c:pt idx="25">
                  <c:v>0.12029568855316676</c:v>
                </c:pt>
                <c:pt idx="26">
                  <c:v>0.10233009860523964</c:v>
                </c:pt>
                <c:pt idx="27">
                  <c:v>0.1209894479161599</c:v>
                </c:pt>
                <c:pt idx="28">
                  <c:v>0.128729115161203</c:v>
                </c:pt>
                <c:pt idx="29">
                  <c:v>0.1235329173544901</c:v>
                </c:pt>
                <c:pt idx="30">
                  <c:v>0.13916993442437894</c:v>
                </c:pt>
                <c:pt idx="31">
                  <c:v>0.10661032957443672</c:v>
                </c:pt>
                <c:pt idx="32">
                  <c:v>0.11523546421992217</c:v>
                </c:pt>
                <c:pt idx="33">
                  <c:v>0.1311683954469449</c:v>
                </c:pt>
                <c:pt idx="34">
                  <c:v>0.112525369089229</c:v>
                </c:pt>
                <c:pt idx="35">
                  <c:v>0.12746739067941104</c:v>
                </c:pt>
                <c:pt idx="36">
                  <c:v>0.10365450969495035</c:v>
                </c:pt>
                <c:pt idx="37">
                  <c:v>0.11690961485532872</c:v>
                </c:pt>
                <c:pt idx="38">
                  <c:v>0.105680416794361</c:v>
                </c:pt>
                <c:pt idx="39">
                  <c:v>0.12128338014416663</c:v>
                </c:pt>
                <c:pt idx="40">
                  <c:v>0.12870320552512501</c:v>
                </c:pt>
                <c:pt idx="41">
                  <c:v>0.1231771157354304</c:v>
                </c:pt>
                <c:pt idx="42">
                  <c:v>0.12321590663568033</c:v>
                </c:pt>
                <c:pt idx="43">
                  <c:v>0.13947128900778352</c:v>
                </c:pt>
                <c:pt idx="44">
                  <c:v>0.128353888336041</c:v>
                </c:pt>
                <c:pt idx="45">
                  <c:v>0.1256758070092693</c:v>
                </c:pt>
                <c:pt idx="46">
                  <c:v>0.10620506748613977</c:v>
                </c:pt>
                <c:pt idx="47">
                  <c:v>0.10873676070307146</c:v>
                </c:pt>
                <c:pt idx="48">
                  <c:v>0.12395967517081156</c:v>
                </c:pt>
                <c:pt idx="49">
                  <c:v>0.12001204722219924</c:v>
                </c:pt>
                <c:pt idx="50">
                  <c:v>0.15147535466662942</c:v>
                </c:pt>
                <c:pt idx="51">
                  <c:v>0.12891738392589258</c:v>
                </c:pt>
              </c:numCache>
            </c:numRef>
          </c:xVal>
          <c:yVal>
            <c:numRef>
              <c:f>Sheet1!$B$109:$B$160</c:f>
              <c:numCache>
                <c:formatCode>General</c:formatCode>
                <c:ptCount val="52"/>
                <c:pt idx="0">
                  <c:v>0.2916702558359893</c:v>
                </c:pt>
                <c:pt idx="1">
                  <c:v>0.29713189623675557</c:v>
                </c:pt>
                <c:pt idx="2">
                  <c:v>0.30235806425108863</c:v>
                </c:pt>
                <c:pt idx="3">
                  <c:v>0.337461811576253</c:v>
                </c:pt>
                <c:pt idx="4">
                  <c:v>0.3302561317766314</c:v>
                </c:pt>
                <c:pt idx="5">
                  <c:v>0.30656185919343815</c:v>
                </c:pt>
                <c:pt idx="6">
                  <c:v>0.3320905008050165</c:v>
                </c:pt>
                <c:pt idx="7">
                  <c:v>0.3125</c:v>
                </c:pt>
                <c:pt idx="8">
                  <c:v>0.313678299237866</c:v>
                </c:pt>
                <c:pt idx="9">
                  <c:v>0.3150065452814471</c:v>
                </c:pt>
                <c:pt idx="10">
                  <c:v>0.30897200550711335</c:v>
                </c:pt>
                <c:pt idx="11">
                  <c:v>0.3169037380086007</c:v>
                </c:pt>
                <c:pt idx="12">
                  <c:v>0.3254703466717601</c:v>
                </c:pt>
                <c:pt idx="13">
                  <c:v>0.33390497326742663</c:v>
                </c:pt>
                <c:pt idx="14">
                  <c:v>0.3321123321123321</c:v>
                </c:pt>
                <c:pt idx="15">
                  <c:v>0.31697800898557577</c:v>
                </c:pt>
                <c:pt idx="16">
                  <c:v>0.30112699285321604</c:v>
                </c:pt>
                <c:pt idx="17">
                  <c:v>0.29326647564469915</c:v>
                </c:pt>
                <c:pt idx="18">
                  <c:v>0.3079354516719348</c:v>
                </c:pt>
                <c:pt idx="19">
                  <c:v>0.300814281240213</c:v>
                </c:pt>
                <c:pt idx="20">
                  <c:v>0.31164200392226776</c:v>
                </c:pt>
                <c:pt idx="21">
                  <c:v>0.31462621885157094</c:v>
                </c:pt>
                <c:pt idx="22">
                  <c:v>0.3091070241524485</c:v>
                </c:pt>
                <c:pt idx="23">
                  <c:v>0.30545774647887325</c:v>
                </c:pt>
                <c:pt idx="24">
                  <c:v>0.30815840727115346</c:v>
                </c:pt>
                <c:pt idx="25">
                  <c:v>0.305513838232139</c:v>
                </c:pt>
                <c:pt idx="26">
                  <c:v>0.29310344827586204</c:v>
                </c:pt>
                <c:pt idx="27">
                  <c:v>0.28388245770258236</c:v>
                </c:pt>
                <c:pt idx="28">
                  <c:v>0.28780734253957563</c:v>
                </c:pt>
                <c:pt idx="29">
                  <c:v>0.2951048951048951</c:v>
                </c:pt>
                <c:pt idx="30">
                  <c:v>0.30057803468208094</c:v>
                </c:pt>
                <c:pt idx="31">
                  <c:v>0.2950011734334663</c:v>
                </c:pt>
                <c:pt idx="32">
                  <c:v>0.29774812343619683</c:v>
                </c:pt>
                <c:pt idx="33">
                  <c:v>0.3021088769004414</c:v>
                </c:pt>
                <c:pt idx="34">
                  <c:v>0.3245603093426469</c:v>
                </c:pt>
                <c:pt idx="35">
                  <c:v>0.3064798598949212</c:v>
                </c:pt>
                <c:pt idx="36">
                  <c:v>0.2856141989724428</c:v>
                </c:pt>
                <c:pt idx="37">
                  <c:v>0.29664769133459834</c:v>
                </c:pt>
                <c:pt idx="38">
                  <c:v>0.29234507897934386</c:v>
                </c:pt>
                <c:pt idx="39">
                  <c:v>0.3210865401358175</c:v>
                </c:pt>
                <c:pt idx="40">
                  <c:v>0.3143979992854591</c:v>
                </c:pt>
                <c:pt idx="41">
                  <c:v>0.3066428455416599</c:v>
                </c:pt>
                <c:pt idx="42">
                  <c:v>0.31561461794019935</c:v>
                </c:pt>
                <c:pt idx="43">
                  <c:v>0.3071615841037671</c:v>
                </c:pt>
                <c:pt idx="44">
                  <c:v>0.3025999312793494</c:v>
                </c:pt>
                <c:pt idx="45">
                  <c:v>0.3041220382992535</c:v>
                </c:pt>
                <c:pt idx="46">
                  <c:v>0.3246560427595764</c:v>
                </c:pt>
                <c:pt idx="47">
                  <c:v>0.31618114166439787</c:v>
                </c:pt>
                <c:pt idx="48">
                  <c:v>0.3015329662152106</c:v>
                </c:pt>
                <c:pt idx="49">
                  <c:v>0.3205233033524121</c:v>
                </c:pt>
                <c:pt idx="50">
                  <c:v>0.33075107964916967</c:v>
                </c:pt>
                <c:pt idx="51">
                  <c:v>0.3291760540714515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682556330726601</c:v>
                </c:pt>
              </c:numCache>
            </c:numRef>
          </c:xVal>
          <c:yVal>
            <c:numRef>
              <c:f>Sheet1!$B$163:$B$164</c:f>
              <c:numCache>
                <c:formatCode>General</c:formatCode>
                <c:ptCount val="2"/>
                <c:pt idx="0">
                  <c:v>0.39605903917055874</c:v>
                </c:pt>
                <c:pt idx="1">
                  <c:v>0.3960590391705587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682556330726601</c:v>
                </c:pt>
                <c:pt idx="1">
                  <c:v>0.5682556330726601</c:v>
                </c:pt>
              </c:numCache>
            </c:numRef>
          </c:xVal>
          <c:yVal>
            <c:numRef>
              <c:f>Sheet1!$B$167:$B$168</c:f>
              <c:numCache>
                <c:formatCode>General</c:formatCode>
                <c:ptCount val="2"/>
                <c:pt idx="0">
                  <c:v>0.396059039170558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737174960510831</c:v>
                </c:pt>
              </c:numCache>
            </c:numRef>
          </c:xVal>
          <c:yVal>
            <c:numRef>
              <c:f>Sheet1!$B$171:$B$172</c:f>
              <c:numCache>
                <c:formatCode>General</c:formatCode>
                <c:ptCount val="2"/>
                <c:pt idx="0">
                  <c:v>0.320495850822061</c:v>
                </c:pt>
                <c:pt idx="1">
                  <c:v>0.32049585082206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737174960510831</c:v>
                </c:pt>
                <c:pt idx="1">
                  <c:v>0.1737174960510831</c:v>
                </c:pt>
              </c:numCache>
            </c:numRef>
          </c:xVal>
          <c:yVal>
            <c:numRef>
              <c:f>Sheet1!$B$175:$B$176</c:f>
              <c:numCache>
                <c:formatCode>General</c:formatCode>
                <c:ptCount val="2"/>
                <c:pt idx="0">
                  <c:v>0.32049585082206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4479955587951462</c:v>
                </c:pt>
              </c:numCache>
            </c:numRef>
          </c:xVal>
          <c:yVal>
            <c:numRef>
              <c:f>Sheet1!$B$179:$B$180</c:f>
              <c:numCache>
                <c:formatCode>General</c:formatCode>
                <c:ptCount val="2"/>
                <c:pt idx="0">
                  <c:v>0.31495739571520953</c:v>
                </c:pt>
                <c:pt idx="1">
                  <c:v>0.3149573957152095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4479955587951462</c:v>
                </c:pt>
                <c:pt idx="1">
                  <c:v>0.14479955587951462</c:v>
                </c:pt>
              </c:numCache>
            </c:numRef>
          </c:xVal>
          <c:yVal>
            <c:numRef>
              <c:f>Sheet1!$B$183:$B$184</c:f>
              <c:numCache>
                <c:formatCode>General</c:formatCode>
                <c:ptCount val="2"/>
                <c:pt idx="0">
                  <c:v>0.3149573957152095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07648570214814472</c:v>
                </c:pt>
                <c:pt idx="1">
                  <c:v>0.08011187706303552</c:v>
                </c:pt>
                <c:pt idx="2">
                  <c:v>0.1058754842806919</c:v>
                </c:pt>
                <c:pt idx="3">
                  <c:v>0.11599244372956004</c:v>
                </c:pt>
                <c:pt idx="4">
                  <c:v>0.12220038009819986</c:v>
                </c:pt>
                <c:pt idx="5">
                  <c:v>0.11328579800221976</c:v>
                </c:pt>
                <c:pt idx="6">
                  <c:v>0.10309228156720206</c:v>
                </c:pt>
                <c:pt idx="7">
                  <c:v>0.09941110698966443</c:v>
                </c:pt>
                <c:pt idx="8">
                  <c:v>0.13736756605252473</c:v>
                </c:pt>
                <c:pt idx="9">
                  <c:v>0.11402697921864832</c:v>
                </c:pt>
                <c:pt idx="10">
                  <c:v>0.13528835990157267</c:v>
                </c:pt>
                <c:pt idx="11">
                  <c:v>0.12035535608021064</c:v>
                </c:pt>
                <c:pt idx="12">
                  <c:v>0.15409538225311148</c:v>
                </c:pt>
                <c:pt idx="13">
                  <c:v>0.12565494259133053</c:v>
                </c:pt>
                <c:pt idx="14">
                  <c:v>0.10965256718619727</c:v>
                </c:pt>
                <c:pt idx="15">
                  <c:v>0.11761452922429644</c:v>
                </c:pt>
                <c:pt idx="16">
                  <c:v>0.08382507639048176</c:v>
                </c:pt>
                <c:pt idx="17">
                  <c:v>0.08871586908663708</c:v>
                </c:pt>
                <c:pt idx="18">
                  <c:v>0.09868923727352343</c:v>
                </c:pt>
                <c:pt idx="19">
                  <c:v>0.1349124189009264</c:v>
                </c:pt>
                <c:pt idx="20">
                  <c:v>0.11608647342047862</c:v>
                </c:pt>
                <c:pt idx="21">
                  <c:v>0.07719889725389771</c:v>
                </c:pt>
                <c:pt idx="22">
                  <c:v>0.09732593413753703</c:v>
                </c:pt>
                <c:pt idx="23">
                  <c:v>0.10326232066608045</c:v>
                </c:pt>
                <c:pt idx="24">
                  <c:v>0.09276291544166045</c:v>
                </c:pt>
                <c:pt idx="25">
                  <c:v>0.12029568855316676</c:v>
                </c:pt>
                <c:pt idx="26">
                  <c:v>0.10233009860523964</c:v>
                </c:pt>
                <c:pt idx="27">
                  <c:v>0.1209894479161599</c:v>
                </c:pt>
                <c:pt idx="28">
                  <c:v>0.128729115161203</c:v>
                </c:pt>
                <c:pt idx="29">
                  <c:v>0.1235329173544901</c:v>
                </c:pt>
                <c:pt idx="30">
                  <c:v>0.13916993442437894</c:v>
                </c:pt>
                <c:pt idx="31">
                  <c:v>0.10661032957443672</c:v>
                </c:pt>
                <c:pt idx="32">
                  <c:v>0.11523546421992217</c:v>
                </c:pt>
                <c:pt idx="33">
                  <c:v>0.1311683954469449</c:v>
                </c:pt>
                <c:pt idx="34">
                  <c:v>0.112525369089229</c:v>
                </c:pt>
                <c:pt idx="35">
                  <c:v>0.12746739067941104</c:v>
                </c:pt>
                <c:pt idx="36">
                  <c:v>0.10365450969495035</c:v>
                </c:pt>
                <c:pt idx="37">
                  <c:v>0.11690961485532872</c:v>
                </c:pt>
                <c:pt idx="38">
                  <c:v>0.105680416794361</c:v>
                </c:pt>
                <c:pt idx="39">
                  <c:v>0.12128338014416663</c:v>
                </c:pt>
                <c:pt idx="40">
                  <c:v>0.12870320552512501</c:v>
                </c:pt>
                <c:pt idx="41">
                  <c:v>0.1231771157354304</c:v>
                </c:pt>
                <c:pt idx="42">
                  <c:v>0.12321590663568033</c:v>
                </c:pt>
                <c:pt idx="43">
                  <c:v>0.13947128900778352</c:v>
                </c:pt>
                <c:pt idx="44">
                  <c:v>0.128353888336041</c:v>
                </c:pt>
                <c:pt idx="45">
                  <c:v>0.1256758070092693</c:v>
                </c:pt>
                <c:pt idx="46">
                  <c:v>0.10620506748613977</c:v>
                </c:pt>
                <c:pt idx="47">
                  <c:v>0.10873676070307146</c:v>
                </c:pt>
                <c:pt idx="48">
                  <c:v>0.12395967517081156</c:v>
                </c:pt>
                <c:pt idx="49">
                  <c:v>0.12001204722219924</c:v>
                </c:pt>
                <c:pt idx="50">
                  <c:v>0.15147535466662942</c:v>
                </c:pt>
                <c:pt idx="51">
                  <c:v>0.12891738392589258</c:v>
                </c:pt>
                <c:pt idx="52">
                  <c:v>0.1737174960510831</c:v>
                </c:pt>
                <c:pt idx="53">
                  <c:v>0.5682556330726601</c:v>
                </c:pt>
                <c:pt idx="54">
                  <c:v>0.14479955587951462</c:v>
                </c:pt>
              </c:numCache>
            </c:numRef>
          </c:xVal>
          <c:yVal>
            <c:numRef>
              <c:f>Sheet1!$B$187:$B$241</c:f>
              <c:numCache>
                <c:formatCode>General</c:formatCode>
                <c:ptCount val="55"/>
                <c:pt idx="0">
                  <c:v>0.30187371099138544</c:v>
                </c:pt>
                <c:pt idx="1">
                  <c:v>0.3025682074477914</c:v>
                </c:pt>
                <c:pt idx="2">
                  <c:v>0.3075025347587606</c:v>
                </c:pt>
                <c:pt idx="3">
                  <c:v>0.3094401667406015</c:v>
                </c:pt>
                <c:pt idx="4">
                  <c:v>0.3106291302933274</c:v>
                </c:pt>
                <c:pt idx="5">
                  <c:v>0.30892178141432697</c:v>
                </c:pt>
                <c:pt idx="6">
                  <c:v>0.30696948699704324</c:v>
                </c:pt>
                <c:pt idx="7">
                  <c:v>0.30626445683178205</c:v>
                </c:pt>
                <c:pt idx="8">
                  <c:v>0.3135339975835601</c:v>
                </c:pt>
                <c:pt idx="9">
                  <c:v>0.30906373477853194</c:v>
                </c:pt>
                <c:pt idx="10">
                  <c:v>0.3131357814638567</c:v>
                </c:pt>
                <c:pt idx="11">
                  <c:v>0.31027576547432334</c:v>
                </c:pt>
                <c:pt idx="12">
                  <c:v>0.3167377617006773</c:v>
                </c:pt>
                <c:pt idx="13">
                  <c:v>0.31129075899746406</c:v>
                </c:pt>
                <c:pt idx="14">
                  <c:v>0.30822593358948247</c:v>
                </c:pt>
                <c:pt idx="15">
                  <c:v>0.30975083367049944</c:v>
                </c:pt>
                <c:pt idx="16">
                  <c:v>0.303279371094159</c:v>
                </c:pt>
                <c:pt idx="17">
                  <c:v>0.30421607113655014</c:v>
                </c:pt>
                <c:pt idx="18">
                  <c:v>0.3061262020670193</c:v>
                </c:pt>
                <c:pt idx="19">
                  <c:v>0.3130637800577209</c:v>
                </c:pt>
                <c:pt idx="20">
                  <c:v>0.3094581756035694</c:v>
                </c:pt>
                <c:pt idx="21">
                  <c:v>0.3020103043674075</c:v>
                </c:pt>
                <c:pt idx="22">
                  <c:v>0.305865097950651</c:v>
                </c:pt>
                <c:pt idx="23">
                  <c:v>0.30700205342155207</c:v>
                </c:pt>
                <c:pt idx="24">
                  <c:v>0.3049911742185698</c:v>
                </c:pt>
                <c:pt idx="25">
                  <c:v>0.3102643377613566</c:v>
                </c:pt>
                <c:pt idx="26">
                  <c:v>0.3068235113122956</c:v>
                </c:pt>
                <c:pt idx="27">
                  <c:v>0.31039720874262633</c:v>
                </c:pt>
                <c:pt idx="28">
                  <c:v>0.3118795342237747</c:v>
                </c:pt>
                <c:pt idx="29">
                  <c:v>0.3108843420313829</c:v>
                </c:pt>
                <c:pt idx="30">
                  <c:v>0.3138791928586834</c:v>
                </c:pt>
                <c:pt idx="31">
                  <c:v>0.3076432746470701</c:v>
                </c:pt>
                <c:pt idx="32">
                  <c:v>0.3092951876374544</c:v>
                </c:pt>
                <c:pt idx="33">
                  <c:v>0.3123467128774221</c:v>
                </c:pt>
                <c:pt idx="34">
                  <c:v>0.30877614167057055</c:v>
                </c:pt>
                <c:pt idx="35">
                  <c:v>0.31163788477162974</c:v>
                </c:pt>
                <c:pt idx="36">
                  <c:v>0.3070771667012984</c:v>
                </c:pt>
                <c:pt idx="37">
                  <c:v>0.3096158262473033</c:v>
                </c:pt>
                <c:pt idx="38">
                  <c:v>0.30746517481854907</c:v>
                </c:pt>
                <c:pt idx="39">
                  <c:v>0.3104535035699762</c:v>
                </c:pt>
                <c:pt idx="40">
                  <c:v>0.31187457192855583</c:v>
                </c:pt>
                <c:pt idx="41">
                  <c:v>0.31081619778312675</c:v>
                </c:pt>
                <c:pt idx="42">
                  <c:v>0.31082362713868644</c:v>
                </c:pt>
                <c:pt idx="43">
                  <c:v>0.3139369092389487</c:v>
                </c:pt>
                <c:pt idx="44">
                  <c:v>0.3118076695987801</c:v>
                </c:pt>
                <c:pt idx="45">
                  <c:v>0.31129475501659265</c:v>
                </c:pt>
                <c:pt idx="46">
                  <c:v>0.3075656575737507</c:v>
                </c:pt>
                <c:pt idx="47">
                  <c:v>0.30805053544344363</c:v>
                </c:pt>
                <c:pt idx="48">
                  <c:v>0.3109660760343295</c:v>
                </c:pt>
                <c:pt idx="49">
                  <c:v>0.3102100138790645</c:v>
                </c:pt>
                <c:pt idx="50">
                  <c:v>0.3162359657539276</c:v>
                </c:pt>
                <c:pt idx="51">
                  <c:v>0.31191559205137476</c:v>
                </c:pt>
                <c:pt idx="52">
                  <c:v>0.320495850822061</c:v>
                </c:pt>
                <c:pt idx="53">
                  <c:v>0.39605903917055874</c:v>
                </c:pt>
                <c:pt idx="54">
                  <c:v>0.3149573957152095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169390787518574"/>
          <c:min val="0.2069222180870859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75.9792</c:v>
                </c:pt>
                <c:pt idx="1">
                  <c:v>934.7499</c:v>
                </c:pt>
                <c:pt idx="2">
                  <c:v>964.879</c:v>
                </c:pt>
                <c:pt idx="3">
                  <c:v>980.9126</c:v>
                </c:pt>
                <c:pt idx="4">
                  <c:v>983.7031</c:v>
                </c:pt>
                <c:pt idx="5">
                  <c:v>976.3449</c:v>
                </c:pt>
                <c:pt idx="6">
                  <c:v>944.25</c:v>
                </c:pt>
                <c:pt idx="7">
                  <c:v>952.4314</c:v>
                </c:pt>
                <c:pt idx="8">
                  <c:v>962.1132</c:v>
                </c:pt>
                <c:pt idx="9">
                  <c:v>917.8373</c:v>
                </c:pt>
                <c:pt idx="10">
                  <c:v>919.7967</c:v>
                </c:pt>
                <c:pt idx="11">
                  <c:v>987.1161</c:v>
                </c:pt>
                <c:pt idx="12">
                  <c:v>978.4789</c:v>
                </c:pt>
                <c:pt idx="13">
                  <c:v>998.4048</c:v>
                </c:pt>
                <c:pt idx="14">
                  <c:v>1028.9665</c:v>
                </c:pt>
                <c:pt idx="15">
                  <c:v>1057.5153</c:v>
                </c:pt>
                <c:pt idx="16">
                  <c:v>1070.6741</c:v>
                </c:pt>
                <c:pt idx="17">
                  <c:v>1067.9958</c:v>
                </c:pt>
                <c:pt idx="18">
                  <c:v>1146.2201</c:v>
                </c:pt>
                <c:pt idx="19">
                  <c:v>1113.0711</c:v>
                </c:pt>
                <c:pt idx="20">
                  <c:v>1146.5378</c:v>
                </c:pt>
                <c:pt idx="21">
                  <c:v>1138.545</c:v>
                </c:pt>
                <c:pt idx="22">
                  <c:v>1081.0885</c:v>
                </c:pt>
                <c:pt idx="23">
                  <c:v>1089.0582</c:v>
                </c:pt>
                <c:pt idx="24">
                  <c:v>1097.6714</c:v>
                </c:pt>
                <c:pt idx="25">
                  <c:v>1077.6452</c:v>
                </c:pt>
                <c:pt idx="26">
                  <c:v>1069.1771</c:v>
                </c:pt>
                <c:pt idx="27">
                  <c:v>1061.5706</c:v>
                </c:pt>
                <c:pt idx="28">
                  <c:v>1091.3736</c:v>
                </c:pt>
                <c:pt idx="29">
                  <c:v>1075.3793</c:v>
                </c:pt>
                <c:pt idx="30">
                  <c:v>1077.4378</c:v>
                </c:pt>
                <c:pt idx="31">
                  <c:v>1040.8676</c:v>
                </c:pt>
                <c:pt idx="32">
                  <c:v>1030.5073</c:v>
                </c:pt>
                <c:pt idx="33">
                  <c:v>985.54</c:v>
                </c:pt>
                <c:pt idx="34">
                  <c:v>1014.8445</c:v>
                </c:pt>
                <c:pt idx="35">
                  <c:v>1059.1264</c:v>
                </c:pt>
                <c:pt idx="36">
                  <c:v>1114.2331</c:v>
                </c:pt>
                <c:pt idx="37">
                  <c:v>1081.9429</c:v>
                </c:pt>
                <c:pt idx="38">
                  <c:v>1110.1427</c:v>
                </c:pt>
                <c:pt idx="39">
                  <c:v>1194.2345</c:v>
                </c:pt>
                <c:pt idx="40">
                  <c:v>1187.2494</c:v>
                </c:pt>
                <c:pt idx="41">
                  <c:v>1226.4029</c:v>
                </c:pt>
                <c:pt idx="42">
                  <c:v>1247.2173</c:v>
                </c:pt>
                <c:pt idx="43">
                  <c:v>1210.0798</c:v>
                </c:pt>
                <c:pt idx="44">
                  <c:v>1193.572</c:v>
                </c:pt>
                <c:pt idx="45">
                  <c:v>1164.0138</c:v>
                </c:pt>
                <c:pt idx="46">
                  <c:v>1142.3637</c:v>
                </c:pt>
                <c:pt idx="47">
                  <c:v>1133.5818</c:v>
                </c:pt>
                <c:pt idx="48">
                  <c:v>1135.7449</c:v>
                </c:pt>
                <c:pt idx="49">
                  <c:v>1088.3049</c:v>
                </c:pt>
                <c:pt idx="50">
                  <c:v>1098.4956</c:v>
                </c:pt>
                <c:pt idx="51">
                  <c:v>1076.4179</c:v>
                </c:pt>
                <c:pt idx="52">
                  <c:v>1109.1442</c:v>
                </c:pt>
                <c:pt idx="53">
                  <c:v>1212.4404</c:v>
                </c:pt>
                <c:pt idx="54">
                  <c:v>1182.8002</c:v>
                </c:pt>
                <c:pt idx="55">
                  <c:v>1225.5855</c:v>
                </c:pt>
                <c:pt idx="56">
                  <c:v>1223.353</c:v>
                </c:pt>
                <c:pt idx="57">
                  <c:v>1181.7473</c:v>
                </c:pt>
                <c:pt idx="58">
                  <c:v>1191.3187</c:v>
                </c:pt>
                <c:pt idx="59">
                  <c:v>1153.9399</c:v>
                </c:pt>
                <c:pt idx="60">
                  <c:v>1175.0176</c:v>
                </c:pt>
                <c:pt idx="61">
                  <c:v>1208.3056</c:v>
                </c:pt>
                <c:pt idx="62">
                  <c:v>1145.9299</c:v>
                </c:pt>
                <c:pt idx="63">
                  <c:v>1156.0792</c:v>
                </c:pt>
                <c:pt idx="64">
                  <c:v>1163.4905</c:v>
                </c:pt>
                <c:pt idx="65">
                  <c:v>1162.1219</c:v>
                </c:pt>
                <c:pt idx="66">
                  <c:v>1215.5272</c:v>
                </c:pt>
                <c:pt idx="67">
                  <c:v>1228.5274</c:v>
                </c:pt>
                <c:pt idx="68">
                  <c:v>1246.9315</c:v>
                </c:pt>
                <c:pt idx="69">
                  <c:v>1279.6627</c:v>
                </c:pt>
                <c:pt idx="70">
                  <c:v>1270.3012</c:v>
                </c:pt>
                <c:pt idx="71">
                  <c:v>1314.9887</c:v>
                </c:pt>
                <c:pt idx="72">
                  <c:v>1368.9381</c:v>
                </c:pt>
                <c:pt idx="73">
                  <c:v>1346.6397</c:v>
                </c:pt>
                <c:pt idx="74">
                  <c:v>1341.4262</c:v>
                </c:pt>
                <c:pt idx="75">
                  <c:v>1299.3929</c:v>
                </c:pt>
                <c:pt idx="76">
                  <c:v>1282.1505</c:v>
                </c:pt>
                <c:pt idx="77">
                  <c:v>1266.1288</c:v>
                </c:pt>
                <c:pt idx="78">
                  <c:v>1344.2776</c:v>
                </c:pt>
                <c:pt idx="79">
                  <c:v>1313.9324</c:v>
                </c:pt>
                <c:pt idx="80">
                  <c:v>1340.1054</c:v>
                </c:pt>
                <c:pt idx="81">
                  <c:v>1300.5924</c:v>
                </c:pt>
                <c:pt idx="82">
                  <c:v>1337.4743</c:v>
                </c:pt>
                <c:pt idx="83">
                  <c:v>1277.548</c:v>
                </c:pt>
                <c:pt idx="84">
                  <c:v>1309.5135</c:v>
                </c:pt>
                <c:pt idx="85">
                  <c:v>1288.3861</c:v>
                </c:pt>
                <c:pt idx="86">
                  <c:v>1314.3665</c:v>
                </c:pt>
                <c:pt idx="87">
                  <c:v>1284.2899</c:v>
                </c:pt>
                <c:pt idx="88">
                  <c:v>1359.9096</c:v>
                </c:pt>
                <c:pt idx="89">
                  <c:v>1354.3124</c:v>
                </c:pt>
                <c:pt idx="90">
                  <c:v>1391.1547</c:v>
                </c:pt>
                <c:pt idx="91">
                  <c:v>1376.8302</c:v>
                </c:pt>
                <c:pt idx="92">
                  <c:v>1308.974</c:v>
                </c:pt>
                <c:pt idx="93">
                  <c:v>1336.9731</c:v>
                </c:pt>
                <c:pt idx="94">
                  <c:v>1307.9982</c:v>
                </c:pt>
                <c:pt idx="95">
                  <c:v>1272.2445</c:v>
                </c:pt>
                <c:pt idx="96">
                  <c:v>1260.689</c:v>
                </c:pt>
                <c:pt idx="97">
                  <c:v>1248.0474</c:v>
                </c:pt>
                <c:pt idx="98">
                  <c:v>1223.3644</c:v>
                </c:pt>
                <c:pt idx="99">
                  <c:v>1193.9065</c:v>
                </c:pt>
                <c:pt idx="100">
                  <c:v>1147.4908</c:v>
                </c:pt>
                <c:pt idx="101">
                  <c:v>1207.7053</c:v>
                </c:pt>
                <c:pt idx="102">
                  <c:v>1199.2606</c:v>
                </c:pt>
                <c:pt idx="103">
                  <c:v>1201.9109</c:v>
                </c:pt>
                <c:pt idx="104">
                  <c:v>1245.5394</c:v>
                </c:pt>
              </c:numCache>
            </c:numRef>
          </c:xVal>
          <c:yVal>
            <c:numRef>
              <c:f>Sheet1!$B$2:$B$106</c:f>
              <c:numCache>
                <c:formatCode>General</c:formatCode>
                <c:ptCount val="105"/>
                <c:pt idx="0">
                  <c:v>0.34535674735010286</c:v>
                </c:pt>
                <c:pt idx="1">
                  <c:v>0.36048252179272694</c:v>
                </c:pt>
                <c:pt idx="2">
                  <c:v>0.3888019154618289</c:v>
                </c:pt>
                <c:pt idx="3">
                  <c:v>0.40172064777327937</c:v>
                </c:pt>
                <c:pt idx="4">
                  <c:v>0.4191168123510047</c:v>
                </c:pt>
                <c:pt idx="5">
                  <c:v>0.38954560242923764</c:v>
                </c:pt>
                <c:pt idx="6">
                  <c:v>0.4241974785464562</c:v>
                </c:pt>
                <c:pt idx="7">
                  <c:v>0.4307825656265478</c:v>
                </c:pt>
                <c:pt idx="8">
                  <c:v>0.4045270612038442</c:v>
                </c:pt>
                <c:pt idx="9">
                  <c:v>0.398595343467385</c:v>
                </c:pt>
                <c:pt idx="10">
                  <c:v>0.38155907889769725</c:v>
                </c:pt>
                <c:pt idx="11">
                  <c:v>0.3429134967596506</c:v>
                </c:pt>
                <c:pt idx="12">
                  <c:v>0.3283718609679029</c:v>
                </c:pt>
                <c:pt idx="13">
                  <c:v>0.32891598197720645</c:v>
                </c:pt>
                <c:pt idx="14">
                  <c:v>0.30250990752972257</c:v>
                </c:pt>
                <c:pt idx="15">
                  <c:v>0.29776192020759</c:v>
                </c:pt>
                <c:pt idx="16">
                  <c:v>0.29018190879641165</c:v>
                </c:pt>
                <c:pt idx="17">
                  <c:v>0.2924260834345889</c:v>
                </c:pt>
                <c:pt idx="18">
                  <c:v>0.269364527347455</c:v>
                </c:pt>
                <c:pt idx="19">
                  <c:v>0.279264518478063</c:v>
                </c:pt>
                <c:pt idx="20">
                  <c:v>0.2820202631181007</c:v>
                </c:pt>
                <c:pt idx="21">
                  <c:v>0.3059532780708365</c:v>
                </c:pt>
                <c:pt idx="22">
                  <c:v>0.3503233168505135</c:v>
                </c:pt>
                <c:pt idx="23">
                  <c:v>0.3644256006460731</c:v>
                </c:pt>
                <c:pt idx="24">
                  <c:v>0.37865524306202275</c:v>
                </c:pt>
                <c:pt idx="25">
                  <c:v>0.3801546391752577</c:v>
                </c:pt>
                <c:pt idx="26">
                  <c:v>0.39286944540130897</c:v>
                </c:pt>
                <c:pt idx="27">
                  <c:v>0.41323792486583183</c:v>
                </c:pt>
                <c:pt idx="28">
                  <c:v>0.3720294067361942</c:v>
                </c:pt>
                <c:pt idx="29">
                  <c:v>0.3772208121827411</c:v>
                </c:pt>
                <c:pt idx="30">
                  <c:v>0.36666666666666664</c:v>
                </c:pt>
                <c:pt idx="31">
                  <c:v>0.3788927335640138</c:v>
                </c:pt>
                <c:pt idx="32">
                  <c:v>0.395821242019733</c:v>
                </c:pt>
                <c:pt idx="33">
                  <c:v>0.4005830009205278</c:v>
                </c:pt>
                <c:pt idx="34">
                  <c:v>0.39319313779745435</c:v>
                </c:pt>
                <c:pt idx="35">
                  <c:v>0.39588634435962683</c:v>
                </c:pt>
                <c:pt idx="36">
                  <c:v>0.33078982597054885</c:v>
                </c:pt>
                <c:pt idx="37">
                  <c:v>0.3654183266932271</c:v>
                </c:pt>
                <c:pt idx="38">
                  <c:v>0.35771276595744683</c:v>
                </c:pt>
                <c:pt idx="39">
                  <c:v>0.32903687790905833</c:v>
                </c:pt>
                <c:pt idx="40">
                  <c:v>0.3412196914033799</c:v>
                </c:pt>
                <c:pt idx="41">
                  <c:v>0.31542569902607603</c:v>
                </c:pt>
                <c:pt idx="42">
                  <c:v>0.3173860751035681</c:v>
                </c:pt>
                <c:pt idx="43">
                  <c:v>0.3248499399759904</c:v>
                </c:pt>
                <c:pt idx="44">
                  <c:v>0.31010425020048116</c:v>
                </c:pt>
                <c:pt idx="45">
                  <c:v>0.31930729550479</c:v>
                </c:pt>
                <c:pt idx="46">
                  <c:v>0.3429047929809296</c:v>
                </c:pt>
                <c:pt idx="47">
                  <c:v>0.321825714078058</c:v>
                </c:pt>
                <c:pt idx="48">
                  <c:v>0.31490823226360415</c:v>
                </c:pt>
                <c:pt idx="49">
                  <c:v>0.3321206008429091</c:v>
                </c:pt>
                <c:pt idx="50">
                  <c:v>0.31934650562033096</c:v>
                </c:pt>
                <c:pt idx="51">
                  <c:v>0.33135785253616873</c:v>
                </c:pt>
                <c:pt idx="52">
                  <c:v>0.3366093366093366</c:v>
                </c:pt>
                <c:pt idx="53">
                  <c:v>0.33346205831241554</c:v>
                </c:pt>
                <c:pt idx="54">
                  <c:v>0.3545645330535152</c:v>
                </c:pt>
                <c:pt idx="55">
                  <c:v>0.3509471585244267</c:v>
                </c:pt>
                <c:pt idx="56">
                  <c:v>0.3369379624359704</c:v>
                </c:pt>
                <c:pt idx="57">
                  <c:v>0.3409251948577791</c:v>
                </c:pt>
                <c:pt idx="58">
                  <c:v>0.34684602799491</c:v>
                </c:pt>
                <c:pt idx="59">
                  <c:v>0.34563445867287546</c:v>
                </c:pt>
                <c:pt idx="60">
                  <c:v>0.3501058662348985</c:v>
                </c:pt>
                <c:pt idx="61">
                  <c:v>0.3508646817614548</c:v>
                </c:pt>
                <c:pt idx="62">
                  <c:v>0.3595632203830488</c:v>
                </c:pt>
                <c:pt idx="63">
                  <c:v>0.36726824001234</c:v>
                </c:pt>
                <c:pt idx="64">
                  <c:v>0.3451998832798366</c:v>
                </c:pt>
                <c:pt idx="65">
                  <c:v>0.32117074701820464</c:v>
                </c:pt>
                <c:pt idx="66">
                  <c:v>0.3177641008346682</c:v>
                </c:pt>
                <c:pt idx="67">
                  <c:v>0.3051209103840683</c:v>
                </c:pt>
                <c:pt idx="68">
                  <c:v>0.3030070237050044</c:v>
                </c:pt>
                <c:pt idx="69">
                  <c:v>0.28987898789878985</c:v>
                </c:pt>
                <c:pt idx="70">
                  <c:v>0.2927390950961799</c:v>
                </c:pt>
                <c:pt idx="71">
                  <c:v>0.29948567229977957</c:v>
                </c:pt>
                <c:pt idx="72">
                  <c:v>0.289910252923579</c:v>
                </c:pt>
                <c:pt idx="73">
                  <c:v>0.30032611918173735</c:v>
                </c:pt>
                <c:pt idx="74">
                  <c:v>0.30510407755916735</c:v>
                </c:pt>
                <c:pt idx="75">
                  <c:v>0.31750205423171735</c:v>
                </c:pt>
                <c:pt idx="76">
                  <c:v>0.3006802721088435</c:v>
                </c:pt>
                <c:pt idx="77">
                  <c:v>0.31494501532359837</c:v>
                </c:pt>
                <c:pt idx="78">
                  <c:v>0.2981418918918919</c:v>
                </c:pt>
                <c:pt idx="79">
                  <c:v>0.30162325405813517</c:v>
                </c:pt>
                <c:pt idx="80">
                  <c:v>0.27624521072796937</c:v>
                </c:pt>
                <c:pt idx="81">
                  <c:v>0.28343707302262033</c:v>
                </c:pt>
                <c:pt idx="82">
                  <c:v>0.28123195380173244</c:v>
                </c:pt>
                <c:pt idx="83">
                  <c:v>0.2687937062937063</c:v>
                </c:pt>
                <c:pt idx="84">
                  <c:v>0.28508261577845007</c:v>
                </c:pt>
                <c:pt idx="85">
                  <c:v>0.3043753963221306</c:v>
                </c:pt>
                <c:pt idx="86">
                  <c:v>0.29567749846719804</c:v>
                </c:pt>
                <c:pt idx="87">
                  <c:v>0.3214524095581364</c:v>
                </c:pt>
                <c:pt idx="88">
                  <c:v>0.30559416261292566</c:v>
                </c:pt>
                <c:pt idx="89">
                  <c:v>0.3028</c:v>
                </c:pt>
                <c:pt idx="90">
                  <c:v>0.2973137973137973</c:v>
                </c:pt>
                <c:pt idx="91">
                  <c:v>0.25865277260885744</c:v>
                </c:pt>
                <c:pt idx="92">
                  <c:v>0.2939825447864033</c:v>
                </c:pt>
                <c:pt idx="93">
                  <c:v>0.27591729761211414</c:v>
                </c:pt>
                <c:pt idx="94">
                  <c:v>0.2721529240239754</c:v>
                </c:pt>
                <c:pt idx="95">
                  <c:v>0.27486881768449256</c:v>
                </c:pt>
                <c:pt idx="96">
                  <c:v>0.2910351913691241</c:v>
                </c:pt>
                <c:pt idx="97">
                  <c:v>0.288008800880088</c:v>
                </c:pt>
                <c:pt idx="98">
                  <c:v>0.2953028747433265</c:v>
                </c:pt>
                <c:pt idx="99">
                  <c:v>0.3003270553738581</c:v>
                </c:pt>
                <c:pt idx="100">
                  <c:v>0.2988939948594127</c:v>
                </c:pt>
                <c:pt idx="101">
                  <c:v>0.29854680153868074</c:v>
                </c:pt>
                <c:pt idx="102">
                  <c:v>0.2902367650971003</c:v>
                </c:pt>
                <c:pt idx="103">
                  <c:v>0.270535643011096</c:v>
                </c:pt>
                <c:pt idx="104">
                  <c:v>0.2779099647853811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92.4693</c:v>
                </c:pt>
                <c:pt idx="1">
                  <c:v>1310.0741</c:v>
                </c:pt>
                <c:pt idx="2">
                  <c:v>1297.5019</c:v>
                </c:pt>
                <c:pt idx="3">
                  <c:v>1286.6841</c:v>
                </c:pt>
                <c:pt idx="4">
                  <c:v>1287.4985</c:v>
                </c:pt>
                <c:pt idx="5">
                  <c:v>1275.8813</c:v>
                </c:pt>
                <c:pt idx="6">
                  <c:v>1190.8298</c:v>
                </c:pt>
                <c:pt idx="7">
                  <c:v>1239.1474</c:v>
                </c:pt>
                <c:pt idx="8">
                  <c:v>1300.4889</c:v>
                </c:pt>
                <c:pt idx="9">
                  <c:v>1220.1443</c:v>
                </c:pt>
                <c:pt idx="10">
                  <c:v>1264.5403</c:v>
                </c:pt>
                <c:pt idx="11">
                  <c:v>1149.5689</c:v>
                </c:pt>
                <c:pt idx="12">
                  <c:v>1200.5666</c:v>
                </c:pt>
                <c:pt idx="13">
                  <c:v>1233.9006</c:v>
                </c:pt>
                <c:pt idx="14">
                  <c:v>1230.0682</c:v>
                </c:pt>
                <c:pt idx="15">
                  <c:v>1240.4114</c:v>
                </c:pt>
                <c:pt idx="16">
                  <c:v>1296.304</c:v>
                </c:pt>
                <c:pt idx="17">
                  <c:v>1283.6395</c:v>
                </c:pt>
                <c:pt idx="18">
                  <c:v>1222.2853</c:v>
                </c:pt>
                <c:pt idx="19">
                  <c:v>1329.5908</c:v>
                </c:pt>
                <c:pt idx="20">
                  <c:v>1295.8862</c:v>
                </c:pt>
                <c:pt idx="21">
                  <c:v>1207.1563</c:v>
                </c:pt>
                <c:pt idx="22">
                  <c:v>1276.0466</c:v>
                </c:pt>
                <c:pt idx="23">
                  <c:v>1303.4906</c:v>
                </c:pt>
                <c:pt idx="24">
                  <c:v>1321.2338</c:v>
                </c:pt>
                <c:pt idx="25">
                  <c:v>1293.9305</c:v>
                </c:pt>
                <c:pt idx="26">
                  <c:v>1318.2374</c:v>
                </c:pt>
                <c:pt idx="27">
                  <c:v>1309.4034</c:v>
                </c:pt>
                <c:pt idx="28">
                  <c:v>1329.3464</c:v>
                </c:pt>
                <c:pt idx="29">
                  <c:v>1327.302</c:v>
                </c:pt>
                <c:pt idx="30">
                  <c:v>1315.9483</c:v>
                </c:pt>
                <c:pt idx="31">
                  <c:v>1298.2228</c:v>
                </c:pt>
                <c:pt idx="32">
                  <c:v>1325.6982</c:v>
                </c:pt>
                <c:pt idx="33">
                  <c:v>1335.1185</c:v>
                </c:pt>
                <c:pt idx="34">
                  <c:v>1349.4658</c:v>
                </c:pt>
                <c:pt idx="35">
                  <c:v>1365.0367</c:v>
                </c:pt>
                <c:pt idx="36">
                  <c:v>1392.8324</c:v>
                </c:pt>
                <c:pt idx="37">
                  <c:v>1364.2829</c:v>
                </c:pt>
                <c:pt idx="38">
                  <c:v>1379.3408</c:v>
                </c:pt>
                <c:pt idx="39">
                  <c:v>1320.3313</c:v>
                </c:pt>
                <c:pt idx="40">
                  <c:v>1351.0619</c:v>
                </c:pt>
                <c:pt idx="41">
                  <c:v>1374.9809</c:v>
                </c:pt>
                <c:pt idx="42">
                  <c:v>1347.0708</c:v>
                </c:pt>
                <c:pt idx="43">
                  <c:v>1359.6725</c:v>
                </c:pt>
                <c:pt idx="44">
                  <c:v>1288.3032</c:v>
                </c:pt>
                <c:pt idx="45">
                  <c:v>1261.7126</c:v>
                </c:pt>
                <c:pt idx="46">
                  <c:v>1253.6558</c:v>
                </c:pt>
                <c:pt idx="47">
                  <c:v>1220.1165</c:v>
                </c:pt>
                <c:pt idx="48">
                  <c:v>1205.2774</c:v>
                </c:pt>
                <c:pt idx="49">
                  <c:v>1216.6947</c:v>
                </c:pt>
                <c:pt idx="50">
                  <c:v>1167.0316</c:v>
                </c:pt>
                <c:pt idx="51">
                  <c:v>1143.9844</c:v>
                </c:pt>
              </c:numCache>
            </c:numRef>
          </c:xVal>
          <c:yVal>
            <c:numRef>
              <c:f>Sheet1!$B$109:$B$160</c:f>
              <c:numCache>
                <c:formatCode>General</c:formatCode>
                <c:ptCount val="52"/>
                <c:pt idx="0">
                  <c:v>0.2916702558359893</c:v>
                </c:pt>
                <c:pt idx="1">
                  <c:v>0.29713189623675557</c:v>
                </c:pt>
                <c:pt idx="2">
                  <c:v>0.30235806425108863</c:v>
                </c:pt>
                <c:pt idx="3">
                  <c:v>0.337461811576253</c:v>
                </c:pt>
                <c:pt idx="4">
                  <c:v>0.3302561317766314</c:v>
                </c:pt>
                <c:pt idx="5">
                  <c:v>0.30656185919343815</c:v>
                </c:pt>
                <c:pt idx="6">
                  <c:v>0.3320905008050165</c:v>
                </c:pt>
                <c:pt idx="7">
                  <c:v>0.3125</c:v>
                </c:pt>
                <c:pt idx="8">
                  <c:v>0.313678299237866</c:v>
                </c:pt>
                <c:pt idx="9">
                  <c:v>0.3150065452814471</c:v>
                </c:pt>
                <c:pt idx="10">
                  <c:v>0.30897200550711335</c:v>
                </c:pt>
                <c:pt idx="11">
                  <c:v>0.3169037380086007</c:v>
                </c:pt>
                <c:pt idx="12">
                  <c:v>0.3254703466717601</c:v>
                </c:pt>
                <c:pt idx="13">
                  <c:v>0.33390497326742663</c:v>
                </c:pt>
                <c:pt idx="14">
                  <c:v>0.3321123321123321</c:v>
                </c:pt>
                <c:pt idx="15">
                  <c:v>0.31697800898557577</c:v>
                </c:pt>
                <c:pt idx="16">
                  <c:v>0.30112699285321604</c:v>
                </c:pt>
                <c:pt idx="17">
                  <c:v>0.29326647564469915</c:v>
                </c:pt>
                <c:pt idx="18">
                  <c:v>0.3079354516719348</c:v>
                </c:pt>
                <c:pt idx="19">
                  <c:v>0.300814281240213</c:v>
                </c:pt>
                <c:pt idx="20">
                  <c:v>0.31164200392226776</c:v>
                </c:pt>
                <c:pt idx="21">
                  <c:v>0.31462621885157094</c:v>
                </c:pt>
                <c:pt idx="22">
                  <c:v>0.3091070241524485</c:v>
                </c:pt>
                <c:pt idx="23">
                  <c:v>0.30545774647887325</c:v>
                </c:pt>
                <c:pt idx="24">
                  <c:v>0.30815840727115346</c:v>
                </c:pt>
                <c:pt idx="25">
                  <c:v>0.305513838232139</c:v>
                </c:pt>
                <c:pt idx="26">
                  <c:v>0.29310344827586204</c:v>
                </c:pt>
                <c:pt idx="27">
                  <c:v>0.28388245770258236</c:v>
                </c:pt>
                <c:pt idx="28">
                  <c:v>0.28780734253957563</c:v>
                </c:pt>
                <c:pt idx="29">
                  <c:v>0.2951048951048951</c:v>
                </c:pt>
                <c:pt idx="30">
                  <c:v>0.30057803468208094</c:v>
                </c:pt>
                <c:pt idx="31">
                  <c:v>0.2950011734334663</c:v>
                </c:pt>
                <c:pt idx="32">
                  <c:v>0.29774812343619683</c:v>
                </c:pt>
                <c:pt idx="33">
                  <c:v>0.3021088769004414</c:v>
                </c:pt>
                <c:pt idx="34">
                  <c:v>0.3245603093426469</c:v>
                </c:pt>
                <c:pt idx="35">
                  <c:v>0.3064798598949212</c:v>
                </c:pt>
                <c:pt idx="36">
                  <c:v>0.2856141989724428</c:v>
                </c:pt>
                <c:pt idx="37">
                  <c:v>0.29664769133459834</c:v>
                </c:pt>
                <c:pt idx="38">
                  <c:v>0.29234507897934386</c:v>
                </c:pt>
                <c:pt idx="39">
                  <c:v>0.3210865401358175</c:v>
                </c:pt>
                <c:pt idx="40">
                  <c:v>0.3143979992854591</c:v>
                </c:pt>
                <c:pt idx="41">
                  <c:v>0.3066428455416599</c:v>
                </c:pt>
                <c:pt idx="42">
                  <c:v>0.31561461794019935</c:v>
                </c:pt>
                <c:pt idx="43">
                  <c:v>0.3071615841037671</c:v>
                </c:pt>
                <c:pt idx="44">
                  <c:v>0.3025999312793494</c:v>
                </c:pt>
                <c:pt idx="45">
                  <c:v>0.3041220382992535</c:v>
                </c:pt>
                <c:pt idx="46">
                  <c:v>0.3246560427595764</c:v>
                </c:pt>
                <c:pt idx="47">
                  <c:v>0.31618114166439787</c:v>
                </c:pt>
                <c:pt idx="48">
                  <c:v>0.3015329662152106</c:v>
                </c:pt>
                <c:pt idx="49">
                  <c:v>0.3205233033524121</c:v>
                </c:pt>
                <c:pt idx="50">
                  <c:v>0.33075107964916967</c:v>
                </c:pt>
                <c:pt idx="51">
                  <c:v>0.3291760540714515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86.8216737094027</c:v>
                </c:pt>
              </c:numCache>
            </c:numRef>
          </c:xVal>
          <c:yVal>
            <c:numRef>
              <c:f>Sheet1!$B$163:$B$164</c:f>
              <c:numCache>
                <c:formatCode>General</c:formatCode>
                <c:ptCount val="2"/>
                <c:pt idx="0">
                  <c:v>0.39605903917055874</c:v>
                </c:pt>
                <c:pt idx="1">
                  <c:v>0.3960590391705587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86.8216737094027</c:v>
                </c:pt>
                <c:pt idx="1">
                  <c:v>586.8216737094027</c:v>
                </c:pt>
              </c:numCache>
            </c:numRef>
          </c:xVal>
          <c:yVal>
            <c:numRef>
              <c:f>Sheet1!$B$167:$B$168</c:f>
              <c:numCache>
                <c:formatCode>General</c:formatCode>
                <c:ptCount val="2"/>
                <c:pt idx="0">
                  <c:v>0.396059039170558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94.3980788008173</c:v>
                </c:pt>
              </c:numCache>
            </c:numRef>
          </c:xVal>
          <c:yVal>
            <c:numRef>
              <c:f>Sheet1!$B$171:$B$172</c:f>
              <c:numCache>
                <c:formatCode>General</c:formatCode>
                <c:ptCount val="2"/>
                <c:pt idx="0">
                  <c:v>0.320495850822061</c:v>
                </c:pt>
                <c:pt idx="1">
                  <c:v>0.32049585082206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94.3980788008173</c:v>
                </c:pt>
                <c:pt idx="1">
                  <c:v>1194.3980788008173</c:v>
                </c:pt>
              </c:numCache>
            </c:numRef>
          </c:xVal>
          <c:yVal>
            <c:numRef>
              <c:f>Sheet1!$B$175:$B$176</c:f>
              <c:numCache>
                <c:formatCode>General</c:formatCode>
                <c:ptCount val="2"/>
                <c:pt idx="0">
                  <c:v>0.32049585082206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38.9308032282388</c:v>
                </c:pt>
              </c:numCache>
            </c:numRef>
          </c:xVal>
          <c:yVal>
            <c:numRef>
              <c:f>Sheet1!$B$179:$B$180</c:f>
              <c:numCache>
                <c:formatCode>General</c:formatCode>
                <c:ptCount val="2"/>
                <c:pt idx="0">
                  <c:v>0.31495739571520953</c:v>
                </c:pt>
                <c:pt idx="1">
                  <c:v>0.3149573957152095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38.9308032282388</c:v>
                </c:pt>
                <c:pt idx="1">
                  <c:v>1238.9308032282388</c:v>
                </c:pt>
              </c:numCache>
            </c:numRef>
          </c:xVal>
          <c:yVal>
            <c:numRef>
              <c:f>Sheet1!$B$183:$B$184</c:f>
              <c:numCache>
                <c:formatCode>General</c:formatCode>
                <c:ptCount val="2"/>
                <c:pt idx="0">
                  <c:v>0.3149573957152095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92.4693</c:v>
                </c:pt>
                <c:pt idx="1">
                  <c:v>1310.0741</c:v>
                </c:pt>
                <c:pt idx="2">
                  <c:v>1297.5019</c:v>
                </c:pt>
                <c:pt idx="3">
                  <c:v>1286.6841</c:v>
                </c:pt>
                <c:pt idx="4">
                  <c:v>1287.4985</c:v>
                </c:pt>
                <c:pt idx="5">
                  <c:v>1275.8813</c:v>
                </c:pt>
                <c:pt idx="6">
                  <c:v>1190.8298</c:v>
                </c:pt>
                <c:pt idx="7">
                  <c:v>1239.1474</c:v>
                </c:pt>
                <c:pt idx="8">
                  <c:v>1300.4889</c:v>
                </c:pt>
                <c:pt idx="9">
                  <c:v>1220.1443</c:v>
                </c:pt>
                <c:pt idx="10">
                  <c:v>1264.5403</c:v>
                </c:pt>
                <c:pt idx="11">
                  <c:v>1149.5689</c:v>
                </c:pt>
                <c:pt idx="12">
                  <c:v>1200.5666</c:v>
                </c:pt>
                <c:pt idx="13">
                  <c:v>1233.9006</c:v>
                </c:pt>
                <c:pt idx="14">
                  <c:v>1230.0682</c:v>
                </c:pt>
                <c:pt idx="15">
                  <c:v>1240.4114</c:v>
                </c:pt>
                <c:pt idx="16">
                  <c:v>1296.304</c:v>
                </c:pt>
                <c:pt idx="17">
                  <c:v>1283.6395</c:v>
                </c:pt>
                <c:pt idx="18">
                  <c:v>1222.2853</c:v>
                </c:pt>
                <c:pt idx="19">
                  <c:v>1329.5908</c:v>
                </c:pt>
                <c:pt idx="20">
                  <c:v>1295.8862</c:v>
                </c:pt>
                <c:pt idx="21">
                  <c:v>1207.1563</c:v>
                </c:pt>
                <c:pt idx="22">
                  <c:v>1276.0466</c:v>
                </c:pt>
                <c:pt idx="23">
                  <c:v>1303.4906</c:v>
                </c:pt>
                <c:pt idx="24">
                  <c:v>1321.2338</c:v>
                </c:pt>
                <c:pt idx="25">
                  <c:v>1293.9305</c:v>
                </c:pt>
                <c:pt idx="26">
                  <c:v>1318.2374</c:v>
                </c:pt>
                <c:pt idx="27">
                  <c:v>1309.4034</c:v>
                </c:pt>
                <c:pt idx="28">
                  <c:v>1329.3464</c:v>
                </c:pt>
                <c:pt idx="29">
                  <c:v>1327.302</c:v>
                </c:pt>
                <c:pt idx="30">
                  <c:v>1315.9483</c:v>
                </c:pt>
                <c:pt idx="31">
                  <c:v>1298.2228</c:v>
                </c:pt>
                <c:pt idx="32">
                  <c:v>1325.6982</c:v>
                </c:pt>
                <c:pt idx="33">
                  <c:v>1335.1185</c:v>
                </c:pt>
                <c:pt idx="34">
                  <c:v>1349.4658</c:v>
                </c:pt>
                <c:pt idx="35">
                  <c:v>1365.0367</c:v>
                </c:pt>
                <c:pt idx="36">
                  <c:v>1392.8324</c:v>
                </c:pt>
                <c:pt idx="37">
                  <c:v>1364.2829</c:v>
                </c:pt>
                <c:pt idx="38">
                  <c:v>1379.3408</c:v>
                </c:pt>
                <c:pt idx="39">
                  <c:v>1320.3313</c:v>
                </c:pt>
                <c:pt idx="40">
                  <c:v>1351.0619</c:v>
                </c:pt>
                <c:pt idx="41">
                  <c:v>1374.9809</c:v>
                </c:pt>
                <c:pt idx="42">
                  <c:v>1347.0708</c:v>
                </c:pt>
                <c:pt idx="43">
                  <c:v>1359.6725</c:v>
                </c:pt>
                <c:pt idx="44">
                  <c:v>1288.3032</c:v>
                </c:pt>
                <c:pt idx="45">
                  <c:v>1261.7126</c:v>
                </c:pt>
                <c:pt idx="46">
                  <c:v>1253.6558</c:v>
                </c:pt>
                <c:pt idx="47">
                  <c:v>1220.1165</c:v>
                </c:pt>
                <c:pt idx="48">
                  <c:v>1205.2774</c:v>
                </c:pt>
                <c:pt idx="49">
                  <c:v>1216.6947</c:v>
                </c:pt>
                <c:pt idx="50">
                  <c:v>1167.0316</c:v>
                </c:pt>
                <c:pt idx="51">
                  <c:v>1143.9844</c:v>
                </c:pt>
                <c:pt idx="52">
                  <c:v>1194.3980788008173</c:v>
                </c:pt>
                <c:pt idx="53">
                  <c:v>586.8216737094027</c:v>
                </c:pt>
                <c:pt idx="54">
                  <c:v>1238.9308032282388</c:v>
                </c:pt>
              </c:numCache>
            </c:numRef>
          </c:xVal>
          <c:yVal>
            <c:numRef>
              <c:f>Sheet1!$B$187:$B$241</c:f>
              <c:numCache>
                <c:formatCode>General</c:formatCode>
                <c:ptCount val="55"/>
                <c:pt idx="0">
                  <c:v>0.3082989088458069</c:v>
                </c:pt>
                <c:pt idx="1">
                  <c:v>0.30610943142849756</c:v>
                </c:pt>
                <c:pt idx="2">
                  <c:v>0.3076730134053389</c:v>
                </c:pt>
                <c:pt idx="3">
                  <c:v>0.30901840379915024</c:v>
                </c:pt>
                <c:pt idx="4">
                  <c:v>0.3089171183310587</c:v>
                </c:pt>
                <c:pt idx="5">
                  <c:v>0.31036192866985074</c:v>
                </c:pt>
                <c:pt idx="6">
                  <c:v>0.32093963125995595</c:v>
                </c:pt>
                <c:pt idx="7">
                  <c:v>0.31493045796298097</c:v>
                </c:pt>
                <c:pt idx="8">
                  <c:v>0.30730152556989043</c:v>
                </c:pt>
                <c:pt idx="9">
                  <c:v>0.3172938394446718</c:v>
                </c:pt>
                <c:pt idx="10">
                  <c:v>0.311772388509764</c:v>
                </c:pt>
                <c:pt idx="11">
                  <c:v>0.3260711754279021</c:v>
                </c:pt>
                <c:pt idx="12">
                  <c:v>0.319728682898324</c:v>
                </c:pt>
                <c:pt idx="13">
                  <c:v>0.3155829930734701</c:v>
                </c:pt>
                <c:pt idx="14">
                  <c:v>0.31605962179143887</c:v>
                </c:pt>
                <c:pt idx="15">
                  <c:v>0.3147732565488508</c:v>
                </c:pt>
                <c:pt idx="16">
                  <c:v>0.30782199408096117</c:v>
                </c:pt>
                <c:pt idx="17">
                  <c:v>0.3093970552433438</c:v>
                </c:pt>
                <c:pt idx="18">
                  <c:v>0.3170275671126681</c:v>
                </c:pt>
                <c:pt idx="19">
                  <c:v>0.3036821744354956</c:v>
                </c:pt>
                <c:pt idx="20">
                  <c:v>0.3078739551180052</c:v>
                </c:pt>
                <c:pt idx="21">
                  <c:v>0.31890913372214236</c:v>
                </c:pt>
                <c:pt idx="22">
                  <c:v>0.31034137060517064</c:v>
                </c:pt>
                <c:pt idx="23">
                  <c:v>0.3069282095217935</c:v>
                </c:pt>
                <c:pt idx="24">
                  <c:v>0.3047215195445826</c:v>
                </c:pt>
                <c:pt idx="25">
                  <c:v>0.3081171820211811</c:v>
                </c:pt>
                <c:pt idx="26">
                  <c:v>0.3050941764411804</c:v>
                </c:pt>
                <c:pt idx="27">
                  <c:v>0.30619284518518836</c:v>
                </c:pt>
                <c:pt idx="28">
                  <c:v>0.30371257002537966</c:v>
                </c:pt>
                <c:pt idx="29">
                  <c:v>0.3039668283885504</c:v>
                </c:pt>
                <c:pt idx="30">
                  <c:v>0.30537886770469735</c:v>
                </c:pt>
                <c:pt idx="31">
                  <c:v>0.30758335636463763</c:v>
                </c:pt>
                <c:pt idx="32">
                  <c:v>0.30416629011954877</c:v>
                </c:pt>
                <c:pt idx="33">
                  <c:v>0.3029947042955531</c:v>
                </c:pt>
                <c:pt idx="34">
                  <c:v>0.3012103563137889</c:v>
                </c:pt>
                <c:pt idx="35">
                  <c:v>0.29927383139347274</c:v>
                </c:pt>
                <c:pt idx="36">
                  <c:v>0.2958169300115596</c:v>
                </c:pt>
                <c:pt idx="37">
                  <c:v>0.29936758014819687</c:v>
                </c:pt>
                <c:pt idx="38">
                  <c:v>0.2974948561182674</c:v>
                </c:pt>
                <c:pt idx="39">
                  <c:v>0.3048337618517444</c:v>
                </c:pt>
                <c:pt idx="40">
                  <c:v>0.3010118522179873</c:v>
                </c:pt>
                <c:pt idx="41">
                  <c:v>0.2980370890656299</c:v>
                </c:pt>
                <c:pt idx="42">
                  <c:v>0.3015082181704675</c:v>
                </c:pt>
                <c:pt idx="43">
                  <c:v>0.29994096733150843</c:v>
                </c:pt>
                <c:pt idx="44">
                  <c:v>0.3088170392345788</c:v>
                </c:pt>
                <c:pt idx="45">
                  <c:v>0.3121240644897766</c:v>
                </c:pt>
                <c:pt idx="46">
                  <c:v>0.31312607426300765</c:v>
                </c:pt>
                <c:pt idx="47">
                  <c:v>0.31729729688083697</c:v>
                </c:pt>
                <c:pt idx="48">
                  <c:v>0.31914280914699145</c:v>
                </c:pt>
                <c:pt idx="49">
                  <c:v>0.31772286001285494</c:v>
                </c:pt>
                <c:pt idx="50">
                  <c:v>0.3238993707328617</c:v>
                </c:pt>
                <c:pt idx="51">
                  <c:v>0.3267657096820239</c:v>
                </c:pt>
                <c:pt idx="52">
                  <c:v>0.320495850822061</c:v>
                </c:pt>
                <c:pt idx="53">
                  <c:v>0.39605903917055874</c:v>
                </c:pt>
                <c:pt idx="54">
                  <c:v>0.3149573957152095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71.0"/>
          <c:min val="46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169390787518574"/>
          <c:min val="0.2069222180870859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104384668989546</c:v>
                </c:pt>
                <c:pt idx="1">
                  <c:v>0.6513936585365854</c:v>
                </c:pt>
                <c:pt idx="2">
                  <c:v>0.7007109658678287</c:v>
                </c:pt>
                <c:pt idx="3">
                  <c:v>0.6330510487253953</c:v>
                </c:pt>
                <c:pt idx="4">
                  <c:v>0.4896481333997013</c:v>
                </c:pt>
                <c:pt idx="5">
                  <c:v>1.0641361307901909</c:v>
                </c:pt>
                <c:pt idx="6">
                  <c:v>0.7336829836829837</c:v>
                </c:pt>
                <c:pt idx="7">
                  <c:v>0.6774049786628734</c:v>
                </c:pt>
                <c:pt idx="8">
                  <c:v>0.7736101642023542</c:v>
                </c:pt>
                <c:pt idx="9">
                  <c:v>0.63960787456446</c:v>
                </c:pt>
                <c:pt idx="10">
                  <c:v>0.6009124651369236</c:v>
                </c:pt>
                <c:pt idx="11">
                  <c:v>0.7165476916376307</c:v>
                </c:pt>
                <c:pt idx="12">
                  <c:v>0.7276288529466444</c:v>
                </c:pt>
                <c:pt idx="13">
                  <c:v>0.7247421602787457</c:v>
                </c:pt>
                <c:pt idx="14">
                  <c:v>0.6963062087633226</c:v>
                </c:pt>
                <c:pt idx="15">
                  <c:v>0.6502451250306441</c:v>
                </c:pt>
                <c:pt idx="16">
                  <c:v>0.7537304470256951</c:v>
                </c:pt>
                <c:pt idx="17">
                  <c:v>0.744247944250871</c:v>
                </c:pt>
                <c:pt idx="18">
                  <c:v>0.5705426082628173</c:v>
                </c:pt>
                <c:pt idx="19">
                  <c:v>0.7756593031358884</c:v>
                </c:pt>
                <c:pt idx="20">
                  <c:v>0.8721129089220866</c:v>
                </c:pt>
                <c:pt idx="21">
                  <c:v>0.46150993109039323</c:v>
                </c:pt>
                <c:pt idx="22">
                  <c:v>0.885049938600082</c:v>
                </c:pt>
                <c:pt idx="23">
                  <c:v>0.9796625193504491</c:v>
                </c:pt>
                <c:pt idx="24">
                  <c:v>1.1501971061892107</c:v>
                </c:pt>
                <c:pt idx="25">
                  <c:v>1.4292376657824932</c:v>
                </c:pt>
                <c:pt idx="26">
                  <c:v>0.8817955463917526</c:v>
                </c:pt>
                <c:pt idx="27">
                  <c:v>0.5284074664011946</c:v>
                </c:pt>
                <c:pt idx="28">
                  <c:v>0.5179751305173231</c:v>
                </c:pt>
                <c:pt idx="29">
                  <c:v>0.8299814296377301</c:v>
                </c:pt>
                <c:pt idx="30">
                  <c:v>0.8342530391018196</c:v>
                </c:pt>
                <c:pt idx="31">
                  <c:v>0.748287275341481</c:v>
                </c:pt>
                <c:pt idx="32">
                  <c:v>0.5984362950058072</c:v>
                </c:pt>
                <c:pt idx="33">
                  <c:v>0.686787456445993</c:v>
                </c:pt>
                <c:pt idx="34">
                  <c:v>0.6595609692469461</c:v>
                </c:pt>
                <c:pt idx="35">
                  <c:v>0.8114667483910513</c:v>
                </c:pt>
                <c:pt idx="36">
                  <c:v>0.7885584571832979</c:v>
                </c:pt>
                <c:pt idx="37">
                  <c:v>0.5782698556921433</c:v>
                </c:pt>
                <c:pt idx="38">
                  <c:v>0.8691096521166403</c:v>
                </c:pt>
                <c:pt idx="39">
                  <c:v>1.099663443830571</c:v>
                </c:pt>
                <c:pt idx="40">
                  <c:v>0.9657668916964992</c:v>
                </c:pt>
                <c:pt idx="41">
                  <c:v>1.0110493816982689</c:v>
                </c:pt>
                <c:pt idx="42">
                  <c:v>1.0015128480062325</c:v>
                </c:pt>
                <c:pt idx="43">
                  <c:v>1.047144167532018</c:v>
                </c:pt>
                <c:pt idx="44">
                  <c:v>0.8755342013570511</c:v>
                </c:pt>
                <c:pt idx="45">
                  <c:v>0.9012882694541231</c:v>
                </c:pt>
                <c:pt idx="46">
                  <c:v>0.6633935540069688</c:v>
                </c:pt>
                <c:pt idx="47">
                  <c:v>0.7899524738675958</c:v>
                </c:pt>
                <c:pt idx="48">
                  <c:v>0.8006661261896368</c:v>
                </c:pt>
                <c:pt idx="49">
                  <c:v>0.76190485858303</c:v>
                </c:pt>
                <c:pt idx="50">
                  <c:v>0.6544507596067918</c:v>
                </c:pt>
                <c:pt idx="51">
                  <c:v>1.1543355495978551</c:v>
                </c:pt>
                <c:pt idx="52">
                  <c:v>0.9760729532435597</c:v>
                </c:pt>
                <c:pt idx="53">
                  <c:v>1.0815703835860837</c:v>
                </c:pt>
                <c:pt idx="54">
                  <c:v>0.836886953700164</c:v>
                </c:pt>
                <c:pt idx="55">
                  <c:v>0.7917218992248062</c:v>
                </c:pt>
                <c:pt idx="56">
                  <c:v>1.0002886345053148</c:v>
                </c:pt>
                <c:pt idx="57">
                  <c:v>0.8885318045112782</c:v>
                </c:pt>
                <c:pt idx="58">
                  <c:v>1.045322022658028</c:v>
                </c:pt>
                <c:pt idx="59">
                  <c:v>0.9455423631596198</c:v>
                </c:pt>
                <c:pt idx="60">
                  <c:v>0.8625037646807869</c:v>
                </c:pt>
                <c:pt idx="61">
                  <c:v>0.9587190943855882</c:v>
                </c:pt>
                <c:pt idx="62">
                  <c:v>0.9738505141497409</c:v>
                </c:pt>
                <c:pt idx="63">
                  <c:v>0.8889186883503883</c:v>
                </c:pt>
                <c:pt idx="64">
                  <c:v>0.8928831528341425</c:v>
                </c:pt>
                <c:pt idx="65">
                  <c:v>0.9116826704322586</c:v>
                </c:pt>
                <c:pt idx="66">
                  <c:v>0.9680654654056745</c:v>
                </c:pt>
                <c:pt idx="67">
                  <c:v>0.9784190343454454</c:v>
                </c:pt>
                <c:pt idx="68">
                  <c:v>0.9537166551786063</c:v>
                </c:pt>
                <c:pt idx="69">
                  <c:v>1.1146887630662021</c:v>
                </c:pt>
                <c:pt idx="70">
                  <c:v>1.3264543917001606</c:v>
                </c:pt>
                <c:pt idx="71">
                  <c:v>1.2095821993594402</c:v>
                </c:pt>
                <c:pt idx="72">
                  <c:v>1.1500460417262963</c:v>
                </c:pt>
                <c:pt idx="73">
                  <c:v>1.1910841146294004</c:v>
                </c:pt>
                <c:pt idx="74">
                  <c:v>1.2229526609686612</c:v>
                </c:pt>
                <c:pt idx="75">
                  <c:v>1.3761110934604184</c:v>
                </c:pt>
                <c:pt idx="76">
                  <c:v>1.4386429108251566</c:v>
                </c:pt>
                <c:pt idx="77">
                  <c:v>1.2596505432212672</c:v>
                </c:pt>
                <c:pt idx="78">
                  <c:v>1.395099107341708</c:v>
                </c:pt>
                <c:pt idx="79">
                  <c:v>1.1794725314183123</c:v>
                </c:pt>
                <c:pt idx="80">
                  <c:v>1.3527308427748705</c:v>
                </c:pt>
                <c:pt idx="81">
                  <c:v>1.111195371604153</c:v>
                </c:pt>
                <c:pt idx="82">
                  <c:v>1.1902414345465873</c:v>
                </c:pt>
                <c:pt idx="83">
                  <c:v>1.004361635220126</c:v>
                </c:pt>
                <c:pt idx="84">
                  <c:v>1.073874681961699</c:v>
                </c:pt>
                <c:pt idx="85">
                  <c:v>0.9235742652329749</c:v>
                </c:pt>
                <c:pt idx="86">
                  <c:v>1.056847867680304</c:v>
                </c:pt>
                <c:pt idx="87">
                  <c:v>0.9883497254100764</c:v>
                </c:pt>
                <c:pt idx="88">
                  <c:v>1.067516759557265</c:v>
                </c:pt>
                <c:pt idx="89">
                  <c:v>0.8776000518403317</c:v>
                </c:pt>
                <c:pt idx="90">
                  <c:v>1.0563859822309971</c:v>
                </c:pt>
                <c:pt idx="91">
                  <c:v>1.0965297760079642</c:v>
                </c:pt>
                <c:pt idx="92">
                  <c:v>0.9850962290309184</c:v>
                </c:pt>
                <c:pt idx="93">
                  <c:v>1.0921991476100492</c:v>
                </c:pt>
                <c:pt idx="94">
                  <c:v>0.9588023750183258</c:v>
                </c:pt>
                <c:pt idx="95">
                  <c:v>0.8231547892255252</c:v>
                </c:pt>
                <c:pt idx="96">
                  <c:v>0.8753434018722945</c:v>
                </c:pt>
                <c:pt idx="97">
                  <c:v>0.8940167621776504</c:v>
                </c:pt>
                <c:pt idx="98">
                  <c:v>0.8563978998949947</c:v>
                </c:pt>
                <c:pt idx="99">
                  <c:v>0.9904649908743985</c:v>
                </c:pt>
                <c:pt idx="100">
                  <c:v>0.8884946186604723</c:v>
                </c:pt>
                <c:pt idx="101">
                  <c:v>0.944903902200489</c:v>
                </c:pt>
                <c:pt idx="102">
                  <c:v>0.9496837187203042</c:v>
                </c:pt>
                <c:pt idx="103">
                  <c:v>1.0148825574774738</c:v>
                </c:pt>
                <c:pt idx="104">
                  <c:v>0.9772221469899606</c:v>
                </c:pt>
              </c:numCache>
            </c:numRef>
          </c:xVal>
          <c:yVal>
            <c:numRef>
              <c:f>Sheet1!$B$2:$B$106</c:f>
              <c:numCache>
                <c:formatCode>General</c:formatCode>
                <c:ptCount val="105"/>
                <c:pt idx="0">
                  <c:v>0.34535674735010286</c:v>
                </c:pt>
                <c:pt idx="1">
                  <c:v>0.36048252179272694</c:v>
                </c:pt>
                <c:pt idx="2">
                  <c:v>0.3888019154618289</c:v>
                </c:pt>
                <c:pt idx="3">
                  <c:v>0.40172064777327937</c:v>
                </c:pt>
                <c:pt idx="4">
                  <c:v>0.4191168123510047</c:v>
                </c:pt>
                <c:pt idx="5">
                  <c:v>0.38954560242923764</c:v>
                </c:pt>
                <c:pt idx="6">
                  <c:v>0.4241974785464562</c:v>
                </c:pt>
                <c:pt idx="7">
                  <c:v>0.4307825656265478</c:v>
                </c:pt>
                <c:pt idx="8">
                  <c:v>0.4045270612038442</c:v>
                </c:pt>
                <c:pt idx="9">
                  <c:v>0.398595343467385</c:v>
                </c:pt>
                <c:pt idx="10">
                  <c:v>0.38155907889769725</c:v>
                </c:pt>
                <c:pt idx="11">
                  <c:v>0.3429134967596506</c:v>
                </c:pt>
                <c:pt idx="12">
                  <c:v>0.3283718609679029</c:v>
                </c:pt>
                <c:pt idx="13">
                  <c:v>0.32891598197720645</c:v>
                </c:pt>
                <c:pt idx="14">
                  <c:v>0.30250990752972257</c:v>
                </c:pt>
                <c:pt idx="15">
                  <c:v>0.29776192020759</c:v>
                </c:pt>
                <c:pt idx="16">
                  <c:v>0.29018190879641165</c:v>
                </c:pt>
                <c:pt idx="17">
                  <c:v>0.2924260834345889</c:v>
                </c:pt>
                <c:pt idx="18">
                  <c:v>0.269364527347455</c:v>
                </c:pt>
                <c:pt idx="19">
                  <c:v>0.279264518478063</c:v>
                </c:pt>
                <c:pt idx="20">
                  <c:v>0.2820202631181007</c:v>
                </c:pt>
                <c:pt idx="21">
                  <c:v>0.3059532780708365</c:v>
                </c:pt>
                <c:pt idx="22">
                  <c:v>0.3503233168505135</c:v>
                </c:pt>
                <c:pt idx="23">
                  <c:v>0.3644256006460731</c:v>
                </c:pt>
                <c:pt idx="24">
                  <c:v>0.37865524306202275</c:v>
                </c:pt>
                <c:pt idx="25">
                  <c:v>0.3801546391752577</c:v>
                </c:pt>
                <c:pt idx="26">
                  <c:v>0.39286944540130897</c:v>
                </c:pt>
                <c:pt idx="27">
                  <c:v>0.41323792486583183</c:v>
                </c:pt>
                <c:pt idx="28">
                  <c:v>0.3720294067361942</c:v>
                </c:pt>
                <c:pt idx="29">
                  <c:v>0.3772208121827411</c:v>
                </c:pt>
                <c:pt idx="30">
                  <c:v>0.36666666666666664</c:v>
                </c:pt>
                <c:pt idx="31">
                  <c:v>0.3788927335640138</c:v>
                </c:pt>
                <c:pt idx="32">
                  <c:v>0.395821242019733</c:v>
                </c:pt>
                <c:pt idx="33">
                  <c:v>0.4005830009205278</c:v>
                </c:pt>
                <c:pt idx="34">
                  <c:v>0.39319313779745435</c:v>
                </c:pt>
                <c:pt idx="35">
                  <c:v>0.39588634435962683</c:v>
                </c:pt>
                <c:pt idx="36">
                  <c:v>0.33078982597054885</c:v>
                </c:pt>
                <c:pt idx="37">
                  <c:v>0.3654183266932271</c:v>
                </c:pt>
                <c:pt idx="38">
                  <c:v>0.35771276595744683</c:v>
                </c:pt>
                <c:pt idx="39">
                  <c:v>0.32903687790905833</c:v>
                </c:pt>
                <c:pt idx="40">
                  <c:v>0.3412196914033799</c:v>
                </c:pt>
                <c:pt idx="41">
                  <c:v>0.31542569902607603</c:v>
                </c:pt>
                <c:pt idx="42">
                  <c:v>0.3173860751035681</c:v>
                </c:pt>
                <c:pt idx="43">
                  <c:v>0.3248499399759904</c:v>
                </c:pt>
                <c:pt idx="44">
                  <c:v>0.31010425020048116</c:v>
                </c:pt>
                <c:pt idx="45">
                  <c:v>0.31930729550479</c:v>
                </c:pt>
                <c:pt idx="46">
                  <c:v>0.3429047929809296</c:v>
                </c:pt>
                <c:pt idx="47">
                  <c:v>0.321825714078058</c:v>
                </c:pt>
                <c:pt idx="48">
                  <c:v>0.31490823226360415</c:v>
                </c:pt>
                <c:pt idx="49">
                  <c:v>0.3321206008429091</c:v>
                </c:pt>
                <c:pt idx="50">
                  <c:v>0.31934650562033096</c:v>
                </c:pt>
                <c:pt idx="51">
                  <c:v>0.33135785253616873</c:v>
                </c:pt>
                <c:pt idx="52">
                  <c:v>0.3366093366093366</c:v>
                </c:pt>
                <c:pt idx="53">
                  <c:v>0.33346205831241554</c:v>
                </c:pt>
                <c:pt idx="54">
                  <c:v>0.3545645330535152</c:v>
                </c:pt>
                <c:pt idx="55">
                  <c:v>0.3509471585244267</c:v>
                </c:pt>
                <c:pt idx="56">
                  <c:v>0.3369379624359704</c:v>
                </c:pt>
                <c:pt idx="57">
                  <c:v>0.3409251948577791</c:v>
                </c:pt>
                <c:pt idx="58">
                  <c:v>0.34684602799491</c:v>
                </c:pt>
                <c:pt idx="59">
                  <c:v>0.34563445867287546</c:v>
                </c:pt>
                <c:pt idx="60">
                  <c:v>0.3501058662348985</c:v>
                </c:pt>
                <c:pt idx="61">
                  <c:v>0.3508646817614548</c:v>
                </c:pt>
                <c:pt idx="62">
                  <c:v>0.3595632203830488</c:v>
                </c:pt>
                <c:pt idx="63">
                  <c:v>0.36726824001234</c:v>
                </c:pt>
                <c:pt idx="64">
                  <c:v>0.3451998832798366</c:v>
                </c:pt>
                <c:pt idx="65">
                  <c:v>0.32117074701820464</c:v>
                </c:pt>
                <c:pt idx="66">
                  <c:v>0.3177641008346682</c:v>
                </c:pt>
                <c:pt idx="67">
                  <c:v>0.3051209103840683</c:v>
                </c:pt>
                <c:pt idx="68">
                  <c:v>0.3030070237050044</c:v>
                </c:pt>
                <c:pt idx="69">
                  <c:v>0.28987898789878985</c:v>
                </c:pt>
                <c:pt idx="70">
                  <c:v>0.2927390950961799</c:v>
                </c:pt>
                <c:pt idx="71">
                  <c:v>0.29948567229977957</c:v>
                </c:pt>
                <c:pt idx="72">
                  <c:v>0.289910252923579</c:v>
                </c:pt>
                <c:pt idx="73">
                  <c:v>0.30032611918173735</c:v>
                </c:pt>
                <c:pt idx="74">
                  <c:v>0.30510407755916735</c:v>
                </c:pt>
                <c:pt idx="75">
                  <c:v>0.31750205423171735</c:v>
                </c:pt>
                <c:pt idx="76">
                  <c:v>0.3006802721088435</c:v>
                </c:pt>
                <c:pt idx="77">
                  <c:v>0.31494501532359837</c:v>
                </c:pt>
                <c:pt idx="78">
                  <c:v>0.2981418918918919</c:v>
                </c:pt>
                <c:pt idx="79">
                  <c:v>0.30162325405813517</c:v>
                </c:pt>
                <c:pt idx="80">
                  <c:v>0.27624521072796937</c:v>
                </c:pt>
                <c:pt idx="81">
                  <c:v>0.28343707302262033</c:v>
                </c:pt>
                <c:pt idx="82">
                  <c:v>0.28123195380173244</c:v>
                </c:pt>
                <c:pt idx="83">
                  <c:v>0.2687937062937063</c:v>
                </c:pt>
                <c:pt idx="84">
                  <c:v>0.28508261577845007</c:v>
                </c:pt>
                <c:pt idx="85">
                  <c:v>0.3043753963221306</c:v>
                </c:pt>
                <c:pt idx="86">
                  <c:v>0.29567749846719804</c:v>
                </c:pt>
                <c:pt idx="87">
                  <c:v>0.3214524095581364</c:v>
                </c:pt>
                <c:pt idx="88">
                  <c:v>0.30559416261292566</c:v>
                </c:pt>
                <c:pt idx="89">
                  <c:v>0.3028</c:v>
                </c:pt>
                <c:pt idx="90">
                  <c:v>0.2973137973137973</c:v>
                </c:pt>
                <c:pt idx="91">
                  <c:v>0.25865277260885744</c:v>
                </c:pt>
                <c:pt idx="92">
                  <c:v>0.2939825447864033</c:v>
                </c:pt>
                <c:pt idx="93">
                  <c:v>0.27591729761211414</c:v>
                </c:pt>
                <c:pt idx="94">
                  <c:v>0.2721529240239754</c:v>
                </c:pt>
                <c:pt idx="95">
                  <c:v>0.27486881768449256</c:v>
                </c:pt>
                <c:pt idx="96">
                  <c:v>0.2910351913691241</c:v>
                </c:pt>
                <c:pt idx="97">
                  <c:v>0.288008800880088</c:v>
                </c:pt>
                <c:pt idx="98">
                  <c:v>0.2953028747433265</c:v>
                </c:pt>
                <c:pt idx="99">
                  <c:v>0.3003270553738581</c:v>
                </c:pt>
                <c:pt idx="100">
                  <c:v>0.2988939948594127</c:v>
                </c:pt>
                <c:pt idx="101">
                  <c:v>0.29854680153868074</c:v>
                </c:pt>
                <c:pt idx="102">
                  <c:v>0.2902367650971003</c:v>
                </c:pt>
                <c:pt idx="103">
                  <c:v>0.270535643011096</c:v>
                </c:pt>
                <c:pt idx="104">
                  <c:v>0.2779099647853811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443832350961838</c:v>
                </c:pt>
                <c:pt idx="1">
                  <c:v>1.070846902076181</c:v>
                </c:pt>
                <c:pt idx="2">
                  <c:v>1.1222299987770088</c:v>
                </c:pt>
                <c:pt idx="3">
                  <c:v>0.9841214662742063</c:v>
                </c:pt>
                <c:pt idx="4">
                  <c:v>1.043269184020744</c:v>
                </c:pt>
                <c:pt idx="5">
                  <c:v>1.1113948606271777</c:v>
                </c:pt>
                <c:pt idx="6">
                  <c:v>1.0919033559508529</c:v>
                </c:pt>
                <c:pt idx="7">
                  <c:v>1.0159027669604428</c:v>
                </c:pt>
                <c:pt idx="8">
                  <c:v>1.0063478223120477</c:v>
                </c:pt>
                <c:pt idx="9">
                  <c:v>1.1090540188136944</c:v>
                </c:pt>
                <c:pt idx="10">
                  <c:v>0.9179299506387921</c:v>
                </c:pt>
                <c:pt idx="11">
                  <c:v>0.8010933101045296</c:v>
                </c:pt>
                <c:pt idx="12">
                  <c:v>0.9295908633372049</c:v>
                </c:pt>
                <c:pt idx="13">
                  <c:v>1.0490121997874602</c:v>
                </c:pt>
                <c:pt idx="14">
                  <c:v>0.9677955940204562</c:v>
                </c:pt>
                <c:pt idx="15">
                  <c:v>1.02522752295686</c:v>
                </c:pt>
                <c:pt idx="16">
                  <c:v>0.9593369102682702</c:v>
                </c:pt>
                <c:pt idx="17">
                  <c:v>0.8244312780989081</c:v>
                </c:pt>
                <c:pt idx="18">
                  <c:v>1.135689012775842</c:v>
                </c:pt>
                <c:pt idx="19">
                  <c:v>1.0460981904012587</c:v>
                </c:pt>
                <c:pt idx="20">
                  <c:v>0.9030565853658536</c:v>
                </c:pt>
                <c:pt idx="21">
                  <c:v>0.8741175235336713</c:v>
                </c:pt>
                <c:pt idx="22">
                  <c:v>0.9880345334881919</c:v>
                </c:pt>
                <c:pt idx="23">
                  <c:v>0.8257780171048464</c:v>
                </c:pt>
                <c:pt idx="24">
                  <c:v>0.9779672834937083</c:v>
                </c:pt>
                <c:pt idx="25">
                  <c:v>1.1864391160828902</c:v>
                </c:pt>
                <c:pt idx="26">
                  <c:v>1.145297480451781</c:v>
                </c:pt>
                <c:pt idx="27">
                  <c:v>1.0287581709616593</c:v>
                </c:pt>
                <c:pt idx="28">
                  <c:v>0.9374798307475317</c:v>
                </c:pt>
                <c:pt idx="29">
                  <c:v>1.1561864111498257</c:v>
                </c:pt>
                <c:pt idx="30">
                  <c:v>1.0407895600593178</c:v>
                </c:pt>
                <c:pt idx="31">
                  <c:v>0.8902099403476558</c:v>
                </c:pt>
                <c:pt idx="32">
                  <c:v>1.086860586185694</c:v>
                </c:pt>
                <c:pt idx="33">
                  <c:v>1.1228919259882255</c:v>
                </c:pt>
                <c:pt idx="34">
                  <c:v>1.091529074841158</c:v>
                </c:pt>
                <c:pt idx="35">
                  <c:v>1.0753400819284702</c:v>
                </c:pt>
                <c:pt idx="36">
                  <c:v>1.2132686411149827</c:v>
                </c:pt>
                <c:pt idx="37">
                  <c:v>1.0803633987963257</c:v>
                </c:pt>
                <c:pt idx="38">
                  <c:v>1.0680145567169956</c:v>
                </c:pt>
                <c:pt idx="39">
                  <c:v>1.1403794264985319</c:v>
                </c:pt>
                <c:pt idx="40">
                  <c:v>1.2914403603173374</c:v>
                </c:pt>
                <c:pt idx="41">
                  <c:v>1.0182529750247586</c:v>
                </c:pt>
                <c:pt idx="42">
                  <c:v>1.0736483242920212</c:v>
                </c:pt>
                <c:pt idx="43">
                  <c:v>1.1418622716775142</c:v>
                </c:pt>
                <c:pt idx="44">
                  <c:v>1.1115644521138914</c:v>
                </c:pt>
                <c:pt idx="45">
                  <c:v>1.0947980474835821</c:v>
                </c:pt>
                <c:pt idx="46">
                  <c:v>0.9277176844528289</c:v>
                </c:pt>
                <c:pt idx="47">
                  <c:v>0.9161016598552504</c:v>
                </c:pt>
                <c:pt idx="48">
                  <c:v>1.1958600024804662</c:v>
                </c:pt>
                <c:pt idx="49">
                  <c:v>1.0349563627084044</c:v>
                </c:pt>
                <c:pt idx="50">
                  <c:v>0.9815236333052986</c:v>
                </c:pt>
                <c:pt idx="51">
                  <c:v>0.9695695925268897</c:v>
                </c:pt>
              </c:numCache>
            </c:numRef>
          </c:xVal>
          <c:yVal>
            <c:numRef>
              <c:f>Sheet1!$B$109:$B$160</c:f>
              <c:numCache>
                <c:formatCode>General</c:formatCode>
                <c:ptCount val="52"/>
                <c:pt idx="0">
                  <c:v>0.2916702558359893</c:v>
                </c:pt>
                <c:pt idx="1">
                  <c:v>0.29713189623675557</c:v>
                </c:pt>
                <c:pt idx="2">
                  <c:v>0.30235806425108863</c:v>
                </c:pt>
                <c:pt idx="3">
                  <c:v>0.337461811576253</c:v>
                </c:pt>
                <c:pt idx="4">
                  <c:v>0.3302561317766314</c:v>
                </c:pt>
                <c:pt idx="5">
                  <c:v>0.30656185919343815</c:v>
                </c:pt>
                <c:pt idx="6">
                  <c:v>0.3320905008050165</c:v>
                </c:pt>
                <c:pt idx="7">
                  <c:v>0.3125</c:v>
                </c:pt>
                <c:pt idx="8">
                  <c:v>0.313678299237866</c:v>
                </c:pt>
                <c:pt idx="9">
                  <c:v>0.3150065452814471</c:v>
                </c:pt>
                <c:pt idx="10">
                  <c:v>0.30897200550711335</c:v>
                </c:pt>
                <c:pt idx="11">
                  <c:v>0.3169037380086007</c:v>
                </c:pt>
                <c:pt idx="12">
                  <c:v>0.3254703466717601</c:v>
                </c:pt>
                <c:pt idx="13">
                  <c:v>0.33390497326742663</c:v>
                </c:pt>
                <c:pt idx="14">
                  <c:v>0.3321123321123321</c:v>
                </c:pt>
                <c:pt idx="15">
                  <c:v>0.31697800898557577</c:v>
                </c:pt>
                <c:pt idx="16">
                  <c:v>0.30112699285321604</c:v>
                </c:pt>
                <c:pt idx="17">
                  <c:v>0.29326647564469915</c:v>
                </c:pt>
                <c:pt idx="18">
                  <c:v>0.3079354516719348</c:v>
                </c:pt>
                <c:pt idx="19">
                  <c:v>0.300814281240213</c:v>
                </c:pt>
                <c:pt idx="20">
                  <c:v>0.31164200392226776</c:v>
                </c:pt>
                <c:pt idx="21">
                  <c:v>0.31462621885157094</c:v>
                </c:pt>
                <c:pt idx="22">
                  <c:v>0.3091070241524485</c:v>
                </c:pt>
                <c:pt idx="23">
                  <c:v>0.30545774647887325</c:v>
                </c:pt>
                <c:pt idx="24">
                  <c:v>0.30815840727115346</c:v>
                </c:pt>
                <c:pt idx="25">
                  <c:v>0.305513838232139</c:v>
                </c:pt>
                <c:pt idx="26">
                  <c:v>0.29310344827586204</c:v>
                </c:pt>
                <c:pt idx="27">
                  <c:v>0.28388245770258236</c:v>
                </c:pt>
                <c:pt idx="28">
                  <c:v>0.28780734253957563</c:v>
                </c:pt>
                <c:pt idx="29">
                  <c:v>0.2951048951048951</c:v>
                </c:pt>
                <c:pt idx="30">
                  <c:v>0.30057803468208094</c:v>
                </c:pt>
                <c:pt idx="31">
                  <c:v>0.2950011734334663</c:v>
                </c:pt>
                <c:pt idx="32">
                  <c:v>0.29774812343619683</c:v>
                </c:pt>
                <c:pt idx="33">
                  <c:v>0.3021088769004414</c:v>
                </c:pt>
                <c:pt idx="34">
                  <c:v>0.3245603093426469</c:v>
                </c:pt>
                <c:pt idx="35">
                  <c:v>0.3064798598949212</c:v>
                </c:pt>
                <c:pt idx="36">
                  <c:v>0.2856141989724428</c:v>
                </c:pt>
                <c:pt idx="37">
                  <c:v>0.29664769133459834</c:v>
                </c:pt>
                <c:pt idx="38">
                  <c:v>0.29234507897934386</c:v>
                </c:pt>
                <c:pt idx="39">
                  <c:v>0.3210865401358175</c:v>
                </c:pt>
                <c:pt idx="40">
                  <c:v>0.3143979992854591</c:v>
                </c:pt>
                <c:pt idx="41">
                  <c:v>0.3066428455416599</c:v>
                </c:pt>
                <c:pt idx="42">
                  <c:v>0.31561461794019935</c:v>
                </c:pt>
                <c:pt idx="43">
                  <c:v>0.3071615841037671</c:v>
                </c:pt>
                <c:pt idx="44">
                  <c:v>0.3025999312793494</c:v>
                </c:pt>
                <c:pt idx="45">
                  <c:v>0.3041220382992535</c:v>
                </c:pt>
                <c:pt idx="46">
                  <c:v>0.3246560427595764</c:v>
                </c:pt>
                <c:pt idx="47">
                  <c:v>0.31618114166439787</c:v>
                </c:pt>
                <c:pt idx="48">
                  <c:v>0.3015329662152106</c:v>
                </c:pt>
                <c:pt idx="49">
                  <c:v>0.3205233033524121</c:v>
                </c:pt>
                <c:pt idx="50">
                  <c:v>0.33075107964916967</c:v>
                </c:pt>
                <c:pt idx="51">
                  <c:v>0.3291760540714515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4.7305266606254905</c:v>
                </c:pt>
              </c:numCache>
            </c:numRef>
          </c:xVal>
          <c:yVal>
            <c:numRef>
              <c:f>Sheet1!$B$163:$B$164</c:f>
              <c:numCache>
                <c:formatCode>General</c:formatCode>
                <c:ptCount val="2"/>
                <c:pt idx="0">
                  <c:v>0.39605903917055874</c:v>
                </c:pt>
                <c:pt idx="1">
                  <c:v>0.3960590391705587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4.7305266606254905</c:v>
                </c:pt>
                <c:pt idx="1">
                  <c:v>-4.7305266606254905</c:v>
                </c:pt>
              </c:numCache>
            </c:numRef>
          </c:xVal>
          <c:yVal>
            <c:numRef>
              <c:f>Sheet1!$B$167:$B$168</c:f>
              <c:numCache>
                <c:formatCode>General</c:formatCode>
                <c:ptCount val="2"/>
                <c:pt idx="0">
                  <c:v>0.396059039170558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908856093617514</c:v>
                </c:pt>
              </c:numCache>
            </c:numRef>
          </c:xVal>
          <c:yVal>
            <c:numRef>
              <c:f>Sheet1!$B$171:$B$172</c:f>
              <c:numCache>
                <c:formatCode>General</c:formatCode>
                <c:ptCount val="2"/>
                <c:pt idx="0">
                  <c:v>0.320495850822061</c:v>
                </c:pt>
                <c:pt idx="1">
                  <c:v>0.32049585082206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908856093617514</c:v>
                </c:pt>
                <c:pt idx="1">
                  <c:v>0.2908856093617514</c:v>
                </c:pt>
              </c:numCache>
            </c:numRef>
          </c:xVal>
          <c:yVal>
            <c:numRef>
              <c:f>Sheet1!$B$175:$B$176</c:f>
              <c:numCache>
                <c:formatCode>General</c:formatCode>
                <c:ptCount val="2"/>
                <c:pt idx="0">
                  <c:v>0.32049585082206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589334252116286</c:v>
                </c:pt>
              </c:numCache>
            </c:numRef>
          </c:xVal>
          <c:yVal>
            <c:numRef>
              <c:f>Sheet1!$B$179:$B$180</c:f>
              <c:numCache>
                <c:formatCode>General</c:formatCode>
                <c:ptCount val="2"/>
                <c:pt idx="0">
                  <c:v>0.31495739571520953</c:v>
                </c:pt>
                <c:pt idx="1">
                  <c:v>0.3149573957152095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589334252116286</c:v>
                </c:pt>
                <c:pt idx="1">
                  <c:v>0.6589334252116286</c:v>
                </c:pt>
              </c:numCache>
            </c:numRef>
          </c:xVal>
          <c:yVal>
            <c:numRef>
              <c:f>Sheet1!$B$183:$B$184</c:f>
              <c:numCache>
                <c:formatCode>General</c:formatCode>
                <c:ptCount val="2"/>
                <c:pt idx="0">
                  <c:v>0.3149573957152095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443832350961838</c:v>
                </c:pt>
                <c:pt idx="1">
                  <c:v>1.070846902076181</c:v>
                </c:pt>
                <c:pt idx="2">
                  <c:v>1.1222299987770088</c:v>
                </c:pt>
                <c:pt idx="3">
                  <c:v>0.9841214662742063</c:v>
                </c:pt>
                <c:pt idx="4">
                  <c:v>1.043269184020744</c:v>
                </c:pt>
                <c:pt idx="5">
                  <c:v>1.1113948606271777</c:v>
                </c:pt>
                <c:pt idx="6">
                  <c:v>1.0919033559508529</c:v>
                </c:pt>
                <c:pt idx="7">
                  <c:v>1.0159027669604428</c:v>
                </c:pt>
                <c:pt idx="8">
                  <c:v>1.0063478223120477</c:v>
                </c:pt>
                <c:pt idx="9">
                  <c:v>1.1090540188136944</c:v>
                </c:pt>
                <c:pt idx="10">
                  <c:v>0.9179299506387921</c:v>
                </c:pt>
                <c:pt idx="11">
                  <c:v>0.8010933101045296</c:v>
                </c:pt>
                <c:pt idx="12">
                  <c:v>0.9295908633372049</c:v>
                </c:pt>
                <c:pt idx="13">
                  <c:v>1.0490121997874602</c:v>
                </c:pt>
                <c:pt idx="14">
                  <c:v>0.9677955940204562</c:v>
                </c:pt>
                <c:pt idx="15">
                  <c:v>1.02522752295686</c:v>
                </c:pt>
                <c:pt idx="16">
                  <c:v>0.9593369102682702</c:v>
                </c:pt>
                <c:pt idx="17">
                  <c:v>0.8244312780989081</c:v>
                </c:pt>
                <c:pt idx="18">
                  <c:v>1.135689012775842</c:v>
                </c:pt>
                <c:pt idx="19">
                  <c:v>1.0460981904012587</c:v>
                </c:pt>
                <c:pt idx="20">
                  <c:v>0.9030565853658536</c:v>
                </c:pt>
                <c:pt idx="21">
                  <c:v>0.8741175235336713</c:v>
                </c:pt>
                <c:pt idx="22">
                  <c:v>0.9880345334881919</c:v>
                </c:pt>
                <c:pt idx="23">
                  <c:v>0.8257780171048464</c:v>
                </c:pt>
                <c:pt idx="24">
                  <c:v>0.9779672834937083</c:v>
                </c:pt>
                <c:pt idx="25">
                  <c:v>1.1864391160828902</c:v>
                </c:pt>
                <c:pt idx="26">
                  <c:v>1.145297480451781</c:v>
                </c:pt>
                <c:pt idx="27">
                  <c:v>1.0287581709616593</c:v>
                </c:pt>
                <c:pt idx="28">
                  <c:v>0.9374798307475317</c:v>
                </c:pt>
                <c:pt idx="29">
                  <c:v>1.1561864111498257</c:v>
                </c:pt>
                <c:pt idx="30">
                  <c:v>1.0407895600593178</c:v>
                </c:pt>
                <c:pt idx="31">
                  <c:v>0.8902099403476558</c:v>
                </c:pt>
                <c:pt idx="32">
                  <c:v>1.086860586185694</c:v>
                </c:pt>
                <c:pt idx="33">
                  <c:v>1.1228919259882255</c:v>
                </c:pt>
                <c:pt idx="34">
                  <c:v>1.091529074841158</c:v>
                </c:pt>
                <c:pt idx="35">
                  <c:v>1.0753400819284702</c:v>
                </c:pt>
                <c:pt idx="36">
                  <c:v>1.2132686411149827</c:v>
                </c:pt>
                <c:pt idx="37">
                  <c:v>1.0803633987963257</c:v>
                </c:pt>
                <c:pt idx="38">
                  <c:v>1.0680145567169956</c:v>
                </c:pt>
                <c:pt idx="39">
                  <c:v>1.1403794264985319</c:v>
                </c:pt>
                <c:pt idx="40">
                  <c:v>1.2914403603173374</c:v>
                </c:pt>
                <c:pt idx="41">
                  <c:v>1.0182529750247586</c:v>
                </c:pt>
                <c:pt idx="42">
                  <c:v>1.0736483242920212</c:v>
                </c:pt>
                <c:pt idx="43">
                  <c:v>1.1418622716775142</c:v>
                </c:pt>
                <c:pt idx="44">
                  <c:v>1.1115644521138914</c:v>
                </c:pt>
                <c:pt idx="45">
                  <c:v>1.0947980474835821</c:v>
                </c:pt>
                <c:pt idx="46">
                  <c:v>0.9277176844528289</c:v>
                </c:pt>
                <c:pt idx="47">
                  <c:v>0.9161016598552504</c:v>
                </c:pt>
                <c:pt idx="48">
                  <c:v>1.1958600024804662</c:v>
                </c:pt>
                <c:pt idx="49">
                  <c:v>1.0349563627084044</c:v>
                </c:pt>
                <c:pt idx="50">
                  <c:v>0.9815236333052986</c:v>
                </c:pt>
                <c:pt idx="51">
                  <c:v>0.9695695925268897</c:v>
                </c:pt>
                <c:pt idx="52">
                  <c:v>0.2908856093617514</c:v>
                </c:pt>
                <c:pt idx="53">
                  <c:v>-4.7305266606254905</c:v>
                </c:pt>
                <c:pt idx="54">
                  <c:v>0.6589334252116286</c:v>
                </c:pt>
              </c:numCache>
            </c:numRef>
          </c:xVal>
          <c:yVal>
            <c:numRef>
              <c:f>Sheet1!$B$187:$B$241</c:f>
              <c:numCache>
                <c:formatCode>General</c:formatCode>
                <c:ptCount val="55"/>
                <c:pt idx="0">
                  <c:v>0.31216671091180154</c:v>
                </c:pt>
                <c:pt idx="1">
                  <c:v>0.30875884161089184</c:v>
                </c:pt>
                <c:pt idx="2">
                  <c:v>0.3079856187793111</c:v>
                </c:pt>
                <c:pt idx="3">
                  <c:v>0.31006390283426094</c:v>
                </c:pt>
                <c:pt idx="4">
                  <c:v>0.3091738364752052</c:v>
                </c:pt>
                <c:pt idx="5">
                  <c:v>0.30814866804528973</c:v>
                </c:pt>
                <c:pt idx="6">
                  <c:v>0.30844197999815526</c:v>
                </c:pt>
                <c:pt idx="7">
                  <c:v>0.3095856516410522</c:v>
                </c:pt>
                <c:pt idx="8">
                  <c:v>0.3097294363062631</c:v>
                </c:pt>
                <c:pt idx="9">
                  <c:v>0.30818389348812053</c:v>
                </c:pt>
                <c:pt idx="10">
                  <c:v>0.3110599656337498</c:v>
                </c:pt>
                <c:pt idx="11">
                  <c:v>0.3128181461216305</c:v>
                </c:pt>
                <c:pt idx="12">
                  <c:v>0.3108844899517764</c:v>
                </c:pt>
                <c:pt idx="13">
                  <c:v>0.3090874144571083</c:v>
                </c:pt>
                <c:pt idx="14">
                  <c:v>0.3103095777348137</c:v>
                </c:pt>
                <c:pt idx="15">
                  <c:v>0.3094453308994408</c:v>
                </c:pt>
                <c:pt idx="16">
                  <c:v>0.31043686565286954</c:v>
                </c:pt>
                <c:pt idx="17">
                  <c:v>0.3124669518407365</c:v>
                </c:pt>
                <c:pt idx="18">
                  <c:v>0.30778308491929374</c:v>
                </c:pt>
                <c:pt idx="19">
                  <c:v>0.30913126503703675</c:v>
                </c:pt>
                <c:pt idx="20">
                  <c:v>0.31128378292678754</c:v>
                </c:pt>
                <c:pt idx="21">
                  <c:v>0.3117192635569927</c:v>
                </c:pt>
                <c:pt idx="22">
                  <c:v>0.31000501823785404</c:v>
                </c:pt>
                <c:pt idx="23">
                  <c:v>0.31244668585027596</c:v>
                </c:pt>
                <c:pt idx="24">
                  <c:v>0.3101565121735405</c:v>
                </c:pt>
                <c:pt idx="25">
                  <c:v>0.3070193874954003</c:v>
                </c:pt>
                <c:pt idx="26">
                  <c:v>0.3076384948291558</c:v>
                </c:pt>
                <c:pt idx="27">
                  <c:v>0.30939220102166254</c:v>
                </c:pt>
                <c:pt idx="28">
                  <c:v>0.3107657752360251</c:v>
                </c:pt>
                <c:pt idx="29">
                  <c:v>0.3074746360824506</c:v>
                </c:pt>
                <c:pt idx="30">
                  <c:v>0.30921115033878704</c:v>
                </c:pt>
                <c:pt idx="31">
                  <c:v>0.31147710173929744</c:v>
                </c:pt>
                <c:pt idx="32">
                  <c:v>0.3085178645782445</c:v>
                </c:pt>
                <c:pt idx="33">
                  <c:v>0.3079756579699123</c:v>
                </c:pt>
                <c:pt idx="34">
                  <c:v>0.3084476122530801</c:v>
                </c:pt>
                <c:pt idx="35">
                  <c:v>0.30869122736668975</c:v>
                </c:pt>
                <c:pt idx="36">
                  <c:v>0.3066156515852027</c:v>
                </c:pt>
                <c:pt idx="37">
                  <c:v>0.30861563551758214</c:v>
                </c:pt>
                <c:pt idx="38">
                  <c:v>0.3088014632946606</c:v>
                </c:pt>
                <c:pt idx="39">
                  <c:v>0.307712502661454</c:v>
                </c:pt>
                <c:pt idx="40">
                  <c:v>0.3054393083526586</c:v>
                </c:pt>
                <c:pt idx="41">
                  <c:v>0.30955028525305744</c:v>
                </c:pt>
                <c:pt idx="42">
                  <c:v>0.30871668526459767</c:v>
                </c:pt>
                <c:pt idx="43">
                  <c:v>0.30769018851883306</c:v>
                </c:pt>
                <c:pt idx="44">
                  <c:v>0.3081461159996174</c:v>
                </c:pt>
                <c:pt idx="45">
                  <c:v>0.3083984201170426</c:v>
                </c:pt>
                <c:pt idx="46">
                  <c:v>0.310912677911904</c:v>
                </c:pt>
                <c:pt idx="47">
                  <c:v>0.31108747810900667</c:v>
                </c:pt>
                <c:pt idx="48">
                  <c:v>0.3068776201648179</c:v>
                </c:pt>
                <c:pt idx="49">
                  <c:v>0.30929892942690046</c:v>
                </c:pt>
                <c:pt idx="50">
                  <c:v>0.3101029955299754</c:v>
                </c:pt>
                <c:pt idx="51">
                  <c:v>0.31028288226030093</c:v>
                </c:pt>
                <c:pt idx="52">
                  <c:v>0.320495850822061</c:v>
                </c:pt>
                <c:pt idx="53">
                  <c:v>0.39605903917055874</c:v>
                </c:pt>
                <c:pt idx="54">
                  <c:v>0.3149573957152095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169390787518574"/>
          <c:min val="0.2069222180870859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75.9792</c:v>
                </c:pt>
                <c:pt idx="1">
                  <c:v>934.7499</c:v>
                </c:pt>
                <c:pt idx="2">
                  <c:v>964.879</c:v>
                </c:pt>
                <c:pt idx="3">
                  <c:v>980.9126</c:v>
                </c:pt>
                <c:pt idx="4">
                  <c:v>983.7031</c:v>
                </c:pt>
                <c:pt idx="5">
                  <c:v>976.3449</c:v>
                </c:pt>
                <c:pt idx="6">
                  <c:v>944.25</c:v>
                </c:pt>
                <c:pt idx="7">
                  <c:v>952.4314</c:v>
                </c:pt>
                <c:pt idx="8">
                  <c:v>962.1132</c:v>
                </c:pt>
                <c:pt idx="9">
                  <c:v>917.8373</c:v>
                </c:pt>
                <c:pt idx="10">
                  <c:v>919.7967</c:v>
                </c:pt>
                <c:pt idx="11">
                  <c:v>987.1161</c:v>
                </c:pt>
                <c:pt idx="12">
                  <c:v>978.4789</c:v>
                </c:pt>
                <c:pt idx="13">
                  <c:v>998.4048</c:v>
                </c:pt>
                <c:pt idx="14">
                  <c:v>1028.9665</c:v>
                </c:pt>
                <c:pt idx="15">
                  <c:v>1057.5153</c:v>
                </c:pt>
                <c:pt idx="16">
                  <c:v>1070.6741</c:v>
                </c:pt>
                <c:pt idx="17">
                  <c:v>1067.9958</c:v>
                </c:pt>
                <c:pt idx="18">
                  <c:v>1146.2201</c:v>
                </c:pt>
                <c:pt idx="19">
                  <c:v>1113.0711</c:v>
                </c:pt>
                <c:pt idx="20">
                  <c:v>1146.5378</c:v>
                </c:pt>
                <c:pt idx="21">
                  <c:v>1138.545</c:v>
                </c:pt>
                <c:pt idx="22">
                  <c:v>1081.0885</c:v>
                </c:pt>
                <c:pt idx="23">
                  <c:v>1089.0582</c:v>
                </c:pt>
                <c:pt idx="24">
                  <c:v>1097.6714</c:v>
                </c:pt>
                <c:pt idx="25">
                  <c:v>1077.6452</c:v>
                </c:pt>
                <c:pt idx="26">
                  <c:v>1069.1771</c:v>
                </c:pt>
                <c:pt idx="27">
                  <c:v>1061.5706</c:v>
                </c:pt>
                <c:pt idx="28">
                  <c:v>1091.3736</c:v>
                </c:pt>
                <c:pt idx="29">
                  <c:v>1075.3793</c:v>
                </c:pt>
                <c:pt idx="30">
                  <c:v>1077.4378</c:v>
                </c:pt>
                <c:pt idx="31">
                  <c:v>1040.8676</c:v>
                </c:pt>
                <c:pt idx="32">
                  <c:v>1030.5073</c:v>
                </c:pt>
                <c:pt idx="33">
                  <c:v>985.54</c:v>
                </c:pt>
                <c:pt idx="34">
                  <c:v>1014.8445</c:v>
                </c:pt>
                <c:pt idx="35">
                  <c:v>1059.1264</c:v>
                </c:pt>
                <c:pt idx="36">
                  <c:v>1114.2331</c:v>
                </c:pt>
                <c:pt idx="37">
                  <c:v>1081.9429</c:v>
                </c:pt>
                <c:pt idx="38">
                  <c:v>1110.1427</c:v>
                </c:pt>
                <c:pt idx="39">
                  <c:v>1194.2345</c:v>
                </c:pt>
                <c:pt idx="40">
                  <c:v>1187.2494</c:v>
                </c:pt>
                <c:pt idx="41">
                  <c:v>1226.4029</c:v>
                </c:pt>
                <c:pt idx="42">
                  <c:v>1247.2173</c:v>
                </c:pt>
                <c:pt idx="43">
                  <c:v>1210.0798</c:v>
                </c:pt>
                <c:pt idx="44">
                  <c:v>1193.572</c:v>
                </c:pt>
                <c:pt idx="45">
                  <c:v>1164.0138</c:v>
                </c:pt>
                <c:pt idx="46">
                  <c:v>1142.3637</c:v>
                </c:pt>
                <c:pt idx="47">
                  <c:v>1133.5818</c:v>
                </c:pt>
                <c:pt idx="48">
                  <c:v>1135.7449</c:v>
                </c:pt>
                <c:pt idx="49">
                  <c:v>1088.3049</c:v>
                </c:pt>
                <c:pt idx="50">
                  <c:v>1098.4956</c:v>
                </c:pt>
                <c:pt idx="51">
                  <c:v>1076.4179</c:v>
                </c:pt>
                <c:pt idx="52">
                  <c:v>1109.1442</c:v>
                </c:pt>
                <c:pt idx="53">
                  <c:v>1212.4404</c:v>
                </c:pt>
                <c:pt idx="54">
                  <c:v>1182.8002</c:v>
                </c:pt>
                <c:pt idx="55">
                  <c:v>1225.5855</c:v>
                </c:pt>
                <c:pt idx="56">
                  <c:v>1223.353</c:v>
                </c:pt>
                <c:pt idx="57">
                  <c:v>1181.7473</c:v>
                </c:pt>
                <c:pt idx="58">
                  <c:v>1191.3187</c:v>
                </c:pt>
                <c:pt idx="59">
                  <c:v>1153.9399</c:v>
                </c:pt>
                <c:pt idx="60">
                  <c:v>1175.0176</c:v>
                </c:pt>
                <c:pt idx="61">
                  <c:v>1208.3056</c:v>
                </c:pt>
                <c:pt idx="62">
                  <c:v>1145.9299</c:v>
                </c:pt>
                <c:pt idx="63">
                  <c:v>1156.0792</c:v>
                </c:pt>
                <c:pt idx="64">
                  <c:v>1163.4905</c:v>
                </c:pt>
                <c:pt idx="65">
                  <c:v>1162.1219</c:v>
                </c:pt>
                <c:pt idx="66">
                  <c:v>1215.5272</c:v>
                </c:pt>
                <c:pt idx="67">
                  <c:v>1228.5274</c:v>
                </c:pt>
                <c:pt idx="68">
                  <c:v>1246.9315</c:v>
                </c:pt>
                <c:pt idx="69">
                  <c:v>1279.6627</c:v>
                </c:pt>
                <c:pt idx="70">
                  <c:v>1270.3012</c:v>
                </c:pt>
                <c:pt idx="71">
                  <c:v>1314.9887</c:v>
                </c:pt>
                <c:pt idx="72">
                  <c:v>1368.9381</c:v>
                </c:pt>
                <c:pt idx="73">
                  <c:v>1346.6397</c:v>
                </c:pt>
                <c:pt idx="74">
                  <c:v>1341.4262</c:v>
                </c:pt>
                <c:pt idx="75">
                  <c:v>1299.3929</c:v>
                </c:pt>
                <c:pt idx="76">
                  <c:v>1282.1505</c:v>
                </c:pt>
                <c:pt idx="77">
                  <c:v>1266.1288</c:v>
                </c:pt>
                <c:pt idx="78">
                  <c:v>1344.2776</c:v>
                </c:pt>
                <c:pt idx="79">
                  <c:v>1313.9324</c:v>
                </c:pt>
                <c:pt idx="80">
                  <c:v>1340.1054</c:v>
                </c:pt>
                <c:pt idx="81">
                  <c:v>1300.5924</c:v>
                </c:pt>
                <c:pt idx="82">
                  <c:v>1337.4743</c:v>
                </c:pt>
                <c:pt idx="83">
                  <c:v>1277.548</c:v>
                </c:pt>
                <c:pt idx="84">
                  <c:v>1309.5135</c:v>
                </c:pt>
                <c:pt idx="85">
                  <c:v>1288.3861</c:v>
                </c:pt>
                <c:pt idx="86">
                  <c:v>1314.3665</c:v>
                </c:pt>
                <c:pt idx="87">
                  <c:v>1284.2899</c:v>
                </c:pt>
                <c:pt idx="88">
                  <c:v>1359.9096</c:v>
                </c:pt>
                <c:pt idx="89">
                  <c:v>1354.3124</c:v>
                </c:pt>
                <c:pt idx="90">
                  <c:v>1391.1547</c:v>
                </c:pt>
                <c:pt idx="91">
                  <c:v>1376.8302</c:v>
                </c:pt>
                <c:pt idx="92">
                  <c:v>1308.974</c:v>
                </c:pt>
                <c:pt idx="93">
                  <c:v>1336.9731</c:v>
                </c:pt>
                <c:pt idx="94">
                  <c:v>1307.9982</c:v>
                </c:pt>
                <c:pt idx="95">
                  <c:v>1272.2445</c:v>
                </c:pt>
                <c:pt idx="96">
                  <c:v>1260.689</c:v>
                </c:pt>
                <c:pt idx="97">
                  <c:v>1248.0474</c:v>
                </c:pt>
                <c:pt idx="98">
                  <c:v>1223.3644</c:v>
                </c:pt>
                <c:pt idx="99">
                  <c:v>1193.9065</c:v>
                </c:pt>
                <c:pt idx="100">
                  <c:v>1147.4908</c:v>
                </c:pt>
                <c:pt idx="101">
                  <c:v>1207.7053</c:v>
                </c:pt>
                <c:pt idx="102">
                  <c:v>1199.2606</c:v>
                </c:pt>
                <c:pt idx="103">
                  <c:v>1201.9109</c:v>
                </c:pt>
                <c:pt idx="104">
                  <c:v>1245.5394</c:v>
                </c:pt>
              </c:numCache>
            </c:numRef>
          </c:xVal>
          <c:yVal>
            <c:numRef>
              <c:f>Sheet1!$B$2:$B$106</c:f>
              <c:numCache>
                <c:formatCode>General</c:formatCode>
                <c:ptCount val="105"/>
                <c:pt idx="0">
                  <c:v>0.34535674735010286</c:v>
                </c:pt>
                <c:pt idx="1">
                  <c:v>0.36048252179272694</c:v>
                </c:pt>
                <c:pt idx="2">
                  <c:v>0.3888019154618289</c:v>
                </c:pt>
                <c:pt idx="3">
                  <c:v>0.40172064777327937</c:v>
                </c:pt>
                <c:pt idx="4">
                  <c:v>0.4191168123510047</c:v>
                </c:pt>
                <c:pt idx="5">
                  <c:v>0.38954560242923764</c:v>
                </c:pt>
                <c:pt idx="6">
                  <c:v>0.4241974785464562</c:v>
                </c:pt>
                <c:pt idx="7">
                  <c:v>0.4307825656265478</c:v>
                </c:pt>
                <c:pt idx="8">
                  <c:v>0.4045270612038442</c:v>
                </c:pt>
                <c:pt idx="9">
                  <c:v>0.398595343467385</c:v>
                </c:pt>
                <c:pt idx="10">
                  <c:v>0.38155907889769725</c:v>
                </c:pt>
                <c:pt idx="11">
                  <c:v>0.3429134967596506</c:v>
                </c:pt>
                <c:pt idx="12">
                  <c:v>0.3283718609679029</c:v>
                </c:pt>
                <c:pt idx="13">
                  <c:v>0.32891598197720645</c:v>
                </c:pt>
                <c:pt idx="14">
                  <c:v>0.30250990752972257</c:v>
                </c:pt>
                <c:pt idx="15">
                  <c:v>0.29776192020759</c:v>
                </c:pt>
                <c:pt idx="16">
                  <c:v>0.29018190879641165</c:v>
                </c:pt>
                <c:pt idx="17">
                  <c:v>0.2924260834345889</c:v>
                </c:pt>
                <c:pt idx="18">
                  <c:v>0.269364527347455</c:v>
                </c:pt>
                <c:pt idx="19">
                  <c:v>0.279264518478063</c:v>
                </c:pt>
                <c:pt idx="20">
                  <c:v>0.2820202631181007</c:v>
                </c:pt>
                <c:pt idx="21">
                  <c:v>0.3059532780708365</c:v>
                </c:pt>
                <c:pt idx="22">
                  <c:v>0.3503233168505135</c:v>
                </c:pt>
                <c:pt idx="23">
                  <c:v>0.3644256006460731</c:v>
                </c:pt>
                <c:pt idx="24">
                  <c:v>0.37865524306202275</c:v>
                </c:pt>
                <c:pt idx="25">
                  <c:v>0.3801546391752577</c:v>
                </c:pt>
                <c:pt idx="26">
                  <c:v>0.39286944540130897</c:v>
                </c:pt>
                <c:pt idx="27">
                  <c:v>0.41323792486583183</c:v>
                </c:pt>
                <c:pt idx="28">
                  <c:v>0.3720294067361942</c:v>
                </c:pt>
                <c:pt idx="29">
                  <c:v>0.3772208121827411</c:v>
                </c:pt>
                <c:pt idx="30">
                  <c:v>0.36666666666666664</c:v>
                </c:pt>
                <c:pt idx="31">
                  <c:v>0.3788927335640138</c:v>
                </c:pt>
                <c:pt idx="32">
                  <c:v>0.395821242019733</c:v>
                </c:pt>
                <c:pt idx="33">
                  <c:v>0.4005830009205278</c:v>
                </c:pt>
                <c:pt idx="34">
                  <c:v>0.39319313779745435</c:v>
                </c:pt>
                <c:pt idx="35">
                  <c:v>0.39588634435962683</c:v>
                </c:pt>
                <c:pt idx="36">
                  <c:v>0.33078982597054885</c:v>
                </c:pt>
                <c:pt idx="37">
                  <c:v>0.3654183266932271</c:v>
                </c:pt>
                <c:pt idx="38">
                  <c:v>0.35771276595744683</c:v>
                </c:pt>
                <c:pt idx="39">
                  <c:v>0.32903687790905833</c:v>
                </c:pt>
                <c:pt idx="40">
                  <c:v>0.3412196914033799</c:v>
                </c:pt>
                <c:pt idx="41">
                  <c:v>0.31542569902607603</c:v>
                </c:pt>
                <c:pt idx="42">
                  <c:v>0.3173860751035681</c:v>
                </c:pt>
                <c:pt idx="43">
                  <c:v>0.3248499399759904</c:v>
                </c:pt>
                <c:pt idx="44">
                  <c:v>0.31010425020048116</c:v>
                </c:pt>
                <c:pt idx="45">
                  <c:v>0.31930729550479</c:v>
                </c:pt>
                <c:pt idx="46">
                  <c:v>0.3429047929809296</c:v>
                </c:pt>
                <c:pt idx="47">
                  <c:v>0.321825714078058</c:v>
                </c:pt>
                <c:pt idx="48">
                  <c:v>0.31490823226360415</c:v>
                </c:pt>
                <c:pt idx="49">
                  <c:v>0.3321206008429091</c:v>
                </c:pt>
                <c:pt idx="50">
                  <c:v>0.31934650562033096</c:v>
                </c:pt>
                <c:pt idx="51">
                  <c:v>0.33135785253616873</c:v>
                </c:pt>
                <c:pt idx="52">
                  <c:v>0.3366093366093366</c:v>
                </c:pt>
                <c:pt idx="53">
                  <c:v>0.33346205831241554</c:v>
                </c:pt>
                <c:pt idx="54">
                  <c:v>0.3545645330535152</c:v>
                </c:pt>
                <c:pt idx="55">
                  <c:v>0.3509471585244267</c:v>
                </c:pt>
                <c:pt idx="56">
                  <c:v>0.3369379624359704</c:v>
                </c:pt>
                <c:pt idx="57">
                  <c:v>0.3409251948577791</c:v>
                </c:pt>
                <c:pt idx="58">
                  <c:v>0.34684602799491</c:v>
                </c:pt>
                <c:pt idx="59">
                  <c:v>0.34563445867287546</c:v>
                </c:pt>
                <c:pt idx="60">
                  <c:v>0.3501058662348985</c:v>
                </c:pt>
                <c:pt idx="61">
                  <c:v>0.3508646817614548</c:v>
                </c:pt>
                <c:pt idx="62">
                  <c:v>0.3595632203830488</c:v>
                </c:pt>
                <c:pt idx="63">
                  <c:v>0.36726824001234</c:v>
                </c:pt>
                <c:pt idx="64">
                  <c:v>0.3451998832798366</c:v>
                </c:pt>
                <c:pt idx="65">
                  <c:v>0.32117074701820464</c:v>
                </c:pt>
                <c:pt idx="66">
                  <c:v>0.3177641008346682</c:v>
                </c:pt>
                <c:pt idx="67">
                  <c:v>0.3051209103840683</c:v>
                </c:pt>
                <c:pt idx="68">
                  <c:v>0.3030070237050044</c:v>
                </c:pt>
                <c:pt idx="69">
                  <c:v>0.28987898789878985</c:v>
                </c:pt>
                <c:pt idx="70">
                  <c:v>0.2927390950961799</c:v>
                </c:pt>
                <c:pt idx="71">
                  <c:v>0.29948567229977957</c:v>
                </c:pt>
                <c:pt idx="72">
                  <c:v>0.289910252923579</c:v>
                </c:pt>
                <c:pt idx="73">
                  <c:v>0.30032611918173735</c:v>
                </c:pt>
                <c:pt idx="74">
                  <c:v>0.30510407755916735</c:v>
                </c:pt>
                <c:pt idx="75">
                  <c:v>0.31750205423171735</c:v>
                </c:pt>
                <c:pt idx="76">
                  <c:v>0.3006802721088435</c:v>
                </c:pt>
                <c:pt idx="77">
                  <c:v>0.31494501532359837</c:v>
                </c:pt>
                <c:pt idx="78">
                  <c:v>0.2981418918918919</c:v>
                </c:pt>
                <c:pt idx="79">
                  <c:v>0.30162325405813517</c:v>
                </c:pt>
                <c:pt idx="80">
                  <c:v>0.27624521072796937</c:v>
                </c:pt>
                <c:pt idx="81">
                  <c:v>0.28343707302262033</c:v>
                </c:pt>
                <c:pt idx="82">
                  <c:v>0.28123195380173244</c:v>
                </c:pt>
                <c:pt idx="83">
                  <c:v>0.2687937062937063</c:v>
                </c:pt>
                <c:pt idx="84">
                  <c:v>0.28508261577845007</c:v>
                </c:pt>
                <c:pt idx="85">
                  <c:v>0.3043753963221306</c:v>
                </c:pt>
                <c:pt idx="86">
                  <c:v>0.29567749846719804</c:v>
                </c:pt>
                <c:pt idx="87">
                  <c:v>0.3214524095581364</c:v>
                </c:pt>
                <c:pt idx="88">
                  <c:v>0.30559416261292566</c:v>
                </c:pt>
                <c:pt idx="89">
                  <c:v>0.3028</c:v>
                </c:pt>
                <c:pt idx="90">
                  <c:v>0.2973137973137973</c:v>
                </c:pt>
                <c:pt idx="91">
                  <c:v>0.25865277260885744</c:v>
                </c:pt>
                <c:pt idx="92">
                  <c:v>0.2939825447864033</c:v>
                </c:pt>
                <c:pt idx="93">
                  <c:v>0.27591729761211414</c:v>
                </c:pt>
                <c:pt idx="94">
                  <c:v>0.2721529240239754</c:v>
                </c:pt>
                <c:pt idx="95">
                  <c:v>0.27486881768449256</c:v>
                </c:pt>
                <c:pt idx="96">
                  <c:v>0.2910351913691241</c:v>
                </c:pt>
                <c:pt idx="97">
                  <c:v>0.288008800880088</c:v>
                </c:pt>
                <c:pt idx="98">
                  <c:v>0.2953028747433265</c:v>
                </c:pt>
                <c:pt idx="99">
                  <c:v>0.3003270553738581</c:v>
                </c:pt>
                <c:pt idx="100">
                  <c:v>0.2988939948594127</c:v>
                </c:pt>
                <c:pt idx="101">
                  <c:v>0.29854680153868074</c:v>
                </c:pt>
                <c:pt idx="102">
                  <c:v>0.2902367650971003</c:v>
                </c:pt>
                <c:pt idx="103">
                  <c:v>0.270535643011096</c:v>
                </c:pt>
                <c:pt idx="104">
                  <c:v>0.2779099647853811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92.4693</c:v>
                </c:pt>
                <c:pt idx="1">
                  <c:v>1310.0741</c:v>
                </c:pt>
                <c:pt idx="2">
                  <c:v>1297.5019</c:v>
                </c:pt>
                <c:pt idx="3">
                  <c:v>1286.6841</c:v>
                </c:pt>
                <c:pt idx="4">
                  <c:v>1287.4985</c:v>
                </c:pt>
                <c:pt idx="5">
                  <c:v>1275.8813</c:v>
                </c:pt>
                <c:pt idx="6">
                  <c:v>1190.8298</c:v>
                </c:pt>
                <c:pt idx="7">
                  <c:v>1239.1474</c:v>
                </c:pt>
                <c:pt idx="8">
                  <c:v>1300.4889</c:v>
                </c:pt>
                <c:pt idx="9">
                  <c:v>1220.1443</c:v>
                </c:pt>
                <c:pt idx="10">
                  <c:v>1264.5403</c:v>
                </c:pt>
                <c:pt idx="11">
                  <c:v>1149.5689</c:v>
                </c:pt>
                <c:pt idx="12">
                  <c:v>1200.5666</c:v>
                </c:pt>
                <c:pt idx="13">
                  <c:v>1233.9006</c:v>
                </c:pt>
                <c:pt idx="14">
                  <c:v>1230.0682</c:v>
                </c:pt>
                <c:pt idx="15">
                  <c:v>1240.4114</c:v>
                </c:pt>
                <c:pt idx="16">
                  <c:v>1296.304</c:v>
                </c:pt>
                <c:pt idx="17">
                  <c:v>1283.6395</c:v>
                </c:pt>
                <c:pt idx="18">
                  <c:v>1222.2853</c:v>
                </c:pt>
                <c:pt idx="19">
                  <c:v>1329.5908</c:v>
                </c:pt>
                <c:pt idx="20">
                  <c:v>1295.8862</c:v>
                </c:pt>
                <c:pt idx="21">
                  <c:v>1207.1563</c:v>
                </c:pt>
                <c:pt idx="22">
                  <c:v>1276.0466</c:v>
                </c:pt>
                <c:pt idx="23">
                  <c:v>1303.4906</c:v>
                </c:pt>
                <c:pt idx="24">
                  <c:v>1321.2338</c:v>
                </c:pt>
                <c:pt idx="25">
                  <c:v>1293.9305</c:v>
                </c:pt>
                <c:pt idx="26">
                  <c:v>1318.2374</c:v>
                </c:pt>
                <c:pt idx="27">
                  <c:v>1309.4034</c:v>
                </c:pt>
                <c:pt idx="28">
                  <c:v>1329.3464</c:v>
                </c:pt>
                <c:pt idx="29">
                  <c:v>1327.302</c:v>
                </c:pt>
                <c:pt idx="30">
                  <c:v>1315.9483</c:v>
                </c:pt>
                <c:pt idx="31">
                  <c:v>1298.2228</c:v>
                </c:pt>
                <c:pt idx="32">
                  <c:v>1325.6982</c:v>
                </c:pt>
                <c:pt idx="33">
                  <c:v>1335.1185</c:v>
                </c:pt>
                <c:pt idx="34">
                  <c:v>1349.4658</c:v>
                </c:pt>
                <c:pt idx="35">
                  <c:v>1365.0367</c:v>
                </c:pt>
                <c:pt idx="36">
                  <c:v>1392.8324</c:v>
                </c:pt>
                <c:pt idx="37">
                  <c:v>1364.2829</c:v>
                </c:pt>
                <c:pt idx="38">
                  <c:v>1379.3408</c:v>
                </c:pt>
                <c:pt idx="39">
                  <c:v>1320.3313</c:v>
                </c:pt>
                <c:pt idx="40">
                  <c:v>1351.0619</c:v>
                </c:pt>
                <c:pt idx="41">
                  <c:v>1374.9809</c:v>
                </c:pt>
                <c:pt idx="42">
                  <c:v>1347.0708</c:v>
                </c:pt>
                <c:pt idx="43">
                  <c:v>1359.6725</c:v>
                </c:pt>
                <c:pt idx="44">
                  <c:v>1288.3032</c:v>
                </c:pt>
                <c:pt idx="45">
                  <c:v>1261.7126</c:v>
                </c:pt>
                <c:pt idx="46">
                  <c:v>1253.6558</c:v>
                </c:pt>
                <c:pt idx="47">
                  <c:v>1220.1165</c:v>
                </c:pt>
                <c:pt idx="48">
                  <c:v>1205.2774</c:v>
                </c:pt>
                <c:pt idx="49">
                  <c:v>1216.6947</c:v>
                </c:pt>
                <c:pt idx="50">
                  <c:v>1167.0316</c:v>
                </c:pt>
                <c:pt idx="51">
                  <c:v>1143.9844</c:v>
                </c:pt>
              </c:numCache>
            </c:numRef>
          </c:xVal>
          <c:yVal>
            <c:numRef>
              <c:f>Sheet1!$B$109:$B$160</c:f>
              <c:numCache>
                <c:formatCode>General</c:formatCode>
                <c:ptCount val="52"/>
                <c:pt idx="0">
                  <c:v>0.2916702558359893</c:v>
                </c:pt>
                <c:pt idx="1">
                  <c:v>0.29713189623675557</c:v>
                </c:pt>
                <c:pt idx="2">
                  <c:v>0.30235806425108863</c:v>
                </c:pt>
                <c:pt idx="3">
                  <c:v>0.337461811576253</c:v>
                </c:pt>
                <c:pt idx="4">
                  <c:v>0.3302561317766314</c:v>
                </c:pt>
                <c:pt idx="5">
                  <c:v>0.30656185919343815</c:v>
                </c:pt>
                <c:pt idx="6">
                  <c:v>0.3320905008050165</c:v>
                </c:pt>
                <c:pt idx="7">
                  <c:v>0.3125</c:v>
                </c:pt>
                <c:pt idx="8">
                  <c:v>0.313678299237866</c:v>
                </c:pt>
                <c:pt idx="9">
                  <c:v>0.3150065452814471</c:v>
                </c:pt>
                <c:pt idx="10">
                  <c:v>0.30897200550711335</c:v>
                </c:pt>
                <c:pt idx="11">
                  <c:v>0.3169037380086007</c:v>
                </c:pt>
                <c:pt idx="12">
                  <c:v>0.3254703466717601</c:v>
                </c:pt>
                <c:pt idx="13">
                  <c:v>0.33390497326742663</c:v>
                </c:pt>
                <c:pt idx="14">
                  <c:v>0.3321123321123321</c:v>
                </c:pt>
                <c:pt idx="15">
                  <c:v>0.31697800898557577</c:v>
                </c:pt>
                <c:pt idx="16">
                  <c:v>0.30112699285321604</c:v>
                </c:pt>
                <c:pt idx="17">
                  <c:v>0.29326647564469915</c:v>
                </c:pt>
                <c:pt idx="18">
                  <c:v>0.3079354516719348</c:v>
                </c:pt>
                <c:pt idx="19">
                  <c:v>0.300814281240213</c:v>
                </c:pt>
                <c:pt idx="20">
                  <c:v>0.31164200392226776</c:v>
                </c:pt>
                <c:pt idx="21">
                  <c:v>0.31462621885157094</c:v>
                </c:pt>
                <c:pt idx="22">
                  <c:v>0.3091070241524485</c:v>
                </c:pt>
                <c:pt idx="23">
                  <c:v>0.30545774647887325</c:v>
                </c:pt>
                <c:pt idx="24">
                  <c:v>0.30815840727115346</c:v>
                </c:pt>
                <c:pt idx="25">
                  <c:v>0.305513838232139</c:v>
                </c:pt>
                <c:pt idx="26">
                  <c:v>0.29310344827586204</c:v>
                </c:pt>
                <c:pt idx="27">
                  <c:v>0.28388245770258236</c:v>
                </c:pt>
                <c:pt idx="28">
                  <c:v>0.28780734253957563</c:v>
                </c:pt>
                <c:pt idx="29">
                  <c:v>0.2951048951048951</c:v>
                </c:pt>
                <c:pt idx="30">
                  <c:v>0.30057803468208094</c:v>
                </c:pt>
                <c:pt idx="31">
                  <c:v>0.2950011734334663</c:v>
                </c:pt>
                <c:pt idx="32">
                  <c:v>0.29774812343619683</c:v>
                </c:pt>
                <c:pt idx="33">
                  <c:v>0.3021088769004414</c:v>
                </c:pt>
                <c:pt idx="34">
                  <c:v>0.3245603093426469</c:v>
                </c:pt>
                <c:pt idx="35">
                  <c:v>0.3064798598949212</c:v>
                </c:pt>
                <c:pt idx="36">
                  <c:v>0.2856141989724428</c:v>
                </c:pt>
                <c:pt idx="37">
                  <c:v>0.29664769133459834</c:v>
                </c:pt>
                <c:pt idx="38">
                  <c:v>0.29234507897934386</c:v>
                </c:pt>
                <c:pt idx="39">
                  <c:v>0.3210865401358175</c:v>
                </c:pt>
                <c:pt idx="40">
                  <c:v>0.3143979992854591</c:v>
                </c:pt>
                <c:pt idx="41">
                  <c:v>0.3066428455416599</c:v>
                </c:pt>
                <c:pt idx="42">
                  <c:v>0.31561461794019935</c:v>
                </c:pt>
                <c:pt idx="43">
                  <c:v>0.3071615841037671</c:v>
                </c:pt>
                <c:pt idx="44">
                  <c:v>0.3025999312793494</c:v>
                </c:pt>
                <c:pt idx="45">
                  <c:v>0.3041220382992535</c:v>
                </c:pt>
                <c:pt idx="46">
                  <c:v>0.3246560427595764</c:v>
                </c:pt>
                <c:pt idx="47">
                  <c:v>0.31618114166439787</c:v>
                </c:pt>
                <c:pt idx="48">
                  <c:v>0.3015329662152106</c:v>
                </c:pt>
                <c:pt idx="49">
                  <c:v>0.3205233033524121</c:v>
                </c:pt>
                <c:pt idx="50">
                  <c:v>0.33075107964916967</c:v>
                </c:pt>
                <c:pt idx="51">
                  <c:v>0.3291760540714515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86.8216737094027</c:v>
                </c:pt>
              </c:numCache>
            </c:numRef>
          </c:xVal>
          <c:yVal>
            <c:numRef>
              <c:f>Sheet1!$B$163:$B$164</c:f>
              <c:numCache>
                <c:formatCode>General</c:formatCode>
                <c:ptCount val="2"/>
                <c:pt idx="0">
                  <c:v>0.39605903917055874</c:v>
                </c:pt>
                <c:pt idx="1">
                  <c:v>0.3960590391705587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86.8216737094027</c:v>
                </c:pt>
                <c:pt idx="1">
                  <c:v>586.8216737094027</c:v>
                </c:pt>
              </c:numCache>
            </c:numRef>
          </c:xVal>
          <c:yVal>
            <c:numRef>
              <c:f>Sheet1!$B$167:$B$168</c:f>
              <c:numCache>
                <c:formatCode>General</c:formatCode>
                <c:ptCount val="2"/>
                <c:pt idx="0">
                  <c:v>0.396059039170558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94.3980788008173</c:v>
                </c:pt>
              </c:numCache>
            </c:numRef>
          </c:xVal>
          <c:yVal>
            <c:numRef>
              <c:f>Sheet1!$B$171:$B$172</c:f>
              <c:numCache>
                <c:formatCode>General</c:formatCode>
                <c:ptCount val="2"/>
                <c:pt idx="0">
                  <c:v>0.320495850822061</c:v>
                </c:pt>
                <c:pt idx="1">
                  <c:v>0.32049585082206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94.3980788008173</c:v>
                </c:pt>
                <c:pt idx="1">
                  <c:v>1194.3980788008173</c:v>
                </c:pt>
              </c:numCache>
            </c:numRef>
          </c:xVal>
          <c:yVal>
            <c:numRef>
              <c:f>Sheet1!$B$175:$B$176</c:f>
              <c:numCache>
                <c:formatCode>General</c:formatCode>
                <c:ptCount val="2"/>
                <c:pt idx="0">
                  <c:v>0.32049585082206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38.9308032282388</c:v>
                </c:pt>
              </c:numCache>
            </c:numRef>
          </c:xVal>
          <c:yVal>
            <c:numRef>
              <c:f>Sheet1!$B$179:$B$180</c:f>
              <c:numCache>
                <c:formatCode>General</c:formatCode>
                <c:ptCount val="2"/>
                <c:pt idx="0">
                  <c:v>0.31495739571520953</c:v>
                </c:pt>
                <c:pt idx="1">
                  <c:v>0.3149573957152095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38.9308032282388</c:v>
                </c:pt>
                <c:pt idx="1">
                  <c:v>1238.9308032282388</c:v>
                </c:pt>
              </c:numCache>
            </c:numRef>
          </c:xVal>
          <c:yVal>
            <c:numRef>
              <c:f>Sheet1!$B$183:$B$184</c:f>
              <c:numCache>
                <c:formatCode>General</c:formatCode>
                <c:ptCount val="2"/>
                <c:pt idx="0">
                  <c:v>0.3149573957152095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92.4693</c:v>
                </c:pt>
                <c:pt idx="1">
                  <c:v>1310.0741</c:v>
                </c:pt>
                <c:pt idx="2">
                  <c:v>1297.5019</c:v>
                </c:pt>
                <c:pt idx="3">
                  <c:v>1286.6841</c:v>
                </c:pt>
                <c:pt idx="4">
                  <c:v>1287.4985</c:v>
                </c:pt>
                <c:pt idx="5">
                  <c:v>1275.8813</c:v>
                </c:pt>
                <c:pt idx="6">
                  <c:v>1190.8298</c:v>
                </c:pt>
                <c:pt idx="7">
                  <c:v>1239.1474</c:v>
                </c:pt>
                <c:pt idx="8">
                  <c:v>1300.4889</c:v>
                </c:pt>
                <c:pt idx="9">
                  <c:v>1220.1443</c:v>
                </c:pt>
                <c:pt idx="10">
                  <c:v>1264.5403</c:v>
                </c:pt>
                <c:pt idx="11">
                  <c:v>1149.5689</c:v>
                </c:pt>
                <c:pt idx="12">
                  <c:v>1200.5666</c:v>
                </c:pt>
                <c:pt idx="13">
                  <c:v>1233.9006</c:v>
                </c:pt>
                <c:pt idx="14">
                  <c:v>1230.0682</c:v>
                </c:pt>
                <c:pt idx="15">
                  <c:v>1240.4114</c:v>
                </c:pt>
                <c:pt idx="16">
                  <c:v>1296.304</c:v>
                </c:pt>
                <c:pt idx="17">
                  <c:v>1283.6395</c:v>
                </c:pt>
                <c:pt idx="18">
                  <c:v>1222.2853</c:v>
                </c:pt>
                <c:pt idx="19">
                  <c:v>1329.5908</c:v>
                </c:pt>
                <c:pt idx="20">
                  <c:v>1295.8862</c:v>
                </c:pt>
                <c:pt idx="21">
                  <c:v>1207.1563</c:v>
                </c:pt>
                <c:pt idx="22">
                  <c:v>1276.0466</c:v>
                </c:pt>
                <c:pt idx="23">
                  <c:v>1303.4906</c:v>
                </c:pt>
                <c:pt idx="24">
                  <c:v>1321.2338</c:v>
                </c:pt>
                <c:pt idx="25">
                  <c:v>1293.9305</c:v>
                </c:pt>
                <c:pt idx="26">
                  <c:v>1318.2374</c:v>
                </c:pt>
                <c:pt idx="27">
                  <c:v>1309.4034</c:v>
                </c:pt>
                <c:pt idx="28">
                  <c:v>1329.3464</c:v>
                </c:pt>
                <c:pt idx="29">
                  <c:v>1327.302</c:v>
                </c:pt>
                <c:pt idx="30">
                  <c:v>1315.9483</c:v>
                </c:pt>
                <c:pt idx="31">
                  <c:v>1298.2228</c:v>
                </c:pt>
                <c:pt idx="32">
                  <c:v>1325.6982</c:v>
                </c:pt>
                <c:pt idx="33">
                  <c:v>1335.1185</c:v>
                </c:pt>
                <c:pt idx="34">
                  <c:v>1349.4658</c:v>
                </c:pt>
                <c:pt idx="35">
                  <c:v>1365.0367</c:v>
                </c:pt>
                <c:pt idx="36">
                  <c:v>1392.8324</c:v>
                </c:pt>
                <c:pt idx="37">
                  <c:v>1364.2829</c:v>
                </c:pt>
                <c:pt idx="38">
                  <c:v>1379.3408</c:v>
                </c:pt>
                <c:pt idx="39">
                  <c:v>1320.3313</c:v>
                </c:pt>
                <c:pt idx="40">
                  <c:v>1351.0619</c:v>
                </c:pt>
                <c:pt idx="41">
                  <c:v>1374.9809</c:v>
                </c:pt>
                <c:pt idx="42">
                  <c:v>1347.0708</c:v>
                </c:pt>
                <c:pt idx="43">
                  <c:v>1359.6725</c:v>
                </c:pt>
                <c:pt idx="44">
                  <c:v>1288.3032</c:v>
                </c:pt>
                <c:pt idx="45">
                  <c:v>1261.7126</c:v>
                </c:pt>
                <c:pt idx="46">
                  <c:v>1253.6558</c:v>
                </c:pt>
                <c:pt idx="47">
                  <c:v>1220.1165</c:v>
                </c:pt>
                <c:pt idx="48">
                  <c:v>1205.2774</c:v>
                </c:pt>
                <c:pt idx="49">
                  <c:v>1216.6947</c:v>
                </c:pt>
                <c:pt idx="50">
                  <c:v>1167.0316</c:v>
                </c:pt>
                <c:pt idx="51">
                  <c:v>1143.9844</c:v>
                </c:pt>
                <c:pt idx="52">
                  <c:v>1194.3980788008173</c:v>
                </c:pt>
                <c:pt idx="53">
                  <c:v>586.8216737094027</c:v>
                </c:pt>
                <c:pt idx="54">
                  <c:v>1238.9308032282388</c:v>
                </c:pt>
              </c:numCache>
            </c:numRef>
          </c:xVal>
          <c:yVal>
            <c:numRef>
              <c:f>Sheet1!$B$187:$B$241</c:f>
              <c:numCache>
                <c:formatCode>General</c:formatCode>
                <c:ptCount val="55"/>
                <c:pt idx="0">
                  <c:v>0.3082989088458069</c:v>
                </c:pt>
                <c:pt idx="1">
                  <c:v>0.30610943142849756</c:v>
                </c:pt>
                <c:pt idx="2">
                  <c:v>0.3076730134053389</c:v>
                </c:pt>
                <c:pt idx="3">
                  <c:v>0.30901840379915024</c:v>
                </c:pt>
                <c:pt idx="4">
                  <c:v>0.3089171183310587</c:v>
                </c:pt>
                <c:pt idx="5">
                  <c:v>0.31036192866985074</c:v>
                </c:pt>
                <c:pt idx="6">
                  <c:v>0.32093963125995595</c:v>
                </c:pt>
                <c:pt idx="7">
                  <c:v>0.31493045796298097</c:v>
                </c:pt>
                <c:pt idx="8">
                  <c:v>0.30730152556989043</c:v>
                </c:pt>
                <c:pt idx="9">
                  <c:v>0.3172938394446718</c:v>
                </c:pt>
                <c:pt idx="10">
                  <c:v>0.311772388509764</c:v>
                </c:pt>
                <c:pt idx="11">
                  <c:v>0.3260711754279021</c:v>
                </c:pt>
                <c:pt idx="12">
                  <c:v>0.319728682898324</c:v>
                </c:pt>
                <c:pt idx="13">
                  <c:v>0.3155829930734701</c:v>
                </c:pt>
                <c:pt idx="14">
                  <c:v>0.31605962179143887</c:v>
                </c:pt>
                <c:pt idx="15">
                  <c:v>0.3147732565488508</c:v>
                </c:pt>
                <c:pt idx="16">
                  <c:v>0.30782199408096117</c:v>
                </c:pt>
                <c:pt idx="17">
                  <c:v>0.3093970552433438</c:v>
                </c:pt>
                <c:pt idx="18">
                  <c:v>0.3170275671126681</c:v>
                </c:pt>
                <c:pt idx="19">
                  <c:v>0.3036821744354956</c:v>
                </c:pt>
                <c:pt idx="20">
                  <c:v>0.3078739551180052</c:v>
                </c:pt>
                <c:pt idx="21">
                  <c:v>0.31890913372214236</c:v>
                </c:pt>
                <c:pt idx="22">
                  <c:v>0.31034137060517064</c:v>
                </c:pt>
                <c:pt idx="23">
                  <c:v>0.3069282095217935</c:v>
                </c:pt>
                <c:pt idx="24">
                  <c:v>0.3047215195445826</c:v>
                </c:pt>
                <c:pt idx="25">
                  <c:v>0.3081171820211811</c:v>
                </c:pt>
                <c:pt idx="26">
                  <c:v>0.3050941764411804</c:v>
                </c:pt>
                <c:pt idx="27">
                  <c:v>0.30619284518518836</c:v>
                </c:pt>
                <c:pt idx="28">
                  <c:v>0.30371257002537966</c:v>
                </c:pt>
                <c:pt idx="29">
                  <c:v>0.3039668283885504</c:v>
                </c:pt>
                <c:pt idx="30">
                  <c:v>0.30537886770469735</c:v>
                </c:pt>
                <c:pt idx="31">
                  <c:v>0.30758335636463763</c:v>
                </c:pt>
                <c:pt idx="32">
                  <c:v>0.30416629011954877</c:v>
                </c:pt>
                <c:pt idx="33">
                  <c:v>0.3029947042955531</c:v>
                </c:pt>
                <c:pt idx="34">
                  <c:v>0.3012103563137889</c:v>
                </c:pt>
                <c:pt idx="35">
                  <c:v>0.29927383139347274</c:v>
                </c:pt>
                <c:pt idx="36">
                  <c:v>0.2958169300115596</c:v>
                </c:pt>
                <c:pt idx="37">
                  <c:v>0.29936758014819687</c:v>
                </c:pt>
                <c:pt idx="38">
                  <c:v>0.2974948561182674</c:v>
                </c:pt>
                <c:pt idx="39">
                  <c:v>0.3048337618517444</c:v>
                </c:pt>
                <c:pt idx="40">
                  <c:v>0.3010118522179873</c:v>
                </c:pt>
                <c:pt idx="41">
                  <c:v>0.2980370890656299</c:v>
                </c:pt>
                <c:pt idx="42">
                  <c:v>0.3015082181704675</c:v>
                </c:pt>
                <c:pt idx="43">
                  <c:v>0.29994096733150843</c:v>
                </c:pt>
                <c:pt idx="44">
                  <c:v>0.3088170392345788</c:v>
                </c:pt>
                <c:pt idx="45">
                  <c:v>0.3121240644897766</c:v>
                </c:pt>
                <c:pt idx="46">
                  <c:v>0.31312607426300765</c:v>
                </c:pt>
                <c:pt idx="47">
                  <c:v>0.31729729688083697</c:v>
                </c:pt>
                <c:pt idx="48">
                  <c:v>0.31914280914699145</c:v>
                </c:pt>
                <c:pt idx="49">
                  <c:v>0.31772286001285494</c:v>
                </c:pt>
                <c:pt idx="50">
                  <c:v>0.3238993707328617</c:v>
                </c:pt>
                <c:pt idx="51">
                  <c:v>0.3267657096820239</c:v>
                </c:pt>
                <c:pt idx="52">
                  <c:v>0.320495850822061</c:v>
                </c:pt>
                <c:pt idx="53">
                  <c:v>0.39605903917055874</c:v>
                </c:pt>
                <c:pt idx="54">
                  <c:v>0.3149573957152095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71.0"/>
          <c:min val="46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169390787518574"/>
          <c:min val="0.2069222180870859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9579304689840714</c:v>
                </c:pt>
                <c:pt idx="1">
                  <c:v>0.9196726601870078</c:v>
                </c:pt>
                <c:pt idx="2">
                  <c:v>0.9040460377637697</c:v>
                </c:pt>
                <c:pt idx="3">
                  <c:v>0.9183262986514988</c:v>
                </c:pt>
                <c:pt idx="4">
                  <c:v>0.9068845471319837</c:v>
                </c:pt>
                <c:pt idx="5">
                  <c:v>0.9032708596253932</c:v>
                </c:pt>
                <c:pt idx="6">
                  <c:v>0.9039384048354135</c:v>
                </c:pt>
                <c:pt idx="7">
                  <c:v>0.8963993592533167</c:v>
                </c:pt>
                <c:pt idx="8">
                  <c:v>0.8913020059603888</c:v>
                </c:pt>
                <c:pt idx="9">
                  <c:v>0.9073439875628364</c:v>
                </c:pt>
                <c:pt idx="10">
                  <c:v>0.899561812111683</c:v>
                </c:pt>
                <c:pt idx="11">
                  <c:v>0.8864480659442199</c:v>
                </c:pt>
                <c:pt idx="12">
                  <c:v>0.8850633750224162</c:v>
                </c:pt>
                <c:pt idx="13">
                  <c:v>0.8857876412058591</c:v>
                </c:pt>
                <c:pt idx="14">
                  <c:v>0.9365597027256447</c:v>
                </c:pt>
                <c:pt idx="15">
                  <c:v>0.9299900817857131</c:v>
                </c:pt>
                <c:pt idx="16">
                  <c:v>0.9271751920443496</c:v>
                </c:pt>
                <c:pt idx="17">
                  <c:v>0.9361676477985912</c:v>
                </c:pt>
                <c:pt idx="18">
                  <c:v>0.9770454467102924</c:v>
                </c:pt>
                <c:pt idx="19">
                  <c:v>1.0256411773470393</c:v>
                </c:pt>
                <c:pt idx="20">
                  <c:v>0.9970838522363413</c:v>
                </c:pt>
                <c:pt idx="21">
                  <c:v>0.9608561631985304</c:v>
                </c:pt>
                <c:pt idx="22">
                  <c:v>0.9365685787829684</c:v>
                </c:pt>
                <c:pt idx="23">
                  <c:v>0.9196999984294448</c:v>
                </c:pt>
                <c:pt idx="24">
                  <c:v>0.9394053511869815</c:v>
                </c:pt>
                <c:pt idx="25">
                  <c:v>0.9028962979576556</c:v>
                </c:pt>
                <c:pt idx="26">
                  <c:v>0.9053240094326455</c:v>
                </c:pt>
                <c:pt idx="27">
                  <c:v>0.8998546170218522</c:v>
                </c:pt>
                <c:pt idx="28">
                  <c:v>0.8910593612593559</c:v>
                </c:pt>
                <c:pt idx="29">
                  <c:v>0.8831304273402744</c:v>
                </c:pt>
                <c:pt idx="30">
                  <c:v>0.9058399357575688</c:v>
                </c:pt>
                <c:pt idx="31">
                  <c:v>0.8979132811172263</c:v>
                </c:pt>
                <c:pt idx="32">
                  <c:v>0.9243005726946985</c:v>
                </c:pt>
                <c:pt idx="33">
                  <c:v>0.92439314725838</c:v>
                </c:pt>
                <c:pt idx="34">
                  <c:v>0.9677805736647852</c:v>
                </c:pt>
                <c:pt idx="35">
                  <c:v>0.988944313643856</c:v>
                </c:pt>
                <c:pt idx="36">
                  <c:v>1.0187983505905447</c:v>
                </c:pt>
                <c:pt idx="37">
                  <c:v>1.0942295315939985</c:v>
                </c:pt>
                <c:pt idx="38">
                  <c:v>1.128976188249348</c:v>
                </c:pt>
                <c:pt idx="39">
                  <c:v>1.116109049292775</c:v>
                </c:pt>
                <c:pt idx="40">
                  <c:v>1.1068403344567546</c:v>
                </c:pt>
                <c:pt idx="41">
                  <c:v>1.0447013626269952</c:v>
                </c:pt>
                <c:pt idx="42">
                  <c:v>1.0830475145300427</c:v>
                </c:pt>
                <c:pt idx="43">
                  <c:v>1.0916472744192443</c:v>
                </c:pt>
                <c:pt idx="44">
                  <c:v>1.017860242060952</c:v>
                </c:pt>
                <c:pt idx="45">
                  <c:v>0.9865362861732646</c:v>
                </c:pt>
                <c:pt idx="46">
                  <c:v>1.0094854805763878</c:v>
                </c:pt>
                <c:pt idx="47">
                  <c:v>1.0182435000681962</c:v>
                </c:pt>
                <c:pt idx="48">
                  <c:v>0.9796729419573387</c:v>
                </c:pt>
                <c:pt idx="49">
                  <c:v>0.9370477630695377</c:v>
                </c:pt>
                <c:pt idx="50">
                  <c:v>0.9514630284949556</c:v>
                </c:pt>
                <c:pt idx="51">
                  <c:v>0.9746152208539286</c:v>
                </c:pt>
                <c:pt idx="52">
                  <c:v>0.9366701267649377</c:v>
                </c:pt>
                <c:pt idx="53">
                  <c:v>1.0000690163487163</c:v>
                </c:pt>
                <c:pt idx="54">
                  <c:v>1.0013314897544783</c:v>
                </c:pt>
                <c:pt idx="55">
                  <c:v>1.02074042022737</c:v>
                </c:pt>
                <c:pt idx="56">
                  <c:v>0.9609571578543935</c:v>
                </c:pt>
                <c:pt idx="57">
                  <c:v>0.9906305009344861</c:v>
                </c:pt>
                <c:pt idx="58">
                  <c:v>0.9717910056944561</c:v>
                </c:pt>
                <c:pt idx="59">
                  <c:v>0.9582990916614473</c:v>
                </c:pt>
                <c:pt idx="60">
                  <c:v>0.9291837755835004</c:v>
                </c:pt>
                <c:pt idx="61">
                  <c:v>0.962504091043544</c:v>
                </c:pt>
                <c:pt idx="62">
                  <c:v>0.9859608974448616</c:v>
                </c:pt>
                <c:pt idx="63">
                  <c:v>0.9537248425189109</c:v>
                </c:pt>
                <c:pt idx="64">
                  <c:v>1.0046887453313198</c:v>
                </c:pt>
                <c:pt idx="65">
                  <c:v>0.9808471920266442</c:v>
                </c:pt>
                <c:pt idx="66">
                  <c:v>1.0214404404034532</c:v>
                </c:pt>
                <c:pt idx="67">
                  <c:v>1.089933555636692</c:v>
                </c:pt>
                <c:pt idx="68">
                  <c:v>1.1216305044580515</c:v>
                </c:pt>
                <c:pt idx="69">
                  <c:v>1.1409036611929704</c:v>
                </c:pt>
                <c:pt idx="70">
                  <c:v>1.1361103067534035</c:v>
                </c:pt>
                <c:pt idx="71">
                  <c:v>1.0579464307580704</c:v>
                </c:pt>
                <c:pt idx="72">
                  <c:v>1.1370887895203425</c:v>
                </c:pt>
                <c:pt idx="73">
                  <c:v>1.0463056579036059</c:v>
                </c:pt>
                <c:pt idx="74">
                  <c:v>0.9710205782002899</c:v>
                </c:pt>
                <c:pt idx="75">
                  <c:v>0.9794731690202095</c:v>
                </c:pt>
                <c:pt idx="76">
                  <c:v>0.9692865886503387</c:v>
                </c:pt>
                <c:pt idx="77">
                  <c:v>0.9808337333865235</c:v>
                </c:pt>
                <c:pt idx="78">
                  <c:v>1.0035832744232849</c:v>
                </c:pt>
                <c:pt idx="79">
                  <c:v>1.0334510637628418</c:v>
                </c:pt>
                <c:pt idx="80">
                  <c:v>1.070954396567792</c:v>
                </c:pt>
                <c:pt idx="81">
                  <c:v>1.055142178307437</c:v>
                </c:pt>
                <c:pt idx="82">
                  <c:v>1.0682634472818158</c:v>
                </c:pt>
                <c:pt idx="83">
                  <c:v>1.0797569993184206</c:v>
                </c:pt>
                <c:pt idx="84">
                  <c:v>1.0874441606084582</c:v>
                </c:pt>
                <c:pt idx="85">
                  <c:v>1.0800728523296312</c:v>
                </c:pt>
                <c:pt idx="86">
                  <c:v>1.0204310740929998</c:v>
                </c:pt>
                <c:pt idx="87">
                  <c:v>1.0098700417383977</c:v>
                </c:pt>
                <c:pt idx="88">
                  <c:v>0.9660138092527131</c:v>
                </c:pt>
                <c:pt idx="89">
                  <c:v>0.943517895772399</c:v>
                </c:pt>
                <c:pt idx="90">
                  <c:v>0.9507326278531956</c:v>
                </c:pt>
                <c:pt idx="91">
                  <c:v>0.9820497883097323</c:v>
                </c:pt>
                <c:pt idx="92">
                  <c:v>0.9799295220508378</c:v>
                </c:pt>
                <c:pt idx="93">
                  <c:v>0.9567734419242151</c:v>
                </c:pt>
                <c:pt idx="94">
                  <c:v>1.02464183874473</c:v>
                </c:pt>
                <c:pt idx="95">
                  <c:v>0.9878235193629412</c:v>
                </c:pt>
                <c:pt idx="96">
                  <c:v>0.954378222614304</c:v>
                </c:pt>
                <c:pt idx="97">
                  <c:v>1.0228351677128988</c:v>
                </c:pt>
                <c:pt idx="98">
                  <c:v>0.9997306856961526</c:v>
                </c:pt>
                <c:pt idx="99">
                  <c:v>0.9922408978728576</c:v>
                </c:pt>
                <c:pt idx="100">
                  <c:v>0.9453004901988414</c:v>
                </c:pt>
                <c:pt idx="101">
                  <c:v>0.9497057432845463</c:v>
                </c:pt>
                <c:pt idx="102">
                  <c:v>0.9383650223312723</c:v>
                </c:pt>
                <c:pt idx="103">
                  <c:v>0.7338384616447156</c:v>
                </c:pt>
                <c:pt idx="104">
                  <c:v>0.7929249643636482</c:v>
                </c:pt>
              </c:numCache>
            </c:numRef>
          </c:xVal>
          <c:yVal>
            <c:numRef>
              <c:f>Sheet1!$B$2:$B$106</c:f>
              <c:numCache>
                <c:formatCode>General</c:formatCode>
                <c:ptCount val="105"/>
                <c:pt idx="0">
                  <c:v>0.16057585825027684</c:v>
                </c:pt>
                <c:pt idx="1">
                  <c:v>0.16201461653605706</c:v>
                </c:pt>
                <c:pt idx="2">
                  <c:v>0.16815544709457592</c:v>
                </c:pt>
                <c:pt idx="3">
                  <c:v>0.1675101214574899</c:v>
                </c:pt>
                <c:pt idx="4">
                  <c:v>0.16358269951186286</c:v>
                </c:pt>
                <c:pt idx="5">
                  <c:v>0.1556230343780501</c:v>
                </c:pt>
                <c:pt idx="6">
                  <c:v>0.16230532895433838</c:v>
                </c:pt>
                <c:pt idx="7">
                  <c:v>0.15787518573551262</c:v>
                </c:pt>
                <c:pt idx="8">
                  <c:v>0.17640364188163885</c:v>
                </c:pt>
                <c:pt idx="9">
                  <c:v>0.16586492207042525</c:v>
                </c:pt>
                <c:pt idx="10">
                  <c:v>0.17921857304643263</c:v>
                </c:pt>
                <c:pt idx="11">
                  <c:v>0.1702827087442472</c:v>
                </c:pt>
                <c:pt idx="12">
                  <c:v>0.18709462830533843</c:v>
                </c:pt>
                <c:pt idx="13">
                  <c:v>0.17572223694672676</c:v>
                </c:pt>
                <c:pt idx="14">
                  <c:v>0.17798326728313518</c:v>
                </c:pt>
                <c:pt idx="15">
                  <c:v>0.17764082603524706</c:v>
                </c:pt>
                <c:pt idx="16">
                  <c:v>0.15985546972339895</c:v>
                </c:pt>
                <c:pt idx="17">
                  <c:v>0.16848926690968002</c:v>
                </c:pt>
                <c:pt idx="18">
                  <c:v>0.15017388555169142</c:v>
                </c:pt>
                <c:pt idx="19">
                  <c:v>0.12907336610231204</c:v>
                </c:pt>
                <c:pt idx="20">
                  <c:v>0.15121729925903524</c:v>
                </c:pt>
                <c:pt idx="21">
                  <c:v>0.1354559155990957</c:v>
                </c:pt>
                <c:pt idx="22">
                  <c:v>0.1201977938379612</c:v>
                </c:pt>
                <c:pt idx="23">
                  <c:v>0.12073490813648294</c:v>
                </c:pt>
                <c:pt idx="24">
                  <c:v>0.12777053455019557</c:v>
                </c:pt>
                <c:pt idx="25">
                  <c:v>0.12156357388316151</c:v>
                </c:pt>
                <c:pt idx="26">
                  <c:v>0.12521529452290733</c:v>
                </c:pt>
                <c:pt idx="27">
                  <c:v>0.12001951536835258</c:v>
                </c:pt>
                <c:pt idx="28">
                  <c:v>0.12959480253034708</c:v>
                </c:pt>
                <c:pt idx="29">
                  <c:v>0.1319796954314721</c:v>
                </c:pt>
                <c:pt idx="30">
                  <c:v>0.1111111111111111</c:v>
                </c:pt>
                <c:pt idx="31">
                  <c:v>0.10149942329873125</c:v>
                </c:pt>
                <c:pt idx="32">
                  <c:v>0.09518282066163668</c:v>
                </c:pt>
                <c:pt idx="33">
                  <c:v>0.102945688861614</c:v>
                </c:pt>
                <c:pt idx="34">
                  <c:v>0.10915882678472606</c:v>
                </c:pt>
                <c:pt idx="35">
                  <c:v>0.1316793893129771</c:v>
                </c:pt>
                <c:pt idx="36">
                  <c:v>0.12530120481927712</c:v>
                </c:pt>
                <c:pt idx="37">
                  <c:v>0.08573705179282869</c:v>
                </c:pt>
                <c:pt idx="38">
                  <c:v>0.08477393617021277</c:v>
                </c:pt>
                <c:pt idx="39">
                  <c:v>0.10365198711063373</c:v>
                </c:pt>
                <c:pt idx="40">
                  <c:v>0.1091844232182219</c:v>
                </c:pt>
                <c:pt idx="41">
                  <c:v>0.11530003141690229</c:v>
                </c:pt>
                <c:pt idx="42">
                  <c:v>0.10209808900173727</c:v>
                </c:pt>
                <c:pt idx="43">
                  <c:v>0.1134453781512605</c:v>
                </c:pt>
                <c:pt idx="44">
                  <c:v>0.11082598235765838</c:v>
                </c:pt>
                <c:pt idx="45">
                  <c:v>0.1320560058953574</c:v>
                </c:pt>
                <c:pt idx="46">
                  <c:v>0.1321151475600029</c:v>
                </c:pt>
                <c:pt idx="47">
                  <c:v>0.13707391525546914</c:v>
                </c:pt>
                <c:pt idx="48">
                  <c:v>0.14307180422882904</c:v>
                </c:pt>
                <c:pt idx="49">
                  <c:v>0.16854580166420519</c:v>
                </c:pt>
                <c:pt idx="50">
                  <c:v>0.1434755288696502</c:v>
                </c:pt>
                <c:pt idx="51">
                  <c:v>0.14537214572076</c:v>
                </c:pt>
                <c:pt idx="52">
                  <c:v>0.14436750800387163</c:v>
                </c:pt>
                <c:pt idx="53">
                  <c:v>0.12695501061981077</c:v>
                </c:pt>
                <c:pt idx="54">
                  <c:v>0.11626442812172089</c:v>
                </c:pt>
                <c:pt idx="55">
                  <c:v>0.11953029799490418</c:v>
                </c:pt>
                <c:pt idx="56">
                  <c:v>0.14832100170745588</c:v>
                </c:pt>
                <c:pt idx="57">
                  <c:v>0.1323008401660087</c:v>
                </c:pt>
                <c:pt idx="58">
                  <c:v>0.1394291946918742</c:v>
                </c:pt>
                <c:pt idx="59">
                  <c:v>0.13655413271245634</c:v>
                </c:pt>
                <c:pt idx="60">
                  <c:v>0.15693112467306017</c:v>
                </c:pt>
                <c:pt idx="61">
                  <c:v>0.16839008735960065</c:v>
                </c:pt>
                <c:pt idx="62">
                  <c:v>0.16058583932749804</c:v>
                </c:pt>
                <c:pt idx="63">
                  <c:v>0.17314514885084065</c:v>
                </c:pt>
                <c:pt idx="64">
                  <c:v>0.14845345783484096</c:v>
                </c:pt>
                <c:pt idx="65">
                  <c:v>0.1556811048336472</c:v>
                </c:pt>
                <c:pt idx="66">
                  <c:v>0.1469521962735014</c:v>
                </c:pt>
                <c:pt idx="67">
                  <c:v>0.14144736842105263</c:v>
                </c:pt>
                <c:pt idx="68">
                  <c:v>0.12576821773485514</c:v>
                </c:pt>
                <c:pt idx="69">
                  <c:v>0.11633663366336634</c:v>
                </c:pt>
                <c:pt idx="70">
                  <c:v>0.11216472500677323</c:v>
                </c:pt>
                <c:pt idx="71">
                  <c:v>0.12079353416605437</c:v>
                </c:pt>
                <c:pt idx="72">
                  <c:v>0.12347022028827849</c:v>
                </c:pt>
                <c:pt idx="73">
                  <c:v>0.13430180847909873</c:v>
                </c:pt>
                <c:pt idx="74">
                  <c:v>0.13287710293698318</c:v>
                </c:pt>
                <c:pt idx="75">
                  <c:v>0.12062448644207066</c:v>
                </c:pt>
                <c:pt idx="76">
                  <c:v>0.12040816326530612</c:v>
                </c:pt>
                <c:pt idx="77">
                  <c:v>0.11754101316026681</c:v>
                </c:pt>
                <c:pt idx="78">
                  <c:v>0.11908783783783784</c:v>
                </c:pt>
                <c:pt idx="79">
                  <c:v>0.11004152510381277</c:v>
                </c:pt>
                <c:pt idx="80">
                  <c:v>0.09904214559386973</c:v>
                </c:pt>
                <c:pt idx="81">
                  <c:v>0.10338545620160923</c:v>
                </c:pt>
                <c:pt idx="82">
                  <c:v>0.0958614051973051</c:v>
                </c:pt>
                <c:pt idx="83">
                  <c:v>0.08653846153846154</c:v>
                </c:pt>
                <c:pt idx="84">
                  <c:v>0.09471724458924831</c:v>
                </c:pt>
                <c:pt idx="85">
                  <c:v>0.09723102938068062</c:v>
                </c:pt>
                <c:pt idx="86">
                  <c:v>0.10944206008583691</c:v>
                </c:pt>
                <c:pt idx="87">
                  <c:v>0.12922173274596183</c:v>
                </c:pt>
                <c:pt idx="88">
                  <c:v>0.12578179291174427</c:v>
                </c:pt>
                <c:pt idx="89">
                  <c:v>0.1274</c:v>
                </c:pt>
                <c:pt idx="90">
                  <c:v>0.12230362230362231</c:v>
                </c:pt>
                <c:pt idx="91">
                  <c:v>0.10922962411611463</c:v>
                </c:pt>
                <c:pt idx="92">
                  <c:v>0.12279895881182055</c:v>
                </c:pt>
                <c:pt idx="93">
                  <c:v>0.11488060570762959</c:v>
                </c:pt>
                <c:pt idx="94">
                  <c:v>0.10578324963550947</c:v>
                </c:pt>
                <c:pt idx="95">
                  <c:v>0.12292062074355253</c:v>
                </c:pt>
                <c:pt idx="96">
                  <c:v>0.10617347375631475</c:v>
                </c:pt>
                <c:pt idx="97">
                  <c:v>0.10788412174550789</c:v>
                </c:pt>
                <c:pt idx="98">
                  <c:v>0.12512833675564683</c:v>
                </c:pt>
                <c:pt idx="99">
                  <c:v>0.12247659862411188</c:v>
                </c:pt>
                <c:pt idx="100">
                  <c:v>0.147947659475037</c:v>
                </c:pt>
                <c:pt idx="101">
                  <c:v>0.13798261860663913</c:v>
                </c:pt>
                <c:pt idx="102">
                  <c:v>0.12343708433093908</c:v>
                </c:pt>
                <c:pt idx="103">
                  <c:v>0.15909635187993934</c:v>
                </c:pt>
                <c:pt idx="104">
                  <c:v>0.15484914818692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486319341252389</c:v>
                </c:pt>
                <c:pt idx="1">
                  <c:v>0.7945774665403702</c:v>
                </c:pt>
                <c:pt idx="2">
                  <c:v>0.8036136885725175</c:v>
                </c:pt>
                <c:pt idx="3">
                  <c:v>0.8283864363802219</c:v>
                </c:pt>
                <c:pt idx="4">
                  <c:v>0.8119955766323704</c:v>
                </c:pt>
                <c:pt idx="5">
                  <c:v>0.8410052053938174</c:v>
                </c:pt>
                <c:pt idx="6">
                  <c:v>0.862531326823919</c:v>
                </c:pt>
                <c:pt idx="7">
                  <c:v>0.912776578472505</c:v>
                </c:pt>
                <c:pt idx="8">
                  <c:v>0.9816423312496271</c:v>
                </c:pt>
                <c:pt idx="9">
                  <c:v>0.9358752161306763</c:v>
                </c:pt>
                <c:pt idx="10">
                  <c:v>0.9645587767621367</c:v>
                </c:pt>
                <c:pt idx="11">
                  <c:v>0.9765909588763796</c:v>
                </c:pt>
                <c:pt idx="12">
                  <c:v>0.988278030761119</c:v>
                </c:pt>
                <c:pt idx="13">
                  <c:v>0.9376730247509211</c:v>
                </c:pt>
                <c:pt idx="14">
                  <c:v>0.9508151593686937</c:v>
                </c:pt>
                <c:pt idx="15">
                  <c:v>0.9399667000792536</c:v>
                </c:pt>
                <c:pt idx="16">
                  <c:v>0.9483014344453939</c:v>
                </c:pt>
                <c:pt idx="17">
                  <c:v>0.905850397860271</c:v>
                </c:pt>
                <c:pt idx="18">
                  <c:v>0.9778440153029968</c:v>
                </c:pt>
                <c:pt idx="19">
                  <c:v>0.9493954242678594</c:v>
                </c:pt>
                <c:pt idx="20">
                  <c:v>0.9319153550699533</c:v>
                </c:pt>
                <c:pt idx="21">
                  <c:v>0.8954733838316341</c:v>
                </c:pt>
                <c:pt idx="22">
                  <c:v>0.8786319750946321</c:v>
                </c:pt>
                <c:pt idx="23">
                  <c:v>0.8120305242962704</c:v>
                </c:pt>
                <c:pt idx="24">
                  <c:v>0.8272789913921393</c:v>
                </c:pt>
                <c:pt idx="25">
                  <c:v>0.8766198598311945</c:v>
                </c:pt>
                <c:pt idx="26">
                  <c:v>0.9027704896982143</c:v>
                </c:pt>
                <c:pt idx="27">
                  <c:v>0.9717301955458799</c:v>
                </c:pt>
                <c:pt idx="28">
                  <c:v>0.9837030320759761</c:v>
                </c:pt>
                <c:pt idx="29">
                  <c:v>0.9523778034450023</c:v>
                </c:pt>
                <c:pt idx="30">
                  <c:v>0.9620083050480551</c:v>
                </c:pt>
                <c:pt idx="31">
                  <c:v>0.9106809210283534</c:v>
                </c:pt>
                <c:pt idx="32">
                  <c:v>0.8917499837785534</c:v>
                </c:pt>
                <c:pt idx="33">
                  <c:v>0.9221383890727457</c:v>
                </c:pt>
                <c:pt idx="34">
                  <c:v>0.939583505097734</c:v>
                </c:pt>
                <c:pt idx="35">
                  <c:v>0.9091172877749201</c:v>
                </c:pt>
                <c:pt idx="36">
                  <c:v>0.8560121198828143</c:v>
                </c:pt>
                <c:pt idx="37">
                  <c:v>0.9226481740129101</c:v>
                </c:pt>
                <c:pt idx="38">
                  <c:v>0.9638483256482822</c:v>
                </c:pt>
                <c:pt idx="39">
                  <c:v>0.9617946863244012</c:v>
                </c:pt>
                <c:pt idx="40">
                  <c:v>0.9646758372176261</c:v>
                </c:pt>
                <c:pt idx="41">
                  <c:v>0.9986393495966029</c:v>
                </c:pt>
                <c:pt idx="42">
                  <c:v>0.9482796476464608</c:v>
                </c:pt>
                <c:pt idx="43">
                  <c:v>0.9668924982003202</c:v>
                </c:pt>
                <c:pt idx="44">
                  <c:v>0.9716490456108529</c:v>
                </c:pt>
                <c:pt idx="45">
                  <c:v>0.9124550069749183</c:v>
                </c:pt>
                <c:pt idx="46">
                  <c:v>0.9075244052425213</c:v>
                </c:pt>
                <c:pt idx="47">
                  <c:v>0.9314305406559622</c:v>
                </c:pt>
                <c:pt idx="48">
                  <c:v>0.9590513947825855</c:v>
                </c:pt>
                <c:pt idx="49">
                  <c:v>0.9658905759011837</c:v>
                </c:pt>
                <c:pt idx="50">
                  <c:v>0.8753928611417637</c:v>
                </c:pt>
                <c:pt idx="51">
                  <c:v>0.8732784154983849</c:v>
                </c:pt>
              </c:numCache>
            </c:numRef>
          </c:xVal>
          <c:yVal>
            <c:numRef>
              <c:f>Sheet1!$B$109:$B$160</c:f>
              <c:numCache>
                <c:formatCode>General</c:formatCode>
                <c:ptCount val="52"/>
                <c:pt idx="0">
                  <c:v>0.14738564906538032</c:v>
                </c:pt>
                <c:pt idx="1">
                  <c:v>0.15820241139934235</c:v>
                </c:pt>
                <c:pt idx="2">
                  <c:v>0.155122832963602</c:v>
                </c:pt>
                <c:pt idx="3">
                  <c:v>0.14606556023449757</c:v>
                </c:pt>
                <c:pt idx="4">
                  <c:v>0.15232147705674723</c:v>
                </c:pt>
                <c:pt idx="5">
                  <c:v>0.13824333561175667</c:v>
                </c:pt>
                <c:pt idx="6">
                  <c:v>0.13981865943564104</c:v>
                </c:pt>
                <c:pt idx="7">
                  <c:v>0.13740808823529413</c:v>
                </c:pt>
                <c:pt idx="8">
                  <c:v>0.13892231581762268</c:v>
                </c:pt>
                <c:pt idx="9">
                  <c:v>0.15934785195763418</c:v>
                </c:pt>
                <c:pt idx="10">
                  <c:v>0.15144561725562183</c:v>
                </c:pt>
                <c:pt idx="11">
                  <c:v>0.14083691696989745</c:v>
                </c:pt>
                <c:pt idx="12">
                  <c:v>0.1321745774042594</c:v>
                </c:pt>
                <c:pt idx="13">
                  <c:v>0.1365883183698174</c:v>
                </c:pt>
                <c:pt idx="14">
                  <c:v>0.1381951381951382</c:v>
                </c:pt>
                <c:pt idx="15">
                  <c:v>0.1360841806573658</c:v>
                </c:pt>
                <c:pt idx="16">
                  <c:v>0.1254810335349093</c:v>
                </c:pt>
                <c:pt idx="17">
                  <c:v>0.12621776504297993</c:v>
                </c:pt>
                <c:pt idx="18">
                  <c:v>0.11229412743303943</c:v>
                </c:pt>
                <c:pt idx="19">
                  <c:v>0.12355151894769809</c:v>
                </c:pt>
                <c:pt idx="20">
                  <c:v>0.12052059190586557</c:v>
                </c:pt>
                <c:pt idx="21">
                  <c:v>0.14171180931744312</c:v>
                </c:pt>
                <c:pt idx="22">
                  <c:v>0.14269886993130956</c:v>
                </c:pt>
                <c:pt idx="23">
                  <c:v>0.15536971830985916</c:v>
                </c:pt>
                <c:pt idx="24">
                  <c:v>0.16143691841592728</c:v>
                </c:pt>
                <c:pt idx="25">
                  <c:v>0.15340055782021025</c:v>
                </c:pt>
                <c:pt idx="26">
                  <c:v>0.14239350912778906</c:v>
                </c:pt>
                <c:pt idx="27">
                  <c:v>0.11861086375779163</c:v>
                </c:pt>
                <c:pt idx="28">
                  <c:v>0.11771640282923543</c:v>
                </c:pt>
                <c:pt idx="29">
                  <c:v>0.11508491508491508</c:v>
                </c:pt>
                <c:pt idx="30">
                  <c:v>0.11899541558700419</c:v>
                </c:pt>
                <c:pt idx="31">
                  <c:v>0.11476179300633654</c:v>
                </c:pt>
                <c:pt idx="32">
                  <c:v>0.1194745621351126</c:v>
                </c:pt>
                <c:pt idx="33">
                  <c:v>0.13029262710478992</c:v>
                </c:pt>
                <c:pt idx="34">
                  <c:v>0.14494199825371087</c:v>
                </c:pt>
                <c:pt idx="35">
                  <c:v>0.15017513134851138</c:v>
                </c:pt>
                <c:pt idx="36">
                  <c:v>0.1539000467071462</c:v>
                </c:pt>
                <c:pt idx="37">
                  <c:v>0.1288214210415349</c:v>
                </c:pt>
                <c:pt idx="38">
                  <c:v>0.1261239368165249</c:v>
                </c:pt>
                <c:pt idx="39">
                  <c:v>0.1269371408671426</c:v>
                </c:pt>
                <c:pt idx="40">
                  <c:v>0.11879242586638085</c:v>
                </c:pt>
                <c:pt idx="41">
                  <c:v>0.11385414974825402</c:v>
                </c:pt>
                <c:pt idx="42">
                  <c:v>0.11941675895164268</c:v>
                </c:pt>
                <c:pt idx="43">
                  <c:v>0.11784186559955843</c:v>
                </c:pt>
                <c:pt idx="44">
                  <c:v>0.114878020845264</c:v>
                </c:pt>
                <c:pt idx="45">
                  <c:v>0.12560856864654332</c:v>
                </c:pt>
                <c:pt idx="46">
                  <c:v>0.12174601603484114</c:v>
                </c:pt>
                <c:pt idx="47">
                  <c:v>0.12042835103003903</c:v>
                </c:pt>
                <c:pt idx="48">
                  <c:v>0.10626581336508409</c:v>
                </c:pt>
                <c:pt idx="49">
                  <c:v>0.12005996184246388</c:v>
                </c:pt>
                <c:pt idx="50">
                  <c:v>0.15653799919861092</c:v>
                </c:pt>
                <c:pt idx="51">
                  <c:v>0.1549726424203411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632588527701271</c:v>
                </c:pt>
              </c:numCache>
            </c:numRef>
          </c:xVal>
          <c:yVal>
            <c:numRef>
              <c:f>Sheet1!$B$163:$B$164</c:f>
              <c:numCache>
                <c:formatCode>General</c:formatCode>
                <c:ptCount val="2"/>
                <c:pt idx="0">
                  <c:v>0.16378288153331141</c:v>
                </c:pt>
                <c:pt idx="1">
                  <c:v>0.16378288153331141</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632588527701271</c:v>
                </c:pt>
                <c:pt idx="1">
                  <c:v>0.7632588527701271</c:v>
                </c:pt>
              </c:numCache>
            </c:numRef>
          </c:xVal>
          <c:yVal>
            <c:numRef>
              <c:f>Sheet1!$B$167:$B$168</c:f>
              <c:numCache>
                <c:formatCode>General</c:formatCode>
                <c:ptCount val="2"/>
                <c:pt idx="0">
                  <c:v>0.1637828815333114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557074418575864</c:v>
                </c:pt>
              </c:numCache>
            </c:numRef>
          </c:xVal>
          <c:yVal>
            <c:numRef>
              <c:f>Sheet1!$B$171:$B$172</c:f>
              <c:numCache>
                <c:formatCode>General</c:formatCode>
                <c:ptCount val="2"/>
                <c:pt idx="0">
                  <c:v>0.1459433699799871</c:v>
                </c:pt>
                <c:pt idx="1">
                  <c:v>0.145943369979987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557074418575864</c:v>
                </c:pt>
                <c:pt idx="1">
                  <c:v>0.8557074418575864</c:v>
                </c:pt>
              </c:numCache>
            </c:numRef>
          </c:xVal>
          <c:yVal>
            <c:numRef>
              <c:f>Sheet1!$B$175:$B$176</c:f>
              <c:numCache>
                <c:formatCode>General</c:formatCode>
                <c:ptCount val="2"/>
                <c:pt idx="0">
                  <c:v>0.145943369979987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672946108004062</c:v>
                </c:pt>
              </c:numCache>
            </c:numRef>
          </c:xVal>
          <c:yVal>
            <c:numRef>
              <c:f>Sheet1!$B$179:$B$180</c:f>
              <c:numCache>
                <c:formatCode>General</c:formatCode>
                <c:ptCount val="2"/>
                <c:pt idx="0">
                  <c:v>0.124410747262782</c:v>
                </c:pt>
                <c:pt idx="1">
                  <c:v>0.12441074726278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672946108004062</c:v>
                </c:pt>
                <c:pt idx="1">
                  <c:v>0.9672946108004062</c:v>
                </c:pt>
              </c:numCache>
            </c:numRef>
          </c:xVal>
          <c:yVal>
            <c:numRef>
              <c:f>Sheet1!$B$183:$B$184</c:f>
              <c:numCache>
                <c:formatCode>General</c:formatCode>
                <c:ptCount val="2"/>
                <c:pt idx="0">
                  <c:v>0.12441074726278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486319341252389</c:v>
                </c:pt>
                <c:pt idx="1">
                  <c:v>0.7945774665403702</c:v>
                </c:pt>
                <c:pt idx="2">
                  <c:v>0.8036136885725175</c:v>
                </c:pt>
                <c:pt idx="3">
                  <c:v>0.8283864363802219</c:v>
                </c:pt>
                <c:pt idx="4">
                  <c:v>0.8119955766323704</c:v>
                </c:pt>
                <c:pt idx="5">
                  <c:v>0.8410052053938174</c:v>
                </c:pt>
                <c:pt idx="6">
                  <c:v>0.862531326823919</c:v>
                </c:pt>
                <c:pt idx="7">
                  <c:v>0.912776578472505</c:v>
                </c:pt>
                <c:pt idx="8">
                  <c:v>0.9816423312496271</c:v>
                </c:pt>
                <c:pt idx="9">
                  <c:v>0.9358752161306763</c:v>
                </c:pt>
                <c:pt idx="10">
                  <c:v>0.9645587767621367</c:v>
                </c:pt>
                <c:pt idx="11">
                  <c:v>0.9765909588763796</c:v>
                </c:pt>
                <c:pt idx="12">
                  <c:v>0.988278030761119</c:v>
                </c:pt>
                <c:pt idx="13">
                  <c:v>0.9376730247509211</c:v>
                </c:pt>
                <c:pt idx="14">
                  <c:v>0.9508151593686937</c:v>
                </c:pt>
                <c:pt idx="15">
                  <c:v>0.9399667000792536</c:v>
                </c:pt>
                <c:pt idx="16">
                  <c:v>0.9483014344453939</c:v>
                </c:pt>
                <c:pt idx="17">
                  <c:v>0.905850397860271</c:v>
                </c:pt>
                <c:pt idx="18">
                  <c:v>0.9778440153029968</c:v>
                </c:pt>
                <c:pt idx="19">
                  <c:v>0.9493954242678594</c:v>
                </c:pt>
                <c:pt idx="20">
                  <c:v>0.9319153550699533</c:v>
                </c:pt>
                <c:pt idx="21">
                  <c:v>0.8954733838316341</c:v>
                </c:pt>
                <c:pt idx="22">
                  <c:v>0.8786319750946321</c:v>
                </c:pt>
                <c:pt idx="23">
                  <c:v>0.8120305242962704</c:v>
                </c:pt>
                <c:pt idx="24">
                  <c:v>0.8272789913921393</c:v>
                </c:pt>
                <c:pt idx="25">
                  <c:v>0.8766198598311945</c:v>
                </c:pt>
                <c:pt idx="26">
                  <c:v>0.9027704896982143</c:v>
                </c:pt>
                <c:pt idx="27">
                  <c:v>0.9717301955458799</c:v>
                </c:pt>
                <c:pt idx="28">
                  <c:v>0.9837030320759761</c:v>
                </c:pt>
                <c:pt idx="29">
                  <c:v>0.9523778034450023</c:v>
                </c:pt>
                <c:pt idx="30">
                  <c:v>0.9620083050480551</c:v>
                </c:pt>
                <c:pt idx="31">
                  <c:v>0.9106809210283534</c:v>
                </c:pt>
                <c:pt idx="32">
                  <c:v>0.8917499837785534</c:v>
                </c:pt>
                <c:pt idx="33">
                  <c:v>0.9221383890727457</c:v>
                </c:pt>
                <c:pt idx="34">
                  <c:v>0.939583505097734</c:v>
                </c:pt>
                <c:pt idx="35">
                  <c:v>0.9091172877749201</c:v>
                </c:pt>
                <c:pt idx="36">
                  <c:v>0.8560121198828143</c:v>
                </c:pt>
                <c:pt idx="37">
                  <c:v>0.9226481740129101</c:v>
                </c:pt>
                <c:pt idx="38">
                  <c:v>0.9638483256482822</c:v>
                </c:pt>
                <c:pt idx="39">
                  <c:v>0.9617946863244012</c:v>
                </c:pt>
                <c:pt idx="40">
                  <c:v>0.9646758372176261</c:v>
                </c:pt>
                <c:pt idx="41">
                  <c:v>0.9986393495966029</c:v>
                </c:pt>
                <c:pt idx="42">
                  <c:v>0.9482796476464608</c:v>
                </c:pt>
                <c:pt idx="43">
                  <c:v>0.9668924982003202</c:v>
                </c:pt>
                <c:pt idx="44">
                  <c:v>0.9716490456108529</c:v>
                </c:pt>
                <c:pt idx="45">
                  <c:v>0.9124550069749183</c:v>
                </c:pt>
                <c:pt idx="46">
                  <c:v>0.9075244052425213</c:v>
                </c:pt>
                <c:pt idx="47">
                  <c:v>0.9314305406559622</c:v>
                </c:pt>
                <c:pt idx="48">
                  <c:v>0.9590513947825855</c:v>
                </c:pt>
                <c:pt idx="49">
                  <c:v>0.9658905759011837</c:v>
                </c:pt>
                <c:pt idx="50">
                  <c:v>0.8753928611417637</c:v>
                </c:pt>
                <c:pt idx="51">
                  <c:v>0.8732784154983849</c:v>
                </c:pt>
                <c:pt idx="52">
                  <c:v>0.8557074418575864</c:v>
                </c:pt>
                <c:pt idx="53">
                  <c:v>0.7632588527701271</c:v>
                </c:pt>
                <c:pt idx="54">
                  <c:v>0.9672946108004062</c:v>
                </c:pt>
              </c:numCache>
            </c:numRef>
          </c:xVal>
          <c:yVal>
            <c:numRef>
              <c:f>Sheet1!$B$187:$B$241</c:f>
              <c:numCache>
                <c:formatCode>General</c:formatCode>
                <c:ptCount val="55"/>
                <c:pt idx="0">
                  <c:v>0.14730870830675635</c:v>
                </c:pt>
                <c:pt idx="1">
                  <c:v>0.15773942778563121</c:v>
                </c:pt>
                <c:pt idx="2">
                  <c:v>0.15599573662785277</c:v>
                </c:pt>
                <c:pt idx="3">
                  <c:v>0.15121541791141407</c:v>
                </c:pt>
                <c:pt idx="4">
                  <c:v>0.15437831022515278</c:v>
                </c:pt>
                <c:pt idx="5">
                  <c:v>0.14878041400460695</c:v>
                </c:pt>
                <c:pt idx="6">
                  <c:v>0.14462658650176355</c:v>
                </c:pt>
                <c:pt idx="7">
                  <c:v>0.13493091936252075</c:v>
                </c:pt>
                <c:pt idx="8">
                  <c:v>0.12164211307112766</c:v>
                </c:pt>
                <c:pt idx="9">
                  <c:v>0.13047364838157408</c:v>
                </c:pt>
                <c:pt idx="10">
                  <c:v>0.124938672495773</c:v>
                </c:pt>
                <c:pt idx="11">
                  <c:v>0.1226168604058592</c:v>
                </c:pt>
                <c:pt idx="12">
                  <c:v>0.12036164314434858</c:v>
                </c:pt>
                <c:pt idx="13">
                  <c:v>0.1301267309438057</c:v>
                </c:pt>
                <c:pt idx="14">
                  <c:v>0.1275907348332831</c:v>
                </c:pt>
                <c:pt idx="15">
                  <c:v>0.12968412767724144</c:v>
                </c:pt>
                <c:pt idx="16">
                  <c:v>0.1280758003735334</c:v>
                </c:pt>
                <c:pt idx="17">
                  <c:v>0.13626744250767625</c:v>
                </c:pt>
                <c:pt idx="18">
                  <c:v>0.1223750620742648</c:v>
                </c:pt>
                <c:pt idx="19">
                  <c:v>0.12786469662095334</c:v>
                </c:pt>
                <c:pt idx="20">
                  <c:v>0.13123777023394217</c:v>
                </c:pt>
                <c:pt idx="21">
                  <c:v>0.13826986205220546</c:v>
                </c:pt>
                <c:pt idx="22">
                  <c:v>0.14151969537798803</c:v>
                </c:pt>
                <c:pt idx="23">
                  <c:v>0.15437156648509076</c:v>
                </c:pt>
                <c:pt idx="24">
                  <c:v>0.15142911806470552</c:v>
                </c:pt>
                <c:pt idx="25">
                  <c:v>0.14190796689022014</c:v>
                </c:pt>
                <c:pt idx="26">
                  <c:v>0.1368617626350306</c:v>
                </c:pt>
                <c:pt idx="27">
                  <c:v>0.12355482651706065</c:v>
                </c:pt>
                <c:pt idx="28">
                  <c:v>0.12124446615663748</c:v>
                </c:pt>
                <c:pt idx="29">
                  <c:v>0.12728919635305092</c:v>
                </c:pt>
                <c:pt idx="30">
                  <c:v>0.12543082894790386</c:v>
                </c:pt>
                <c:pt idx="31">
                  <c:v>0.13533531174487917</c:v>
                </c:pt>
                <c:pt idx="32">
                  <c:v>0.13898835477254046</c:v>
                </c:pt>
                <c:pt idx="33">
                  <c:v>0.13312440040953782</c:v>
                </c:pt>
                <c:pt idx="34">
                  <c:v>0.12975807159966873</c:v>
                </c:pt>
                <c:pt idx="35">
                  <c:v>0.13563704110348948</c:v>
                </c:pt>
                <c:pt idx="36">
                  <c:v>0.14588457722603868</c:v>
                </c:pt>
                <c:pt idx="37">
                  <c:v>0.13302602882356185</c:v>
                </c:pt>
                <c:pt idx="38">
                  <c:v>0.12507576599799716</c:v>
                </c:pt>
                <c:pt idx="39">
                  <c:v>0.12547205027671207</c:v>
                </c:pt>
                <c:pt idx="40">
                  <c:v>0.12491608371027879</c:v>
                </c:pt>
                <c:pt idx="41">
                  <c:v>0.11836225225155272</c:v>
                </c:pt>
                <c:pt idx="42">
                  <c:v>0.12808000450314871</c:v>
                </c:pt>
                <c:pt idx="43">
                  <c:v>0.1244883416581728</c:v>
                </c:pt>
                <c:pt idx="44">
                  <c:v>0.12357048576311033</c:v>
                </c:pt>
                <c:pt idx="45">
                  <c:v>0.13499297199634722</c:v>
                </c:pt>
                <c:pt idx="46">
                  <c:v>0.13594441460286147</c:v>
                </c:pt>
                <c:pt idx="47">
                  <c:v>0.13133132333653663</c:v>
                </c:pt>
                <c:pt idx="48">
                  <c:v>0.1260014145605527</c:v>
                </c:pt>
                <c:pt idx="49">
                  <c:v>0.1246816794322525</c:v>
                </c:pt>
                <c:pt idx="50">
                  <c:v>0.14214473694276586</c:v>
                </c:pt>
                <c:pt idx="51">
                  <c:v>0.14255275482444763</c:v>
                </c:pt>
                <c:pt idx="52">
                  <c:v>0.1459433699799871</c:v>
                </c:pt>
                <c:pt idx="53">
                  <c:v>0.16378288153331141</c:v>
                </c:pt>
                <c:pt idx="54">
                  <c:v>0.12441074726278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2451355396640613"/>
          <c:min val="0.0678191489361702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49.901</c:v>
                </c:pt>
                <c:pt idx="1">
                  <c:v>1082.3565</c:v>
                </c:pt>
                <c:pt idx="2">
                  <c:v>1124.1035</c:v>
                </c:pt>
                <c:pt idx="3">
                  <c:v>1146.5347</c:v>
                </c:pt>
                <c:pt idx="4">
                  <c:v>1130.1763</c:v>
                </c:pt>
                <c:pt idx="5">
                  <c:v>1105.023</c:v>
                </c:pt>
                <c:pt idx="6">
                  <c:v>1105.1221</c:v>
                </c:pt>
                <c:pt idx="7">
                  <c:v>1113.1498</c:v>
                </c:pt>
                <c:pt idx="8">
                  <c:v>1080.5584</c:v>
                </c:pt>
                <c:pt idx="9">
                  <c:v>1059.8794</c:v>
                </c:pt>
                <c:pt idx="10">
                  <c:v>1038.9795</c:v>
                </c:pt>
                <c:pt idx="11">
                  <c:v>1019.4065</c:v>
                </c:pt>
                <c:pt idx="12">
                  <c:v>1017.1836</c:v>
                </c:pt>
                <c:pt idx="13">
                  <c:v>1023.3967</c:v>
                </c:pt>
                <c:pt idx="14">
                  <c:v>1090.523</c:v>
                </c:pt>
                <c:pt idx="15">
                  <c:v>1087.4029</c:v>
                </c:pt>
                <c:pt idx="16">
                  <c:v>1091.2432</c:v>
                </c:pt>
                <c:pt idx="17">
                  <c:v>1123.6795</c:v>
                </c:pt>
                <c:pt idx="18">
                  <c:v>1167.6463</c:v>
                </c:pt>
                <c:pt idx="19">
                  <c:v>1230.7969</c:v>
                </c:pt>
                <c:pt idx="20">
                  <c:v>1201.432</c:v>
                </c:pt>
                <c:pt idx="21">
                  <c:v>1232.9026</c:v>
                </c:pt>
                <c:pt idx="22">
                  <c:v>1242.3718</c:v>
                </c:pt>
                <c:pt idx="23">
                  <c:v>1223.8813</c:v>
                </c:pt>
                <c:pt idx="24">
                  <c:v>1255.7362</c:v>
                </c:pt>
                <c:pt idx="25">
                  <c:v>1217.3693</c:v>
                </c:pt>
                <c:pt idx="26">
                  <c:v>1196.6121</c:v>
                </c:pt>
                <c:pt idx="27">
                  <c:v>1187.2168</c:v>
                </c:pt>
                <c:pt idx="28">
                  <c:v>1195.785</c:v>
                </c:pt>
                <c:pt idx="29">
                  <c:v>1196.9495</c:v>
                </c:pt>
                <c:pt idx="30">
                  <c:v>1229.775</c:v>
                </c:pt>
                <c:pt idx="31">
                  <c:v>1184.536</c:v>
                </c:pt>
                <c:pt idx="32">
                  <c:v>1233.4451</c:v>
                </c:pt>
                <c:pt idx="33">
                  <c:v>1218.4158</c:v>
                </c:pt>
                <c:pt idx="34">
                  <c:v>1239.2738</c:v>
                </c:pt>
                <c:pt idx="35">
                  <c:v>1246.5918</c:v>
                </c:pt>
                <c:pt idx="36">
                  <c:v>1271.3226</c:v>
                </c:pt>
                <c:pt idx="37">
                  <c:v>1363.7677</c:v>
                </c:pt>
                <c:pt idx="38">
                  <c:v>1406.2804</c:v>
                </c:pt>
                <c:pt idx="39">
                  <c:v>1353.3368</c:v>
                </c:pt>
                <c:pt idx="40">
                  <c:v>1390.4374</c:v>
                </c:pt>
                <c:pt idx="41">
                  <c:v>1342.9659</c:v>
                </c:pt>
                <c:pt idx="42">
                  <c:v>1422.3063</c:v>
                </c:pt>
                <c:pt idx="43">
                  <c:v>1434.9079</c:v>
                </c:pt>
                <c:pt idx="44">
                  <c:v>1281.4493</c:v>
                </c:pt>
                <c:pt idx="45">
                  <c:v>1220.6228</c:v>
                </c:pt>
                <c:pt idx="46">
                  <c:v>1219.899</c:v>
                </c:pt>
                <c:pt idx="47">
                  <c:v>1211.6559</c:v>
                </c:pt>
                <c:pt idx="48">
                  <c:v>1184.3372</c:v>
                </c:pt>
                <c:pt idx="49">
                  <c:v>1149.134</c:v>
                </c:pt>
                <c:pt idx="50">
                  <c:v>1168.6769</c:v>
                </c:pt>
                <c:pt idx="51">
                  <c:v>1197.1535</c:v>
                </c:pt>
                <c:pt idx="52">
                  <c:v>1180.7303</c:v>
                </c:pt>
                <c:pt idx="53">
                  <c:v>1360.6411</c:v>
                </c:pt>
                <c:pt idx="54">
                  <c:v>1378.9377</c:v>
                </c:pt>
                <c:pt idx="55">
                  <c:v>1387.1158</c:v>
                </c:pt>
                <c:pt idx="56">
                  <c:v>1355.198</c:v>
                </c:pt>
                <c:pt idx="57">
                  <c:v>1371.0023</c:v>
                </c:pt>
                <c:pt idx="58">
                  <c:v>1350.91</c:v>
                </c:pt>
                <c:pt idx="59">
                  <c:v>1323.6373</c:v>
                </c:pt>
                <c:pt idx="60">
                  <c:v>1302.8948</c:v>
                </c:pt>
                <c:pt idx="61">
                  <c:v>1271.64</c:v>
                </c:pt>
                <c:pt idx="62">
                  <c:v>1240.9083</c:v>
                </c:pt>
                <c:pt idx="63">
                  <c:v>1202.6249</c:v>
                </c:pt>
                <c:pt idx="64">
                  <c:v>1238.0049</c:v>
                </c:pt>
                <c:pt idx="65">
                  <c:v>1217.9824</c:v>
                </c:pt>
                <c:pt idx="66">
                  <c:v>1290.957</c:v>
                </c:pt>
                <c:pt idx="67">
                  <c:v>1347.8102</c:v>
                </c:pt>
                <c:pt idx="68">
                  <c:v>1361.1501</c:v>
                </c:pt>
                <c:pt idx="69">
                  <c:v>1395.0201</c:v>
                </c:pt>
                <c:pt idx="70">
                  <c:v>1408.913</c:v>
                </c:pt>
                <c:pt idx="71">
                  <c:v>1412.5888</c:v>
                </c:pt>
                <c:pt idx="72">
                  <c:v>1444.5319</c:v>
                </c:pt>
                <c:pt idx="73">
                  <c:v>1403.2792</c:v>
                </c:pt>
                <c:pt idx="74">
                  <c:v>1322.0719</c:v>
                </c:pt>
                <c:pt idx="75">
                  <c:v>1328.8297</c:v>
                </c:pt>
                <c:pt idx="76">
                  <c:v>1321.8799</c:v>
                </c:pt>
                <c:pt idx="77">
                  <c:v>1305.5613</c:v>
                </c:pt>
                <c:pt idx="78">
                  <c:v>1356.7642</c:v>
                </c:pt>
                <c:pt idx="79">
                  <c:v>1372.9262</c:v>
                </c:pt>
                <c:pt idx="80">
                  <c:v>1393.9536</c:v>
                </c:pt>
                <c:pt idx="81">
                  <c:v>1398.9075</c:v>
                </c:pt>
                <c:pt idx="82">
                  <c:v>1419.739</c:v>
                </c:pt>
                <c:pt idx="83">
                  <c:v>1406.2929</c:v>
                </c:pt>
                <c:pt idx="84">
                  <c:v>1398.6585</c:v>
                </c:pt>
                <c:pt idx="85">
                  <c:v>1398.6978</c:v>
                </c:pt>
                <c:pt idx="86">
                  <c:v>1323.1793</c:v>
                </c:pt>
                <c:pt idx="87">
                  <c:v>1340.5124</c:v>
                </c:pt>
                <c:pt idx="88">
                  <c:v>1331.3384</c:v>
                </c:pt>
                <c:pt idx="89">
                  <c:v>1300.314</c:v>
                </c:pt>
                <c:pt idx="90">
                  <c:v>1318.7637</c:v>
                </c:pt>
                <c:pt idx="91">
                  <c:v>1329.2147</c:v>
                </c:pt>
                <c:pt idx="92">
                  <c:v>1310.096</c:v>
                </c:pt>
                <c:pt idx="93">
                  <c:v>1310.3904</c:v>
                </c:pt>
                <c:pt idx="94">
                  <c:v>1344.8377</c:v>
                </c:pt>
                <c:pt idx="95">
                  <c:v>1290.0745</c:v>
                </c:pt>
                <c:pt idx="96">
                  <c:v>1221.1758</c:v>
                </c:pt>
                <c:pt idx="97">
                  <c:v>1255.3345</c:v>
                </c:pt>
                <c:pt idx="98">
                  <c:v>1230.5723</c:v>
                </c:pt>
                <c:pt idx="99">
                  <c:v>1216.8762</c:v>
                </c:pt>
                <c:pt idx="100">
                  <c:v>1190.8076</c:v>
                </c:pt>
                <c:pt idx="101">
                  <c:v>1260.7641</c:v>
                </c:pt>
                <c:pt idx="102">
                  <c:v>1268.1703</c:v>
                </c:pt>
                <c:pt idx="103">
                  <c:v>972.2173</c:v>
                </c:pt>
                <c:pt idx="104">
                  <c:v>1084.7652</c:v>
                </c:pt>
              </c:numCache>
            </c:numRef>
          </c:xVal>
          <c:yVal>
            <c:numRef>
              <c:f>Sheet1!$B$2:$B$106</c:f>
              <c:numCache>
                <c:formatCode>General</c:formatCode>
                <c:ptCount val="105"/>
                <c:pt idx="0">
                  <c:v>0.16057585825027684</c:v>
                </c:pt>
                <c:pt idx="1">
                  <c:v>0.16201461653605706</c:v>
                </c:pt>
                <c:pt idx="2">
                  <c:v>0.16815544709457592</c:v>
                </c:pt>
                <c:pt idx="3">
                  <c:v>0.1675101214574899</c:v>
                </c:pt>
                <c:pt idx="4">
                  <c:v>0.16358269951186286</c:v>
                </c:pt>
                <c:pt idx="5">
                  <c:v>0.1556230343780501</c:v>
                </c:pt>
                <c:pt idx="6">
                  <c:v>0.16230532895433838</c:v>
                </c:pt>
                <c:pt idx="7">
                  <c:v>0.15787518573551262</c:v>
                </c:pt>
                <c:pt idx="8">
                  <c:v>0.17640364188163885</c:v>
                </c:pt>
                <c:pt idx="9">
                  <c:v>0.16586492207042525</c:v>
                </c:pt>
                <c:pt idx="10">
                  <c:v>0.17921857304643263</c:v>
                </c:pt>
                <c:pt idx="11">
                  <c:v>0.1702827087442472</c:v>
                </c:pt>
                <c:pt idx="12">
                  <c:v>0.18709462830533843</c:v>
                </c:pt>
                <c:pt idx="13">
                  <c:v>0.17572223694672676</c:v>
                </c:pt>
                <c:pt idx="14">
                  <c:v>0.17798326728313518</c:v>
                </c:pt>
                <c:pt idx="15">
                  <c:v>0.17764082603524706</c:v>
                </c:pt>
                <c:pt idx="16">
                  <c:v>0.15985546972339895</c:v>
                </c:pt>
                <c:pt idx="17">
                  <c:v>0.16848926690968002</c:v>
                </c:pt>
                <c:pt idx="18">
                  <c:v>0.15017388555169142</c:v>
                </c:pt>
                <c:pt idx="19">
                  <c:v>0.12907336610231204</c:v>
                </c:pt>
                <c:pt idx="20">
                  <c:v>0.15121729925903524</c:v>
                </c:pt>
                <c:pt idx="21">
                  <c:v>0.1354559155990957</c:v>
                </c:pt>
                <c:pt idx="22">
                  <c:v>0.1201977938379612</c:v>
                </c:pt>
                <c:pt idx="23">
                  <c:v>0.12073490813648294</c:v>
                </c:pt>
                <c:pt idx="24">
                  <c:v>0.12777053455019557</c:v>
                </c:pt>
                <c:pt idx="25">
                  <c:v>0.12156357388316151</c:v>
                </c:pt>
                <c:pt idx="26">
                  <c:v>0.12521529452290733</c:v>
                </c:pt>
                <c:pt idx="27">
                  <c:v>0.12001951536835258</c:v>
                </c:pt>
                <c:pt idx="28">
                  <c:v>0.12959480253034708</c:v>
                </c:pt>
                <c:pt idx="29">
                  <c:v>0.1319796954314721</c:v>
                </c:pt>
                <c:pt idx="30">
                  <c:v>0.1111111111111111</c:v>
                </c:pt>
                <c:pt idx="31">
                  <c:v>0.10149942329873125</c:v>
                </c:pt>
                <c:pt idx="32">
                  <c:v>0.09518282066163668</c:v>
                </c:pt>
                <c:pt idx="33">
                  <c:v>0.102945688861614</c:v>
                </c:pt>
                <c:pt idx="34">
                  <c:v>0.10915882678472606</c:v>
                </c:pt>
                <c:pt idx="35">
                  <c:v>0.1316793893129771</c:v>
                </c:pt>
                <c:pt idx="36">
                  <c:v>0.12530120481927712</c:v>
                </c:pt>
                <c:pt idx="37">
                  <c:v>0.08573705179282869</c:v>
                </c:pt>
                <c:pt idx="38">
                  <c:v>0.08477393617021277</c:v>
                </c:pt>
                <c:pt idx="39">
                  <c:v>0.10365198711063373</c:v>
                </c:pt>
                <c:pt idx="40">
                  <c:v>0.1091844232182219</c:v>
                </c:pt>
                <c:pt idx="41">
                  <c:v>0.11530003141690229</c:v>
                </c:pt>
                <c:pt idx="42">
                  <c:v>0.10209808900173727</c:v>
                </c:pt>
                <c:pt idx="43">
                  <c:v>0.1134453781512605</c:v>
                </c:pt>
                <c:pt idx="44">
                  <c:v>0.11082598235765838</c:v>
                </c:pt>
                <c:pt idx="45">
                  <c:v>0.1320560058953574</c:v>
                </c:pt>
                <c:pt idx="46">
                  <c:v>0.1321151475600029</c:v>
                </c:pt>
                <c:pt idx="47">
                  <c:v>0.13707391525546914</c:v>
                </c:pt>
                <c:pt idx="48">
                  <c:v>0.14307180422882904</c:v>
                </c:pt>
                <c:pt idx="49">
                  <c:v>0.16854580166420519</c:v>
                </c:pt>
                <c:pt idx="50">
                  <c:v>0.1434755288696502</c:v>
                </c:pt>
                <c:pt idx="51">
                  <c:v>0.14537214572076</c:v>
                </c:pt>
                <c:pt idx="52">
                  <c:v>0.14436750800387163</c:v>
                </c:pt>
                <c:pt idx="53">
                  <c:v>0.12695501061981077</c:v>
                </c:pt>
                <c:pt idx="54">
                  <c:v>0.11626442812172089</c:v>
                </c:pt>
                <c:pt idx="55">
                  <c:v>0.11953029799490418</c:v>
                </c:pt>
                <c:pt idx="56">
                  <c:v>0.14832100170745588</c:v>
                </c:pt>
                <c:pt idx="57">
                  <c:v>0.1323008401660087</c:v>
                </c:pt>
                <c:pt idx="58">
                  <c:v>0.1394291946918742</c:v>
                </c:pt>
                <c:pt idx="59">
                  <c:v>0.13655413271245634</c:v>
                </c:pt>
                <c:pt idx="60">
                  <c:v>0.15693112467306017</c:v>
                </c:pt>
                <c:pt idx="61">
                  <c:v>0.16839008735960065</c:v>
                </c:pt>
                <c:pt idx="62">
                  <c:v>0.16058583932749804</c:v>
                </c:pt>
                <c:pt idx="63">
                  <c:v>0.17314514885084065</c:v>
                </c:pt>
                <c:pt idx="64">
                  <c:v>0.14845345783484096</c:v>
                </c:pt>
                <c:pt idx="65">
                  <c:v>0.1556811048336472</c:v>
                </c:pt>
                <c:pt idx="66">
                  <c:v>0.1469521962735014</c:v>
                </c:pt>
                <c:pt idx="67">
                  <c:v>0.14144736842105263</c:v>
                </c:pt>
                <c:pt idx="68">
                  <c:v>0.12576821773485514</c:v>
                </c:pt>
                <c:pt idx="69">
                  <c:v>0.11633663366336634</c:v>
                </c:pt>
                <c:pt idx="70">
                  <c:v>0.11216472500677323</c:v>
                </c:pt>
                <c:pt idx="71">
                  <c:v>0.12079353416605437</c:v>
                </c:pt>
                <c:pt idx="72">
                  <c:v>0.12347022028827849</c:v>
                </c:pt>
                <c:pt idx="73">
                  <c:v>0.13430180847909873</c:v>
                </c:pt>
                <c:pt idx="74">
                  <c:v>0.13287710293698318</c:v>
                </c:pt>
                <c:pt idx="75">
                  <c:v>0.12062448644207066</c:v>
                </c:pt>
                <c:pt idx="76">
                  <c:v>0.12040816326530612</c:v>
                </c:pt>
                <c:pt idx="77">
                  <c:v>0.11754101316026681</c:v>
                </c:pt>
                <c:pt idx="78">
                  <c:v>0.11908783783783784</c:v>
                </c:pt>
                <c:pt idx="79">
                  <c:v>0.11004152510381277</c:v>
                </c:pt>
                <c:pt idx="80">
                  <c:v>0.09904214559386973</c:v>
                </c:pt>
                <c:pt idx="81">
                  <c:v>0.10338545620160923</c:v>
                </c:pt>
                <c:pt idx="82">
                  <c:v>0.0958614051973051</c:v>
                </c:pt>
                <c:pt idx="83">
                  <c:v>0.08653846153846154</c:v>
                </c:pt>
                <c:pt idx="84">
                  <c:v>0.09471724458924831</c:v>
                </c:pt>
                <c:pt idx="85">
                  <c:v>0.09723102938068062</c:v>
                </c:pt>
                <c:pt idx="86">
                  <c:v>0.10944206008583691</c:v>
                </c:pt>
                <c:pt idx="87">
                  <c:v>0.12922173274596183</c:v>
                </c:pt>
                <c:pt idx="88">
                  <c:v>0.12578179291174427</c:v>
                </c:pt>
                <c:pt idx="89">
                  <c:v>0.1274</c:v>
                </c:pt>
                <c:pt idx="90">
                  <c:v>0.12230362230362231</c:v>
                </c:pt>
                <c:pt idx="91">
                  <c:v>0.10922962411611463</c:v>
                </c:pt>
                <c:pt idx="92">
                  <c:v>0.12279895881182055</c:v>
                </c:pt>
                <c:pt idx="93">
                  <c:v>0.11488060570762959</c:v>
                </c:pt>
                <c:pt idx="94">
                  <c:v>0.10578324963550947</c:v>
                </c:pt>
                <c:pt idx="95">
                  <c:v>0.12292062074355253</c:v>
                </c:pt>
                <c:pt idx="96">
                  <c:v>0.10617347375631475</c:v>
                </c:pt>
                <c:pt idx="97">
                  <c:v>0.10788412174550789</c:v>
                </c:pt>
                <c:pt idx="98">
                  <c:v>0.12512833675564683</c:v>
                </c:pt>
                <c:pt idx="99">
                  <c:v>0.12247659862411188</c:v>
                </c:pt>
                <c:pt idx="100">
                  <c:v>0.147947659475037</c:v>
                </c:pt>
                <c:pt idx="101">
                  <c:v>0.13798261860663913</c:v>
                </c:pt>
                <c:pt idx="102">
                  <c:v>0.12343708433093908</c:v>
                </c:pt>
                <c:pt idx="103">
                  <c:v>0.15909635187993934</c:v>
                </c:pt>
                <c:pt idx="104">
                  <c:v>0.15484914818692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6.73</c:v>
                </c:pt>
                <c:pt idx="1">
                  <c:v>1169.1888</c:v>
                </c:pt>
                <c:pt idx="2">
                  <c:v>1174.6758</c:v>
                </c:pt>
                <c:pt idx="3">
                  <c:v>1244.8327</c:v>
                </c:pt>
                <c:pt idx="4">
                  <c:v>1214.4961</c:v>
                </c:pt>
                <c:pt idx="5">
                  <c:v>1218.3232</c:v>
                </c:pt>
                <c:pt idx="6">
                  <c:v>1184.2079</c:v>
                </c:pt>
                <c:pt idx="7">
                  <c:v>1261.4607</c:v>
                </c:pt>
                <c:pt idx="8">
                  <c:v>1359.512</c:v>
                </c:pt>
                <c:pt idx="9">
                  <c:v>1279.3928</c:v>
                </c:pt>
                <c:pt idx="10">
                  <c:v>1316.9447</c:v>
                </c:pt>
                <c:pt idx="11">
                  <c:v>1274.5931</c:v>
                </c:pt>
                <c:pt idx="12">
                  <c:v>1324.0195</c:v>
                </c:pt>
                <c:pt idx="13">
                  <c:v>1332.6736</c:v>
                </c:pt>
                <c:pt idx="14">
                  <c:v>1342.5743</c:v>
                </c:pt>
                <c:pt idx="15">
                  <c:v>1334.8688</c:v>
                </c:pt>
                <c:pt idx="16">
                  <c:v>1333.391</c:v>
                </c:pt>
                <c:pt idx="17">
                  <c:v>1258.8343</c:v>
                </c:pt>
                <c:pt idx="18">
                  <c:v>1310.7956</c:v>
                </c:pt>
                <c:pt idx="19">
                  <c:v>1380.1648</c:v>
                </c:pt>
                <c:pt idx="20">
                  <c:v>1371.5577</c:v>
                </c:pt>
                <c:pt idx="21">
                  <c:v>1299.1835</c:v>
                </c:pt>
                <c:pt idx="22">
                  <c:v>1268.5699</c:v>
                </c:pt>
                <c:pt idx="23">
                  <c:v>1205.8499</c:v>
                </c:pt>
                <c:pt idx="24">
                  <c:v>1224.4946</c:v>
                </c:pt>
                <c:pt idx="25">
                  <c:v>1225.9399</c:v>
                </c:pt>
                <c:pt idx="26">
                  <c:v>1243.6838</c:v>
                </c:pt>
                <c:pt idx="27">
                  <c:v>1326.9279</c:v>
                </c:pt>
                <c:pt idx="28">
                  <c:v>1376.3419</c:v>
                </c:pt>
                <c:pt idx="29">
                  <c:v>1379.7222</c:v>
                </c:pt>
                <c:pt idx="30">
                  <c:v>1383.8476</c:v>
                </c:pt>
                <c:pt idx="31">
                  <c:v>1283.2434</c:v>
                </c:pt>
                <c:pt idx="32">
                  <c:v>1264.3909</c:v>
                </c:pt>
                <c:pt idx="33">
                  <c:v>1307.325</c:v>
                </c:pt>
                <c:pt idx="34">
                  <c:v>1341.3356</c:v>
                </c:pt>
                <c:pt idx="35">
                  <c:v>1324.0476</c:v>
                </c:pt>
                <c:pt idx="36">
                  <c:v>1265.2716</c:v>
                </c:pt>
                <c:pt idx="37">
                  <c:v>1385.6596</c:v>
                </c:pt>
                <c:pt idx="38">
                  <c:v>1415.0771</c:v>
                </c:pt>
                <c:pt idx="39">
                  <c:v>1372.0837</c:v>
                </c:pt>
                <c:pt idx="40">
                  <c:v>1369.7083</c:v>
                </c:pt>
                <c:pt idx="41">
                  <c:v>1421.5735</c:v>
                </c:pt>
                <c:pt idx="42">
                  <c:v>1395.4467</c:v>
                </c:pt>
                <c:pt idx="43">
                  <c:v>1390.4239</c:v>
                </c:pt>
                <c:pt idx="44">
                  <c:v>1319.0917</c:v>
                </c:pt>
                <c:pt idx="45">
                  <c:v>1249.522</c:v>
                </c:pt>
                <c:pt idx="46">
                  <c:v>1230.5098</c:v>
                </c:pt>
                <c:pt idx="47">
                  <c:v>1237.0791</c:v>
                </c:pt>
                <c:pt idx="48">
                  <c:v>1206.8088</c:v>
                </c:pt>
                <c:pt idx="49">
                  <c:v>1206.5624</c:v>
                </c:pt>
                <c:pt idx="50">
                  <c:v>1118.7765</c:v>
                </c:pt>
                <c:pt idx="51">
                  <c:v>1095.203</c:v>
                </c:pt>
              </c:numCache>
            </c:numRef>
          </c:xVal>
          <c:yVal>
            <c:numRef>
              <c:f>Sheet1!$B$109:$B$160</c:f>
              <c:numCache>
                <c:formatCode>General</c:formatCode>
                <c:ptCount val="52"/>
                <c:pt idx="0">
                  <c:v>0.14738564906538032</c:v>
                </c:pt>
                <c:pt idx="1">
                  <c:v>0.15820241139934235</c:v>
                </c:pt>
                <c:pt idx="2">
                  <c:v>0.155122832963602</c:v>
                </c:pt>
                <c:pt idx="3">
                  <c:v>0.14606556023449757</c:v>
                </c:pt>
                <c:pt idx="4">
                  <c:v>0.15232147705674723</c:v>
                </c:pt>
                <c:pt idx="5">
                  <c:v>0.13824333561175667</c:v>
                </c:pt>
                <c:pt idx="6">
                  <c:v>0.13981865943564104</c:v>
                </c:pt>
                <c:pt idx="7">
                  <c:v>0.13740808823529413</c:v>
                </c:pt>
                <c:pt idx="8">
                  <c:v>0.13892231581762268</c:v>
                </c:pt>
                <c:pt idx="9">
                  <c:v>0.15934785195763418</c:v>
                </c:pt>
                <c:pt idx="10">
                  <c:v>0.15144561725562183</c:v>
                </c:pt>
                <c:pt idx="11">
                  <c:v>0.14083691696989745</c:v>
                </c:pt>
                <c:pt idx="12">
                  <c:v>0.1321745774042594</c:v>
                </c:pt>
                <c:pt idx="13">
                  <c:v>0.1365883183698174</c:v>
                </c:pt>
                <c:pt idx="14">
                  <c:v>0.1381951381951382</c:v>
                </c:pt>
                <c:pt idx="15">
                  <c:v>0.1360841806573658</c:v>
                </c:pt>
                <c:pt idx="16">
                  <c:v>0.1254810335349093</c:v>
                </c:pt>
                <c:pt idx="17">
                  <c:v>0.12621776504297993</c:v>
                </c:pt>
                <c:pt idx="18">
                  <c:v>0.11229412743303943</c:v>
                </c:pt>
                <c:pt idx="19">
                  <c:v>0.12355151894769809</c:v>
                </c:pt>
                <c:pt idx="20">
                  <c:v>0.12052059190586557</c:v>
                </c:pt>
                <c:pt idx="21">
                  <c:v>0.14171180931744312</c:v>
                </c:pt>
                <c:pt idx="22">
                  <c:v>0.14269886993130956</c:v>
                </c:pt>
                <c:pt idx="23">
                  <c:v>0.15536971830985916</c:v>
                </c:pt>
                <c:pt idx="24">
                  <c:v>0.16143691841592728</c:v>
                </c:pt>
                <c:pt idx="25">
                  <c:v>0.15340055782021025</c:v>
                </c:pt>
                <c:pt idx="26">
                  <c:v>0.14239350912778906</c:v>
                </c:pt>
                <c:pt idx="27">
                  <c:v>0.11861086375779163</c:v>
                </c:pt>
                <c:pt idx="28">
                  <c:v>0.11771640282923543</c:v>
                </c:pt>
                <c:pt idx="29">
                  <c:v>0.11508491508491508</c:v>
                </c:pt>
                <c:pt idx="30">
                  <c:v>0.11899541558700419</c:v>
                </c:pt>
                <c:pt idx="31">
                  <c:v>0.11476179300633654</c:v>
                </c:pt>
                <c:pt idx="32">
                  <c:v>0.1194745621351126</c:v>
                </c:pt>
                <c:pt idx="33">
                  <c:v>0.13029262710478992</c:v>
                </c:pt>
                <c:pt idx="34">
                  <c:v>0.14494199825371087</c:v>
                </c:pt>
                <c:pt idx="35">
                  <c:v>0.15017513134851138</c:v>
                </c:pt>
                <c:pt idx="36">
                  <c:v>0.1539000467071462</c:v>
                </c:pt>
                <c:pt idx="37">
                  <c:v>0.1288214210415349</c:v>
                </c:pt>
                <c:pt idx="38">
                  <c:v>0.1261239368165249</c:v>
                </c:pt>
                <c:pt idx="39">
                  <c:v>0.1269371408671426</c:v>
                </c:pt>
                <c:pt idx="40">
                  <c:v>0.11879242586638085</c:v>
                </c:pt>
                <c:pt idx="41">
                  <c:v>0.11385414974825402</c:v>
                </c:pt>
                <c:pt idx="42">
                  <c:v>0.11941675895164268</c:v>
                </c:pt>
                <c:pt idx="43">
                  <c:v>0.11784186559955843</c:v>
                </c:pt>
                <c:pt idx="44">
                  <c:v>0.114878020845264</c:v>
                </c:pt>
                <c:pt idx="45">
                  <c:v>0.12560856864654332</c:v>
                </c:pt>
                <c:pt idx="46">
                  <c:v>0.12174601603484114</c:v>
                </c:pt>
                <c:pt idx="47">
                  <c:v>0.12042835103003903</c:v>
                </c:pt>
                <c:pt idx="48">
                  <c:v>0.10626581336508409</c:v>
                </c:pt>
                <c:pt idx="49">
                  <c:v>0.12005996184246388</c:v>
                </c:pt>
                <c:pt idx="50">
                  <c:v>0.15653799919861092</c:v>
                </c:pt>
                <c:pt idx="51">
                  <c:v>0.1549726424203411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11.5644161346714</c:v>
                </c:pt>
              </c:numCache>
            </c:numRef>
          </c:xVal>
          <c:yVal>
            <c:numRef>
              <c:f>Sheet1!$B$163:$B$164</c:f>
              <c:numCache>
                <c:formatCode>General</c:formatCode>
                <c:ptCount val="2"/>
                <c:pt idx="0">
                  <c:v>0.16378288153331141</c:v>
                </c:pt>
                <c:pt idx="1">
                  <c:v>0.16378288153331141</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11.5644161346714</c:v>
                </c:pt>
                <c:pt idx="1">
                  <c:v>1011.5644161346714</c:v>
                </c:pt>
              </c:numCache>
            </c:numRef>
          </c:xVal>
          <c:yVal>
            <c:numRef>
              <c:f>Sheet1!$B$167:$B$168</c:f>
              <c:numCache>
                <c:formatCode>General</c:formatCode>
                <c:ptCount val="2"/>
                <c:pt idx="0">
                  <c:v>0.1637828815333114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77.8908111730682</c:v>
                </c:pt>
              </c:numCache>
            </c:numRef>
          </c:xVal>
          <c:yVal>
            <c:numRef>
              <c:f>Sheet1!$B$171:$B$172</c:f>
              <c:numCache>
                <c:formatCode>General</c:formatCode>
                <c:ptCount val="2"/>
                <c:pt idx="0">
                  <c:v>0.1459433699799871</c:v>
                </c:pt>
                <c:pt idx="1">
                  <c:v>0.145943369979987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77.8908111730682</c:v>
                </c:pt>
                <c:pt idx="1">
                  <c:v>1177.8908111730682</c:v>
                </c:pt>
              </c:numCache>
            </c:numRef>
          </c:xVal>
          <c:yVal>
            <c:numRef>
              <c:f>Sheet1!$B$175:$B$176</c:f>
              <c:numCache>
                <c:formatCode>General</c:formatCode>
                <c:ptCount val="2"/>
                <c:pt idx="0">
                  <c:v>0.145943369979987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78.6498679201811</c:v>
                </c:pt>
              </c:numCache>
            </c:numRef>
          </c:xVal>
          <c:yVal>
            <c:numRef>
              <c:f>Sheet1!$B$179:$B$180</c:f>
              <c:numCache>
                <c:formatCode>General</c:formatCode>
                <c:ptCount val="2"/>
                <c:pt idx="0">
                  <c:v>0.124410747262782</c:v>
                </c:pt>
                <c:pt idx="1">
                  <c:v>0.12441074726278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78.6498679201811</c:v>
                </c:pt>
                <c:pt idx="1">
                  <c:v>1378.6498679201811</c:v>
                </c:pt>
              </c:numCache>
            </c:numRef>
          </c:xVal>
          <c:yVal>
            <c:numRef>
              <c:f>Sheet1!$B$183:$B$184</c:f>
              <c:numCache>
                <c:formatCode>General</c:formatCode>
                <c:ptCount val="2"/>
                <c:pt idx="0">
                  <c:v>0.12441074726278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6.73</c:v>
                </c:pt>
                <c:pt idx="1">
                  <c:v>1169.1888</c:v>
                </c:pt>
                <c:pt idx="2">
                  <c:v>1174.6758</c:v>
                </c:pt>
                <c:pt idx="3">
                  <c:v>1244.8327</c:v>
                </c:pt>
                <c:pt idx="4">
                  <c:v>1214.4961</c:v>
                </c:pt>
                <c:pt idx="5">
                  <c:v>1218.3232</c:v>
                </c:pt>
                <c:pt idx="6">
                  <c:v>1184.2079</c:v>
                </c:pt>
                <c:pt idx="7">
                  <c:v>1261.4607</c:v>
                </c:pt>
                <c:pt idx="8">
                  <c:v>1359.512</c:v>
                </c:pt>
                <c:pt idx="9">
                  <c:v>1279.3928</c:v>
                </c:pt>
                <c:pt idx="10">
                  <c:v>1316.9447</c:v>
                </c:pt>
                <c:pt idx="11">
                  <c:v>1274.5931</c:v>
                </c:pt>
                <c:pt idx="12">
                  <c:v>1324.0195</c:v>
                </c:pt>
                <c:pt idx="13">
                  <c:v>1332.6736</c:v>
                </c:pt>
                <c:pt idx="14">
                  <c:v>1342.5743</c:v>
                </c:pt>
                <c:pt idx="15">
                  <c:v>1334.8688</c:v>
                </c:pt>
                <c:pt idx="16">
                  <c:v>1333.391</c:v>
                </c:pt>
                <c:pt idx="17">
                  <c:v>1258.8343</c:v>
                </c:pt>
                <c:pt idx="18">
                  <c:v>1310.7956</c:v>
                </c:pt>
                <c:pt idx="19">
                  <c:v>1380.1648</c:v>
                </c:pt>
                <c:pt idx="20">
                  <c:v>1371.5577</c:v>
                </c:pt>
                <c:pt idx="21">
                  <c:v>1299.1835</c:v>
                </c:pt>
                <c:pt idx="22">
                  <c:v>1268.5699</c:v>
                </c:pt>
                <c:pt idx="23">
                  <c:v>1205.8499</c:v>
                </c:pt>
                <c:pt idx="24">
                  <c:v>1224.4946</c:v>
                </c:pt>
                <c:pt idx="25">
                  <c:v>1225.9399</c:v>
                </c:pt>
                <c:pt idx="26">
                  <c:v>1243.6838</c:v>
                </c:pt>
                <c:pt idx="27">
                  <c:v>1326.9279</c:v>
                </c:pt>
                <c:pt idx="28">
                  <c:v>1376.3419</c:v>
                </c:pt>
                <c:pt idx="29">
                  <c:v>1379.7222</c:v>
                </c:pt>
                <c:pt idx="30">
                  <c:v>1383.8476</c:v>
                </c:pt>
                <c:pt idx="31">
                  <c:v>1283.2434</c:v>
                </c:pt>
                <c:pt idx="32">
                  <c:v>1264.3909</c:v>
                </c:pt>
                <c:pt idx="33">
                  <c:v>1307.325</c:v>
                </c:pt>
                <c:pt idx="34">
                  <c:v>1341.3356</c:v>
                </c:pt>
                <c:pt idx="35">
                  <c:v>1324.0476</c:v>
                </c:pt>
                <c:pt idx="36">
                  <c:v>1265.2716</c:v>
                </c:pt>
                <c:pt idx="37">
                  <c:v>1385.6596</c:v>
                </c:pt>
                <c:pt idx="38">
                  <c:v>1415.0771</c:v>
                </c:pt>
                <c:pt idx="39">
                  <c:v>1372.0837</c:v>
                </c:pt>
                <c:pt idx="40">
                  <c:v>1369.7083</c:v>
                </c:pt>
                <c:pt idx="41">
                  <c:v>1421.5735</c:v>
                </c:pt>
                <c:pt idx="42">
                  <c:v>1395.4467</c:v>
                </c:pt>
                <c:pt idx="43">
                  <c:v>1390.4239</c:v>
                </c:pt>
                <c:pt idx="44">
                  <c:v>1319.0917</c:v>
                </c:pt>
                <c:pt idx="45">
                  <c:v>1249.522</c:v>
                </c:pt>
                <c:pt idx="46">
                  <c:v>1230.5098</c:v>
                </c:pt>
                <c:pt idx="47">
                  <c:v>1237.0791</c:v>
                </c:pt>
                <c:pt idx="48">
                  <c:v>1206.8088</c:v>
                </c:pt>
                <c:pt idx="49">
                  <c:v>1206.5624</c:v>
                </c:pt>
                <c:pt idx="50">
                  <c:v>1118.7765</c:v>
                </c:pt>
                <c:pt idx="51">
                  <c:v>1095.203</c:v>
                </c:pt>
                <c:pt idx="52">
                  <c:v>1177.8908111730682</c:v>
                </c:pt>
                <c:pt idx="53">
                  <c:v>1011.5644161346714</c:v>
                </c:pt>
                <c:pt idx="54">
                  <c:v>1378.6498679201811</c:v>
                </c:pt>
              </c:numCache>
            </c:numRef>
          </c:xVal>
          <c:yVal>
            <c:numRef>
              <c:f>Sheet1!$B$187:$B$241</c:f>
              <c:numCache>
                <c:formatCode>General</c:formatCode>
                <c:ptCount val="55"/>
                <c:pt idx="0">
                  <c:v>0.14285019260337298</c:v>
                </c:pt>
                <c:pt idx="1">
                  <c:v>0.14687671329463822</c:v>
                </c:pt>
                <c:pt idx="2">
                  <c:v>0.14628819936772666</c:v>
                </c:pt>
                <c:pt idx="3">
                  <c:v>0.13876344764202195</c:v>
                </c:pt>
                <c:pt idx="4">
                  <c:v>0.14201723142098044</c:v>
                </c:pt>
                <c:pt idx="5">
                  <c:v>0.14160675180558346</c:v>
                </c:pt>
                <c:pt idx="6">
                  <c:v>0.1452658240072904</c:v>
                </c:pt>
                <c:pt idx="7">
                  <c:v>0.1369799941015289</c:v>
                </c:pt>
                <c:pt idx="8">
                  <c:v>0.12646339931352388</c:v>
                </c:pt>
                <c:pt idx="9">
                  <c:v>0.13505666795085078</c:v>
                </c:pt>
                <c:pt idx="10">
                  <c:v>0.13102899961988845</c:v>
                </c:pt>
                <c:pt idx="11">
                  <c:v>0.1355714647970322</c:v>
                </c:pt>
                <c:pt idx="12">
                  <c:v>0.13027018454241188</c:v>
                </c:pt>
                <c:pt idx="13">
                  <c:v>0.1293419799907652</c:v>
                </c:pt>
                <c:pt idx="14">
                  <c:v>0.12828007005160477</c:v>
                </c:pt>
                <c:pt idx="15">
                  <c:v>0.129106531517582</c:v>
                </c:pt>
                <c:pt idx="16">
                  <c:v>0.1292650345030367</c:v>
                </c:pt>
                <c:pt idx="17">
                  <c:v>0.13726169138194452</c:v>
                </c:pt>
                <c:pt idx="18">
                  <c:v>0.13168852777515944</c:v>
                </c:pt>
                <c:pt idx="19">
                  <c:v>0.1242482616372492</c:v>
                </c:pt>
                <c:pt idx="20">
                  <c:v>0.12517142515471238</c:v>
                </c:pt>
                <c:pt idx="21">
                  <c:v>0.132933995712227</c:v>
                </c:pt>
                <c:pt idx="22">
                  <c:v>0.1362174894160542</c:v>
                </c:pt>
                <c:pt idx="23">
                  <c:v>0.14294458864986012</c:v>
                </c:pt>
                <c:pt idx="24">
                  <c:v>0.1409448318404765</c:v>
                </c:pt>
                <c:pt idx="25">
                  <c:v>0.14078981467653165</c:v>
                </c:pt>
                <c:pt idx="26">
                  <c:v>0.13888667411379682</c:v>
                </c:pt>
                <c:pt idx="27">
                  <c:v>0.1299582410568953</c:v>
                </c:pt>
                <c:pt idx="28">
                  <c:v>0.12465829077725107</c:v>
                </c:pt>
                <c:pt idx="29">
                  <c:v>0.12429573316341125</c:v>
                </c:pt>
                <c:pt idx="30">
                  <c:v>0.12385325906935601</c:v>
                </c:pt>
                <c:pt idx="31">
                  <c:v>0.13464366781836204</c:v>
                </c:pt>
                <c:pt idx="32">
                  <c:v>0.1366657124341995</c:v>
                </c:pt>
                <c:pt idx="33">
                  <c:v>0.13206077060999435</c:v>
                </c:pt>
                <c:pt idx="34">
                  <c:v>0.1284129281163515</c:v>
                </c:pt>
                <c:pt idx="35">
                  <c:v>0.13026717064750643</c:v>
                </c:pt>
                <c:pt idx="36">
                  <c:v>0.13657125203408452</c:v>
                </c:pt>
                <c:pt idx="37">
                  <c:v>0.12365891111317528</c:v>
                </c:pt>
                <c:pt idx="38">
                  <c:v>0.12050370636651575</c:v>
                </c:pt>
                <c:pt idx="39">
                  <c:v>0.1251150084742758</c:v>
                </c:pt>
                <c:pt idx="40">
                  <c:v>0.12536978448703062</c:v>
                </c:pt>
                <c:pt idx="41">
                  <c:v>0.11980692818631011</c:v>
                </c:pt>
                <c:pt idx="42">
                  <c:v>0.12260918546089239</c:v>
                </c:pt>
                <c:pt idx="43">
                  <c:v>0.12314791113103846</c:v>
                </c:pt>
                <c:pt idx="44">
                  <c:v>0.1307987208881445</c:v>
                </c:pt>
                <c:pt idx="45">
                  <c:v>0.13826049186336944</c:v>
                </c:pt>
                <c:pt idx="46">
                  <c:v>0.14029966526982612</c:v>
                </c:pt>
                <c:pt idx="47">
                  <c:v>0.1395950681238338</c:v>
                </c:pt>
                <c:pt idx="48">
                  <c:v>0.14284174082691214</c:v>
                </c:pt>
                <c:pt idx="49">
                  <c:v>0.14286816871675923</c:v>
                </c:pt>
                <c:pt idx="50">
                  <c:v>0.15228373728546085</c:v>
                </c:pt>
                <c:pt idx="51">
                  <c:v>0.15481213769662353</c:v>
                </c:pt>
                <c:pt idx="52">
                  <c:v>0.1459433699799871</c:v>
                </c:pt>
                <c:pt idx="53">
                  <c:v>0.16378288153331141</c:v>
                </c:pt>
                <c:pt idx="54">
                  <c:v>0.12441074726278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33.0"/>
          <c:min val="76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2451355396640613"/>
          <c:min val="0.0678191489361702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2938230308509434</c:v>
                </c:pt>
                <c:pt idx="1">
                  <c:v>0.4474592705368351</c:v>
                </c:pt>
                <c:pt idx="2">
                  <c:v>0.4075210954318554</c:v>
                </c:pt>
                <c:pt idx="3">
                  <c:v>0.4048365862048437</c:v>
                </c:pt>
                <c:pt idx="4">
                  <c:v>0.3952483244609847</c:v>
                </c:pt>
                <c:pt idx="5">
                  <c:v>0.27326792729503246</c:v>
                </c:pt>
                <c:pt idx="6">
                  <c:v>0.2659085812981724</c:v>
                </c:pt>
                <c:pt idx="7">
                  <c:v>0.3261337305867408</c:v>
                </c:pt>
                <c:pt idx="8">
                  <c:v>0.2381417808291483</c:v>
                </c:pt>
                <c:pt idx="9">
                  <c:v>0.31349902952136266</c:v>
                </c:pt>
                <c:pt idx="10">
                  <c:v>0.29785477547312755</c:v>
                </c:pt>
                <c:pt idx="11">
                  <c:v>0.28207152739346986</c:v>
                </c:pt>
                <c:pt idx="12">
                  <c:v>0.2787965399289567</c:v>
                </c:pt>
                <c:pt idx="13">
                  <c:v>0.320902698375827</c:v>
                </c:pt>
                <c:pt idx="14">
                  <c:v>0.37571249935186224</c:v>
                </c:pt>
                <c:pt idx="15">
                  <c:v>0.3571539211053888</c:v>
                </c:pt>
                <c:pt idx="16">
                  <c:v>0.36643984472591973</c:v>
                </c:pt>
                <c:pt idx="17">
                  <c:v>0.39917149710763233</c:v>
                </c:pt>
                <c:pt idx="18">
                  <c:v>0.48278634739640214</c:v>
                </c:pt>
                <c:pt idx="19">
                  <c:v>0.4470554669086225</c:v>
                </c:pt>
                <c:pt idx="20">
                  <c:v>0.42413019793651013</c:v>
                </c:pt>
                <c:pt idx="21">
                  <c:v>0.3990733774597267</c:v>
                </c:pt>
                <c:pt idx="22">
                  <c:v>0.3754293216653472</c:v>
                </c:pt>
                <c:pt idx="23">
                  <c:v>0.4273099091256901</c:v>
                </c:pt>
                <c:pt idx="24">
                  <c:v>0.3301213264085478</c:v>
                </c:pt>
                <c:pt idx="25">
                  <c:v>0.28903426809176613</c:v>
                </c:pt>
                <c:pt idx="26">
                  <c:v>0.3519447352941177</c:v>
                </c:pt>
                <c:pt idx="27">
                  <c:v>0.25372195241494166</c:v>
                </c:pt>
                <c:pt idx="28">
                  <c:v>0.20507546007244923</c:v>
                </c:pt>
                <c:pt idx="29">
                  <c:v>0.2013905112464184</c:v>
                </c:pt>
                <c:pt idx="30">
                  <c:v>0.24769436431900824</c:v>
                </c:pt>
                <c:pt idx="31">
                  <c:v>0.19314958303052548</c:v>
                </c:pt>
                <c:pt idx="32">
                  <c:v>0.178857992149851</c:v>
                </c:pt>
                <c:pt idx="33">
                  <c:v>0.17300988742092718</c:v>
                </c:pt>
                <c:pt idx="34">
                  <c:v>0.15958497089093396</c:v>
                </c:pt>
                <c:pt idx="35">
                  <c:v>0.18942688341645317</c:v>
                </c:pt>
                <c:pt idx="36">
                  <c:v>0.25233723381579576</c:v>
                </c:pt>
                <c:pt idx="37">
                  <c:v>0.20874018518683768</c:v>
                </c:pt>
                <c:pt idx="38">
                  <c:v>0.19573961766619002</c:v>
                </c:pt>
                <c:pt idx="39">
                  <c:v>0.15611041515266869</c:v>
                </c:pt>
                <c:pt idx="40">
                  <c:v>0.18265878324646262</c:v>
                </c:pt>
                <c:pt idx="41">
                  <c:v>0.14555371426094119</c:v>
                </c:pt>
                <c:pt idx="42">
                  <c:v>0.22250638257896788</c:v>
                </c:pt>
                <c:pt idx="43">
                  <c:v>0.2559732424966617</c:v>
                </c:pt>
                <c:pt idx="44">
                  <c:v>0.24122893867096554</c:v>
                </c:pt>
                <c:pt idx="45">
                  <c:v>0.18857974312260317</c:v>
                </c:pt>
                <c:pt idx="46">
                  <c:v>0.1748247634328377</c:v>
                </c:pt>
                <c:pt idx="47">
                  <c:v>0.17791808354472122</c:v>
                </c:pt>
                <c:pt idx="48">
                  <c:v>0.1853171727480622</c:v>
                </c:pt>
                <c:pt idx="49">
                  <c:v>0.24323649613832476</c:v>
                </c:pt>
                <c:pt idx="50">
                  <c:v>0.13953632953336967</c:v>
                </c:pt>
                <c:pt idx="51">
                  <c:v>0.14848495616689528</c:v>
                </c:pt>
                <c:pt idx="52">
                  <c:v>0.13842988684470775</c:v>
                </c:pt>
                <c:pt idx="53">
                  <c:v>0.15695067771495622</c:v>
                </c:pt>
                <c:pt idx="54">
                  <c:v>0.1611369726148255</c:v>
                </c:pt>
                <c:pt idx="55">
                  <c:v>0.14854618569149744</c:v>
                </c:pt>
                <c:pt idx="56">
                  <c:v>0.1479748861177503</c:v>
                </c:pt>
                <c:pt idx="57">
                  <c:v>0.14286051600902572</c:v>
                </c:pt>
                <c:pt idx="58">
                  <c:v>0.16955073992680395</c:v>
                </c:pt>
                <c:pt idx="59">
                  <c:v>0.1725778116769668</c:v>
                </c:pt>
                <c:pt idx="60">
                  <c:v>0.1382954007493817</c:v>
                </c:pt>
                <c:pt idx="61">
                  <c:v>0.1125785593866287</c:v>
                </c:pt>
                <c:pt idx="62">
                  <c:v>0.10232101157689898</c:v>
                </c:pt>
                <c:pt idx="63">
                  <c:v>0.11886997225690014</c:v>
                </c:pt>
                <c:pt idx="64">
                  <c:v>0.11014950440526429</c:v>
                </c:pt>
                <c:pt idx="65">
                  <c:v>0.10197027501763828</c:v>
                </c:pt>
                <c:pt idx="66">
                  <c:v>0.09876767423582508</c:v>
                </c:pt>
                <c:pt idx="67">
                  <c:v>0.10069691329613108</c:v>
                </c:pt>
                <c:pt idx="68">
                  <c:v>0.11018935454097975</c:v>
                </c:pt>
                <c:pt idx="69">
                  <c:v>0.10174357976629858</c:v>
                </c:pt>
                <c:pt idx="70">
                  <c:v>0.10229869189650012</c:v>
                </c:pt>
                <c:pt idx="71">
                  <c:v>0.09591504328636903</c:v>
                </c:pt>
                <c:pt idx="72">
                  <c:v>0.09277117533185111</c:v>
                </c:pt>
                <c:pt idx="73">
                  <c:v>0.11010166308857765</c:v>
                </c:pt>
                <c:pt idx="74">
                  <c:v>0.07729434347843396</c:v>
                </c:pt>
                <c:pt idx="75">
                  <c:v>0.10973901230489719</c:v>
                </c:pt>
                <c:pt idx="76">
                  <c:v>0.0933562233646192</c:v>
                </c:pt>
                <c:pt idx="77">
                  <c:v>0.07292687931354737</c:v>
                </c:pt>
                <c:pt idx="78">
                  <c:v>0.10253290310093285</c:v>
                </c:pt>
                <c:pt idx="79">
                  <c:v>0.10277664727369953</c:v>
                </c:pt>
                <c:pt idx="80">
                  <c:v>0.09245117465415362</c:v>
                </c:pt>
                <c:pt idx="81">
                  <c:v>0.10702648396657533</c:v>
                </c:pt>
                <c:pt idx="82">
                  <c:v>0.11946903217098973</c:v>
                </c:pt>
                <c:pt idx="83">
                  <c:v>0.10882129797465463</c:v>
                </c:pt>
                <c:pt idx="84">
                  <c:v>0.08143599932674005</c:v>
                </c:pt>
                <c:pt idx="85">
                  <c:v>0.07831773574967585</c:v>
                </c:pt>
                <c:pt idx="86">
                  <c:v>0.07382694818719507</c:v>
                </c:pt>
                <c:pt idx="87">
                  <c:v>0.08570777149068125</c:v>
                </c:pt>
                <c:pt idx="88">
                  <c:v>0.10273534516359513</c:v>
                </c:pt>
                <c:pt idx="89">
                  <c:v>0.08847980745890696</c:v>
                </c:pt>
                <c:pt idx="90">
                  <c:v>0.10559044156330967</c:v>
                </c:pt>
                <c:pt idx="91">
                  <c:v>0.09908852018888008</c:v>
                </c:pt>
                <c:pt idx="92">
                  <c:v>0.09050035006217022</c:v>
                </c:pt>
                <c:pt idx="93">
                  <c:v>0.08719887279991503</c:v>
                </c:pt>
                <c:pt idx="94">
                  <c:v>0.0853561717738455</c:v>
                </c:pt>
                <c:pt idx="95">
                  <c:v>0.07781794272086885</c:v>
                </c:pt>
                <c:pt idx="96">
                  <c:v>0.07279798526569863</c:v>
                </c:pt>
                <c:pt idx="97">
                  <c:v>0.0790796375957863</c:v>
                </c:pt>
                <c:pt idx="98">
                  <c:v>0.06859209138683332</c:v>
                </c:pt>
                <c:pt idx="99">
                  <c:v>0.06903674580886733</c:v>
                </c:pt>
                <c:pt idx="100">
                  <c:v>0.06847484019955793</c:v>
                </c:pt>
                <c:pt idx="101">
                  <c:v>0.07876803608538453</c:v>
                </c:pt>
                <c:pt idx="102">
                  <c:v>0.07652672644765744</c:v>
                </c:pt>
                <c:pt idx="103">
                  <c:v>0.054975200473549604</c:v>
                </c:pt>
                <c:pt idx="104">
                  <c:v>0.0679148303676281</c:v>
                </c:pt>
              </c:numCache>
            </c:numRef>
          </c:xVal>
          <c:yVal>
            <c:numRef>
              <c:f>Sheet1!$B$2:$B$106</c:f>
              <c:numCache>
                <c:formatCode>General</c:formatCode>
                <c:ptCount val="105"/>
                <c:pt idx="0">
                  <c:v>0.16057585825027684</c:v>
                </c:pt>
                <c:pt idx="1">
                  <c:v>0.16201461653605706</c:v>
                </c:pt>
                <c:pt idx="2">
                  <c:v>0.16815544709457592</c:v>
                </c:pt>
                <c:pt idx="3">
                  <c:v>0.1675101214574899</c:v>
                </c:pt>
                <c:pt idx="4">
                  <c:v>0.16358269951186286</c:v>
                </c:pt>
                <c:pt idx="5">
                  <c:v>0.1556230343780501</c:v>
                </c:pt>
                <c:pt idx="6">
                  <c:v>0.16230532895433838</c:v>
                </c:pt>
                <c:pt idx="7">
                  <c:v>0.15787518573551262</c:v>
                </c:pt>
                <c:pt idx="8">
                  <c:v>0.17640364188163885</c:v>
                </c:pt>
                <c:pt idx="9">
                  <c:v>0.16586492207042525</c:v>
                </c:pt>
                <c:pt idx="10">
                  <c:v>0.17921857304643263</c:v>
                </c:pt>
                <c:pt idx="11">
                  <c:v>0.1702827087442472</c:v>
                </c:pt>
                <c:pt idx="12">
                  <c:v>0.18709462830533843</c:v>
                </c:pt>
                <c:pt idx="13">
                  <c:v>0.17572223694672676</c:v>
                </c:pt>
                <c:pt idx="14">
                  <c:v>0.17798326728313518</c:v>
                </c:pt>
                <c:pt idx="15">
                  <c:v>0.17764082603524706</c:v>
                </c:pt>
                <c:pt idx="16">
                  <c:v>0.15985546972339895</c:v>
                </c:pt>
                <c:pt idx="17">
                  <c:v>0.16848926690968002</c:v>
                </c:pt>
                <c:pt idx="18">
                  <c:v>0.15017388555169142</c:v>
                </c:pt>
                <c:pt idx="19">
                  <c:v>0.12907336610231204</c:v>
                </c:pt>
                <c:pt idx="20">
                  <c:v>0.15121729925903524</c:v>
                </c:pt>
                <c:pt idx="21">
                  <c:v>0.1354559155990957</c:v>
                </c:pt>
                <c:pt idx="22">
                  <c:v>0.1201977938379612</c:v>
                </c:pt>
                <c:pt idx="23">
                  <c:v>0.12073490813648294</c:v>
                </c:pt>
                <c:pt idx="24">
                  <c:v>0.12777053455019557</c:v>
                </c:pt>
                <c:pt idx="25">
                  <c:v>0.12156357388316151</c:v>
                </c:pt>
                <c:pt idx="26">
                  <c:v>0.12521529452290733</c:v>
                </c:pt>
                <c:pt idx="27">
                  <c:v>0.12001951536835258</c:v>
                </c:pt>
                <c:pt idx="28">
                  <c:v>0.12959480253034708</c:v>
                </c:pt>
                <c:pt idx="29">
                  <c:v>0.1319796954314721</c:v>
                </c:pt>
                <c:pt idx="30">
                  <c:v>0.1111111111111111</c:v>
                </c:pt>
                <c:pt idx="31">
                  <c:v>0.10149942329873125</c:v>
                </c:pt>
                <c:pt idx="32">
                  <c:v>0.09518282066163668</c:v>
                </c:pt>
                <c:pt idx="33">
                  <c:v>0.102945688861614</c:v>
                </c:pt>
                <c:pt idx="34">
                  <c:v>0.10915882678472606</c:v>
                </c:pt>
                <c:pt idx="35">
                  <c:v>0.1316793893129771</c:v>
                </c:pt>
                <c:pt idx="36">
                  <c:v>0.12530120481927712</c:v>
                </c:pt>
                <c:pt idx="37">
                  <c:v>0.08573705179282869</c:v>
                </c:pt>
                <c:pt idx="38">
                  <c:v>0.08477393617021277</c:v>
                </c:pt>
                <c:pt idx="39">
                  <c:v>0.10365198711063373</c:v>
                </c:pt>
                <c:pt idx="40">
                  <c:v>0.1091844232182219</c:v>
                </c:pt>
                <c:pt idx="41">
                  <c:v>0.11530003141690229</c:v>
                </c:pt>
                <c:pt idx="42">
                  <c:v>0.10209808900173727</c:v>
                </c:pt>
                <c:pt idx="43">
                  <c:v>0.1134453781512605</c:v>
                </c:pt>
                <c:pt idx="44">
                  <c:v>0.11082598235765838</c:v>
                </c:pt>
                <c:pt idx="45">
                  <c:v>0.1320560058953574</c:v>
                </c:pt>
                <c:pt idx="46">
                  <c:v>0.1321151475600029</c:v>
                </c:pt>
                <c:pt idx="47">
                  <c:v>0.13707391525546914</c:v>
                </c:pt>
                <c:pt idx="48">
                  <c:v>0.14307180422882904</c:v>
                </c:pt>
                <c:pt idx="49">
                  <c:v>0.16854580166420519</c:v>
                </c:pt>
                <c:pt idx="50">
                  <c:v>0.1434755288696502</c:v>
                </c:pt>
                <c:pt idx="51">
                  <c:v>0.14537214572076</c:v>
                </c:pt>
                <c:pt idx="52">
                  <c:v>0.14436750800387163</c:v>
                </c:pt>
                <c:pt idx="53">
                  <c:v>0.12695501061981077</c:v>
                </c:pt>
                <c:pt idx="54">
                  <c:v>0.11626442812172089</c:v>
                </c:pt>
                <c:pt idx="55">
                  <c:v>0.11953029799490418</c:v>
                </c:pt>
                <c:pt idx="56">
                  <c:v>0.14832100170745588</c:v>
                </c:pt>
                <c:pt idx="57">
                  <c:v>0.1323008401660087</c:v>
                </c:pt>
                <c:pt idx="58">
                  <c:v>0.1394291946918742</c:v>
                </c:pt>
                <c:pt idx="59">
                  <c:v>0.13655413271245634</c:v>
                </c:pt>
                <c:pt idx="60">
                  <c:v>0.15693112467306017</c:v>
                </c:pt>
                <c:pt idx="61">
                  <c:v>0.16839008735960065</c:v>
                </c:pt>
                <c:pt idx="62">
                  <c:v>0.16058583932749804</c:v>
                </c:pt>
                <c:pt idx="63">
                  <c:v>0.17314514885084065</c:v>
                </c:pt>
                <c:pt idx="64">
                  <c:v>0.14845345783484096</c:v>
                </c:pt>
                <c:pt idx="65">
                  <c:v>0.1556811048336472</c:v>
                </c:pt>
                <c:pt idx="66">
                  <c:v>0.1469521962735014</c:v>
                </c:pt>
                <c:pt idx="67">
                  <c:v>0.14144736842105263</c:v>
                </c:pt>
                <c:pt idx="68">
                  <c:v>0.12576821773485514</c:v>
                </c:pt>
                <c:pt idx="69">
                  <c:v>0.11633663366336634</c:v>
                </c:pt>
                <c:pt idx="70">
                  <c:v>0.11216472500677323</c:v>
                </c:pt>
                <c:pt idx="71">
                  <c:v>0.12079353416605437</c:v>
                </c:pt>
                <c:pt idx="72">
                  <c:v>0.12347022028827849</c:v>
                </c:pt>
                <c:pt idx="73">
                  <c:v>0.13430180847909873</c:v>
                </c:pt>
                <c:pt idx="74">
                  <c:v>0.13287710293698318</c:v>
                </c:pt>
                <c:pt idx="75">
                  <c:v>0.12062448644207066</c:v>
                </c:pt>
                <c:pt idx="76">
                  <c:v>0.12040816326530612</c:v>
                </c:pt>
                <c:pt idx="77">
                  <c:v>0.11754101316026681</c:v>
                </c:pt>
                <c:pt idx="78">
                  <c:v>0.11908783783783784</c:v>
                </c:pt>
                <c:pt idx="79">
                  <c:v>0.11004152510381277</c:v>
                </c:pt>
                <c:pt idx="80">
                  <c:v>0.09904214559386973</c:v>
                </c:pt>
                <c:pt idx="81">
                  <c:v>0.10338545620160923</c:v>
                </c:pt>
                <c:pt idx="82">
                  <c:v>0.0958614051973051</c:v>
                </c:pt>
                <c:pt idx="83">
                  <c:v>0.08653846153846154</c:v>
                </c:pt>
                <c:pt idx="84">
                  <c:v>0.09471724458924831</c:v>
                </c:pt>
                <c:pt idx="85">
                  <c:v>0.09723102938068062</c:v>
                </c:pt>
                <c:pt idx="86">
                  <c:v>0.10944206008583691</c:v>
                </c:pt>
                <c:pt idx="87">
                  <c:v>0.12922173274596183</c:v>
                </c:pt>
                <c:pt idx="88">
                  <c:v>0.12578179291174427</c:v>
                </c:pt>
                <c:pt idx="89">
                  <c:v>0.1274</c:v>
                </c:pt>
                <c:pt idx="90">
                  <c:v>0.12230362230362231</c:v>
                </c:pt>
                <c:pt idx="91">
                  <c:v>0.10922962411611463</c:v>
                </c:pt>
                <c:pt idx="92">
                  <c:v>0.12279895881182055</c:v>
                </c:pt>
                <c:pt idx="93">
                  <c:v>0.11488060570762959</c:v>
                </c:pt>
                <c:pt idx="94">
                  <c:v>0.10578324963550947</c:v>
                </c:pt>
                <c:pt idx="95">
                  <c:v>0.12292062074355253</c:v>
                </c:pt>
                <c:pt idx="96">
                  <c:v>0.10617347375631475</c:v>
                </c:pt>
                <c:pt idx="97">
                  <c:v>0.10788412174550789</c:v>
                </c:pt>
                <c:pt idx="98">
                  <c:v>0.12512833675564683</c:v>
                </c:pt>
                <c:pt idx="99">
                  <c:v>0.12247659862411188</c:v>
                </c:pt>
                <c:pt idx="100">
                  <c:v>0.147947659475037</c:v>
                </c:pt>
                <c:pt idx="101">
                  <c:v>0.13798261860663913</c:v>
                </c:pt>
                <c:pt idx="102">
                  <c:v>0.12343708433093908</c:v>
                </c:pt>
                <c:pt idx="103">
                  <c:v>0.15909635187993934</c:v>
                </c:pt>
                <c:pt idx="104">
                  <c:v>0.15484914818692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07141182491006222</c:v>
                </c:pt>
                <c:pt idx="1">
                  <c:v>0.07149665000558213</c:v>
                </c:pt>
                <c:pt idx="2">
                  <c:v>0.0958529380171306</c:v>
                </c:pt>
                <c:pt idx="3">
                  <c:v>0.11221960923234094</c:v>
                </c:pt>
                <c:pt idx="4">
                  <c:v>0.11527150132429775</c:v>
                </c:pt>
                <c:pt idx="5">
                  <c:v>0.10817520088790233</c:v>
                </c:pt>
                <c:pt idx="6">
                  <c:v>0.10251901175206153</c:v>
                </c:pt>
                <c:pt idx="7">
                  <c:v>0.10120120060854502</c:v>
                </c:pt>
                <c:pt idx="8">
                  <c:v>0.14360203647966543</c:v>
                </c:pt>
                <c:pt idx="9">
                  <c:v>0.11956396978462981</c:v>
                </c:pt>
                <c:pt idx="10">
                  <c:v>0.14089490745693806</c:v>
                </c:pt>
                <c:pt idx="11">
                  <c:v>0.13344489956876837</c:v>
                </c:pt>
                <c:pt idx="12">
                  <c:v>0.16994083540477767</c:v>
                </c:pt>
                <c:pt idx="13">
                  <c:v>0.13571354507890004</c:v>
                </c:pt>
                <c:pt idx="14">
                  <c:v>0.11968175312003983</c:v>
                </c:pt>
                <c:pt idx="15">
                  <c:v>0.12657088244126224</c:v>
                </c:pt>
                <c:pt idx="16">
                  <c:v>0.0862232951787396</c:v>
                </c:pt>
                <c:pt idx="17">
                  <c:v>0.0870015132446208</c:v>
                </c:pt>
                <c:pt idx="18">
                  <c:v>0.10583569808578283</c:v>
                </c:pt>
                <c:pt idx="19">
                  <c:v>0.14004411857385993</c:v>
                </c:pt>
                <c:pt idx="20">
                  <c:v>0.12286518406145756</c:v>
                </c:pt>
                <c:pt idx="21">
                  <c:v>0.08308413212974924</c:v>
                </c:pt>
                <c:pt idx="22">
                  <c:v>0.09675567533055764</c:v>
                </c:pt>
                <c:pt idx="23">
                  <c:v>0.09552723974301082</c:v>
                </c:pt>
                <c:pt idx="24">
                  <c:v>0.08597092281363816</c:v>
                </c:pt>
                <c:pt idx="25">
                  <c:v>0.11397465659500292</c:v>
                </c:pt>
                <c:pt idx="26">
                  <c:v>0.0965427667943112</c:v>
                </c:pt>
                <c:pt idx="27">
                  <c:v>0.1226087193950691</c:v>
                </c:pt>
                <c:pt idx="28">
                  <c:v>0.1332799900359221</c:v>
                </c:pt>
                <c:pt idx="29">
                  <c:v>0.12841170171125732</c:v>
                </c:pt>
                <c:pt idx="30">
                  <c:v>0.14635071890387652</c:v>
                </c:pt>
                <c:pt idx="31">
                  <c:v>0.10538021809370529</c:v>
                </c:pt>
                <c:pt idx="32">
                  <c:v>0.10990636655985894</c:v>
                </c:pt>
                <c:pt idx="33">
                  <c:v>0.12843782973397286</c:v>
                </c:pt>
                <c:pt idx="34">
                  <c:v>0.11184743137804785</c:v>
                </c:pt>
                <c:pt idx="35">
                  <c:v>0.12363982060506985</c:v>
                </c:pt>
                <c:pt idx="36">
                  <c:v>0.09416144205788532</c:v>
                </c:pt>
                <c:pt idx="37">
                  <c:v>0.11874145029347567</c:v>
                </c:pt>
                <c:pt idx="38">
                  <c:v>0.10841841097149862</c:v>
                </c:pt>
                <c:pt idx="39">
                  <c:v>0.12603726729549974</c:v>
                </c:pt>
                <c:pt idx="40">
                  <c:v>0.13047947606572993</c:v>
                </c:pt>
                <c:pt idx="41">
                  <c:v>0.12735109523042892</c:v>
                </c:pt>
                <c:pt idx="42">
                  <c:v>0.12764082652691175</c:v>
                </c:pt>
                <c:pt idx="43">
                  <c:v>0.142625679051558</c:v>
                </c:pt>
                <c:pt idx="44">
                  <c:v>0.13142135233910657</c:v>
                </c:pt>
                <c:pt idx="45">
                  <c:v>0.12446153404970052</c:v>
                </c:pt>
                <c:pt idx="46">
                  <c:v>0.10424422425306559</c:v>
                </c:pt>
                <c:pt idx="47">
                  <c:v>0.11024846731231894</c:v>
                </c:pt>
                <c:pt idx="48">
                  <c:v>0.12411717571513156</c:v>
                </c:pt>
                <c:pt idx="49">
                  <c:v>0.11901261978484007</c:v>
                </c:pt>
                <c:pt idx="50">
                  <c:v>0.14521206377804194</c:v>
                </c:pt>
                <c:pt idx="51">
                  <c:v>0.12342013197714001</c:v>
                </c:pt>
              </c:numCache>
            </c:numRef>
          </c:xVal>
          <c:yVal>
            <c:numRef>
              <c:f>Sheet1!$B$109:$B$160</c:f>
              <c:numCache>
                <c:formatCode>General</c:formatCode>
                <c:ptCount val="52"/>
                <c:pt idx="0">
                  <c:v>0.14738564906538032</c:v>
                </c:pt>
                <c:pt idx="1">
                  <c:v>0.15820241139934235</c:v>
                </c:pt>
                <c:pt idx="2">
                  <c:v>0.155122832963602</c:v>
                </c:pt>
                <c:pt idx="3">
                  <c:v>0.14606556023449757</c:v>
                </c:pt>
                <c:pt idx="4">
                  <c:v>0.15232147705674723</c:v>
                </c:pt>
                <c:pt idx="5">
                  <c:v>0.13824333561175667</c:v>
                </c:pt>
                <c:pt idx="6">
                  <c:v>0.13981865943564104</c:v>
                </c:pt>
                <c:pt idx="7">
                  <c:v>0.13740808823529413</c:v>
                </c:pt>
                <c:pt idx="8">
                  <c:v>0.13892231581762268</c:v>
                </c:pt>
                <c:pt idx="9">
                  <c:v>0.15934785195763418</c:v>
                </c:pt>
                <c:pt idx="10">
                  <c:v>0.15144561725562183</c:v>
                </c:pt>
                <c:pt idx="11">
                  <c:v>0.14083691696989745</c:v>
                </c:pt>
                <c:pt idx="12">
                  <c:v>0.1321745774042594</c:v>
                </c:pt>
                <c:pt idx="13">
                  <c:v>0.1365883183698174</c:v>
                </c:pt>
                <c:pt idx="14">
                  <c:v>0.1381951381951382</c:v>
                </c:pt>
                <c:pt idx="15">
                  <c:v>0.1360841806573658</c:v>
                </c:pt>
                <c:pt idx="16">
                  <c:v>0.1254810335349093</c:v>
                </c:pt>
                <c:pt idx="17">
                  <c:v>0.12621776504297993</c:v>
                </c:pt>
                <c:pt idx="18">
                  <c:v>0.11229412743303943</c:v>
                </c:pt>
                <c:pt idx="19">
                  <c:v>0.12355151894769809</c:v>
                </c:pt>
                <c:pt idx="20">
                  <c:v>0.12052059190586557</c:v>
                </c:pt>
                <c:pt idx="21">
                  <c:v>0.14171180931744312</c:v>
                </c:pt>
                <c:pt idx="22">
                  <c:v>0.14269886993130956</c:v>
                </c:pt>
                <c:pt idx="23">
                  <c:v>0.15536971830985916</c:v>
                </c:pt>
                <c:pt idx="24">
                  <c:v>0.16143691841592728</c:v>
                </c:pt>
                <c:pt idx="25">
                  <c:v>0.15340055782021025</c:v>
                </c:pt>
                <c:pt idx="26">
                  <c:v>0.14239350912778906</c:v>
                </c:pt>
                <c:pt idx="27">
                  <c:v>0.11861086375779163</c:v>
                </c:pt>
                <c:pt idx="28">
                  <c:v>0.11771640282923543</c:v>
                </c:pt>
                <c:pt idx="29">
                  <c:v>0.11508491508491508</c:v>
                </c:pt>
                <c:pt idx="30">
                  <c:v>0.11899541558700419</c:v>
                </c:pt>
                <c:pt idx="31">
                  <c:v>0.11476179300633654</c:v>
                </c:pt>
                <c:pt idx="32">
                  <c:v>0.1194745621351126</c:v>
                </c:pt>
                <c:pt idx="33">
                  <c:v>0.13029262710478992</c:v>
                </c:pt>
                <c:pt idx="34">
                  <c:v>0.14494199825371087</c:v>
                </c:pt>
                <c:pt idx="35">
                  <c:v>0.15017513134851138</c:v>
                </c:pt>
                <c:pt idx="36">
                  <c:v>0.1539000467071462</c:v>
                </c:pt>
                <c:pt idx="37">
                  <c:v>0.1288214210415349</c:v>
                </c:pt>
                <c:pt idx="38">
                  <c:v>0.1261239368165249</c:v>
                </c:pt>
                <c:pt idx="39">
                  <c:v>0.1269371408671426</c:v>
                </c:pt>
                <c:pt idx="40">
                  <c:v>0.11879242586638085</c:v>
                </c:pt>
                <c:pt idx="41">
                  <c:v>0.11385414974825402</c:v>
                </c:pt>
                <c:pt idx="42">
                  <c:v>0.11941675895164268</c:v>
                </c:pt>
                <c:pt idx="43">
                  <c:v>0.11784186559955843</c:v>
                </c:pt>
                <c:pt idx="44">
                  <c:v>0.114878020845264</c:v>
                </c:pt>
                <c:pt idx="45">
                  <c:v>0.12560856864654332</c:v>
                </c:pt>
                <c:pt idx="46">
                  <c:v>0.12174601603484114</c:v>
                </c:pt>
                <c:pt idx="47">
                  <c:v>0.12042835103003903</c:v>
                </c:pt>
                <c:pt idx="48">
                  <c:v>0.10626581336508409</c:v>
                </c:pt>
                <c:pt idx="49">
                  <c:v>0.12005996184246388</c:v>
                </c:pt>
                <c:pt idx="50">
                  <c:v>0.15653799919861092</c:v>
                </c:pt>
                <c:pt idx="51">
                  <c:v>0.1549726424203411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0831074977677204</c:v>
                </c:pt>
              </c:numCache>
            </c:numRef>
          </c:xVal>
          <c:yVal>
            <c:numRef>
              <c:f>Sheet1!$B$163:$B$164</c:f>
              <c:numCache>
                <c:formatCode>General</c:formatCode>
                <c:ptCount val="2"/>
                <c:pt idx="0">
                  <c:v>0.16378288153331141</c:v>
                </c:pt>
                <c:pt idx="1">
                  <c:v>0.16378288153331141</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0831074977677204</c:v>
                </c:pt>
                <c:pt idx="1">
                  <c:v>-0.00831074977677204</c:v>
                </c:pt>
              </c:numCache>
            </c:numRef>
          </c:xVal>
          <c:yVal>
            <c:numRef>
              <c:f>Sheet1!$B$167:$B$168</c:f>
              <c:numCache>
                <c:formatCode>General</c:formatCode>
                <c:ptCount val="2"/>
                <c:pt idx="0">
                  <c:v>0.1637828815333114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6641490028661702</c:v>
                </c:pt>
              </c:numCache>
            </c:numRef>
          </c:xVal>
          <c:yVal>
            <c:numRef>
              <c:f>Sheet1!$B$171:$B$172</c:f>
              <c:numCache>
                <c:formatCode>General</c:formatCode>
                <c:ptCount val="2"/>
                <c:pt idx="0">
                  <c:v>0.1459433699799871</c:v>
                </c:pt>
                <c:pt idx="1">
                  <c:v>0.145943369979987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6641490028661702</c:v>
                </c:pt>
                <c:pt idx="1">
                  <c:v>0.06641490028661702</c:v>
                </c:pt>
              </c:numCache>
            </c:numRef>
          </c:xVal>
          <c:yVal>
            <c:numRef>
              <c:f>Sheet1!$B$175:$B$176</c:f>
              <c:numCache>
                <c:formatCode>General</c:formatCode>
                <c:ptCount val="2"/>
                <c:pt idx="0">
                  <c:v>0.145943369979987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5661015172627954</c:v>
                </c:pt>
              </c:numCache>
            </c:numRef>
          </c:xVal>
          <c:yVal>
            <c:numRef>
              <c:f>Sheet1!$B$179:$B$180</c:f>
              <c:numCache>
                <c:formatCode>General</c:formatCode>
                <c:ptCount val="2"/>
                <c:pt idx="0">
                  <c:v>0.124410747262782</c:v>
                </c:pt>
                <c:pt idx="1">
                  <c:v>0.12441074726278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5661015172627954</c:v>
                </c:pt>
                <c:pt idx="1">
                  <c:v>0.15661015172627954</c:v>
                </c:pt>
              </c:numCache>
            </c:numRef>
          </c:xVal>
          <c:yVal>
            <c:numRef>
              <c:f>Sheet1!$B$183:$B$184</c:f>
              <c:numCache>
                <c:formatCode>General</c:formatCode>
                <c:ptCount val="2"/>
                <c:pt idx="0">
                  <c:v>0.12441074726278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07141182491006222</c:v>
                </c:pt>
                <c:pt idx="1">
                  <c:v>0.07149665000558213</c:v>
                </c:pt>
                <c:pt idx="2">
                  <c:v>0.0958529380171306</c:v>
                </c:pt>
                <c:pt idx="3">
                  <c:v>0.11221960923234094</c:v>
                </c:pt>
                <c:pt idx="4">
                  <c:v>0.11527150132429775</c:v>
                </c:pt>
                <c:pt idx="5">
                  <c:v>0.10817520088790233</c:v>
                </c:pt>
                <c:pt idx="6">
                  <c:v>0.10251901175206153</c:v>
                </c:pt>
                <c:pt idx="7">
                  <c:v>0.10120120060854502</c:v>
                </c:pt>
                <c:pt idx="8">
                  <c:v>0.14360203647966543</c:v>
                </c:pt>
                <c:pt idx="9">
                  <c:v>0.11956396978462981</c:v>
                </c:pt>
                <c:pt idx="10">
                  <c:v>0.14089490745693806</c:v>
                </c:pt>
                <c:pt idx="11">
                  <c:v>0.13344489956876837</c:v>
                </c:pt>
                <c:pt idx="12">
                  <c:v>0.16994083540477767</c:v>
                </c:pt>
                <c:pt idx="13">
                  <c:v>0.13571354507890004</c:v>
                </c:pt>
                <c:pt idx="14">
                  <c:v>0.11968175312003983</c:v>
                </c:pt>
                <c:pt idx="15">
                  <c:v>0.12657088244126224</c:v>
                </c:pt>
                <c:pt idx="16">
                  <c:v>0.0862232951787396</c:v>
                </c:pt>
                <c:pt idx="17">
                  <c:v>0.0870015132446208</c:v>
                </c:pt>
                <c:pt idx="18">
                  <c:v>0.10583569808578283</c:v>
                </c:pt>
                <c:pt idx="19">
                  <c:v>0.14004411857385993</c:v>
                </c:pt>
                <c:pt idx="20">
                  <c:v>0.12286518406145756</c:v>
                </c:pt>
                <c:pt idx="21">
                  <c:v>0.08308413212974924</c:v>
                </c:pt>
                <c:pt idx="22">
                  <c:v>0.09675567533055764</c:v>
                </c:pt>
                <c:pt idx="23">
                  <c:v>0.09552723974301082</c:v>
                </c:pt>
                <c:pt idx="24">
                  <c:v>0.08597092281363816</c:v>
                </c:pt>
                <c:pt idx="25">
                  <c:v>0.11397465659500292</c:v>
                </c:pt>
                <c:pt idx="26">
                  <c:v>0.0965427667943112</c:v>
                </c:pt>
                <c:pt idx="27">
                  <c:v>0.1226087193950691</c:v>
                </c:pt>
                <c:pt idx="28">
                  <c:v>0.1332799900359221</c:v>
                </c:pt>
                <c:pt idx="29">
                  <c:v>0.12841170171125732</c:v>
                </c:pt>
                <c:pt idx="30">
                  <c:v>0.14635071890387652</c:v>
                </c:pt>
                <c:pt idx="31">
                  <c:v>0.10538021809370529</c:v>
                </c:pt>
                <c:pt idx="32">
                  <c:v>0.10990636655985894</c:v>
                </c:pt>
                <c:pt idx="33">
                  <c:v>0.12843782973397286</c:v>
                </c:pt>
                <c:pt idx="34">
                  <c:v>0.11184743137804785</c:v>
                </c:pt>
                <c:pt idx="35">
                  <c:v>0.12363982060506985</c:v>
                </c:pt>
                <c:pt idx="36">
                  <c:v>0.09416144205788532</c:v>
                </c:pt>
                <c:pt idx="37">
                  <c:v>0.11874145029347567</c:v>
                </c:pt>
                <c:pt idx="38">
                  <c:v>0.10841841097149862</c:v>
                </c:pt>
                <c:pt idx="39">
                  <c:v>0.12603726729549974</c:v>
                </c:pt>
                <c:pt idx="40">
                  <c:v>0.13047947606572993</c:v>
                </c:pt>
                <c:pt idx="41">
                  <c:v>0.12735109523042892</c:v>
                </c:pt>
                <c:pt idx="42">
                  <c:v>0.12764082652691175</c:v>
                </c:pt>
                <c:pt idx="43">
                  <c:v>0.142625679051558</c:v>
                </c:pt>
                <c:pt idx="44">
                  <c:v>0.13142135233910657</c:v>
                </c:pt>
                <c:pt idx="45">
                  <c:v>0.12446153404970052</c:v>
                </c:pt>
                <c:pt idx="46">
                  <c:v>0.10424422425306559</c:v>
                </c:pt>
                <c:pt idx="47">
                  <c:v>0.11024846731231894</c:v>
                </c:pt>
                <c:pt idx="48">
                  <c:v>0.12411717571513156</c:v>
                </c:pt>
                <c:pt idx="49">
                  <c:v>0.11901261978484007</c:v>
                </c:pt>
                <c:pt idx="50">
                  <c:v>0.14521206377804194</c:v>
                </c:pt>
                <c:pt idx="51">
                  <c:v>0.12342013197714001</c:v>
                </c:pt>
                <c:pt idx="52">
                  <c:v>0.06641490028661702</c:v>
                </c:pt>
                <c:pt idx="53">
                  <c:v>-0.00831074977677204</c:v>
                </c:pt>
                <c:pt idx="54">
                  <c:v>0.15661015172627954</c:v>
                </c:pt>
              </c:numCache>
            </c:numRef>
          </c:xVal>
          <c:yVal>
            <c:numRef>
              <c:f>Sheet1!$B$187:$B$241</c:f>
              <c:numCache>
                <c:formatCode>General</c:formatCode>
                <c:ptCount val="55"/>
                <c:pt idx="0">
                  <c:v>0.1447504369713693</c:v>
                </c:pt>
                <c:pt idx="1">
                  <c:v>0.14473018638445226</c:v>
                </c:pt>
                <c:pt idx="2">
                  <c:v>0.13891552594309742</c:v>
                </c:pt>
                <c:pt idx="3">
                  <c:v>0.13500825420995724</c:v>
                </c:pt>
                <c:pt idx="4">
                  <c:v>0.13427966550998904</c:v>
                </c:pt>
                <c:pt idx="5">
                  <c:v>0.13597378972989946</c:v>
                </c:pt>
                <c:pt idx="6">
                  <c:v>0.13732411122393828</c:v>
                </c:pt>
                <c:pt idx="7">
                  <c:v>0.13763871681251355</c:v>
                </c:pt>
                <c:pt idx="8">
                  <c:v>0.12751621937352436</c:v>
                </c:pt>
                <c:pt idx="9">
                  <c:v>0.13325490974506207</c:v>
                </c:pt>
                <c:pt idx="10">
                  <c:v>0.12816250159972536</c:v>
                </c:pt>
                <c:pt idx="11">
                  <c:v>0.1299410676166234</c:v>
                </c:pt>
                <c:pt idx="12">
                  <c:v>0.12122826728041257</c:v>
                </c:pt>
                <c:pt idx="13">
                  <c:v>0.12939946606810482</c:v>
                </c:pt>
                <c:pt idx="14">
                  <c:v>0.13322679092413442</c:v>
                </c:pt>
                <c:pt idx="15">
                  <c:v>0.13158212537737718</c:v>
                </c:pt>
                <c:pt idx="16">
                  <c:v>0.14121444371128195</c:v>
                </c:pt>
                <c:pt idx="17">
                  <c:v>0.14102865703474562</c:v>
                </c:pt>
                <c:pt idx="18">
                  <c:v>0.13653230728353788</c:v>
                </c:pt>
                <c:pt idx="19">
                  <c:v>0.12836561335715052</c:v>
                </c:pt>
                <c:pt idx="20">
                  <c:v>0.13246679950203963</c:v>
                </c:pt>
                <c:pt idx="21">
                  <c:v>0.14196386690710194</c:v>
                </c:pt>
                <c:pt idx="22">
                  <c:v>0.13870001235815255</c:v>
                </c:pt>
                <c:pt idx="23">
                  <c:v>0.13899328101273054</c:v>
                </c:pt>
                <c:pt idx="24">
                  <c:v>0.14127469343435758</c:v>
                </c:pt>
                <c:pt idx="25">
                  <c:v>0.1345892657143566</c:v>
                </c:pt>
                <c:pt idx="26">
                  <c:v>0.13875084074557972</c:v>
                </c:pt>
                <c:pt idx="27">
                  <c:v>0.1325280261942822</c:v>
                </c:pt>
                <c:pt idx="28">
                  <c:v>0.1299804370368154</c:v>
                </c:pt>
                <c:pt idx="29">
                  <c:v>0.1311426602592176</c:v>
                </c:pt>
                <c:pt idx="30">
                  <c:v>0.12686001696081148</c:v>
                </c:pt>
                <c:pt idx="31">
                  <c:v>0.13664104558924794</c:v>
                </c:pt>
                <c:pt idx="32">
                  <c:v>0.13556050259249228</c:v>
                </c:pt>
                <c:pt idx="33">
                  <c:v>0.13113642262645422</c:v>
                </c:pt>
                <c:pt idx="34">
                  <c:v>0.13509710550969062</c:v>
                </c:pt>
                <c:pt idx="35">
                  <c:v>0.13228186785463775</c:v>
                </c:pt>
                <c:pt idx="36">
                  <c:v>0.1393193425934947</c:v>
                </c:pt>
                <c:pt idx="37">
                  <c:v>0.13345127265328477</c:v>
                </c:pt>
                <c:pt idx="38">
                  <c:v>0.13591572734981283</c:v>
                </c:pt>
                <c:pt idx="39">
                  <c:v>0.13170951715717144</c:v>
                </c:pt>
                <c:pt idx="40">
                  <c:v>0.13064901337284068</c:v>
                </c:pt>
                <c:pt idx="41">
                  <c:v>0.13139586249368754</c:v>
                </c:pt>
                <c:pt idx="42">
                  <c:v>0.13132669394437976</c:v>
                </c:pt>
                <c:pt idx="43">
                  <c:v>0.1277493085417567</c:v>
                </c:pt>
                <c:pt idx="44">
                  <c:v>0.13042415600931892</c:v>
                </c:pt>
                <c:pt idx="45">
                  <c:v>0.13208569737667503</c:v>
                </c:pt>
                <c:pt idx="46">
                  <c:v>0.1369122453075161</c:v>
                </c:pt>
                <c:pt idx="47">
                  <c:v>0.13547883170276787</c:v>
                </c:pt>
                <c:pt idx="48">
                  <c:v>0.1321679072267441</c:v>
                </c:pt>
                <c:pt idx="49">
                  <c:v>0.1333865354275798</c:v>
                </c:pt>
                <c:pt idx="50">
                  <c:v>0.1271318520168511</c:v>
                </c:pt>
                <c:pt idx="51">
                  <c:v>0.13233431487668124</c:v>
                </c:pt>
                <c:pt idx="52">
                  <c:v>0.1459433699799871</c:v>
                </c:pt>
                <c:pt idx="53">
                  <c:v>0.16378288153331141</c:v>
                </c:pt>
                <c:pt idx="54">
                  <c:v>0.12441074726278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2451355396640613"/>
          <c:min val="0.0678191489361702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49.901</c:v>
                </c:pt>
                <c:pt idx="1">
                  <c:v>1082.3565</c:v>
                </c:pt>
                <c:pt idx="2">
                  <c:v>1124.1035</c:v>
                </c:pt>
                <c:pt idx="3">
                  <c:v>1146.5347</c:v>
                </c:pt>
                <c:pt idx="4">
                  <c:v>1130.1763</c:v>
                </c:pt>
                <c:pt idx="5">
                  <c:v>1105.023</c:v>
                </c:pt>
                <c:pt idx="6">
                  <c:v>1105.1221</c:v>
                </c:pt>
                <c:pt idx="7">
                  <c:v>1113.1498</c:v>
                </c:pt>
                <c:pt idx="8">
                  <c:v>1080.5584</c:v>
                </c:pt>
                <c:pt idx="9">
                  <c:v>1059.8794</c:v>
                </c:pt>
                <c:pt idx="10">
                  <c:v>1038.9795</c:v>
                </c:pt>
                <c:pt idx="11">
                  <c:v>1019.4065</c:v>
                </c:pt>
                <c:pt idx="12">
                  <c:v>1017.1836</c:v>
                </c:pt>
                <c:pt idx="13">
                  <c:v>1023.3967</c:v>
                </c:pt>
                <c:pt idx="14">
                  <c:v>1090.523</c:v>
                </c:pt>
                <c:pt idx="15">
                  <c:v>1087.4029</c:v>
                </c:pt>
                <c:pt idx="16">
                  <c:v>1091.2432</c:v>
                </c:pt>
                <c:pt idx="17">
                  <c:v>1123.6795</c:v>
                </c:pt>
                <c:pt idx="18">
                  <c:v>1167.6463</c:v>
                </c:pt>
                <c:pt idx="19">
                  <c:v>1230.7969</c:v>
                </c:pt>
                <c:pt idx="20">
                  <c:v>1201.432</c:v>
                </c:pt>
                <c:pt idx="21">
                  <c:v>1232.9026</c:v>
                </c:pt>
                <c:pt idx="22">
                  <c:v>1242.3718</c:v>
                </c:pt>
                <c:pt idx="23">
                  <c:v>1223.8813</c:v>
                </c:pt>
                <c:pt idx="24">
                  <c:v>1255.7362</c:v>
                </c:pt>
                <c:pt idx="25">
                  <c:v>1217.3693</c:v>
                </c:pt>
                <c:pt idx="26">
                  <c:v>1196.6121</c:v>
                </c:pt>
                <c:pt idx="27">
                  <c:v>1187.2168</c:v>
                </c:pt>
                <c:pt idx="28">
                  <c:v>1195.785</c:v>
                </c:pt>
                <c:pt idx="29">
                  <c:v>1196.9495</c:v>
                </c:pt>
                <c:pt idx="30">
                  <c:v>1229.775</c:v>
                </c:pt>
                <c:pt idx="31">
                  <c:v>1184.536</c:v>
                </c:pt>
                <c:pt idx="32">
                  <c:v>1233.4451</c:v>
                </c:pt>
                <c:pt idx="33">
                  <c:v>1218.4158</c:v>
                </c:pt>
                <c:pt idx="34">
                  <c:v>1239.2738</c:v>
                </c:pt>
                <c:pt idx="35">
                  <c:v>1246.5918</c:v>
                </c:pt>
                <c:pt idx="36">
                  <c:v>1271.3226</c:v>
                </c:pt>
                <c:pt idx="37">
                  <c:v>1363.7677</c:v>
                </c:pt>
                <c:pt idx="38">
                  <c:v>1406.2804</c:v>
                </c:pt>
                <c:pt idx="39">
                  <c:v>1353.3368</c:v>
                </c:pt>
                <c:pt idx="40">
                  <c:v>1390.4374</c:v>
                </c:pt>
                <c:pt idx="41">
                  <c:v>1342.9659</c:v>
                </c:pt>
                <c:pt idx="42">
                  <c:v>1422.3063</c:v>
                </c:pt>
                <c:pt idx="43">
                  <c:v>1434.9079</c:v>
                </c:pt>
                <c:pt idx="44">
                  <c:v>1281.4493</c:v>
                </c:pt>
                <c:pt idx="45">
                  <c:v>1220.6228</c:v>
                </c:pt>
                <c:pt idx="46">
                  <c:v>1219.899</c:v>
                </c:pt>
                <c:pt idx="47">
                  <c:v>1211.6559</c:v>
                </c:pt>
                <c:pt idx="48">
                  <c:v>1184.3372</c:v>
                </c:pt>
                <c:pt idx="49">
                  <c:v>1149.134</c:v>
                </c:pt>
                <c:pt idx="50">
                  <c:v>1168.6769</c:v>
                </c:pt>
                <c:pt idx="51">
                  <c:v>1197.1535</c:v>
                </c:pt>
                <c:pt idx="52">
                  <c:v>1180.7303</c:v>
                </c:pt>
                <c:pt idx="53">
                  <c:v>1360.6411</c:v>
                </c:pt>
                <c:pt idx="54">
                  <c:v>1378.9377</c:v>
                </c:pt>
                <c:pt idx="55">
                  <c:v>1387.1158</c:v>
                </c:pt>
                <c:pt idx="56">
                  <c:v>1355.198</c:v>
                </c:pt>
                <c:pt idx="57">
                  <c:v>1371.0023</c:v>
                </c:pt>
                <c:pt idx="58">
                  <c:v>1350.91</c:v>
                </c:pt>
                <c:pt idx="59">
                  <c:v>1323.6373</c:v>
                </c:pt>
                <c:pt idx="60">
                  <c:v>1302.8948</c:v>
                </c:pt>
                <c:pt idx="61">
                  <c:v>1271.64</c:v>
                </c:pt>
                <c:pt idx="62">
                  <c:v>1240.9083</c:v>
                </c:pt>
                <c:pt idx="63">
                  <c:v>1202.6249</c:v>
                </c:pt>
                <c:pt idx="64">
                  <c:v>1238.0049</c:v>
                </c:pt>
                <c:pt idx="65">
                  <c:v>1217.9824</c:v>
                </c:pt>
                <c:pt idx="66">
                  <c:v>1290.957</c:v>
                </c:pt>
                <c:pt idx="67">
                  <c:v>1347.8102</c:v>
                </c:pt>
                <c:pt idx="68">
                  <c:v>1361.1501</c:v>
                </c:pt>
                <c:pt idx="69">
                  <c:v>1395.0201</c:v>
                </c:pt>
                <c:pt idx="70">
                  <c:v>1408.913</c:v>
                </c:pt>
                <c:pt idx="71">
                  <c:v>1412.5888</c:v>
                </c:pt>
                <c:pt idx="72">
                  <c:v>1444.5319</c:v>
                </c:pt>
                <c:pt idx="73">
                  <c:v>1403.2792</c:v>
                </c:pt>
                <c:pt idx="74">
                  <c:v>1322.0719</c:v>
                </c:pt>
                <c:pt idx="75">
                  <c:v>1328.8297</c:v>
                </c:pt>
                <c:pt idx="76">
                  <c:v>1321.8799</c:v>
                </c:pt>
                <c:pt idx="77">
                  <c:v>1305.5613</c:v>
                </c:pt>
                <c:pt idx="78">
                  <c:v>1356.7642</c:v>
                </c:pt>
                <c:pt idx="79">
                  <c:v>1372.9262</c:v>
                </c:pt>
                <c:pt idx="80">
                  <c:v>1393.9536</c:v>
                </c:pt>
                <c:pt idx="81">
                  <c:v>1398.9075</c:v>
                </c:pt>
                <c:pt idx="82">
                  <c:v>1419.739</c:v>
                </c:pt>
                <c:pt idx="83">
                  <c:v>1406.2929</c:v>
                </c:pt>
                <c:pt idx="84">
                  <c:v>1398.6585</c:v>
                </c:pt>
                <c:pt idx="85">
                  <c:v>1398.6978</c:v>
                </c:pt>
                <c:pt idx="86">
                  <c:v>1323.1793</c:v>
                </c:pt>
                <c:pt idx="87">
                  <c:v>1340.5124</c:v>
                </c:pt>
                <c:pt idx="88">
                  <c:v>1331.3384</c:v>
                </c:pt>
                <c:pt idx="89">
                  <c:v>1300.314</c:v>
                </c:pt>
                <c:pt idx="90">
                  <c:v>1318.7637</c:v>
                </c:pt>
                <c:pt idx="91">
                  <c:v>1329.2147</c:v>
                </c:pt>
                <c:pt idx="92">
                  <c:v>1310.096</c:v>
                </c:pt>
                <c:pt idx="93">
                  <c:v>1310.3904</c:v>
                </c:pt>
                <c:pt idx="94">
                  <c:v>1344.8377</c:v>
                </c:pt>
                <c:pt idx="95">
                  <c:v>1290.0745</c:v>
                </c:pt>
                <c:pt idx="96">
                  <c:v>1221.1758</c:v>
                </c:pt>
                <c:pt idx="97">
                  <c:v>1255.3345</c:v>
                </c:pt>
                <c:pt idx="98">
                  <c:v>1230.5723</c:v>
                </c:pt>
                <c:pt idx="99">
                  <c:v>1216.8762</c:v>
                </c:pt>
                <c:pt idx="100">
                  <c:v>1190.8076</c:v>
                </c:pt>
                <c:pt idx="101">
                  <c:v>1260.7641</c:v>
                </c:pt>
                <c:pt idx="102">
                  <c:v>1268.1703</c:v>
                </c:pt>
                <c:pt idx="103">
                  <c:v>972.2173</c:v>
                </c:pt>
                <c:pt idx="104">
                  <c:v>1084.7652</c:v>
                </c:pt>
              </c:numCache>
            </c:numRef>
          </c:xVal>
          <c:yVal>
            <c:numRef>
              <c:f>Sheet1!$B$2:$B$106</c:f>
              <c:numCache>
                <c:formatCode>General</c:formatCode>
                <c:ptCount val="105"/>
                <c:pt idx="0">
                  <c:v>0.16057585825027684</c:v>
                </c:pt>
                <c:pt idx="1">
                  <c:v>0.16201461653605706</c:v>
                </c:pt>
                <c:pt idx="2">
                  <c:v>0.16815544709457592</c:v>
                </c:pt>
                <c:pt idx="3">
                  <c:v>0.1675101214574899</c:v>
                </c:pt>
                <c:pt idx="4">
                  <c:v>0.16358269951186286</c:v>
                </c:pt>
                <c:pt idx="5">
                  <c:v>0.1556230343780501</c:v>
                </c:pt>
                <c:pt idx="6">
                  <c:v>0.16230532895433838</c:v>
                </c:pt>
                <c:pt idx="7">
                  <c:v>0.15787518573551262</c:v>
                </c:pt>
                <c:pt idx="8">
                  <c:v>0.17640364188163885</c:v>
                </c:pt>
                <c:pt idx="9">
                  <c:v>0.16586492207042525</c:v>
                </c:pt>
                <c:pt idx="10">
                  <c:v>0.17921857304643263</c:v>
                </c:pt>
                <c:pt idx="11">
                  <c:v>0.1702827087442472</c:v>
                </c:pt>
                <c:pt idx="12">
                  <c:v>0.18709462830533843</c:v>
                </c:pt>
                <c:pt idx="13">
                  <c:v>0.17572223694672676</c:v>
                </c:pt>
                <c:pt idx="14">
                  <c:v>0.17798326728313518</c:v>
                </c:pt>
                <c:pt idx="15">
                  <c:v>0.17764082603524706</c:v>
                </c:pt>
                <c:pt idx="16">
                  <c:v>0.15985546972339895</c:v>
                </c:pt>
                <c:pt idx="17">
                  <c:v>0.16848926690968002</c:v>
                </c:pt>
                <c:pt idx="18">
                  <c:v>0.15017388555169142</c:v>
                </c:pt>
                <c:pt idx="19">
                  <c:v>0.12907336610231204</c:v>
                </c:pt>
                <c:pt idx="20">
                  <c:v>0.15121729925903524</c:v>
                </c:pt>
                <c:pt idx="21">
                  <c:v>0.1354559155990957</c:v>
                </c:pt>
                <c:pt idx="22">
                  <c:v>0.1201977938379612</c:v>
                </c:pt>
                <c:pt idx="23">
                  <c:v>0.12073490813648294</c:v>
                </c:pt>
                <c:pt idx="24">
                  <c:v>0.12777053455019557</c:v>
                </c:pt>
                <c:pt idx="25">
                  <c:v>0.12156357388316151</c:v>
                </c:pt>
                <c:pt idx="26">
                  <c:v>0.12521529452290733</c:v>
                </c:pt>
                <c:pt idx="27">
                  <c:v>0.12001951536835258</c:v>
                </c:pt>
                <c:pt idx="28">
                  <c:v>0.12959480253034708</c:v>
                </c:pt>
                <c:pt idx="29">
                  <c:v>0.1319796954314721</c:v>
                </c:pt>
                <c:pt idx="30">
                  <c:v>0.1111111111111111</c:v>
                </c:pt>
                <c:pt idx="31">
                  <c:v>0.10149942329873125</c:v>
                </c:pt>
                <c:pt idx="32">
                  <c:v>0.09518282066163668</c:v>
                </c:pt>
                <c:pt idx="33">
                  <c:v>0.102945688861614</c:v>
                </c:pt>
                <c:pt idx="34">
                  <c:v>0.10915882678472606</c:v>
                </c:pt>
                <c:pt idx="35">
                  <c:v>0.1316793893129771</c:v>
                </c:pt>
                <c:pt idx="36">
                  <c:v>0.12530120481927712</c:v>
                </c:pt>
                <c:pt idx="37">
                  <c:v>0.08573705179282869</c:v>
                </c:pt>
                <c:pt idx="38">
                  <c:v>0.08477393617021277</c:v>
                </c:pt>
                <c:pt idx="39">
                  <c:v>0.10365198711063373</c:v>
                </c:pt>
                <c:pt idx="40">
                  <c:v>0.1091844232182219</c:v>
                </c:pt>
                <c:pt idx="41">
                  <c:v>0.11530003141690229</c:v>
                </c:pt>
                <c:pt idx="42">
                  <c:v>0.10209808900173727</c:v>
                </c:pt>
                <c:pt idx="43">
                  <c:v>0.1134453781512605</c:v>
                </c:pt>
                <c:pt idx="44">
                  <c:v>0.11082598235765838</c:v>
                </c:pt>
                <c:pt idx="45">
                  <c:v>0.1320560058953574</c:v>
                </c:pt>
                <c:pt idx="46">
                  <c:v>0.1321151475600029</c:v>
                </c:pt>
                <c:pt idx="47">
                  <c:v>0.13707391525546914</c:v>
                </c:pt>
                <c:pt idx="48">
                  <c:v>0.14307180422882904</c:v>
                </c:pt>
                <c:pt idx="49">
                  <c:v>0.16854580166420519</c:v>
                </c:pt>
                <c:pt idx="50">
                  <c:v>0.1434755288696502</c:v>
                </c:pt>
                <c:pt idx="51">
                  <c:v>0.14537214572076</c:v>
                </c:pt>
                <c:pt idx="52">
                  <c:v>0.14436750800387163</c:v>
                </c:pt>
                <c:pt idx="53">
                  <c:v>0.12695501061981077</c:v>
                </c:pt>
                <c:pt idx="54">
                  <c:v>0.11626442812172089</c:v>
                </c:pt>
                <c:pt idx="55">
                  <c:v>0.11953029799490418</c:v>
                </c:pt>
                <c:pt idx="56">
                  <c:v>0.14832100170745588</c:v>
                </c:pt>
                <c:pt idx="57">
                  <c:v>0.1323008401660087</c:v>
                </c:pt>
                <c:pt idx="58">
                  <c:v>0.1394291946918742</c:v>
                </c:pt>
                <c:pt idx="59">
                  <c:v>0.13655413271245634</c:v>
                </c:pt>
                <c:pt idx="60">
                  <c:v>0.15693112467306017</c:v>
                </c:pt>
                <c:pt idx="61">
                  <c:v>0.16839008735960065</c:v>
                </c:pt>
                <c:pt idx="62">
                  <c:v>0.16058583932749804</c:v>
                </c:pt>
                <c:pt idx="63">
                  <c:v>0.17314514885084065</c:v>
                </c:pt>
                <c:pt idx="64">
                  <c:v>0.14845345783484096</c:v>
                </c:pt>
                <c:pt idx="65">
                  <c:v>0.1556811048336472</c:v>
                </c:pt>
                <c:pt idx="66">
                  <c:v>0.1469521962735014</c:v>
                </c:pt>
                <c:pt idx="67">
                  <c:v>0.14144736842105263</c:v>
                </c:pt>
                <c:pt idx="68">
                  <c:v>0.12576821773485514</c:v>
                </c:pt>
                <c:pt idx="69">
                  <c:v>0.11633663366336634</c:v>
                </c:pt>
                <c:pt idx="70">
                  <c:v>0.11216472500677323</c:v>
                </c:pt>
                <c:pt idx="71">
                  <c:v>0.12079353416605437</c:v>
                </c:pt>
                <c:pt idx="72">
                  <c:v>0.12347022028827849</c:v>
                </c:pt>
                <c:pt idx="73">
                  <c:v>0.13430180847909873</c:v>
                </c:pt>
                <c:pt idx="74">
                  <c:v>0.13287710293698318</c:v>
                </c:pt>
                <c:pt idx="75">
                  <c:v>0.12062448644207066</c:v>
                </c:pt>
                <c:pt idx="76">
                  <c:v>0.12040816326530612</c:v>
                </c:pt>
                <c:pt idx="77">
                  <c:v>0.11754101316026681</c:v>
                </c:pt>
                <c:pt idx="78">
                  <c:v>0.11908783783783784</c:v>
                </c:pt>
                <c:pt idx="79">
                  <c:v>0.11004152510381277</c:v>
                </c:pt>
                <c:pt idx="80">
                  <c:v>0.09904214559386973</c:v>
                </c:pt>
                <c:pt idx="81">
                  <c:v>0.10338545620160923</c:v>
                </c:pt>
                <c:pt idx="82">
                  <c:v>0.0958614051973051</c:v>
                </c:pt>
                <c:pt idx="83">
                  <c:v>0.08653846153846154</c:v>
                </c:pt>
                <c:pt idx="84">
                  <c:v>0.09471724458924831</c:v>
                </c:pt>
                <c:pt idx="85">
                  <c:v>0.09723102938068062</c:v>
                </c:pt>
                <c:pt idx="86">
                  <c:v>0.10944206008583691</c:v>
                </c:pt>
                <c:pt idx="87">
                  <c:v>0.12922173274596183</c:v>
                </c:pt>
                <c:pt idx="88">
                  <c:v>0.12578179291174427</c:v>
                </c:pt>
                <c:pt idx="89">
                  <c:v>0.1274</c:v>
                </c:pt>
                <c:pt idx="90">
                  <c:v>0.12230362230362231</c:v>
                </c:pt>
                <c:pt idx="91">
                  <c:v>0.10922962411611463</c:v>
                </c:pt>
                <c:pt idx="92">
                  <c:v>0.12279895881182055</c:v>
                </c:pt>
                <c:pt idx="93">
                  <c:v>0.11488060570762959</c:v>
                </c:pt>
                <c:pt idx="94">
                  <c:v>0.10578324963550947</c:v>
                </c:pt>
                <c:pt idx="95">
                  <c:v>0.12292062074355253</c:v>
                </c:pt>
                <c:pt idx="96">
                  <c:v>0.10617347375631475</c:v>
                </c:pt>
                <c:pt idx="97">
                  <c:v>0.10788412174550789</c:v>
                </c:pt>
                <c:pt idx="98">
                  <c:v>0.12512833675564683</c:v>
                </c:pt>
                <c:pt idx="99">
                  <c:v>0.12247659862411188</c:v>
                </c:pt>
                <c:pt idx="100">
                  <c:v>0.147947659475037</c:v>
                </c:pt>
                <c:pt idx="101">
                  <c:v>0.13798261860663913</c:v>
                </c:pt>
                <c:pt idx="102">
                  <c:v>0.12343708433093908</c:v>
                </c:pt>
                <c:pt idx="103">
                  <c:v>0.15909635187993934</c:v>
                </c:pt>
                <c:pt idx="104">
                  <c:v>0.15484914818692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6.73</c:v>
                </c:pt>
                <c:pt idx="1">
                  <c:v>1169.1888</c:v>
                </c:pt>
                <c:pt idx="2">
                  <c:v>1174.6758</c:v>
                </c:pt>
                <c:pt idx="3">
                  <c:v>1244.8327</c:v>
                </c:pt>
                <c:pt idx="4">
                  <c:v>1214.4961</c:v>
                </c:pt>
                <c:pt idx="5">
                  <c:v>1218.3232</c:v>
                </c:pt>
                <c:pt idx="6">
                  <c:v>1184.2079</c:v>
                </c:pt>
                <c:pt idx="7">
                  <c:v>1261.4607</c:v>
                </c:pt>
                <c:pt idx="8">
                  <c:v>1359.512</c:v>
                </c:pt>
                <c:pt idx="9">
                  <c:v>1279.3928</c:v>
                </c:pt>
                <c:pt idx="10">
                  <c:v>1316.9447</c:v>
                </c:pt>
                <c:pt idx="11">
                  <c:v>1274.5931</c:v>
                </c:pt>
                <c:pt idx="12">
                  <c:v>1324.0195</c:v>
                </c:pt>
                <c:pt idx="13">
                  <c:v>1332.6736</c:v>
                </c:pt>
                <c:pt idx="14">
                  <c:v>1342.5743</c:v>
                </c:pt>
                <c:pt idx="15">
                  <c:v>1334.8688</c:v>
                </c:pt>
                <c:pt idx="16">
                  <c:v>1333.391</c:v>
                </c:pt>
                <c:pt idx="17">
                  <c:v>1258.8343</c:v>
                </c:pt>
                <c:pt idx="18">
                  <c:v>1310.7956</c:v>
                </c:pt>
                <c:pt idx="19">
                  <c:v>1380.1648</c:v>
                </c:pt>
                <c:pt idx="20">
                  <c:v>1371.5577</c:v>
                </c:pt>
                <c:pt idx="21">
                  <c:v>1299.1835</c:v>
                </c:pt>
                <c:pt idx="22">
                  <c:v>1268.5699</c:v>
                </c:pt>
                <c:pt idx="23">
                  <c:v>1205.8499</c:v>
                </c:pt>
                <c:pt idx="24">
                  <c:v>1224.4946</c:v>
                </c:pt>
                <c:pt idx="25">
                  <c:v>1225.9399</c:v>
                </c:pt>
                <c:pt idx="26">
                  <c:v>1243.6838</c:v>
                </c:pt>
                <c:pt idx="27">
                  <c:v>1326.9279</c:v>
                </c:pt>
                <c:pt idx="28">
                  <c:v>1376.3419</c:v>
                </c:pt>
                <c:pt idx="29">
                  <c:v>1379.7222</c:v>
                </c:pt>
                <c:pt idx="30">
                  <c:v>1383.8476</c:v>
                </c:pt>
                <c:pt idx="31">
                  <c:v>1283.2434</c:v>
                </c:pt>
                <c:pt idx="32">
                  <c:v>1264.3909</c:v>
                </c:pt>
                <c:pt idx="33">
                  <c:v>1307.325</c:v>
                </c:pt>
                <c:pt idx="34">
                  <c:v>1341.3356</c:v>
                </c:pt>
                <c:pt idx="35">
                  <c:v>1324.0476</c:v>
                </c:pt>
                <c:pt idx="36">
                  <c:v>1265.2716</c:v>
                </c:pt>
                <c:pt idx="37">
                  <c:v>1385.6596</c:v>
                </c:pt>
                <c:pt idx="38">
                  <c:v>1415.0771</c:v>
                </c:pt>
                <c:pt idx="39">
                  <c:v>1372.0837</c:v>
                </c:pt>
                <c:pt idx="40">
                  <c:v>1369.7083</c:v>
                </c:pt>
                <c:pt idx="41">
                  <c:v>1421.5735</c:v>
                </c:pt>
                <c:pt idx="42">
                  <c:v>1395.4467</c:v>
                </c:pt>
                <c:pt idx="43">
                  <c:v>1390.4239</c:v>
                </c:pt>
                <c:pt idx="44">
                  <c:v>1319.0917</c:v>
                </c:pt>
                <c:pt idx="45">
                  <c:v>1249.522</c:v>
                </c:pt>
                <c:pt idx="46">
                  <c:v>1230.5098</c:v>
                </c:pt>
                <c:pt idx="47">
                  <c:v>1237.0791</c:v>
                </c:pt>
                <c:pt idx="48">
                  <c:v>1206.8088</c:v>
                </c:pt>
                <c:pt idx="49">
                  <c:v>1206.5624</c:v>
                </c:pt>
                <c:pt idx="50">
                  <c:v>1118.7765</c:v>
                </c:pt>
                <c:pt idx="51">
                  <c:v>1095.203</c:v>
                </c:pt>
              </c:numCache>
            </c:numRef>
          </c:xVal>
          <c:yVal>
            <c:numRef>
              <c:f>Sheet1!$B$109:$B$160</c:f>
              <c:numCache>
                <c:formatCode>General</c:formatCode>
                <c:ptCount val="52"/>
                <c:pt idx="0">
                  <c:v>0.14738564906538032</c:v>
                </c:pt>
                <c:pt idx="1">
                  <c:v>0.15820241139934235</c:v>
                </c:pt>
                <c:pt idx="2">
                  <c:v>0.155122832963602</c:v>
                </c:pt>
                <c:pt idx="3">
                  <c:v>0.14606556023449757</c:v>
                </c:pt>
                <c:pt idx="4">
                  <c:v>0.15232147705674723</c:v>
                </c:pt>
                <c:pt idx="5">
                  <c:v>0.13824333561175667</c:v>
                </c:pt>
                <c:pt idx="6">
                  <c:v>0.13981865943564104</c:v>
                </c:pt>
                <c:pt idx="7">
                  <c:v>0.13740808823529413</c:v>
                </c:pt>
                <c:pt idx="8">
                  <c:v>0.13892231581762268</c:v>
                </c:pt>
                <c:pt idx="9">
                  <c:v>0.15934785195763418</c:v>
                </c:pt>
                <c:pt idx="10">
                  <c:v>0.15144561725562183</c:v>
                </c:pt>
                <c:pt idx="11">
                  <c:v>0.14083691696989745</c:v>
                </c:pt>
                <c:pt idx="12">
                  <c:v>0.1321745774042594</c:v>
                </c:pt>
                <c:pt idx="13">
                  <c:v>0.1365883183698174</c:v>
                </c:pt>
                <c:pt idx="14">
                  <c:v>0.1381951381951382</c:v>
                </c:pt>
                <c:pt idx="15">
                  <c:v>0.1360841806573658</c:v>
                </c:pt>
                <c:pt idx="16">
                  <c:v>0.1254810335349093</c:v>
                </c:pt>
                <c:pt idx="17">
                  <c:v>0.12621776504297993</c:v>
                </c:pt>
                <c:pt idx="18">
                  <c:v>0.11229412743303943</c:v>
                </c:pt>
                <c:pt idx="19">
                  <c:v>0.12355151894769809</c:v>
                </c:pt>
                <c:pt idx="20">
                  <c:v>0.12052059190586557</c:v>
                </c:pt>
                <c:pt idx="21">
                  <c:v>0.14171180931744312</c:v>
                </c:pt>
                <c:pt idx="22">
                  <c:v>0.14269886993130956</c:v>
                </c:pt>
                <c:pt idx="23">
                  <c:v>0.15536971830985916</c:v>
                </c:pt>
                <c:pt idx="24">
                  <c:v>0.16143691841592728</c:v>
                </c:pt>
                <c:pt idx="25">
                  <c:v>0.15340055782021025</c:v>
                </c:pt>
                <c:pt idx="26">
                  <c:v>0.14239350912778906</c:v>
                </c:pt>
                <c:pt idx="27">
                  <c:v>0.11861086375779163</c:v>
                </c:pt>
                <c:pt idx="28">
                  <c:v>0.11771640282923543</c:v>
                </c:pt>
                <c:pt idx="29">
                  <c:v>0.11508491508491508</c:v>
                </c:pt>
                <c:pt idx="30">
                  <c:v>0.11899541558700419</c:v>
                </c:pt>
                <c:pt idx="31">
                  <c:v>0.11476179300633654</c:v>
                </c:pt>
                <c:pt idx="32">
                  <c:v>0.1194745621351126</c:v>
                </c:pt>
                <c:pt idx="33">
                  <c:v>0.13029262710478992</c:v>
                </c:pt>
                <c:pt idx="34">
                  <c:v>0.14494199825371087</c:v>
                </c:pt>
                <c:pt idx="35">
                  <c:v>0.15017513134851138</c:v>
                </c:pt>
                <c:pt idx="36">
                  <c:v>0.1539000467071462</c:v>
                </c:pt>
                <c:pt idx="37">
                  <c:v>0.1288214210415349</c:v>
                </c:pt>
                <c:pt idx="38">
                  <c:v>0.1261239368165249</c:v>
                </c:pt>
                <c:pt idx="39">
                  <c:v>0.1269371408671426</c:v>
                </c:pt>
                <c:pt idx="40">
                  <c:v>0.11879242586638085</c:v>
                </c:pt>
                <c:pt idx="41">
                  <c:v>0.11385414974825402</c:v>
                </c:pt>
                <c:pt idx="42">
                  <c:v>0.11941675895164268</c:v>
                </c:pt>
                <c:pt idx="43">
                  <c:v>0.11784186559955843</c:v>
                </c:pt>
                <c:pt idx="44">
                  <c:v>0.114878020845264</c:v>
                </c:pt>
                <c:pt idx="45">
                  <c:v>0.12560856864654332</c:v>
                </c:pt>
                <c:pt idx="46">
                  <c:v>0.12174601603484114</c:v>
                </c:pt>
                <c:pt idx="47">
                  <c:v>0.12042835103003903</c:v>
                </c:pt>
                <c:pt idx="48">
                  <c:v>0.10626581336508409</c:v>
                </c:pt>
                <c:pt idx="49">
                  <c:v>0.12005996184246388</c:v>
                </c:pt>
                <c:pt idx="50">
                  <c:v>0.15653799919861092</c:v>
                </c:pt>
                <c:pt idx="51">
                  <c:v>0.1549726424203411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11.5644161346714</c:v>
                </c:pt>
              </c:numCache>
            </c:numRef>
          </c:xVal>
          <c:yVal>
            <c:numRef>
              <c:f>Sheet1!$B$163:$B$164</c:f>
              <c:numCache>
                <c:formatCode>General</c:formatCode>
                <c:ptCount val="2"/>
                <c:pt idx="0">
                  <c:v>0.16378288153331141</c:v>
                </c:pt>
                <c:pt idx="1">
                  <c:v>0.16378288153331141</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11.5644161346714</c:v>
                </c:pt>
                <c:pt idx="1">
                  <c:v>1011.5644161346714</c:v>
                </c:pt>
              </c:numCache>
            </c:numRef>
          </c:xVal>
          <c:yVal>
            <c:numRef>
              <c:f>Sheet1!$B$167:$B$168</c:f>
              <c:numCache>
                <c:formatCode>General</c:formatCode>
                <c:ptCount val="2"/>
                <c:pt idx="0">
                  <c:v>0.1637828815333114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77.8908111730682</c:v>
                </c:pt>
              </c:numCache>
            </c:numRef>
          </c:xVal>
          <c:yVal>
            <c:numRef>
              <c:f>Sheet1!$B$171:$B$172</c:f>
              <c:numCache>
                <c:formatCode>General</c:formatCode>
                <c:ptCount val="2"/>
                <c:pt idx="0">
                  <c:v>0.1459433699799871</c:v>
                </c:pt>
                <c:pt idx="1">
                  <c:v>0.145943369979987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77.8908111730682</c:v>
                </c:pt>
                <c:pt idx="1">
                  <c:v>1177.8908111730682</c:v>
                </c:pt>
              </c:numCache>
            </c:numRef>
          </c:xVal>
          <c:yVal>
            <c:numRef>
              <c:f>Sheet1!$B$175:$B$176</c:f>
              <c:numCache>
                <c:formatCode>General</c:formatCode>
                <c:ptCount val="2"/>
                <c:pt idx="0">
                  <c:v>0.145943369979987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78.6498679201811</c:v>
                </c:pt>
              </c:numCache>
            </c:numRef>
          </c:xVal>
          <c:yVal>
            <c:numRef>
              <c:f>Sheet1!$B$179:$B$180</c:f>
              <c:numCache>
                <c:formatCode>General</c:formatCode>
                <c:ptCount val="2"/>
                <c:pt idx="0">
                  <c:v>0.124410747262782</c:v>
                </c:pt>
                <c:pt idx="1">
                  <c:v>0.12441074726278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78.6498679201811</c:v>
                </c:pt>
                <c:pt idx="1">
                  <c:v>1378.6498679201811</c:v>
                </c:pt>
              </c:numCache>
            </c:numRef>
          </c:xVal>
          <c:yVal>
            <c:numRef>
              <c:f>Sheet1!$B$183:$B$184</c:f>
              <c:numCache>
                <c:formatCode>General</c:formatCode>
                <c:ptCount val="2"/>
                <c:pt idx="0">
                  <c:v>0.12441074726278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6.73</c:v>
                </c:pt>
                <c:pt idx="1">
                  <c:v>1169.1888</c:v>
                </c:pt>
                <c:pt idx="2">
                  <c:v>1174.6758</c:v>
                </c:pt>
                <c:pt idx="3">
                  <c:v>1244.8327</c:v>
                </c:pt>
                <c:pt idx="4">
                  <c:v>1214.4961</c:v>
                </c:pt>
                <c:pt idx="5">
                  <c:v>1218.3232</c:v>
                </c:pt>
                <c:pt idx="6">
                  <c:v>1184.2079</c:v>
                </c:pt>
                <c:pt idx="7">
                  <c:v>1261.4607</c:v>
                </c:pt>
                <c:pt idx="8">
                  <c:v>1359.512</c:v>
                </c:pt>
                <c:pt idx="9">
                  <c:v>1279.3928</c:v>
                </c:pt>
                <c:pt idx="10">
                  <c:v>1316.9447</c:v>
                </c:pt>
                <c:pt idx="11">
                  <c:v>1274.5931</c:v>
                </c:pt>
                <c:pt idx="12">
                  <c:v>1324.0195</c:v>
                </c:pt>
                <c:pt idx="13">
                  <c:v>1332.6736</c:v>
                </c:pt>
                <c:pt idx="14">
                  <c:v>1342.5743</c:v>
                </c:pt>
                <c:pt idx="15">
                  <c:v>1334.8688</c:v>
                </c:pt>
                <c:pt idx="16">
                  <c:v>1333.391</c:v>
                </c:pt>
                <c:pt idx="17">
                  <c:v>1258.8343</c:v>
                </c:pt>
                <c:pt idx="18">
                  <c:v>1310.7956</c:v>
                </c:pt>
                <c:pt idx="19">
                  <c:v>1380.1648</c:v>
                </c:pt>
                <c:pt idx="20">
                  <c:v>1371.5577</c:v>
                </c:pt>
                <c:pt idx="21">
                  <c:v>1299.1835</c:v>
                </c:pt>
                <c:pt idx="22">
                  <c:v>1268.5699</c:v>
                </c:pt>
                <c:pt idx="23">
                  <c:v>1205.8499</c:v>
                </c:pt>
                <c:pt idx="24">
                  <c:v>1224.4946</c:v>
                </c:pt>
                <c:pt idx="25">
                  <c:v>1225.9399</c:v>
                </c:pt>
                <c:pt idx="26">
                  <c:v>1243.6838</c:v>
                </c:pt>
                <c:pt idx="27">
                  <c:v>1326.9279</c:v>
                </c:pt>
                <c:pt idx="28">
                  <c:v>1376.3419</c:v>
                </c:pt>
                <c:pt idx="29">
                  <c:v>1379.7222</c:v>
                </c:pt>
                <c:pt idx="30">
                  <c:v>1383.8476</c:v>
                </c:pt>
                <c:pt idx="31">
                  <c:v>1283.2434</c:v>
                </c:pt>
                <c:pt idx="32">
                  <c:v>1264.3909</c:v>
                </c:pt>
                <c:pt idx="33">
                  <c:v>1307.325</c:v>
                </c:pt>
                <c:pt idx="34">
                  <c:v>1341.3356</c:v>
                </c:pt>
                <c:pt idx="35">
                  <c:v>1324.0476</c:v>
                </c:pt>
                <c:pt idx="36">
                  <c:v>1265.2716</c:v>
                </c:pt>
                <c:pt idx="37">
                  <c:v>1385.6596</c:v>
                </c:pt>
                <c:pt idx="38">
                  <c:v>1415.0771</c:v>
                </c:pt>
                <c:pt idx="39">
                  <c:v>1372.0837</c:v>
                </c:pt>
                <c:pt idx="40">
                  <c:v>1369.7083</c:v>
                </c:pt>
                <c:pt idx="41">
                  <c:v>1421.5735</c:v>
                </c:pt>
                <c:pt idx="42">
                  <c:v>1395.4467</c:v>
                </c:pt>
                <c:pt idx="43">
                  <c:v>1390.4239</c:v>
                </c:pt>
                <c:pt idx="44">
                  <c:v>1319.0917</c:v>
                </c:pt>
                <c:pt idx="45">
                  <c:v>1249.522</c:v>
                </c:pt>
                <c:pt idx="46">
                  <c:v>1230.5098</c:v>
                </c:pt>
                <c:pt idx="47">
                  <c:v>1237.0791</c:v>
                </c:pt>
                <c:pt idx="48">
                  <c:v>1206.8088</c:v>
                </c:pt>
                <c:pt idx="49">
                  <c:v>1206.5624</c:v>
                </c:pt>
                <c:pt idx="50">
                  <c:v>1118.7765</c:v>
                </c:pt>
                <c:pt idx="51">
                  <c:v>1095.203</c:v>
                </c:pt>
                <c:pt idx="52">
                  <c:v>1177.8908111730682</c:v>
                </c:pt>
                <c:pt idx="53">
                  <c:v>1011.5644161346714</c:v>
                </c:pt>
                <c:pt idx="54">
                  <c:v>1378.6498679201811</c:v>
                </c:pt>
              </c:numCache>
            </c:numRef>
          </c:xVal>
          <c:yVal>
            <c:numRef>
              <c:f>Sheet1!$B$187:$B$241</c:f>
              <c:numCache>
                <c:formatCode>General</c:formatCode>
                <c:ptCount val="55"/>
                <c:pt idx="0">
                  <c:v>0.14285019260337298</c:v>
                </c:pt>
                <c:pt idx="1">
                  <c:v>0.14687671329463822</c:v>
                </c:pt>
                <c:pt idx="2">
                  <c:v>0.14628819936772666</c:v>
                </c:pt>
                <c:pt idx="3">
                  <c:v>0.13876344764202195</c:v>
                </c:pt>
                <c:pt idx="4">
                  <c:v>0.14201723142098044</c:v>
                </c:pt>
                <c:pt idx="5">
                  <c:v>0.14160675180558346</c:v>
                </c:pt>
                <c:pt idx="6">
                  <c:v>0.1452658240072904</c:v>
                </c:pt>
                <c:pt idx="7">
                  <c:v>0.1369799941015289</c:v>
                </c:pt>
                <c:pt idx="8">
                  <c:v>0.12646339931352388</c:v>
                </c:pt>
                <c:pt idx="9">
                  <c:v>0.13505666795085078</c:v>
                </c:pt>
                <c:pt idx="10">
                  <c:v>0.13102899961988845</c:v>
                </c:pt>
                <c:pt idx="11">
                  <c:v>0.1355714647970322</c:v>
                </c:pt>
                <c:pt idx="12">
                  <c:v>0.13027018454241188</c:v>
                </c:pt>
                <c:pt idx="13">
                  <c:v>0.1293419799907652</c:v>
                </c:pt>
                <c:pt idx="14">
                  <c:v>0.12828007005160477</c:v>
                </c:pt>
                <c:pt idx="15">
                  <c:v>0.129106531517582</c:v>
                </c:pt>
                <c:pt idx="16">
                  <c:v>0.1292650345030367</c:v>
                </c:pt>
                <c:pt idx="17">
                  <c:v>0.13726169138194452</c:v>
                </c:pt>
                <c:pt idx="18">
                  <c:v>0.13168852777515944</c:v>
                </c:pt>
                <c:pt idx="19">
                  <c:v>0.1242482616372492</c:v>
                </c:pt>
                <c:pt idx="20">
                  <c:v>0.12517142515471238</c:v>
                </c:pt>
                <c:pt idx="21">
                  <c:v>0.132933995712227</c:v>
                </c:pt>
                <c:pt idx="22">
                  <c:v>0.1362174894160542</c:v>
                </c:pt>
                <c:pt idx="23">
                  <c:v>0.14294458864986012</c:v>
                </c:pt>
                <c:pt idx="24">
                  <c:v>0.1409448318404765</c:v>
                </c:pt>
                <c:pt idx="25">
                  <c:v>0.14078981467653165</c:v>
                </c:pt>
                <c:pt idx="26">
                  <c:v>0.13888667411379682</c:v>
                </c:pt>
                <c:pt idx="27">
                  <c:v>0.1299582410568953</c:v>
                </c:pt>
                <c:pt idx="28">
                  <c:v>0.12465829077725107</c:v>
                </c:pt>
                <c:pt idx="29">
                  <c:v>0.12429573316341125</c:v>
                </c:pt>
                <c:pt idx="30">
                  <c:v>0.12385325906935601</c:v>
                </c:pt>
                <c:pt idx="31">
                  <c:v>0.13464366781836204</c:v>
                </c:pt>
                <c:pt idx="32">
                  <c:v>0.1366657124341995</c:v>
                </c:pt>
                <c:pt idx="33">
                  <c:v>0.13206077060999435</c:v>
                </c:pt>
                <c:pt idx="34">
                  <c:v>0.1284129281163515</c:v>
                </c:pt>
                <c:pt idx="35">
                  <c:v>0.13026717064750643</c:v>
                </c:pt>
                <c:pt idx="36">
                  <c:v>0.13657125203408452</c:v>
                </c:pt>
                <c:pt idx="37">
                  <c:v>0.12365891111317528</c:v>
                </c:pt>
                <c:pt idx="38">
                  <c:v>0.12050370636651575</c:v>
                </c:pt>
                <c:pt idx="39">
                  <c:v>0.1251150084742758</c:v>
                </c:pt>
                <c:pt idx="40">
                  <c:v>0.12536978448703062</c:v>
                </c:pt>
                <c:pt idx="41">
                  <c:v>0.11980692818631011</c:v>
                </c:pt>
                <c:pt idx="42">
                  <c:v>0.12260918546089239</c:v>
                </c:pt>
                <c:pt idx="43">
                  <c:v>0.12314791113103846</c:v>
                </c:pt>
                <c:pt idx="44">
                  <c:v>0.1307987208881445</c:v>
                </c:pt>
                <c:pt idx="45">
                  <c:v>0.13826049186336944</c:v>
                </c:pt>
                <c:pt idx="46">
                  <c:v>0.14029966526982612</c:v>
                </c:pt>
                <c:pt idx="47">
                  <c:v>0.1395950681238338</c:v>
                </c:pt>
                <c:pt idx="48">
                  <c:v>0.14284174082691214</c:v>
                </c:pt>
                <c:pt idx="49">
                  <c:v>0.14286816871675923</c:v>
                </c:pt>
                <c:pt idx="50">
                  <c:v>0.15228373728546085</c:v>
                </c:pt>
                <c:pt idx="51">
                  <c:v>0.15481213769662353</c:v>
                </c:pt>
                <c:pt idx="52">
                  <c:v>0.1459433699799871</c:v>
                </c:pt>
                <c:pt idx="53">
                  <c:v>0.16378288153331141</c:v>
                </c:pt>
                <c:pt idx="54">
                  <c:v>0.12441074726278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33.0"/>
          <c:min val="76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2451355396640613"/>
          <c:min val="0.0678191489361702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619519163763066</c:v>
                </c:pt>
                <c:pt idx="1">
                  <c:v>0.7542554006968641</c:v>
                </c:pt>
                <c:pt idx="2">
                  <c:v>0.8163424110384895</c:v>
                </c:pt>
                <c:pt idx="3">
                  <c:v>0.7399384962891254</c:v>
                </c:pt>
                <c:pt idx="4">
                  <c:v>0.5625566450970633</c:v>
                </c:pt>
                <c:pt idx="5">
                  <c:v>1.204384741144414</c:v>
                </c:pt>
                <c:pt idx="6">
                  <c:v>0.8586807303807305</c:v>
                </c:pt>
                <c:pt idx="7">
                  <c:v>0.7917139402560455</c:v>
                </c:pt>
                <c:pt idx="8">
                  <c:v>0.8688488644103761</c:v>
                </c:pt>
                <c:pt idx="9">
                  <c:v>0.7385919163763066</c:v>
                </c:pt>
                <c:pt idx="10">
                  <c:v>0.6787757909674261</c:v>
                </c:pt>
                <c:pt idx="11">
                  <c:v>0.7399872967479676</c:v>
                </c:pt>
                <c:pt idx="12">
                  <c:v>0.7564109313998885</c:v>
                </c:pt>
                <c:pt idx="13">
                  <c:v>0.7428837833914054</c:v>
                </c:pt>
                <c:pt idx="14">
                  <c:v>0.7379617661986126</c:v>
                </c:pt>
                <c:pt idx="15">
                  <c:v>0.6686224158356716</c:v>
                </c:pt>
                <c:pt idx="16">
                  <c:v>0.768210630059838</c:v>
                </c:pt>
                <c:pt idx="17">
                  <c:v>0.7830519163763066</c:v>
                </c:pt>
                <c:pt idx="18">
                  <c:v>0.5812077152812345</c:v>
                </c:pt>
                <c:pt idx="19">
                  <c:v>0.8576981881533101</c:v>
                </c:pt>
                <c:pt idx="20">
                  <c:v>0.9138681309871164</c:v>
                </c:pt>
                <c:pt idx="21">
                  <c:v>0.4997578435346574</c:v>
                </c:pt>
                <c:pt idx="22">
                  <c:v>1.0170870241506345</c:v>
                </c:pt>
                <c:pt idx="23">
                  <c:v>1.1009426656389005</c:v>
                </c:pt>
                <c:pt idx="24">
                  <c:v>1.315825613546127</c:v>
                </c:pt>
                <c:pt idx="25">
                  <c:v>1.6145481432360744</c:v>
                </c:pt>
                <c:pt idx="26">
                  <c:v>0.9868965773195877</c:v>
                </c:pt>
                <c:pt idx="27">
                  <c:v>0.5909491289198606</c:v>
                </c:pt>
                <c:pt idx="28">
                  <c:v>0.5675296630280019</c:v>
                </c:pt>
                <c:pt idx="29">
                  <c:v>0.9238097266835675</c:v>
                </c:pt>
                <c:pt idx="30">
                  <c:v>0.9522067363530778</c:v>
                </c:pt>
                <c:pt idx="31">
                  <c:v>0.8515715312724659</c:v>
                </c:pt>
                <c:pt idx="32">
                  <c:v>0.7162863530778164</c:v>
                </c:pt>
                <c:pt idx="33">
                  <c:v>0.849070243902439</c:v>
                </c:pt>
                <c:pt idx="34">
                  <c:v>0.8054205631408023</c:v>
                </c:pt>
                <c:pt idx="35">
                  <c:v>0.9550963836959852</c:v>
                </c:pt>
                <c:pt idx="36">
                  <c:v>0.8997329087048832</c:v>
                </c:pt>
                <c:pt idx="37">
                  <c:v>0.7288977552111171</c:v>
                </c:pt>
                <c:pt idx="38">
                  <c:v>1.1009502374987015</c:v>
                </c:pt>
                <c:pt idx="39">
                  <c:v>1.2461664825046042</c:v>
                </c:pt>
                <c:pt idx="40">
                  <c:v>1.1310499764384483</c:v>
                </c:pt>
                <c:pt idx="41">
                  <c:v>1.1071441879637263</c:v>
                </c:pt>
                <c:pt idx="42">
                  <c:v>1.142108943846599</c:v>
                </c:pt>
                <c:pt idx="43">
                  <c:v>1.2416994634821739</c:v>
                </c:pt>
                <c:pt idx="44">
                  <c:v>0.939995818815331</c:v>
                </c:pt>
                <c:pt idx="45">
                  <c:v>0.9451202477739064</c:v>
                </c:pt>
                <c:pt idx="46">
                  <c:v>0.7084198606271777</c:v>
                </c:pt>
                <c:pt idx="47">
                  <c:v>0.844359512195122</c:v>
                </c:pt>
                <c:pt idx="48">
                  <c:v>0.8349222418047233</c:v>
                </c:pt>
                <c:pt idx="49">
                  <c:v>0.8044903388406608</c:v>
                </c:pt>
                <c:pt idx="50">
                  <c:v>0.6962626750074471</c:v>
                </c:pt>
                <c:pt idx="51">
                  <c:v>1.2838107238605898</c:v>
                </c:pt>
                <c:pt idx="52">
                  <c:v>1.039070403023479</c:v>
                </c:pt>
                <c:pt idx="53">
                  <c:v>1.2137743978590545</c:v>
                </c:pt>
                <c:pt idx="54">
                  <c:v>0.9756634899920634</c:v>
                </c:pt>
                <c:pt idx="55">
                  <c:v>0.8960696382428941</c:v>
                </c:pt>
                <c:pt idx="56">
                  <c:v>1.1080932134096484</c:v>
                </c:pt>
                <c:pt idx="57">
                  <c:v>1.0308287969924812</c:v>
                </c:pt>
                <c:pt idx="58">
                  <c:v>1.1853553323967438</c:v>
                </c:pt>
                <c:pt idx="59">
                  <c:v>1.0845930022943298</c:v>
                </c:pt>
                <c:pt idx="60">
                  <c:v>0.9563700747827275</c:v>
                </c:pt>
                <c:pt idx="61">
                  <c:v>1.0089711983330125</c:v>
                </c:pt>
                <c:pt idx="62">
                  <c:v>1.054566414549163</c:v>
                </c:pt>
                <c:pt idx="63">
                  <c:v>0.9247080551968386</c:v>
                </c:pt>
                <c:pt idx="64">
                  <c:v>0.9500668190553486</c:v>
                </c:pt>
                <c:pt idx="65">
                  <c:v>0.9555051384639524</c:v>
                </c:pt>
                <c:pt idx="66">
                  <c:v>1.028138974614236</c:v>
                </c:pt>
                <c:pt idx="67">
                  <c:v>1.0734177799900446</c:v>
                </c:pt>
                <c:pt idx="68">
                  <c:v>1.0410768519104905</c:v>
                </c:pt>
                <c:pt idx="69">
                  <c:v>1.2151743031358884</c:v>
                </c:pt>
                <c:pt idx="70">
                  <c:v>1.471193474723513</c:v>
                </c:pt>
                <c:pt idx="71">
                  <c:v>1.2993588975285586</c:v>
                </c:pt>
                <c:pt idx="72">
                  <c:v>1.2135524562742217</c:v>
                </c:pt>
                <c:pt idx="73">
                  <c:v>1.241180965858836</c:v>
                </c:pt>
                <c:pt idx="74">
                  <c:v>1.2053077150997151</c:v>
                </c:pt>
                <c:pt idx="75">
                  <c:v>1.4072858882711146</c:v>
                </c:pt>
                <c:pt idx="76">
                  <c:v>1.4832214682264422</c:v>
                </c:pt>
                <c:pt idx="77">
                  <c:v>1.2988812834473586</c:v>
                </c:pt>
                <c:pt idx="78">
                  <c:v>1.4080577734042334</c:v>
                </c:pt>
                <c:pt idx="79">
                  <c:v>1.2324292639138241</c:v>
                </c:pt>
                <c:pt idx="80">
                  <c:v>1.4070863591155331</c:v>
                </c:pt>
                <c:pt idx="81">
                  <c:v>1.1951934666866704</c:v>
                </c:pt>
                <c:pt idx="82">
                  <c:v>1.2634502091305508</c:v>
                </c:pt>
                <c:pt idx="83">
                  <c:v>1.105576179245283</c:v>
                </c:pt>
                <c:pt idx="84">
                  <c:v>1.1469785930885992</c:v>
                </c:pt>
                <c:pt idx="85">
                  <c:v>1.002650752688172</c:v>
                </c:pt>
                <c:pt idx="86">
                  <c:v>1.0639340106155453</c:v>
                </c:pt>
                <c:pt idx="87">
                  <c:v>1.0316168198852942</c:v>
                </c:pt>
                <c:pt idx="88">
                  <c:v>1.045088625480807</c:v>
                </c:pt>
                <c:pt idx="89">
                  <c:v>0.8426088646967341</c:v>
                </c:pt>
                <c:pt idx="90">
                  <c:v>1.0014152175563824</c:v>
                </c:pt>
                <c:pt idx="91">
                  <c:v>1.0586080238924838</c:v>
                </c:pt>
                <c:pt idx="92">
                  <c:v>0.985940613998819</c:v>
                </c:pt>
                <c:pt idx="93">
                  <c:v>1.0704832265633404</c:v>
                </c:pt>
                <c:pt idx="94">
                  <c:v>0.9858068465034452</c:v>
                </c:pt>
                <c:pt idx="95">
                  <c:v>0.8346909757776314</c:v>
                </c:pt>
                <c:pt idx="96">
                  <c:v>0.8479079130984094</c:v>
                </c:pt>
                <c:pt idx="97">
                  <c:v>0.8992367478510028</c:v>
                </c:pt>
                <c:pt idx="98">
                  <c:v>0.8614436821841093</c:v>
                </c:pt>
                <c:pt idx="99">
                  <c:v>1.009520657043305</c:v>
                </c:pt>
                <c:pt idx="100">
                  <c:v>0.9220345334881921</c:v>
                </c:pt>
                <c:pt idx="101">
                  <c:v>0.9864168997555013</c:v>
                </c:pt>
                <c:pt idx="102">
                  <c:v>1.0042526924295216</c:v>
                </c:pt>
                <c:pt idx="103">
                  <c:v>0.8209313850534546</c:v>
                </c:pt>
                <c:pt idx="104">
                  <c:v>0.8510823324609355</c:v>
                </c:pt>
              </c:numCache>
            </c:numRef>
          </c:xVal>
          <c:yVal>
            <c:numRef>
              <c:f>Sheet1!$B$2:$B$106</c:f>
              <c:numCache>
                <c:formatCode>General</c:formatCode>
                <c:ptCount val="105"/>
                <c:pt idx="0">
                  <c:v>0.16057585825027684</c:v>
                </c:pt>
                <c:pt idx="1">
                  <c:v>0.16201461653605706</c:v>
                </c:pt>
                <c:pt idx="2">
                  <c:v>0.16815544709457592</c:v>
                </c:pt>
                <c:pt idx="3">
                  <c:v>0.1675101214574899</c:v>
                </c:pt>
                <c:pt idx="4">
                  <c:v>0.16358269951186286</c:v>
                </c:pt>
                <c:pt idx="5">
                  <c:v>0.1556230343780501</c:v>
                </c:pt>
                <c:pt idx="6">
                  <c:v>0.16230532895433838</c:v>
                </c:pt>
                <c:pt idx="7">
                  <c:v>0.15787518573551262</c:v>
                </c:pt>
                <c:pt idx="8">
                  <c:v>0.17640364188163885</c:v>
                </c:pt>
                <c:pt idx="9">
                  <c:v>0.16586492207042525</c:v>
                </c:pt>
                <c:pt idx="10">
                  <c:v>0.17921857304643263</c:v>
                </c:pt>
                <c:pt idx="11">
                  <c:v>0.1702827087442472</c:v>
                </c:pt>
                <c:pt idx="12">
                  <c:v>0.18709462830533843</c:v>
                </c:pt>
                <c:pt idx="13">
                  <c:v>0.17572223694672676</c:v>
                </c:pt>
                <c:pt idx="14">
                  <c:v>0.17798326728313518</c:v>
                </c:pt>
                <c:pt idx="15">
                  <c:v>0.17764082603524706</c:v>
                </c:pt>
                <c:pt idx="16">
                  <c:v>0.15985546972339895</c:v>
                </c:pt>
                <c:pt idx="17">
                  <c:v>0.16848926690968002</c:v>
                </c:pt>
                <c:pt idx="18">
                  <c:v>0.15017388555169142</c:v>
                </c:pt>
                <c:pt idx="19">
                  <c:v>0.12907336610231204</c:v>
                </c:pt>
                <c:pt idx="20">
                  <c:v>0.15121729925903524</c:v>
                </c:pt>
                <c:pt idx="21">
                  <c:v>0.1354559155990957</c:v>
                </c:pt>
                <c:pt idx="22">
                  <c:v>0.1201977938379612</c:v>
                </c:pt>
                <c:pt idx="23">
                  <c:v>0.12073490813648294</c:v>
                </c:pt>
                <c:pt idx="24">
                  <c:v>0.12777053455019557</c:v>
                </c:pt>
                <c:pt idx="25">
                  <c:v>0.12156357388316151</c:v>
                </c:pt>
                <c:pt idx="26">
                  <c:v>0.12521529452290733</c:v>
                </c:pt>
                <c:pt idx="27">
                  <c:v>0.12001951536835258</c:v>
                </c:pt>
                <c:pt idx="28">
                  <c:v>0.12959480253034708</c:v>
                </c:pt>
                <c:pt idx="29">
                  <c:v>0.1319796954314721</c:v>
                </c:pt>
                <c:pt idx="30">
                  <c:v>0.1111111111111111</c:v>
                </c:pt>
                <c:pt idx="31">
                  <c:v>0.10149942329873125</c:v>
                </c:pt>
                <c:pt idx="32">
                  <c:v>0.09518282066163668</c:v>
                </c:pt>
                <c:pt idx="33">
                  <c:v>0.102945688861614</c:v>
                </c:pt>
                <c:pt idx="34">
                  <c:v>0.10915882678472606</c:v>
                </c:pt>
                <c:pt idx="35">
                  <c:v>0.1316793893129771</c:v>
                </c:pt>
                <c:pt idx="36">
                  <c:v>0.12530120481927712</c:v>
                </c:pt>
                <c:pt idx="37">
                  <c:v>0.08573705179282869</c:v>
                </c:pt>
                <c:pt idx="38">
                  <c:v>0.08477393617021277</c:v>
                </c:pt>
                <c:pt idx="39">
                  <c:v>0.10365198711063373</c:v>
                </c:pt>
                <c:pt idx="40">
                  <c:v>0.1091844232182219</c:v>
                </c:pt>
                <c:pt idx="41">
                  <c:v>0.11530003141690229</c:v>
                </c:pt>
                <c:pt idx="42">
                  <c:v>0.10209808900173727</c:v>
                </c:pt>
                <c:pt idx="43">
                  <c:v>0.1134453781512605</c:v>
                </c:pt>
                <c:pt idx="44">
                  <c:v>0.11082598235765838</c:v>
                </c:pt>
                <c:pt idx="45">
                  <c:v>0.1320560058953574</c:v>
                </c:pt>
                <c:pt idx="46">
                  <c:v>0.1321151475600029</c:v>
                </c:pt>
                <c:pt idx="47">
                  <c:v>0.13707391525546914</c:v>
                </c:pt>
                <c:pt idx="48">
                  <c:v>0.14307180422882904</c:v>
                </c:pt>
                <c:pt idx="49">
                  <c:v>0.16854580166420519</c:v>
                </c:pt>
                <c:pt idx="50">
                  <c:v>0.1434755288696502</c:v>
                </c:pt>
                <c:pt idx="51">
                  <c:v>0.14537214572076</c:v>
                </c:pt>
                <c:pt idx="52">
                  <c:v>0.14436750800387163</c:v>
                </c:pt>
                <c:pt idx="53">
                  <c:v>0.12695501061981077</c:v>
                </c:pt>
                <c:pt idx="54">
                  <c:v>0.11626442812172089</c:v>
                </c:pt>
                <c:pt idx="55">
                  <c:v>0.11953029799490418</c:v>
                </c:pt>
                <c:pt idx="56">
                  <c:v>0.14832100170745588</c:v>
                </c:pt>
                <c:pt idx="57">
                  <c:v>0.1323008401660087</c:v>
                </c:pt>
                <c:pt idx="58">
                  <c:v>0.1394291946918742</c:v>
                </c:pt>
                <c:pt idx="59">
                  <c:v>0.13655413271245634</c:v>
                </c:pt>
                <c:pt idx="60">
                  <c:v>0.15693112467306017</c:v>
                </c:pt>
                <c:pt idx="61">
                  <c:v>0.16839008735960065</c:v>
                </c:pt>
                <c:pt idx="62">
                  <c:v>0.16058583932749804</c:v>
                </c:pt>
                <c:pt idx="63">
                  <c:v>0.17314514885084065</c:v>
                </c:pt>
                <c:pt idx="64">
                  <c:v>0.14845345783484096</c:v>
                </c:pt>
                <c:pt idx="65">
                  <c:v>0.1556811048336472</c:v>
                </c:pt>
                <c:pt idx="66">
                  <c:v>0.1469521962735014</c:v>
                </c:pt>
                <c:pt idx="67">
                  <c:v>0.14144736842105263</c:v>
                </c:pt>
                <c:pt idx="68">
                  <c:v>0.12576821773485514</c:v>
                </c:pt>
                <c:pt idx="69">
                  <c:v>0.11633663366336634</c:v>
                </c:pt>
                <c:pt idx="70">
                  <c:v>0.11216472500677323</c:v>
                </c:pt>
                <c:pt idx="71">
                  <c:v>0.12079353416605437</c:v>
                </c:pt>
                <c:pt idx="72">
                  <c:v>0.12347022028827849</c:v>
                </c:pt>
                <c:pt idx="73">
                  <c:v>0.13430180847909873</c:v>
                </c:pt>
                <c:pt idx="74">
                  <c:v>0.13287710293698318</c:v>
                </c:pt>
                <c:pt idx="75">
                  <c:v>0.12062448644207066</c:v>
                </c:pt>
                <c:pt idx="76">
                  <c:v>0.12040816326530612</c:v>
                </c:pt>
                <c:pt idx="77">
                  <c:v>0.11754101316026681</c:v>
                </c:pt>
                <c:pt idx="78">
                  <c:v>0.11908783783783784</c:v>
                </c:pt>
                <c:pt idx="79">
                  <c:v>0.11004152510381277</c:v>
                </c:pt>
                <c:pt idx="80">
                  <c:v>0.09904214559386973</c:v>
                </c:pt>
                <c:pt idx="81">
                  <c:v>0.10338545620160923</c:v>
                </c:pt>
                <c:pt idx="82">
                  <c:v>0.0958614051973051</c:v>
                </c:pt>
                <c:pt idx="83">
                  <c:v>0.08653846153846154</c:v>
                </c:pt>
                <c:pt idx="84">
                  <c:v>0.09471724458924831</c:v>
                </c:pt>
                <c:pt idx="85">
                  <c:v>0.09723102938068062</c:v>
                </c:pt>
                <c:pt idx="86">
                  <c:v>0.10944206008583691</c:v>
                </c:pt>
                <c:pt idx="87">
                  <c:v>0.12922173274596183</c:v>
                </c:pt>
                <c:pt idx="88">
                  <c:v>0.12578179291174427</c:v>
                </c:pt>
                <c:pt idx="89">
                  <c:v>0.1274</c:v>
                </c:pt>
                <c:pt idx="90">
                  <c:v>0.12230362230362231</c:v>
                </c:pt>
                <c:pt idx="91">
                  <c:v>0.10922962411611463</c:v>
                </c:pt>
                <c:pt idx="92">
                  <c:v>0.12279895881182055</c:v>
                </c:pt>
                <c:pt idx="93">
                  <c:v>0.11488060570762959</c:v>
                </c:pt>
                <c:pt idx="94">
                  <c:v>0.10578324963550947</c:v>
                </c:pt>
                <c:pt idx="95">
                  <c:v>0.12292062074355253</c:v>
                </c:pt>
                <c:pt idx="96">
                  <c:v>0.10617347375631475</c:v>
                </c:pt>
                <c:pt idx="97">
                  <c:v>0.10788412174550789</c:v>
                </c:pt>
                <c:pt idx="98">
                  <c:v>0.12512833675564683</c:v>
                </c:pt>
                <c:pt idx="99">
                  <c:v>0.12247659862411188</c:v>
                </c:pt>
                <c:pt idx="100">
                  <c:v>0.147947659475037</c:v>
                </c:pt>
                <c:pt idx="101">
                  <c:v>0.13798261860663913</c:v>
                </c:pt>
                <c:pt idx="102">
                  <c:v>0.12343708433093908</c:v>
                </c:pt>
                <c:pt idx="103">
                  <c:v>0.15909635187993934</c:v>
                </c:pt>
                <c:pt idx="104">
                  <c:v>0.15484914818692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883688852707125</c:v>
                </c:pt>
                <c:pt idx="1">
                  <c:v>0.9556880823933299</c:v>
                </c:pt>
                <c:pt idx="2">
                  <c:v>1.015995754300924</c:v>
                </c:pt>
                <c:pt idx="3">
                  <c:v>0.9521113861514875</c:v>
                </c:pt>
                <c:pt idx="4">
                  <c:v>0.9841148205169761</c:v>
                </c:pt>
                <c:pt idx="5">
                  <c:v>1.061257142857143</c:v>
                </c:pt>
                <c:pt idx="6">
                  <c:v>1.0858315606088393</c:v>
                </c:pt>
                <c:pt idx="7">
                  <c:v>1.034196105759377</c:v>
                </c:pt>
                <c:pt idx="8">
                  <c:v>1.052021236480447</c:v>
                </c:pt>
                <c:pt idx="9">
                  <c:v>1.1629081301951787</c:v>
                </c:pt>
                <c:pt idx="10">
                  <c:v>0.9559703106852497</c:v>
                </c:pt>
                <c:pt idx="11">
                  <c:v>0.8882181881533101</c:v>
                </c:pt>
                <c:pt idx="12">
                  <c:v>1.0251796360820753</c:v>
                </c:pt>
                <c:pt idx="13">
                  <c:v>1.1329849946865038</c:v>
                </c:pt>
                <c:pt idx="14">
                  <c:v>1.0563133752950433</c:v>
                </c:pt>
                <c:pt idx="15">
                  <c:v>1.1032986582487037</c:v>
                </c:pt>
                <c:pt idx="16">
                  <c:v>0.9867833487511564</c:v>
                </c:pt>
                <c:pt idx="17">
                  <c:v>0.8084998715478484</c:v>
                </c:pt>
                <c:pt idx="18">
                  <c:v>1.2179285481997677</c:v>
                </c:pt>
                <c:pt idx="19">
                  <c:v>1.0858889063729347</c:v>
                </c:pt>
                <c:pt idx="20">
                  <c:v>0.9557893379790942</c:v>
                </c:pt>
                <c:pt idx="21">
                  <c:v>0.9407556118754526</c:v>
                </c:pt>
                <c:pt idx="22">
                  <c:v>0.982245373596593</c:v>
                </c:pt>
                <c:pt idx="23">
                  <c:v>0.7639213810579664</c:v>
                </c:pt>
                <c:pt idx="24">
                  <c:v>0.906361658031088</c:v>
                </c:pt>
                <c:pt idx="25">
                  <c:v>1.1240967357417937</c:v>
                </c:pt>
                <c:pt idx="26">
                  <c:v>1.080524587315378</c:v>
                </c:pt>
                <c:pt idx="27">
                  <c:v>1.0425266341923318</c:v>
                </c:pt>
                <c:pt idx="28">
                  <c:v>0.9706219322990126</c:v>
                </c:pt>
                <c:pt idx="29">
                  <c:v>1.201848606271777</c:v>
                </c:pt>
                <c:pt idx="30">
                  <c:v>1.0944914285714287</c:v>
                </c:pt>
                <c:pt idx="31">
                  <c:v>0.8799383515414481</c:v>
                </c:pt>
                <c:pt idx="32">
                  <c:v>1.0365984013117442</c:v>
                </c:pt>
                <c:pt idx="33">
                  <c:v>1.0995164003364173</c:v>
                </c:pt>
                <c:pt idx="34">
                  <c:v>1.084952880257884</c:v>
                </c:pt>
                <c:pt idx="35">
                  <c:v>1.0430499448558375</c:v>
                </c:pt>
                <c:pt idx="36">
                  <c:v>1.102152961672474</c:v>
                </c:pt>
                <c:pt idx="37">
                  <c:v>1.097291415901172</c:v>
                </c:pt>
                <c:pt idx="38">
                  <c:v>1.095684939992257</c:v>
                </c:pt>
                <c:pt idx="39">
                  <c:v>1.185078338227673</c:v>
                </c:pt>
                <c:pt idx="40">
                  <c:v>1.3092639060295075</c:v>
                </c:pt>
                <c:pt idx="41">
                  <c:v>1.0527574932796222</c:v>
                </c:pt>
                <c:pt idx="42">
                  <c:v>1.1122050979754226</c:v>
                </c:pt>
                <c:pt idx="43">
                  <c:v>1.1676875078731892</c:v>
                </c:pt>
                <c:pt idx="44">
                  <c:v>1.1381291630716135</c:v>
                </c:pt>
                <c:pt idx="45">
                  <c:v>1.0842201670077483</c:v>
                </c:pt>
                <c:pt idx="46">
                  <c:v>0.9105894156534143</c:v>
                </c:pt>
                <c:pt idx="47">
                  <c:v>0.9288377108925574</c:v>
                </c:pt>
                <c:pt idx="48">
                  <c:v>1.1973794369341437</c:v>
                </c:pt>
                <c:pt idx="49">
                  <c:v>1.0263375297720314</c:v>
                </c:pt>
                <c:pt idx="50">
                  <c:v>0.9409390243902439</c:v>
                </c:pt>
                <c:pt idx="51">
                  <c:v>0.9282255303868017</c:v>
                </c:pt>
              </c:numCache>
            </c:numRef>
          </c:xVal>
          <c:yVal>
            <c:numRef>
              <c:f>Sheet1!$B$109:$B$160</c:f>
              <c:numCache>
                <c:formatCode>General</c:formatCode>
                <c:ptCount val="52"/>
                <c:pt idx="0">
                  <c:v>0.14738564906538032</c:v>
                </c:pt>
                <c:pt idx="1">
                  <c:v>0.15820241139934235</c:v>
                </c:pt>
                <c:pt idx="2">
                  <c:v>0.155122832963602</c:v>
                </c:pt>
                <c:pt idx="3">
                  <c:v>0.14606556023449757</c:v>
                </c:pt>
                <c:pt idx="4">
                  <c:v>0.15232147705674723</c:v>
                </c:pt>
                <c:pt idx="5">
                  <c:v>0.13824333561175667</c:v>
                </c:pt>
                <c:pt idx="6">
                  <c:v>0.13981865943564104</c:v>
                </c:pt>
                <c:pt idx="7">
                  <c:v>0.13740808823529413</c:v>
                </c:pt>
                <c:pt idx="8">
                  <c:v>0.13892231581762268</c:v>
                </c:pt>
                <c:pt idx="9">
                  <c:v>0.15934785195763418</c:v>
                </c:pt>
                <c:pt idx="10">
                  <c:v>0.15144561725562183</c:v>
                </c:pt>
                <c:pt idx="11">
                  <c:v>0.14083691696989745</c:v>
                </c:pt>
                <c:pt idx="12">
                  <c:v>0.1321745774042594</c:v>
                </c:pt>
                <c:pt idx="13">
                  <c:v>0.1365883183698174</c:v>
                </c:pt>
                <c:pt idx="14">
                  <c:v>0.1381951381951382</c:v>
                </c:pt>
                <c:pt idx="15">
                  <c:v>0.1360841806573658</c:v>
                </c:pt>
                <c:pt idx="16">
                  <c:v>0.1254810335349093</c:v>
                </c:pt>
                <c:pt idx="17">
                  <c:v>0.12621776504297993</c:v>
                </c:pt>
                <c:pt idx="18">
                  <c:v>0.11229412743303943</c:v>
                </c:pt>
                <c:pt idx="19">
                  <c:v>0.12355151894769809</c:v>
                </c:pt>
                <c:pt idx="20">
                  <c:v>0.12052059190586557</c:v>
                </c:pt>
                <c:pt idx="21">
                  <c:v>0.14171180931744312</c:v>
                </c:pt>
                <c:pt idx="22">
                  <c:v>0.14269886993130956</c:v>
                </c:pt>
                <c:pt idx="23">
                  <c:v>0.15536971830985916</c:v>
                </c:pt>
                <c:pt idx="24">
                  <c:v>0.16143691841592728</c:v>
                </c:pt>
                <c:pt idx="25">
                  <c:v>0.15340055782021025</c:v>
                </c:pt>
                <c:pt idx="26">
                  <c:v>0.14239350912778906</c:v>
                </c:pt>
                <c:pt idx="27">
                  <c:v>0.11861086375779163</c:v>
                </c:pt>
                <c:pt idx="28">
                  <c:v>0.11771640282923543</c:v>
                </c:pt>
                <c:pt idx="29">
                  <c:v>0.11508491508491508</c:v>
                </c:pt>
                <c:pt idx="30">
                  <c:v>0.11899541558700419</c:v>
                </c:pt>
                <c:pt idx="31">
                  <c:v>0.11476179300633654</c:v>
                </c:pt>
                <c:pt idx="32">
                  <c:v>0.1194745621351126</c:v>
                </c:pt>
                <c:pt idx="33">
                  <c:v>0.13029262710478992</c:v>
                </c:pt>
                <c:pt idx="34">
                  <c:v>0.14494199825371087</c:v>
                </c:pt>
                <c:pt idx="35">
                  <c:v>0.15017513134851138</c:v>
                </c:pt>
                <c:pt idx="36">
                  <c:v>0.1539000467071462</c:v>
                </c:pt>
                <c:pt idx="37">
                  <c:v>0.1288214210415349</c:v>
                </c:pt>
                <c:pt idx="38">
                  <c:v>0.1261239368165249</c:v>
                </c:pt>
                <c:pt idx="39">
                  <c:v>0.1269371408671426</c:v>
                </c:pt>
                <c:pt idx="40">
                  <c:v>0.11879242586638085</c:v>
                </c:pt>
                <c:pt idx="41">
                  <c:v>0.11385414974825402</c:v>
                </c:pt>
                <c:pt idx="42">
                  <c:v>0.11941675895164268</c:v>
                </c:pt>
                <c:pt idx="43">
                  <c:v>0.11784186559955843</c:v>
                </c:pt>
                <c:pt idx="44">
                  <c:v>0.114878020845264</c:v>
                </c:pt>
                <c:pt idx="45">
                  <c:v>0.12560856864654332</c:v>
                </c:pt>
                <c:pt idx="46">
                  <c:v>0.12174601603484114</c:v>
                </c:pt>
                <c:pt idx="47">
                  <c:v>0.12042835103003903</c:v>
                </c:pt>
                <c:pt idx="48">
                  <c:v>0.10626581336508409</c:v>
                </c:pt>
                <c:pt idx="49">
                  <c:v>0.12005996184246388</c:v>
                </c:pt>
                <c:pt idx="50">
                  <c:v>0.15653799919861092</c:v>
                </c:pt>
                <c:pt idx="51">
                  <c:v>0.1549726424203411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3802220605885755</c:v>
                </c:pt>
              </c:numCache>
            </c:numRef>
          </c:xVal>
          <c:yVal>
            <c:numRef>
              <c:f>Sheet1!$B$163:$B$164</c:f>
              <c:numCache>
                <c:formatCode>General</c:formatCode>
                <c:ptCount val="2"/>
                <c:pt idx="0">
                  <c:v>0.16378288153331141</c:v>
                </c:pt>
                <c:pt idx="1">
                  <c:v>0.16378288153331141</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3802220605885755</c:v>
                </c:pt>
                <c:pt idx="1">
                  <c:v>0.43802220605885755</c:v>
                </c:pt>
              </c:numCache>
            </c:numRef>
          </c:xVal>
          <c:yVal>
            <c:numRef>
              <c:f>Sheet1!$B$167:$B$168</c:f>
              <c:numCache>
                <c:formatCode>General</c:formatCode>
                <c:ptCount val="2"/>
                <c:pt idx="0">
                  <c:v>0.1637828815333114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961474895548029</c:v>
                </c:pt>
              </c:numCache>
            </c:numRef>
          </c:xVal>
          <c:yVal>
            <c:numRef>
              <c:f>Sheet1!$B$171:$B$172</c:f>
              <c:numCache>
                <c:formatCode>General</c:formatCode>
                <c:ptCount val="2"/>
                <c:pt idx="0">
                  <c:v>0.1459433699799871</c:v>
                </c:pt>
                <c:pt idx="1">
                  <c:v>0.145943369979987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961474895548029</c:v>
                </c:pt>
                <c:pt idx="1">
                  <c:v>0.7961474895548029</c:v>
                </c:pt>
              </c:numCache>
            </c:numRef>
          </c:xVal>
          <c:yVal>
            <c:numRef>
              <c:f>Sheet1!$B$175:$B$176</c:f>
              <c:numCache>
                <c:formatCode>General</c:formatCode>
                <c:ptCount val="2"/>
                <c:pt idx="0">
                  <c:v>0.145943369979987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2284113770474698</c:v>
                </c:pt>
              </c:numCache>
            </c:numRef>
          </c:xVal>
          <c:yVal>
            <c:numRef>
              <c:f>Sheet1!$B$179:$B$180</c:f>
              <c:numCache>
                <c:formatCode>General</c:formatCode>
                <c:ptCount val="2"/>
                <c:pt idx="0">
                  <c:v>0.124410747262782</c:v>
                </c:pt>
                <c:pt idx="1">
                  <c:v>0.12441074726278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2284113770474698</c:v>
                </c:pt>
                <c:pt idx="1">
                  <c:v>1.2284113770474698</c:v>
                </c:pt>
              </c:numCache>
            </c:numRef>
          </c:xVal>
          <c:yVal>
            <c:numRef>
              <c:f>Sheet1!$B$183:$B$184</c:f>
              <c:numCache>
                <c:formatCode>General</c:formatCode>
                <c:ptCount val="2"/>
                <c:pt idx="0">
                  <c:v>0.12441074726278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883688852707125</c:v>
                </c:pt>
                <c:pt idx="1">
                  <c:v>0.9556880823933299</c:v>
                </c:pt>
                <c:pt idx="2">
                  <c:v>1.015995754300924</c:v>
                </c:pt>
                <c:pt idx="3">
                  <c:v>0.9521113861514875</c:v>
                </c:pt>
                <c:pt idx="4">
                  <c:v>0.9841148205169761</c:v>
                </c:pt>
                <c:pt idx="5">
                  <c:v>1.061257142857143</c:v>
                </c:pt>
                <c:pt idx="6">
                  <c:v>1.0858315606088393</c:v>
                </c:pt>
                <c:pt idx="7">
                  <c:v>1.034196105759377</c:v>
                </c:pt>
                <c:pt idx="8">
                  <c:v>1.052021236480447</c:v>
                </c:pt>
                <c:pt idx="9">
                  <c:v>1.1629081301951787</c:v>
                </c:pt>
                <c:pt idx="10">
                  <c:v>0.9559703106852497</c:v>
                </c:pt>
                <c:pt idx="11">
                  <c:v>0.8882181881533101</c:v>
                </c:pt>
                <c:pt idx="12">
                  <c:v>1.0251796360820753</c:v>
                </c:pt>
                <c:pt idx="13">
                  <c:v>1.1329849946865038</c:v>
                </c:pt>
                <c:pt idx="14">
                  <c:v>1.0563133752950433</c:v>
                </c:pt>
                <c:pt idx="15">
                  <c:v>1.1032986582487037</c:v>
                </c:pt>
                <c:pt idx="16">
                  <c:v>0.9867833487511564</c:v>
                </c:pt>
                <c:pt idx="17">
                  <c:v>0.8084998715478484</c:v>
                </c:pt>
                <c:pt idx="18">
                  <c:v>1.2179285481997677</c:v>
                </c:pt>
                <c:pt idx="19">
                  <c:v>1.0858889063729347</c:v>
                </c:pt>
                <c:pt idx="20">
                  <c:v>0.9557893379790942</c:v>
                </c:pt>
                <c:pt idx="21">
                  <c:v>0.9407556118754526</c:v>
                </c:pt>
                <c:pt idx="22">
                  <c:v>0.982245373596593</c:v>
                </c:pt>
                <c:pt idx="23">
                  <c:v>0.7639213810579664</c:v>
                </c:pt>
                <c:pt idx="24">
                  <c:v>0.906361658031088</c:v>
                </c:pt>
                <c:pt idx="25">
                  <c:v>1.1240967357417937</c:v>
                </c:pt>
                <c:pt idx="26">
                  <c:v>1.080524587315378</c:v>
                </c:pt>
                <c:pt idx="27">
                  <c:v>1.0425266341923318</c:v>
                </c:pt>
                <c:pt idx="28">
                  <c:v>0.9706219322990126</c:v>
                </c:pt>
                <c:pt idx="29">
                  <c:v>1.201848606271777</c:v>
                </c:pt>
                <c:pt idx="30">
                  <c:v>1.0944914285714287</c:v>
                </c:pt>
                <c:pt idx="31">
                  <c:v>0.8799383515414481</c:v>
                </c:pt>
                <c:pt idx="32">
                  <c:v>1.0365984013117442</c:v>
                </c:pt>
                <c:pt idx="33">
                  <c:v>1.0995164003364173</c:v>
                </c:pt>
                <c:pt idx="34">
                  <c:v>1.084952880257884</c:v>
                </c:pt>
                <c:pt idx="35">
                  <c:v>1.0430499448558375</c:v>
                </c:pt>
                <c:pt idx="36">
                  <c:v>1.102152961672474</c:v>
                </c:pt>
                <c:pt idx="37">
                  <c:v>1.097291415901172</c:v>
                </c:pt>
                <c:pt idx="38">
                  <c:v>1.095684939992257</c:v>
                </c:pt>
                <c:pt idx="39">
                  <c:v>1.185078338227673</c:v>
                </c:pt>
                <c:pt idx="40">
                  <c:v>1.3092639060295075</c:v>
                </c:pt>
                <c:pt idx="41">
                  <c:v>1.0527574932796222</c:v>
                </c:pt>
                <c:pt idx="42">
                  <c:v>1.1122050979754226</c:v>
                </c:pt>
                <c:pt idx="43">
                  <c:v>1.1676875078731892</c:v>
                </c:pt>
                <c:pt idx="44">
                  <c:v>1.1381291630716135</c:v>
                </c:pt>
                <c:pt idx="45">
                  <c:v>1.0842201670077483</c:v>
                </c:pt>
                <c:pt idx="46">
                  <c:v>0.9105894156534143</c:v>
                </c:pt>
                <c:pt idx="47">
                  <c:v>0.9288377108925574</c:v>
                </c:pt>
                <c:pt idx="48">
                  <c:v>1.1973794369341437</c:v>
                </c:pt>
                <c:pt idx="49">
                  <c:v>1.0263375297720314</c:v>
                </c:pt>
                <c:pt idx="50">
                  <c:v>0.9409390243902439</c:v>
                </c:pt>
                <c:pt idx="51">
                  <c:v>0.9282255303868017</c:v>
                </c:pt>
                <c:pt idx="52">
                  <c:v>0.7961474895548029</c:v>
                </c:pt>
                <c:pt idx="53">
                  <c:v>0.43802220605885755</c:v>
                </c:pt>
                <c:pt idx="54">
                  <c:v>1.2284113770474698</c:v>
                </c:pt>
              </c:numCache>
            </c:numRef>
          </c:xVal>
          <c:yVal>
            <c:numRef>
              <c:f>Sheet1!$B$187:$B$241</c:f>
              <c:numCache>
                <c:formatCode>General</c:formatCode>
                <c:ptCount val="55"/>
                <c:pt idx="0">
                  <c:v>0.1463308503043031</c:v>
                </c:pt>
                <c:pt idx="1">
                  <c:v>0.13799607784416298</c:v>
                </c:pt>
                <c:pt idx="2">
                  <c:v>0.1349919352735874</c:v>
                </c:pt>
                <c:pt idx="3">
                  <c:v>0.13817424597936476</c:v>
                </c:pt>
                <c:pt idx="4">
                  <c:v>0.13658003952866143</c:v>
                </c:pt>
                <c:pt idx="5">
                  <c:v>0.13273730232450853</c:v>
                </c:pt>
                <c:pt idx="6">
                  <c:v>0.1315131619758627</c:v>
                </c:pt>
                <c:pt idx="7">
                  <c:v>0.13408531014802205</c:v>
                </c:pt>
                <c:pt idx="8">
                  <c:v>0.133197376120204</c:v>
                </c:pt>
                <c:pt idx="9">
                  <c:v>0.12767370015344248</c:v>
                </c:pt>
                <c:pt idx="10">
                  <c:v>0.13798201903539853</c:v>
                </c:pt>
                <c:pt idx="11">
                  <c:v>0.14135699653174297</c:v>
                </c:pt>
                <c:pt idx="12">
                  <c:v>0.13453445301056516</c:v>
                </c:pt>
                <c:pt idx="13">
                  <c:v>0.12916427941779296</c:v>
                </c:pt>
                <c:pt idx="14">
                  <c:v>0.13298356921100168</c:v>
                </c:pt>
                <c:pt idx="15">
                  <c:v>0.1306430628666695</c:v>
                </c:pt>
                <c:pt idx="16">
                  <c:v>0.13644711051622388</c:v>
                </c:pt>
                <c:pt idx="17">
                  <c:v>0.14532805329772192</c:v>
                </c:pt>
                <c:pt idx="18">
                  <c:v>0.12493293476240383</c:v>
                </c:pt>
                <c:pt idx="19">
                  <c:v>0.13151030537659913</c:v>
                </c:pt>
                <c:pt idx="20">
                  <c:v>0.13799103393836987</c:v>
                </c:pt>
                <c:pt idx="21">
                  <c:v>0.13873991803808317</c:v>
                </c:pt>
                <c:pt idx="22">
                  <c:v>0.13667316341985658</c:v>
                </c:pt>
                <c:pt idx="23">
                  <c:v>0.1475486686320006</c:v>
                </c:pt>
                <c:pt idx="24">
                  <c:v>0.1404532048827915</c:v>
                </c:pt>
                <c:pt idx="25">
                  <c:v>0.1296070356414956</c:v>
                </c:pt>
                <c:pt idx="26">
                  <c:v>0.1317775214493344</c:v>
                </c:pt>
                <c:pt idx="27">
                  <c:v>0.13367033649194765</c:v>
                </c:pt>
                <c:pt idx="28">
                  <c:v>0.13725216893796297</c:v>
                </c:pt>
                <c:pt idx="29">
                  <c:v>0.12573393464434715</c:v>
                </c:pt>
                <c:pt idx="30">
                  <c:v>0.1310817827304188</c:v>
                </c:pt>
                <c:pt idx="31">
                  <c:v>0.1417694450454448</c:v>
                </c:pt>
                <c:pt idx="32">
                  <c:v>0.13396564314533907</c:v>
                </c:pt>
                <c:pt idx="33">
                  <c:v>0.13083147076980667</c:v>
                </c:pt>
                <c:pt idx="34">
                  <c:v>0.1315569322121318</c:v>
                </c:pt>
                <c:pt idx="35">
                  <c:v>0.13364426850105784</c:v>
                </c:pt>
                <c:pt idx="36">
                  <c:v>0.1307001341438179</c:v>
                </c:pt>
                <c:pt idx="37">
                  <c:v>0.13094230526646955</c:v>
                </c:pt>
                <c:pt idx="38">
                  <c:v>0.1310223296234696</c:v>
                </c:pt>
                <c:pt idx="39">
                  <c:v>0.12656932215903105</c:v>
                </c:pt>
                <c:pt idx="40">
                  <c:v>0.12038319128904446</c:v>
                </c:pt>
                <c:pt idx="41">
                  <c:v>0.13316070051454196</c:v>
                </c:pt>
                <c:pt idx="42">
                  <c:v>0.13019940099266614</c:v>
                </c:pt>
                <c:pt idx="43">
                  <c:v>0.12743562211976595</c:v>
                </c:pt>
                <c:pt idx="44">
                  <c:v>0.12890802984378197</c:v>
                </c:pt>
                <c:pt idx="45">
                  <c:v>0.13159343130084028</c:v>
                </c:pt>
                <c:pt idx="46">
                  <c:v>0.14024260503289568</c:v>
                </c:pt>
                <c:pt idx="47">
                  <c:v>0.139333591654758</c:v>
                </c:pt>
                <c:pt idx="48">
                  <c:v>0.12595656008216652</c:v>
                </c:pt>
                <c:pt idx="49">
                  <c:v>0.13447677415120662</c:v>
                </c:pt>
                <c:pt idx="50">
                  <c:v>0.1387307815994472</c:v>
                </c:pt>
                <c:pt idx="51">
                  <c:v>0.139364086572901</c:v>
                </c:pt>
                <c:pt idx="52">
                  <c:v>0.1459433699799871</c:v>
                </c:pt>
                <c:pt idx="53">
                  <c:v>0.16378288153331141</c:v>
                </c:pt>
                <c:pt idx="54">
                  <c:v>0.12441074726278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2451355396640613"/>
          <c:min val="0.0678191489361702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4.1047</c:v>
                </c:pt>
                <c:pt idx="1">
                  <c:v>871.9001</c:v>
                </c:pt>
                <c:pt idx="2">
                  <c:v>898.2265</c:v>
                </c:pt>
                <c:pt idx="3">
                  <c:v>910.7331</c:v>
                </c:pt>
                <c:pt idx="4">
                  <c:v>904.1224</c:v>
                </c:pt>
                <c:pt idx="5">
                  <c:v>893.8169</c:v>
                </c:pt>
                <c:pt idx="6">
                  <c:v>858.8036</c:v>
                </c:pt>
                <c:pt idx="7">
                  <c:v>867.0558</c:v>
                </c:pt>
                <c:pt idx="8">
                  <c:v>868.809</c:v>
                </c:pt>
                <c:pt idx="9">
                  <c:v>842.1731</c:v>
                </c:pt>
                <c:pt idx="10">
                  <c:v>826.7434</c:v>
                </c:pt>
                <c:pt idx="11">
                  <c:v>861.1664</c:v>
                </c:pt>
                <c:pt idx="12">
                  <c:v>867.1068</c:v>
                </c:pt>
                <c:pt idx="13">
                  <c:v>868.5584</c:v>
                </c:pt>
                <c:pt idx="14">
                  <c:v>895.9741</c:v>
                </c:pt>
                <c:pt idx="15">
                  <c:v>914.0135</c:v>
                </c:pt>
                <c:pt idx="16">
                  <c:v>930.0587</c:v>
                </c:pt>
                <c:pt idx="17">
                  <c:v>919.9987</c:v>
                </c:pt>
                <c:pt idx="18">
                  <c:v>972.0593</c:v>
                </c:pt>
                <c:pt idx="19">
                  <c:v>990.7156</c:v>
                </c:pt>
                <c:pt idx="20">
                  <c:v>1014.1583</c:v>
                </c:pt>
                <c:pt idx="21">
                  <c:v>1027.6645</c:v>
                </c:pt>
                <c:pt idx="22">
                  <c:v>1008.3504</c:v>
                </c:pt>
                <c:pt idx="23">
                  <c:v>1004.1741</c:v>
                </c:pt>
                <c:pt idx="24">
                  <c:v>1013.5886</c:v>
                </c:pt>
                <c:pt idx="25">
                  <c:v>990.419</c:v>
                </c:pt>
                <c:pt idx="26">
                  <c:v>979.0327</c:v>
                </c:pt>
                <c:pt idx="27">
                  <c:v>996.4611</c:v>
                </c:pt>
                <c:pt idx="28">
                  <c:v>998.4049</c:v>
                </c:pt>
                <c:pt idx="29">
                  <c:v>987.1565</c:v>
                </c:pt>
                <c:pt idx="30">
                  <c:v>989.7549</c:v>
                </c:pt>
                <c:pt idx="31">
                  <c:v>975.2188</c:v>
                </c:pt>
                <c:pt idx="32">
                  <c:v>964.5709</c:v>
                </c:pt>
                <c:pt idx="33">
                  <c:v>921.5912</c:v>
                </c:pt>
                <c:pt idx="34">
                  <c:v>934.5094</c:v>
                </c:pt>
                <c:pt idx="35">
                  <c:v>965.3223</c:v>
                </c:pt>
                <c:pt idx="36">
                  <c:v>1025.9005</c:v>
                </c:pt>
                <c:pt idx="37">
                  <c:v>1045.4788</c:v>
                </c:pt>
                <c:pt idx="38">
                  <c:v>1082.9511</c:v>
                </c:pt>
                <c:pt idx="39">
                  <c:v>1108.7055</c:v>
                </c:pt>
                <c:pt idx="40">
                  <c:v>1106.815</c:v>
                </c:pt>
                <c:pt idx="41">
                  <c:v>1131.6485</c:v>
                </c:pt>
                <c:pt idx="42">
                  <c:v>1148.8976</c:v>
                </c:pt>
                <c:pt idx="43">
                  <c:v>1154.9292</c:v>
                </c:pt>
                <c:pt idx="44">
                  <c:v>1113.0708</c:v>
                </c:pt>
                <c:pt idx="45">
                  <c:v>1078.0761</c:v>
                </c:pt>
                <c:pt idx="46">
                  <c:v>1061.4059</c:v>
                </c:pt>
                <c:pt idx="47">
                  <c:v>1047.8382</c:v>
                </c:pt>
                <c:pt idx="48">
                  <c:v>1044.792</c:v>
                </c:pt>
                <c:pt idx="49">
                  <c:v>999.338</c:v>
                </c:pt>
                <c:pt idx="50">
                  <c:v>1004.3309</c:v>
                </c:pt>
                <c:pt idx="51">
                  <c:v>1014.8195</c:v>
                </c:pt>
                <c:pt idx="52">
                  <c:v>1016.3603</c:v>
                </c:pt>
                <c:pt idx="53">
                  <c:v>1111.8357</c:v>
                </c:pt>
                <c:pt idx="54">
                  <c:v>1105.4646</c:v>
                </c:pt>
                <c:pt idx="55">
                  <c:v>1118.4436</c:v>
                </c:pt>
                <c:pt idx="56">
                  <c:v>1124.8373</c:v>
                </c:pt>
                <c:pt idx="57">
                  <c:v>1102.1197</c:v>
                </c:pt>
                <c:pt idx="58">
                  <c:v>1081.0693</c:v>
                </c:pt>
                <c:pt idx="59">
                  <c:v>1077.478</c:v>
                </c:pt>
                <c:pt idx="60">
                  <c:v>1092.2519</c:v>
                </c:pt>
                <c:pt idx="61">
                  <c:v>1097.7472</c:v>
                </c:pt>
                <c:pt idx="62">
                  <c:v>1033.3266</c:v>
                </c:pt>
                <c:pt idx="63">
                  <c:v>1053.9903</c:v>
                </c:pt>
                <c:pt idx="64">
                  <c:v>1060.6227</c:v>
                </c:pt>
                <c:pt idx="65">
                  <c:v>1053.3096</c:v>
                </c:pt>
                <c:pt idx="66">
                  <c:v>1083.3464</c:v>
                </c:pt>
                <c:pt idx="67">
                  <c:v>1105.0394</c:v>
                </c:pt>
                <c:pt idx="68">
                  <c:v>1116.0063</c:v>
                </c:pt>
                <c:pt idx="69">
                  <c:v>1146.5405</c:v>
                </c:pt>
                <c:pt idx="70">
                  <c:v>1135.5569</c:v>
                </c:pt>
                <c:pt idx="71">
                  <c:v>1184.6456</c:v>
                </c:pt>
                <c:pt idx="72">
                  <c:v>1253.7753</c:v>
                </c:pt>
                <c:pt idx="73">
                  <c:v>1235.0861</c:v>
                </c:pt>
                <c:pt idx="74">
                  <c:v>1227.9679</c:v>
                </c:pt>
                <c:pt idx="75">
                  <c:v>1196.1969</c:v>
                </c:pt>
                <c:pt idx="76">
                  <c:v>1160.9117</c:v>
                </c:pt>
                <c:pt idx="77">
                  <c:v>1163.9833</c:v>
                </c:pt>
                <c:pt idx="78">
                  <c:v>1207.1764</c:v>
                </c:pt>
                <c:pt idx="79">
                  <c:v>1195.5859</c:v>
                </c:pt>
                <c:pt idx="80">
                  <c:v>1214.1439</c:v>
                </c:pt>
                <c:pt idx="81">
                  <c:v>1212.0495</c:v>
                </c:pt>
                <c:pt idx="82">
                  <c:v>1220.6117</c:v>
                </c:pt>
                <c:pt idx="83">
                  <c:v>1184.5929</c:v>
                </c:pt>
                <c:pt idx="84">
                  <c:v>1204.6501</c:v>
                </c:pt>
                <c:pt idx="85">
                  <c:v>1185.7867</c:v>
                </c:pt>
                <c:pt idx="86">
                  <c:v>1181.1099</c:v>
                </c:pt>
                <c:pt idx="87">
                  <c:v>1181.1963</c:v>
                </c:pt>
                <c:pt idx="88">
                  <c:v>1222.5552</c:v>
                </c:pt>
                <c:pt idx="89">
                  <c:v>1217.5926</c:v>
                </c:pt>
                <c:pt idx="90">
                  <c:v>1271.0298</c:v>
                </c:pt>
                <c:pt idx="91">
                  <c:v>1268.4142</c:v>
                </c:pt>
                <c:pt idx="92">
                  <c:v>1222.2023</c:v>
                </c:pt>
                <c:pt idx="93">
                  <c:v>1248.6531</c:v>
                </c:pt>
                <c:pt idx="94">
                  <c:v>1233.51</c:v>
                </c:pt>
                <c:pt idx="95">
                  <c:v>1198.1168</c:v>
                </c:pt>
                <c:pt idx="96">
                  <c:v>1150.1633</c:v>
                </c:pt>
                <c:pt idx="97">
                  <c:v>1148.0502</c:v>
                </c:pt>
                <c:pt idx="98">
                  <c:v>1130.0131</c:v>
                </c:pt>
                <c:pt idx="99">
                  <c:v>1100.8128</c:v>
                </c:pt>
                <c:pt idx="100">
                  <c:v>1087.9755</c:v>
                </c:pt>
                <c:pt idx="101">
                  <c:v>1123.3286</c:v>
                </c:pt>
                <c:pt idx="102">
                  <c:v>1145.7458</c:v>
                </c:pt>
                <c:pt idx="103">
                  <c:v>1119.9822</c:v>
                </c:pt>
                <c:pt idx="104">
                  <c:v>1148.4012</c:v>
                </c:pt>
              </c:numCache>
            </c:numRef>
          </c:xVal>
          <c:yVal>
            <c:numRef>
              <c:f>Sheet1!$B$2:$B$106</c:f>
              <c:numCache>
                <c:formatCode>General</c:formatCode>
                <c:ptCount val="105"/>
                <c:pt idx="0">
                  <c:v>0.23418296003728872</c:v>
                </c:pt>
                <c:pt idx="1">
                  <c:v>0.23165931366074022</c:v>
                </c:pt>
                <c:pt idx="2">
                  <c:v>0.23278705032349017</c:v>
                </c:pt>
                <c:pt idx="3">
                  <c:v>0.2333306651724966</c:v>
                </c:pt>
                <c:pt idx="4">
                  <c:v>0.24390852650297945</c:v>
                </c:pt>
                <c:pt idx="5">
                  <c:v>0.24548332427333483</c:v>
                </c:pt>
                <c:pt idx="6">
                  <c:v>0.2714250734573947</c:v>
                </c:pt>
                <c:pt idx="7">
                  <c:v>0.2720096286594216</c:v>
                </c:pt>
                <c:pt idx="8">
                  <c:v>0.26972618872368614</c:v>
                </c:pt>
                <c:pt idx="9">
                  <c:v>0.2604732837193745</c:v>
                </c:pt>
                <c:pt idx="10">
                  <c:v>0.2556938879776278</c:v>
                </c:pt>
                <c:pt idx="11">
                  <c:v>0.2384407146724418</c:v>
                </c:pt>
                <c:pt idx="12">
                  <c:v>0.22535420957296345</c:v>
                </c:pt>
                <c:pt idx="13">
                  <c:v>0.2139852513502285</c:v>
                </c:pt>
                <c:pt idx="14">
                  <c:v>0.19951765538574462</c:v>
                </c:pt>
                <c:pt idx="15">
                  <c:v>0.19060190073917635</c:v>
                </c:pt>
                <c:pt idx="16">
                  <c:v>0.18443732193732193</c:v>
                </c:pt>
                <c:pt idx="17">
                  <c:v>0.18215192345245068</c:v>
                </c:pt>
                <c:pt idx="18">
                  <c:v>0.16783307976526843</c:v>
                </c:pt>
                <c:pt idx="19">
                  <c:v>0.1664623557053836</c:v>
                </c:pt>
                <c:pt idx="20">
                  <c:v>0.1770842061164642</c:v>
                </c:pt>
                <c:pt idx="21">
                  <c:v>0.18135450625722999</c:v>
                </c:pt>
                <c:pt idx="22">
                  <c:v>0.19217118997912316</c:v>
                </c:pt>
                <c:pt idx="23">
                  <c:v>0.20130612244897958</c:v>
                </c:pt>
                <c:pt idx="24">
                  <c:v>0.20415400202634246</c:v>
                </c:pt>
                <c:pt idx="25">
                  <c:v>0.20853382804800277</c:v>
                </c:pt>
                <c:pt idx="26">
                  <c:v>0.22318810760763336</c:v>
                </c:pt>
                <c:pt idx="27">
                  <c:v>0.22061949590039479</c:v>
                </c:pt>
                <c:pt idx="28">
                  <c:v>0.22781491002570695</c:v>
                </c:pt>
                <c:pt idx="29">
                  <c:v>0.22411392120749293</c:v>
                </c:pt>
                <c:pt idx="30">
                  <c:v>0.22836372028617585</c:v>
                </c:pt>
                <c:pt idx="31">
                  <c:v>0.23155645524066576</c:v>
                </c:pt>
                <c:pt idx="32">
                  <c:v>0.2391124358337473</c:v>
                </c:pt>
                <c:pt idx="33">
                  <c:v>0.23732728936930655</c:v>
                </c:pt>
                <c:pt idx="34">
                  <c:v>0.2376046610332986</c:v>
                </c:pt>
                <c:pt idx="35">
                  <c:v>0.25597164957235835</c:v>
                </c:pt>
                <c:pt idx="36">
                  <c:v>0.2249256444150694</c:v>
                </c:pt>
                <c:pt idx="37">
                  <c:v>0.21881479338444476</c:v>
                </c:pt>
                <c:pt idx="38">
                  <c:v>0.20735478882767952</c:v>
                </c:pt>
                <c:pt idx="39">
                  <c:v>0.20157617317435136</c:v>
                </c:pt>
                <c:pt idx="40">
                  <c:v>0.2043353918846106</c:v>
                </c:pt>
                <c:pt idx="41">
                  <c:v>0.19930262433474033</c:v>
                </c:pt>
                <c:pt idx="42">
                  <c:v>0.19792563600782778</c:v>
                </c:pt>
                <c:pt idx="43">
                  <c:v>0.19148566463944397</c:v>
                </c:pt>
                <c:pt idx="44">
                  <c:v>0.18882872746876686</c:v>
                </c:pt>
                <c:pt idx="45">
                  <c:v>0.20146325946347152</c:v>
                </c:pt>
                <c:pt idx="46">
                  <c:v>0.20674221893734088</c:v>
                </c:pt>
                <c:pt idx="47">
                  <c:v>0.20248705097825404</c:v>
                </c:pt>
                <c:pt idx="48">
                  <c:v>0.20068823124569857</c:v>
                </c:pt>
                <c:pt idx="49">
                  <c:v>0.21421377913941334</c:v>
                </c:pt>
                <c:pt idx="50">
                  <c:v>0.20370295834171864</c:v>
                </c:pt>
                <c:pt idx="51">
                  <c:v>0.19657907167540958</c:v>
                </c:pt>
                <c:pt idx="52">
                  <c:v>0.1990873753591347</c:v>
                </c:pt>
                <c:pt idx="53">
                  <c:v>0.1924849250862364</c:v>
                </c:pt>
                <c:pt idx="54">
                  <c:v>0.19632599504300918</c:v>
                </c:pt>
                <c:pt idx="55">
                  <c:v>0.1932637372498579</c:v>
                </c:pt>
                <c:pt idx="56">
                  <c:v>0.1963961784980046</c:v>
                </c:pt>
                <c:pt idx="57">
                  <c:v>0.1902930783620869</c:v>
                </c:pt>
                <c:pt idx="58">
                  <c:v>0.2004390569819605</c:v>
                </c:pt>
                <c:pt idx="59">
                  <c:v>0.19565183241961073</c:v>
                </c:pt>
                <c:pt idx="60">
                  <c:v>0.1985710596539554</c:v>
                </c:pt>
                <c:pt idx="61">
                  <c:v>0.19782154510669264</c:v>
                </c:pt>
                <c:pt idx="62">
                  <c:v>0.21214106590154305</c:v>
                </c:pt>
                <c:pt idx="63">
                  <c:v>0.2160689782292584</c:v>
                </c:pt>
                <c:pt idx="64">
                  <c:v>0.2057314629258517</c:v>
                </c:pt>
                <c:pt idx="65">
                  <c:v>0.20019627085377822</c:v>
                </c:pt>
                <c:pt idx="66">
                  <c:v>0.1993405749644317</c:v>
                </c:pt>
                <c:pt idx="67">
                  <c:v>0.18906573406609092</c:v>
                </c:pt>
                <c:pt idx="68">
                  <c:v>0.1790146244498083</c:v>
                </c:pt>
                <c:pt idx="69">
                  <c:v>0.17184334908845375</c:v>
                </c:pt>
                <c:pt idx="70">
                  <c:v>0.17183179516644523</c:v>
                </c:pt>
                <c:pt idx="71">
                  <c:v>0.1720010810393421</c:v>
                </c:pt>
                <c:pt idx="72">
                  <c:v>0.1703549517966696</c:v>
                </c:pt>
                <c:pt idx="73">
                  <c:v>0.17289084055492948</c:v>
                </c:pt>
                <c:pt idx="74">
                  <c:v>0.1736186858238989</c:v>
                </c:pt>
                <c:pt idx="75">
                  <c:v>0.18380130535722108</c:v>
                </c:pt>
                <c:pt idx="76">
                  <c:v>0.1867787900023359</c:v>
                </c:pt>
                <c:pt idx="77">
                  <c:v>0.17921302316620913</c:v>
                </c:pt>
                <c:pt idx="78">
                  <c:v>0.183714055361462</c:v>
                </c:pt>
                <c:pt idx="79">
                  <c:v>0.16925569427237205</c:v>
                </c:pt>
                <c:pt idx="80">
                  <c:v>0.1642047079005051</c:v>
                </c:pt>
                <c:pt idx="81">
                  <c:v>0.1722029753413491</c:v>
                </c:pt>
                <c:pt idx="82">
                  <c:v>0.17136125654450263</c:v>
                </c:pt>
                <c:pt idx="83">
                  <c:v>0.17091711623344777</c:v>
                </c:pt>
                <c:pt idx="84">
                  <c:v>0.1731971525843392</c:v>
                </c:pt>
                <c:pt idx="85">
                  <c:v>0.1781016320069865</c:v>
                </c:pt>
                <c:pt idx="86">
                  <c:v>0.18914164143687096</c:v>
                </c:pt>
                <c:pt idx="87">
                  <c:v>0.20626872551279096</c:v>
                </c:pt>
                <c:pt idx="88">
                  <c:v>0.19925086345283846</c:v>
                </c:pt>
                <c:pt idx="89">
                  <c:v>0.18920077137347333</c:v>
                </c:pt>
                <c:pt idx="90">
                  <c:v>0.17882288228822882</c:v>
                </c:pt>
                <c:pt idx="91">
                  <c:v>0.17116303770578864</c:v>
                </c:pt>
                <c:pt idx="92">
                  <c:v>0.18376905390445372</c:v>
                </c:pt>
                <c:pt idx="93">
                  <c:v>0.17386494017374202</c:v>
                </c:pt>
                <c:pt idx="94">
                  <c:v>0.17872005918801442</c:v>
                </c:pt>
                <c:pt idx="95">
                  <c:v>0.18349928876244664</c:v>
                </c:pt>
                <c:pt idx="96">
                  <c:v>0.1838017571962526</c:v>
                </c:pt>
                <c:pt idx="97">
                  <c:v>0.18564141638622558</c:v>
                </c:pt>
                <c:pt idx="98">
                  <c:v>0.19047008859925313</c:v>
                </c:pt>
                <c:pt idx="99">
                  <c:v>0.19314582541492462</c:v>
                </c:pt>
                <c:pt idx="100">
                  <c:v>0.19683051921857891</c:v>
                </c:pt>
                <c:pt idx="101">
                  <c:v>0.19314315106433488</c:v>
                </c:pt>
                <c:pt idx="102">
                  <c:v>0.17887716504081227</c:v>
                </c:pt>
                <c:pt idx="103">
                  <c:v>0.1841797332085186</c:v>
                </c:pt>
                <c:pt idx="104">
                  <c:v>0.1828788495455162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95.6848</c:v>
                </c:pt>
                <c:pt idx="1">
                  <c:v>1198.9994</c:v>
                </c:pt>
                <c:pt idx="2">
                  <c:v>1210.5629</c:v>
                </c:pt>
                <c:pt idx="3">
                  <c:v>1199.603</c:v>
                </c:pt>
                <c:pt idx="4">
                  <c:v>1217.8573</c:v>
                </c:pt>
                <c:pt idx="5">
                  <c:v>1213.9471</c:v>
                </c:pt>
                <c:pt idx="6">
                  <c:v>1133.9565</c:v>
                </c:pt>
                <c:pt idx="7">
                  <c:v>1164.5555</c:v>
                </c:pt>
                <c:pt idx="8">
                  <c:v>1201.2923</c:v>
                </c:pt>
                <c:pt idx="9">
                  <c:v>1136.7634</c:v>
                </c:pt>
                <c:pt idx="10">
                  <c:v>1160.9751</c:v>
                </c:pt>
                <c:pt idx="11">
                  <c:v>1076.0515</c:v>
                </c:pt>
                <c:pt idx="12">
                  <c:v>1107.9836</c:v>
                </c:pt>
                <c:pt idx="13">
                  <c:v>1135.0708</c:v>
                </c:pt>
                <c:pt idx="14">
                  <c:v>1145.0448</c:v>
                </c:pt>
                <c:pt idx="15">
                  <c:v>1152.681</c:v>
                </c:pt>
                <c:pt idx="16">
                  <c:v>1202.9584</c:v>
                </c:pt>
                <c:pt idx="17">
                  <c:v>1161.3676</c:v>
                </c:pt>
                <c:pt idx="18">
                  <c:v>1174.7117</c:v>
                </c:pt>
                <c:pt idx="19">
                  <c:v>1255.5536</c:v>
                </c:pt>
                <c:pt idx="20">
                  <c:v>1241.1818</c:v>
                </c:pt>
                <c:pt idx="21">
                  <c:v>1182.4799</c:v>
                </c:pt>
                <c:pt idx="22">
                  <c:v>1207.6495</c:v>
                </c:pt>
                <c:pt idx="23">
                  <c:v>1197.7542</c:v>
                </c:pt>
                <c:pt idx="24">
                  <c:v>1194.7574</c:v>
                </c:pt>
                <c:pt idx="25">
                  <c:v>1180.9858</c:v>
                </c:pt>
                <c:pt idx="26">
                  <c:v>1195.4343</c:v>
                </c:pt>
                <c:pt idx="27">
                  <c:v>1200.8557</c:v>
                </c:pt>
                <c:pt idx="28">
                  <c:v>1239.3249</c:v>
                </c:pt>
                <c:pt idx="29">
                  <c:v>1245.4634</c:v>
                </c:pt>
                <c:pt idx="30">
                  <c:v>1236.1846</c:v>
                </c:pt>
                <c:pt idx="31">
                  <c:v>1222.3516</c:v>
                </c:pt>
                <c:pt idx="32">
                  <c:v>1238.381</c:v>
                </c:pt>
                <c:pt idx="33">
                  <c:v>1235.9333</c:v>
                </c:pt>
                <c:pt idx="34">
                  <c:v>1249.3299</c:v>
                </c:pt>
                <c:pt idx="35">
                  <c:v>1268.9072</c:v>
                </c:pt>
                <c:pt idx="36">
                  <c:v>1290.0027</c:v>
                </c:pt>
                <c:pt idx="37">
                  <c:v>1273.1904</c:v>
                </c:pt>
                <c:pt idx="38">
                  <c:v>1281.431</c:v>
                </c:pt>
                <c:pt idx="39">
                  <c:v>1247.9419</c:v>
                </c:pt>
                <c:pt idx="40">
                  <c:v>1274.4374</c:v>
                </c:pt>
                <c:pt idx="41">
                  <c:v>1296.8614</c:v>
                </c:pt>
                <c:pt idx="42">
                  <c:v>1292.6702</c:v>
                </c:pt>
                <c:pt idx="43">
                  <c:v>1302.0746</c:v>
                </c:pt>
                <c:pt idx="44">
                  <c:v>1228.3732</c:v>
                </c:pt>
                <c:pt idx="45">
                  <c:v>1191.7719</c:v>
                </c:pt>
                <c:pt idx="46">
                  <c:v>1187.7071</c:v>
                </c:pt>
                <c:pt idx="47">
                  <c:v>1166.1368</c:v>
                </c:pt>
                <c:pt idx="48">
                  <c:v>1151.4027</c:v>
                </c:pt>
                <c:pt idx="49">
                  <c:v>1160.7003</c:v>
                </c:pt>
                <c:pt idx="50">
                  <c:v>1117.3454</c:v>
                </c:pt>
                <c:pt idx="51">
                  <c:v>1097.8635</c:v>
                </c:pt>
              </c:numCache>
            </c:numRef>
          </c:xVal>
          <c:yVal>
            <c:numRef>
              <c:f>Sheet1!$B$109:$B$160</c:f>
              <c:numCache>
                <c:formatCode>General</c:formatCode>
                <c:ptCount val="52"/>
                <c:pt idx="0">
                  <c:v>0.1895009881422925</c:v>
                </c:pt>
                <c:pt idx="1">
                  <c:v>0.18778197460917007</c:v>
                </c:pt>
                <c:pt idx="2">
                  <c:v>0.20062526444454892</c:v>
                </c:pt>
                <c:pt idx="3">
                  <c:v>0.2109382344646047</c:v>
                </c:pt>
                <c:pt idx="4">
                  <c:v>0.19643423331138266</c:v>
                </c:pt>
                <c:pt idx="5">
                  <c:v>0.19497255978047826</c:v>
                </c:pt>
                <c:pt idx="6">
                  <c:v>0.20213940648723258</c:v>
                </c:pt>
                <c:pt idx="7">
                  <c:v>0.19750794499858407</c:v>
                </c:pt>
                <c:pt idx="8">
                  <c:v>0.18985678180286436</c:v>
                </c:pt>
                <c:pt idx="9">
                  <c:v>0.19953445065176909</c:v>
                </c:pt>
                <c:pt idx="10">
                  <c:v>0.20161601758607373</c:v>
                </c:pt>
                <c:pt idx="11">
                  <c:v>0.20536135246177678</c:v>
                </c:pt>
                <c:pt idx="12">
                  <c:v>0.2045144675049235</c:v>
                </c:pt>
                <c:pt idx="13">
                  <c:v>0.20614427991779521</c:v>
                </c:pt>
                <c:pt idx="14">
                  <c:v>0.20374727668845316</c:v>
                </c:pt>
                <c:pt idx="15">
                  <c:v>0.20129224652087474</c:v>
                </c:pt>
                <c:pt idx="16">
                  <c:v>0.19142342342342342</c:v>
                </c:pt>
                <c:pt idx="17">
                  <c:v>0.19288650850526157</c:v>
                </c:pt>
                <c:pt idx="18">
                  <c:v>0.19724100127900604</c:v>
                </c:pt>
                <c:pt idx="19">
                  <c:v>0.19699765179469977</c:v>
                </c:pt>
                <c:pt idx="20">
                  <c:v>0.1840305244055651</c:v>
                </c:pt>
                <c:pt idx="21">
                  <c:v>0.19424171024653755</c:v>
                </c:pt>
                <c:pt idx="22">
                  <c:v>0.19073538583659352</c:v>
                </c:pt>
                <c:pt idx="23">
                  <c:v>0.19870296798317363</c:v>
                </c:pt>
                <c:pt idx="24">
                  <c:v>0.19888425499647944</c:v>
                </c:pt>
                <c:pt idx="25">
                  <c:v>0.19659187730758307</c:v>
                </c:pt>
                <c:pt idx="26">
                  <c:v>0.19053030303030302</c:v>
                </c:pt>
                <c:pt idx="27">
                  <c:v>0.19100848163945677</c:v>
                </c:pt>
                <c:pt idx="28">
                  <c:v>0.18142673236560572</c:v>
                </c:pt>
                <c:pt idx="29">
                  <c:v>0.18295873151460146</c:v>
                </c:pt>
                <c:pt idx="30">
                  <c:v>0.19096874652430207</c:v>
                </c:pt>
                <c:pt idx="31">
                  <c:v>0.1822752604797674</c:v>
                </c:pt>
                <c:pt idx="32">
                  <c:v>0.17781783480012725</c:v>
                </c:pt>
                <c:pt idx="33">
                  <c:v>0.1965108041091038</c:v>
                </c:pt>
                <c:pt idx="34">
                  <c:v>0.21435682653026195</c:v>
                </c:pt>
                <c:pt idx="35">
                  <c:v>0.21057403057650306</c:v>
                </c:pt>
                <c:pt idx="36">
                  <c:v>0.1951282884053264</c:v>
                </c:pt>
                <c:pt idx="37">
                  <c:v>0.19675832127351664</c:v>
                </c:pt>
                <c:pt idx="38">
                  <c:v>0.19594594594594594</c:v>
                </c:pt>
                <c:pt idx="39">
                  <c:v>0.20339545691658367</c:v>
                </c:pt>
                <c:pt idx="40">
                  <c:v>0.19003562011379932</c:v>
                </c:pt>
                <c:pt idx="41">
                  <c:v>0.1933872088981578</c:v>
                </c:pt>
                <c:pt idx="42">
                  <c:v>0.19131495486704075</c:v>
                </c:pt>
                <c:pt idx="43">
                  <c:v>0.18496799799764008</c:v>
                </c:pt>
                <c:pt idx="44">
                  <c:v>0.1825501390718782</c:v>
                </c:pt>
                <c:pt idx="45">
                  <c:v>0.1977002885653237</c:v>
                </c:pt>
                <c:pt idx="46">
                  <c:v>0.2098371043113235</c:v>
                </c:pt>
                <c:pt idx="47">
                  <c:v>0.21031106704672203</c:v>
                </c:pt>
                <c:pt idx="48">
                  <c:v>0.20441701986204605</c:v>
                </c:pt>
                <c:pt idx="49">
                  <c:v>0.21285381785419324</c:v>
                </c:pt>
                <c:pt idx="50">
                  <c:v>0.21914104646980764</c:v>
                </c:pt>
                <c:pt idx="51">
                  <c:v>0.210663171014741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01.6273839627527</c:v>
                </c:pt>
              </c:numCache>
            </c:numRef>
          </c:xVal>
          <c:yVal>
            <c:numRef>
              <c:f>Sheet1!$B$163:$B$164</c:f>
              <c:numCache>
                <c:formatCode>General</c:formatCode>
                <c:ptCount val="2"/>
                <c:pt idx="0">
                  <c:v>0.2482791923123147</c:v>
                </c:pt>
                <c:pt idx="1">
                  <c:v>0.248279192312314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01.6273839627527</c:v>
                </c:pt>
                <c:pt idx="1">
                  <c:v>601.6273839627527</c:v>
                </c:pt>
              </c:numCache>
            </c:numRef>
          </c:xVal>
          <c:yVal>
            <c:numRef>
              <c:f>Sheet1!$B$167:$B$168</c:f>
              <c:numCache>
                <c:formatCode>General</c:formatCode>
                <c:ptCount val="2"/>
                <c:pt idx="0">
                  <c:v>0.24827919231231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30.6676908402665</c:v>
                </c:pt>
              </c:numCache>
            </c:numRef>
          </c:xVal>
          <c:yVal>
            <c:numRef>
              <c:f>Sheet1!$B$171:$B$172</c:f>
              <c:numCache>
                <c:formatCode>General</c:formatCode>
                <c:ptCount val="2"/>
                <c:pt idx="0">
                  <c:v>0.2117687638001972</c:v>
                </c:pt>
                <c:pt idx="1">
                  <c:v>0.211768763800197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30.6676908402665</c:v>
                </c:pt>
                <c:pt idx="1">
                  <c:v>1030.6676908402665</c:v>
                </c:pt>
              </c:numCache>
            </c:numRef>
          </c:xVal>
          <c:yVal>
            <c:numRef>
              <c:f>Sheet1!$B$175:$B$176</c:f>
              <c:numCache>
                <c:formatCode>General</c:formatCode>
                <c:ptCount val="2"/>
                <c:pt idx="0">
                  <c:v>0.211768763800197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9.4054232510846</c:v>
                </c:pt>
              </c:numCache>
            </c:numRef>
          </c:xVal>
          <c:yVal>
            <c:numRef>
              <c:f>Sheet1!$B$179:$B$180</c:f>
              <c:numCache>
                <c:formatCode>General</c:formatCode>
                <c:ptCount val="2"/>
                <c:pt idx="0">
                  <c:v>0.20081345330686598</c:v>
                </c:pt>
                <c:pt idx="1">
                  <c:v>0.2008134533068659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9.4054232510846</c:v>
                </c:pt>
                <c:pt idx="1">
                  <c:v>1159.4054232510846</c:v>
                </c:pt>
              </c:numCache>
            </c:numRef>
          </c:xVal>
          <c:yVal>
            <c:numRef>
              <c:f>Sheet1!$B$183:$B$184</c:f>
              <c:numCache>
                <c:formatCode>General</c:formatCode>
                <c:ptCount val="2"/>
                <c:pt idx="0">
                  <c:v>0.2008134533068659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95.6848</c:v>
                </c:pt>
                <c:pt idx="1">
                  <c:v>1198.9994</c:v>
                </c:pt>
                <c:pt idx="2">
                  <c:v>1210.5629</c:v>
                </c:pt>
                <c:pt idx="3">
                  <c:v>1199.603</c:v>
                </c:pt>
                <c:pt idx="4">
                  <c:v>1217.8573</c:v>
                </c:pt>
                <c:pt idx="5">
                  <c:v>1213.9471</c:v>
                </c:pt>
                <c:pt idx="6">
                  <c:v>1133.9565</c:v>
                </c:pt>
                <c:pt idx="7">
                  <c:v>1164.5555</c:v>
                </c:pt>
                <c:pt idx="8">
                  <c:v>1201.2923</c:v>
                </c:pt>
                <c:pt idx="9">
                  <c:v>1136.7634</c:v>
                </c:pt>
                <c:pt idx="10">
                  <c:v>1160.9751</c:v>
                </c:pt>
                <c:pt idx="11">
                  <c:v>1076.0515</c:v>
                </c:pt>
                <c:pt idx="12">
                  <c:v>1107.9836</c:v>
                </c:pt>
                <c:pt idx="13">
                  <c:v>1135.0708</c:v>
                </c:pt>
                <c:pt idx="14">
                  <c:v>1145.0448</c:v>
                </c:pt>
                <c:pt idx="15">
                  <c:v>1152.681</c:v>
                </c:pt>
                <c:pt idx="16">
                  <c:v>1202.9584</c:v>
                </c:pt>
                <c:pt idx="17">
                  <c:v>1161.3676</c:v>
                </c:pt>
                <c:pt idx="18">
                  <c:v>1174.7117</c:v>
                </c:pt>
                <c:pt idx="19">
                  <c:v>1255.5536</c:v>
                </c:pt>
                <c:pt idx="20">
                  <c:v>1241.1818</c:v>
                </c:pt>
                <c:pt idx="21">
                  <c:v>1182.4799</c:v>
                </c:pt>
                <c:pt idx="22">
                  <c:v>1207.6495</c:v>
                </c:pt>
                <c:pt idx="23">
                  <c:v>1197.7542</c:v>
                </c:pt>
                <c:pt idx="24">
                  <c:v>1194.7574</c:v>
                </c:pt>
                <c:pt idx="25">
                  <c:v>1180.9858</c:v>
                </c:pt>
                <c:pt idx="26">
                  <c:v>1195.4343</c:v>
                </c:pt>
                <c:pt idx="27">
                  <c:v>1200.8557</c:v>
                </c:pt>
                <c:pt idx="28">
                  <c:v>1239.3249</c:v>
                </c:pt>
                <c:pt idx="29">
                  <c:v>1245.4634</c:v>
                </c:pt>
                <c:pt idx="30">
                  <c:v>1236.1846</c:v>
                </c:pt>
                <c:pt idx="31">
                  <c:v>1222.3516</c:v>
                </c:pt>
                <c:pt idx="32">
                  <c:v>1238.381</c:v>
                </c:pt>
                <c:pt idx="33">
                  <c:v>1235.9333</c:v>
                </c:pt>
                <c:pt idx="34">
                  <c:v>1249.3299</c:v>
                </c:pt>
                <c:pt idx="35">
                  <c:v>1268.9072</c:v>
                </c:pt>
                <c:pt idx="36">
                  <c:v>1290.0027</c:v>
                </c:pt>
                <c:pt idx="37">
                  <c:v>1273.1904</c:v>
                </c:pt>
                <c:pt idx="38">
                  <c:v>1281.431</c:v>
                </c:pt>
                <c:pt idx="39">
                  <c:v>1247.9419</c:v>
                </c:pt>
                <c:pt idx="40">
                  <c:v>1274.4374</c:v>
                </c:pt>
                <c:pt idx="41">
                  <c:v>1296.8614</c:v>
                </c:pt>
                <c:pt idx="42">
                  <c:v>1292.6702</c:v>
                </c:pt>
                <c:pt idx="43">
                  <c:v>1302.0746</c:v>
                </c:pt>
                <c:pt idx="44">
                  <c:v>1228.3732</c:v>
                </c:pt>
                <c:pt idx="45">
                  <c:v>1191.7719</c:v>
                </c:pt>
                <c:pt idx="46">
                  <c:v>1187.7071</c:v>
                </c:pt>
                <c:pt idx="47">
                  <c:v>1166.1368</c:v>
                </c:pt>
                <c:pt idx="48">
                  <c:v>1151.4027</c:v>
                </c:pt>
                <c:pt idx="49">
                  <c:v>1160.7003</c:v>
                </c:pt>
                <c:pt idx="50">
                  <c:v>1117.3454</c:v>
                </c:pt>
                <c:pt idx="51">
                  <c:v>1097.8635</c:v>
                </c:pt>
                <c:pt idx="52">
                  <c:v>1030.6676908402665</c:v>
                </c:pt>
                <c:pt idx="53">
                  <c:v>601.6273839627527</c:v>
                </c:pt>
                <c:pt idx="54">
                  <c:v>1159.4054232510846</c:v>
                </c:pt>
              </c:numCache>
            </c:numRef>
          </c:xVal>
          <c:yVal>
            <c:numRef>
              <c:f>Sheet1!$B$187:$B$241</c:f>
              <c:numCache>
                <c:formatCode>General</c:formatCode>
                <c:ptCount val="55"/>
                <c:pt idx="0">
                  <c:v>0.19772615458452564</c:v>
                </c:pt>
                <c:pt idx="1">
                  <c:v>0.19744408908996405</c:v>
                </c:pt>
                <c:pt idx="2">
                  <c:v>0.19646005953998424</c:v>
                </c:pt>
                <c:pt idx="3">
                  <c:v>0.1973927239983942</c:v>
                </c:pt>
                <c:pt idx="4">
                  <c:v>0.19583932142874005</c:v>
                </c:pt>
                <c:pt idx="5">
                  <c:v>0.19617207123168298</c:v>
                </c:pt>
                <c:pt idx="6">
                  <c:v>0.20297910319610668</c:v>
                </c:pt>
                <c:pt idx="7">
                  <c:v>0.20037519259811892</c:v>
                </c:pt>
                <c:pt idx="8">
                  <c:v>0.1972489681183595</c:v>
                </c:pt>
                <c:pt idx="9">
                  <c:v>0.20274024190464318</c:v>
                </c:pt>
                <c:pt idx="10">
                  <c:v>0.20067987711411733</c:v>
                </c:pt>
                <c:pt idx="11">
                  <c:v>0.2079066970121295</c:v>
                </c:pt>
                <c:pt idx="12">
                  <c:v>0.20518934240557354</c:v>
                </c:pt>
                <c:pt idx="13">
                  <c:v>0.2028842786077431</c:v>
                </c:pt>
                <c:pt idx="14">
                  <c:v>0.20203551216752186</c:v>
                </c:pt>
                <c:pt idx="15">
                  <c:v>0.20138568759455036</c:v>
                </c:pt>
                <c:pt idx="16">
                  <c:v>0.19710718650957143</c:v>
                </c:pt>
                <c:pt idx="17">
                  <c:v>0.20064647618893316</c:v>
                </c:pt>
                <c:pt idx="18">
                  <c:v>0.19951092132078033</c:v>
                </c:pt>
                <c:pt idx="19">
                  <c:v>0.19263144551531391</c:v>
                </c:pt>
                <c:pt idx="20">
                  <c:v>0.19385445549381516</c:v>
                </c:pt>
                <c:pt idx="21">
                  <c:v>0.19884986382519915</c:v>
                </c:pt>
                <c:pt idx="22">
                  <c:v>0.19670798375764423</c:v>
                </c:pt>
                <c:pt idx="23">
                  <c:v>0.19755005299324893</c:v>
                </c:pt>
                <c:pt idx="24">
                  <c:v>0.19780507437564868</c:v>
                </c:pt>
                <c:pt idx="25">
                  <c:v>0.1989770085954352</c:v>
                </c:pt>
                <c:pt idx="26">
                  <c:v>0.1977474716081145</c:v>
                </c:pt>
                <c:pt idx="27">
                  <c:v>0.19728612186087013</c:v>
                </c:pt>
                <c:pt idx="28">
                  <c:v>0.1940124737816482</c:v>
                </c:pt>
                <c:pt idx="29">
                  <c:v>0.19349010033134761</c:v>
                </c:pt>
                <c:pt idx="30">
                  <c:v>0.1942797067124911</c:v>
                </c:pt>
                <c:pt idx="31">
                  <c:v>0.19545686594324913</c:v>
                </c:pt>
                <c:pt idx="32">
                  <c:v>0.19409279768809745</c:v>
                </c:pt>
                <c:pt idx="33">
                  <c:v>0.1943010918143988</c:v>
                </c:pt>
                <c:pt idx="34">
                  <c:v>0.19316106930657168</c:v>
                </c:pt>
                <c:pt idx="35">
                  <c:v>0.19149508221712475</c:v>
                </c:pt>
                <c:pt idx="36">
                  <c:v>0.18969989949808652</c:v>
                </c:pt>
                <c:pt idx="37">
                  <c:v>0.19113059089801954</c:v>
                </c:pt>
                <c:pt idx="38">
                  <c:v>0.19042933315515936</c:v>
                </c:pt>
                <c:pt idx="39">
                  <c:v>0.1932791851897707</c:v>
                </c:pt>
                <c:pt idx="40">
                  <c:v>0.19102447381851723</c:v>
                </c:pt>
                <c:pt idx="41">
                  <c:v>0.18911623854124418</c:v>
                </c:pt>
                <c:pt idx="42">
                  <c:v>0.18947290085368204</c:v>
                </c:pt>
                <c:pt idx="43">
                  <c:v>0.18867260617647966</c:v>
                </c:pt>
                <c:pt idx="44">
                  <c:v>0.19494444043728998</c:v>
                </c:pt>
                <c:pt idx="45">
                  <c:v>0.1980591341517947</c:v>
                </c:pt>
                <c:pt idx="46">
                  <c:v>0.1984050400898548</c:v>
                </c:pt>
                <c:pt idx="47">
                  <c:v>0.20024062729112857</c:v>
                </c:pt>
                <c:pt idx="48">
                  <c:v>0.20149446823827752</c:v>
                </c:pt>
                <c:pt idx="49">
                  <c:v>0.20070326201664118</c:v>
                </c:pt>
                <c:pt idx="50">
                  <c:v>0.20439267289884974</c:v>
                </c:pt>
                <c:pt idx="51">
                  <c:v>0.20605054164877418</c:v>
                </c:pt>
                <c:pt idx="52">
                  <c:v>0.2117687638001972</c:v>
                </c:pt>
                <c:pt idx="53">
                  <c:v>0.2482791923123147</c:v>
                </c:pt>
                <c:pt idx="54">
                  <c:v>0.2008134533068659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2.0"/>
          <c:min val="48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641155439130587"/>
          <c:min val="0.1313637663204040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49.901</c:v>
                </c:pt>
                <c:pt idx="1">
                  <c:v>1082.3565</c:v>
                </c:pt>
                <c:pt idx="2">
                  <c:v>1124.1035</c:v>
                </c:pt>
                <c:pt idx="3">
                  <c:v>1146.5347</c:v>
                </c:pt>
                <c:pt idx="4">
                  <c:v>1130.1763</c:v>
                </c:pt>
                <c:pt idx="5">
                  <c:v>1105.023</c:v>
                </c:pt>
                <c:pt idx="6">
                  <c:v>1105.1221</c:v>
                </c:pt>
                <c:pt idx="7">
                  <c:v>1113.1498</c:v>
                </c:pt>
                <c:pt idx="8">
                  <c:v>1080.5584</c:v>
                </c:pt>
                <c:pt idx="9">
                  <c:v>1059.8794</c:v>
                </c:pt>
                <c:pt idx="10">
                  <c:v>1038.9795</c:v>
                </c:pt>
                <c:pt idx="11">
                  <c:v>1019.4065</c:v>
                </c:pt>
                <c:pt idx="12">
                  <c:v>1017.1836</c:v>
                </c:pt>
                <c:pt idx="13">
                  <c:v>1023.3967</c:v>
                </c:pt>
                <c:pt idx="14">
                  <c:v>1090.523</c:v>
                </c:pt>
                <c:pt idx="15">
                  <c:v>1087.4029</c:v>
                </c:pt>
                <c:pt idx="16">
                  <c:v>1091.2432</c:v>
                </c:pt>
                <c:pt idx="17">
                  <c:v>1123.6795</c:v>
                </c:pt>
                <c:pt idx="18">
                  <c:v>1167.6463</c:v>
                </c:pt>
                <c:pt idx="19">
                  <c:v>1230.7969</c:v>
                </c:pt>
                <c:pt idx="20">
                  <c:v>1201.432</c:v>
                </c:pt>
                <c:pt idx="21">
                  <c:v>1232.9026</c:v>
                </c:pt>
                <c:pt idx="22">
                  <c:v>1242.3718</c:v>
                </c:pt>
                <c:pt idx="23">
                  <c:v>1223.8813</c:v>
                </c:pt>
                <c:pt idx="24">
                  <c:v>1255.7362</c:v>
                </c:pt>
                <c:pt idx="25">
                  <c:v>1217.3693</c:v>
                </c:pt>
                <c:pt idx="26">
                  <c:v>1196.6121</c:v>
                </c:pt>
                <c:pt idx="27">
                  <c:v>1187.2168</c:v>
                </c:pt>
                <c:pt idx="28">
                  <c:v>1195.785</c:v>
                </c:pt>
                <c:pt idx="29">
                  <c:v>1196.9495</c:v>
                </c:pt>
                <c:pt idx="30">
                  <c:v>1229.775</c:v>
                </c:pt>
                <c:pt idx="31">
                  <c:v>1184.536</c:v>
                </c:pt>
                <c:pt idx="32">
                  <c:v>1233.4451</c:v>
                </c:pt>
                <c:pt idx="33">
                  <c:v>1218.4158</c:v>
                </c:pt>
                <c:pt idx="34">
                  <c:v>1239.2738</c:v>
                </c:pt>
                <c:pt idx="35">
                  <c:v>1246.5918</c:v>
                </c:pt>
                <c:pt idx="36">
                  <c:v>1271.3226</c:v>
                </c:pt>
                <c:pt idx="37">
                  <c:v>1363.7677</c:v>
                </c:pt>
                <c:pt idx="38">
                  <c:v>1406.2804</c:v>
                </c:pt>
                <c:pt idx="39">
                  <c:v>1353.3368</c:v>
                </c:pt>
                <c:pt idx="40">
                  <c:v>1390.4374</c:v>
                </c:pt>
                <c:pt idx="41">
                  <c:v>1342.9659</c:v>
                </c:pt>
                <c:pt idx="42">
                  <c:v>1422.3063</c:v>
                </c:pt>
                <c:pt idx="43">
                  <c:v>1434.9079</c:v>
                </c:pt>
                <c:pt idx="44">
                  <c:v>1281.4493</c:v>
                </c:pt>
                <c:pt idx="45">
                  <c:v>1220.6228</c:v>
                </c:pt>
                <c:pt idx="46">
                  <c:v>1219.899</c:v>
                </c:pt>
                <c:pt idx="47">
                  <c:v>1211.6559</c:v>
                </c:pt>
                <c:pt idx="48">
                  <c:v>1184.3372</c:v>
                </c:pt>
                <c:pt idx="49">
                  <c:v>1149.134</c:v>
                </c:pt>
                <c:pt idx="50">
                  <c:v>1168.6769</c:v>
                </c:pt>
                <c:pt idx="51">
                  <c:v>1197.1535</c:v>
                </c:pt>
                <c:pt idx="52">
                  <c:v>1180.7303</c:v>
                </c:pt>
                <c:pt idx="53">
                  <c:v>1360.6411</c:v>
                </c:pt>
                <c:pt idx="54">
                  <c:v>1378.9377</c:v>
                </c:pt>
                <c:pt idx="55">
                  <c:v>1387.1158</c:v>
                </c:pt>
                <c:pt idx="56">
                  <c:v>1355.198</c:v>
                </c:pt>
                <c:pt idx="57">
                  <c:v>1371.0023</c:v>
                </c:pt>
                <c:pt idx="58">
                  <c:v>1350.91</c:v>
                </c:pt>
                <c:pt idx="59">
                  <c:v>1323.6373</c:v>
                </c:pt>
                <c:pt idx="60">
                  <c:v>1302.8948</c:v>
                </c:pt>
                <c:pt idx="61">
                  <c:v>1271.64</c:v>
                </c:pt>
                <c:pt idx="62">
                  <c:v>1240.9083</c:v>
                </c:pt>
                <c:pt idx="63">
                  <c:v>1202.6249</c:v>
                </c:pt>
                <c:pt idx="64">
                  <c:v>1238.0049</c:v>
                </c:pt>
                <c:pt idx="65">
                  <c:v>1217.9824</c:v>
                </c:pt>
                <c:pt idx="66">
                  <c:v>1290.957</c:v>
                </c:pt>
                <c:pt idx="67">
                  <c:v>1347.8102</c:v>
                </c:pt>
                <c:pt idx="68">
                  <c:v>1361.1501</c:v>
                </c:pt>
                <c:pt idx="69">
                  <c:v>1395.0201</c:v>
                </c:pt>
                <c:pt idx="70">
                  <c:v>1408.913</c:v>
                </c:pt>
                <c:pt idx="71">
                  <c:v>1412.5888</c:v>
                </c:pt>
                <c:pt idx="72">
                  <c:v>1444.5319</c:v>
                </c:pt>
                <c:pt idx="73">
                  <c:v>1403.2792</c:v>
                </c:pt>
                <c:pt idx="74">
                  <c:v>1322.0719</c:v>
                </c:pt>
                <c:pt idx="75">
                  <c:v>1328.8297</c:v>
                </c:pt>
                <c:pt idx="76">
                  <c:v>1321.8799</c:v>
                </c:pt>
                <c:pt idx="77">
                  <c:v>1305.5613</c:v>
                </c:pt>
                <c:pt idx="78">
                  <c:v>1356.7642</c:v>
                </c:pt>
                <c:pt idx="79">
                  <c:v>1372.9262</c:v>
                </c:pt>
                <c:pt idx="80">
                  <c:v>1393.9536</c:v>
                </c:pt>
                <c:pt idx="81">
                  <c:v>1398.9075</c:v>
                </c:pt>
                <c:pt idx="82">
                  <c:v>1419.739</c:v>
                </c:pt>
                <c:pt idx="83">
                  <c:v>1406.2929</c:v>
                </c:pt>
                <c:pt idx="84">
                  <c:v>1398.6585</c:v>
                </c:pt>
                <c:pt idx="85">
                  <c:v>1398.6978</c:v>
                </c:pt>
                <c:pt idx="86">
                  <c:v>1323.1793</c:v>
                </c:pt>
                <c:pt idx="87">
                  <c:v>1340.5124</c:v>
                </c:pt>
                <c:pt idx="88">
                  <c:v>1331.3384</c:v>
                </c:pt>
                <c:pt idx="89">
                  <c:v>1300.314</c:v>
                </c:pt>
                <c:pt idx="90">
                  <c:v>1318.7637</c:v>
                </c:pt>
                <c:pt idx="91">
                  <c:v>1329.2147</c:v>
                </c:pt>
                <c:pt idx="92">
                  <c:v>1310.096</c:v>
                </c:pt>
                <c:pt idx="93">
                  <c:v>1310.3904</c:v>
                </c:pt>
                <c:pt idx="94">
                  <c:v>1344.8377</c:v>
                </c:pt>
                <c:pt idx="95">
                  <c:v>1290.0745</c:v>
                </c:pt>
                <c:pt idx="96">
                  <c:v>1221.1758</c:v>
                </c:pt>
                <c:pt idx="97">
                  <c:v>1255.3345</c:v>
                </c:pt>
                <c:pt idx="98">
                  <c:v>1230.5723</c:v>
                </c:pt>
                <c:pt idx="99">
                  <c:v>1216.8762</c:v>
                </c:pt>
                <c:pt idx="100">
                  <c:v>1190.8076</c:v>
                </c:pt>
                <c:pt idx="101">
                  <c:v>1260.7641</c:v>
                </c:pt>
                <c:pt idx="102">
                  <c:v>1268.1703</c:v>
                </c:pt>
                <c:pt idx="103">
                  <c:v>972.2173</c:v>
                </c:pt>
                <c:pt idx="104">
                  <c:v>1084.7652</c:v>
                </c:pt>
              </c:numCache>
            </c:numRef>
          </c:xVal>
          <c:yVal>
            <c:numRef>
              <c:f>Sheet1!$B$2:$B$106</c:f>
              <c:numCache>
                <c:formatCode>General</c:formatCode>
                <c:ptCount val="105"/>
                <c:pt idx="0">
                  <c:v>0.16057585825027684</c:v>
                </c:pt>
                <c:pt idx="1">
                  <c:v>0.16201461653605706</c:v>
                </c:pt>
                <c:pt idx="2">
                  <c:v>0.16815544709457592</c:v>
                </c:pt>
                <c:pt idx="3">
                  <c:v>0.1675101214574899</c:v>
                </c:pt>
                <c:pt idx="4">
                  <c:v>0.16358269951186286</c:v>
                </c:pt>
                <c:pt idx="5">
                  <c:v>0.1556230343780501</c:v>
                </c:pt>
                <c:pt idx="6">
                  <c:v>0.16230532895433838</c:v>
                </c:pt>
                <c:pt idx="7">
                  <c:v>0.15787518573551262</c:v>
                </c:pt>
                <c:pt idx="8">
                  <c:v>0.17640364188163885</c:v>
                </c:pt>
                <c:pt idx="9">
                  <c:v>0.16586492207042525</c:v>
                </c:pt>
                <c:pt idx="10">
                  <c:v>0.17921857304643263</c:v>
                </c:pt>
                <c:pt idx="11">
                  <c:v>0.1702827087442472</c:v>
                </c:pt>
                <c:pt idx="12">
                  <c:v>0.18709462830533843</c:v>
                </c:pt>
                <c:pt idx="13">
                  <c:v>0.17572223694672676</c:v>
                </c:pt>
                <c:pt idx="14">
                  <c:v>0.17798326728313518</c:v>
                </c:pt>
                <c:pt idx="15">
                  <c:v>0.17764082603524706</c:v>
                </c:pt>
                <c:pt idx="16">
                  <c:v>0.15985546972339895</c:v>
                </c:pt>
                <c:pt idx="17">
                  <c:v>0.16848926690968002</c:v>
                </c:pt>
                <c:pt idx="18">
                  <c:v>0.15017388555169142</c:v>
                </c:pt>
                <c:pt idx="19">
                  <c:v>0.12907336610231204</c:v>
                </c:pt>
                <c:pt idx="20">
                  <c:v>0.15121729925903524</c:v>
                </c:pt>
                <c:pt idx="21">
                  <c:v>0.1354559155990957</c:v>
                </c:pt>
                <c:pt idx="22">
                  <c:v>0.1201977938379612</c:v>
                </c:pt>
                <c:pt idx="23">
                  <c:v>0.12073490813648294</c:v>
                </c:pt>
                <c:pt idx="24">
                  <c:v>0.12777053455019557</c:v>
                </c:pt>
                <c:pt idx="25">
                  <c:v>0.12156357388316151</c:v>
                </c:pt>
                <c:pt idx="26">
                  <c:v>0.12521529452290733</c:v>
                </c:pt>
                <c:pt idx="27">
                  <c:v>0.12001951536835258</c:v>
                </c:pt>
                <c:pt idx="28">
                  <c:v>0.12959480253034708</c:v>
                </c:pt>
                <c:pt idx="29">
                  <c:v>0.1319796954314721</c:v>
                </c:pt>
                <c:pt idx="30">
                  <c:v>0.1111111111111111</c:v>
                </c:pt>
                <c:pt idx="31">
                  <c:v>0.10149942329873125</c:v>
                </c:pt>
                <c:pt idx="32">
                  <c:v>0.09518282066163668</c:v>
                </c:pt>
                <c:pt idx="33">
                  <c:v>0.102945688861614</c:v>
                </c:pt>
                <c:pt idx="34">
                  <c:v>0.10915882678472606</c:v>
                </c:pt>
                <c:pt idx="35">
                  <c:v>0.1316793893129771</c:v>
                </c:pt>
                <c:pt idx="36">
                  <c:v>0.12530120481927712</c:v>
                </c:pt>
                <c:pt idx="37">
                  <c:v>0.08573705179282869</c:v>
                </c:pt>
                <c:pt idx="38">
                  <c:v>0.08477393617021277</c:v>
                </c:pt>
                <c:pt idx="39">
                  <c:v>0.10365198711063373</c:v>
                </c:pt>
                <c:pt idx="40">
                  <c:v>0.1091844232182219</c:v>
                </c:pt>
                <c:pt idx="41">
                  <c:v>0.11530003141690229</c:v>
                </c:pt>
                <c:pt idx="42">
                  <c:v>0.10209808900173727</c:v>
                </c:pt>
                <c:pt idx="43">
                  <c:v>0.1134453781512605</c:v>
                </c:pt>
                <c:pt idx="44">
                  <c:v>0.11082598235765838</c:v>
                </c:pt>
                <c:pt idx="45">
                  <c:v>0.1320560058953574</c:v>
                </c:pt>
                <c:pt idx="46">
                  <c:v>0.1321151475600029</c:v>
                </c:pt>
                <c:pt idx="47">
                  <c:v>0.13707391525546914</c:v>
                </c:pt>
                <c:pt idx="48">
                  <c:v>0.14307180422882904</c:v>
                </c:pt>
                <c:pt idx="49">
                  <c:v>0.16854580166420519</c:v>
                </c:pt>
                <c:pt idx="50">
                  <c:v>0.1434755288696502</c:v>
                </c:pt>
                <c:pt idx="51">
                  <c:v>0.14537214572076</c:v>
                </c:pt>
                <c:pt idx="52">
                  <c:v>0.14436750800387163</c:v>
                </c:pt>
                <c:pt idx="53">
                  <c:v>0.12695501061981077</c:v>
                </c:pt>
                <c:pt idx="54">
                  <c:v>0.11626442812172089</c:v>
                </c:pt>
                <c:pt idx="55">
                  <c:v>0.11953029799490418</c:v>
                </c:pt>
                <c:pt idx="56">
                  <c:v>0.14832100170745588</c:v>
                </c:pt>
                <c:pt idx="57">
                  <c:v>0.1323008401660087</c:v>
                </c:pt>
                <c:pt idx="58">
                  <c:v>0.1394291946918742</c:v>
                </c:pt>
                <c:pt idx="59">
                  <c:v>0.13655413271245634</c:v>
                </c:pt>
                <c:pt idx="60">
                  <c:v>0.15693112467306017</c:v>
                </c:pt>
                <c:pt idx="61">
                  <c:v>0.16839008735960065</c:v>
                </c:pt>
                <c:pt idx="62">
                  <c:v>0.16058583932749804</c:v>
                </c:pt>
                <c:pt idx="63">
                  <c:v>0.17314514885084065</c:v>
                </c:pt>
                <c:pt idx="64">
                  <c:v>0.14845345783484096</c:v>
                </c:pt>
                <c:pt idx="65">
                  <c:v>0.1556811048336472</c:v>
                </c:pt>
                <c:pt idx="66">
                  <c:v>0.1469521962735014</c:v>
                </c:pt>
                <c:pt idx="67">
                  <c:v>0.14144736842105263</c:v>
                </c:pt>
                <c:pt idx="68">
                  <c:v>0.12576821773485514</c:v>
                </c:pt>
                <c:pt idx="69">
                  <c:v>0.11633663366336634</c:v>
                </c:pt>
                <c:pt idx="70">
                  <c:v>0.11216472500677323</c:v>
                </c:pt>
                <c:pt idx="71">
                  <c:v>0.12079353416605437</c:v>
                </c:pt>
                <c:pt idx="72">
                  <c:v>0.12347022028827849</c:v>
                </c:pt>
                <c:pt idx="73">
                  <c:v>0.13430180847909873</c:v>
                </c:pt>
                <c:pt idx="74">
                  <c:v>0.13287710293698318</c:v>
                </c:pt>
                <c:pt idx="75">
                  <c:v>0.12062448644207066</c:v>
                </c:pt>
                <c:pt idx="76">
                  <c:v>0.12040816326530612</c:v>
                </c:pt>
                <c:pt idx="77">
                  <c:v>0.11754101316026681</c:v>
                </c:pt>
                <c:pt idx="78">
                  <c:v>0.11908783783783784</c:v>
                </c:pt>
                <c:pt idx="79">
                  <c:v>0.11004152510381277</c:v>
                </c:pt>
                <c:pt idx="80">
                  <c:v>0.09904214559386973</c:v>
                </c:pt>
                <c:pt idx="81">
                  <c:v>0.10338545620160923</c:v>
                </c:pt>
                <c:pt idx="82">
                  <c:v>0.0958614051973051</c:v>
                </c:pt>
                <c:pt idx="83">
                  <c:v>0.08653846153846154</c:v>
                </c:pt>
                <c:pt idx="84">
                  <c:v>0.09471724458924831</c:v>
                </c:pt>
                <c:pt idx="85">
                  <c:v>0.09723102938068062</c:v>
                </c:pt>
                <c:pt idx="86">
                  <c:v>0.10944206008583691</c:v>
                </c:pt>
                <c:pt idx="87">
                  <c:v>0.12922173274596183</c:v>
                </c:pt>
                <c:pt idx="88">
                  <c:v>0.12578179291174427</c:v>
                </c:pt>
                <c:pt idx="89">
                  <c:v>0.1274</c:v>
                </c:pt>
                <c:pt idx="90">
                  <c:v>0.12230362230362231</c:v>
                </c:pt>
                <c:pt idx="91">
                  <c:v>0.10922962411611463</c:v>
                </c:pt>
                <c:pt idx="92">
                  <c:v>0.12279895881182055</c:v>
                </c:pt>
                <c:pt idx="93">
                  <c:v>0.11488060570762959</c:v>
                </c:pt>
                <c:pt idx="94">
                  <c:v>0.10578324963550947</c:v>
                </c:pt>
                <c:pt idx="95">
                  <c:v>0.12292062074355253</c:v>
                </c:pt>
                <c:pt idx="96">
                  <c:v>0.10617347375631475</c:v>
                </c:pt>
                <c:pt idx="97">
                  <c:v>0.10788412174550789</c:v>
                </c:pt>
                <c:pt idx="98">
                  <c:v>0.12512833675564683</c:v>
                </c:pt>
                <c:pt idx="99">
                  <c:v>0.12247659862411188</c:v>
                </c:pt>
                <c:pt idx="100">
                  <c:v>0.147947659475037</c:v>
                </c:pt>
                <c:pt idx="101">
                  <c:v>0.13798261860663913</c:v>
                </c:pt>
                <c:pt idx="102">
                  <c:v>0.12343708433093908</c:v>
                </c:pt>
                <c:pt idx="103">
                  <c:v>0.15909635187993934</c:v>
                </c:pt>
                <c:pt idx="104">
                  <c:v>0.15484914818692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6.73</c:v>
                </c:pt>
                <c:pt idx="1">
                  <c:v>1169.1888</c:v>
                </c:pt>
                <c:pt idx="2">
                  <c:v>1174.6758</c:v>
                </c:pt>
                <c:pt idx="3">
                  <c:v>1244.8327</c:v>
                </c:pt>
                <c:pt idx="4">
                  <c:v>1214.4961</c:v>
                </c:pt>
                <c:pt idx="5">
                  <c:v>1218.3232</c:v>
                </c:pt>
                <c:pt idx="6">
                  <c:v>1184.2079</c:v>
                </c:pt>
                <c:pt idx="7">
                  <c:v>1261.4607</c:v>
                </c:pt>
                <c:pt idx="8">
                  <c:v>1359.512</c:v>
                </c:pt>
                <c:pt idx="9">
                  <c:v>1279.3928</c:v>
                </c:pt>
                <c:pt idx="10">
                  <c:v>1316.9447</c:v>
                </c:pt>
                <c:pt idx="11">
                  <c:v>1274.5931</c:v>
                </c:pt>
                <c:pt idx="12">
                  <c:v>1324.0195</c:v>
                </c:pt>
                <c:pt idx="13">
                  <c:v>1332.6736</c:v>
                </c:pt>
                <c:pt idx="14">
                  <c:v>1342.5743</c:v>
                </c:pt>
                <c:pt idx="15">
                  <c:v>1334.8688</c:v>
                </c:pt>
                <c:pt idx="16">
                  <c:v>1333.391</c:v>
                </c:pt>
                <c:pt idx="17">
                  <c:v>1258.8343</c:v>
                </c:pt>
                <c:pt idx="18">
                  <c:v>1310.7956</c:v>
                </c:pt>
                <c:pt idx="19">
                  <c:v>1380.1648</c:v>
                </c:pt>
                <c:pt idx="20">
                  <c:v>1371.5577</c:v>
                </c:pt>
                <c:pt idx="21">
                  <c:v>1299.1835</c:v>
                </c:pt>
                <c:pt idx="22">
                  <c:v>1268.5699</c:v>
                </c:pt>
                <c:pt idx="23">
                  <c:v>1205.8499</c:v>
                </c:pt>
                <c:pt idx="24">
                  <c:v>1224.4946</c:v>
                </c:pt>
                <c:pt idx="25">
                  <c:v>1225.9399</c:v>
                </c:pt>
                <c:pt idx="26">
                  <c:v>1243.6838</c:v>
                </c:pt>
                <c:pt idx="27">
                  <c:v>1326.9279</c:v>
                </c:pt>
                <c:pt idx="28">
                  <c:v>1376.3419</c:v>
                </c:pt>
                <c:pt idx="29">
                  <c:v>1379.7222</c:v>
                </c:pt>
                <c:pt idx="30">
                  <c:v>1383.8476</c:v>
                </c:pt>
                <c:pt idx="31">
                  <c:v>1283.2434</c:v>
                </c:pt>
                <c:pt idx="32">
                  <c:v>1264.3909</c:v>
                </c:pt>
                <c:pt idx="33">
                  <c:v>1307.325</c:v>
                </c:pt>
                <c:pt idx="34">
                  <c:v>1341.3356</c:v>
                </c:pt>
                <c:pt idx="35">
                  <c:v>1324.0476</c:v>
                </c:pt>
                <c:pt idx="36">
                  <c:v>1265.2716</c:v>
                </c:pt>
                <c:pt idx="37">
                  <c:v>1385.6596</c:v>
                </c:pt>
                <c:pt idx="38">
                  <c:v>1415.0771</c:v>
                </c:pt>
                <c:pt idx="39">
                  <c:v>1372.0837</c:v>
                </c:pt>
                <c:pt idx="40">
                  <c:v>1369.7083</c:v>
                </c:pt>
                <c:pt idx="41">
                  <c:v>1421.5735</c:v>
                </c:pt>
                <c:pt idx="42">
                  <c:v>1395.4467</c:v>
                </c:pt>
                <c:pt idx="43">
                  <c:v>1390.4239</c:v>
                </c:pt>
                <c:pt idx="44">
                  <c:v>1319.0917</c:v>
                </c:pt>
                <c:pt idx="45">
                  <c:v>1249.522</c:v>
                </c:pt>
                <c:pt idx="46">
                  <c:v>1230.5098</c:v>
                </c:pt>
                <c:pt idx="47">
                  <c:v>1237.0791</c:v>
                </c:pt>
                <c:pt idx="48">
                  <c:v>1206.8088</c:v>
                </c:pt>
                <c:pt idx="49">
                  <c:v>1206.5624</c:v>
                </c:pt>
                <c:pt idx="50">
                  <c:v>1118.7765</c:v>
                </c:pt>
                <c:pt idx="51">
                  <c:v>1095.203</c:v>
                </c:pt>
              </c:numCache>
            </c:numRef>
          </c:xVal>
          <c:yVal>
            <c:numRef>
              <c:f>Sheet1!$B$109:$B$160</c:f>
              <c:numCache>
                <c:formatCode>General</c:formatCode>
                <c:ptCount val="52"/>
                <c:pt idx="0">
                  <c:v>0.14738564906538032</c:v>
                </c:pt>
                <c:pt idx="1">
                  <c:v>0.15820241139934235</c:v>
                </c:pt>
                <c:pt idx="2">
                  <c:v>0.155122832963602</c:v>
                </c:pt>
                <c:pt idx="3">
                  <c:v>0.14606556023449757</c:v>
                </c:pt>
                <c:pt idx="4">
                  <c:v>0.15232147705674723</c:v>
                </c:pt>
                <c:pt idx="5">
                  <c:v>0.13824333561175667</c:v>
                </c:pt>
                <c:pt idx="6">
                  <c:v>0.13981865943564104</c:v>
                </c:pt>
                <c:pt idx="7">
                  <c:v>0.13740808823529413</c:v>
                </c:pt>
                <c:pt idx="8">
                  <c:v>0.13892231581762268</c:v>
                </c:pt>
                <c:pt idx="9">
                  <c:v>0.15934785195763418</c:v>
                </c:pt>
                <c:pt idx="10">
                  <c:v>0.15144561725562183</c:v>
                </c:pt>
                <c:pt idx="11">
                  <c:v>0.14083691696989745</c:v>
                </c:pt>
                <c:pt idx="12">
                  <c:v>0.1321745774042594</c:v>
                </c:pt>
                <c:pt idx="13">
                  <c:v>0.1365883183698174</c:v>
                </c:pt>
                <c:pt idx="14">
                  <c:v>0.1381951381951382</c:v>
                </c:pt>
                <c:pt idx="15">
                  <c:v>0.1360841806573658</c:v>
                </c:pt>
                <c:pt idx="16">
                  <c:v>0.1254810335349093</c:v>
                </c:pt>
                <c:pt idx="17">
                  <c:v>0.12621776504297993</c:v>
                </c:pt>
                <c:pt idx="18">
                  <c:v>0.11229412743303943</c:v>
                </c:pt>
                <c:pt idx="19">
                  <c:v>0.12355151894769809</c:v>
                </c:pt>
                <c:pt idx="20">
                  <c:v>0.12052059190586557</c:v>
                </c:pt>
                <c:pt idx="21">
                  <c:v>0.14171180931744312</c:v>
                </c:pt>
                <c:pt idx="22">
                  <c:v>0.14269886993130956</c:v>
                </c:pt>
                <c:pt idx="23">
                  <c:v>0.15536971830985916</c:v>
                </c:pt>
                <c:pt idx="24">
                  <c:v>0.16143691841592728</c:v>
                </c:pt>
                <c:pt idx="25">
                  <c:v>0.15340055782021025</c:v>
                </c:pt>
                <c:pt idx="26">
                  <c:v>0.14239350912778906</c:v>
                </c:pt>
                <c:pt idx="27">
                  <c:v>0.11861086375779163</c:v>
                </c:pt>
                <c:pt idx="28">
                  <c:v>0.11771640282923543</c:v>
                </c:pt>
                <c:pt idx="29">
                  <c:v>0.11508491508491508</c:v>
                </c:pt>
                <c:pt idx="30">
                  <c:v>0.11899541558700419</c:v>
                </c:pt>
                <c:pt idx="31">
                  <c:v>0.11476179300633654</c:v>
                </c:pt>
                <c:pt idx="32">
                  <c:v>0.1194745621351126</c:v>
                </c:pt>
                <c:pt idx="33">
                  <c:v>0.13029262710478992</c:v>
                </c:pt>
                <c:pt idx="34">
                  <c:v>0.14494199825371087</c:v>
                </c:pt>
                <c:pt idx="35">
                  <c:v>0.15017513134851138</c:v>
                </c:pt>
                <c:pt idx="36">
                  <c:v>0.1539000467071462</c:v>
                </c:pt>
                <c:pt idx="37">
                  <c:v>0.1288214210415349</c:v>
                </c:pt>
                <c:pt idx="38">
                  <c:v>0.1261239368165249</c:v>
                </c:pt>
                <c:pt idx="39">
                  <c:v>0.1269371408671426</c:v>
                </c:pt>
                <c:pt idx="40">
                  <c:v>0.11879242586638085</c:v>
                </c:pt>
                <c:pt idx="41">
                  <c:v>0.11385414974825402</c:v>
                </c:pt>
                <c:pt idx="42">
                  <c:v>0.11941675895164268</c:v>
                </c:pt>
                <c:pt idx="43">
                  <c:v>0.11784186559955843</c:v>
                </c:pt>
                <c:pt idx="44">
                  <c:v>0.114878020845264</c:v>
                </c:pt>
                <c:pt idx="45">
                  <c:v>0.12560856864654332</c:v>
                </c:pt>
                <c:pt idx="46">
                  <c:v>0.12174601603484114</c:v>
                </c:pt>
                <c:pt idx="47">
                  <c:v>0.12042835103003903</c:v>
                </c:pt>
                <c:pt idx="48">
                  <c:v>0.10626581336508409</c:v>
                </c:pt>
                <c:pt idx="49">
                  <c:v>0.12005996184246388</c:v>
                </c:pt>
                <c:pt idx="50">
                  <c:v>0.15653799919861092</c:v>
                </c:pt>
                <c:pt idx="51">
                  <c:v>0.1549726424203411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11.5644161346714</c:v>
                </c:pt>
              </c:numCache>
            </c:numRef>
          </c:xVal>
          <c:yVal>
            <c:numRef>
              <c:f>Sheet1!$B$163:$B$164</c:f>
              <c:numCache>
                <c:formatCode>General</c:formatCode>
                <c:ptCount val="2"/>
                <c:pt idx="0">
                  <c:v>0.16378288153331141</c:v>
                </c:pt>
                <c:pt idx="1">
                  <c:v>0.16378288153331141</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11.5644161346714</c:v>
                </c:pt>
                <c:pt idx="1">
                  <c:v>1011.5644161346714</c:v>
                </c:pt>
              </c:numCache>
            </c:numRef>
          </c:xVal>
          <c:yVal>
            <c:numRef>
              <c:f>Sheet1!$B$167:$B$168</c:f>
              <c:numCache>
                <c:formatCode>General</c:formatCode>
                <c:ptCount val="2"/>
                <c:pt idx="0">
                  <c:v>0.1637828815333114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77.8908111730682</c:v>
                </c:pt>
              </c:numCache>
            </c:numRef>
          </c:xVal>
          <c:yVal>
            <c:numRef>
              <c:f>Sheet1!$B$171:$B$172</c:f>
              <c:numCache>
                <c:formatCode>General</c:formatCode>
                <c:ptCount val="2"/>
                <c:pt idx="0">
                  <c:v>0.1459433699799871</c:v>
                </c:pt>
                <c:pt idx="1">
                  <c:v>0.145943369979987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77.8908111730682</c:v>
                </c:pt>
                <c:pt idx="1">
                  <c:v>1177.8908111730682</c:v>
                </c:pt>
              </c:numCache>
            </c:numRef>
          </c:xVal>
          <c:yVal>
            <c:numRef>
              <c:f>Sheet1!$B$175:$B$176</c:f>
              <c:numCache>
                <c:formatCode>General</c:formatCode>
                <c:ptCount val="2"/>
                <c:pt idx="0">
                  <c:v>0.145943369979987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78.6498679201811</c:v>
                </c:pt>
              </c:numCache>
            </c:numRef>
          </c:xVal>
          <c:yVal>
            <c:numRef>
              <c:f>Sheet1!$B$179:$B$180</c:f>
              <c:numCache>
                <c:formatCode>General</c:formatCode>
                <c:ptCount val="2"/>
                <c:pt idx="0">
                  <c:v>0.124410747262782</c:v>
                </c:pt>
                <c:pt idx="1">
                  <c:v>0.12441074726278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78.6498679201811</c:v>
                </c:pt>
                <c:pt idx="1">
                  <c:v>1378.6498679201811</c:v>
                </c:pt>
              </c:numCache>
            </c:numRef>
          </c:xVal>
          <c:yVal>
            <c:numRef>
              <c:f>Sheet1!$B$183:$B$184</c:f>
              <c:numCache>
                <c:formatCode>General</c:formatCode>
                <c:ptCount val="2"/>
                <c:pt idx="0">
                  <c:v>0.12441074726278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6.73</c:v>
                </c:pt>
                <c:pt idx="1">
                  <c:v>1169.1888</c:v>
                </c:pt>
                <c:pt idx="2">
                  <c:v>1174.6758</c:v>
                </c:pt>
                <c:pt idx="3">
                  <c:v>1244.8327</c:v>
                </c:pt>
                <c:pt idx="4">
                  <c:v>1214.4961</c:v>
                </c:pt>
                <c:pt idx="5">
                  <c:v>1218.3232</c:v>
                </c:pt>
                <c:pt idx="6">
                  <c:v>1184.2079</c:v>
                </c:pt>
                <c:pt idx="7">
                  <c:v>1261.4607</c:v>
                </c:pt>
                <c:pt idx="8">
                  <c:v>1359.512</c:v>
                </c:pt>
                <c:pt idx="9">
                  <c:v>1279.3928</c:v>
                </c:pt>
                <c:pt idx="10">
                  <c:v>1316.9447</c:v>
                </c:pt>
                <c:pt idx="11">
                  <c:v>1274.5931</c:v>
                </c:pt>
                <c:pt idx="12">
                  <c:v>1324.0195</c:v>
                </c:pt>
                <c:pt idx="13">
                  <c:v>1332.6736</c:v>
                </c:pt>
                <c:pt idx="14">
                  <c:v>1342.5743</c:v>
                </c:pt>
                <c:pt idx="15">
                  <c:v>1334.8688</c:v>
                </c:pt>
                <c:pt idx="16">
                  <c:v>1333.391</c:v>
                </c:pt>
                <c:pt idx="17">
                  <c:v>1258.8343</c:v>
                </c:pt>
                <c:pt idx="18">
                  <c:v>1310.7956</c:v>
                </c:pt>
                <c:pt idx="19">
                  <c:v>1380.1648</c:v>
                </c:pt>
                <c:pt idx="20">
                  <c:v>1371.5577</c:v>
                </c:pt>
                <c:pt idx="21">
                  <c:v>1299.1835</c:v>
                </c:pt>
                <c:pt idx="22">
                  <c:v>1268.5699</c:v>
                </c:pt>
                <c:pt idx="23">
                  <c:v>1205.8499</c:v>
                </c:pt>
                <c:pt idx="24">
                  <c:v>1224.4946</c:v>
                </c:pt>
                <c:pt idx="25">
                  <c:v>1225.9399</c:v>
                </c:pt>
                <c:pt idx="26">
                  <c:v>1243.6838</c:v>
                </c:pt>
                <c:pt idx="27">
                  <c:v>1326.9279</c:v>
                </c:pt>
                <c:pt idx="28">
                  <c:v>1376.3419</c:v>
                </c:pt>
                <c:pt idx="29">
                  <c:v>1379.7222</c:v>
                </c:pt>
                <c:pt idx="30">
                  <c:v>1383.8476</c:v>
                </c:pt>
                <c:pt idx="31">
                  <c:v>1283.2434</c:v>
                </c:pt>
                <c:pt idx="32">
                  <c:v>1264.3909</c:v>
                </c:pt>
                <c:pt idx="33">
                  <c:v>1307.325</c:v>
                </c:pt>
                <c:pt idx="34">
                  <c:v>1341.3356</c:v>
                </c:pt>
                <c:pt idx="35">
                  <c:v>1324.0476</c:v>
                </c:pt>
                <c:pt idx="36">
                  <c:v>1265.2716</c:v>
                </c:pt>
                <c:pt idx="37">
                  <c:v>1385.6596</c:v>
                </c:pt>
                <c:pt idx="38">
                  <c:v>1415.0771</c:v>
                </c:pt>
                <c:pt idx="39">
                  <c:v>1372.0837</c:v>
                </c:pt>
                <c:pt idx="40">
                  <c:v>1369.7083</c:v>
                </c:pt>
                <c:pt idx="41">
                  <c:v>1421.5735</c:v>
                </c:pt>
                <c:pt idx="42">
                  <c:v>1395.4467</c:v>
                </c:pt>
                <c:pt idx="43">
                  <c:v>1390.4239</c:v>
                </c:pt>
                <c:pt idx="44">
                  <c:v>1319.0917</c:v>
                </c:pt>
                <c:pt idx="45">
                  <c:v>1249.522</c:v>
                </c:pt>
                <c:pt idx="46">
                  <c:v>1230.5098</c:v>
                </c:pt>
                <c:pt idx="47">
                  <c:v>1237.0791</c:v>
                </c:pt>
                <c:pt idx="48">
                  <c:v>1206.8088</c:v>
                </c:pt>
                <c:pt idx="49">
                  <c:v>1206.5624</c:v>
                </c:pt>
                <c:pt idx="50">
                  <c:v>1118.7765</c:v>
                </c:pt>
                <c:pt idx="51">
                  <c:v>1095.203</c:v>
                </c:pt>
                <c:pt idx="52">
                  <c:v>1177.8908111730682</c:v>
                </c:pt>
                <c:pt idx="53">
                  <c:v>1011.5644161346714</c:v>
                </c:pt>
                <c:pt idx="54">
                  <c:v>1378.6498679201811</c:v>
                </c:pt>
              </c:numCache>
            </c:numRef>
          </c:xVal>
          <c:yVal>
            <c:numRef>
              <c:f>Sheet1!$B$187:$B$241</c:f>
              <c:numCache>
                <c:formatCode>General</c:formatCode>
                <c:ptCount val="55"/>
                <c:pt idx="0">
                  <c:v>0.14285019260337298</c:v>
                </c:pt>
                <c:pt idx="1">
                  <c:v>0.14687671329463822</c:v>
                </c:pt>
                <c:pt idx="2">
                  <c:v>0.14628819936772666</c:v>
                </c:pt>
                <c:pt idx="3">
                  <c:v>0.13876344764202195</c:v>
                </c:pt>
                <c:pt idx="4">
                  <c:v>0.14201723142098044</c:v>
                </c:pt>
                <c:pt idx="5">
                  <c:v>0.14160675180558346</c:v>
                </c:pt>
                <c:pt idx="6">
                  <c:v>0.1452658240072904</c:v>
                </c:pt>
                <c:pt idx="7">
                  <c:v>0.1369799941015289</c:v>
                </c:pt>
                <c:pt idx="8">
                  <c:v>0.12646339931352388</c:v>
                </c:pt>
                <c:pt idx="9">
                  <c:v>0.13505666795085078</c:v>
                </c:pt>
                <c:pt idx="10">
                  <c:v>0.13102899961988845</c:v>
                </c:pt>
                <c:pt idx="11">
                  <c:v>0.1355714647970322</c:v>
                </c:pt>
                <c:pt idx="12">
                  <c:v>0.13027018454241188</c:v>
                </c:pt>
                <c:pt idx="13">
                  <c:v>0.1293419799907652</c:v>
                </c:pt>
                <c:pt idx="14">
                  <c:v>0.12828007005160477</c:v>
                </c:pt>
                <c:pt idx="15">
                  <c:v>0.129106531517582</c:v>
                </c:pt>
                <c:pt idx="16">
                  <c:v>0.1292650345030367</c:v>
                </c:pt>
                <c:pt idx="17">
                  <c:v>0.13726169138194452</c:v>
                </c:pt>
                <c:pt idx="18">
                  <c:v>0.13168852777515944</c:v>
                </c:pt>
                <c:pt idx="19">
                  <c:v>0.1242482616372492</c:v>
                </c:pt>
                <c:pt idx="20">
                  <c:v>0.12517142515471238</c:v>
                </c:pt>
                <c:pt idx="21">
                  <c:v>0.132933995712227</c:v>
                </c:pt>
                <c:pt idx="22">
                  <c:v>0.1362174894160542</c:v>
                </c:pt>
                <c:pt idx="23">
                  <c:v>0.14294458864986012</c:v>
                </c:pt>
                <c:pt idx="24">
                  <c:v>0.1409448318404765</c:v>
                </c:pt>
                <c:pt idx="25">
                  <c:v>0.14078981467653165</c:v>
                </c:pt>
                <c:pt idx="26">
                  <c:v>0.13888667411379682</c:v>
                </c:pt>
                <c:pt idx="27">
                  <c:v>0.1299582410568953</c:v>
                </c:pt>
                <c:pt idx="28">
                  <c:v>0.12465829077725107</c:v>
                </c:pt>
                <c:pt idx="29">
                  <c:v>0.12429573316341125</c:v>
                </c:pt>
                <c:pt idx="30">
                  <c:v>0.12385325906935601</c:v>
                </c:pt>
                <c:pt idx="31">
                  <c:v>0.13464366781836204</c:v>
                </c:pt>
                <c:pt idx="32">
                  <c:v>0.1366657124341995</c:v>
                </c:pt>
                <c:pt idx="33">
                  <c:v>0.13206077060999435</c:v>
                </c:pt>
                <c:pt idx="34">
                  <c:v>0.1284129281163515</c:v>
                </c:pt>
                <c:pt idx="35">
                  <c:v>0.13026717064750643</c:v>
                </c:pt>
                <c:pt idx="36">
                  <c:v>0.13657125203408452</c:v>
                </c:pt>
                <c:pt idx="37">
                  <c:v>0.12365891111317528</c:v>
                </c:pt>
                <c:pt idx="38">
                  <c:v>0.12050370636651575</c:v>
                </c:pt>
                <c:pt idx="39">
                  <c:v>0.1251150084742758</c:v>
                </c:pt>
                <c:pt idx="40">
                  <c:v>0.12536978448703062</c:v>
                </c:pt>
                <c:pt idx="41">
                  <c:v>0.11980692818631011</c:v>
                </c:pt>
                <c:pt idx="42">
                  <c:v>0.12260918546089239</c:v>
                </c:pt>
                <c:pt idx="43">
                  <c:v>0.12314791113103846</c:v>
                </c:pt>
                <c:pt idx="44">
                  <c:v>0.1307987208881445</c:v>
                </c:pt>
                <c:pt idx="45">
                  <c:v>0.13826049186336944</c:v>
                </c:pt>
                <c:pt idx="46">
                  <c:v>0.14029966526982612</c:v>
                </c:pt>
                <c:pt idx="47">
                  <c:v>0.1395950681238338</c:v>
                </c:pt>
                <c:pt idx="48">
                  <c:v>0.14284174082691214</c:v>
                </c:pt>
                <c:pt idx="49">
                  <c:v>0.14286816871675923</c:v>
                </c:pt>
                <c:pt idx="50">
                  <c:v>0.15228373728546085</c:v>
                </c:pt>
                <c:pt idx="51">
                  <c:v>0.15481213769662353</c:v>
                </c:pt>
                <c:pt idx="52">
                  <c:v>0.1459433699799871</c:v>
                </c:pt>
                <c:pt idx="53">
                  <c:v>0.16378288153331141</c:v>
                </c:pt>
                <c:pt idx="54">
                  <c:v>0.12441074726278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33.0"/>
          <c:min val="76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2451355396640613"/>
          <c:min val="0.0678191489361702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608066978218123</c:v>
                </c:pt>
                <c:pt idx="1">
                  <c:v>3.178028388642232</c:v>
                </c:pt>
                <c:pt idx="2">
                  <c:v>2.554123807517046</c:v>
                </c:pt>
                <c:pt idx="3">
                  <c:v>2.424820667475261</c:v>
                </c:pt>
                <c:pt idx="4">
                  <c:v>3.1955337687572443</c:v>
                </c:pt>
                <c:pt idx="5">
                  <c:v>3.145987439646619</c:v>
                </c:pt>
                <c:pt idx="6">
                  <c:v>2.631058754821324</c:v>
                </c:pt>
                <c:pt idx="7">
                  <c:v>2.58404887996565</c:v>
                </c:pt>
                <c:pt idx="8">
                  <c:v>2.493531089127858</c:v>
                </c:pt>
                <c:pt idx="9">
                  <c:v>2.7679993870450774</c:v>
                </c:pt>
                <c:pt idx="10">
                  <c:v>3.0548763446073712</c:v>
                </c:pt>
                <c:pt idx="11">
                  <c:v>2.7215016894493265</c:v>
                </c:pt>
                <c:pt idx="12">
                  <c:v>2.791713873853116</c:v>
                </c:pt>
                <c:pt idx="13">
                  <c:v>2.7290379505054823</c:v>
                </c:pt>
                <c:pt idx="14">
                  <c:v>3.3931860084280867</c:v>
                </c:pt>
                <c:pt idx="15">
                  <c:v>2.67547469435659</c:v>
                </c:pt>
                <c:pt idx="16">
                  <c:v>3.6891819200857943</c:v>
                </c:pt>
                <c:pt idx="17">
                  <c:v>2.7422372773811956</c:v>
                </c:pt>
                <c:pt idx="18">
                  <c:v>3.7102155941516157</c:v>
                </c:pt>
                <c:pt idx="19">
                  <c:v>3.1732624638049747</c:v>
                </c:pt>
                <c:pt idx="20">
                  <c:v>2.5264206904576123</c:v>
                </c:pt>
                <c:pt idx="21">
                  <c:v>5.237196690715167</c:v>
                </c:pt>
                <c:pt idx="22">
                  <c:v>2.3536440046452562</c:v>
                </c:pt>
                <c:pt idx="23">
                  <c:v>2.9491868319551897</c:v>
                </c:pt>
                <c:pt idx="24">
                  <c:v>2.1008897648539513</c:v>
                </c:pt>
                <c:pt idx="25">
                  <c:v>2.050740283866956</c:v>
                </c:pt>
                <c:pt idx="26">
                  <c:v>2.4225456839382877</c:v>
                </c:pt>
                <c:pt idx="27">
                  <c:v>2.3545054132629204</c:v>
                </c:pt>
                <c:pt idx="28">
                  <c:v>2.4937754348737946</c:v>
                </c:pt>
                <c:pt idx="29">
                  <c:v>2.3017450493360196</c:v>
                </c:pt>
                <c:pt idx="30">
                  <c:v>2.283281602619432</c:v>
                </c:pt>
                <c:pt idx="31">
                  <c:v>2.5333347281076897</c:v>
                </c:pt>
                <c:pt idx="32">
                  <c:v>3.244001033524192</c:v>
                </c:pt>
                <c:pt idx="33">
                  <c:v>2.0207268804184295</c:v>
                </c:pt>
                <c:pt idx="34">
                  <c:v>2.3469601457769342</c:v>
                </c:pt>
                <c:pt idx="35">
                  <c:v>2.2882830509569083</c:v>
                </c:pt>
                <c:pt idx="36">
                  <c:v>2.3096341045921</c:v>
                </c:pt>
                <c:pt idx="37">
                  <c:v>2.447191021873956</c:v>
                </c:pt>
                <c:pt idx="38">
                  <c:v>2.4615765023889624</c:v>
                </c:pt>
                <c:pt idx="39">
                  <c:v>3.0804256224223208</c:v>
                </c:pt>
                <c:pt idx="40">
                  <c:v>3.4012692977404795</c:v>
                </c:pt>
                <c:pt idx="41">
                  <c:v>3.1141525856587413</c:v>
                </c:pt>
                <c:pt idx="42">
                  <c:v>2.70297452584233</c:v>
                </c:pt>
                <c:pt idx="43">
                  <c:v>2.361565600268037</c:v>
                </c:pt>
                <c:pt idx="44">
                  <c:v>2.3862655632937533</c:v>
                </c:pt>
                <c:pt idx="45">
                  <c:v>2.5363214926404765</c:v>
                </c:pt>
                <c:pt idx="46">
                  <c:v>2.47912649767915</c:v>
                </c:pt>
                <c:pt idx="47">
                  <c:v>2.235533579601984</c:v>
                </c:pt>
                <c:pt idx="48">
                  <c:v>3.034963373641794</c:v>
                </c:pt>
                <c:pt idx="49">
                  <c:v>2.4667459000786494</c:v>
                </c:pt>
                <c:pt idx="50">
                  <c:v>2.5233010875404</c:v>
                </c:pt>
                <c:pt idx="51">
                  <c:v>2.230228573731341</c:v>
                </c:pt>
                <c:pt idx="52">
                  <c:v>2.5405345157693615</c:v>
                </c:pt>
                <c:pt idx="53">
                  <c:v>2.4508521277321362</c:v>
                </c:pt>
                <c:pt idx="54">
                  <c:v>2.112906569663107</c:v>
                </c:pt>
                <c:pt idx="55">
                  <c:v>2.292978819380822</c:v>
                </c:pt>
                <c:pt idx="56">
                  <c:v>1.8434563592419404</c:v>
                </c:pt>
                <c:pt idx="57">
                  <c:v>1.9486220576842233</c:v>
                </c:pt>
                <c:pt idx="58">
                  <c:v>1.7635631066005621</c:v>
                </c:pt>
                <c:pt idx="59">
                  <c:v>1.9125009837203069</c:v>
                </c:pt>
                <c:pt idx="60">
                  <c:v>1.825134532141372</c:v>
                </c:pt>
                <c:pt idx="61">
                  <c:v>1.9806649183289955</c:v>
                </c:pt>
                <c:pt idx="62">
                  <c:v>1.8714689503452149</c:v>
                </c:pt>
                <c:pt idx="63">
                  <c:v>2.075235246199613</c:v>
                </c:pt>
                <c:pt idx="64">
                  <c:v>1.8723548001249446</c:v>
                </c:pt>
                <c:pt idx="65">
                  <c:v>1.8804372676745702</c:v>
                </c:pt>
                <c:pt idx="66">
                  <c:v>1.7447027529092831</c:v>
                </c:pt>
                <c:pt idx="67">
                  <c:v>1.9140543191666495</c:v>
                </c:pt>
                <c:pt idx="68">
                  <c:v>1.5716340024715998</c:v>
                </c:pt>
                <c:pt idx="69">
                  <c:v>1.477711643576036</c:v>
                </c:pt>
                <c:pt idx="70">
                  <c:v>1.68839980714768</c:v>
                </c:pt>
                <c:pt idx="71">
                  <c:v>1.265098418033254</c:v>
                </c:pt>
                <c:pt idx="72">
                  <c:v>1.5982947272204306</c:v>
                </c:pt>
                <c:pt idx="73">
                  <c:v>1.1483361756167279</c:v>
                </c:pt>
                <c:pt idx="74">
                  <c:v>1.394808715676987</c:v>
                </c:pt>
                <c:pt idx="75">
                  <c:v>2.103284640865408</c:v>
                </c:pt>
                <c:pt idx="76">
                  <c:v>2.108222100891517</c:v>
                </c:pt>
                <c:pt idx="77">
                  <c:v>2.573587849802377</c:v>
                </c:pt>
                <c:pt idx="78">
                  <c:v>2.1123713024713964</c:v>
                </c:pt>
                <c:pt idx="79">
                  <c:v>2.994609882867494</c:v>
                </c:pt>
                <c:pt idx="80">
                  <c:v>2.6430046756321492</c:v>
                </c:pt>
                <c:pt idx="81">
                  <c:v>2.554150475184794</c:v>
                </c:pt>
                <c:pt idx="82">
                  <c:v>2.508851286794333</c:v>
                </c:pt>
                <c:pt idx="83">
                  <c:v>3.008722558021204</c:v>
                </c:pt>
                <c:pt idx="84">
                  <c:v>2.7211207250444103</c:v>
                </c:pt>
                <c:pt idx="85">
                  <c:v>2.569374191507789</c:v>
                </c:pt>
                <c:pt idx="86">
                  <c:v>3.4708243302583677</c:v>
                </c:pt>
                <c:pt idx="87">
                  <c:v>3.3005715336955217</c:v>
                </c:pt>
                <c:pt idx="88">
                  <c:v>2.8566034387155095</c:v>
                </c:pt>
                <c:pt idx="89">
                  <c:v>2.851574398266204</c:v>
                </c:pt>
                <c:pt idx="90">
                  <c:v>3.2193874483401594</c:v>
                </c:pt>
                <c:pt idx="91">
                  <c:v>2.6633599813226416</c:v>
                </c:pt>
                <c:pt idx="92">
                  <c:v>3.1031036207762153</c:v>
                </c:pt>
                <c:pt idx="93">
                  <c:v>3.2563555368119528</c:v>
                </c:pt>
                <c:pt idx="94">
                  <c:v>3.2570646723790424</c:v>
                </c:pt>
                <c:pt idx="95">
                  <c:v>3.2179528164629585</c:v>
                </c:pt>
                <c:pt idx="96">
                  <c:v>2.749745770235689</c:v>
                </c:pt>
                <c:pt idx="97">
                  <c:v>2.8587993387482706</c:v>
                </c:pt>
                <c:pt idx="98">
                  <c:v>2.7108625385671896</c:v>
                </c:pt>
                <c:pt idx="99">
                  <c:v>2.846723384262404</c:v>
                </c:pt>
                <c:pt idx="100">
                  <c:v>3.0967911508118555</c:v>
                </c:pt>
                <c:pt idx="101">
                  <c:v>2.7871020442229875</c:v>
                </c:pt>
                <c:pt idx="102">
                  <c:v>2.8500100631313505</c:v>
                </c:pt>
                <c:pt idx="103">
                  <c:v>2.9732980998511294</c:v>
                </c:pt>
                <c:pt idx="104">
                  <c:v>3.0892909080502817</c:v>
                </c:pt>
              </c:numCache>
            </c:numRef>
          </c:xVal>
          <c:yVal>
            <c:numRef>
              <c:f>Sheet1!$B$2:$B$106</c:f>
              <c:numCache>
                <c:formatCode>General</c:formatCode>
                <c:ptCount val="105"/>
                <c:pt idx="0">
                  <c:v>0.0012656225280809998</c:v>
                </c:pt>
                <c:pt idx="1">
                  <c:v>0.000440257110152329</c:v>
                </c:pt>
                <c:pt idx="2">
                  <c:v>0.0005525370660281794</c:v>
                </c:pt>
                <c:pt idx="3">
                  <c:v>0.0005060728744939271</c:v>
                </c:pt>
                <c:pt idx="4">
                  <c:v>0.00034056079010103305</c:v>
                </c:pt>
                <c:pt idx="5">
                  <c:v>0.0006506886454831363</c:v>
                </c:pt>
                <c:pt idx="6">
                  <c:v>0.0011653776883144402</c:v>
                </c:pt>
                <c:pt idx="7">
                  <c:v>0.0009905894006934125</c:v>
                </c:pt>
                <c:pt idx="8">
                  <c:v>0.0008851795649974709</c:v>
                </c:pt>
                <c:pt idx="9">
                  <c:v>0.000865884163940735</c:v>
                </c:pt>
                <c:pt idx="10">
                  <c:v>0.0005662514156285391</c:v>
                </c:pt>
                <c:pt idx="11">
                  <c:v>0.0009392317084624777</c:v>
                </c:pt>
                <c:pt idx="12">
                  <c:v>0.0009146848494927657</c:v>
                </c:pt>
                <c:pt idx="13">
                  <c:v>0.0008834702712253732</c:v>
                </c:pt>
                <c:pt idx="14">
                  <c:v>0.0002642007926023778</c:v>
                </c:pt>
                <c:pt idx="15">
                  <c:v>0.0006487187804086928</c:v>
                </c:pt>
                <c:pt idx="16">
                  <c:v>0.00024919013207077</c:v>
                </c:pt>
                <c:pt idx="17">
                  <c:v>0.0005400297016335898</c:v>
                </c:pt>
                <c:pt idx="18">
                  <c:v>0.0003161555485298767</c:v>
                </c:pt>
                <c:pt idx="19">
                  <c:v>0.0005461496450027307</c:v>
                </c:pt>
                <c:pt idx="20">
                  <c:v>0.0007560864962951762</c:v>
                </c:pt>
                <c:pt idx="21">
                  <c:v>0.00018839487565938207</c:v>
                </c:pt>
                <c:pt idx="22">
                  <c:v>0.0013313046785850132</c:v>
                </c:pt>
                <c:pt idx="23">
                  <c:v>0.0010094891984655764</c:v>
                </c:pt>
                <c:pt idx="24">
                  <c:v>0.0016762898118830322</c:v>
                </c:pt>
                <c:pt idx="25">
                  <c:v>0.002147766323024055</c:v>
                </c:pt>
                <c:pt idx="26">
                  <c:v>0.001722356183258698</c:v>
                </c:pt>
                <c:pt idx="27">
                  <c:v>0.0008131403480240689</c:v>
                </c:pt>
                <c:pt idx="28">
                  <c:v>0.0008548469823901521</c:v>
                </c:pt>
                <c:pt idx="29">
                  <c:v>0.0014276649746192893</c:v>
                </c:pt>
                <c:pt idx="30">
                  <c:v>0.000992063492063492</c:v>
                </c:pt>
                <c:pt idx="31">
                  <c:v>0.0011534025374855825</c:v>
                </c:pt>
                <c:pt idx="32">
                  <c:v>0.0007738440704198104</c:v>
                </c:pt>
                <c:pt idx="33">
                  <c:v>0.0019944768333844736</c:v>
                </c:pt>
                <c:pt idx="34">
                  <c:v>0.001936912008854455</c:v>
                </c:pt>
                <c:pt idx="35">
                  <c:v>0.0019083969465648854</c:v>
                </c:pt>
                <c:pt idx="36">
                  <c:v>0.0012048192771084338</c:v>
                </c:pt>
                <c:pt idx="37">
                  <c:v>0.0009561752988047809</c:v>
                </c:pt>
                <c:pt idx="38">
                  <c:v>0.0008311170212765958</c:v>
                </c:pt>
                <c:pt idx="39">
                  <c:v>0.0010741138560687433</c:v>
                </c:pt>
                <c:pt idx="40">
                  <c:v>0.0005878030859662013</c:v>
                </c:pt>
                <c:pt idx="41">
                  <c:v>0.0006283380458686773</c:v>
                </c:pt>
                <c:pt idx="42">
                  <c:v>0.00040090872644661234</c:v>
                </c:pt>
                <c:pt idx="43">
                  <c:v>0.0008403361344537816</c:v>
                </c:pt>
                <c:pt idx="44">
                  <c:v>0.0007217321571772253</c:v>
                </c:pt>
                <c:pt idx="45">
                  <c:v>0.0005158437730287399</c:v>
                </c:pt>
                <c:pt idx="46">
                  <c:v>0.0010876658690450293</c:v>
                </c:pt>
                <c:pt idx="47">
                  <c:v>0.0013082346100734064</c:v>
                </c:pt>
                <c:pt idx="48">
                  <c:v>0.0006439841150584952</c:v>
                </c:pt>
                <c:pt idx="49">
                  <c:v>0.0006483916285436403</c:v>
                </c:pt>
                <c:pt idx="50">
                  <c:v>0.0009774488584793689</c:v>
                </c:pt>
                <c:pt idx="51">
                  <c:v>0.0013073034687118702</c:v>
                </c:pt>
                <c:pt idx="52">
                  <c:v>0.00044672771945499217</c:v>
                </c:pt>
                <c:pt idx="53">
                  <c:v>0.0005792624058698591</c:v>
                </c:pt>
                <c:pt idx="54">
                  <c:v>0.0013641133263378805</c:v>
                </c:pt>
                <c:pt idx="55">
                  <c:v>0.0008862301982940069</c:v>
                </c:pt>
                <c:pt idx="56">
                  <c:v>0.000910643141718839</c:v>
                </c:pt>
                <c:pt idx="57">
                  <c:v>0.0006073489219556636</c:v>
                </c:pt>
                <c:pt idx="58">
                  <c:v>0.0006362479549172878</c:v>
                </c:pt>
                <c:pt idx="59">
                  <c:v>0.0007566938300349244</c:v>
                </c:pt>
                <c:pt idx="60">
                  <c:v>0.0013077593722755014</c:v>
                </c:pt>
                <c:pt idx="61">
                  <c:v>0.0014262791941522554</c:v>
                </c:pt>
                <c:pt idx="62">
                  <c:v>0.0015599272033971748</c:v>
                </c:pt>
                <c:pt idx="63">
                  <c:v>0.0013111213944161653</c:v>
                </c:pt>
                <c:pt idx="64">
                  <c:v>0.0017508024511234317</c:v>
                </c:pt>
                <c:pt idx="65">
                  <c:v>0.0012554927809165098</c:v>
                </c:pt>
                <c:pt idx="66">
                  <c:v>0.001433268695725487</c:v>
                </c:pt>
                <c:pt idx="67">
                  <c:v>0.0010668563300142249</c:v>
                </c:pt>
                <c:pt idx="68">
                  <c:v>0.001755926251097454</c:v>
                </c:pt>
                <c:pt idx="69">
                  <c:v>0.0017876787678767878</c:v>
                </c:pt>
                <c:pt idx="70">
                  <c:v>0.001490111081007857</c:v>
                </c:pt>
                <c:pt idx="71">
                  <c:v>0.0016164584864070536</c:v>
                </c:pt>
                <c:pt idx="72">
                  <c:v>0.0021756867011150393</c:v>
                </c:pt>
                <c:pt idx="73">
                  <c:v>0.0037058997924696115</c:v>
                </c:pt>
                <c:pt idx="74">
                  <c:v>0.003992015968063872</c:v>
                </c:pt>
                <c:pt idx="75">
                  <c:v>0.004108463434675432</c:v>
                </c:pt>
                <c:pt idx="76">
                  <c:v>0.005612244897959183</c:v>
                </c:pt>
                <c:pt idx="77">
                  <c:v>0.005408328826392645</c:v>
                </c:pt>
                <c:pt idx="78">
                  <c:v>0.0078125</c:v>
                </c:pt>
                <c:pt idx="79">
                  <c:v>0.0056625141562853904</c:v>
                </c:pt>
                <c:pt idx="80">
                  <c:v>0.005747126436781609</c:v>
                </c:pt>
                <c:pt idx="81">
                  <c:v>0.006224381357218764</c:v>
                </c:pt>
                <c:pt idx="82">
                  <c:v>0.0063522617901828685</c:v>
                </c:pt>
                <c:pt idx="83">
                  <c:v>0.005026223776223776</c:v>
                </c:pt>
                <c:pt idx="84">
                  <c:v>0.005585292064230859</c:v>
                </c:pt>
                <c:pt idx="85">
                  <c:v>0.004861551469034031</c:v>
                </c:pt>
                <c:pt idx="86">
                  <c:v>0.004291845493562232</c:v>
                </c:pt>
                <c:pt idx="87">
                  <c:v>0.003737818715792284</c:v>
                </c:pt>
                <c:pt idx="88">
                  <c:v>0.005559416261292564</c:v>
                </c:pt>
                <c:pt idx="89">
                  <c:v>0.0068</c:v>
                </c:pt>
                <c:pt idx="90">
                  <c:v>0.005901505901505902</c:v>
                </c:pt>
                <c:pt idx="91">
                  <c:v>0.006512839598064756</c:v>
                </c:pt>
                <c:pt idx="92">
                  <c:v>0.0053590568060021436</c:v>
                </c:pt>
                <c:pt idx="93">
                  <c:v>0.0049504950495049506</c:v>
                </c:pt>
                <c:pt idx="94">
                  <c:v>0.005507856795723311</c:v>
                </c:pt>
                <c:pt idx="95">
                  <c:v>0.0054705816679691864</c:v>
                </c:pt>
                <c:pt idx="96">
                  <c:v>0.007192396609298741</c:v>
                </c:pt>
                <c:pt idx="97">
                  <c:v>0.008507517418408507</c:v>
                </c:pt>
                <c:pt idx="98">
                  <c:v>0.008149383983572895</c:v>
                </c:pt>
                <c:pt idx="99">
                  <c:v>0.007668884628397429</c:v>
                </c:pt>
                <c:pt idx="100">
                  <c:v>0.005646857231871641</c:v>
                </c:pt>
                <c:pt idx="101">
                  <c:v>0.00819205014959396</c:v>
                </c:pt>
                <c:pt idx="102">
                  <c:v>0.006739381041057019</c:v>
                </c:pt>
                <c:pt idx="103">
                  <c:v>0.006306378223038238</c:v>
                </c:pt>
                <c:pt idx="104">
                  <c:v>0.005044256210145617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3.0983463094535684</c:v>
                </c:pt>
                <c:pt idx="1">
                  <c:v>2.6559403117910523</c:v>
                </c:pt>
                <c:pt idx="2">
                  <c:v>2.9393658346935254</c:v>
                </c:pt>
                <c:pt idx="3">
                  <c:v>2.457957631223066</c:v>
                </c:pt>
                <c:pt idx="4">
                  <c:v>3.026602116878263</c:v>
                </c:pt>
                <c:pt idx="5">
                  <c:v>3.3311524540897075</c:v>
                </c:pt>
                <c:pt idx="6">
                  <c:v>3.2128431529075314</c:v>
                </c:pt>
                <c:pt idx="7">
                  <c:v>3.0999653546538726</c:v>
                </c:pt>
                <c:pt idx="8">
                  <c:v>3.0107468488440112</c:v>
                </c:pt>
                <c:pt idx="9">
                  <c:v>2.9977752173669105</c:v>
                </c:pt>
                <c:pt idx="10">
                  <c:v>3.076638767750421</c:v>
                </c:pt>
                <c:pt idx="11">
                  <c:v>3.1308329425083934</c:v>
                </c:pt>
                <c:pt idx="12">
                  <c:v>2.871122903924145</c:v>
                </c:pt>
                <c:pt idx="13">
                  <c:v>2.401571229733246</c:v>
                </c:pt>
                <c:pt idx="14">
                  <c:v>2.4471046359323085</c:v>
                </c:pt>
                <c:pt idx="15">
                  <c:v>2.564750248833992</c:v>
                </c:pt>
                <c:pt idx="16">
                  <c:v>2.755831641577474</c:v>
                </c:pt>
                <c:pt idx="17">
                  <c:v>2.0934840490697333</c:v>
                </c:pt>
                <c:pt idx="18">
                  <c:v>3.051934075725426</c:v>
                </c:pt>
                <c:pt idx="19">
                  <c:v>3.0297769833769705</c:v>
                </c:pt>
                <c:pt idx="20">
                  <c:v>2.8926868683464533</c:v>
                </c:pt>
                <c:pt idx="21">
                  <c:v>2.5324253775913625</c:v>
                </c:pt>
                <c:pt idx="22">
                  <c:v>2.6869379939565086</c:v>
                </c:pt>
                <c:pt idx="23">
                  <c:v>2.117638003449202</c:v>
                </c:pt>
                <c:pt idx="24">
                  <c:v>2.7411239734212907</c:v>
                </c:pt>
                <c:pt idx="25">
                  <c:v>2.5806202310900392</c:v>
                </c:pt>
                <c:pt idx="26">
                  <c:v>2.7718727980754774</c:v>
                </c:pt>
                <c:pt idx="27">
                  <c:v>2.717846066058396</c:v>
                </c:pt>
                <c:pt idx="28">
                  <c:v>2.7256446925358704</c:v>
                </c:pt>
                <c:pt idx="29">
                  <c:v>2.4734731121020443</c:v>
                </c:pt>
                <c:pt idx="30">
                  <c:v>2.480201232034567</c:v>
                </c:pt>
                <c:pt idx="31">
                  <c:v>2.754717894331657</c:v>
                </c:pt>
                <c:pt idx="32">
                  <c:v>3.1445257554257213</c:v>
                </c:pt>
                <c:pt idx="33">
                  <c:v>2.9443501923030535</c:v>
                </c:pt>
                <c:pt idx="34">
                  <c:v>3.01688921845861</c:v>
                </c:pt>
                <c:pt idx="35">
                  <c:v>2.7572399422387965</c:v>
                </c:pt>
                <c:pt idx="36">
                  <c:v>2.824191338597433</c:v>
                </c:pt>
                <c:pt idx="37">
                  <c:v>2.7572309839843263</c:v>
                </c:pt>
                <c:pt idx="38">
                  <c:v>2.4546359021227553</c:v>
                </c:pt>
                <c:pt idx="39">
                  <c:v>2.30295918180659</c:v>
                </c:pt>
                <c:pt idx="40">
                  <c:v>2.268958402911603</c:v>
                </c:pt>
                <c:pt idx="41">
                  <c:v>2.4810084984275496</c:v>
                </c:pt>
                <c:pt idx="42">
                  <c:v>2.247213001257648</c:v>
                </c:pt>
                <c:pt idx="43">
                  <c:v>2.550825238019473</c:v>
                </c:pt>
                <c:pt idx="44">
                  <c:v>3.0409401903563134</c:v>
                </c:pt>
                <c:pt idx="45">
                  <c:v>3.1381574224808455</c:v>
                </c:pt>
                <c:pt idx="46">
                  <c:v>3.225440247239982</c:v>
                </c:pt>
                <c:pt idx="47">
                  <c:v>3.231027664353473</c:v>
                </c:pt>
                <c:pt idx="48">
                  <c:v>3.145073108062799</c:v>
                </c:pt>
                <c:pt idx="49">
                  <c:v>3.0993891228173824</c:v>
                </c:pt>
                <c:pt idx="50">
                  <c:v>3.139451102749791</c:v>
                </c:pt>
                <c:pt idx="51">
                  <c:v>3.377227732956466</c:v>
                </c:pt>
              </c:numCache>
            </c:numRef>
          </c:xVal>
          <c:yVal>
            <c:numRef>
              <c:f>Sheet1!$B$109:$B$160</c:f>
              <c:numCache>
                <c:formatCode>General</c:formatCode>
                <c:ptCount val="52"/>
                <c:pt idx="0">
                  <c:v>0.0049961236971315355</c:v>
                </c:pt>
                <c:pt idx="1">
                  <c:v>0.005845816587504567</c:v>
                </c:pt>
                <c:pt idx="2">
                  <c:v>0.005669213704707912</c:v>
                </c:pt>
                <c:pt idx="3">
                  <c:v>0.006110147799521097</c:v>
                </c:pt>
                <c:pt idx="4">
                  <c:v>0.006154403113403928</c:v>
                </c:pt>
                <c:pt idx="5">
                  <c:v>0.005041011619958988</c:v>
                </c:pt>
                <c:pt idx="6">
                  <c:v>0.006016439284806372</c:v>
                </c:pt>
                <c:pt idx="7">
                  <c:v>0.00700827205882353</c:v>
                </c:pt>
                <c:pt idx="8">
                  <c:v>0.008691001470784864</c:v>
                </c:pt>
                <c:pt idx="9">
                  <c:v>0.008687373557062953</c:v>
                </c:pt>
                <c:pt idx="10">
                  <c:v>0.008260670032124828</c:v>
                </c:pt>
                <c:pt idx="11">
                  <c:v>0.008187231227257692</c:v>
                </c:pt>
                <c:pt idx="12">
                  <c:v>0.008404163881195683</c:v>
                </c:pt>
                <c:pt idx="13">
                  <c:v>0.012609704428528195</c:v>
                </c:pt>
                <c:pt idx="14">
                  <c:v>0.012543012543012544</c:v>
                </c:pt>
                <c:pt idx="15">
                  <c:v>0.012177819815559234</c:v>
                </c:pt>
                <c:pt idx="16">
                  <c:v>0.011682242990654205</c:v>
                </c:pt>
                <c:pt idx="17">
                  <c:v>0.01518624641833811</c:v>
                </c:pt>
                <c:pt idx="18">
                  <c:v>0.007985360173016137</c:v>
                </c:pt>
                <c:pt idx="19">
                  <c:v>0.007203257124960852</c:v>
                </c:pt>
                <c:pt idx="20">
                  <c:v>0.008735960064182563</c:v>
                </c:pt>
                <c:pt idx="21">
                  <c:v>0.011700975081256771</c:v>
                </c:pt>
                <c:pt idx="22">
                  <c:v>0.010414358519831598</c:v>
                </c:pt>
                <c:pt idx="23">
                  <c:v>0.010123239436619719</c:v>
                </c:pt>
                <c:pt idx="24">
                  <c:v>0.009738151915169876</c:v>
                </c:pt>
                <c:pt idx="25">
                  <c:v>0.010512765500965459</c:v>
                </c:pt>
                <c:pt idx="26">
                  <c:v>0.010547667342799188</c:v>
                </c:pt>
                <c:pt idx="27">
                  <c:v>0.009973285841495993</c:v>
                </c:pt>
                <c:pt idx="28">
                  <c:v>0.008588750421017177</c:v>
                </c:pt>
                <c:pt idx="29">
                  <c:v>0.01018981018981019</c:v>
                </c:pt>
                <c:pt idx="30">
                  <c:v>0.009368148295794299</c:v>
                </c:pt>
                <c:pt idx="31">
                  <c:v>0.010326214503637644</c:v>
                </c:pt>
                <c:pt idx="32">
                  <c:v>0.008757297748123435</c:v>
                </c:pt>
                <c:pt idx="33">
                  <c:v>0.008337420304070623</c:v>
                </c:pt>
                <c:pt idx="34">
                  <c:v>0.007484096295372334</c:v>
                </c:pt>
                <c:pt idx="35">
                  <c:v>0.00890251021599533</c:v>
                </c:pt>
                <c:pt idx="36">
                  <c:v>0.011209715086408221</c:v>
                </c:pt>
                <c:pt idx="37">
                  <c:v>0.011385199240986717</c:v>
                </c:pt>
                <c:pt idx="38">
                  <c:v>0.013365735115431349</c:v>
                </c:pt>
                <c:pt idx="39">
                  <c:v>0.01218875152359394</c:v>
                </c:pt>
                <c:pt idx="40">
                  <c:v>0.011968560200071454</c:v>
                </c:pt>
                <c:pt idx="41">
                  <c:v>0.009420172161767094</c:v>
                </c:pt>
                <c:pt idx="42">
                  <c:v>0.01107419712070875</c:v>
                </c:pt>
                <c:pt idx="43">
                  <c:v>0.008003311715192493</c:v>
                </c:pt>
                <c:pt idx="44">
                  <c:v>0.006070324132401787</c:v>
                </c:pt>
                <c:pt idx="45">
                  <c:v>0.004706264199935086</c:v>
                </c:pt>
                <c:pt idx="46">
                  <c:v>0.005146986043749381</c:v>
                </c:pt>
                <c:pt idx="47">
                  <c:v>0.005354387875487794</c:v>
                </c:pt>
                <c:pt idx="48">
                  <c:v>0.005730019348117279</c:v>
                </c:pt>
                <c:pt idx="49">
                  <c:v>0.005314799672935405</c:v>
                </c:pt>
                <c:pt idx="50">
                  <c:v>0.004363118293931704</c:v>
                </c:pt>
                <c:pt idx="51">
                  <c:v>0.00506919858384293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560291727472602</c:v>
                </c:pt>
              </c:numCache>
            </c:numRef>
          </c:xVal>
          <c:yVal>
            <c:numRef>
              <c:f>Sheet1!$B$163:$B$164</c:f>
              <c:numCache>
                <c:formatCode>General</c:formatCode>
                <c:ptCount val="2"/>
                <c:pt idx="0">
                  <c:v>0.010258770564396134</c:v>
                </c:pt>
                <c:pt idx="1">
                  <c:v>0.01025877056439613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560291727472602</c:v>
                </c:pt>
                <c:pt idx="1">
                  <c:v>2.560291727472602</c:v>
                </c:pt>
              </c:numCache>
            </c:numRef>
          </c:xVal>
          <c:yVal>
            <c:numRef>
              <c:f>Sheet1!$B$167:$B$168</c:f>
              <c:numCache>
                <c:formatCode>General</c:formatCode>
                <c:ptCount val="2"/>
                <c:pt idx="0">
                  <c:v>0.0102587705643961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560291727472602</c:v>
                </c:pt>
              </c:numCache>
            </c:numRef>
          </c:xVal>
          <c:yVal>
            <c:numRef>
              <c:f>Sheet1!$B$171:$B$172</c:f>
              <c:numCache>
                <c:formatCode>General</c:formatCode>
                <c:ptCount val="2"/>
                <c:pt idx="0">
                  <c:v>0.010258770564396134</c:v>
                </c:pt>
                <c:pt idx="1">
                  <c:v>0.01025877056439613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560291727472602</c:v>
                </c:pt>
                <c:pt idx="1">
                  <c:v>2.560291727472602</c:v>
                </c:pt>
              </c:numCache>
            </c:numRef>
          </c:xVal>
          <c:yVal>
            <c:numRef>
              <c:f>Sheet1!$B$175:$B$176</c:f>
              <c:numCache>
                <c:formatCode>General</c:formatCode>
                <c:ptCount val="2"/>
                <c:pt idx="0">
                  <c:v>0.0102587705643961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3.032040310290842</c:v>
                </c:pt>
              </c:numCache>
            </c:numRef>
          </c:xVal>
          <c:yVal>
            <c:numRef>
              <c:f>Sheet1!$B$179:$B$180</c:f>
              <c:numCache>
                <c:formatCode>General</c:formatCode>
                <c:ptCount val="2"/>
                <c:pt idx="0">
                  <c:v>0.007262314682441161</c:v>
                </c:pt>
                <c:pt idx="1">
                  <c:v>0.00726231468244116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3.032040310290842</c:v>
                </c:pt>
                <c:pt idx="1">
                  <c:v>3.032040310290842</c:v>
                </c:pt>
              </c:numCache>
            </c:numRef>
          </c:xVal>
          <c:yVal>
            <c:numRef>
              <c:f>Sheet1!$B$183:$B$184</c:f>
              <c:numCache>
                <c:formatCode>General</c:formatCode>
                <c:ptCount val="2"/>
                <c:pt idx="0">
                  <c:v>0.00726231468244116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3.0983463094535684</c:v>
                </c:pt>
                <c:pt idx="1">
                  <c:v>2.6559403117910523</c:v>
                </c:pt>
                <c:pt idx="2">
                  <c:v>2.9393658346935254</c:v>
                </c:pt>
                <c:pt idx="3">
                  <c:v>2.457957631223066</c:v>
                </c:pt>
                <c:pt idx="4">
                  <c:v>3.026602116878263</c:v>
                </c:pt>
                <c:pt idx="5">
                  <c:v>3.3311524540897075</c:v>
                </c:pt>
                <c:pt idx="6">
                  <c:v>3.2128431529075314</c:v>
                </c:pt>
                <c:pt idx="7">
                  <c:v>3.0999653546538726</c:v>
                </c:pt>
                <c:pt idx="8">
                  <c:v>3.0107468488440112</c:v>
                </c:pt>
                <c:pt idx="9">
                  <c:v>2.9977752173669105</c:v>
                </c:pt>
                <c:pt idx="10">
                  <c:v>3.076638767750421</c:v>
                </c:pt>
                <c:pt idx="11">
                  <c:v>3.1308329425083934</c:v>
                </c:pt>
                <c:pt idx="12">
                  <c:v>2.871122903924145</c:v>
                </c:pt>
                <c:pt idx="13">
                  <c:v>2.401571229733246</c:v>
                </c:pt>
                <c:pt idx="14">
                  <c:v>2.4471046359323085</c:v>
                </c:pt>
                <c:pt idx="15">
                  <c:v>2.564750248833992</c:v>
                </c:pt>
                <c:pt idx="16">
                  <c:v>2.755831641577474</c:v>
                </c:pt>
                <c:pt idx="17">
                  <c:v>2.0934840490697333</c:v>
                </c:pt>
                <c:pt idx="18">
                  <c:v>3.051934075725426</c:v>
                </c:pt>
                <c:pt idx="19">
                  <c:v>3.0297769833769705</c:v>
                </c:pt>
                <c:pt idx="20">
                  <c:v>2.8926868683464533</c:v>
                </c:pt>
                <c:pt idx="21">
                  <c:v>2.5324253775913625</c:v>
                </c:pt>
                <c:pt idx="22">
                  <c:v>2.6869379939565086</c:v>
                </c:pt>
                <c:pt idx="23">
                  <c:v>2.117638003449202</c:v>
                </c:pt>
                <c:pt idx="24">
                  <c:v>2.7411239734212907</c:v>
                </c:pt>
                <c:pt idx="25">
                  <c:v>2.5806202310900392</c:v>
                </c:pt>
                <c:pt idx="26">
                  <c:v>2.7718727980754774</c:v>
                </c:pt>
                <c:pt idx="27">
                  <c:v>2.717846066058396</c:v>
                </c:pt>
                <c:pt idx="28">
                  <c:v>2.7256446925358704</c:v>
                </c:pt>
                <c:pt idx="29">
                  <c:v>2.4734731121020443</c:v>
                </c:pt>
                <c:pt idx="30">
                  <c:v>2.480201232034567</c:v>
                </c:pt>
                <c:pt idx="31">
                  <c:v>2.754717894331657</c:v>
                </c:pt>
                <c:pt idx="32">
                  <c:v>3.1445257554257213</c:v>
                </c:pt>
                <c:pt idx="33">
                  <c:v>2.9443501923030535</c:v>
                </c:pt>
                <c:pt idx="34">
                  <c:v>3.01688921845861</c:v>
                </c:pt>
                <c:pt idx="35">
                  <c:v>2.7572399422387965</c:v>
                </c:pt>
                <c:pt idx="36">
                  <c:v>2.824191338597433</c:v>
                </c:pt>
                <c:pt idx="37">
                  <c:v>2.7572309839843263</c:v>
                </c:pt>
                <c:pt idx="38">
                  <c:v>2.4546359021227553</c:v>
                </c:pt>
                <c:pt idx="39">
                  <c:v>2.30295918180659</c:v>
                </c:pt>
                <c:pt idx="40">
                  <c:v>2.268958402911603</c:v>
                </c:pt>
                <c:pt idx="41">
                  <c:v>2.4810084984275496</c:v>
                </c:pt>
                <c:pt idx="42">
                  <c:v>2.247213001257648</c:v>
                </c:pt>
                <c:pt idx="43">
                  <c:v>2.550825238019473</c:v>
                </c:pt>
                <c:pt idx="44">
                  <c:v>3.0409401903563134</c:v>
                </c:pt>
                <c:pt idx="45">
                  <c:v>3.1381574224808455</c:v>
                </c:pt>
                <c:pt idx="46">
                  <c:v>3.225440247239982</c:v>
                </c:pt>
                <c:pt idx="47">
                  <c:v>3.231027664353473</c:v>
                </c:pt>
                <c:pt idx="48">
                  <c:v>3.145073108062799</c:v>
                </c:pt>
                <c:pt idx="49">
                  <c:v>3.0993891228173824</c:v>
                </c:pt>
                <c:pt idx="50">
                  <c:v>3.139451102749791</c:v>
                </c:pt>
                <c:pt idx="51">
                  <c:v>3.377227732956466</c:v>
                </c:pt>
                <c:pt idx="52">
                  <c:v>2.560291727472602</c:v>
                </c:pt>
                <c:pt idx="53">
                  <c:v>2.560291727472602</c:v>
                </c:pt>
                <c:pt idx="54">
                  <c:v>3.032040310290842</c:v>
                </c:pt>
              </c:numCache>
            </c:numRef>
          </c:xVal>
          <c:yVal>
            <c:numRef>
              <c:f>Sheet1!$B$187:$B$241</c:f>
              <c:numCache>
                <c:formatCode>General</c:formatCode>
                <c:ptCount val="55"/>
                <c:pt idx="0">
                  <c:v>0.006841151782463563</c:v>
                </c:pt>
                <c:pt idx="1">
                  <c:v>0.009651229230897073</c:v>
                </c:pt>
                <c:pt idx="2">
                  <c:v>0.007850965051779242</c:v>
                </c:pt>
                <c:pt idx="3">
                  <c:v>0.010908776978405041</c:v>
                </c:pt>
                <c:pt idx="4">
                  <c:v>0.007296857036635386</c:v>
                </c:pt>
                <c:pt idx="5">
                  <c:v>0.00536241211718937</c:v>
                </c:pt>
                <c:pt idx="6">
                  <c:v>0.00611388994739178</c:v>
                </c:pt>
                <c:pt idx="7">
                  <c:v>0.006830867920062492</c:v>
                </c:pt>
                <c:pt idx="8">
                  <c:v>0.007397566636815598</c:v>
                </c:pt>
                <c:pt idx="9">
                  <c:v>0.007479959934546154</c:v>
                </c:pt>
                <c:pt idx="10">
                  <c:v>0.006979033894648393</c:v>
                </c:pt>
                <c:pt idx="11">
                  <c:v>0.006634802963945651</c:v>
                </c:pt>
                <c:pt idx="12">
                  <c:v>0.008284430967212722</c:v>
                </c:pt>
                <c:pt idx="13">
                  <c:v>0.011266932509889797</c:v>
                </c:pt>
                <c:pt idx="14">
                  <c:v>0.010977713108284949</c:v>
                </c:pt>
                <c:pt idx="15">
                  <c:v>0.010230450897851833</c:v>
                </c:pt>
                <c:pt idx="16">
                  <c:v>0.009016738797652565</c:v>
                </c:pt>
                <c:pt idx="17">
                  <c:v>0.013223842775818024</c:v>
                </c:pt>
                <c:pt idx="18">
                  <c:v>0.0071359533267915595</c:v>
                </c:pt>
                <c:pt idx="19">
                  <c:v>0.007276690897846709</c:v>
                </c:pt>
                <c:pt idx="20">
                  <c:v>0.008147460830184479</c:v>
                </c:pt>
                <c:pt idx="21">
                  <c:v>0.010435772236582243</c:v>
                </c:pt>
                <c:pt idx="22">
                  <c:v>0.009454337940844295</c:v>
                </c:pt>
                <c:pt idx="23">
                  <c:v>0.013070421522826751</c:v>
                </c:pt>
                <c:pt idx="24">
                  <c:v>0.009110159065061015</c:v>
                </c:pt>
                <c:pt idx="25">
                  <c:v>0.010129647835776762</c:v>
                </c:pt>
                <c:pt idx="26">
                  <c:v>0.00891484846985412</c:v>
                </c:pt>
                <c:pt idx="27">
                  <c:v>0.009258015836607531</c:v>
                </c:pt>
                <c:pt idx="28">
                  <c:v>0.009208480467492067</c:v>
                </c:pt>
                <c:pt idx="29">
                  <c:v>0.010810225640606776</c:v>
                </c:pt>
                <c:pt idx="30">
                  <c:v>0.010767489922301345</c:v>
                </c:pt>
                <c:pt idx="31">
                  <c:v>0.009023813105042747</c:v>
                </c:pt>
                <c:pt idx="32">
                  <c:v>0.006547828860999708</c:v>
                </c:pt>
                <c:pt idx="33">
                  <c:v>0.00781930537494966</c:v>
                </c:pt>
                <c:pt idx="34">
                  <c:v>0.0073585514913945965</c:v>
                </c:pt>
                <c:pt idx="35">
                  <c:v>0.009007793543858753</c:v>
                </c:pt>
                <c:pt idx="36">
                  <c:v>0.00858253120554828</c:v>
                </c:pt>
                <c:pt idx="37">
                  <c:v>0.0090078504449609</c:v>
                </c:pt>
                <c:pt idx="38">
                  <c:v>0.010929875960073256</c:v>
                </c:pt>
                <c:pt idx="39">
                  <c:v>0.01189329719184858</c:v>
                </c:pt>
                <c:pt idx="40">
                  <c:v>0.012109263572292778</c:v>
                </c:pt>
                <c:pt idx="41">
                  <c:v>0.010762362322092975</c:v>
                </c:pt>
                <c:pt idx="42">
                  <c:v>0.012247386163572656</c:v>
                </c:pt>
                <c:pt idx="43">
                  <c:v>0.010318899876992759</c:v>
                </c:pt>
                <c:pt idx="44">
                  <c:v>0.007205784363236895</c:v>
                </c:pt>
                <c:pt idx="45">
                  <c:v>0.006588279281850833</c:v>
                </c:pt>
                <c:pt idx="46">
                  <c:v>0.006033875637263885</c:v>
                </c:pt>
                <c:pt idx="47">
                  <c:v>0.005998385442943351</c:v>
                </c:pt>
                <c:pt idx="48">
                  <c:v>0.006544352182767676</c:v>
                </c:pt>
                <c:pt idx="49">
                  <c:v>0.006834528033391303</c:v>
                </c:pt>
                <c:pt idx="50">
                  <c:v>0.006580062074650988</c:v>
                </c:pt>
                <c:pt idx="51">
                  <c:v>0.005069750845059572</c:v>
                </c:pt>
                <c:pt idx="52">
                  <c:v>0.010258770564396134</c:v>
                </c:pt>
                <c:pt idx="53">
                  <c:v>0.010258770564396134</c:v>
                </c:pt>
                <c:pt idx="54">
                  <c:v>0.00726231468244116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822349570200573"/>
          <c:min val="0.0001507159005275056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34.3125</c:v>
                </c:pt>
                <c:pt idx="1">
                  <c:v>3740.2</c:v>
                </c:pt>
                <c:pt idx="2">
                  <c:v>3175.8333</c:v>
                </c:pt>
                <c:pt idx="3">
                  <c:v>3027.4</c:v>
                </c:pt>
                <c:pt idx="4">
                  <c:v>3982.3333</c:v>
                </c:pt>
                <c:pt idx="5">
                  <c:v>3848.6667</c:v>
                </c:pt>
                <c:pt idx="6">
                  <c:v>3216.6364</c:v>
                </c:pt>
                <c:pt idx="7">
                  <c:v>3208.875</c:v>
                </c:pt>
                <c:pt idx="8">
                  <c:v>3023.0</c:v>
                </c:pt>
                <c:pt idx="9">
                  <c:v>3233.3333</c:v>
                </c:pt>
                <c:pt idx="10">
                  <c:v>3528.3333</c:v>
                </c:pt>
                <c:pt idx="11">
                  <c:v>3129.7</c:v>
                </c:pt>
                <c:pt idx="12">
                  <c:v>3208.4545</c:v>
                </c:pt>
                <c:pt idx="13">
                  <c:v>3153.0</c:v>
                </c:pt>
                <c:pt idx="14">
                  <c:v>3951.0</c:v>
                </c:pt>
                <c:pt idx="15">
                  <c:v>3128.3333</c:v>
                </c:pt>
                <c:pt idx="16">
                  <c:v>4342.0</c:v>
                </c:pt>
                <c:pt idx="17">
                  <c:v>3291.5</c:v>
                </c:pt>
                <c:pt idx="18">
                  <c:v>4434.0</c:v>
                </c:pt>
                <c:pt idx="19">
                  <c:v>3808.0</c:v>
                </c:pt>
                <c:pt idx="20">
                  <c:v>3044.2</c:v>
                </c:pt>
                <c:pt idx="21">
                  <c:v>6720.0</c:v>
                </c:pt>
                <c:pt idx="22">
                  <c:v>3122.1429</c:v>
                </c:pt>
                <c:pt idx="23">
                  <c:v>3924.6</c:v>
                </c:pt>
                <c:pt idx="24">
                  <c:v>2808.3333</c:v>
                </c:pt>
                <c:pt idx="25">
                  <c:v>2765.0</c:v>
                </c:pt>
                <c:pt idx="26">
                  <c:v>3202.0</c:v>
                </c:pt>
                <c:pt idx="27">
                  <c:v>3106.4</c:v>
                </c:pt>
                <c:pt idx="28">
                  <c:v>3346.6</c:v>
                </c:pt>
                <c:pt idx="29">
                  <c:v>3119.6667</c:v>
                </c:pt>
                <c:pt idx="30">
                  <c:v>3099.8</c:v>
                </c:pt>
                <c:pt idx="31">
                  <c:v>3342.0</c:v>
                </c:pt>
                <c:pt idx="32">
                  <c:v>4329.0</c:v>
                </c:pt>
                <c:pt idx="33">
                  <c:v>2663.4615</c:v>
                </c:pt>
                <c:pt idx="34">
                  <c:v>3005.3571</c:v>
                </c:pt>
                <c:pt idx="35">
                  <c:v>2884.4444</c:v>
                </c:pt>
                <c:pt idx="36">
                  <c:v>2882.1111</c:v>
                </c:pt>
                <c:pt idx="37">
                  <c:v>3050.0</c:v>
                </c:pt>
                <c:pt idx="38">
                  <c:v>3066.2</c:v>
                </c:pt>
                <c:pt idx="39">
                  <c:v>3735.1667</c:v>
                </c:pt>
                <c:pt idx="40">
                  <c:v>4272.75</c:v>
                </c:pt>
                <c:pt idx="41">
                  <c:v>4003.25</c:v>
                </c:pt>
                <c:pt idx="42">
                  <c:v>3549.6667</c:v>
                </c:pt>
                <c:pt idx="43">
                  <c:v>3104.1429</c:v>
                </c:pt>
                <c:pt idx="44">
                  <c:v>3004.2222</c:v>
                </c:pt>
                <c:pt idx="45">
                  <c:v>3138.1429</c:v>
                </c:pt>
                <c:pt idx="46">
                  <c:v>2995.8667</c:v>
                </c:pt>
                <c:pt idx="47">
                  <c:v>2660.1667</c:v>
                </c:pt>
                <c:pt idx="48">
                  <c:v>3669.0</c:v>
                </c:pt>
                <c:pt idx="49">
                  <c:v>3025.0556</c:v>
                </c:pt>
                <c:pt idx="50">
                  <c:v>3099.3571</c:v>
                </c:pt>
                <c:pt idx="51">
                  <c:v>2739.4667</c:v>
                </c:pt>
                <c:pt idx="52">
                  <c:v>3202.5</c:v>
                </c:pt>
                <c:pt idx="53">
                  <c:v>3334.5</c:v>
                </c:pt>
                <c:pt idx="54">
                  <c:v>2909.6923</c:v>
                </c:pt>
                <c:pt idx="55">
                  <c:v>3116.0</c:v>
                </c:pt>
                <c:pt idx="56">
                  <c:v>2599.75</c:v>
                </c:pt>
                <c:pt idx="57">
                  <c:v>2696.8333</c:v>
                </c:pt>
                <c:pt idx="58">
                  <c:v>2451.5714</c:v>
                </c:pt>
                <c:pt idx="59">
                  <c:v>2641.6154</c:v>
                </c:pt>
                <c:pt idx="60">
                  <c:v>2559.1905</c:v>
                </c:pt>
                <c:pt idx="61">
                  <c:v>2616.8125</c:v>
                </c:pt>
                <c:pt idx="62">
                  <c:v>2355.3889</c:v>
                </c:pt>
                <c:pt idx="63">
                  <c:v>2616.8235</c:v>
                </c:pt>
                <c:pt idx="64">
                  <c:v>2307.1667</c:v>
                </c:pt>
                <c:pt idx="65">
                  <c:v>2335.0625</c:v>
                </c:pt>
                <c:pt idx="66">
                  <c:v>2205.0588</c:v>
                </c:pt>
                <c:pt idx="67">
                  <c:v>2366.9167</c:v>
                </c:pt>
                <c:pt idx="68">
                  <c:v>1907.25</c:v>
                </c:pt>
                <c:pt idx="69">
                  <c:v>1806.8462</c:v>
                </c:pt>
                <c:pt idx="70">
                  <c:v>2093.8182</c:v>
                </c:pt>
                <c:pt idx="71">
                  <c:v>1689.1818</c:v>
                </c:pt>
                <c:pt idx="72">
                  <c:v>2030.4375</c:v>
                </c:pt>
                <c:pt idx="73">
                  <c:v>1540.12</c:v>
                </c:pt>
                <c:pt idx="74">
                  <c:v>1899.0714</c:v>
                </c:pt>
                <c:pt idx="75">
                  <c:v>2853.48</c:v>
                </c:pt>
                <c:pt idx="76">
                  <c:v>2875.1212</c:v>
                </c:pt>
                <c:pt idx="77">
                  <c:v>3425.6333</c:v>
                </c:pt>
                <c:pt idx="78">
                  <c:v>2855.7568</c:v>
                </c:pt>
                <c:pt idx="79">
                  <c:v>3978.3</c:v>
                </c:pt>
                <c:pt idx="80">
                  <c:v>3440.1333</c:v>
                </c:pt>
                <c:pt idx="81">
                  <c:v>3386.2927</c:v>
                </c:pt>
                <c:pt idx="82">
                  <c:v>3334.303</c:v>
                </c:pt>
                <c:pt idx="83">
                  <c:v>3918.6087</c:v>
                </c:pt>
                <c:pt idx="84">
                  <c:v>3499.875</c:v>
                </c:pt>
                <c:pt idx="85">
                  <c:v>3327.3478</c:v>
                </c:pt>
                <c:pt idx="86">
                  <c:v>4500.5714</c:v>
                </c:pt>
                <c:pt idx="87">
                  <c:v>4381.2143</c:v>
                </c:pt>
                <c:pt idx="88">
                  <c:v>3936.9063</c:v>
                </c:pt>
                <c:pt idx="89">
                  <c:v>3929.9118</c:v>
                </c:pt>
                <c:pt idx="90">
                  <c:v>4465.6207</c:v>
                </c:pt>
                <c:pt idx="91">
                  <c:v>3604.8857</c:v>
                </c:pt>
                <c:pt idx="92">
                  <c:v>4148.6286</c:v>
                </c:pt>
                <c:pt idx="93">
                  <c:v>4459.8824</c:v>
                </c:pt>
                <c:pt idx="94">
                  <c:v>4274.8824</c:v>
                </c:pt>
                <c:pt idx="95">
                  <c:v>4202.5714</c:v>
                </c:pt>
                <c:pt idx="96">
                  <c:v>3518.4405</c:v>
                </c:pt>
                <c:pt idx="97">
                  <c:v>3508.6293</c:v>
                </c:pt>
                <c:pt idx="98">
                  <c:v>3336.811</c:v>
                </c:pt>
                <c:pt idx="99">
                  <c:v>3491.1985</c:v>
                </c:pt>
                <c:pt idx="100">
                  <c:v>3901.069</c:v>
                </c:pt>
                <c:pt idx="101">
                  <c:v>3699.9652</c:v>
                </c:pt>
                <c:pt idx="102">
                  <c:v>3851.6974</c:v>
                </c:pt>
                <c:pt idx="103">
                  <c:v>3939.1392</c:v>
                </c:pt>
                <c:pt idx="104">
                  <c:v>4226.3208</c:v>
                </c:pt>
              </c:numCache>
            </c:numRef>
          </c:xVal>
          <c:yVal>
            <c:numRef>
              <c:f>Sheet1!$B$2:$B$106</c:f>
              <c:numCache>
                <c:formatCode>General</c:formatCode>
                <c:ptCount val="105"/>
                <c:pt idx="0">
                  <c:v>0.0012656225280809998</c:v>
                </c:pt>
                <c:pt idx="1">
                  <c:v>0.000440257110152329</c:v>
                </c:pt>
                <c:pt idx="2">
                  <c:v>0.0005525370660281794</c:v>
                </c:pt>
                <c:pt idx="3">
                  <c:v>0.0005060728744939271</c:v>
                </c:pt>
                <c:pt idx="4">
                  <c:v>0.00034056079010103305</c:v>
                </c:pt>
                <c:pt idx="5">
                  <c:v>0.0006506886454831363</c:v>
                </c:pt>
                <c:pt idx="6">
                  <c:v>0.0011653776883144402</c:v>
                </c:pt>
                <c:pt idx="7">
                  <c:v>0.0009905894006934125</c:v>
                </c:pt>
                <c:pt idx="8">
                  <c:v>0.0008851795649974709</c:v>
                </c:pt>
                <c:pt idx="9">
                  <c:v>0.000865884163940735</c:v>
                </c:pt>
                <c:pt idx="10">
                  <c:v>0.0005662514156285391</c:v>
                </c:pt>
                <c:pt idx="11">
                  <c:v>0.0009392317084624777</c:v>
                </c:pt>
                <c:pt idx="12">
                  <c:v>0.0009146848494927657</c:v>
                </c:pt>
                <c:pt idx="13">
                  <c:v>0.0008834702712253732</c:v>
                </c:pt>
                <c:pt idx="14">
                  <c:v>0.0002642007926023778</c:v>
                </c:pt>
                <c:pt idx="15">
                  <c:v>0.0006487187804086928</c:v>
                </c:pt>
                <c:pt idx="16">
                  <c:v>0.00024919013207077</c:v>
                </c:pt>
                <c:pt idx="17">
                  <c:v>0.0005400297016335898</c:v>
                </c:pt>
                <c:pt idx="18">
                  <c:v>0.0003161555485298767</c:v>
                </c:pt>
                <c:pt idx="19">
                  <c:v>0.0005461496450027307</c:v>
                </c:pt>
                <c:pt idx="20">
                  <c:v>0.0007560864962951762</c:v>
                </c:pt>
                <c:pt idx="21">
                  <c:v>0.00018839487565938207</c:v>
                </c:pt>
                <c:pt idx="22">
                  <c:v>0.0013313046785850132</c:v>
                </c:pt>
                <c:pt idx="23">
                  <c:v>0.0010094891984655764</c:v>
                </c:pt>
                <c:pt idx="24">
                  <c:v>0.0016762898118830322</c:v>
                </c:pt>
                <c:pt idx="25">
                  <c:v>0.002147766323024055</c:v>
                </c:pt>
                <c:pt idx="26">
                  <c:v>0.001722356183258698</c:v>
                </c:pt>
                <c:pt idx="27">
                  <c:v>0.0008131403480240689</c:v>
                </c:pt>
                <c:pt idx="28">
                  <c:v>0.0008548469823901521</c:v>
                </c:pt>
                <c:pt idx="29">
                  <c:v>0.0014276649746192893</c:v>
                </c:pt>
                <c:pt idx="30">
                  <c:v>0.000992063492063492</c:v>
                </c:pt>
                <c:pt idx="31">
                  <c:v>0.0011534025374855825</c:v>
                </c:pt>
                <c:pt idx="32">
                  <c:v>0.0007738440704198104</c:v>
                </c:pt>
                <c:pt idx="33">
                  <c:v>0.0019944768333844736</c:v>
                </c:pt>
                <c:pt idx="34">
                  <c:v>0.001936912008854455</c:v>
                </c:pt>
                <c:pt idx="35">
                  <c:v>0.0019083969465648854</c:v>
                </c:pt>
                <c:pt idx="36">
                  <c:v>0.0012048192771084338</c:v>
                </c:pt>
                <c:pt idx="37">
                  <c:v>0.0009561752988047809</c:v>
                </c:pt>
                <c:pt idx="38">
                  <c:v>0.0008311170212765958</c:v>
                </c:pt>
                <c:pt idx="39">
                  <c:v>0.0010741138560687433</c:v>
                </c:pt>
                <c:pt idx="40">
                  <c:v>0.0005878030859662013</c:v>
                </c:pt>
                <c:pt idx="41">
                  <c:v>0.0006283380458686773</c:v>
                </c:pt>
                <c:pt idx="42">
                  <c:v>0.00040090872644661234</c:v>
                </c:pt>
                <c:pt idx="43">
                  <c:v>0.0008403361344537816</c:v>
                </c:pt>
                <c:pt idx="44">
                  <c:v>0.0007217321571772253</c:v>
                </c:pt>
                <c:pt idx="45">
                  <c:v>0.0005158437730287399</c:v>
                </c:pt>
                <c:pt idx="46">
                  <c:v>0.0010876658690450293</c:v>
                </c:pt>
                <c:pt idx="47">
                  <c:v>0.0013082346100734064</c:v>
                </c:pt>
                <c:pt idx="48">
                  <c:v>0.0006439841150584952</c:v>
                </c:pt>
                <c:pt idx="49">
                  <c:v>0.0006483916285436403</c:v>
                </c:pt>
                <c:pt idx="50">
                  <c:v>0.0009774488584793689</c:v>
                </c:pt>
                <c:pt idx="51">
                  <c:v>0.0013073034687118702</c:v>
                </c:pt>
                <c:pt idx="52">
                  <c:v>0.00044672771945499217</c:v>
                </c:pt>
                <c:pt idx="53">
                  <c:v>0.0005792624058698591</c:v>
                </c:pt>
                <c:pt idx="54">
                  <c:v>0.0013641133263378805</c:v>
                </c:pt>
                <c:pt idx="55">
                  <c:v>0.0008862301982940069</c:v>
                </c:pt>
                <c:pt idx="56">
                  <c:v>0.000910643141718839</c:v>
                </c:pt>
                <c:pt idx="57">
                  <c:v>0.0006073489219556636</c:v>
                </c:pt>
                <c:pt idx="58">
                  <c:v>0.0006362479549172878</c:v>
                </c:pt>
                <c:pt idx="59">
                  <c:v>0.0007566938300349244</c:v>
                </c:pt>
                <c:pt idx="60">
                  <c:v>0.0013077593722755014</c:v>
                </c:pt>
                <c:pt idx="61">
                  <c:v>0.0014262791941522554</c:v>
                </c:pt>
                <c:pt idx="62">
                  <c:v>0.0015599272033971748</c:v>
                </c:pt>
                <c:pt idx="63">
                  <c:v>0.0013111213944161653</c:v>
                </c:pt>
                <c:pt idx="64">
                  <c:v>0.0017508024511234317</c:v>
                </c:pt>
                <c:pt idx="65">
                  <c:v>0.0012554927809165098</c:v>
                </c:pt>
                <c:pt idx="66">
                  <c:v>0.001433268695725487</c:v>
                </c:pt>
                <c:pt idx="67">
                  <c:v>0.0010668563300142249</c:v>
                </c:pt>
                <c:pt idx="68">
                  <c:v>0.001755926251097454</c:v>
                </c:pt>
                <c:pt idx="69">
                  <c:v>0.0017876787678767878</c:v>
                </c:pt>
                <c:pt idx="70">
                  <c:v>0.001490111081007857</c:v>
                </c:pt>
                <c:pt idx="71">
                  <c:v>0.0016164584864070536</c:v>
                </c:pt>
                <c:pt idx="72">
                  <c:v>0.0021756867011150393</c:v>
                </c:pt>
                <c:pt idx="73">
                  <c:v>0.0037058997924696115</c:v>
                </c:pt>
                <c:pt idx="74">
                  <c:v>0.003992015968063872</c:v>
                </c:pt>
                <c:pt idx="75">
                  <c:v>0.004108463434675432</c:v>
                </c:pt>
                <c:pt idx="76">
                  <c:v>0.005612244897959183</c:v>
                </c:pt>
                <c:pt idx="77">
                  <c:v>0.005408328826392645</c:v>
                </c:pt>
                <c:pt idx="78">
                  <c:v>0.0078125</c:v>
                </c:pt>
                <c:pt idx="79">
                  <c:v>0.0056625141562853904</c:v>
                </c:pt>
                <c:pt idx="80">
                  <c:v>0.005747126436781609</c:v>
                </c:pt>
                <c:pt idx="81">
                  <c:v>0.006224381357218764</c:v>
                </c:pt>
                <c:pt idx="82">
                  <c:v>0.0063522617901828685</c:v>
                </c:pt>
                <c:pt idx="83">
                  <c:v>0.005026223776223776</c:v>
                </c:pt>
                <c:pt idx="84">
                  <c:v>0.005585292064230859</c:v>
                </c:pt>
                <c:pt idx="85">
                  <c:v>0.004861551469034031</c:v>
                </c:pt>
                <c:pt idx="86">
                  <c:v>0.004291845493562232</c:v>
                </c:pt>
                <c:pt idx="87">
                  <c:v>0.003737818715792284</c:v>
                </c:pt>
                <c:pt idx="88">
                  <c:v>0.005559416261292564</c:v>
                </c:pt>
                <c:pt idx="89">
                  <c:v>0.0068</c:v>
                </c:pt>
                <c:pt idx="90">
                  <c:v>0.005901505901505902</c:v>
                </c:pt>
                <c:pt idx="91">
                  <c:v>0.006512839598064756</c:v>
                </c:pt>
                <c:pt idx="92">
                  <c:v>0.0053590568060021436</c:v>
                </c:pt>
                <c:pt idx="93">
                  <c:v>0.0049504950495049506</c:v>
                </c:pt>
                <c:pt idx="94">
                  <c:v>0.005507856795723311</c:v>
                </c:pt>
                <c:pt idx="95">
                  <c:v>0.0054705816679691864</c:v>
                </c:pt>
                <c:pt idx="96">
                  <c:v>0.007192396609298741</c:v>
                </c:pt>
                <c:pt idx="97">
                  <c:v>0.008507517418408507</c:v>
                </c:pt>
                <c:pt idx="98">
                  <c:v>0.008149383983572895</c:v>
                </c:pt>
                <c:pt idx="99">
                  <c:v>0.007668884628397429</c:v>
                </c:pt>
                <c:pt idx="100">
                  <c:v>0.005646857231871641</c:v>
                </c:pt>
                <c:pt idx="101">
                  <c:v>0.00819205014959396</c:v>
                </c:pt>
                <c:pt idx="102">
                  <c:v>0.006739381041057019</c:v>
                </c:pt>
                <c:pt idx="103">
                  <c:v>0.006306378223038238</c:v>
                </c:pt>
                <c:pt idx="104">
                  <c:v>0.005044256210145617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numCache>
            </c:numRef>
          </c:xVal>
          <c:yVal>
            <c:numRef>
              <c:f>Sheet1!$B$109:$B$160</c:f>
              <c:numCache>
                <c:formatCode>General</c:formatCode>
                <c:ptCount val="52"/>
                <c:pt idx="0">
                  <c:v>0.0049961236971315355</c:v>
                </c:pt>
                <c:pt idx="1">
                  <c:v>0.005845816587504567</c:v>
                </c:pt>
                <c:pt idx="2">
                  <c:v>0.005669213704707912</c:v>
                </c:pt>
                <c:pt idx="3">
                  <c:v>0.006110147799521097</c:v>
                </c:pt>
                <c:pt idx="4">
                  <c:v>0.006154403113403928</c:v>
                </c:pt>
                <c:pt idx="5">
                  <c:v>0.005041011619958988</c:v>
                </c:pt>
                <c:pt idx="6">
                  <c:v>0.006016439284806372</c:v>
                </c:pt>
                <c:pt idx="7">
                  <c:v>0.00700827205882353</c:v>
                </c:pt>
                <c:pt idx="8">
                  <c:v>0.008691001470784864</c:v>
                </c:pt>
                <c:pt idx="9">
                  <c:v>0.008687373557062953</c:v>
                </c:pt>
                <c:pt idx="10">
                  <c:v>0.008260670032124828</c:v>
                </c:pt>
                <c:pt idx="11">
                  <c:v>0.008187231227257692</c:v>
                </c:pt>
                <c:pt idx="12">
                  <c:v>0.008404163881195683</c:v>
                </c:pt>
                <c:pt idx="13">
                  <c:v>0.012609704428528195</c:v>
                </c:pt>
                <c:pt idx="14">
                  <c:v>0.012543012543012544</c:v>
                </c:pt>
                <c:pt idx="15">
                  <c:v>0.012177819815559234</c:v>
                </c:pt>
                <c:pt idx="16">
                  <c:v>0.011682242990654205</c:v>
                </c:pt>
                <c:pt idx="17">
                  <c:v>0.01518624641833811</c:v>
                </c:pt>
                <c:pt idx="18">
                  <c:v>0.007985360173016137</c:v>
                </c:pt>
                <c:pt idx="19">
                  <c:v>0.007203257124960852</c:v>
                </c:pt>
                <c:pt idx="20">
                  <c:v>0.008735960064182563</c:v>
                </c:pt>
                <c:pt idx="21">
                  <c:v>0.011700975081256771</c:v>
                </c:pt>
                <c:pt idx="22">
                  <c:v>0.010414358519831598</c:v>
                </c:pt>
                <c:pt idx="23">
                  <c:v>0.010123239436619719</c:v>
                </c:pt>
                <c:pt idx="24">
                  <c:v>0.009738151915169876</c:v>
                </c:pt>
                <c:pt idx="25">
                  <c:v>0.010512765500965459</c:v>
                </c:pt>
                <c:pt idx="26">
                  <c:v>0.010547667342799188</c:v>
                </c:pt>
                <c:pt idx="27">
                  <c:v>0.009973285841495993</c:v>
                </c:pt>
                <c:pt idx="28">
                  <c:v>0.008588750421017177</c:v>
                </c:pt>
                <c:pt idx="29">
                  <c:v>0.01018981018981019</c:v>
                </c:pt>
                <c:pt idx="30">
                  <c:v>0.009368148295794299</c:v>
                </c:pt>
                <c:pt idx="31">
                  <c:v>0.010326214503637644</c:v>
                </c:pt>
                <c:pt idx="32">
                  <c:v>0.008757297748123435</c:v>
                </c:pt>
                <c:pt idx="33">
                  <c:v>0.008337420304070623</c:v>
                </c:pt>
                <c:pt idx="34">
                  <c:v>0.007484096295372334</c:v>
                </c:pt>
                <c:pt idx="35">
                  <c:v>0.00890251021599533</c:v>
                </c:pt>
                <c:pt idx="36">
                  <c:v>0.011209715086408221</c:v>
                </c:pt>
                <c:pt idx="37">
                  <c:v>0.011385199240986717</c:v>
                </c:pt>
                <c:pt idx="38">
                  <c:v>0.013365735115431349</c:v>
                </c:pt>
                <c:pt idx="39">
                  <c:v>0.01218875152359394</c:v>
                </c:pt>
                <c:pt idx="40">
                  <c:v>0.011968560200071454</c:v>
                </c:pt>
                <c:pt idx="41">
                  <c:v>0.009420172161767094</c:v>
                </c:pt>
                <c:pt idx="42">
                  <c:v>0.01107419712070875</c:v>
                </c:pt>
                <c:pt idx="43">
                  <c:v>0.008003311715192493</c:v>
                </c:pt>
                <c:pt idx="44">
                  <c:v>0.006070324132401787</c:v>
                </c:pt>
                <c:pt idx="45">
                  <c:v>0.004706264199935086</c:v>
                </c:pt>
                <c:pt idx="46">
                  <c:v>0.005146986043749381</c:v>
                </c:pt>
                <c:pt idx="47">
                  <c:v>0.005354387875487794</c:v>
                </c:pt>
                <c:pt idx="48">
                  <c:v>0.005730019348117279</c:v>
                </c:pt>
                <c:pt idx="49">
                  <c:v>0.005314799672935405</c:v>
                </c:pt>
                <c:pt idx="50">
                  <c:v>0.004363118293931704</c:v>
                </c:pt>
                <c:pt idx="51">
                  <c:v>0.00506919858384293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607.134498189073</c:v>
                </c:pt>
              </c:numCache>
            </c:numRef>
          </c:xVal>
          <c:yVal>
            <c:numRef>
              <c:f>Sheet1!$B$163:$B$164</c:f>
              <c:numCache>
                <c:formatCode>General</c:formatCode>
                <c:ptCount val="2"/>
                <c:pt idx="0">
                  <c:v>0.010258770564396134</c:v>
                </c:pt>
                <c:pt idx="1">
                  <c:v>0.01025877056439613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607.134498189073</c:v>
                </c:pt>
                <c:pt idx="1">
                  <c:v>3607.134498189073</c:v>
                </c:pt>
              </c:numCache>
            </c:numRef>
          </c:xVal>
          <c:yVal>
            <c:numRef>
              <c:f>Sheet1!$B$167:$B$168</c:f>
              <c:numCache>
                <c:formatCode>General</c:formatCode>
                <c:ptCount val="2"/>
                <c:pt idx="0">
                  <c:v>0.0102587705643961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607.134498189073</c:v>
                </c:pt>
              </c:numCache>
            </c:numRef>
          </c:xVal>
          <c:yVal>
            <c:numRef>
              <c:f>Sheet1!$B$171:$B$172</c:f>
              <c:numCache>
                <c:formatCode>General</c:formatCode>
                <c:ptCount val="2"/>
                <c:pt idx="0">
                  <c:v>0.010258770564396134</c:v>
                </c:pt>
                <c:pt idx="1">
                  <c:v>0.01025877056439613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607.134498189073</c:v>
                </c:pt>
                <c:pt idx="1">
                  <c:v>3607.134498189073</c:v>
                </c:pt>
              </c:numCache>
            </c:numRef>
          </c:xVal>
          <c:yVal>
            <c:numRef>
              <c:f>Sheet1!$B$175:$B$176</c:f>
              <c:numCache>
                <c:formatCode>General</c:formatCode>
                <c:ptCount val="2"/>
                <c:pt idx="0">
                  <c:v>0.0102587705643961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37.576844898935</c:v>
                </c:pt>
              </c:numCache>
            </c:numRef>
          </c:xVal>
          <c:yVal>
            <c:numRef>
              <c:f>Sheet1!$B$179:$B$180</c:f>
              <c:numCache>
                <c:formatCode>General</c:formatCode>
                <c:ptCount val="2"/>
                <c:pt idx="0">
                  <c:v>0.007262314682441161</c:v>
                </c:pt>
                <c:pt idx="1">
                  <c:v>0.00726231468244116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37.576844898935</c:v>
                </c:pt>
                <c:pt idx="1">
                  <c:v>4237.576844898935</c:v>
                </c:pt>
              </c:numCache>
            </c:numRef>
          </c:xVal>
          <c:yVal>
            <c:numRef>
              <c:f>Sheet1!$B$183:$B$184</c:f>
              <c:numCache>
                <c:formatCode>General</c:formatCode>
                <c:ptCount val="2"/>
                <c:pt idx="0">
                  <c:v>0.00726231468244116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pt idx="52">
                  <c:v>3607.134498189073</c:v>
                </c:pt>
                <c:pt idx="53">
                  <c:v>3607.134498189073</c:v>
                </c:pt>
                <c:pt idx="54">
                  <c:v>4237.576844898935</c:v>
                </c:pt>
              </c:numCache>
            </c:numRef>
          </c:xVal>
          <c:yVal>
            <c:numRef>
              <c:f>Sheet1!$B$187:$B$241</c:f>
              <c:numCache>
                <c:formatCode>General</c:formatCode>
                <c:ptCount val="55"/>
                <c:pt idx="0">
                  <c:v>0.006462956562003824</c:v>
                </c:pt>
                <c:pt idx="1">
                  <c:v>0.008828254325189223</c:v>
                </c:pt>
                <c:pt idx="2">
                  <c:v>0.006981808619114491</c:v>
                </c:pt>
                <c:pt idx="3">
                  <c:v>0.009847702389348786</c:v>
                </c:pt>
                <c:pt idx="4">
                  <c:v>0.005887332514378271</c:v>
                </c:pt>
                <c:pt idx="5">
                  <c:v>0.004467104026647288</c:v>
                </c:pt>
                <c:pt idx="6">
                  <c:v>0.006437776901391436</c:v>
                </c:pt>
                <c:pt idx="7">
                  <c:v>0.00704088911353852</c:v>
                </c:pt>
                <c:pt idx="8">
                  <c:v>0.007584965984210178</c:v>
                </c:pt>
                <c:pt idx="9">
                  <c:v>0.00792512928722245</c:v>
                </c:pt>
                <c:pt idx="10">
                  <c:v>0.007437878590604012</c:v>
                </c:pt>
                <c:pt idx="11">
                  <c:v>0.007981838538903496</c:v>
                </c:pt>
                <c:pt idx="12">
                  <c:v>0.009121026043935467</c:v>
                </c:pt>
                <c:pt idx="13">
                  <c:v>0.011180301836783316</c:v>
                </c:pt>
                <c:pt idx="14">
                  <c:v>0.010980090335615238</c:v>
                </c:pt>
                <c:pt idx="15">
                  <c:v>0.010091811111855163</c:v>
                </c:pt>
                <c:pt idx="16">
                  <c:v>0.008985956939365013</c:v>
                </c:pt>
                <c:pt idx="17">
                  <c:v>0.013575752739046248</c:v>
                </c:pt>
                <c:pt idx="18">
                  <c:v>0.007958490662121825</c:v>
                </c:pt>
                <c:pt idx="19">
                  <c:v>0.006469041753593016</c:v>
                </c:pt>
                <c:pt idx="20">
                  <c:v>0.007168348758033766</c:v>
                </c:pt>
                <c:pt idx="21">
                  <c:v>0.009940346733999614</c:v>
                </c:pt>
                <c:pt idx="22">
                  <c:v>0.008964687999395895</c:v>
                </c:pt>
                <c:pt idx="23">
                  <c:v>0.012456922084421597</c:v>
                </c:pt>
                <c:pt idx="24">
                  <c:v>0.008119318335635187</c:v>
                </c:pt>
                <c:pt idx="25">
                  <c:v>0.010250097862597628</c:v>
                </c:pt>
                <c:pt idx="26">
                  <c:v>0.009253614112803697</c:v>
                </c:pt>
                <c:pt idx="27">
                  <c:v>0.009763660869642445</c:v>
                </c:pt>
                <c:pt idx="28">
                  <c:v>0.009277601260278753</c:v>
                </c:pt>
                <c:pt idx="29">
                  <c:v>0.010371803120263982</c:v>
                </c:pt>
                <c:pt idx="30">
                  <c:v>0.010445886751273524</c:v>
                </c:pt>
                <c:pt idx="31">
                  <c:v>0.008953863174085912</c:v>
                </c:pt>
                <c:pt idx="32">
                  <c:v>0.006212053508968085</c:v>
                </c:pt>
                <c:pt idx="33">
                  <c:v>0.007563373368893702</c:v>
                </c:pt>
                <c:pt idx="34">
                  <c:v>0.006932984022848039</c:v>
                </c:pt>
                <c:pt idx="35">
                  <c:v>0.00831701505521314</c:v>
                </c:pt>
                <c:pt idx="36">
                  <c:v>0.007562412324029738</c:v>
                </c:pt>
                <c:pt idx="37">
                  <c:v>0.007721866872611352</c:v>
                </c:pt>
                <c:pt idx="38">
                  <c:v>0.010274705744292435</c:v>
                </c:pt>
                <c:pt idx="39">
                  <c:v>0.011788091894405743</c:v>
                </c:pt>
                <c:pt idx="40">
                  <c:v>0.012091137097194815</c:v>
                </c:pt>
                <c:pt idx="41">
                  <c:v>0.010617109584143844</c:v>
                </c:pt>
                <c:pt idx="42">
                  <c:v>0.011685767708162674</c:v>
                </c:pt>
                <c:pt idx="43">
                  <c:v>0.009968660959833491</c:v>
                </c:pt>
                <c:pt idx="44">
                  <c:v>0.007781602322437232</c:v>
                </c:pt>
                <c:pt idx="45">
                  <c:v>0.006977913107885481</c:v>
                </c:pt>
                <c:pt idx="46">
                  <c:v>0.006616919561446843</c:v>
                </c:pt>
                <c:pt idx="47">
                  <c:v>0.0070070282044393285</c:v>
                </c:pt>
                <c:pt idx="48">
                  <c:v>0.008593226098294143</c:v>
                </c:pt>
                <c:pt idx="49">
                  <c:v>0.009001464363092297</c:v>
                </c:pt>
                <c:pt idx="50">
                  <c:v>0.008333013457844717</c:v>
                </c:pt>
                <c:pt idx="51">
                  <c:v>0.007272298925720757</c:v>
                </c:pt>
                <c:pt idx="52">
                  <c:v>0.010258770564396134</c:v>
                </c:pt>
                <c:pt idx="53">
                  <c:v>0.010258770564396134</c:v>
                </c:pt>
                <c:pt idx="54">
                  <c:v>0.00726231468244116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64.0"/>
          <c:min val="123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822349570200573"/>
          <c:min val="0.0001507159005275056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4167985083060233</c:v>
                </c:pt>
                <c:pt idx="1">
                  <c:v>1.546243925787733</c:v>
                </c:pt>
                <c:pt idx="2">
                  <c:v>1.1513344325722357</c:v>
                </c:pt>
                <c:pt idx="3">
                  <c:v>1.0689622224923012</c:v>
                </c:pt>
                <c:pt idx="4">
                  <c:v>1.3927124151074337</c:v>
                </c:pt>
                <c:pt idx="5">
                  <c:v>0.9517604357180011</c:v>
                </c:pt>
                <c:pt idx="6">
                  <c:v>0.7739698823107967</c:v>
                </c:pt>
                <c:pt idx="7">
                  <c:v>0.9401451401568126</c:v>
                </c:pt>
                <c:pt idx="8">
                  <c:v>0.6662320180441107</c:v>
                </c:pt>
                <c:pt idx="9">
                  <c:v>0.9563794254979433</c:v>
                </c:pt>
                <c:pt idx="10">
                  <c:v>1.0115030401137455</c:v>
                </c:pt>
                <c:pt idx="11">
                  <c:v>0.8659933591588267</c:v>
                </c:pt>
                <c:pt idx="12">
                  <c:v>0.8793948438801912</c:v>
                </c:pt>
                <c:pt idx="13">
                  <c:v>0.988674487595067</c:v>
                </c:pt>
                <c:pt idx="14">
                  <c:v>1.3612185024425965</c:v>
                </c:pt>
                <c:pt idx="15">
                  <c:v>1.027490826647198</c:v>
                </c:pt>
                <c:pt idx="16">
                  <c:v>1.458045104702548</c:v>
                </c:pt>
                <c:pt idx="17">
                  <c:v>1.1692595466320885</c:v>
                </c:pt>
                <c:pt idx="18">
                  <c:v>1.8333245815583425</c:v>
                </c:pt>
                <c:pt idx="19">
                  <c:v>1.383158519482812</c:v>
                </c:pt>
                <c:pt idx="20">
                  <c:v>1.0746651900051971</c:v>
                </c:pt>
                <c:pt idx="21">
                  <c:v>2.1751702823316</c:v>
                </c:pt>
                <c:pt idx="22">
                  <c:v>0.9434727921941564</c:v>
                </c:pt>
                <c:pt idx="23">
                  <c:v>1.370247645220728</c:v>
                </c:pt>
                <c:pt idx="24">
                  <c:v>0.7382846126386212</c:v>
                </c:pt>
                <c:pt idx="25">
                  <c:v>0.6564809472965462</c:v>
                </c:pt>
                <c:pt idx="26">
                  <c:v>0.941764705882353</c:v>
                </c:pt>
                <c:pt idx="27">
                  <c:v>0.6638735848261033</c:v>
                </c:pt>
                <c:pt idx="28">
                  <c:v>0.5739372334311423</c:v>
                </c:pt>
                <c:pt idx="29">
                  <c:v>0.5248937165949166</c:v>
                </c:pt>
                <c:pt idx="30">
                  <c:v>0.6243442829103387</c:v>
                </c:pt>
                <c:pt idx="31">
                  <c:v>0.5449441017309867</c:v>
                </c:pt>
                <c:pt idx="32">
                  <c:v>0.6277346661125858</c:v>
                </c:pt>
                <c:pt idx="33">
                  <c:v>0.3782002615732444</c:v>
                </c:pt>
                <c:pt idx="34">
                  <c:v>0.3870087670056139</c:v>
                </c:pt>
                <c:pt idx="35">
                  <c:v>0.4383081238622308</c:v>
                </c:pt>
                <c:pt idx="36">
                  <c:v>0.5720530277081524</c:v>
                </c:pt>
                <c:pt idx="37">
                  <c:v>0.46683725154940603</c:v>
                </c:pt>
                <c:pt idx="38">
                  <c:v>0.4267831761632117</c:v>
                </c:pt>
                <c:pt idx="39">
                  <c:v>0.43085980090205445</c:v>
                </c:pt>
                <c:pt idx="40">
                  <c:v>0.5613020162693575</c:v>
                </c:pt>
                <c:pt idx="41">
                  <c:v>0.4338813864262025</c:v>
                </c:pt>
                <c:pt idx="42">
                  <c:v>0.5553118176991991</c:v>
                </c:pt>
                <c:pt idx="43">
                  <c:v>0.5537480999902438</c:v>
                </c:pt>
                <c:pt idx="44">
                  <c:v>0.5655357046414191</c:v>
                </c:pt>
                <c:pt idx="45">
                  <c:v>0.48482641972935525</c:v>
                </c:pt>
                <c:pt idx="46">
                  <c:v>0.42934020529881267</c:v>
                </c:pt>
                <c:pt idx="47">
                  <c:v>0.39061565348172317</c:v>
                </c:pt>
                <c:pt idx="48">
                  <c:v>0.5741006081820619</c:v>
                </c:pt>
                <c:pt idx="49">
                  <c:v>0.6403116823343645</c:v>
                </c:pt>
                <c:pt idx="50">
                  <c:v>0.3700534456077544</c:v>
                </c:pt>
                <c:pt idx="51">
                  <c:v>0.33978064873900404</c:v>
                </c:pt>
                <c:pt idx="52">
                  <c:v>0.37546399259862867</c:v>
                </c:pt>
                <c:pt idx="53">
                  <c:v>0.3846363562298107</c:v>
                </c:pt>
                <c:pt idx="54">
                  <c:v>0.3400146420412385</c:v>
                </c:pt>
                <c:pt idx="55">
                  <c:v>0.3336923381701124</c:v>
                </c:pt>
                <c:pt idx="56">
                  <c:v>0.28386826883202404</c:v>
                </c:pt>
                <c:pt idx="57">
                  <c:v>0.28101411414723637</c:v>
                </c:pt>
                <c:pt idx="58">
                  <c:v>0.30769314377226503</c:v>
                </c:pt>
                <c:pt idx="59">
                  <c:v>0.3444177683903101</c:v>
                </c:pt>
                <c:pt idx="60">
                  <c:v>0.2716445531838108</c:v>
                </c:pt>
                <c:pt idx="61">
                  <c:v>0.23166696662178154</c:v>
                </c:pt>
                <c:pt idx="62">
                  <c:v>0.1942172317688578</c:v>
                </c:pt>
                <c:pt idx="63">
                  <c:v>0.2586523336130861</c:v>
                </c:pt>
                <c:pt idx="64">
                  <c:v>0.20527646424123935</c:v>
                </c:pt>
                <c:pt idx="65">
                  <c:v>0.1954929441577924</c:v>
                </c:pt>
                <c:pt idx="66">
                  <c:v>0.16870316302498017</c:v>
                </c:pt>
                <c:pt idx="67">
                  <c:v>0.1768358821732205</c:v>
                </c:pt>
                <c:pt idx="68">
                  <c:v>0.1543978481493581</c:v>
                </c:pt>
                <c:pt idx="69">
                  <c:v>0.13177946358990347</c:v>
                </c:pt>
                <c:pt idx="70">
                  <c:v>0.15202845238072507</c:v>
                </c:pt>
                <c:pt idx="71">
                  <c:v>0.114695759633339</c:v>
                </c:pt>
                <c:pt idx="72">
                  <c:v>0.1303993863429845</c:v>
                </c:pt>
                <c:pt idx="73">
                  <c:v>0.12083822902525755</c:v>
                </c:pt>
                <c:pt idx="74">
                  <c:v>0.11102836168113887</c:v>
                </c:pt>
                <c:pt idx="75">
                  <c:v>0.23564951688826494</c:v>
                </c:pt>
                <c:pt idx="76">
                  <c:v>0.2030520752661055</c:v>
                </c:pt>
                <c:pt idx="77">
                  <c:v>0.19135121900562538</c:v>
                </c:pt>
                <c:pt idx="78">
                  <c:v>0.21581424042160757</c:v>
                </c:pt>
                <c:pt idx="79">
                  <c:v>0.29781377604197434</c:v>
                </c:pt>
                <c:pt idx="80">
                  <c:v>0.22815993627899078</c:v>
                </c:pt>
                <c:pt idx="81">
                  <c:v>0.25907574400929373</c:v>
                </c:pt>
                <c:pt idx="82">
                  <c:v>0.2805768893964507</c:v>
                </c:pt>
                <c:pt idx="83">
                  <c:v>0.30322849883461267</c:v>
                </c:pt>
                <c:pt idx="84">
                  <c:v>0.20377799022683116</c:v>
                </c:pt>
                <c:pt idx="85">
                  <c:v>0.1863092554715288</c:v>
                </c:pt>
                <c:pt idx="86">
                  <c:v>0.25110992256345904</c:v>
                </c:pt>
                <c:pt idx="87">
                  <c:v>0.2801198363223682</c:v>
                </c:pt>
                <c:pt idx="88">
                  <c:v>0.30379911494119916</c:v>
                </c:pt>
                <c:pt idx="89">
                  <c:v>0.26741067111058286</c:v>
                </c:pt>
                <c:pt idx="90">
                  <c:v>0.35755219950871875</c:v>
                </c:pt>
                <c:pt idx="91">
                  <c:v>0.26873219914213636</c:v>
                </c:pt>
                <c:pt idx="92">
                  <c:v>0.2865838385720826</c:v>
                </c:pt>
                <c:pt idx="93">
                  <c:v>0.29677927898447654</c:v>
                </c:pt>
                <c:pt idx="94">
                  <c:v>0.27132463378100485</c:v>
                </c:pt>
                <c:pt idx="95">
                  <c:v>0.2535012206547464</c:v>
                </c:pt>
                <c:pt idx="96">
                  <c:v>0.20974488658982376</c:v>
                </c:pt>
                <c:pt idx="97">
                  <c:v>0.22102565770474514</c:v>
                </c:pt>
                <c:pt idx="98">
                  <c:v>0.185993821779176</c:v>
                </c:pt>
                <c:pt idx="99">
                  <c:v>0.19806532777352281</c:v>
                </c:pt>
                <c:pt idx="100">
                  <c:v>0.2243226163340318</c:v>
                </c:pt>
                <c:pt idx="101">
                  <c:v>0.23116060521414514</c:v>
                </c:pt>
                <c:pt idx="102">
                  <c:v>0.23242761109367835</c:v>
                </c:pt>
                <c:pt idx="103">
                  <c:v>0.2227433797086493</c:v>
                </c:pt>
                <c:pt idx="104">
                  <c:v>0.26460091106460487</c:v>
                </c:pt>
              </c:numCache>
            </c:numRef>
          </c:xVal>
          <c:yVal>
            <c:numRef>
              <c:f>Sheet1!$B$2:$B$106</c:f>
              <c:numCache>
                <c:formatCode>General</c:formatCode>
                <c:ptCount val="105"/>
                <c:pt idx="0">
                  <c:v>0.0012656225280809998</c:v>
                </c:pt>
                <c:pt idx="1">
                  <c:v>0.000440257110152329</c:v>
                </c:pt>
                <c:pt idx="2">
                  <c:v>0.0005525370660281794</c:v>
                </c:pt>
                <c:pt idx="3">
                  <c:v>0.0005060728744939271</c:v>
                </c:pt>
                <c:pt idx="4">
                  <c:v>0.00034056079010103305</c:v>
                </c:pt>
                <c:pt idx="5">
                  <c:v>0.0006506886454831363</c:v>
                </c:pt>
                <c:pt idx="6">
                  <c:v>0.0011653776883144402</c:v>
                </c:pt>
                <c:pt idx="7">
                  <c:v>0.0009905894006934125</c:v>
                </c:pt>
                <c:pt idx="8">
                  <c:v>0.0008851795649974709</c:v>
                </c:pt>
                <c:pt idx="9">
                  <c:v>0.000865884163940735</c:v>
                </c:pt>
                <c:pt idx="10">
                  <c:v>0.0005662514156285391</c:v>
                </c:pt>
                <c:pt idx="11">
                  <c:v>0.0009392317084624777</c:v>
                </c:pt>
                <c:pt idx="12">
                  <c:v>0.0009146848494927657</c:v>
                </c:pt>
                <c:pt idx="13">
                  <c:v>0.0008834702712253732</c:v>
                </c:pt>
                <c:pt idx="14">
                  <c:v>0.0002642007926023778</c:v>
                </c:pt>
                <c:pt idx="15">
                  <c:v>0.0006487187804086928</c:v>
                </c:pt>
                <c:pt idx="16">
                  <c:v>0.00024919013207077</c:v>
                </c:pt>
                <c:pt idx="17">
                  <c:v>0.0005400297016335898</c:v>
                </c:pt>
                <c:pt idx="18">
                  <c:v>0.0003161555485298767</c:v>
                </c:pt>
                <c:pt idx="19">
                  <c:v>0.0005461496450027307</c:v>
                </c:pt>
                <c:pt idx="20">
                  <c:v>0.0007560864962951762</c:v>
                </c:pt>
                <c:pt idx="21">
                  <c:v>0.00018839487565938207</c:v>
                </c:pt>
                <c:pt idx="22">
                  <c:v>0.0013313046785850132</c:v>
                </c:pt>
                <c:pt idx="23">
                  <c:v>0.0010094891984655764</c:v>
                </c:pt>
                <c:pt idx="24">
                  <c:v>0.0016762898118830322</c:v>
                </c:pt>
                <c:pt idx="25">
                  <c:v>0.002147766323024055</c:v>
                </c:pt>
                <c:pt idx="26">
                  <c:v>0.001722356183258698</c:v>
                </c:pt>
                <c:pt idx="27">
                  <c:v>0.0008131403480240689</c:v>
                </c:pt>
                <c:pt idx="28">
                  <c:v>0.0008548469823901521</c:v>
                </c:pt>
                <c:pt idx="29">
                  <c:v>0.0014276649746192893</c:v>
                </c:pt>
                <c:pt idx="30">
                  <c:v>0.000992063492063492</c:v>
                </c:pt>
                <c:pt idx="31">
                  <c:v>0.0011534025374855825</c:v>
                </c:pt>
                <c:pt idx="32">
                  <c:v>0.0007738440704198104</c:v>
                </c:pt>
                <c:pt idx="33">
                  <c:v>0.0019944768333844736</c:v>
                </c:pt>
                <c:pt idx="34">
                  <c:v>0.001936912008854455</c:v>
                </c:pt>
                <c:pt idx="35">
                  <c:v>0.0019083969465648854</c:v>
                </c:pt>
                <c:pt idx="36">
                  <c:v>0.0012048192771084338</c:v>
                </c:pt>
                <c:pt idx="37">
                  <c:v>0.0009561752988047809</c:v>
                </c:pt>
                <c:pt idx="38">
                  <c:v>0.0008311170212765958</c:v>
                </c:pt>
                <c:pt idx="39">
                  <c:v>0.0010741138560687433</c:v>
                </c:pt>
                <c:pt idx="40">
                  <c:v>0.0005878030859662013</c:v>
                </c:pt>
                <c:pt idx="41">
                  <c:v>0.0006283380458686773</c:v>
                </c:pt>
                <c:pt idx="42">
                  <c:v>0.00040090872644661234</c:v>
                </c:pt>
                <c:pt idx="43">
                  <c:v>0.0008403361344537816</c:v>
                </c:pt>
                <c:pt idx="44">
                  <c:v>0.0007217321571772253</c:v>
                </c:pt>
                <c:pt idx="45">
                  <c:v>0.0005158437730287399</c:v>
                </c:pt>
                <c:pt idx="46">
                  <c:v>0.0010876658690450293</c:v>
                </c:pt>
                <c:pt idx="47">
                  <c:v>0.0013082346100734064</c:v>
                </c:pt>
                <c:pt idx="48">
                  <c:v>0.0006439841150584952</c:v>
                </c:pt>
                <c:pt idx="49">
                  <c:v>0.0006483916285436403</c:v>
                </c:pt>
                <c:pt idx="50">
                  <c:v>0.0009774488584793689</c:v>
                </c:pt>
                <c:pt idx="51">
                  <c:v>0.0013073034687118702</c:v>
                </c:pt>
                <c:pt idx="52">
                  <c:v>0.00044672771945499217</c:v>
                </c:pt>
                <c:pt idx="53">
                  <c:v>0.0005792624058698591</c:v>
                </c:pt>
                <c:pt idx="54">
                  <c:v>0.0013641133263378805</c:v>
                </c:pt>
                <c:pt idx="55">
                  <c:v>0.0008862301982940069</c:v>
                </c:pt>
                <c:pt idx="56">
                  <c:v>0.000910643141718839</c:v>
                </c:pt>
                <c:pt idx="57">
                  <c:v>0.0006073489219556636</c:v>
                </c:pt>
                <c:pt idx="58">
                  <c:v>0.0006362479549172878</c:v>
                </c:pt>
                <c:pt idx="59">
                  <c:v>0.0007566938300349244</c:v>
                </c:pt>
                <c:pt idx="60">
                  <c:v>0.0013077593722755014</c:v>
                </c:pt>
                <c:pt idx="61">
                  <c:v>0.0014262791941522554</c:v>
                </c:pt>
                <c:pt idx="62">
                  <c:v>0.0015599272033971748</c:v>
                </c:pt>
                <c:pt idx="63">
                  <c:v>0.0013111213944161653</c:v>
                </c:pt>
                <c:pt idx="64">
                  <c:v>0.0017508024511234317</c:v>
                </c:pt>
                <c:pt idx="65">
                  <c:v>0.0012554927809165098</c:v>
                </c:pt>
                <c:pt idx="66">
                  <c:v>0.001433268695725487</c:v>
                </c:pt>
                <c:pt idx="67">
                  <c:v>0.0010668563300142249</c:v>
                </c:pt>
                <c:pt idx="68">
                  <c:v>0.001755926251097454</c:v>
                </c:pt>
                <c:pt idx="69">
                  <c:v>0.0017876787678767878</c:v>
                </c:pt>
                <c:pt idx="70">
                  <c:v>0.001490111081007857</c:v>
                </c:pt>
                <c:pt idx="71">
                  <c:v>0.0016164584864070536</c:v>
                </c:pt>
                <c:pt idx="72">
                  <c:v>0.0021756867011150393</c:v>
                </c:pt>
                <c:pt idx="73">
                  <c:v>0.0037058997924696115</c:v>
                </c:pt>
                <c:pt idx="74">
                  <c:v>0.003992015968063872</c:v>
                </c:pt>
                <c:pt idx="75">
                  <c:v>0.004108463434675432</c:v>
                </c:pt>
                <c:pt idx="76">
                  <c:v>0.005612244897959183</c:v>
                </c:pt>
                <c:pt idx="77">
                  <c:v>0.005408328826392645</c:v>
                </c:pt>
                <c:pt idx="78">
                  <c:v>0.0078125</c:v>
                </c:pt>
                <c:pt idx="79">
                  <c:v>0.0056625141562853904</c:v>
                </c:pt>
                <c:pt idx="80">
                  <c:v>0.005747126436781609</c:v>
                </c:pt>
                <c:pt idx="81">
                  <c:v>0.006224381357218764</c:v>
                </c:pt>
                <c:pt idx="82">
                  <c:v>0.0063522617901828685</c:v>
                </c:pt>
                <c:pt idx="83">
                  <c:v>0.005026223776223776</c:v>
                </c:pt>
                <c:pt idx="84">
                  <c:v>0.005585292064230859</c:v>
                </c:pt>
                <c:pt idx="85">
                  <c:v>0.004861551469034031</c:v>
                </c:pt>
                <c:pt idx="86">
                  <c:v>0.004291845493562232</c:v>
                </c:pt>
                <c:pt idx="87">
                  <c:v>0.003737818715792284</c:v>
                </c:pt>
                <c:pt idx="88">
                  <c:v>0.005559416261292564</c:v>
                </c:pt>
                <c:pt idx="89">
                  <c:v>0.0068</c:v>
                </c:pt>
                <c:pt idx="90">
                  <c:v>0.005901505901505902</c:v>
                </c:pt>
                <c:pt idx="91">
                  <c:v>0.006512839598064756</c:v>
                </c:pt>
                <c:pt idx="92">
                  <c:v>0.0053590568060021436</c:v>
                </c:pt>
                <c:pt idx="93">
                  <c:v>0.0049504950495049506</c:v>
                </c:pt>
                <c:pt idx="94">
                  <c:v>0.005507856795723311</c:v>
                </c:pt>
                <c:pt idx="95">
                  <c:v>0.0054705816679691864</c:v>
                </c:pt>
                <c:pt idx="96">
                  <c:v>0.007192396609298741</c:v>
                </c:pt>
                <c:pt idx="97">
                  <c:v>0.008507517418408507</c:v>
                </c:pt>
                <c:pt idx="98">
                  <c:v>0.008149383983572895</c:v>
                </c:pt>
                <c:pt idx="99">
                  <c:v>0.007668884628397429</c:v>
                </c:pt>
                <c:pt idx="100">
                  <c:v>0.005646857231871641</c:v>
                </c:pt>
                <c:pt idx="101">
                  <c:v>0.00819205014959396</c:v>
                </c:pt>
                <c:pt idx="102">
                  <c:v>0.006739381041057019</c:v>
                </c:pt>
                <c:pt idx="103">
                  <c:v>0.006306378223038238</c:v>
                </c:pt>
                <c:pt idx="104">
                  <c:v>0.005044256210145617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6072382532894756</c:v>
                </c:pt>
                <c:pt idx="1">
                  <c:v>0.2389834130769347</c:v>
                </c:pt>
                <c:pt idx="2">
                  <c:v>0.35059986554363576</c:v>
                </c:pt>
                <c:pt idx="3">
                  <c:v>0.3329738788225389</c:v>
                </c:pt>
                <c:pt idx="4">
                  <c:v>0.42965870746585394</c:v>
                </c:pt>
                <c:pt idx="5">
                  <c:v>0.4284730743618202</c:v>
                </c:pt>
                <c:pt idx="6">
                  <c:v>0.3818730922658978</c:v>
                </c:pt>
                <c:pt idx="7">
                  <c:v>0.34369880114678686</c:v>
                </c:pt>
                <c:pt idx="8">
                  <c:v>0.440434733767396</c:v>
                </c:pt>
                <c:pt idx="9">
                  <c:v>0.38298471776211923</c:v>
                </c:pt>
                <c:pt idx="10">
                  <c:v>0.44941038835990155</c:v>
                </c:pt>
                <c:pt idx="11">
                  <c:v>0.42780826894027185</c:v>
                </c:pt>
                <c:pt idx="12">
                  <c:v>0.49370825785420897</c:v>
                </c:pt>
                <c:pt idx="13">
                  <c:v>0.34758997725584523</c:v>
                </c:pt>
                <c:pt idx="14">
                  <c:v>0.30802387825938005</c:v>
                </c:pt>
                <c:pt idx="15">
                  <c:v>0.3453555346258486</c:v>
                </c:pt>
                <c:pt idx="16">
                  <c:v>0.25057104889186765</c:v>
                </c:pt>
                <c:pt idx="17">
                  <c:v>0.2010666227588693</c:v>
                </c:pt>
                <c:pt idx="18">
                  <c:v>0.33032218673046976</c:v>
                </c:pt>
                <c:pt idx="19">
                  <c:v>0.44691857182648986</c:v>
                </c:pt>
                <c:pt idx="20">
                  <c:v>0.3813763799233351</c:v>
                </c:pt>
                <c:pt idx="21">
                  <c:v>0.23496439813792488</c:v>
                </c:pt>
                <c:pt idx="22">
                  <c:v>0.29588782055034507</c:v>
                </c:pt>
                <c:pt idx="23">
                  <c:v>0.24911885353043228</c:v>
                </c:pt>
                <c:pt idx="24">
                  <c:v>0.28485790161920227</c:v>
                </c:pt>
                <c:pt idx="25">
                  <c:v>0.3355220639163277</c:v>
                </c:pt>
                <c:pt idx="26">
                  <c:v>0.29642558344762987</c:v>
                </c:pt>
                <c:pt idx="27">
                  <c:v>0.3429260788640512</c:v>
                </c:pt>
                <c:pt idx="28">
                  <c:v>0.36929224127326615</c:v>
                </c:pt>
                <c:pt idx="29">
                  <c:v>0.3335051387308031</c:v>
                </c:pt>
                <c:pt idx="30">
                  <c:v>0.3773140329764693</c:v>
                </c:pt>
                <c:pt idx="31">
                  <c:v>0.3187645263980056</c:v>
                </c:pt>
                <c:pt idx="32">
                  <c:v>0.3875563853316085</c:v>
                </c:pt>
                <c:pt idx="33">
                  <c:v>0.41009674161431864</c:v>
                </c:pt>
                <c:pt idx="34">
                  <c:v>0.3591286011365458</c:v>
                </c:pt>
                <c:pt idx="35">
                  <c:v>0.37498423625614674</c:v>
                </c:pt>
                <c:pt idx="36">
                  <c:v>0.310661406436779</c:v>
                </c:pt>
                <c:pt idx="37">
                  <c:v>0.3548455576608824</c:v>
                </c:pt>
                <c:pt idx="38">
                  <c:v>0.27610954642966595</c:v>
                </c:pt>
                <c:pt idx="39">
                  <c:v>0.3017886104956937</c:v>
                </c:pt>
                <c:pt idx="40">
                  <c:v>0.3068932507739938</c:v>
                </c:pt>
                <c:pt idx="41">
                  <c:v>0.3163896452491893</c:v>
                </c:pt>
                <c:pt idx="42">
                  <c:v>0.30248052415176047</c:v>
                </c:pt>
                <c:pt idx="43">
                  <c:v>0.3762705599552649</c:v>
                </c:pt>
                <c:pt idx="44">
                  <c:v>0.41130537204173323</c:v>
                </c:pt>
                <c:pt idx="45">
                  <c:v>0.4280538589911606</c:v>
                </c:pt>
                <c:pt idx="46">
                  <c:v>0.3704952886179353</c:v>
                </c:pt>
                <c:pt idx="47">
                  <c:v>0.3824395188800726</c:v>
                </c:pt>
                <c:pt idx="48">
                  <c:v>0.40702468471865216</c:v>
                </c:pt>
                <c:pt idx="49">
                  <c:v>0.3818925543351313</c:v>
                </c:pt>
                <c:pt idx="50">
                  <c:v>0.5207789485122603</c:v>
                </c:pt>
                <c:pt idx="51">
                  <c:v>0.4773024102290036</c:v>
                </c:pt>
              </c:numCache>
            </c:numRef>
          </c:xVal>
          <c:yVal>
            <c:numRef>
              <c:f>Sheet1!$B$109:$B$160</c:f>
              <c:numCache>
                <c:formatCode>General</c:formatCode>
                <c:ptCount val="52"/>
                <c:pt idx="0">
                  <c:v>0.0049961236971315355</c:v>
                </c:pt>
                <c:pt idx="1">
                  <c:v>0.005845816587504567</c:v>
                </c:pt>
                <c:pt idx="2">
                  <c:v>0.005669213704707912</c:v>
                </c:pt>
                <c:pt idx="3">
                  <c:v>0.006110147799521097</c:v>
                </c:pt>
                <c:pt idx="4">
                  <c:v>0.006154403113403928</c:v>
                </c:pt>
                <c:pt idx="5">
                  <c:v>0.005041011619958988</c:v>
                </c:pt>
                <c:pt idx="6">
                  <c:v>0.006016439284806372</c:v>
                </c:pt>
                <c:pt idx="7">
                  <c:v>0.00700827205882353</c:v>
                </c:pt>
                <c:pt idx="8">
                  <c:v>0.008691001470784864</c:v>
                </c:pt>
                <c:pt idx="9">
                  <c:v>0.008687373557062953</c:v>
                </c:pt>
                <c:pt idx="10">
                  <c:v>0.008260670032124828</c:v>
                </c:pt>
                <c:pt idx="11">
                  <c:v>0.008187231227257692</c:v>
                </c:pt>
                <c:pt idx="12">
                  <c:v>0.008404163881195683</c:v>
                </c:pt>
                <c:pt idx="13">
                  <c:v>0.012609704428528195</c:v>
                </c:pt>
                <c:pt idx="14">
                  <c:v>0.012543012543012544</c:v>
                </c:pt>
                <c:pt idx="15">
                  <c:v>0.012177819815559234</c:v>
                </c:pt>
                <c:pt idx="16">
                  <c:v>0.011682242990654205</c:v>
                </c:pt>
                <c:pt idx="17">
                  <c:v>0.01518624641833811</c:v>
                </c:pt>
                <c:pt idx="18">
                  <c:v>0.007985360173016137</c:v>
                </c:pt>
                <c:pt idx="19">
                  <c:v>0.007203257124960852</c:v>
                </c:pt>
                <c:pt idx="20">
                  <c:v>0.008735960064182563</c:v>
                </c:pt>
                <c:pt idx="21">
                  <c:v>0.011700975081256771</c:v>
                </c:pt>
                <c:pt idx="22">
                  <c:v>0.010414358519831598</c:v>
                </c:pt>
                <c:pt idx="23">
                  <c:v>0.010123239436619719</c:v>
                </c:pt>
                <c:pt idx="24">
                  <c:v>0.009738151915169876</c:v>
                </c:pt>
                <c:pt idx="25">
                  <c:v>0.010512765500965459</c:v>
                </c:pt>
                <c:pt idx="26">
                  <c:v>0.010547667342799188</c:v>
                </c:pt>
                <c:pt idx="27">
                  <c:v>0.009973285841495993</c:v>
                </c:pt>
                <c:pt idx="28">
                  <c:v>0.008588750421017177</c:v>
                </c:pt>
                <c:pt idx="29">
                  <c:v>0.01018981018981019</c:v>
                </c:pt>
                <c:pt idx="30">
                  <c:v>0.009368148295794299</c:v>
                </c:pt>
                <c:pt idx="31">
                  <c:v>0.010326214503637644</c:v>
                </c:pt>
                <c:pt idx="32">
                  <c:v>0.008757297748123435</c:v>
                </c:pt>
                <c:pt idx="33">
                  <c:v>0.008337420304070623</c:v>
                </c:pt>
                <c:pt idx="34">
                  <c:v>0.007484096295372334</c:v>
                </c:pt>
                <c:pt idx="35">
                  <c:v>0.00890251021599533</c:v>
                </c:pt>
                <c:pt idx="36">
                  <c:v>0.011209715086408221</c:v>
                </c:pt>
                <c:pt idx="37">
                  <c:v>0.011385199240986717</c:v>
                </c:pt>
                <c:pt idx="38">
                  <c:v>0.013365735115431349</c:v>
                </c:pt>
                <c:pt idx="39">
                  <c:v>0.01218875152359394</c:v>
                </c:pt>
                <c:pt idx="40">
                  <c:v>0.011968560200071454</c:v>
                </c:pt>
                <c:pt idx="41">
                  <c:v>0.009420172161767094</c:v>
                </c:pt>
                <c:pt idx="42">
                  <c:v>0.01107419712070875</c:v>
                </c:pt>
                <c:pt idx="43">
                  <c:v>0.008003311715192493</c:v>
                </c:pt>
                <c:pt idx="44">
                  <c:v>0.006070324132401787</c:v>
                </c:pt>
                <c:pt idx="45">
                  <c:v>0.004706264199935086</c:v>
                </c:pt>
                <c:pt idx="46">
                  <c:v>0.005146986043749381</c:v>
                </c:pt>
                <c:pt idx="47">
                  <c:v>0.005354387875487794</c:v>
                </c:pt>
                <c:pt idx="48">
                  <c:v>0.005730019348117279</c:v>
                </c:pt>
                <c:pt idx="49">
                  <c:v>0.005314799672935405</c:v>
                </c:pt>
                <c:pt idx="50">
                  <c:v>0.004363118293931704</c:v>
                </c:pt>
                <c:pt idx="51">
                  <c:v>0.00506919858384293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8661909381104206</c:v>
                </c:pt>
              </c:numCache>
            </c:numRef>
          </c:xVal>
          <c:yVal>
            <c:numRef>
              <c:f>Sheet1!$B$163:$B$164</c:f>
              <c:numCache>
                <c:formatCode>General</c:formatCode>
                <c:ptCount val="2"/>
                <c:pt idx="0">
                  <c:v>0.010258770564396134</c:v>
                </c:pt>
                <c:pt idx="1">
                  <c:v>0.01025877056439613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8661909381104206</c:v>
                </c:pt>
                <c:pt idx="1">
                  <c:v>0.28661909381104206</c:v>
                </c:pt>
              </c:numCache>
            </c:numRef>
          </c:xVal>
          <c:yVal>
            <c:numRef>
              <c:f>Sheet1!$B$167:$B$168</c:f>
              <c:numCache>
                <c:formatCode>General</c:formatCode>
                <c:ptCount val="2"/>
                <c:pt idx="0">
                  <c:v>0.0102587705643961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8661909381104206</c:v>
                </c:pt>
              </c:numCache>
            </c:numRef>
          </c:xVal>
          <c:yVal>
            <c:numRef>
              <c:f>Sheet1!$B$171:$B$172</c:f>
              <c:numCache>
                <c:formatCode>General</c:formatCode>
                <c:ptCount val="2"/>
                <c:pt idx="0">
                  <c:v>0.010258770564396134</c:v>
                </c:pt>
                <c:pt idx="1">
                  <c:v>0.01025877056439613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8661909381104206</c:v>
                </c:pt>
                <c:pt idx="1">
                  <c:v>0.28661909381104206</c:v>
                </c:pt>
              </c:numCache>
            </c:numRef>
          </c:xVal>
          <c:yVal>
            <c:numRef>
              <c:f>Sheet1!$B$175:$B$176</c:f>
              <c:numCache>
                <c:formatCode>General</c:formatCode>
                <c:ptCount val="2"/>
                <c:pt idx="0">
                  <c:v>0.0102587705643961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1856428919443905</c:v>
                </c:pt>
              </c:numCache>
            </c:numRef>
          </c:xVal>
          <c:yVal>
            <c:numRef>
              <c:f>Sheet1!$B$179:$B$180</c:f>
              <c:numCache>
                <c:formatCode>General</c:formatCode>
                <c:ptCount val="2"/>
                <c:pt idx="0">
                  <c:v>0.007262314682441161</c:v>
                </c:pt>
                <c:pt idx="1">
                  <c:v>0.00726231468244116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1856428919443905</c:v>
                </c:pt>
                <c:pt idx="1">
                  <c:v>0.41856428919443905</c:v>
                </c:pt>
              </c:numCache>
            </c:numRef>
          </c:xVal>
          <c:yVal>
            <c:numRef>
              <c:f>Sheet1!$B$183:$B$184</c:f>
              <c:numCache>
                <c:formatCode>General</c:formatCode>
                <c:ptCount val="2"/>
                <c:pt idx="0">
                  <c:v>0.00726231468244116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6072382532894756</c:v>
                </c:pt>
                <c:pt idx="1">
                  <c:v>0.2389834130769347</c:v>
                </c:pt>
                <c:pt idx="2">
                  <c:v>0.35059986554363576</c:v>
                </c:pt>
                <c:pt idx="3">
                  <c:v>0.3329738788225389</c:v>
                </c:pt>
                <c:pt idx="4">
                  <c:v>0.42965870746585394</c:v>
                </c:pt>
                <c:pt idx="5">
                  <c:v>0.4284730743618202</c:v>
                </c:pt>
                <c:pt idx="6">
                  <c:v>0.3818730922658978</c:v>
                </c:pt>
                <c:pt idx="7">
                  <c:v>0.34369880114678686</c:v>
                </c:pt>
                <c:pt idx="8">
                  <c:v>0.440434733767396</c:v>
                </c:pt>
                <c:pt idx="9">
                  <c:v>0.38298471776211923</c:v>
                </c:pt>
                <c:pt idx="10">
                  <c:v>0.44941038835990155</c:v>
                </c:pt>
                <c:pt idx="11">
                  <c:v>0.42780826894027185</c:v>
                </c:pt>
                <c:pt idx="12">
                  <c:v>0.49370825785420897</c:v>
                </c:pt>
                <c:pt idx="13">
                  <c:v>0.34758997725584523</c:v>
                </c:pt>
                <c:pt idx="14">
                  <c:v>0.30802387825938005</c:v>
                </c:pt>
                <c:pt idx="15">
                  <c:v>0.3453555346258486</c:v>
                </c:pt>
                <c:pt idx="16">
                  <c:v>0.25057104889186765</c:v>
                </c:pt>
                <c:pt idx="17">
                  <c:v>0.2010666227588693</c:v>
                </c:pt>
                <c:pt idx="18">
                  <c:v>0.33032218673046976</c:v>
                </c:pt>
                <c:pt idx="19">
                  <c:v>0.44691857182648986</c:v>
                </c:pt>
                <c:pt idx="20">
                  <c:v>0.3813763799233351</c:v>
                </c:pt>
                <c:pt idx="21">
                  <c:v>0.23496439813792488</c:v>
                </c:pt>
                <c:pt idx="22">
                  <c:v>0.29588782055034507</c:v>
                </c:pt>
                <c:pt idx="23">
                  <c:v>0.24911885353043228</c:v>
                </c:pt>
                <c:pt idx="24">
                  <c:v>0.28485790161920227</c:v>
                </c:pt>
                <c:pt idx="25">
                  <c:v>0.3355220639163277</c:v>
                </c:pt>
                <c:pt idx="26">
                  <c:v>0.29642558344762987</c:v>
                </c:pt>
                <c:pt idx="27">
                  <c:v>0.3429260788640512</c:v>
                </c:pt>
                <c:pt idx="28">
                  <c:v>0.36929224127326615</c:v>
                </c:pt>
                <c:pt idx="29">
                  <c:v>0.3335051387308031</c:v>
                </c:pt>
                <c:pt idx="30">
                  <c:v>0.3773140329764693</c:v>
                </c:pt>
                <c:pt idx="31">
                  <c:v>0.3187645263980056</c:v>
                </c:pt>
                <c:pt idx="32">
                  <c:v>0.3875563853316085</c:v>
                </c:pt>
                <c:pt idx="33">
                  <c:v>0.41009674161431864</c:v>
                </c:pt>
                <c:pt idx="34">
                  <c:v>0.3591286011365458</c:v>
                </c:pt>
                <c:pt idx="35">
                  <c:v>0.37498423625614674</c:v>
                </c:pt>
                <c:pt idx="36">
                  <c:v>0.310661406436779</c:v>
                </c:pt>
                <c:pt idx="37">
                  <c:v>0.3548455576608824</c:v>
                </c:pt>
                <c:pt idx="38">
                  <c:v>0.27610954642966595</c:v>
                </c:pt>
                <c:pt idx="39">
                  <c:v>0.3017886104956937</c:v>
                </c:pt>
                <c:pt idx="40">
                  <c:v>0.3068932507739938</c:v>
                </c:pt>
                <c:pt idx="41">
                  <c:v>0.3163896452491893</c:v>
                </c:pt>
                <c:pt idx="42">
                  <c:v>0.30248052415176047</c:v>
                </c:pt>
                <c:pt idx="43">
                  <c:v>0.3762705599552649</c:v>
                </c:pt>
                <c:pt idx="44">
                  <c:v>0.41130537204173323</c:v>
                </c:pt>
                <c:pt idx="45">
                  <c:v>0.4280538589911606</c:v>
                </c:pt>
                <c:pt idx="46">
                  <c:v>0.3704952886179353</c:v>
                </c:pt>
                <c:pt idx="47">
                  <c:v>0.3824395188800726</c:v>
                </c:pt>
                <c:pt idx="48">
                  <c:v>0.40702468471865216</c:v>
                </c:pt>
                <c:pt idx="49">
                  <c:v>0.3818925543351313</c:v>
                </c:pt>
                <c:pt idx="50">
                  <c:v>0.5207789485122603</c:v>
                </c:pt>
                <c:pt idx="51">
                  <c:v>0.4773024102290036</c:v>
                </c:pt>
                <c:pt idx="52">
                  <c:v>0.28661909381104206</c:v>
                </c:pt>
                <c:pt idx="53">
                  <c:v>0.28661909381104206</c:v>
                </c:pt>
                <c:pt idx="54">
                  <c:v>0.41856428919443905</c:v>
                </c:pt>
              </c:numCache>
            </c:numRef>
          </c:xVal>
          <c:yVal>
            <c:numRef>
              <c:f>Sheet1!$B$187:$B$241</c:f>
              <c:numCache>
                <c:formatCode>General</c:formatCode>
                <c:ptCount val="55"/>
                <c:pt idx="0">
                  <c:v>0.010846848283577255</c:v>
                </c:pt>
                <c:pt idx="1">
                  <c:v>0.011340569831977548</c:v>
                </c:pt>
                <c:pt idx="2">
                  <c:v>0.008805776696502156</c:v>
                </c:pt>
                <c:pt idx="3">
                  <c:v>0.00920606024932288</c:v>
                </c:pt>
                <c:pt idx="4">
                  <c:v>0.007010362083563636</c:v>
                </c:pt>
                <c:pt idx="5">
                  <c:v>0.007037287636086402</c:v>
                </c:pt>
                <c:pt idx="6">
                  <c:v>0.008095566340699953</c:v>
                </c:pt>
                <c:pt idx="7">
                  <c:v>0.008962498848783647</c:v>
                </c:pt>
                <c:pt idx="8">
                  <c:v>0.006765640119254655</c:v>
                </c:pt>
                <c:pt idx="9">
                  <c:v>0.008070321490010203</c:v>
                </c:pt>
                <c:pt idx="10">
                  <c:v>0.00656180433031244</c:v>
                </c:pt>
                <c:pt idx="11">
                  <c:v>0.00705238526893287</c:v>
                </c:pt>
                <c:pt idx="12">
                  <c:v>0.00555580626256473</c:v>
                </c:pt>
                <c:pt idx="13">
                  <c:v>0.008874130814571939</c:v>
                </c:pt>
                <c:pt idx="14">
                  <c:v>0.009772671073802093</c:v>
                </c:pt>
                <c:pt idx="15">
                  <c:v>0.008924874676385848</c:v>
                </c:pt>
                <c:pt idx="16">
                  <c:v>0.011077416335598117</c:v>
                </c:pt>
                <c:pt idx="17">
                  <c:v>0.012201654534935342</c:v>
                </c:pt>
                <c:pt idx="18">
                  <c:v>0.00926627978473928</c:v>
                </c:pt>
                <c:pt idx="19">
                  <c:v>0.00661839311542582</c:v>
                </c:pt>
                <c:pt idx="20">
                  <c:v>0.00810684660457153</c:v>
                </c:pt>
                <c:pt idx="21">
                  <c:v>0.011431841067119287</c:v>
                </c:pt>
                <c:pt idx="22">
                  <c:v>0.010048279150324437</c:v>
                </c:pt>
                <c:pt idx="23">
                  <c:v>0.011110395477581095</c:v>
                </c:pt>
                <c:pt idx="24">
                  <c:v>0.010298766978719195</c:v>
                </c:pt>
                <c:pt idx="25">
                  <c:v>0.00914819134253619</c:v>
                </c:pt>
                <c:pt idx="26">
                  <c:v>0.010036066634423543</c:v>
                </c:pt>
                <c:pt idx="27">
                  <c:v>0.00898004725759454</c:v>
                </c:pt>
                <c:pt idx="28">
                  <c:v>0.00838127560693985</c:v>
                </c:pt>
                <c:pt idx="29">
                  <c:v>0.00919399541534132</c:v>
                </c:pt>
                <c:pt idx="30">
                  <c:v>0.008199101903205993</c:v>
                </c:pt>
                <c:pt idx="31">
                  <c:v>0.00952875254234306</c:v>
                </c:pt>
                <c:pt idx="32">
                  <c:v>0.007966499595327838</c:v>
                </c:pt>
                <c:pt idx="33">
                  <c:v>0.007454611436244584</c:v>
                </c:pt>
                <c:pt idx="34">
                  <c:v>0.008612090371973587</c:v>
                </c:pt>
                <c:pt idx="35">
                  <c:v>0.008252011242315194</c:v>
                </c:pt>
                <c:pt idx="36">
                  <c:v>0.00971277319879403</c:v>
                </c:pt>
                <c:pt idx="37">
                  <c:v>0.008709357656151905</c:v>
                </c:pt>
                <c:pt idx="38">
                  <c:v>0.01049744083182121</c:v>
                </c:pt>
                <c:pt idx="39">
                  <c:v>0.009914273082967886</c:v>
                </c:pt>
                <c:pt idx="40">
                  <c:v>0.00979834745685675</c:v>
                </c:pt>
                <c:pt idx="41">
                  <c:v>0.009582685742158611</c:v>
                </c:pt>
                <c:pt idx="42">
                  <c:v>0.009898559826122862</c:v>
                </c:pt>
                <c:pt idx="43">
                  <c:v>0.008222799021262954</c:v>
                </c:pt>
                <c:pt idx="44">
                  <c:v>0.007427163617907486</c:v>
                </c:pt>
                <c:pt idx="45">
                  <c:v>0.007046807955182288</c:v>
                </c:pt>
                <c:pt idx="46">
                  <c:v>0.008353954579586565</c:v>
                </c:pt>
                <c:pt idx="47">
                  <c:v>0.008082702876025789</c:v>
                </c:pt>
                <c:pt idx="48">
                  <c:v>0.007524377394208965</c:v>
                </c:pt>
                <c:pt idx="49">
                  <c:v>0.008095124359984699</c:v>
                </c:pt>
                <c:pt idx="50">
                  <c:v>0.00494103487952801</c:v>
                </c:pt>
                <c:pt idx="51">
                  <c:v>0.005928380636888553</c:v>
                </c:pt>
                <c:pt idx="52">
                  <c:v>0.010258770564396134</c:v>
                </c:pt>
                <c:pt idx="53">
                  <c:v>0.010258770564396134</c:v>
                </c:pt>
                <c:pt idx="54">
                  <c:v>0.00726231468244116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822349570200573"/>
          <c:min val="0.0001507159005275056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34.3125</c:v>
                </c:pt>
                <c:pt idx="1">
                  <c:v>3740.2</c:v>
                </c:pt>
                <c:pt idx="2">
                  <c:v>3175.8333</c:v>
                </c:pt>
                <c:pt idx="3">
                  <c:v>3027.4</c:v>
                </c:pt>
                <c:pt idx="4">
                  <c:v>3982.3333</c:v>
                </c:pt>
                <c:pt idx="5">
                  <c:v>3848.6667</c:v>
                </c:pt>
                <c:pt idx="6">
                  <c:v>3216.6364</c:v>
                </c:pt>
                <c:pt idx="7">
                  <c:v>3208.875</c:v>
                </c:pt>
                <c:pt idx="8">
                  <c:v>3023.0</c:v>
                </c:pt>
                <c:pt idx="9">
                  <c:v>3233.3333</c:v>
                </c:pt>
                <c:pt idx="10">
                  <c:v>3528.3333</c:v>
                </c:pt>
                <c:pt idx="11">
                  <c:v>3129.7</c:v>
                </c:pt>
                <c:pt idx="12">
                  <c:v>3208.4545</c:v>
                </c:pt>
                <c:pt idx="13">
                  <c:v>3153.0</c:v>
                </c:pt>
                <c:pt idx="14">
                  <c:v>3951.0</c:v>
                </c:pt>
                <c:pt idx="15">
                  <c:v>3128.3333</c:v>
                </c:pt>
                <c:pt idx="16">
                  <c:v>4342.0</c:v>
                </c:pt>
                <c:pt idx="17">
                  <c:v>3291.5</c:v>
                </c:pt>
                <c:pt idx="18">
                  <c:v>4434.0</c:v>
                </c:pt>
                <c:pt idx="19">
                  <c:v>3808.0</c:v>
                </c:pt>
                <c:pt idx="20">
                  <c:v>3044.2</c:v>
                </c:pt>
                <c:pt idx="21">
                  <c:v>6720.0</c:v>
                </c:pt>
                <c:pt idx="22">
                  <c:v>3122.1429</c:v>
                </c:pt>
                <c:pt idx="23">
                  <c:v>3924.6</c:v>
                </c:pt>
                <c:pt idx="24">
                  <c:v>2808.3333</c:v>
                </c:pt>
                <c:pt idx="25">
                  <c:v>2765.0</c:v>
                </c:pt>
                <c:pt idx="26">
                  <c:v>3202.0</c:v>
                </c:pt>
                <c:pt idx="27">
                  <c:v>3106.4</c:v>
                </c:pt>
                <c:pt idx="28">
                  <c:v>3346.6</c:v>
                </c:pt>
                <c:pt idx="29">
                  <c:v>3119.6667</c:v>
                </c:pt>
                <c:pt idx="30">
                  <c:v>3099.8</c:v>
                </c:pt>
                <c:pt idx="31">
                  <c:v>3342.0</c:v>
                </c:pt>
                <c:pt idx="32">
                  <c:v>4329.0</c:v>
                </c:pt>
                <c:pt idx="33">
                  <c:v>2663.4615</c:v>
                </c:pt>
                <c:pt idx="34">
                  <c:v>3005.3571</c:v>
                </c:pt>
                <c:pt idx="35">
                  <c:v>2884.4444</c:v>
                </c:pt>
                <c:pt idx="36">
                  <c:v>2882.1111</c:v>
                </c:pt>
                <c:pt idx="37">
                  <c:v>3050.0</c:v>
                </c:pt>
                <c:pt idx="38">
                  <c:v>3066.2</c:v>
                </c:pt>
                <c:pt idx="39">
                  <c:v>3735.1667</c:v>
                </c:pt>
                <c:pt idx="40">
                  <c:v>4272.75</c:v>
                </c:pt>
                <c:pt idx="41">
                  <c:v>4003.25</c:v>
                </c:pt>
                <c:pt idx="42">
                  <c:v>3549.6667</c:v>
                </c:pt>
                <c:pt idx="43">
                  <c:v>3104.1429</c:v>
                </c:pt>
                <c:pt idx="44">
                  <c:v>3004.2222</c:v>
                </c:pt>
                <c:pt idx="45">
                  <c:v>3138.1429</c:v>
                </c:pt>
                <c:pt idx="46">
                  <c:v>2995.8667</c:v>
                </c:pt>
                <c:pt idx="47">
                  <c:v>2660.1667</c:v>
                </c:pt>
                <c:pt idx="48">
                  <c:v>3669.0</c:v>
                </c:pt>
                <c:pt idx="49">
                  <c:v>3025.0556</c:v>
                </c:pt>
                <c:pt idx="50">
                  <c:v>3099.3571</c:v>
                </c:pt>
                <c:pt idx="51">
                  <c:v>2739.4667</c:v>
                </c:pt>
                <c:pt idx="52">
                  <c:v>3202.5</c:v>
                </c:pt>
                <c:pt idx="53">
                  <c:v>3334.5</c:v>
                </c:pt>
                <c:pt idx="54">
                  <c:v>2909.6923</c:v>
                </c:pt>
                <c:pt idx="55">
                  <c:v>3116.0</c:v>
                </c:pt>
                <c:pt idx="56">
                  <c:v>2599.75</c:v>
                </c:pt>
                <c:pt idx="57">
                  <c:v>2696.8333</c:v>
                </c:pt>
                <c:pt idx="58">
                  <c:v>2451.5714</c:v>
                </c:pt>
                <c:pt idx="59">
                  <c:v>2641.6154</c:v>
                </c:pt>
                <c:pt idx="60">
                  <c:v>2559.1905</c:v>
                </c:pt>
                <c:pt idx="61">
                  <c:v>2616.8125</c:v>
                </c:pt>
                <c:pt idx="62">
                  <c:v>2355.3889</c:v>
                </c:pt>
                <c:pt idx="63">
                  <c:v>2616.8235</c:v>
                </c:pt>
                <c:pt idx="64">
                  <c:v>2307.1667</c:v>
                </c:pt>
                <c:pt idx="65">
                  <c:v>2335.0625</c:v>
                </c:pt>
                <c:pt idx="66">
                  <c:v>2205.0588</c:v>
                </c:pt>
                <c:pt idx="67">
                  <c:v>2366.9167</c:v>
                </c:pt>
                <c:pt idx="68">
                  <c:v>1907.25</c:v>
                </c:pt>
                <c:pt idx="69">
                  <c:v>1806.8462</c:v>
                </c:pt>
                <c:pt idx="70">
                  <c:v>2093.8182</c:v>
                </c:pt>
                <c:pt idx="71">
                  <c:v>1689.1818</c:v>
                </c:pt>
                <c:pt idx="72">
                  <c:v>2030.4375</c:v>
                </c:pt>
                <c:pt idx="73">
                  <c:v>1540.12</c:v>
                </c:pt>
                <c:pt idx="74">
                  <c:v>1899.0714</c:v>
                </c:pt>
                <c:pt idx="75">
                  <c:v>2853.48</c:v>
                </c:pt>
                <c:pt idx="76">
                  <c:v>2875.1212</c:v>
                </c:pt>
                <c:pt idx="77">
                  <c:v>3425.6333</c:v>
                </c:pt>
                <c:pt idx="78">
                  <c:v>2855.7568</c:v>
                </c:pt>
                <c:pt idx="79">
                  <c:v>3978.3</c:v>
                </c:pt>
                <c:pt idx="80">
                  <c:v>3440.1333</c:v>
                </c:pt>
                <c:pt idx="81">
                  <c:v>3386.2927</c:v>
                </c:pt>
                <c:pt idx="82">
                  <c:v>3334.303</c:v>
                </c:pt>
                <c:pt idx="83">
                  <c:v>3918.6087</c:v>
                </c:pt>
                <c:pt idx="84">
                  <c:v>3499.875</c:v>
                </c:pt>
                <c:pt idx="85">
                  <c:v>3327.3478</c:v>
                </c:pt>
                <c:pt idx="86">
                  <c:v>4500.5714</c:v>
                </c:pt>
                <c:pt idx="87">
                  <c:v>4381.2143</c:v>
                </c:pt>
                <c:pt idx="88">
                  <c:v>3936.9063</c:v>
                </c:pt>
                <c:pt idx="89">
                  <c:v>3929.9118</c:v>
                </c:pt>
                <c:pt idx="90">
                  <c:v>4465.6207</c:v>
                </c:pt>
                <c:pt idx="91">
                  <c:v>3604.8857</c:v>
                </c:pt>
                <c:pt idx="92">
                  <c:v>4148.6286</c:v>
                </c:pt>
                <c:pt idx="93">
                  <c:v>4459.8824</c:v>
                </c:pt>
                <c:pt idx="94">
                  <c:v>4274.8824</c:v>
                </c:pt>
                <c:pt idx="95">
                  <c:v>4202.5714</c:v>
                </c:pt>
                <c:pt idx="96">
                  <c:v>3518.4405</c:v>
                </c:pt>
                <c:pt idx="97">
                  <c:v>3508.6293</c:v>
                </c:pt>
                <c:pt idx="98">
                  <c:v>3336.811</c:v>
                </c:pt>
                <c:pt idx="99">
                  <c:v>3491.1985</c:v>
                </c:pt>
                <c:pt idx="100">
                  <c:v>3901.069</c:v>
                </c:pt>
                <c:pt idx="101">
                  <c:v>3699.9652</c:v>
                </c:pt>
                <c:pt idx="102">
                  <c:v>3851.6974</c:v>
                </c:pt>
                <c:pt idx="103">
                  <c:v>3939.1392</c:v>
                </c:pt>
                <c:pt idx="104">
                  <c:v>4226.3208</c:v>
                </c:pt>
              </c:numCache>
            </c:numRef>
          </c:xVal>
          <c:yVal>
            <c:numRef>
              <c:f>Sheet1!$B$2:$B$106</c:f>
              <c:numCache>
                <c:formatCode>General</c:formatCode>
                <c:ptCount val="105"/>
                <c:pt idx="0">
                  <c:v>0.0012656225280809998</c:v>
                </c:pt>
                <c:pt idx="1">
                  <c:v>0.000440257110152329</c:v>
                </c:pt>
                <c:pt idx="2">
                  <c:v>0.0005525370660281794</c:v>
                </c:pt>
                <c:pt idx="3">
                  <c:v>0.0005060728744939271</c:v>
                </c:pt>
                <c:pt idx="4">
                  <c:v>0.00034056079010103305</c:v>
                </c:pt>
                <c:pt idx="5">
                  <c:v>0.0006506886454831363</c:v>
                </c:pt>
                <c:pt idx="6">
                  <c:v>0.0011653776883144402</c:v>
                </c:pt>
                <c:pt idx="7">
                  <c:v>0.0009905894006934125</c:v>
                </c:pt>
                <c:pt idx="8">
                  <c:v>0.0008851795649974709</c:v>
                </c:pt>
                <c:pt idx="9">
                  <c:v>0.000865884163940735</c:v>
                </c:pt>
                <c:pt idx="10">
                  <c:v>0.0005662514156285391</c:v>
                </c:pt>
                <c:pt idx="11">
                  <c:v>0.0009392317084624777</c:v>
                </c:pt>
                <c:pt idx="12">
                  <c:v>0.0009146848494927657</c:v>
                </c:pt>
                <c:pt idx="13">
                  <c:v>0.0008834702712253732</c:v>
                </c:pt>
                <c:pt idx="14">
                  <c:v>0.0002642007926023778</c:v>
                </c:pt>
                <c:pt idx="15">
                  <c:v>0.0006487187804086928</c:v>
                </c:pt>
                <c:pt idx="16">
                  <c:v>0.00024919013207077</c:v>
                </c:pt>
                <c:pt idx="17">
                  <c:v>0.0005400297016335898</c:v>
                </c:pt>
                <c:pt idx="18">
                  <c:v>0.0003161555485298767</c:v>
                </c:pt>
                <c:pt idx="19">
                  <c:v>0.0005461496450027307</c:v>
                </c:pt>
                <c:pt idx="20">
                  <c:v>0.0007560864962951762</c:v>
                </c:pt>
                <c:pt idx="21">
                  <c:v>0.00018839487565938207</c:v>
                </c:pt>
                <c:pt idx="22">
                  <c:v>0.0013313046785850132</c:v>
                </c:pt>
                <c:pt idx="23">
                  <c:v>0.0010094891984655764</c:v>
                </c:pt>
                <c:pt idx="24">
                  <c:v>0.0016762898118830322</c:v>
                </c:pt>
                <c:pt idx="25">
                  <c:v>0.002147766323024055</c:v>
                </c:pt>
                <c:pt idx="26">
                  <c:v>0.001722356183258698</c:v>
                </c:pt>
                <c:pt idx="27">
                  <c:v>0.0008131403480240689</c:v>
                </c:pt>
                <c:pt idx="28">
                  <c:v>0.0008548469823901521</c:v>
                </c:pt>
                <c:pt idx="29">
                  <c:v>0.0014276649746192893</c:v>
                </c:pt>
                <c:pt idx="30">
                  <c:v>0.000992063492063492</c:v>
                </c:pt>
                <c:pt idx="31">
                  <c:v>0.0011534025374855825</c:v>
                </c:pt>
                <c:pt idx="32">
                  <c:v>0.0007738440704198104</c:v>
                </c:pt>
                <c:pt idx="33">
                  <c:v>0.0019944768333844736</c:v>
                </c:pt>
                <c:pt idx="34">
                  <c:v>0.001936912008854455</c:v>
                </c:pt>
                <c:pt idx="35">
                  <c:v>0.0019083969465648854</c:v>
                </c:pt>
                <c:pt idx="36">
                  <c:v>0.0012048192771084338</c:v>
                </c:pt>
                <c:pt idx="37">
                  <c:v>0.0009561752988047809</c:v>
                </c:pt>
                <c:pt idx="38">
                  <c:v>0.0008311170212765958</c:v>
                </c:pt>
                <c:pt idx="39">
                  <c:v>0.0010741138560687433</c:v>
                </c:pt>
                <c:pt idx="40">
                  <c:v>0.0005878030859662013</c:v>
                </c:pt>
                <c:pt idx="41">
                  <c:v>0.0006283380458686773</c:v>
                </c:pt>
                <c:pt idx="42">
                  <c:v>0.00040090872644661234</c:v>
                </c:pt>
                <c:pt idx="43">
                  <c:v>0.0008403361344537816</c:v>
                </c:pt>
                <c:pt idx="44">
                  <c:v>0.0007217321571772253</c:v>
                </c:pt>
                <c:pt idx="45">
                  <c:v>0.0005158437730287399</c:v>
                </c:pt>
                <c:pt idx="46">
                  <c:v>0.0010876658690450293</c:v>
                </c:pt>
                <c:pt idx="47">
                  <c:v>0.0013082346100734064</c:v>
                </c:pt>
                <c:pt idx="48">
                  <c:v>0.0006439841150584952</c:v>
                </c:pt>
                <c:pt idx="49">
                  <c:v>0.0006483916285436403</c:v>
                </c:pt>
                <c:pt idx="50">
                  <c:v>0.0009774488584793689</c:v>
                </c:pt>
                <c:pt idx="51">
                  <c:v>0.0013073034687118702</c:v>
                </c:pt>
                <c:pt idx="52">
                  <c:v>0.00044672771945499217</c:v>
                </c:pt>
                <c:pt idx="53">
                  <c:v>0.0005792624058698591</c:v>
                </c:pt>
                <c:pt idx="54">
                  <c:v>0.0013641133263378805</c:v>
                </c:pt>
                <c:pt idx="55">
                  <c:v>0.0008862301982940069</c:v>
                </c:pt>
                <c:pt idx="56">
                  <c:v>0.000910643141718839</c:v>
                </c:pt>
                <c:pt idx="57">
                  <c:v>0.0006073489219556636</c:v>
                </c:pt>
                <c:pt idx="58">
                  <c:v>0.0006362479549172878</c:v>
                </c:pt>
                <c:pt idx="59">
                  <c:v>0.0007566938300349244</c:v>
                </c:pt>
                <c:pt idx="60">
                  <c:v>0.0013077593722755014</c:v>
                </c:pt>
                <c:pt idx="61">
                  <c:v>0.0014262791941522554</c:v>
                </c:pt>
                <c:pt idx="62">
                  <c:v>0.0015599272033971748</c:v>
                </c:pt>
                <c:pt idx="63">
                  <c:v>0.0013111213944161653</c:v>
                </c:pt>
                <c:pt idx="64">
                  <c:v>0.0017508024511234317</c:v>
                </c:pt>
                <c:pt idx="65">
                  <c:v>0.0012554927809165098</c:v>
                </c:pt>
                <c:pt idx="66">
                  <c:v>0.001433268695725487</c:v>
                </c:pt>
                <c:pt idx="67">
                  <c:v>0.0010668563300142249</c:v>
                </c:pt>
                <c:pt idx="68">
                  <c:v>0.001755926251097454</c:v>
                </c:pt>
                <c:pt idx="69">
                  <c:v>0.0017876787678767878</c:v>
                </c:pt>
                <c:pt idx="70">
                  <c:v>0.001490111081007857</c:v>
                </c:pt>
                <c:pt idx="71">
                  <c:v>0.0016164584864070536</c:v>
                </c:pt>
                <c:pt idx="72">
                  <c:v>0.0021756867011150393</c:v>
                </c:pt>
                <c:pt idx="73">
                  <c:v>0.0037058997924696115</c:v>
                </c:pt>
                <c:pt idx="74">
                  <c:v>0.003992015968063872</c:v>
                </c:pt>
                <c:pt idx="75">
                  <c:v>0.004108463434675432</c:v>
                </c:pt>
                <c:pt idx="76">
                  <c:v>0.005612244897959183</c:v>
                </c:pt>
                <c:pt idx="77">
                  <c:v>0.005408328826392645</c:v>
                </c:pt>
                <c:pt idx="78">
                  <c:v>0.0078125</c:v>
                </c:pt>
                <c:pt idx="79">
                  <c:v>0.0056625141562853904</c:v>
                </c:pt>
                <c:pt idx="80">
                  <c:v>0.005747126436781609</c:v>
                </c:pt>
                <c:pt idx="81">
                  <c:v>0.006224381357218764</c:v>
                </c:pt>
                <c:pt idx="82">
                  <c:v>0.0063522617901828685</c:v>
                </c:pt>
                <c:pt idx="83">
                  <c:v>0.005026223776223776</c:v>
                </c:pt>
                <c:pt idx="84">
                  <c:v>0.005585292064230859</c:v>
                </c:pt>
                <c:pt idx="85">
                  <c:v>0.004861551469034031</c:v>
                </c:pt>
                <c:pt idx="86">
                  <c:v>0.004291845493562232</c:v>
                </c:pt>
                <c:pt idx="87">
                  <c:v>0.003737818715792284</c:v>
                </c:pt>
                <c:pt idx="88">
                  <c:v>0.005559416261292564</c:v>
                </c:pt>
                <c:pt idx="89">
                  <c:v>0.0068</c:v>
                </c:pt>
                <c:pt idx="90">
                  <c:v>0.005901505901505902</c:v>
                </c:pt>
                <c:pt idx="91">
                  <c:v>0.006512839598064756</c:v>
                </c:pt>
                <c:pt idx="92">
                  <c:v>0.0053590568060021436</c:v>
                </c:pt>
                <c:pt idx="93">
                  <c:v>0.0049504950495049506</c:v>
                </c:pt>
                <c:pt idx="94">
                  <c:v>0.005507856795723311</c:v>
                </c:pt>
                <c:pt idx="95">
                  <c:v>0.0054705816679691864</c:v>
                </c:pt>
                <c:pt idx="96">
                  <c:v>0.007192396609298741</c:v>
                </c:pt>
                <c:pt idx="97">
                  <c:v>0.008507517418408507</c:v>
                </c:pt>
                <c:pt idx="98">
                  <c:v>0.008149383983572895</c:v>
                </c:pt>
                <c:pt idx="99">
                  <c:v>0.007668884628397429</c:v>
                </c:pt>
                <c:pt idx="100">
                  <c:v>0.005646857231871641</c:v>
                </c:pt>
                <c:pt idx="101">
                  <c:v>0.00819205014959396</c:v>
                </c:pt>
                <c:pt idx="102">
                  <c:v>0.006739381041057019</c:v>
                </c:pt>
                <c:pt idx="103">
                  <c:v>0.006306378223038238</c:v>
                </c:pt>
                <c:pt idx="104">
                  <c:v>0.005044256210145617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numCache>
            </c:numRef>
          </c:xVal>
          <c:yVal>
            <c:numRef>
              <c:f>Sheet1!$B$109:$B$160</c:f>
              <c:numCache>
                <c:formatCode>General</c:formatCode>
                <c:ptCount val="52"/>
                <c:pt idx="0">
                  <c:v>0.0049961236971315355</c:v>
                </c:pt>
                <c:pt idx="1">
                  <c:v>0.005845816587504567</c:v>
                </c:pt>
                <c:pt idx="2">
                  <c:v>0.005669213704707912</c:v>
                </c:pt>
                <c:pt idx="3">
                  <c:v>0.006110147799521097</c:v>
                </c:pt>
                <c:pt idx="4">
                  <c:v>0.006154403113403928</c:v>
                </c:pt>
                <c:pt idx="5">
                  <c:v>0.005041011619958988</c:v>
                </c:pt>
                <c:pt idx="6">
                  <c:v>0.006016439284806372</c:v>
                </c:pt>
                <c:pt idx="7">
                  <c:v>0.00700827205882353</c:v>
                </c:pt>
                <c:pt idx="8">
                  <c:v>0.008691001470784864</c:v>
                </c:pt>
                <c:pt idx="9">
                  <c:v>0.008687373557062953</c:v>
                </c:pt>
                <c:pt idx="10">
                  <c:v>0.008260670032124828</c:v>
                </c:pt>
                <c:pt idx="11">
                  <c:v>0.008187231227257692</c:v>
                </c:pt>
                <c:pt idx="12">
                  <c:v>0.008404163881195683</c:v>
                </c:pt>
                <c:pt idx="13">
                  <c:v>0.012609704428528195</c:v>
                </c:pt>
                <c:pt idx="14">
                  <c:v>0.012543012543012544</c:v>
                </c:pt>
                <c:pt idx="15">
                  <c:v>0.012177819815559234</c:v>
                </c:pt>
                <c:pt idx="16">
                  <c:v>0.011682242990654205</c:v>
                </c:pt>
                <c:pt idx="17">
                  <c:v>0.01518624641833811</c:v>
                </c:pt>
                <c:pt idx="18">
                  <c:v>0.007985360173016137</c:v>
                </c:pt>
                <c:pt idx="19">
                  <c:v>0.007203257124960852</c:v>
                </c:pt>
                <c:pt idx="20">
                  <c:v>0.008735960064182563</c:v>
                </c:pt>
                <c:pt idx="21">
                  <c:v>0.011700975081256771</c:v>
                </c:pt>
                <c:pt idx="22">
                  <c:v>0.010414358519831598</c:v>
                </c:pt>
                <c:pt idx="23">
                  <c:v>0.010123239436619719</c:v>
                </c:pt>
                <c:pt idx="24">
                  <c:v>0.009738151915169876</c:v>
                </c:pt>
                <c:pt idx="25">
                  <c:v>0.010512765500965459</c:v>
                </c:pt>
                <c:pt idx="26">
                  <c:v>0.010547667342799188</c:v>
                </c:pt>
                <c:pt idx="27">
                  <c:v>0.009973285841495993</c:v>
                </c:pt>
                <c:pt idx="28">
                  <c:v>0.008588750421017177</c:v>
                </c:pt>
                <c:pt idx="29">
                  <c:v>0.01018981018981019</c:v>
                </c:pt>
                <c:pt idx="30">
                  <c:v>0.009368148295794299</c:v>
                </c:pt>
                <c:pt idx="31">
                  <c:v>0.010326214503637644</c:v>
                </c:pt>
                <c:pt idx="32">
                  <c:v>0.008757297748123435</c:v>
                </c:pt>
                <c:pt idx="33">
                  <c:v>0.008337420304070623</c:v>
                </c:pt>
                <c:pt idx="34">
                  <c:v>0.007484096295372334</c:v>
                </c:pt>
                <c:pt idx="35">
                  <c:v>0.00890251021599533</c:v>
                </c:pt>
                <c:pt idx="36">
                  <c:v>0.011209715086408221</c:v>
                </c:pt>
                <c:pt idx="37">
                  <c:v>0.011385199240986717</c:v>
                </c:pt>
                <c:pt idx="38">
                  <c:v>0.013365735115431349</c:v>
                </c:pt>
                <c:pt idx="39">
                  <c:v>0.01218875152359394</c:v>
                </c:pt>
                <c:pt idx="40">
                  <c:v>0.011968560200071454</c:v>
                </c:pt>
                <c:pt idx="41">
                  <c:v>0.009420172161767094</c:v>
                </c:pt>
                <c:pt idx="42">
                  <c:v>0.01107419712070875</c:v>
                </c:pt>
                <c:pt idx="43">
                  <c:v>0.008003311715192493</c:v>
                </c:pt>
                <c:pt idx="44">
                  <c:v>0.006070324132401787</c:v>
                </c:pt>
                <c:pt idx="45">
                  <c:v>0.004706264199935086</c:v>
                </c:pt>
                <c:pt idx="46">
                  <c:v>0.005146986043749381</c:v>
                </c:pt>
                <c:pt idx="47">
                  <c:v>0.005354387875487794</c:v>
                </c:pt>
                <c:pt idx="48">
                  <c:v>0.005730019348117279</c:v>
                </c:pt>
                <c:pt idx="49">
                  <c:v>0.005314799672935405</c:v>
                </c:pt>
                <c:pt idx="50">
                  <c:v>0.004363118293931704</c:v>
                </c:pt>
                <c:pt idx="51">
                  <c:v>0.00506919858384293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607.134498189073</c:v>
                </c:pt>
              </c:numCache>
            </c:numRef>
          </c:xVal>
          <c:yVal>
            <c:numRef>
              <c:f>Sheet1!$B$163:$B$164</c:f>
              <c:numCache>
                <c:formatCode>General</c:formatCode>
                <c:ptCount val="2"/>
                <c:pt idx="0">
                  <c:v>0.010258770564396134</c:v>
                </c:pt>
                <c:pt idx="1">
                  <c:v>0.01025877056439613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607.134498189073</c:v>
                </c:pt>
                <c:pt idx="1">
                  <c:v>3607.134498189073</c:v>
                </c:pt>
              </c:numCache>
            </c:numRef>
          </c:xVal>
          <c:yVal>
            <c:numRef>
              <c:f>Sheet1!$B$167:$B$168</c:f>
              <c:numCache>
                <c:formatCode>General</c:formatCode>
                <c:ptCount val="2"/>
                <c:pt idx="0">
                  <c:v>0.0102587705643961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607.134498189073</c:v>
                </c:pt>
              </c:numCache>
            </c:numRef>
          </c:xVal>
          <c:yVal>
            <c:numRef>
              <c:f>Sheet1!$B$171:$B$172</c:f>
              <c:numCache>
                <c:formatCode>General</c:formatCode>
                <c:ptCount val="2"/>
                <c:pt idx="0">
                  <c:v>0.010258770564396134</c:v>
                </c:pt>
                <c:pt idx="1">
                  <c:v>0.01025877056439613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607.134498189073</c:v>
                </c:pt>
                <c:pt idx="1">
                  <c:v>3607.134498189073</c:v>
                </c:pt>
              </c:numCache>
            </c:numRef>
          </c:xVal>
          <c:yVal>
            <c:numRef>
              <c:f>Sheet1!$B$175:$B$176</c:f>
              <c:numCache>
                <c:formatCode>General</c:formatCode>
                <c:ptCount val="2"/>
                <c:pt idx="0">
                  <c:v>0.0102587705643961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37.576844898935</c:v>
                </c:pt>
              </c:numCache>
            </c:numRef>
          </c:xVal>
          <c:yVal>
            <c:numRef>
              <c:f>Sheet1!$B$179:$B$180</c:f>
              <c:numCache>
                <c:formatCode>General</c:formatCode>
                <c:ptCount val="2"/>
                <c:pt idx="0">
                  <c:v>0.007262314682441161</c:v>
                </c:pt>
                <c:pt idx="1">
                  <c:v>0.00726231468244116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37.576844898935</c:v>
                </c:pt>
                <c:pt idx="1">
                  <c:v>4237.576844898935</c:v>
                </c:pt>
              </c:numCache>
            </c:numRef>
          </c:xVal>
          <c:yVal>
            <c:numRef>
              <c:f>Sheet1!$B$183:$B$184</c:f>
              <c:numCache>
                <c:formatCode>General</c:formatCode>
                <c:ptCount val="2"/>
                <c:pt idx="0">
                  <c:v>0.00726231468244116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pt idx="52">
                  <c:v>3607.134498189073</c:v>
                </c:pt>
                <c:pt idx="53">
                  <c:v>3607.134498189073</c:v>
                </c:pt>
                <c:pt idx="54">
                  <c:v>4237.576844898935</c:v>
                </c:pt>
              </c:numCache>
            </c:numRef>
          </c:xVal>
          <c:yVal>
            <c:numRef>
              <c:f>Sheet1!$B$187:$B$241</c:f>
              <c:numCache>
                <c:formatCode>General</c:formatCode>
                <c:ptCount val="55"/>
                <c:pt idx="0">
                  <c:v>0.006462956562003824</c:v>
                </c:pt>
                <c:pt idx="1">
                  <c:v>0.008828254325189223</c:v>
                </c:pt>
                <c:pt idx="2">
                  <c:v>0.006981808619114491</c:v>
                </c:pt>
                <c:pt idx="3">
                  <c:v>0.009847702389348786</c:v>
                </c:pt>
                <c:pt idx="4">
                  <c:v>0.005887332514378271</c:v>
                </c:pt>
                <c:pt idx="5">
                  <c:v>0.004467104026647288</c:v>
                </c:pt>
                <c:pt idx="6">
                  <c:v>0.006437776901391436</c:v>
                </c:pt>
                <c:pt idx="7">
                  <c:v>0.00704088911353852</c:v>
                </c:pt>
                <c:pt idx="8">
                  <c:v>0.007584965984210178</c:v>
                </c:pt>
                <c:pt idx="9">
                  <c:v>0.00792512928722245</c:v>
                </c:pt>
                <c:pt idx="10">
                  <c:v>0.007437878590604012</c:v>
                </c:pt>
                <c:pt idx="11">
                  <c:v>0.007981838538903496</c:v>
                </c:pt>
                <c:pt idx="12">
                  <c:v>0.009121026043935467</c:v>
                </c:pt>
                <c:pt idx="13">
                  <c:v>0.011180301836783316</c:v>
                </c:pt>
                <c:pt idx="14">
                  <c:v>0.010980090335615238</c:v>
                </c:pt>
                <c:pt idx="15">
                  <c:v>0.010091811111855163</c:v>
                </c:pt>
                <c:pt idx="16">
                  <c:v>0.008985956939365013</c:v>
                </c:pt>
                <c:pt idx="17">
                  <c:v>0.013575752739046248</c:v>
                </c:pt>
                <c:pt idx="18">
                  <c:v>0.007958490662121825</c:v>
                </c:pt>
                <c:pt idx="19">
                  <c:v>0.006469041753593016</c:v>
                </c:pt>
                <c:pt idx="20">
                  <c:v>0.007168348758033766</c:v>
                </c:pt>
                <c:pt idx="21">
                  <c:v>0.009940346733999614</c:v>
                </c:pt>
                <c:pt idx="22">
                  <c:v>0.008964687999395895</c:v>
                </c:pt>
                <c:pt idx="23">
                  <c:v>0.012456922084421597</c:v>
                </c:pt>
                <c:pt idx="24">
                  <c:v>0.008119318335635187</c:v>
                </c:pt>
                <c:pt idx="25">
                  <c:v>0.010250097862597628</c:v>
                </c:pt>
                <c:pt idx="26">
                  <c:v>0.009253614112803697</c:v>
                </c:pt>
                <c:pt idx="27">
                  <c:v>0.009763660869642445</c:v>
                </c:pt>
                <c:pt idx="28">
                  <c:v>0.009277601260278753</c:v>
                </c:pt>
                <c:pt idx="29">
                  <c:v>0.010371803120263982</c:v>
                </c:pt>
                <c:pt idx="30">
                  <c:v>0.010445886751273524</c:v>
                </c:pt>
                <c:pt idx="31">
                  <c:v>0.008953863174085912</c:v>
                </c:pt>
                <c:pt idx="32">
                  <c:v>0.006212053508968085</c:v>
                </c:pt>
                <c:pt idx="33">
                  <c:v>0.007563373368893702</c:v>
                </c:pt>
                <c:pt idx="34">
                  <c:v>0.006932984022848039</c:v>
                </c:pt>
                <c:pt idx="35">
                  <c:v>0.00831701505521314</c:v>
                </c:pt>
                <c:pt idx="36">
                  <c:v>0.007562412324029738</c:v>
                </c:pt>
                <c:pt idx="37">
                  <c:v>0.007721866872611352</c:v>
                </c:pt>
                <c:pt idx="38">
                  <c:v>0.010274705744292435</c:v>
                </c:pt>
                <c:pt idx="39">
                  <c:v>0.011788091894405743</c:v>
                </c:pt>
                <c:pt idx="40">
                  <c:v>0.012091137097194815</c:v>
                </c:pt>
                <c:pt idx="41">
                  <c:v>0.010617109584143844</c:v>
                </c:pt>
                <c:pt idx="42">
                  <c:v>0.011685767708162674</c:v>
                </c:pt>
                <c:pt idx="43">
                  <c:v>0.009968660959833491</c:v>
                </c:pt>
                <c:pt idx="44">
                  <c:v>0.007781602322437232</c:v>
                </c:pt>
                <c:pt idx="45">
                  <c:v>0.006977913107885481</c:v>
                </c:pt>
                <c:pt idx="46">
                  <c:v>0.006616919561446843</c:v>
                </c:pt>
                <c:pt idx="47">
                  <c:v>0.0070070282044393285</c:v>
                </c:pt>
                <c:pt idx="48">
                  <c:v>0.008593226098294143</c:v>
                </c:pt>
                <c:pt idx="49">
                  <c:v>0.009001464363092297</c:v>
                </c:pt>
                <c:pt idx="50">
                  <c:v>0.008333013457844717</c:v>
                </c:pt>
                <c:pt idx="51">
                  <c:v>0.007272298925720757</c:v>
                </c:pt>
                <c:pt idx="52">
                  <c:v>0.010258770564396134</c:v>
                </c:pt>
                <c:pt idx="53">
                  <c:v>0.010258770564396134</c:v>
                </c:pt>
                <c:pt idx="54">
                  <c:v>0.00726231468244116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64.0"/>
          <c:min val="123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822349570200573"/>
          <c:min val="0.0001507159005275056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184189895470383</c:v>
                </c:pt>
                <c:pt idx="1">
                  <c:v>2.606411149825784</c:v>
                </c:pt>
                <c:pt idx="2">
                  <c:v>2.3063422657952066</c:v>
                </c:pt>
                <c:pt idx="3">
                  <c:v>1.9537915456598904</c:v>
                </c:pt>
                <c:pt idx="4">
                  <c:v>1.9822465405674463</c:v>
                </c:pt>
                <c:pt idx="5">
                  <c:v>4.1947320980926435</c:v>
                </c:pt>
                <c:pt idx="6">
                  <c:v>2.499328982128982</c:v>
                </c:pt>
                <c:pt idx="7">
                  <c:v>2.2822724039829305</c:v>
                </c:pt>
                <c:pt idx="8">
                  <c:v>2.430715560688406</c:v>
                </c:pt>
                <c:pt idx="9">
                  <c:v>2.2531939372822296</c:v>
                </c:pt>
                <c:pt idx="10">
                  <c:v>2.3050957468402493</c:v>
                </c:pt>
                <c:pt idx="11">
                  <c:v>2.271849593495935</c:v>
                </c:pt>
                <c:pt idx="12">
                  <c:v>2.3859115077151887</c:v>
                </c:pt>
                <c:pt idx="13">
                  <c:v>2.288763066202091</c:v>
                </c:pt>
                <c:pt idx="14">
                  <c:v>2.6736592793097613</c:v>
                </c:pt>
                <c:pt idx="15">
                  <c:v>1.9235499266970675</c:v>
                </c:pt>
                <c:pt idx="16">
                  <c:v>3.0566701865540304</c:v>
                </c:pt>
                <c:pt idx="17">
                  <c:v>2.2937282229965157</c:v>
                </c:pt>
                <c:pt idx="18">
                  <c:v>2.207068193130911</c:v>
                </c:pt>
                <c:pt idx="19">
                  <c:v>2.653658536585366</c:v>
                </c:pt>
                <c:pt idx="20">
                  <c:v>2.3155678926073047</c:v>
                </c:pt>
                <c:pt idx="21">
                  <c:v>2.7239562221321445</c:v>
                </c:pt>
                <c:pt idx="22">
                  <c:v>2.555990912812116</c:v>
                </c:pt>
                <c:pt idx="23">
                  <c:v>3.530374706735391</c:v>
                </c:pt>
                <c:pt idx="24">
                  <c:v>2.942717497126004</c:v>
                </c:pt>
                <c:pt idx="25">
                  <c:v>3.6671087533156497</c:v>
                </c:pt>
                <c:pt idx="26">
                  <c:v>2.640824742268041</c:v>
                </c:pt>
                <c:pt idx="27">
                  <c:v>1.5462419113987058</c:v>
                </c:pt>
                <c:pt idx="28">
                  <c:v>1.5883246321784528</c:v>
                </c:pt>
                <c:pt idx="29">
                  <c:v>2.4077694518196697</c:v>
                </c:pt>
                <c:pt idx="30">
                  <c:v>2.4001548586914443</c:v>
                </c:pt>
                <c:pt idx="31">
                  <c:v>2.402588066139468</c:v>
                </c:pt>
                <c:pt idx="32">
                  <c:v>2.513937282229965</c:v>
                </c:pt>
                <c:pt idx="33">
                  <c:v>1.856070731707317</c:v>
                </c:pt>
                <c:pt idx="34">
                  <c:v>1.953221643127781</c:v>
                </c:pt>
                <c:pt idx="35">
                  <c:v>2.2099635304934107</c:v>
                </c:pt>
                <c:pt idx="36">
                  <c:v>2.0397106157112526</c:v>
                </c:pt>
                <c:pt idx="37">
                  <c:v>1.630144307856761</c:v>
                </c:pt>
                <c:pt idx="38">
                  <c:v>2.4004697912439923</c:v>
                </c:pt>
                <c:pt idx="39">
                  <c:v>3.4393800184162067</c:v>
                </c:pt>
                <c:pt idx="40">
                  <c:v>3.475664410945347</c:v>
                </c:pt>
                <c:pt idx="41">
                  <c:v>3.300288540807914</c:v>
                </c:pt>
                <c:pt idx="42">
                  <c:v>2.8503748353954723</c:v>
                </c:pt>
                <c:pt idx="43">
                  <c:v>2.6861741952232605</c:v>
                </c:pt>
                <c:pt idx="44">
                  <c:v>2.203720667522465</c:v>
                </c:pt>
                <c:pt idx="45">
                  <c:v>2.4298435152922955</c:v>
                </c:pt>
                <c:pt idx="46">
                  <c:v>1.739759988385598</c:v>
                </c:pt>
                <c:pt idx="47">
                  <c:v>1.8537747038327528</c:v>
                </c:pt>
                <c:pt idx="48">
                  <c:v>2.586535072259429</c:v>
                </c:pt>
                <c:pt idx="49">
                  <c:v>2.11779305516662</c:v>
                </c:pt>
                <c:pt idx="50">
                  <c:v>1.8465040810247246</c:v>
                </c:pt>
                <c:pt idx="51">
                  <c:v>2.9377658981233243</c:v>
                </c:pt>
                <c:pt idx="52">
                  <c:v>2.8182752366757184</c:v>
                </c:pt>
                <c:pt idx="53">
                  <c:v>2.9745762711864407</c:v>
                </c:pt>
                <c:pt idx="54">
                  <c:v>2.0587446004420897</c:v>
                </c:pt>
                <c:pt idx="55">
                  <c:v>2.012919896640827</c:v>
                </c:pt>
                <c:pt idx="56">
                  <c:v>2.125715453802126</c:v>
                </c:pt>
                <c:pt idx="57">
                  <c:v>2.027694210526316</c:v>
                </c:pt>
                <c:pt idx="58">
                  <c:v>2.1511301505957836</c:v>
                </c:pt>
                <c:pt idx="59">
                  <c:v>2.1645488364470666</c:v>
                </c:pt>
                <c:pt idx="60">
                  <c:v>1.878534790274891</c:v>
                </c:pt>
                <c:pt idx="61">
                  <c:v>2.076286090354036</c:v>
                </c:pt>
                <c:pt idx="62">
                  <c:v>2.001690235404096</c:v>
                </c:pt>
                <c:pt idx="63">
                  <c:v>2.012096847053794</c:v>
                </c:pt>
                <c:pt idx="64">
                  <c:v>1.770560461997708</c:v>
                </c:pt>
                <c:pt idx="65">
                  <c:v>1.8318525927669256</c:v>
                </c:pt>
                <c:pt idx="66">
                  <c:v>1.7561443902439022</c:v>
                </c:pt>
                <c:pt idx="67">
                  <c:v>1.8850506321553013</c:v>
                </c:pt>
                <c:pt idx="68">
                  <c:v>1.4587618410388998</c:v>
                </c:pt>
                <c:pt idx="69">
                  <c:v>1.5739078397212543</c:v>
                </c:pt>
                <c:pt idx="70">
                  <c:v>2.186374654146375</c:v>
                </c:pt>
                <c:pt idx="71">
                  <c:v>1.5537808323082458</c:v>
                </c:pt>
                <c:pt idx="72">
                  <c:v>1.7057722404304745</c:v>
                </c:pt>
                <c:pt idx="73">
                  <c:v>1.3622147532283744</c:v>
                </c:pt>
                <c:pt idx="74">
                  <c:v>1.7313471452991454</c:v>
                </c:pt>
                <c:pt idx="75">
                  <c:v>3.021953931691819</c:v>
                </c:pt>
                <c:pt idx="76">
                  <c:v>3.22604306759863</c:v>
                </c:pt>
                <c:pt idx="77">
                  <c:v>3.4081057529232908</c:v>
                </c:pt>
                <c:pt idx="78">
                  <c:v>2.9637210070784583</c:v>
                </c:pt>
                <c:pt idx="79">
                  <c:v>3.571184919210054</c:v>
                </c:pt>
                <c:pt idx="80">
                  <c:v>3.4725435910988023</c:v>
                </c:pt>
                <c:pt idx="81">
                  <c:v>2.8931683555408525</c:v>
                </c:pt>
                <c:pt idx="82">
                  <c:v>2.967253715404467</c:v>
                </c:pt>
                <c:pt idx="83">
                  <c:v>3.080667216981132</c:v>
                </c:pt>
                <c:pt idx="84">
                  <c:v>2.87009423921991</c:v>
                </c:pt>
                <c:pt idx="85">
                  <c:v>2.3851955555555557</c:v>
                </c:pt>
                <c:pt idx="86">
                  <c:v>3.618792237502218</c:v>
                </c:pt>
                <c:pt idx="87">
                  <c:v>3.3716468146075895</c:v>
                </c:pt>
                <c:pt idx="88">
                  <c:v>3.090435905487087</c:v>
                </c:pt>
                <c:pt idx="89">
                  <c:v>2.5465991446345253</c:v>
                </c:pt>
                <c:pt idx="90">
                  <c:v>3.3910097197964917</c:v>
                </c:pt>
                <c:pt idx="91">
                  <c:v>2.8709891090094573</c:v>
                </c:pt>
                <c:pt idx="92">
                  <c:v>3.1221387052071456</c:v>
                </c:pt>
                <c:pt idx="93">
                  <c:v>3.6433640704671335</c:v>
                </c:pt>
                <c:pt idx="94">
                  <c:v>3.133618531007184</c:v>
                </c:pt>
                <c:pt idx="95">
                  <c:v>2.719105309531478</c:v>
                </c:pt>
                <c:pt idx="96">
                  <c:v>2.442984492254043</c:v>
                </c:pt>
                <c:pt idx="97">
                  <c:v>2.513344770773639</c:v>
                </c:pt>
                <c:pt idx="98">
                  <c:v>2.3358844942247114</c:v>
                </c:pt>
                <c:pt idx="99">
                  <c:v>2.896298739007798</c:v>
                </c:pt>
                <c:pt idx="100">
                  <c:v>3.020572202864886</c:v>
                </c:pt>
                <c:pt idx="101">
                  <c:v>2.8948382982885086</c:v>
                </c:pt>
                <c:pt idx="102">
                  <c:v>3.050124643649034</c:v>
                </c:pt>
                <c:pt idx="103">
                  <c:v>3.3261730678669856</c:v>
                </c:pt>
                <c:pt idx="104">
                  <c:v>3.3158760662603917</c:v>
                </c:pt>
              </c:numCache>
            </c:numRef>
          </c:xVal>
          <c:yVal>
            <c:numRef>
              <c:f>Sheet1!$B$2:$B$106</c:f>
              <c:numCache>
                <c:formatCode>General</c:formatCode>
                <c:ptCount val="105"/>
                <c:pt idx="0">
                  <c:v>0.0012656225280809998</c:v>
                </c:pt>
                <c:pt idx="1">
                  <c:v>0.000440257110152329</c:v>
                </c:pt>
                <c:pt idx="2">
                  <c:v>0.0005525370660281794</c:v>
                </c:pt>
                <c:pt idx="3">
                  <c:v>0.0005060728744939271</c:v>
                </c:pt>
                <c:pt idx="4">
                  <c:v>0.00034056079010103305</c:v>
                </c:pt>
                <c:pt idx="5">
                  <c:v>0.0006506886454831363</c:v>
                </c:pt>
                <c:pt idx="6">
                  <c:v>0.0011653776883144402</c:v>
                </c:pt>
                <c:pt idx="7">
                  <c:v>0.0009905894006934125</c:v>
                </c:pt>
                <c:pt idx="8">
                  <c:v>0.0008851795649974709</c:v>
                </c:pt>
                <c:pt idx="9">
                  <c:v>0.000865884163940735</c:v>
                </c:pt>
                <c:pt idx="10">
                  <c:v>0.0005662514156285391</c:v>
                </c:pt>
                <c:pt idx="11">
                  <c:v>0.0009392317084624777</c:v>
                </c:pt>
                <c:pt idx="12">
                  <c:v>0.0009146848494927657</c:v>
                </c:pt>
                <c:pt idx="13">
                  <c:v>0.0008834702712253732</c:v>
                </c:pt>
                <c:pt idx="14">
                  <c:v>0.0002642007926023778</c:v>
                </c:pt>
                <c:pt idx="15">
                  <c:v>0.0006487187804086928</c:v>
                </c:pt>
                <c:pt idx="16">
                  <c:v>0.00024919013207077</c:v>
                </c:pt>
                <c:pt idx="17">
                  <c:v>0.0005400297016335898</c:v>
                </c:pt>
                <c:pt idx="18">
                  <c:v>0.0003161555485298767</c:v>
                </c:pt>
                <c:pt idx="19">
                  <c:v>0.0005461496450027307</c:v>
                </c:pt>
                <c:pt idx="20">
                  <c:v>0.0007560864962951762</c:v>
                </c:pt>
                <c:pt idx="21">
                  <c:v>0.00018839487565938207</c:v>
                </c:pt>
                <c:pt idx="22">
                  <c:v>0.0013313046785850132</c:v>
                </c:pt>
                <c:pt idx="23">
                  <c:v>0.0010094891984655764</c:v>
                </c:pt>
                <c:pt idx="24">
                  <c:v>0.0016762898118830322</c:v>
                </c:pt>
                <c:pt idx="25">
                  <c:v>0.002147766323024055</c:v>
                </c:pt>
                <c:pt idx="26">
                  <c:v>0.001722356183258698</c:v>
                </c:pt>
                <c:pt idx="27">
                  <c:v>0.0008131403480240689</c:v>
                </c:pt>
                <c:pt idx="28">
                  <c:v>0.0008548469823901521</c:v>
                </c:pt>
                <c:pt idx="29">
                  <c:v>0.0014276649746192893</c:v>
                </c:pt>
                <c:pt idx="30">
                  <c:v>0.000992063492063492</c:v>
                </c:pt>
                <c:pt idx="31">
                  <c:v>0.0011534025374855825</c:v>
                </c:pt>
                <c:pt idx="32">
                  <c:v>0.0007738440704198104</c:v>
                </c:pt>
                <c:pt idx="33">
                  <c:v>0.0019944768333844736</c:v>
                </c:pt>
                <c:pt idx="34">
                  <c:v>0.001936912008854455</c:v>
                </c:pt>
                <c:pt idx="35">
                  <c:v>0.0019083969465648854</c:v>
                </c:pt>
                <c:pt idx="36">
                  <c:v>0.0012048192771084338</c:v>
                </c:pt>
                <c:pt idx="37">
                  <c:v>0.0009561752988047809</c:v>
                </c:pt>
                <c:pt idx="38">
                  <c:v>0.0008311170212765958</c:v>
                </c:pt>
                <c:pt idx="39">
                  <c:v>0.0010741138560687433</c:v>
                </c:pt>
                <c:pt idx="40">
                  <c:v>0.0005878030859662013</c:v>
                </c:pt>
                <c:pt idx="41">
                  <c:v>0.0006283380458686773</c:v>
                </c:pt>
                <c:pt idx="42">
                  <c:v>0.00040090872644661234</c:v>
                </c:pt>
                <c:pt idx="43">
                  <c:v>0.0008403361344537816</c:v>
                </c:pt>
                <c:pt idx="44">
                  <c:v>0.0007217321571772253</c:v>
                </c:pt>
                <c:pt idx="45">
                  <c:v>0.0005158437730287399</c:v>
                </c:pt>
                <c:pt idx="46">
                  <c:v>0.0010876658690450293</c:v>
                </c:pt>
                <c:pt idx="47">
                  <c:v>0.0013082346100734064</c:v>
                </c:pt>
                <c:pt idx="48">
                  <c:v>0.0006439841150584952</c:v>
                </c:pt>
                <c:pt idx="49">
                  <c:v>0.0006483916285436403</c:v>
                </c:pt>
                <c:pt idx="50">
                  <c:v>0.0009774488584793689</c:v>
                </c:pt>
                <c:pt idx="51">
                  <c:v>0.0013073034687118702</c:v>
                </c:pt>
                <c:pt idx="52">
                  <c:v>0.00044672771945499217</c:v>
                </c:pt>
                <c:pt idx="53">
                  <c:v>0.0005792624058698591</c:v>
                </c:pt>
                <c:pt idx="54">
                  <c:v>0.0013641133263378805</c:v>
                </c:pt>
                <c:pt idx="55">
                  <c:v>0.0008862301982940069</c:v>
                </c:pt>
                <c:pt idx="56">
                  <c:v>0.000910643141718839</c:v>
                </c:pt>
                <c:pt idx="57">
                  <c:v>0.0006073489219556636</c:v>
                </c:pt>
                <c:pt idx="58">
                  <c:v>0.0006362479549172878</c:v>
                </c:pt>
                <c:pt idx="59">
                  <c:v>0.0007566938300349244</c:v>
                </c:pt>
                <c:pt idx="60">
                  <c:v>0.0013077593722755014</c:v>
                </c:pt>
                <c:pt idx="61">
                  <c:v>0.0014262791941522554</c:v>
                </c:pt>
                <c:pt idx="62">
                  <c:v>0.0015599272033971748</c:v>
                </c:pt>
                <c:pt idx="63">
                  <c:v>0.0013111213944161653</c:v>
                </c:pt>
                <c:pt idx="64">
                  <c:v>0.0017508024511234317</c:v>
                </c:pt>
                <c:pt idx="65">
                  <c:v>0.0012554927809165098</c:v>
                </c:pt>
                <c:pt idx="66">
                  <c:v>0.001433268695725487</c:v>
                </c:pt>
                <c:pt idx="67">
                  <c:v>0.0010668563300142249</c:v>
                </c:pt>
                <c:pt idx="68">
                  <c:v>0.001755926251097454</c:v>
                </c:pt>
                <c:pt idx="69">
                  <c:v>0.0017876787678767878</c:v>
                </c:pt>
                <c:pt idx="70">
                  <c:v>0.001490111081007857</c:v>
                </c:pt>
                <c:pt idx="71">
                  <c:v>0.0016164584864070536</c:v>
                </c:pt>
                <c:pt idx="72">
                  <c:v>0.0021756867011150393</c:v>
                </c:pt>
                <c:pt idx="73">
                  <c:v>0.0037058997924696115</c:v>
                </c:pt>
                <c:pt idx="74">
                  <c:v>0.003992015968063872</c:v>
                </c:pt>
                <c:pt idx="75">
                  <c:v>0.004108463434675432</c:v>
                </c:pt>
                <c:pt idx="76">
                  <c:v>0.005612244897959183</c:v>
                </c:pt>
                <c:pt idx="77">
                  <c:v>0.005408328826392645</c:v>
                </c:pt>
                <c:pt idx="78">
                  <c:v>0.0078125</c:v>
                </c:pt>
                <c:pt idx="79">
                  <c:v>0.0056625141562853904</c:v>
                </c:pt>
                <c:pt idx="80">
                  <c:v>0.005747126436781609</c:v>
                </c:pt>
                <c:pt idx="81">
                  <c:v>0.006224381357218764</c:v>
                </c:pt>
                <c:pt idx="82">
                  <c:v>0.0063522617901828685</c:v>
                </c:pt>
                <c:pt idx="83">
                  <c:v>0.005026223776223776</c:v>
                </c:pt>
                <c:pt idx="84">
                  <c:v>0.005585292064230859</c:v>
                </c:pt>
                <c:pt idx="85">
                  <c:v>0.004861551469034031</c:v>
                </c:pt>
                <c:pt idx="86">
                  <c:v>0.004291845493562232</c:v>
                </c:pt>
                <c:pt idx="87">
                  <c:v>0.003737818715792284</c:v>
                </c:pt>
                <c:pt idx="88">
                  <c:v>0.005559416261292564</c:v>
                </c:pt>
                <c:pt idx="89">
                  <c:v>0.0068</c:v>
                </c:pt>
                <c:pt idx="90">
                  <c:v>0.005901505901505902</c:v>
                </c:pt>
                <c:pt idx="91">
                  <c:v>0.006512839598064756</c:v>
                </c:pt>
                <c:pt idx="92">
                  <c:v>0.0053590568060021436</c:v>
                </c:pt>
                <c:pt idx="93">
                  <c:v>0.0049504950495049506</c:v>
                </c:pt>
                <c:pt idx="94">
                  <c:v>0.005507856795723311</c:v>
                </c:pt>
                <c:pt idx="95">
                  <c:v>0.0054705816679691864</c:v>
                </c:pt>
                <c:pt idx="96">
                  <c:v>0.007192396609298741</c:v>
                </c:pt>
                <c:pt idx="97">
                  <c:v>0.008507517418408507</c:v>
                </c:pt>
                <c:pt idx="98">
                  <c:v>0.008149383983572895</c:v>
                </c:pt>
                <c:pt idx="99">
                  <c:v>0.007668884628397429</c:v>
                </c:pt>
                <c:pt idx="100">
                  <c:v>0.005646857231871641</c:v>
                </c:pt>
                <c:pt idx="101">
                  <c:v>0.00819205014959396</c:v>
                </c:pt>
                <c:pt idx="102">
                  <c:v>0.006739381041057019</c:v>
                </c:pt>
                <c:pt idx="103">
                  <c:v>0.006306378223038238</c:v>
                </c:pt>
                <c:pt idx="104">
                  <c:v>0.005044256210145617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2.8783265488169305</c:v>
                </c:pt>
                <c:pt idx="1">
                  <c:v>3.1944657511852212</c:v>
                </c:pt>
                <c:pt idx="2">
                  <c:v>3.7161925572604577</c:v>
                </c:pt>
                <c:pt idx="3">
                  <c:v>2.825069731454737</c:v>
                </c:pt>
                <c:pt idx="4">
                  <c:v>3.668152985981687</c:v>
                </c:pt>
                <c:pt idx="5">
                  <c:v>4.203552264808362</c:v>
                </c:pt>
                <c:pt idx="6">
                  <c:v>4.044614249037227</c:v>
                </c:pt>
                <c:pt idx="7">
                  <c:v>3.5123294937487186</c:v>
                </c:pt>
                <c:pt idx="8">
                  <c:v>3.2266025229560307</c:v>
                </c:pt>
                <c:pt idx="9">
                  <c:v>3.725002129222781</c:v>
                </c:pt>
                <c:pt idx="10">
                  <c:v>3.0492442653890826</c:v>
                </c:pt>
                <c:pt idx="11">
                  <c:v>2.847520487804878</c:v>
                </c:pt>
                <c:pt idx="12">
                  <c:v>2.9783286101432442</c:v>
                </c:pt>
                <c:pt idx="13">
                  <c:v>2.9018048884165784</c:v>
                </c:pt>
                <c:pt idx="14">
                  <c:v>2.718624468922109</c:v>
                </c:pt>
                <c:pt idx="15">
                  <c:v>3.010410377349524</c:v>
                </c:pt>
                <c:pt idx="16">
                  <c:v>2.8676628307123035</c:v>
                </c:pt>
                <c:pt idx="17">
                  <c:v>1.8685001284521516</c:v>
                </c:pt>
                <c:pt idx="18">
                  <c:v>3.8012582578397214</c:v>
                </c:pt>
                <c:pt idx="19">
                  <c:v>3.465364516129032</c:v>
                </c:pt>
                <c:pt idx="20">
                  <c:v>2.9667922648083622</c:v>
                </c:pt>
                <c:pt idx="21">
                  <c:v>2.660484866039102</c:v>
                </c:pt>
                <c:pt idx="22">
                  <c:v>3.0037973674022456</c:v>
                </c:pt>
                <c:pt idx="23">
                  <c:v>1.9921775102945836</c:v>
                </c:pt>
                <c:pt idx="24">
                  <c:v>3.003158179126573</c:v>
                </c:pt>
                <c:pt idx="25">
                  <c:v>3.309150192554557</c:v>
                </c:pt>
                <c:pt idx="26">
                  <c:v>3.317650217202433</c:v>
                </c:pt>
                <c:pt idx="27">
                  <c:v>2.915857636706474</c:v>
                </c:pt>
                <c:pt idx="28">
                  <c:v>2.6893995768688295</c:v>
                </c:pt>
                <c:pt idx="29">
                  <c:v>3.121387543554007</c:v>
                </c:pt>
                <c:pt idx="30">
                  <c:v>2.821762530894711</c:v>
                </c:pt>
                <c:pt idx="31">
                  <c:v>2.661724723696565</c:v>
                </c:pt>
                <c:pt idx="32">
                  <c:v>3.6552962492314</c:v>
                </c:pt>
                <c:pt idx="33">
                  <c:v>3.5107109335576117</c:v>
                </c:pt>
                <c:pt idx="34">
                  <c:v>3.48365273467115</c:v>
                </c:pt>
                <c:pt idx="35">
                  <c:v>3.1634410745233965</c:v>
                </c:pt>
                <c:pt idx="36">
                  <c:v>3.636269599303136</c:v>
                </c:pt>
                <c:pt idx="37">
                  <c:v>3.279132800126703</c:v>
                </c:pt>
                <c:pt idx="38">
                  <c:v>2.7903846689895473</c:v>
                </c:pt>
                <c:pt idx="39">
                  <c:v>2.837598376230783</c:v>
                </c:pt>
                <c:pt idx="40">
                  <c:v>3.0794441268298827</c:v>
                </c:pt>
                <c:pt idx="41">
                  <c:v>2.615459012971094</c:v>
                </c:pt>
                <c:pt idx="42">
                  <c:v>2.63568005750053</c:v>
                </c:pt>
                <c:pt idx="43">
                  <c:v>3.0805562880537476</c:v>
                </c:pt>
                <c:pt idx="44">
                  <c:v>3.56196790336497</c:v>
                </c:pt>
                <c:pt idx="45">
                  <c:v>3.728900097747301</c:v>
                </c:pt>
                <c:pt idx="46">
                  <c:v>3.2363336269445884</c:v>
                </c:pt>
                <c:pt idx="47">
                  <c:v>3.2220334298627082</c:v>
                </c:pt>
                <c:pt idx="48">
                  <c:v>3.926636140394394</c:v>
                </c:pt>
                <c:pt idx="49">
                  <c:v>3.2933537767948287</c:v>
                </c:pt>
                <c:pt idx="50">
                  <c:v>3.3745215306980656</c:v>
                </c:pt>
                <c:pt idx="51">
                  <c:v>3.5897245918662346</c:v>
                </c:pt>
              </c:numCache>
            </c:numRef>
          </c:xVal>
          <c:yVal>
            <c:numRef>
              <c:f>Sheet1!$B$109:$B$160</c:f>
              <c:numCache>
                <c:formatCode>General</c:formatCode>
                <c:ptCount val="52"/>
                <c:pt idx="0">
                  <c:v>0.0049961236971315355</c:v>
                </c:pt>
                <c:pt idx="1">
                  <c:v>0.005845816587504567</c:v>
                </c:pt>
                <c:pt idx="2">
                  <c:v>0.005669213704707912</c:v>
                </c:pt>
                <c:pt idx="3">
                  <c:v>0.006110147799521097</c:v>
                </c:pt>
                <c:pt idx="4">
                  <c:v>0.006154403113403928</c:v>
                </c:pt>
                <c:pt idx="5">
                  <c:v>0.005041011619958988</c:v>
                </c:pt>
                <c:pt idx="6">
                  <c:v>0.006016439284806372</c:v>
                </c:pt>
                <c:pt idx="7">
                  <c:v>0.00700827205882353</c:v>
                </c:pt>
                <c:pt idx="8">
                  <c:v>0.008691001470784864</c:v>
                </c:pt>
                <c:pt idx="9">
                  <c:v>0.008687373557062953</c:v>
                </c:pt>
                <c:pt idx="10">
                  <c:v>0.008260670032124828</c:v>
                </c:pt>
                <c:pt idx="11">
                  <c:v>0.008187231227257692</c:v>
                </c:pt>
                <c:pt idx="12">
                  <c:v>0.008404163881195683</c:v>
                </c:pt>
                <c:pt idx="13">
                  <c:v>0.012609704428528195</c:v>
                </c:pt>
                <c:pt idx="14">
                  <c:v>0.012543012543012544</c:v>
                </c:pt>
                <c:pt idx="15">
                  <c:v>0.012177819815559234</c:v>
                </c:pt>
                <c:pt idx="16">
                  <c:v>0.011682242990654205</c:v>
                </c:pt>
                <c:pt idx="17">
                  <c:v>0.01518624641833811</c:v>
                </c:pt>
                <c:pt idx="18">
                  <c:v>0.007985360173016137</c:v>
                </c:pt>
                <c:pt idx="19">
                  <c:v>0.007203257124960852</c:v>
                </c:pt>
                <c:pt idx="20">
                  <c:v>0.008735960064182563</c:v>
                </c:pt>
                <c:pt idx="21">
                  <c:v>0.011700975081256771</c:v>
                </c:pt>
                <c:pt idx="22">
                  <c:v>0.010414358519831598</c:v>
                </c:pt>
                <c:pt idx="23">
                  <c:v>0.010123239436619719</c:v>
                </c:pt>
                <c:pt idx="24">
                  <c:v>0.009738151915169876</c:v>
                </c:pt>
                <c:pt idx="25">
                  <c:v>0.010512765500965459</c:v>
                </c:pt>
                <c:pt idx="26">
                  <c:v>0.010547667342799188</c:v>
                </c:pt>
                <c:pt idx="27">
                  <c:v>0.009973285841495993</c:v>
                </c:pt>
                <c:pt idx="28">
                  <c:v>0.008588750421017177</c:v>
                </c:pt>
                <c:pt idx="29">
                  <c:v>0.01018981018981019</c:v>
                </c:pt>
                <c:pt idx="30">
                  <c:v>0.009368148295794299</c:v>
                </c:pt>
                <c:pt idx="31">
                  <c:v>0.010326214503637644</c:v>
                </c:pt>
                <c:pt idx="32">
                  <c:v>0.008757297748123435</c:v>
                </c:pt>
                <c:pt idx="33">
                  <c:v>0.008337420304070623</c:v>
                </c:pt>
                <c:pt idx="34">
                  <c:v>0.007484096295372334</c:v>
                </c:pt>
                <c:pt idx="35">
                  <c:v>0.00890251021599533</c:v>
                </c:pt>
                <c:pt idx="36">
                  <c:v>0.011209715086408221</c:v>
                </c:pt>
                <c:pt idx="37">
                  <c:v>0.011385199240986717</c:v>
                </c:pt>
                <c:pt idx="38">
                  <c:v>0.013365735115431349</c:v>
                </c:pt>
                <c:pt idx="39">
                  <c:v>0.01218875152359394</c:v>
                </c:pt>
                <c:pt idx="40">
                  <c:v>0.011968560200071454</c:v>
                </c:pt>
                <c:pt idx="41">
                  <c:v>0.009420172161767094</c:v>
                </c:pt>
                <c:pt idx="42">
                  <c:v>0.01107419712070875</c:v>
                </c:pt>
                <c:pt idx="43">
                  <c:v>0.008003311715192493</c:v>
                </c:pt>
                <c:pt idx="44">
                  <c:v>0.006070324132401787</c:v>
                </c:pt>
                <c:pt idx="45">
                  <c:v>0.004706264199935086</c:v>
                </c:pt>
                <c:pt idx="46">
                  <c:v>0.005146986043749381</c:v>
                </c:pt>
                <c:pt idx="47">
                  <c:v>0.005354387875487794</c:v>
                </c:pt>
                <c:pt idx="48">
                  <c:v>0.005730019348117279</c:v>
                </c:pt>
                <c:pt idx="49">
                  <c:v>0.005314799672935405</c:v>
                </c:pt>
                <c:pt idx="50">
                  <c:v>0.004363118293931704</c:v>
                </c:pt>
                <c:pt idx="51">
                  <c:v>0.00506919858384293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717312321481596</c:v>
                </c:pt>
              </c:numCache>
            </c:numRef>
          </c:xVal>
          <c:yVal>
            <c:numRef>
              <c:f>Sheet1!$B$163:$B$164</c:f>
              <c:numCache>
                <c:formatCode>General</c:formatCode>
                <c:ptCount val="2"/>
                <c:pt idx="0">
                  <c:v>0.010258770564396134</c:v>
                </c:pt>
                <c:pt idx="1">
                  <c:v>0.01025877056439613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717312321481596</c:v>
                </c:pt>
                <c:pt idx="1">
                  <c:v>2.717312321481596</c:v>
                </c:pt>
              </c:numCache>
            </c:numRef>
          </c:xVal>
          <c:yVal>
            <c:numRef>
              <c:f>Sheet1!$B$167:$B$168</c:f>
              <c:numCache>
                <c:formatCode>General</c:formatCode>
                <c:ptCount val="2"/>
                <c:pt idx="0">
                  <c:v>0.0102587705643961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717312321481596</c:v>
                </c:pt>
              </c:numCache>
            </c:numRef>
          </c:xVal>
          <c:yVal>
            <c:numRef>
              <c:f>Sheet1!$B$171:$B$172</c:f>
              <c:numCache>
                <c:formatCode>General</c:formatCode>
                <c:ptCount val="2"/>
                <c:pt idx="0">
                  <c:v>0.010258770564396134</c:v>
                </c:pt>
                <c:pt idx="1">
                  <c:v>0.01025877056439613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717312321481596</c:v>
                </c:pt>
                <c:pt idx="1">
                  <c:v>2.717312321481596</c:v>
                </c:pt>
              </c:numCache>
            </c:numRef>
          </c:xVal>
          <c:yVal>
            <c:numRef>
              <c:f>Sheet1!$B$175:$B$176</c:f>
              <c:numCache>
                <c:formatCode>General</c:formatCode>
                <c:ptCount val="2"/>
                <c:pt idx="0">
                  <c:v>0.0102587705643961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3.5825420804471926</c:v>
                </c:pt>
              </c:numCache>
            </c:numRef>
          </c:xVal>
          <c:yVal>
            <c:numRef>
              <c:f>Sheet1!$B$179:$B$180</c:f>
              <c:numCache>
                <c:formatCode>General</c:formatCode>
                <c:ptCount val="2"/>
                <c:pt idx="0">
                  <c:v>0.007262314682441161</c:v>
                </c:pt>
                <c:pt idx="1">
                  <c:v>0.00726231468244116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3.5825420804471926</c:v>
                </c:pt>
                <c:pt idx="1">
                  <c:v>3.5825420804471926</c:v>
                </c:pt>
              </c:numCache>
            </c:numRef>
          </c:xVal>
          <c:yVal>
            <c:numRef>
              <c:f>Sheet1!$B$183:$B$184</c:f>
              <c:numCache>
                <c:formatCode>General</c:formatCode>
                <c:ptCount val="2"/>
                <c:pt idx="0">
                  <c:v>0.00726231468244116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2.8783265488169305</c:v>
                </c:pt>
                <c:pt idx="1">
                  <c:v>3.1944657511852212</c:v>
                </c:pt>
                <c:pt idx="2">
                  <c:v>3.7161925572604577</c:v>
                </c:pt>
                <c:pt idx="3">
                  <c:v>2.825069731454737</c:v>
                </c:pt>
                <c:pt idx="4">
                  <c:v>3.668152985981687</c:v>
                </c:pt>
                <c:pt idx="5">
                  <c:v>4.203552264808362</c:v>
                </c:pt>
                <c:pt idx="6">
                  <c:v>4.044614249037227</c:v>
                </c:pt>
                <c:pt idx="7">
                  <c:v>3.5123294937487186</c:v>
                </c:pt>
                <c:pt idx="8">
                  <c:v>3.2266025229560307</c:v>
                </c:pt>
                <c:pt idx="9">
                  <c:v>3.725002129222781</c:v>
                </c:pt>
                <c:pt idx="10">
                  <c:v>3.0492442653890826</c:v>
                </c:pt>
                <c:pt idx="11">
                  <c:v>2.847520487804878</c:v>
                </c:pt>
                <c:pt idx="12">
                  <c:v>2.9783286101432442</c:v>
                </c:pt>
                <c:pt idx="13">
                  <c:v>2.9018048884165784</c:v>
                </c:pt>
                <c:pt idx="14">
                  <c:v>2.718624468922109</c:v>
                </c:pt>
                <c:pt idx="15">
                  <c:v>3.010410377349524</c:v>
                </c:pt>
                <c:pt idx="16">
                  <c:v>2.8676628307123035</c:v>
                </c:pt>
                <c:pt idx="17">
                  <c:v>1.8685001284521516</c:v>
                </c:pt>
                <c:pt idx="18">
                  <c:v>3.8012582578397214</c:v>
                </c:pt>
                <c:pt idx="19">
                  <c:v>3.465364516129032</c:v>
                </c:pt>
                <c:pt idx="20">
                  <c:v>2.9667922648083622</c:v>
                </c:pt>
                <c:pt idx="21">
                  <c:v>2.660484866039102</c:v>
                </c:pt>
                <c:pt idx="22">
                  <c:v>3.0037973674022456</c:v>
                </c:pt>
                <c:pt idx="23">
                  <c:v>1.9921775102945836</c:v>
                </c:pt>
                <c:pt idx="24">
                  <c:v>3.003158179126573</c:v>
                </c:pt>
                <c:pt idx="25">
                  <c:v>3.309150192554557</c:v>
                </c:pt>
                <c:pt idx="26">
                  <c:v>3.317650217202433</c:v>
                </c:pt>
                <c:pt idx="27">
                  <c:v>2.915857636706474</c:v>
                </c:pt>
                <c:pt idx="28">
                  <c:v>2.6893995768688295</c:v>
                </c:pt>
                <c:pt idx="29">
                  <c:v>3.121387543554007</c:v>
                </c:pt>
                <c:pt idx="30">
                  <c:v>2.821762530894711</c:v>
                </c:pt>
                <c:pt idx="31">
                  <c:v>2.661724723696565</c:v>
                </c:pt>
                <c:pt idx="32">
                  <c:v>3.6552962492314</c:v>
                </c:pt>
                <c:pt idx="33">
                  <c:v>3.5107109335576117</c:v>
                </c:pt>
                <c:pt idx="34">
                  <c:v>3.48365273467115</c:v>
                </c:pt>
                <c:pt idx="35">
                  <c:v>3.1634410745233965</c:v>
                </c:pt>
                <c:pt idx="36">
                  <c:v>3.636269599303136</c:v>
                </c:pt>
                <c:pt idx="37">
                  <c:v>3.279132800126703</c:v>
                </c:pt>
                <c:pt idx="38">
                  <c:v>2.7903846689895473</c:v>
                </c:pt>
                <c:pt idx="39">
                  <c:v>2.837598376230783</c:v>
                </c:pt>
                <c:pt idx="40">
                  <c:v>3.0794441268298827</c:v>
                </c:pt>
                <c:pt idx="41">
                  <c:v>2.615459012971094</c:v>
                </c:pt>
                <c:pt idx="42">
                  <c:v>2.63568005750053</c:v>
                </c:pt>
                <c:pt idx="43">
                  <c:v>3.0805562880537476</c:v>
                </c:pt>
                <c:pt idx="44">
                  <c:v>3.56196790336497</c:v>
                </c:pt>
                <c:pt idx="45">
                  <c:v>3.728900097747301</c:v>
                </c:pt>
                <c:pt idx="46">
                  <c:v>3.2363336269445884</c:v>
                </c:pt>
                <c:pt idx="47">
                  <c:v>3.2220334298627082</c:v>
                </c:pt>
                <c:pt idx="48">
                  <c:v>3.926636140394394</c:v>
                </c:pt>
                <c:pt idx="49">
                  <c:v>3.2933537767948287</c:v>
                </c:pt>
                <c:pt idx="50">
                  <c:v>3.3745215306980656</c:v>
                </c:pt>
                <c:pt idx="51">
                  <c:v>3.5897245918662346</c:v>
                </c:pt>
                <c:pt idx="52">
                  <c:v>2.717312321481596</c:v>
                </c:pt>
                <c:pt idx="53">
                  <c:v>2.717312321481596</c:v>
                </c:pt>
                <c:pt idx="54">
                  <c:v>3.5825420804471926</c:v>
                </c:pt>
              </c:numCache>
            </c:numRef>
          </c:xVal>
          <c:yVal>
            <c:numRef>
              <c:f>Sheet1!$B$187:$B$241</c:f>
              <c:numCache>
                <c:formatCode>General</c:formatCode>
                <c:ptCount val="55"/>
                <c:pt idx="0">
                  <c:v>0.00970114754741368</c:v>
                </c:pt>
                <c:pt idx="1">
                  <c:v>0.008606297118799741</c:v>
                </c:pt>
                <c:pt idx="2">
                  <c:v>0.006799457558973777</c:v>
                </c:pt>
                <c:pt idx="3">
                  <c:v>0.009885586076007438</c:v>
                </c:pt>
                <c:pt idx="4">
                  <c:v>0.006965827768080964</c:v>
                </c:pt>
                <c:pt idx="5">
                  <c:v>0.005111637824183725</c:v>
                </c:pt>
                <c:pt idx="6">
                  <c:v>0.00566207052404028</c:v>
                </c:pt>
                <c:pt idx="7">
                  <c:v>0.007505474278166857</c:v>
                </c:pt>
                <c:pt idx="8">
                  <c:v>0.008495001341231006</c:v>
                </c:pt>
                <c:pt idx="9">
                  <c:v>0.006768948328968134</c:v>
                </c:pt>
                <c:pt idx="10">
                  <c:v>0.009109226856006552</c:v>
                </c:pt>
                <c:pt idx="11">
                  <c:v>0.00980783481950865</c:v>
                </c:pt>
                <c:pt idx="12">
                  <c:v>0.009354821312371676</c:v>
                </c:pt>
                <c:pt idx="13">
                  <c:v>0.009619837573891723</c:v>
                </c:pt>
                <c:pt idx="14">
                  <c:v>0.010254226347238351</c:v>
                </c:pt>
                <c:pt idx="15">
                  <c:v>0.00924371602611373</c:v>
                </c:pt>
                <c:pt idx="16">
                  <c:v>0.009738078039582973</c:v>
                </c:pt>
                <c:pt idx="17">
                  <c:v>0.013198369280370617</c:v>
                </c:pt>
                <c:pt idx="18">
                  <c:v>0.006504858793487382</c:v>
                </c:pt>
                <c:pt idx="19">
                  <c:v>0.007668122964225274</c:v>
                </c:pt>
                <c:pt idx="20">
                  <c:v>0.009394773879278643</c:v>
                </c:pt>
                <c:pt idx="21">
                  <c:v>0.010455574894520852</c:v>
                </c:pt>
                <c:pt idx="22">
                  <c:v>0.009266618142399744</c:v>
                </c:pt>
                <c:pt idx="23">
                  <c:v>0.012770050889276904</c:v>
                </c:pt>
                <c:pt idx="24">
                  <c:v>0.00926883177345955</c:v>
                </c:pt>
                <c:pt idx="25">
                  <c:v>0.008209122997881034</c:v>
                </c:pt>
                <c:pt idx="26">
                  <c:v>0.008179685789337329</c:v>
                </c:pt>
                <c:pt idx="27">
                  <c:v>0.009571170223012309</c:v>
                </c:pt>
                <c:pt idx="28">
                  <c:v>0.010355437729284711</c:v>
                </c:pt>
                <c:pt idx="29">
                  <c:v>0.00885938090704238</c:v>
                </c:pt>
                <c:pt idx="30">
                  <c:v>0.009897039543098934</c:v>
                </c:pt>
                <c:pt idx="31">
                  <c:v>0.010451281030686427</c:v>
                </c:pt>
                <c:pt idx="32">
                  <c:v>0.0070103531026050585</c:v>
                </c:pt>
                <c:pt idx="33">
                  <c:v>0.007511079661193371</c:v>
                </c:pt>
                <c:pt idx="34">
                  <c:v>0.007604787371045351</c:v>
                </c:pt>
                <c:pt idx="35">
                  <c:v>0.00871374149863732</c:v>
                </c:pt>
                <c:pt idx="36">
                  <c:v>0.007076246024688095</c:v>
                </c:pt>
                <c:pt idx="37">
                  <c:v>0.0083130789600626</c:v>
                </c:pt>
                <c:pt idx="38">
                  <c:v>0.010005707070879421</c:v>
                </c:pt>
                <c:pt idx="39">
                  <c:v>0.009842196986643488</c:v>
                </c:pt>
                <c:pt idx="40">
                  <c:v>0.009004638968788368</c:v>
                </c:pt>
                <c:pt idx="41">
                  <c:v>0.010611508021956241</c:v>
                </c:pt>
                <c:pt idx="42">
                  <c:v>0.010541478683284464</c:v>
                </c:pt>
                <c:pt idx="43">
                  <c:v>0.009000787342088755</c:v>
                </c:pt>
                <c:pt idx="44">
                  <c:v>0.007333566986578404</c:v>
                </c:pt>
                <c:pt idx="45">
                  <c:v>0.006755448919600919</c:v>
                </c:pt>
                <c:pt idx="46">
                  <c:v>0.008461300669840218</c:v>
                </c:pt>
                <c:pt idx="47">
                  <c:v>0.008510824983139778</c:v>
                </c:pt>
                <c:pt idx="48">
                  <c:v>0.00607065124369488</c:v>
                </c:pt>
                <c:pt idx="49">
                  <c:v>0.00826382900218402</c:v>
                </c:pt>
                <c:pt idx="50">
                  <c:v>0.007982729570399336</c:v>
                </c:pt>
                <c:pt idx="51">
                  <c:v>0.007237440273804862</c:v>
                </c:pt>
                <c:pt idx="52">
                  <c:v>0.010258770564396134</c:v>
                </c:pt>
                <c:pt idx="53">
                  <c:v>0.010258770564396134</c:v>
                </c:pt>
                <c:pt idx="54">
                  <c:v>0.00726231468244116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822349570200573"/>
          <c:min val="0.0001507159005275056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134.3125</c:v>
                </c:pt>
                <c:pt idx="1">
                  <c:v>3740.2</c:v>
                </c:pt>
                <c:pt idx="2">
                  <c:v>3175.8333</c:v>
                </c:pt>
                <c:pt idx="3">
                  <c:v>3027.4</c:v>
                </c:pt>
                <c:pt idx="4">
                  <c:v>3982.3333</c:v>
                </c:pt>
                <c:pt idx="5">
                  <c:v>3848.6667</c:v>
                </c:pt>
                <c:pt idx="6">
                  <c:v>3216.6364</c:v>
                </c:pt>
                <c:pt idx="7">
                  <c:v>3208.875</c:v>
                </c:pt>
                <c:pt idx="8">
                  <c:v>3023.0</c:v>
                </c:pt>
                <c:pt idx="9">
                  <c:v>3233.3333</c:v>
                </c:pt>
                <c:pt idx="10">
                  <c:v>3528.3333</c:v>
                </c:pt>
                <c:pt idx="11">
                  <c:v>3129.7</c:v>
                </c:pt>
                <c:pt idx="12">
                  <c:v>3208.4545</c:v>
                </c:pt>
                <c:pt idx="13">
                  <c:v>3153.0</c:v>
                </c:pt>
                <c:pt idx="14">
                  <c:v>3951.0</c:v>
                </c:pt>
                <c:pt idx="15">
                  <c:v>3128.3333</c:v>
                </c:pt>
                <c:pt idx="16">
                  <c:v>4342.0</c:v>
                </c:pt>
                <c:pt idx="17">
                  <c:v>3291.5</c:v>
                </c:pt>
                <c:pt idx="18">
                  <c:v>4434.0</c:v>
                </c:pt>
                <c:pt idx="19">
                  <c:v>3808.0</c:v>
                </c:pt>
                <c:pt idx="20">
                  <c:v>3044.2</c:v>
                </c:pt>
                <c:pt idx="21">
                  <c:v>6720.0</c:v>
                </c:pt>
                <c:pt idx="22">
                  <c:v>3122.1429</c:v>
                </c:pt>
                <c:pt idx="23">
                  <c:v>3924.6</c:v>
                </c:pt>
                <c:pt idx="24">
                  <c:v>2808.3333</c:v>
                </c:pt>
                <c:pt idx="25">
                  <c:v>2765.0</c:v>
                </c:pt>
                <c:pt idx="26">
                  <c:v>3202.0</c:v>
                </c:pt>
                <c:pt idx="27">
                  <c:v>3106.4</c:v>
                </c:pt>
                <c:pt idx="28">
                  <c:v>3346.6</c:v>
                </c:pt>
                <c:pt idx="29">
                  <c:v>3119.6667</c:v>
                </c:pt>
                <c:pt idx="30">
                  <c:v>3099.8</c:v>
                </c:pt>
                <c:pt idx="31">
                  <c:v>3342.0</c:v>
                </c:pt>
                <c:pt idx="32">
                  <c:v>4329.0</c:v>
                </c:pt>
                <c:pt idx="33">
                  <c:v>2663.4615</c:v>
                </c:pt>
                <c:pt idx="34">
                  <c:v>3005.3571</c:v>
                </c:pt>
                <c:pt idx="35">
                  <c:v>2884.4444</c:v>
                </c:pt>
                <c:pt idx="36">
                  <c:v>2882.1111</c:v>
                </c:pt>
                <c:pt idx="37">
                  <c:v>3050.0</c:v>
                </c:pt>
                <c:pt idx="38">
                  <c:v>3066.2</c:v>
                </c:pt>
                <c:pt idx="39">
                  <c:v>3735.1667</c:v>
                </c:pt>
                <c:pt idx="40">
                  <c:v>4272.75</c:v>
                </c:pt>
                <c:pt idx="41">
                  <c:v>4003.25</c:v>
                </c:pt>
                <c:pt idx="42">
                  <c:v>3549.6667</c:v>
                </c:pt>
                <c:pt idx="43">
                  <c:v>3104.1429</c:v>
                </c:pt>
                <c:pt idx="44">
                  <c:v>3004.2222</c:v>
                </c:pt>
                <c:pt idx="45">
                  <c:v>3138.1429</c:v>
                </c:pt>
                <c:pt idx="46">
                  <c:v>2995.8667</c:v>
                </c:pt>
                <c:pt idx="47">
                  <c:v>2660.1667</c:v>
                </c:pt>
                <c:pt idx="48">
                  <c:v>3669.0</c:v>
                </c:pt>
                <c:pt idx="49">
                  <c:v>3025.0556</c:v>
                </c:pt>
                <c:pt idx="50">
                  <c:v>3099.3571</c:v>
                </c:pt>
                <c:pt idx="51">
                  <c:v>2739.4667</c:v>
                </c:pt>
                <c:pt idx="52">
                  <c:v>3202.5</c:v>
                </c:pt>
                <c:pt idx="53">
                  <c:v>3334.5</c:v>
                </c:pt>
                <c:pt idx="54">
                  <c:v>2909.6923</c:v>
                </c:pt>
                <c:pt idx="55">
                  <c:v>3116.0</c:v>
                </c:pt>
                <c:pt idx="56">
                  <c:v>2599.75</c:v>
                </c:pt>
                <c:pt idx="57">
                  <c:v>2696.8333</c:v>
                </c:pt>
                <c:pt idx="58">
                  <c:v>2451.5714</c:v>
                </c:pt>
                <c:pt idx="59">
                  <c:v>2641.6154</c:v>
                </c:pt>
                <c:pt idx="60">
                  <c:v>2559.1905</c:v>
                </c:pt>
                <c:pt idx="61">
                  <c:v>2616.8125</c:v>
                </c:pt>
                <c:pt idx="62">
                  <c:v>2355.3889</c:v>
                </c:pt>
                <c:pt idx="63">
                  <c:v>2616.8235</c:v>
                </c:pt>
                <c:pt idx="64">
                  <c:v>2307.1667</c:v>
                </c:pt>
                <c:pt idx="65">
                  <c:v>2335.0625</c:v>
                </c:pt>
                <c:pt idx="66">
                  <c:v>2205.0588</c:v>
                </c:pt>
                <c:pt idx="67">
                  <c:v>2366.9167</c:v>
                </c:pt>
                <c:pt idx="68">
                  <c:v>1907.25</c:v>
                </c:pt>
                <c:pt idx="69">
                  <c:v>1806.8462</c:v>
                </c:pt>
                <c:pt idx="70">
                  <c:v>2093.8182</c:v>
                </c:pt>
                <c:pt idx="71">
                  <c:v>1689.1818</c:v>
                </c:pt>
                <c:pt idx="72">
                  <c:v>2030.4375</c:v>
                </c:pt>
                <c:pt idx="73">
                  <c:v>1540.12</c:v>
                </c:pt>
                <c:pt idx="74">
                  <c:v>1899.0714</c:v>
                </c:pt>
                <c:pt idx="75">
                  <c:v>2853.48</c:v>
                </c:pt>
                <c:pt idx="76">
                  <c:v>2875.1212</c:v>
                </c:pt>
                <c:pt idx="77">
                  <c:v>3425.6333</c:v>
                </c:pt>
                <c:pt idx="78">
                  <c:v>2855.7568</c:v>
                </c:pt>
                <c:pt idx="79">
                  <c:v>3978.3</c:v>
                </c:pt>
                <c:pt idx="80">
                  <c:v>3440.1333</c:v>
                </c:pt>
                <c:pt idx="81">
                  <c:v>3386.2927</c:v>
                </c:pt>
                <c:pt idx="82">
                  <c:v>3334.303</c:v>
                </c:pt>
                <c:pt idx="83">
                  <c:v>3918.6087</c:v>
                </c:pt>
                <c:pt idx="84">
                  <c:v>3499.875</c:v>
                </c:pt>
                <c:pt idx="85">
                  <c:v>3327.3478</c:v>
                </c:pt>
                <c:pt idx="86">
                  <c:v>4500.5714</c:v>
                </c:pt>
                <c:pt idx="87">
                  <c:v>4381.2143</c:v>
                </c:pt>
                <c:pt idx="88">
                  <c:v>3936.9063</c:v>
                </c:pt>
                <c:pt idx="89">
                  <c:v>3929.9118</c:v>
                </c:pt>
                <c:pt idx="90">
                  <c:v>4465.6207</c:v>
                </c:pt>
                <c:pt idx="91">
                  <c:v>3604.8857</c:v>
                </c:pt>
                <c:pt idx="92">
                  <c:v>4148.6286</c:v>
                </c:pt>
                <c:pt idx="93">
                  <c:v>4459.8824</c:v>
                </c:pt>
                <c:pt idx="94">
                  <c:v>4274.8824</c:v>
                </c:pt>
                <c:pt idx="95">
                  <c:v>4202.5714</c:v>
                </c:pt>
                <c:pt idx="96">
                  <c:v>3518.4405</c:v>
                </c:pt>
                <c:pt idx="97">
                  <c:v>3508.6293</c:v>
                </c:pt>
                <c:pt idx="98">
                  <c:v>3336.811</c:v>
                </c:pt>
                <c:pt idx="99">
                  <c:v>3491.1985</c:v>
                </c:pt>
                <c:pt idx="100">
                  <c:v>3901.069</c:v>
                </c:pt>
                <c:pt idx="101">
                  <c:v>3699.9652</c:v>
                </c:pt>
                <c:pt idx="102">
                  <c:v>3851.6974</c:v>
                </c:pt>
                <c:pt idx="103">
                  <c:v>3939.1392</c:v>
                </c:pt>
                <c:pt idx="104">
                  <c:v>4226.3208</c:v>
                </c:pt>
              </c:numCache>
            </c:numRef>
          </c:xVal>
          <c:yVal>
            <c:numRef>
              <c:f>Sheet1!$B$2:$B$106</c:f>
              <c:numCache>
                <c:formatCode>General</c:formatCode>
                <c:ptCount val="105"/>
                <c:pt idx="0">
                  <c:v>0.0012656225280809998</c:v>
                </c:pt>
                <c:pt idx="1">
                  <c:v>0.000440257110152329</c:v>
                </c:pt>
                <c:pt idx="2">
                  <c:v>0.0005525370660281794</c:v>
                </c:pt>
                <c:pt idx="3">
                  <c:v>0.0005060728744939271</c:v>
                </c:pt>
                <c:pt idx="4">
                  <c:v>0.00034056079010103305</c:v>
                </c:pt>
                <c:pt idx="5">
                  <c:v>0.0006506886454831363</c:v>
                </c:pt>
                <c:pt idx="6">
                  <c:v>0.0011653776883144402</c:v>
                </c:pt>
                <c:pt idx="7">
                  <c:v>0.0009905894006934125</c:v>
                </c:pt>
                <c:pt idx="8">
                  <c:v>0.0008851795649974709</c:v>
                </c:pt>
                <c:pt idx="9">
                  <c:v>0.000865884163940735</c:v>
                </c:pt>
                <c:pt idx="10">
                  <c:v>0.0005662514156285391</c:v>
                </c:pt>
                <c:pt idx="11">
                  <c:v>0.0009392317084624777</c:v>
                </c:pt>
                <c:pt idx="12">
                  <c:v>0.0009146848494927657</c:v>
                </c:pt>
                <c:pt idx="13">
                  <c:v>0.0008834702712253732</c:v>
                </c:pt>
                <c:pt idx="14">
                  <c:v>0.0002642007926023778</c:v>
                </c:pt>
                <c:pt idx="15">
                  <c:v>0.0006487187804086928</c:v>
                </c:pt>
                <c:pt idx="16">
                  <c:v>0.00024919013207077</c:v>
                </c:pt>
                <c:pt idx="17">
                  <c:v>0.0005400297016335898</c:v>
                </c:pt>
                <c:pt idx="18">
                  <c:v>0.0003161555485298767</c:v>
                </c:pt>
                <c:pt idx="19">
                  <c:v>0.0005461496450027307</c:v>
                </c:pt>
                <c:pt idx="20">
                  <c:v>0.0007560864962951762</c:v>
                </c:pt>
                <c:pt idx="21">
                  <c:v>0.00018839487565938207</c:v>
                </c:pt>
                <c:pt idx="22">
                  <c:v>0.0013313046785850132</c:v>
                </c:pt>
                <c:pt idx="23">
                  <c:v>0.0010094891984655764</c:v>
                </c:pt>
                <c:pt idx="24">
                  <c:v>0.0016762898118830322</c:v>
                </c:pt>
                <c:pt idx="25">
                  <c:v>0.002147766323024055</c:v>
                </c:pt>
                <c:pt idx="26">
                  <c:v>0.001722356183258698</c:v>
                </c:pt>
                <c:pt idx="27">
                  <c:v>0.0008131403480240689</c:v>
                </c:pt>
                <c:pt idx="28">
                  <c:v>0.0008548469823901521</c:v>
                </c:pt>
                <c:pt idx="29">
                  <c:v>0.0014276649746192893</c:v>
                </c:pt>
                <c:pt idx="30">
                  <c:v>0.000992063492063492</c:v>
                </c:pt>
                <c:pt idx="31">
                  <c:v>0.0011534025374855825</c:v>
                </c:pt>
                <c:pt idx="32">
                  <c:v>0.0007738440704198104</c:v>
                </c:pt>
                <c:pt idx="33">
                  <c:v>0.0019944768333844736</c:v>
                </c:pt>
                <c:pt idx="34">
                  <c:v>0.001936912008854455</c:v>
                </c:pt>
                <c:pt idx="35">
                  <c:v>0.0019083969465648854</c:v>
                </c:pt>
                <c:pt idx="36">
                  <c:v>0.0012048192771084338</c:v>
                </c:pt>
                <c:pt idx="37">
                  <c:v>0.0009561752988047809</c:v>
                </c:pt>
                <c:pt idx="38">
                  <c:v>0.0008311170212765958</c:v>
                </c:pt>
                <c:pt idx="39">
                  <c:v>0.0010741138560687433</c:v>
                </c:pt>
                <c:pt idx="40">
                  <c:v>0.0005878030859662013</c:v>
                </c:pt>
                <c:pt idx="41">
                  <c:v>0.0006283380458686773</c:v>
                </c:pt>
                <c:pt idx="42">
                  <c:v>0.00040090872644661234</c:v>
                </c:pt>
                <c:pt idx="43">
                  <c:v>0.0008403361344537816</c:v>
                </c:pt>
                <c:pt idx="44">
                  <c:v>0.0007217321571772253</c:v>
                </c:pt>
                <c:pt idx="45">
                  <c:v>0.0005158437730287399</c:v>
                </c:pt>
                <c:pt idx="46">
                  <c:v>0.0010876658690450293</c:v>
                </c:pt>
                <c:pt idx="47">
                  <c:v>0.0013082346100734064</c:v>
                </c:pt>
                <c:pt idx="48">
                  <c:v>0.0006439841150584952</c:v>
                </c:pt>
                <c:pt idx="49">
                  <c:v>0.0006483916285436403</c:v>
                </c:pt>
                <c:pt idx="50">
                  <c:v>0.0009774488584793689</c:v>
                </c:pt>
                <c:pt idx="51">
                  <c:v>0.0013073034687118702</c:v>
                </c:pt>
                <c:pt idx="52">
                  <c:v>0.00044672771945499217</c:v>
                </c:pt>
                <c:pt idx="53">
                  <c:v>0.0005792624058698591</c:v>
                </c:pt>
                <c:pt idx="54">
                  <c:v>0.0013641133263378805</c:v>
                </c:pt>
                <c:pt idx="55">
                  <c:v>0.0008862301982940069</c:v>
                </c:pt>
                <c:pt idx="56">
                  <c:v>0.000910643141718839</c:v>
                </c:pt>
                <c:pt idx="57">
                  <c:v>0.0006073489219556636</c:v>
                </c:pt>
                <c:pt idx="58">
                  <c:v>0.0006362479549172878</c:v>
                </c:pt>
                <c:pt idx="59">
                  <c:v>0.0007566938300349244</c:v>
                </c:pt>
                <c:pt idx="60">
                  <c:v>0.0013077593722755014</c:v>
                </c:pt>
                <c:pt idx="61">
                  <c:v>0.0014262791941522554</c:v>
                </c:pt>
                <c:pt idx="62">
                  <c:v>0.0015599272033971748</c:v>
                </c:pt>
                <c:pt idx="63">
                  <c:v>0.0013111213944161653</c:v>
                </c:pt>
                <c:pt idx="64">
                  <c:v>0.0017508024511234317</c:v>
                </c:pt>
                <c:pt idx="65">
                  <c:v>0.0012554927809165098</c:v>
                </c:pt>
                <c:pt idx="66">
                  <c:v>0.001433268695725487</c:v>
                </c:pt>
                <c:pt idx="67">
                  <c:v>0.0010668563300142249</c:v>
                </c:pt>
                <c:pt idx="68">
                  <c:v>0.001755926251097454</c:v>
                </c:pt>
                <c:pt idx="69">
                  <c:v>0.0017876787678767878</c:v>
                </c:pt>
                <c:pt idx="70">
                  <c:v>0.001490111081007857</c:v>
                </c:pt>
                <c:pt idx="71">
                  <c:v>0.0016164584864070536</c:v>
                </c:pt>
                <c:pt idx="72">
                  <c:v>0.0021756867011150393</c:v>
                </c:pt>
                <c:pt idx="73">
                  <c:v>0.0037058997924696115</c:v>
                </c:pt>
                <c:pt idx="74">
                  <c:v>0.003992015968063872</c:v>
                </c:pt>
                <c:pt idx="75">
                  <c:v>0.004108463434675432</c:v>
                </c:pt>
                <c:pt idx="76">
                  <c:v>0.005612244897959183</c:v>
                </c:pt>
                <c:pt idx="77">
                  <c:v>0.005408328826392645</c:v>
                </c:pt>
                <c:pt idx="78">
                  <c:v>0.0078125</c:v>
                </c:pt>
                <c:pt idx="79">
                  <c:v>0.0056625141562853904</c:v>
                </c:pt>
                <c:pt idx="80">
                  <c:v>0.005747126436781609</c:v>
                </c:pt>
                <c:pt idx="81">
                  <c:v>0.006224381357218764</c:v>
                </c:pt>
                <c:pt idx="82">
                  <c:v>0.0063522617901828685</c:v>
                </c:pt>
                <c:pt idx="83">
                  <c:v>0.005026223776223776</c:v>
                </c:pt>
                <c:pt idx="84">
                  <c:v>0.005585292064230859</c:v>
                </c:pt>
                <c:pt idx="85">
                  <c:v>0.004861551469034031</c:v>
                </c:pt>
                <c:pt idx="86">
                  <c:v>0.004291845493562232</c:v>
                </c:pt>
                <c:pt idx="87">
                  <c:v>0.003737818715792284</c:v>
                </c:pt>
                <c:pt idx="88">
                  <c:v>0.005559416261292564</c:v>
                </c:pt>
                <c:pt idx="89">
                  <c:v>0.0068</c:v>
                </c:pt>
                <c:pt idx="90">
                  <c:v>0.005901505901505902</c:v>
                </c:pt>
                <c:pt idx="91">
                  <c:v>0.006512839598064756</c:v>
                </c:pt>
                <c:pt idx="92">
                  <c:v>0.0053590568060021436</c:v>
                </c:pt>
                <c:pt idx="93">
                  <c:v>0.0049504950495049506</c:v>
                </c:pt>
                <c:pt idx="94">
                  <c:v>0.005507856795723311</c:v>
                </c:pt>
                <c:pt idx="95">
                  <c:v>0.0054705816679691864</c:v>
                </c:pt>
                <c:pt idx="96">
                  <c:v>0.007192396609298741</c:v>
                </c:pt>
                <c:pt idx="97">
                  <c:v>0.008507517418408507</c:v>
                </c:pt>
                <c:pt idx="98">
                  <c:v>0.008149383983572895</c:v>
                </c:pt>
                <c:pt idx="99">
                  <c:v>0.007668884628397429</c:v>
                </c:pt>
                <c:pt idx="100">
                  <c:v>0.005646857231871641</c:v>
                </c:pt>
                <c:pt idx="101">
                  <c:v>0.00819205014959396</c:v>
                </c:pt>
                <c:pt idx="102">
                  <c:v>0.006739381041057019</c:v>
                </c:pt>
                <c:pt idx="103">
                  <c:v>0.006306378223038238</c:v>
                </c:pt>
                <c:pt idx="104">
                  <c:v>0.005044256210145617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numCache>
            </c:numRef>
          </c:xVal>
          <c:yVal>
            <c:numRef>
              <c:f>Sheet1!$B$109:$B$160</c:f>
              <c:numCache>
                <c:formatCode>General</c:formatCode>
                <c:ptCount val="52"/>
                <c:pt idx="0">
                  <c:v>0.0049961236971315355</c:v>
                </c:pt>
                <c:pt idx="1">
                  <c:v>0.005845816587504567</c:v>
                </c:pt>
                <c:pt idx="2">
                  <c:v>0.005669213704707912</c:v>
                </c:pt>
                <c:pt idx="3">
                  <c:v>0.006110147799521097</c:v>
                </c:pt>
                <c:pt idx="4">
                  <c:v>0.006154403113403928</c:v>
                </c:pt>
                <c:pt idx="5">
                  <c:v>0.005041011619958988</c:v>
                </c:pt>
                <c:pt idx="6">
                  <c:v>0.006016439284806372</c:v>
                </c:pt>
                <c:pt idx="7">
                  <c:v>0.00700827205882353</c:v>
                </c:pt>
                <c:pt idx="8">
                  <c:v>0.008691001470784864</c:v>
                </c:pt>
                <c:pt idx="9">
                  <c:v>0.008687373557062953</c:v>
                </c:pt>
                <c:pt idx="10">
                  <c:v>0.008260670032124828</c:v>
                </c:pt>
                <c:pt idx="11">
                  <c:v>0.008187231227257692</c:v>
                </c:pt>
                <c:pt idx="12">
                  <c:v>0.008404163881195683</c:v>
                </c:pt>
                <c:pt idx="13">
                  <c:v>0.012609704428528195</c:v>
                </c:pt>
                <c:pt idx="14">
                  <c:v>0.012543012543012544</c:v>
                </c:pt>
                <c:pt idx="15">
                  <c:v>0.012177819815559234</c:v>
                </c:pt>
                <c:pt idx="16">
                  <c:v>0.011682242990654205</c:v>
                </c:pt>
                <c:pt idx="17">
                  <c:v>0.01518624641833811</c:v>
                </c:pt>
                <c:pt idx="18">
                  <c:v>0.007985360173016137</c:v>
                </c:pt>
                <c:pt idx="19">
                  <c:v>0.007203257124960852</c:v>
                </c:pt>
                <c:pt idx="20">
                  <c:v>0.008735960064182563</c:v>
                </c:pt>
                <c:pt idx="21">
                  <c:v>0.011700975081256771</c:v>
                </c:pt>
                <c:pt idx="22">
                  <c:v>0.010414358519831598</c:v>
                </c:pt>
                <c:pt idx="23">
                  <c:v>0.010123239436619719</c:v>
                </c:pt>
                <c:pt idx="24">
                  <c:v>0.009738151915169876</c:v>
                </c:pt>
                <c:pt idx="25">
                  <c:v>0.010512765500965459</c:v>
                </c:pt>
                <c:pt idx="26">
                  <c:v>0.010547667342799188</c:v>
                </c:pt>
                <c:pt idx="27">
                  <c:v>0.009973285841495993</c:v>
                </c:pt>
                <c:pt idx="28">
                  <c:v>0.008588750421017177</c:v>
                </c:pt>
                <c:pt idx="29">
                  <c:v>0.01018981018981019</c:v>
                </c:pt>
                <c:pt idx="30">
                  <c:v>0.009368148295794299</c:v>
                </c:pt>
                <c:pt idx="31">
                  <c:v>0.010326214503637644</c:v>
                </c:pt>
                <c:pt idx="32">
                  <c:v>0.008757297748123435</c:v>
                </c:pt>
                <c:pt idx="33">
                  <c:v>0.008337420304070623</c:v>
                </c:pt>
                <c:pt idx="34">
                  <c:v>0.007484096295372334</c:v>
                </c:pt>
                <c:pt idx="35">
                  <c:v>0.00890251021599533</c:v>
                </c:pt>
                <c:pt idx="36">
                  <c:v>0.011209715086408221</c:v>
                </c:pt>
                <c:pt idx="37">
                  <c:v>0.011385199240986717</c:v>
                </c:pt>
                <c:pt idx="38">
                  <c:v>0.013365735115431349</c:v>
                </c:pt>
                <c:pt idx="39">
                  <c:v>0.01218875152359394</c:v>
                </c:pt>
                <c:pt idx="40">
                  <c:v>0.011968560200071454</c:v>
                </c:pt>
                <c:pt idx="41">
                  <c:v>0.009420172161767094</c:v>
                </c:pt>
                <c:pt idx="42">
                  <c:v>0.01107419712070875</c:v>
                </c:pt>
                <c:pt idx="43">
                  <c:v>0.008003311715192493</c:v>
                </c:pt>
                <c:pt idx="44">
                  <c:v>0.006070324132401787</c:v>
                </c:pt>
                <c:pt idx="45">
                  <c:v>0.004706264199935086</c:v>
                </c:pt>
                <c:pt idx="46">
                  <c:v>0.005146986043749381</c:v>
                </c:pt>
                <c:pt idx="47">
                  <c:v>0.005354387875487794</c:v>
                </c:pt>
                <c:pt idx="48">
                  <c:v>0.005730019348117279</c:v>
                </c:pt>
                <c:pt idx="49">
                  <c:v>0.005314799672935405</c:v>
                </c:pt>
                <c:pt idx="50">
                  <c:v>0.004363118293931704</c:v>
                </c:pt>
                <c:pt idx="51">
                  <c:v>0.00506919858384293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607.134498189073</c:v>
                </c:pt>
              </c:numCache>
            </c:numRef>
          </c:xVal>
          <c:yVal>
            <c:numRef>
              <c:f>Sheet1!$B$163:$B$164</c:f>
              <c:numCache>
                <c:formatCode>General</c:formatCode>
                <c:ptCount val="2"/>
                <c:pt idx="0">
                  <c:v>0.010258770564396134</c:v>
                </c:pt>
                <c:pt idx="1">
                  <c:v>0.01025877056439613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607.134498189073</c:v>
                </c:pt>
                <c:pt idx="1">
                  <c:v>3607.134498189073</c:v>
                </c:pt>
              </c:numCache>
            </c:numRef>
          </c:xVal>
          <c:yVal>
            <c:numRef>
              <c:f>Sheet1!$B$167:$B$168</c:f>
              <c:numCache>
                <c:formatCode>General</c:formatCode>
                <c:ptCount val="2"/>
                <c:pt idx="0">
                  <c:v>0.0102587705643961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607.134498189073</c:v>
                </c:pt>
              </c:numCache>
            </c:numRef>
          </c:xVal>
          <c:yVal>
            <c:numRef>
              <c:f>Sheet1!$B$171:$B$172</c:f>
              <c:numCache>
                <c:formatCode>General</c:formatCode>
                <c:ptCount val="2"/>
                <c:pt idx="0">
                  <c:v>0.010258770564396134</c:v>
                </c:pt>
                <c:pt idx="1">
                  <c:v>0.01025877056439613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607.134498189073</c:v>
                </c:pt>
                <c:pt idx="1">
                  <c:v>3607.134498189073</c:v>
                </c:pt>
              </c:numCache>
            </c:numRef>
          </c:xVal>
          <c:yVal>
            <c:numRef>
              <c:f>Sheet1!$B$175:$B$176</c:f>
              <c:numCache>
                <c:formatCode>General</c:formatCode>
                <c:ptCount val="2"/>
                <c:pt idx="0">
                  <c:v>0.0102587705643961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37.576844898935</c:v>
                </c:pt>
              </c:numCache>
            </c:numRef>
          </c:xVal>
          <c:yVal>
            <c:numRef>
              <c:f>Sheet1!$B$179:$B$180</c:f>
              <c:numCache>
                <c:formatCode>General</c:formatCode>
                <c:ptCount val="2"/>
                <c:pt idx="0">
                  <c:v>0.007262314682441161</c:v>
                </c:pt>
                <c:pt idx="1">
                  <c:v>0.00726231468244116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37.576844898935</c:v>
                </c:pt>
                <c:pt idx="1">
                  <c:v>4237.576844898935</c:v>
                </c:pt>
              </c:numCache>
            </c:numRef>
          </c:xVal>
          <c:yVal>
            <c:numRef>
              <c:f>Sheet1!$B$183:$B$184</c:f>
              <c:numCache>
                <c:formatCode>General</c:formatCode>
                <c:ptCount val="2"/>
                <c:pt idx="0">
                  <c:v>0.00726231468244116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405.7586</c:v>
                </c:pt>
                <c:pt idx="1">
                  <c:v>3908.1094</c:v>
                </c:pt>
                <c:pt idx="2">
                  <c:v>4296.5942</c:v>
                </c:pt>
                <c:pt idx="3">
                  <c:v>3693.6216</c:v>
                </c:pt>
                <c:pt idx="4">
                  <c:v>4526.8676</c:v>
                </c:pt>
                <c:pt idx="5">
                  <c:v>4825.678</c:v>
                </c:pt>
                <c:pt idx="6">
                  <c:v>4411.0563</c:v>
                </c:pt>
                <c:pt idx="7">
                  <c:v>4284.1639</c:v>
                </c:pt>
                <c:pt idx="8">
                  <c:v>4169.6923</c:v>
                </c:pt>
                <c:pt idx="9">
                  <c:v>4098.1233</c:v>
                </c:pt>
                <c:pt idx="10">
                  <c:v>4200.6389</c:v>
                </c:pt>
                <c:pt idx="11">
                  <c:v>4086.1919</c:v>
                </c:pt>
                <c:pt idx="12">
                  <c:v>3846.5114</c:v>
                </c:pt>
                <c:pt idx="13">
                  <c:v>3413.248</c:v>
                </c:pt>
                <c:pt idx="14">
                  <c:v>3455.3717</c:v>
                </c:pt>
                <c:pt idx="15">
                  <c:v>3642.2621</c:v>
                </c:pt>
                <c:pt idx="16">
                  <c:v>3874.9294</c:v>
                </c:pt>
                <c:pt idx="17">
                  <c:v>2909.2547</c:v>
                </c:pt>
                <c:pt idx="18">
                  <c:v>4091.1042</c:v>
                </c:pt>
                <c:pt idx="19">
                  <c:v>4404.4783</c:v>
                </c:pt>
                <c:pt idx="20">
                  <c:v>4257.3469</c:v>
                </c:pt>
                <c:pt idx="21">
                  <c:v>3674.1296</c:v>
                </c:pt>
                <c:pt idx="22">
                  <c:v>3879.4043</c:v>
                </c:pt>
                <c:pt idx="23">
                  <c:v>3144.6522</c:v>
                </c:pt>
                <c:pt idx="24">
                  <c:v>4057.2667</c:v>
                </c:pt>
                <c:pt idx="25">
                  <c:v>3608.9592</c:v>
                </c:pt>
                <c:pt idx="26">
                  <c:v>3818.6154</c:v>
                </c:pt>
                <c:pt idx="27">
                  <c:v>3711.3036</c:v>
                </c:pt>
                <c:pt idx="28">
                  <c:v>3813.5686</c:v>
                </c:pt>
                <c:pt idx="29">
                  <c:v>3583.3529</c:v>
                </c:pt>
                <c:pt idx="30">
                  <c:v>3567.766</c:v>
                </c:pt>
                <c:pt idx="31">
                  <c:v>3881.6818</c:v>
                </c:pt>
                <c:pt idx="32">
                  <c:v>4458.5476</c:v>
                </c:pt>
                <c:pt idx="33">
                  <c:v>4174.2353</c:v>
                </c:pt>
                <c:pt idx="34">
                  <c:v>4306.8667</c:v>
                </c:pt>
                <c:pt idx="35">
                  <c:v>4015.6721</c:v>
                </c:pt>
                <c:pt idx="36">
                  <c:v>4174.4375</c:v>
                </c:pt>
                <c:pt idx="37">
                  <c:v>4140.8889</c:v>
                </c:pt>
                <c:pt idx="38">
                  <c:v>3603.7818</c:v>
                </c:pt>
                <c:pt idx="39">
                  <c:v>3285.3714</c:v>
                </c:pt>
                <c:pt idx="40">
                  <c:v>3221.6119</c:v>
                </c:pt>
                <c:pt idx="41">
                  <c:v>3531.7414</c:v>
                </c:pt>
                <c:pt idx="42">
                  <c:v>3306.9</c:v>
                </c:pt>
                <c:pt idx="43">
                  <c:v>3668.1724</c:v>
                </c:pt>
                <c:pt idx="44">
                  <c:v>4128.3208</c:v>
                </c:pt>
                <c:pt idx="45">
                  <c:v>4297.4138</c:v>
                </c:pt>
                <c:pt idx="46">
                  <c:v>4373.3654</c:v>
                </c:pt>
                <c:pt idx="47">
                  <c:v>4291.2881</c:v>
                </c:pt>
                <c:pt idx="48">
                  <c:v>3957.5584</c:v>
                </c:pt>
                <c:pt idx="49">
                  <c:v>3871.6667</c:v>
                </c:pt>
                <c:pt idx="50">
                  <c:v>4012.3061</c:v>
                </c:pt>
                <c:pt idx="51">
                  <c:v>4235.4762</c:v>
                </c:pt>
                <c:pt idx="52">
                  <c:v>3607.134498189073</c:v>
                </c:pt>
                <c:pt idx="53">
                  <c:v>3607.134498189073</c:v>
                </c:pt>
                <c:pt idx="54">
                  <c:v>4237.576844898935</c:v>
                </c:pt>
              </c:numCache>
            </c:numRef>
          </c:xVal>
          <c:yVal>
            <c:numRef>
              <c:f>Sheet1!$B$187:$B$241</c:f>
              <c:numCache>
                <c:formatCode>General</c:formatCode>
                <c:ptCount val="55"/>
                <c:pt idx="0">
                  <c:v>0.006462956562003824</c:v>
                </c:pt>
                <c:pt idx="1">
                  <c:v>0.008828254325189223</c:v>
                </c:pt>
                <c:pt idx="2">
                  <c:v>0.006981808619114491</c:v>
                </c:pt>
                <c:pt idx="3">
                  <c:v>0.009847702389348786</c:v>
                </c:pt>
                <c:pt idx="4">
                  <c:v>0.005887332514378271</c:v>
                </c:pt>
                <c:pt idx="5">
                  <c:v>0.004467104026647288</c:v>
                </c:pt>
                <c:pt idx="6">
                  <c:v>0.006437776901391436</c:v>
                </c:pt>
                <c:pt idx="7">
                  <c:v>0.00704088911353852</c:v>
                </c:pt>
                <c:pt idx="8">
                  <c:v>0.007584965984210178</c:v>
                </c:pt>
                <c:pt idx="9">
                  <c:v>0.00792512928722245</c:v>
                </c:pt>
                <c:pt idx="10">
                  <c:v>0.007437878590604012</c:v>
                </c:pt>
                <c:pt idx="11">
                  <c:v>0.007981838538903496</c:v>
                </c:pt>
                <c:pt idx="12">
                  <c:v>0.009121026043935467</c:v>
                </c:pt>
                <c:pt idx="13">
                  <c:v>0.011180301836783316</c:v>
                </c:pt>
                <c:pt idx="14">
                  <c:v>0.010980090335615238</c:v>
                </c:pt>
                <c:pt idx="15">
                  <c:v>0.010091811111855163</c:v>
                </c:pt>
                <c:pt idx="16">
                  <c:v>0.008985956939365013</c:v>
                </c:pt>
                <c:pt idx="17">
                  <c:v>0.013575752739046248</c:v>
                </c:pt>
                <c:pt idx="18">
                  <c:v>0.007958490662121825</c:v>
                </c:pt>
                <c:pt idx="19">
                  <c:v>0.006469041753593016</c:v>
                </c:pt>
                <c:pt idx="20">
                  <c:v>0.007168348758033766</c:v>
                </c:pt>
                <c:pt idx="21">
                  <c:v>0.009940346733999614</c:v>
                </c:pt>
                <c:pt idx="22">
                  <c:v>0.008964687999395895</c:v>
                </c:pt>
                <c:pt idx="23">
                  <c:v>0.012456922084421597</c:v>
                </c:pt>
                <c:pt idx="24">
                  <c:v>0.008119318335635187</c:v>
                </c:pt>
                <c:pt idx="25">
                  <c:v>0.010250097862597628</c:v>
                </c:pt>
                <c:pt idx="26">
                  <c:v>0.009253614112803697</c:v>
                </c:pt>
                <c:pt idx="27">
                  <c:v>0.009763660869642445</c:v>
                </c:pt>
                <c:pt idx="28">
                  <c:v>0.009277601260278753</c:v>
                </c:pt>
                <c:pt idx="29">
                  <c:v>0.010371803120263982</c:v>
                </c:pt>
                <c:pt idx="30">
                  <c:v>0.010445886751273524</c:v>
                </c:pt>
                <c:pt idx="31">
                  <c:v>0.008953863174085912</c:v>
                </c:pt>
                <c:pt idx="32">
                  <c:v>0.006212053508968085</c:v>
                </c:pt>
                <c:pt idx="33">
                  <c:v>0.007563373368893702</c:v>
                </c:pt>
                <c:pt idx="34">
                  <c:v>0.006932984022848039</c:v>
                </c:pt>
                <c:pt idx="35">
                  <c:v>0.00831701505521314</c:v>
                </c:pt>
                <c:pt idx="36">
                  <c:v>0.007562412324029738</c:v>
                </c:pt>
                <c:pt idx="37">
                  <c:v>0.007721866872611352</c:v>
                </c:pt>
                <c:pt idx="38">
                  <c:v>0.010274705744292435</c:v>
                </c:pt>
                <c:pt idx="39">
                  <c:v>0.011788091894405743</c:v>
                </c:pt>
                <c:pt idx="40">
                  <c:v>0.012091137097194815</c:v>
                </c:pt>
                <c:pt idx="41">
                  <c:v>0.010617109584143844</c:v>
                </c:pt>
                <c:pt idx="42">
                  <c:v>0.011685767708162674</c:v>
                </c:pt>
                <c:pt idx="43">
                  <c:v>0.009968660959833491</c:v>
                </c:pt>
                <c:pt idx="44">
                  <c:v>0.007781602322437232</c:v>
                </c:pt>
                <c:pt idx="45">
                  <c:v>0.006977913107885481</c:v>
                </c:pt>
                <c:pt idx="46">
                  <c:v>0.006616919561446843</c:v>
                </c:pt>
                <c:pt idx="47">
                  <c:v>0.0070070282044393285</c:v>
                </c:pt>
                <c:pt idx="48">
                  <c:v>0.008593226098294143</c:v>
                </c:pt>
                <c:pt idx="49">
                  <c:v>0.009001464363092297</c:v>
                </c:pt>
                <c:pt idx="50">
                  <c:v>0.008333013457844717</c:v>
                </c:pt>
                <c:pt idx="51">
                  <c:v>0.007272298925720757</c:v>
                </c:pt>
                <c:pt idx="52">
                  <c:v>0.010258770564396134</c:v>
                </c:pt>
                <c:pt idx="53">
                  <c:v>0.010258770564396134</c:v>
                </c:pt>
                <c:pt idx="54">
                  <c:v>0.00726231468244116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64.0"/>
          <c:min val="123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822349570200573"/>
          <c:min val="0.0001507159005275056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9235886210320149</c:v>
                </c:pt>
                <c:pt idx="1">
                  <c:v>0.10579759339199883</c:v>
                </c:pt>
                <c:pt idx="2">
                  <c:v>0.10818789193993752</c:v>
                </c:pt>
                <c:pt idx="3">
                  <c:v>0.1038384511656061</c:v>
                </c:pt>
                <c:pt idx="4">
                  <c:v>0.09966258969948223</c:v>
                </c:pt>
                <c:pt idx="5">
                  <c:v>0.09761830688059751</c:v>
                </c:pt>
                <c:pt idx="6">
                  <c:v>0.09795021668029996</c:v>
                </c:pt>
                <c:pt idx="7">
                  <c:v>0.09716629325235512</c:v>
                </c:pt>
                <c:pt idx="8">
                  <c:v>0.09417523531749797</c:v>
                </c:pt>
                <c:pt idx="9">
                  <c:v>0.09189665588714215</c:v>
                </c:pt>
                <c:pt idx="10">
                  <c:v>0.09258614099104347</c:v>
                </c:pt>
                <c:pt idx="11">
                  <c:v>0.09622425085179438</c:v>
                </c:pt>
                <c:pt idx="12">
                  <c:v>0.09563691196733755</c:v>
                </c:pt>
                <c:pt idx="13">
                  <c:v>0.0940227738914938</c:v>
                </c:pt>
                <c:pt idx="14">
                  <c:v>0.09436060799181838</c:v>
                </c:pt>
                <c:pt idx="15">
                  <c:v>0.09431372773197037</c:v>
                </c:pt>
                <c:pt idx="16">
                  <c:v>0.09264643056978274</c:v>
                </c:pt>
                <c:pt idx="17">
                  <c:v>0.08433985839042744</c:v>
                </c:pt>
                <c:pt idx="18">
                  <c:v>0.0923102713735525</c:v>
                </c:pt>
                <c:pt idx="19">
                  <c:v>0.09195027935849992</c:v>
                </c:pt>
                <c:pt idx="20">
                  <c:v>0.09480480997799677</c:v>
                </c:pt>
                <c:pt idx="21">
                  <c:v>0.09434479143907622</c:v>
                </c:pt>
                <c:pt idx="22">
                  <c:v>0.08971794658688412</c:v>
                </c:pt>
                <c:pt idx="23">
                  <c:v>0.0906009542524116</c:v>
                </c:pt>
                <c:pt idx="24">
                  <c:v>0.08787628766088776</c:v>
                </c:pt>
                <c:pt idx="25">
                  <c:v>0.09087622498301173</c:v>
                </c:pt>
                <c:pt idx="26">
                  <c:v>0.09430712705438059</c:v>
                </c:pt>
                <c:pt idx="27">
                  <c:v>0.09408172449271</c:v>
                </c:pt>
                <c:pt idx="28">
                  <c:v>0.09576722547201552</c:v>
                </c:pt>
                <c:pt idx="29">
                  <c:v>0.09753355598087408</c:v>
                </c:pt>
                <c:pt idx="30">
                  <c:v>0.09549356542022171</c:v>
                </c:pt>
                <c:pt idx="31">
                  <c:v>0.09331465353894886</c:v>
                </c:pt>
                <c:pt idx="32">
                  <c:v>0.09080178759339425</c:v>
                </c:pt>
                <c:pt idx="33">
                  <c:v>0.09022375106731771</c:v>
                </c:pt>
                <c:pt idx="34">
                  <c:v>0.09218878154805002</c:v>
                </c:pt>
                <c:pt idx="35">
                  <c:v>0.09729856027159833</c:v>
                </c:pt>
                <c:pt idx="36">
                  <c:v>0.09824579108350594</c:v>
                </c:pt>
                <c:pt idx="37">
                  <c:v>0.09980434800850395</c:v>
                </c:pt>
                <c:pt idx="38">
                  <c:v>0.10447198084481961</c:v>
                </c:pt>
                <c:pt idx="39">
                  <c:v>0.11066504611601302</c:v>
                </c:pt>
                <c:pt idx="40">
                  <c:v>0.11269811442460823</c:v>
                </c:pt>
                <c:pt idx="41">
                  <c:v>0.11289366699357806</c:v>
                </c:pt>
                <c:pt idx="42">
                  <c:v>0.11258465118847413</c:v>
                </c:pt>
                <c:pt idx="43">
                  <c:v>0.11278719026946453</c:v>
                </c:pt>
                <c:pt idx="44">
                  <c:v>0.11120177192198988</c:v>
                </c:pt>
                <c:pt idx="45">
                  <c:v>0.11089298553658439</c:v>
                </c:pt>
                <c:pt idx="46">
                  <c:v>0.10903573182976217</c:v>
                </c:pt>
                <c:pt idx="47">
                  <c:v>0.10623548864520593</c:v>
                </c:pt>
                <c:pt idx="48">
                  <c:v>0.11279835625798261</c:v>
                </c:pt>
                <c:pt idx="49">
                  <c:v>0.12003562759303821</c:v>
                </c:pt>
                <c:pt idx="50">
                  <c:v>0.10706805679364031</c:v>
                </c:pt>
                <c:pt idx="51">
                  <c:v>0.10580185784200488</c:v>
                </c:pt>
                <c:pt idx="52">
                  <c:v>0.10869384411938897</c:v>
                </c:pt>
                <c:pt idx="53">
                  <c:v>0.12119410621835082</c:v>
                </c:pt>
                <c:pt idx="54">
                  <c:v>0.11673311304299308</c:v>
                </c:pt>
                <c:pt idx="55">
                  <c:v>0.11327301591320531</c:v>
                </c:pt>
                <c:pt idx="56">
                  <c:v>0.11371037153611613</c:v>
                </c:pt>
                <c:pt idx="57">
                  <c:v>0.11123833721551993</c:v>
                </c:pt>
                <c:pt idx="58">
                  <c:v>0.11112722575312088</c:v>
                </c:pt>
                <c:pt idx="59">
                  <c:v>0.11346778359016156</c:v>
                </c:pt>
                <c:pt idx="60">
                  <c:v>0.11299160352553052</c:v>
                </c:pt>
                <c:pt idx="61">
                  <c:v>0.11439725332510235</c:v>
                </c:pt>
                <c:pt idx="62">
                  <c:v>0.10271868167837747</c:v>
                </c:pt>
                <c:pt idx="63">
                  <c:v>0.10719806763432425</c:v>
                </c:pt>
                <c:pt idx="64">
                  <c:v>0.11238329065981967</c:v>
                </c:pt>
                <c:pt idx="65">
                  <c:v>0.10695086344595973</c:v>
                </c:pt>
                <c:pt idx="66">
                  <c:v>0.11086425747896184</c:v>
                </c:pt>
                <c:pt idx="67">
                  <c:v>0.11171942612959906</c:v>
                </c:pt>
                <c:pt idx="68">
                  <c:v>0.11162701304453307</c:v>
                </c:pt>
                <c:pt idx="69">
                  <c:v>0.10854780297682001</c:v>
                </c:pt>
                <c:pt idx="70">
                  <c:v>0.10535253594412691</c:v>
                </c:pt>
                <c:pt idx="71">
                  <c:v>0.1100164077500242</c:v>
                </c:pt>
                <c:pt idx="72">
                  <c:v>0.11669480952054437</c:v>
                </c:pt>
                <c:pt idx="73">
                  <c:v>0.11473777668479472</c:v>
                </c:pt>
                <c:pt idx="74">
                  <c:v>0.11237370108094157</c:v>
                </c:pt>
                <c:pt idx="75">
                  <c:v>0.10686305876260457</c:v>
                </c:pt>
                <c:pt idx="76">
                  <c:v>0.10531918485786482</c:v>
                </c:pt>
                <c:pt idx="77">
                  <c:v>0.10521870287830525</c:v>
                </c:pt>
                <c:pt idx="78">
                  <c:v>0.10880724334389187</c:v>
                </c:pt>
                <c:pt idx="79">
                  <c:v>0.10553669360620523</c:v>
                </c:pt>
                <c:pt idx="80">
                  <c:v>0.10636129129309647</c:v>
                </c:pt>
                <c:pt idx="81">
                  <c:v>0.1108415246020458</c:v>
                </c:pt>
                <c:pt idx="82">
                  <c:v>0.1113394595111223</c:v>
                </c:pt>
                <c:pt idx="83">
                  <c:v>0.10366136752285293</c:v>
                </c:pt>
                <c:pt idx="84">
                  <c:v>0.10600820095883186</c:v>
                </c:pt>
                <c:pt idx="85">
                  <c:v>0.1019746102387871</c:v>
                </c:pt>
                <c:pt idx="86">
                  <c:v>0.10590406302091644</c:v>
                </c:pt>
                <c:pt idx="87">
                  <c:v>0.10298140200795008</c:v>
                </c:pt>
                <c:pt idx="88">
                  <c:v>0.10662476640636862</c:v>
                </c:pt>
                <c:pt idx="89">
                  <c:v>0.10430103826849425</c:v>
                </c:pt>
                <c:pt idx="90">
                  <c:v>0.109626585930031</c:v>
                </c:pt>
                <c:pt idx="91">
                  <c:v>0.11433176427873634</c:v>
                </c:pt>
                <c:pt idx="92">
                  <c:v>0.10934872293377043</c:v>
                </c:pt>
                <c:pt idx="93">
                  <c:v>0.11180404905598318</c:v>
                </c:pt>
                <c:pt idx="94">
                  <c:v>0.10740795965680026</c:v>
                </c:pt>
                <c:pt idx="95">
                  <c:v>0.10459600684043578</c:v>
                </c:pt>
                <c:pt idx="96">
                  <c:v>0.10580641387816735</c:v>
                </c:pt>
                <c:pt idx="97">
                  <c:v>0.10415268064531086</c:v>
                </c:pt>
                <c:pt idx="98">
                  <c:v>0.10509315418946535</c:v>
                </c:pt>
                <c:pt idx="99">
                  <c:v>0.10398522323680737</c:v>
                </c:pt>
                <c:pt idx="100">
                  <c:v>0.10700501167487357</c:v>
                </c:pt>
                <c:pt idx="101">
                  <c:v>0.10831206069069807</c:v>
                </c:pt>
                <c:pt idx="102">
                  <c:v>0.10750228624399737</c:v>
                </c:pt>
                <c:pt idx="103">
                  <c:v>0.10533838693498071</c:v>
                </c:pt>
                <c:pt idx="104">
                  <c:v>0.10728739227970298</c:v>
                </c:pt>
              </c:numCache>
            </c:numRef>
          </c:xVal>
          <c:yVal>
            <c:numRef>
              <c:f>Sheet1!$B$2:$B$106</c:f>
              <c:numCache>
                <c:formatCode>General</c:formatCode>
                <c:ptCount val="105"/>
                <c:pt idx="0">
                  <c:v>0.23418296003728872</c:v>
                </c:pt>
                <c:pt idx="1">
                  <c:v>0.23165931366074022</c:v>
                </c:pt>
                <c:pt idx="2">
                  <c:v>0.23278705032349017</c:v>
                </c:pt>
                <c:pt idx="3">
                  <c:v>0.2333306651724966</c:v>
                </c:pt>
                <c:pt idx="4">
                  <c:v>0.24390852650297945</c:v>
                </c:pt>
                <c:pt idx="5">
                  <c:v>0.24548332427333483</c:v>
                </c:pt>
                <c:pt idx="6">
                  <c:v>0.2714250734573947</c:v>
                </c:pt>
                <c:pt idx="7">
                  <c:v>0.2720096286594216</c:v>
                </c:pt>
                <c:pt idx="8">
                  <c:v>0.26972618872368614</c:v>
                </c:pt>
                <c:pt idx="9">
                  <c:v>0.2604732837193745</c:v>
                </c:pt>
                <c:pt idx="10">
                  <c:v>0.2556938879776278</c:v>
                </c:pt>
                <c:pt idx="11">
                  <c:v>0.2384407146724418</c:v>
                </c:pt>
                <c:pt idx="12">
                  <c:v>0.22535420957296345</c:v>
                </c:pt>
                <c:pt idx="13">
                  <c:v>0.2139852513502285</c:v>
                </c:pt>
                <c:pt idx="14">
                  <c:v>0.19951765538574462</c:v>
                </c:pt>
                <c:pt idx="15">
                  <c:v>0.19060190073917635</c:v>
                </c:pt>
                <c:pt idx="16">
                  <c:v>0.18443732193732193</c:v>
                </c:pt>
                <c:pt idx="17">
                  <c:v>0.18215192345245068</c:v>
                </c:pt>
                <c:pt idx="18">
                  <c:v>0.16783307976526843</c:v>
                </c:pt>
                <c:pt idx="19">
                  <c:v>0.1664623557053836</c:v>
                </c:pt>
                <c:pt idx="20">
                  <c:v>0.1770842061164642</c:v>
                </c:pt>
                <c:pt idx="21">
                  <c:v>0.18135450625722999</c:v>
                </c:pt>
                <c:pt idx="22">
                  <c:v>0.19217118997912316</c:v>
                </c:pt>
                <c:pt idx="23">
                  <c:v>0.20130612244897958</c:v>
                </c:pt>
                <c:pt idx="24">
                  <c:v>0.20415400202634246</c:v>
                </c:pt>
                <c:pt idx="25">
                  <c:v>0.20853382804800277</c:v>
                </c:pt>
                <c:pt idx="26">
                  <c:v>0.22318810760763336</c:v>
                </c:pt>
                <c:pt idx="27">
                  <c:v>0.22061949590039479</c:v>
                </c:pt>
                <c:pt idx="28">
                  <c:v>0.22781491002570695</c:v>
                </c:pt>
                <c:pt idx="29">
                  <c:v>0.22411392120749293</c:v>
                </c:pt>
                <c:pt idx="30">
                  <c:v>0.22836372028617585</c:v>
                </c:pt>
                <c:pt idx="31">
                  <c:v>0.23155645524066576</c:v>
                </c:pt>
                <c:pt idx="32">
                  <c:v>0.2391124358337473</c:v>
                </c:pt>
                <c:pt idx="33">
                  <c:v>0.23732728936930655</c:v>
                </c:pt>
                <c:pt idx="34">
                  <c:v>0.2376046610332986</c:v>
                </c:pt>
                <c:pt idx="35">
                  <c:v>0.25597164957235835</c:v>
                </c:pt>
                <c:pt idx="36">
                  <c:v>0.2249256444150694</c:v>
                </c:pt>
                <c:pt idx="37">
                  <c:v>0.21881479338444476</c:v>
                </c:pt>
                <c:pt idx="38">
                  <c:v>0.20735478882767952</c:v>
                </c:pt>
                <c:pt idx="39">
                  <c:v>0.20157617317435136</c:v>
                </c:pt>
                <c:pt idx="40">
                  <c:v>0.2043353918846106</c:v>
                </c:pt>
                <c:pt idx="41">
                  <c:v>0.19930262433474033</c:v>
                </c:pt>
                <c:pt idx="42">
                  <c:v>0.19792563600782778</c:v>
                </c:pt>
                <c:pt idx="43">
                  <c:v>0.19148566463944397</c:v>
                </c:pt>
                <c:pt idx="44">
                  <c:v>0.18882872746876686</c:v>
                </c:pt>
                <c:pt idx="45">
                  <c:v>0.20146325946347152</c:v>
                </c:pt>
                <c:pt idx="46">
                  <c:v>0.20674221893734088</c:v>
                </c:pt>
                <c:pt idx="47">
                  <c:v>0.20248705097825404</c:v>
                </c:pt>
                <c:pt idx="48">
                  <c:v>0.20068823124569857</c:v>
                </c:pt>
                <c:pt idx="49">
                  <c:v>0.21421377913941334</c:v>
                </c:pt>
                <c:pt idx="50">
                  <c:v>0.20370295834171864</c:v>
                </c:pt>
                <c:pt idx="51">
                  <c:v>0.19657907167540958</c:v>
                </c:pt>
                <c:pt idx="52">
                  <c:v>0.1990873753591347</c:v>
                </c:pt>
                <c:pt idx="53">
                  <c:v>0.1924849250862364</c:v>
                </c:pt>
                <c:pt idx="54">
                  <c:v>0.19632599504300918</c:v>
                </c:pt>
                <c:pt idx="55">
                  <c:v>0.1932637372498579</c:v>
                </c:pt>
                <c:pt idx="56">
                  <c:v>0.1963961784980046</c:v>
                </c:pt>
                <c:pt idx="57">
                  <c:v>0.1902930783620869</c:v>
                </c:pt>
                <c:pt idx="58">
                  <c:v>0.2004390569819605</c:v>
                </c:pt>
                <c:pt idx="59">
                  <c:v>0.19565183241961073</c:v>
                </c:pt>
                <c:pt idx="60">
                  <c:v>0.1985710596539554</c:v>
                </c:pt>
                <c:pt idx="61">
                  <c:v>0.19782154510669264</c:v>
                </c:pt>
                <c:pt idx="62">
                  <c:v>0.21214106590154305</c:v>
                </c:pt>
                <c:pt idx="63">
                  <c:v>0.2160689782292584</c:v>
                </c:pt>
                <c:pt idx="64">
                  <c:v>0.2057314629258517</c:v>
                </c:pt>
                <c:pt idx="65">
                  <c:v>0.20019627085377822</c:v>
                </c:pt>
                <c:pt idx="66">
                  <c:v>0.1993405749644317</c:v>
                </c:pt>
                <c:pt idx="67">
                  <c:v>0.18906573406609092</c:v>
                </c:pt>
                <c:pt idx="68">
                  <c:v>0.1790146244498083</c:v>
                </c:pt>
                <c:pt idx="69">
                  <c:v>0.17184334908845375</c:v>
                </c:pt>
                <c:pt idx="70">
                  <c:v>0.17183179516644523</c:v>
                </c:pt>
                <c:pt idx="71">
                  <c:v>0.1720010810393421</c:v>
                </c:pt>
                <c:pt idx="72">
                  <c:v>0.1703549517966696</c:v>
                </c:pt>
                <c:pt idx="73">
                  <c:v>0.17289084055492948</c:v>
                </c:pt>
                <c:pt idx="74">
                  <c:v>0.1736186858238989</c:v>
                </c:pt>
                <c:pt idx="75">
                  <c:v>0.18380130535722108</c:v>
                </c:pt>
                <c:pt idx="76">
                  <c:v>0.1867787900023359</c:v>
                </c:pt>
                <c:pt idx="77">
                  <c:v>0.17921302316620913</c:v>
                </c:pt>
                <c:pt idx="78">
                  <c:v>0.183714055361462</c:v>
                </c:pt>
                <c:pt idx="79">
                  <c:v>0.16925569427237205</c:v>
                </c:pt>
                <c:pt idx="80">
                  <c:v>0.1642047079005051</c:v>
                </c:pt>
                <c:pt idx="81">
                  <c:v>0.1722029753413491</c:v>
                </c:pt>
                <c:pt idx="82">
                  <c:v>0.17136125654450263</c:v>
                </c:pt>
                <c:pt idx="83">
                  <c:v>0.17091711623344777</c:v>
                </c:pt>
                <c:pt idx="84">
                  <c:v>0.1731971525843392</c:v>
                </c:pt>
                <c:pt idx="85">
                  <c:v>0.1781016320069865</c:v>
                </c:pt>
                <c:pt idx="86">
                  <c:v>0.18914164143687096</c:v>
                </c:pt>
                <c:pt idx="87">
                  <c:v>0.20626872551279096</c:v>
                </c:pt>
                <c:pt idx="88">
                  <c:v>0.19925086345283846</c:v>
                </c:pt>
                <c:pt idx="89">
                  <c:v>0.18920077137347333</c:v>
                </c:pt>
                <c:pt idx="90">
                  <c:v>0.17882288228822882</c:v>
                </c:pt>
                <c:pt idx="91">
                  <c:v>0.17116303770578864</c:v>
                </c:pt>
                <c:pt idx="92">
                  <c:v>0.18376905390445372</c:v>
                </c:pt>
                <c:pt idx="93">
                  <c:v>0.17386494017374202</c:v>
                </c:pt>
                <c:pt idx="94">
                  <c:v>0.17872005918801442</c:v>
                </c:pt>
                <c:pt idx="95">
                  <c:v>0.18349928876244664</c:v>
                </c:pt>
                <c:pt idx="96">
                  <c:v>0.1838017571962526</c:v>
                </c:pt>
                <c:pt idx="97">
                  <c:v>0.18564141638622558</c:v>
                </c:pt>
                <c:pt idx="98">
                  <c:v>0.19047008859925313</c:v>
                </c:pt>
                <c:pt idx="99">
                  <c:v>0.19314582541492462</c:v>
                </c:pt>
                <c:pt idx="100">
                  <c:v>0.19683051921857891</c:v>
                </c:pt>
                <c:pt idx="101">
                  <c:v>0.19314315106433488</c:v>
                </c:pt>
                <c:pt idx="102">
                  <c:v>0.17887716504081227</c:v>
                </c:pt>
                <c:pt idx="103">
                  <c:v>0.1841797332085186</c:v>
                </c:pt>
                <c:pt idx="104">
                  <c:v>0.1828788495455162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395718491124027</c:v>
                </c:pt>
                <c:pt idx="1">
                  <c:v>0.11809226741590716</c:v>
                </c:pt>
                <c:pt idx="2">
                  <c:v>0.11613644253274039</c:v>
                </c:pt>
                <c:pt idx="3">
                  <c:v>0.11426800831350072</c:v>
                </c:pt>
                <c:pt idx="4">
                  <c:v>0.11551021590848355</c:v>
                </c:pt>
                <c:pt idx="5">
                  <c:v>0.10853553584599042</c:v>
                </c:pt>
                <c:pt idx="6">
                  <c:v>0.10230012060780835</c:v>
                </c:pt>
                <c:pt idx="7">
                  <c:v>0.10526396141265837</c:v>
                </c:pt>
                <c:pt idx="8">
                  <c:v>0.11505464369188305</c:v>
                </c:pt>
                <c:pt idx="9">
                  <c:v>0.10988198538394948</c:v>
                </c:pt>
                <c:pt idx="10">
                  <c:v>0.11220849593685386</c:v>
                </c:pt>
                <c:pt idx="11">
                  <c:v>0.10330046171080437</c:v>
                </c:pt>
                <c:pt idx="12">
                  <c:v>0.10567171573216295</c:v>
                </c:pt>
                <c:pt idx="13">
                  <c:v>0.10715721052570115</c:v>
                </c:pt>
                <c:pt idx="14">
                  <c:v>0.10652981665465902</c:v>
                </c:pt>
                <c:pt idx="15">
                  <c:v>0.10483685876235989</c:v>
                </c:pt>
                <c:pt idx="16">
                  <c:v>0.10810400054350423</c:v>
                </c:pt>
                <c:pt idx="17">
                  <c:v>0.10309814118737129</c:v>
                </c:pt>
                <c:pt idx="18">
                  <c:v>0.10295065360612995</c:v>
                </c:pt>
                <c:pt idx="19">
                  <c:v>0.11209111734074834</c:v>
                </c:pt>
                <c:pt idx="20">
                  <c:v>0.10853312782274326</c:v>
                </c:pt>
                <c:pt idx="21">
                  <c:v>0.10582288202371942</c:v>
                </c:pt>
                <c:pt idx="22">
                  <c:v>0.10860850632354213</c:v>
                </c:pt>
                <c:pt idx="23">
                  <c:v>0.10939503756257588</c:v>
                </c:pt>
                <c:pt idx="24">
                  <c:v>0.10751170327043671</c:v>
                </c:pt>
                <c:pt idx="25">
                  <c:v>0.1046210791561086</c:v>
                </c:pt>
                <c:pt idx="26">
                  <c:v>0.1051390268941942</c:v>
                </c:pt>
                <c:pt idx="27">
                  <c:v>0.10433674488295579</c:v>
                </c:pt>
                <c:pt idx="28">
                  <c:v>0.11214674214513504</c:v>
                </c:pt>
                <c:pt idx="29">
                  <c:v>0.1128595005812639</c:v>
                </c:pt>
                <c:pt idx="30">
                  <c:v>0.11078585719630858</c:v>
                </c:pt>
                <c:pt idx="31">
                  <c:v>0.10700964850464598</c:v>
                </c:pt>
                <c:pt idx="32">
                  <c:v>0.11152183989364199</c:v>
                </c:pt>
                <c:pt idx="33">
                  <c:v>0.11429716126478778</c:v>
                </c:pt>
                <c:pt idx="34">
                  <c:v>0.11367287654381072</c:v>
                </c:pt>
                <c:pt idx="35">
                  <c:v>0.11301467532076227</c:v>
                </c:pt>
                <c:pt idx="36">
                  <c:v>0.11502041398542234</c:v>
                </c:pt>
                <c:pt idx="37">
                  <c:v>0.11371339592487842</c:v>
                </c:pt>
                <c:pt idx="38">
                  <c:v>0.1136216558665603</c:v>
                </c:pt>
                <c:pt idx="39">
                  <c:v>0.11358489535991291</c:v>
                </c:pt>
                <c:pt idx="40">
                  <c:v>0.11516375925263587</c:v>
                </c:pt>
                <c:pt idx="41">
                  <c:v>0.11869125076122217</c:v>
                </c:pt>
                <c:pt idx="42">
                  <c:v>0.1185144515097262</c:v>
                </c:pt>
                <c:pt idx="43">
                  <c:v>0.1211535205088923</c:v>
                </c:pt>
                <c:pt idx="44">
                  <c:v>0.11854936344339254</c:v>
                </c:pt>
                <c:pt idx="45">
                  <c:v>0.11872076209409116</c:v>
                </c:pt>
                <c:pt idx="46">
                  <c:v>0.11749596455661486</c:v>
                </c:pt>
                <c:pt idx="47">
                  <c:v>0.11172424387392074</c:v>
                </c:pt>
                <c:pt idx="48">
                  <c:v>0.11262500341009206</c:v>
                </c:pt>
                <c:pt idx="49">
                  <c:v>0.11858957582674472</c:v>
                </c:pt>
                <c:pt idx="50">
                  <c:v>0.11860402335885258</c:v>
                </c:pt>
                <c:pt idx="51">
                  <c:v>0.11002313077975111</c:v>
                </c:pt>
              </c:numCache>
            </c:numRef>
          </c:xVal>
          <c:yVal>
            <c:numRef>
              <c:f>Sheet1!$B$109:$B$160</c:f>
              <c:numCache>
                <c:formatCode>General</c:formatCode>
                <c:ptCount val="52"/>
                <c:pt idx="0">
                  <c:v>0.1895009881422925</c:v>
                </c:pt>
                <c:pt idx="1">
                  <c:v>0.18778197460917007</c:v>
                </c:pt>
                <c:pt idx="2">
                  <c:v>0.20062526444454892</c:v>
                </c:pt>
                <c:pt idx="3">
                  <c:v>0.2109382344646047</c:v>
                </c:pt>
                <c:pt idx="4">
                  <c:v>0.19643423331138266</c:v>
                </c:pt>
                <c:pt idx="5">
                  <c:v>0.19497255978047826</c:v>
                </c:pt>
                <c:pt idx="6">
                  <c:v>0.20213940648723258</c:v>
                </c:pt>
                <c:pt idx="7">
                  <c:v>0.19750794499858407</c:v>
                </c:pt>
                <c:pt idx="8">
                  <c:v>0.18985678180286436</c:v>
                </c:pt>
                <c:pt idx="9">
                  <c:v>0.19953445065176909</c:v>
                </c:pt>
                <c:pt idx="10">
                  <c:v>0.20161601758607373</c:v>
                </c:pt>
                <c:pt idx="11">
                  <c:v>0.20536135246177678</c:v>
                </c:pt>
                <c:pt idx="12">
                  <c:v>0.2045144675049235</c:v>
                </c:pt>
                <c:pt idx="13">
                  <c:v>0.20614427991779521</c:v>
                </c:pt>
                <c:pt idx="14">
                  <c:v>0.20374727668845316</c:v>
                </c:pt>
                <c:pt idx="15">
                  <c:v>0.20129224652087474</c:v>
                </c:pt>
                <c:pt idx="16">
                  <c:v>0.19142342342342342</c:v>
                </c:pt>
                <c:pt idx="17">
                  <c:v>0.19288650850526157</c:v>
                </c:pt>
                <c:pt idx="18">
                  <c:v>0.19724100127900604</c:v>
                </c:pt>
                <c:pt idx="19">
                  <c:v>0.19699765179469977</c:v>
                </c:pt>
                <c:pt idx="20">
                  <c:v>0.1840305244055651</c:v>
                </c:pt>
                <c:pt idx="21">
                  <c:v>0.19424171024653755</c:v>
                </c:pt>
                <c:pt idx="22">
                  <c:v>0.19073538583659352</c:v>
                </c:pt>
                <c:pt idx="23">
                  <c:v>0.19870296798317363</c:v>
                </c:pt>
                <c:pt idx="24">
                  <c:v>0.19888425499647944</c:v>
                </c:pt>
                <c:pt idx="25">
                  <c:v>0.19659187730758307</c:v>
                </c:pt>
                <c:pt idx="26">
                  <c:v>0.19053030303030302</c:v>
                </c:pt>
                <c:pt idx="27">
                  <c:v>0.19100848163945677</c:v>
                </c:pt>
                <c:pt idx="28">
                  <c:v>0.18142673236560572</c:v>
                </c:pt>
                <c:pt idx="29">
                  <c:v>0.18295873151460146</c:v>
                </c:pt>
                <c:pt idx="30">
                  <c:v>0.19096874652430207</c:v>
                </c:pt>
                <c:pt idx="31">
                  <c:v>0.1822752604797674</c:v>
                </c:pt>
                <c:pt idx="32">
                  <c:v>0.17781783480012725</c:v>
                </c:pt>
                <c:pt idx="33">
                  <c:v>0.1965108041091038</c:v>
                </c:pt>
                <c:pt idx="34">
                  <c:v>0.21435682653026195</c:v>
                </c:pt>
                <c:pt idx="35">
                  <c:v>0.21057403057650306</c:v>
                </c:pt>
                <c:pt idx="36">
                  <c:v>0.1951282884053264</c:v>
                </c:pt>
                <c:pt idx="37">
                  <c:v>0.19675832127351664</c:v>
                </c:pt>
                <c:pt idx="38">
                  <c:v>0.19594594594594594</c:v>
                </c:pt>
                <c:pt idx="39">
                  <c:v>0.20339545691658367</c:v>
                </c:pt>
                <c:pt idx="40">
                  <c:v>0.19003562011379932</c:v>
                </c:pt>
                <c:pt idx="41">
                  <c:v>0.1933872088981578</c:v>
                </c:pt>
                <c:pt idx="42">
                  <c:v>0.19131495486704075</c:v>
                </c:pt>
                <c:pt idx="43">
                  <c:v>0.18496799799764008</c:v>
                </c:pt>
                <c:pt idx="44">
                  <c:v>0.1825501390718782</c:v>
                </c:pt>
                <c:pt idx="45">
                  <c:v>0.1977002885653237</c:v>
                </c:pt>
                <c:pt idx="46">
                  <c:v>0.2098371043113235</c:v>
                </c:pt>
                <c:pt idx="47">
                  <c:v>0.21031106704672203</c:v>
                </c:pt>
                <c:pt idx="48">
                  <c:v>0.20441701986204605</c:v>
                </c:pt>
                <c:pt idx="49">
                  <c:v>0.21285381785419324</c:v>
                </c:pt>
                <c:pt idx="50">
                  <c:v>0.21914104646980764</c:v>
                </c:pt>
                <c:pt idx="51">
                  <c:v>0.210663171014741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8171070058982477</c:v>
                </c:pt>
              </c:numCache>
            </c:numRef>
          </c:xVal>
          <c:yVal>
            <c:numRef>
              <c:f>Sheet1!$B$163:$B$164</c:f>
              <c:numCache>
                <c:formatCode>General</c:formatCode>
                <c:ptCount val="2"/>
                <c:pt idx="0">
                  <c:v>0.2482791923123147</c:v>
                </c:pt>
                <c:pt idx="1">
                  <c:v>0.2482791923123147</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8171070058982477</c:v>
                </c:pt>
                <c:pt idx="1">
                  <c:v>2.8171070058982477</c:v>
                </c:pt>
              </c:numCache>
            </c:numRef>
          </c:xVal>
          <c:yVal>
            <c:numRef>
              <c:f>Sheet1!$B$167:$B$168</c:f>
              <c:numCache>
                <c:formatCode>General</c:formatCode>
                <c:ptCount val="2"/>
                <c:pt idx="0">
                  <c:v>0.24827919231231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858892518957918</c:v>
                </c:pt>
              </c:numCache>
            </c:numRef>
          </c:xVal>
          <c:yVal>
            <c:numRef>
              <c:f>Sheet1!$B$171:$B$172</c:f>
              <c:numCache>
                <c:formatCode>General</c:formatCode>
                <c:ptCount val="2"/>
                <c:pt idx="0">
                  <c:v>0.2117687638001972</c:v>
                </c:pt>
                <c:pt idx="1">
                  <c:v>0.211768763800197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858892518957918</c:v>
                </c:pt>
                <c:pt idx="1">
                  <c:v>0.8858892518957918</c:v>
                </c:pt>
              </c:numCache>
            </c:numRef>
          </c:xVal>
          <c:yVal>
            <c:numRef>
              <c:f>Sheet1!$B$175:$B$176</c:f>
              <c:numCache>
                <c:formatCode>General</c:formatCode>
                <c:ptCount val="2"/>
                <c:pt idx="0">
                  <c:v>0.211768763800197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0640851207624065</c:v>
                </c:pt>
              </c:numCache>
            </c:numRef>
          </c:xVal>
          <c:yVal>
            <c:numRef>
              <c:f>Sheet1!$B$179:$B$180</c:f>
              <c:numCache>
                <c:formatCode>General</c:formatCode>
                <c:ptCount val="2"/>
                <c:pt idx="0">
                  <c:v>0.20081345330686598</c:v>
                </c:pt>
                <c:pt idx="1">
                  <c:v>0.2008134533068659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0640851207624065</c:v>
                </c:pt>
                <c:pt idx="1">
                  <c:v>0.30640851207624065</c:v>
                </c:pt>
              </c:numCache>
            </c:numRef>
          </c:xVal>
          <c:yVal>
            <c:numRef>
              <c:f>Sheet1!$B$183:$B$184</c:f>
              <c:numCache>
                <c:formatCode>General</c:formatCode>
                <c:ptCount val="2"/>
                <c:pt idx="0">
                  <c:v>0.2008134533068659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395718491124027</c:v>
                </c:pt>
                <c:pt idx="1">
                  <c:v>0.11809226741590716</c:v>
                </c:pt>
                <c:pt idx="2">
                  <c:v>0.11613644253274039</c:v>
                </c:pt>
                <c:pt idx="3">
                  <c:v>0.11426800831350072</c:v>
                </c:pt>
                <c:pt idx="4">
                  <c:v>0.11551021590848355</c:v>
                </c:pt>
                <c:pt idx="5">
                  <c:v>0.10853553584599042</c:v>
                </c:pt>
                <c:pt idx="6">
                  <c:v>0.10230012060780835</c:v>
                </c:pt>
                <c:pt idx="7">
                  <c:v>0.10526396141265837</c:v>
                </c:pt>
                <c:pt idx="8">
                  <c:v>0.11505464369188305</c:v>
                </c:pt>
                <c:pt idx="9">
                  <c:v>0.10988198538394948</c:v>
                </c:pt>
                <c:pt idx="10">
                  <c:v>0.11220849593685386</c:v>
                </c:pt>
                <c:pt idx="11">
                  <c:v>0.10330046171080437</c:v>
                </c:pt>
                <c:pt idx="12">
                  <c:v>0.10567171573216295</c:v>
                </c:pt>
                <c:pt idx="13">
                  <c:v>0.10715721052570115</c:v>
                </c:pt>
                <c:pt idx="14">
                  <c:v>0.10652981665465902</c:v>
                </c:pt>
                <c:pt idx="15">
                  <c:v>0.10483685876235989</c:v>
                </c:pt>
                <c:pt idx="16">
                  <c:v>0.10810400054350423</c:v>
                </c:pt>
                <c:pt idx="17">
                  <c:v>0.10309814118737129</c:v>
                </c:pt>
                <c:pt idx="18">
                  <c:v>0.10295065360612995</c:v>
                </c:pt>
                <c:pt idx="19">
                  <c:v>0.11209111734074834</c:v>
                </c:pt>
                <c:pt idx="20">
                  <c:v>0.10853312782274326</c:v>
                </c:pt>
                <c:pt idx="21">
                  <c:v>0.10582288202371942</c:v>
                </c:pt>
                <c:pt idx="22">
                  <c:v>0.10860850632354213</c:v>
                </c:pt>
                <c:pt idx="23">
                  <c:v>0.10939503756257588</c:v>
                </c:pt>
                <c:pt idx="24">
                  <c:v>0.10751170327043671</c:v>
                </c:pt>
                <c:pt idx="25">
                  <c:v>0.1046210791561086</c:v>
                </c:pt>
                <c:pt idx="26">
                  <c:v>0.1051390268941942</c:v>
                </c:pt>
                <c:pt idx="27">
                  <c:v>0.10433674488295579</c:v>
                </c:pt>
                <c:pt idx="28">
                  <c:v>0.11214674214513504</c:v>
                </c:pt>
                <c:pt idx="29">
                  <c:v>0.1128595005812639</c:v>
                </c:pt>
                <c:pt idx="30">
                  <c:v>0.11078585719630858</c:v>
                </c:pt>
                <c:pt idx="31">
                  <c:v>0.10700964850464598</c:v>
                </c:pt>
                <c:pt idx="32">
                  <c:v>0.11152183989364199</c:v>
                </c:pt>
                <c:pt idx="33">
                  <c:v>0.11429716126478778</c:v>
                </c:pt>
                <c:pt idx="34">
                  <c:v>0.11367287654381072</c:v>
                </c:pt>
                <c:pt idx="35">
                  <c:v>0.11301467532076227</c:v>
                </c:pt>
                <c:pt idx="36">
                  <c:v>0.11502041398542234</c:v>
                </c:pt>
                <c:pt idx="37">
                  <c:v>0.11371339592487842</c:v>
                </c:pt>
                <c:pt idx="38">
                  <c:v>0.1136216558665603</c:v>
                </c:pt>
                <c:pt idx="39">
                  <c:v>0.11358489535991291</c:v>
                </c:pt>
                <c:pt idx="40">
                  <c:v>0.11516375925263587</c:v>
                </c:pt>
                <c:pt idx="41">
                  <c:v>0.11869125076122217</c:v>
                </c:pt>
                <c:pt idx="42">
                  <c:v>0.1185144515097262</c:v>
                </c:pt>
                <c:pt idx="43">
                  <c:v>0.1211535205088923</c:v>
                </c:pt>
                <c:pt idx="44">
                  <c:v>0.11854936344339254</c:v>
                </c:pt>
                <c:pt idx="45">
                  <c:v>0.11872076209409116</c:v>
                </c:pt>
                <c:pt idx="46">
                  <c:v>0.11749596455661486</c:v>
                </c:pt>
                <c:pt idx="47">
                  <c:v>0.11172424387392074</c:v>
                </c:pt>
                <c:pt idx="48">
                  <c:v>0.11262500341009206</c:v>
                </c:pt>
                <c:pt idx="49">
                  <c:v>0.11858957582674472</c:v>
                </c:pt>
                <c:pt idx="50">
                  <c:v>0.11860402335885258</c:v>
                </c:pt>
                <c:pt idx="51">
                  <c:v>0.11002313077975111</c:v>
                </c:pt>
                <c:pt idx="52">
                  <c:v>0.8858892518957918</c:v>
                </c:pt>
                <c:pt idx="53">
                  <c:v>2.8171070058982477</c:v>
                </c:pt>
                <c:pt idx="54">
                  <c:v>0.30640851207624065</c:v>
                </c:pt>
              </c:numCache>
            </c:numRef>
          </c:xVal>
          <c:yVal>
            <c:numRef>
              <c:f>Sheet1!$B$187:$B$241</c:f>
              <c:numCache>
                <c:formatCode>General</c:formatCode>
                <c:ptCount val="55"/>
                <c:pt idx="0">
                  <c:v>0.1971750855423001</c:v>
                </c:pt>
                <c:pt idx="1">
                  <c:v>0.19725326089765058</c:v>
                </c:pt>
                <c:pt idx="2">
                  <c:v>0.19721628526171772</c:v>
                </c:pt>
                <c:pt idx="3">
                  <c:v>0.1971809617805361</c:v>
                </c:pt>
                <c:pt idx="4">
                  <c:v>0.1972044462019587</c:v>
                </c:pt>
                <c:pt idx="5">
                  <c:v>0.19707258714189735</c:v>
                </c:pt>
                <c:pt idx="6">
                  <c:v>0.1969547041730684</c:v>
                </c:pt>
                <c:pt idx="7">
                  <c:v>0.19701073674505698</c:v>
                </c:pt>
                <c:pt idx="8">
                  <c:v>0.1971958334306584</c:v>
                </c:pt>
                <c:pt idx="9">
                  <c:v>0.1970980422981059</c:v>
                </c:pt>
                <c:pt idx="10">
                  <c:v>0.19714202589190233</c:v>
                </c:pt>
                <c:pt idx="11">
                  <c:v>0.19697361601366895</c:v>
                </c:pt>
                <c:pt idx="12">
                  <c:v>0.19701844550027214</c:v>
                </c:pt>
                <c:pt idx="13">
                  <c:v>0.19704652936153128</c:v>
                </c:pt>
                <c:pt idx="14">
                  <c:v>0.19703466823451432</c:v>
                </c:pt>
                <c:pt idx="15">
                  <c:v>0.19700266220206528</c:v>
                </c:pt>
                <c:pt idx="16">
                  <c:v>0.1970644287978788</c:v>
                </c:pt>
                <c:pt idx="17">
                  <c:v>0.19696979106488105</c:v>
                </c:pt>
                <c:pt idx="18">
                  <c:v>0.19696700275435514</c:v>
                </c:pt>
                <c:pt idx="19">
                  <c:v>0.19713980680354054</c:v>
                </c:pt>
                <c:pt idx="20">
                  <c:v>0.19707254161727414</c:v>
                </c:pt>
                <c:pt idx="21">
                  <c:v>0.19702130335825832</c:v>
                </c:pt>
                <c:pt idx="22">
                  <c:v>0.19707396667737367</c:v>
                </c:pt>
                <c:pt idx="23">
                  <c:v>0.1970888363587008</c:v>
                </c:pt>
                <c:pt idx="24">
                  <c:v>0.19705323118580145</c:v>
                </c:pt>
                <c:pt idx="25">
                  <c:v>0.19699858280404187</c:v>
                </c:pt>
                <c:pt idx="26">
                  <c:v>0.19700837480902172</c:v>
                </c:pt>
                <c:pt idx="27">
                  <c:v>0.19699320735317313</c:v>
                </c:pt>
                <c:pt idx="28">
                  <c:v>0.19714085841226767</c:v>
                </c:pt>
                <c:pt idx="29">
                  <c:v>0.19715433338984323</c:v>
                </c:pt>
                <c:pt idx="30">
                  <c:v>0.19711513034895922</c:v>
                </c:pt>
                <c:pt idx="31">
                  <c:v>0.1970437396436915</c:v>
                </c:pt>
                <c:pt idx="32">
                  <c:v>0.19712904439029477</c:v>
                </c:pt>
                <c:pt idx="33">
                  <c:v>0.19718151292850564</c:v>
                </c:pt>
                <c:pt idx="34">
                  <c:v>0.19716971058118918</c:v>
                </c:pt>
                <c:pt idx="35">
                  <c:v>0.1971572670291087</c:v>
                </c:pt>
                <c:pt idx="36">
                  <c:v>0.19719518630464264</c:v>
                </c:pt>
                <c:pt idx="37">
                  <c:v>0.19717047661596843</c:v>
                </c:pt>
                <c:pt idx="38">
                  <c:v>0.19716874223421163</c:v>
                </c:pt>
                <c:pt idx="39">
                  <c:v>0.19716804726242648</c:v>
                </c:pt>
                <c:pt idx="40">
                  <c:v>0.19719789630309845</c:v>
                </c:pt>
                <c:pt idx="41">
                  <c:v>0.19726458491254417</c:v>
                </c:pt>
                <c:pt idx="42">
                  <c:v>0.1972612424534044</c:v>
                </c:pt>
                <c:pt idx="43">
                  <c:v>0.19731113508712367</c:v>
                </c:pt>
                <c:pt idx="44">
                  <c:v>0.19726190247719289</c:v>
                </c:pt>
                <c:pt idx="45">
                  <c:v>0.197265142835858</c:v>
                </c:pt>
                <c:pt idx="46">
                  <c:v>0.19724198755839578</c:v>
                </c:pt>
                <c:pt idx="47">
                  <c:v>0.19713287091686707</c:v>
                </c:pt>
                <c:pt idx="48">
                  <c:v>0.1971499001289193</c:v>
                </c:pt>
                <c:pt idx="49">
                  <c:v>0.19726266270805998</c:v>
                </c:pt>
                <c:pt idx="50">
                  <c:v>0.19726293584431667</c:v>
                </c:pt>
                <c:pt idx="51">
                  <c:v>0.19710071070713048</c:v>
                </c:pt>
                <c:pt idx="52">
                  <c:v>0.2117687638001972</c:v>
                </c:pt>
                <c:pt idx="53">
                  <c:v>0.2482791923123147</c:v>
                </c:pt>
                <c:pt idx="54">
                  <c:v>0.2008134533068659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641155439130587"/>
          <c:min val="0.1313637663204040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c:f>
              <c:numCache>
                <c:formatCode>General</c:formatCode>
                <c:ptCount val="9"/>
                <c:pt idx="0">
                  <c:v>0.11133430168544085</c:v>
                </c:pt>
                <c:pt idx="1">
                  <c:v>0.14806329621974765</c:v>
                </c:pt>
                <c:pt idx="2">
                  <c:v>0.1241124364952328</c:v>
                </c:pt>
                <c:pt idx="3">
                  <c:v>0.1410896187809606</c:v>
                </c:pt>
                <c:pt idx="4">
                  <c:v>0.11752128583840138</c:v>
                </c:pt>
                <c:pt idx="5">
                  <c:v>0.15471796563860332</c:v>
                </c:pt>
                <c:pt idx="6">
                  <c:v>0.13332764273074416</c:v>
                </c:pt>
                <c:pt idx="7">
                  <c:v>0.15959679216911873</c:v>
                </c:pt>
                <c:pt idx="8">
                  <c:v>0.13074952487973263</c:v>
                </c:pt>
              </c:numCache>
            </c:numRef>
          </c:xVal>
          <c:yVal>
            <c:numRef>
              <c:f>Sheet1!$B$2:$B$10</c:f>
              <c:numCache>
                <c:formatCode>General</c:formatCode>
                <c:ptCount val="9"/>
                <c:pt idx="0">
                  <c:v>0.984171322160149</c:v>
                </c:pt>
                <c:pt idx="1">
                  <c:v>0.9827327327327328</c:v>
                </c:pt>
                <c:pt idx="2">
                  <c:v>0.9798935541099941</c:v>
                </c:pt>
                <c:pt idx="3">
                  <c:v>0.9841269841269841</c:v>
                </c:pt>
                <c:pt idx="4">
                  <c:v>0.9851668726823238</c:v>
                </c:pt>
                <c:pt idx="5">
                  <c:v>0.972341733251383</c:v>
                </c:pt>
                <c:pt idx="6">
                  <c:v>0.9662487945998072</c:v>
                </c:pt>
                <c:pt idx="7">
                  <c:v>0.9632164242942686</c:v>
                </c:pt>
                <c:pt idx="8">
                  <c:v>0.9690909090909091</c:v>
                </c:pt>
              </c:numCache>
            </c:numRef>
          </c:yVal>
          <c:smooth val="0"/>
          <c:extLst>
            <c:ext xmlns:c16="http://schemas.microsoft.com/office/drawing/2014/chart" uri="{C3380CC4-5D6E-409C-BE32-E72D297353CC}">
              <c16:uniqueId val="{00000000-096C-4121-9522-6AB7243CCAAE}"/>
            </c:ext>
          </c:extLst>
        </c:ser>
        <c:ser>
          <c:idx val="1"/>
          <c:order val="1"/>
          <c:tx>
            <c:strRef>
              <c:f>Sheet1!$B$1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3:$A$64</c:f>
              <c:numCache>
                <c:formatCode>General</c:formatCode>
                <c:ptCount val="52"/>
                <c:pt idx="0">
                  <c:v>0.2402979172955026</c:v>
                </c:pt>
                <c:pt idx="1">
                  <c:v>0.2406991762930721</c:v>
                </c:pt>
                <c:pt idx="2">
                  <c:v>0.23273474802253027</c:v>
                </c:pt>
                <c:pt idx="3">
                  <c:v>0.2321241225197662</c:v>
                </c:pt>
                <c:pt idx="4">
                  <c:v>0.2586112065264062</c:v>
                </c:pt>
                <c:pt idx="5">
                  <c:v>0.23509932472723172</c:v>
                </c:pt>
                <c:pt idx="6">
                  <c:v>0.23865706881682475</c:v>
                </c:pt>
                <c:pt idx="7">
                  <c:v>0.2296946718670938</c:v>
                </c:pt>
                <c:pt idx="8">
                  <c:v>0.2850498174986655</c:v>
                </c:pt>
                <c:pt idx="9">
                  <c:v>0.28101884468896426</c:v>
                </c:pt>
                <c:pt idx="10">
                  <c:v>0.21916886812551362</c:v>
                </c:pt>
                <c:pt idx="11">
                  <c:v>0.18550546660617903</c:v>
                </c:pt>
                <c:pt idx="12">
                  <c:v>0.18613333799541948</c:v>
                </c:pt>
                <c:pt idx="13">
                  <c:v>0.2245192413256319</c:v>
                </c:pt>
                <c:pt idx="14">
                  <c:v>0.21267916505604947</c:v>
                </c:pt>
                <c:pt idx="15">
                  <c:v>0.21552312499999998</c:v>
                </c:pt>
                <c:pt idx="16">
                  <c:v>0.23965438476128978</c:v>
                </c:pt>
                <c:pt idx="17">
                  <c:v>0.23831491459458443</c:v>
                </c:pt>
                <c:pt idx="18">
                  <c:v>0.2557151239958086</c:v>
                </c:pt>
                <c:pt idx="19">
                  <c:v>0.26071741983192226</c:v>
                </c:pt>
                <c:pt idx="20">
                  <c:v>0.24689199898157285</c:v>
                </c:pt>
                <c:pt idx="21">
                  <c:v>0.2577032635166229</c:v>
                </c:pt>
                <c:pt idx="22">
                  <c:v>0.2187290058511661</c:v>
                </c:pt>
                <c:pt idx="23">
                  <c:v>0.26565976656368007</c:v>
                </c:pt>
                <c:pt idx="24">
                  <c:v>0.28943680332514643</c:v>
                </c:pt>
                <c:pt idx="25">
                  <c:v>0.24586684511538204</c:v>
                </c:pt>
                <c:pt idx="26">
                  <c:v>0.22029494174900457</c:v>
                </c:pt>
                <c:pt idx="27">
                  <c:v>0.21047806033066901</c:v>
                </c:pt>
                <c:pt idx="28">
                  <c:v>0.23707981629345018</c:v>
                </c:pt>
                <c:pt idx="29">
                  <c:v>0.2394245921925976</c:v>
                </c:pt>
                <c:pt idx="30">
                  <c:v>0.24556552611354296</c:v>
                </c:pt>
                <c:pt idx="31">
                  <c:v>0.23088014770081491</c:v>
                </c:pt>
                <c:pt idx="32">
                  <c:v>0.21530136340119907</c:v>
                </c:pt>
                <c:pt idx="33">
                  <c:v>0.22580825383342973</c:v>
                </c:pt>
                <c:pt idx="34">
                  <c:v>0.23566698192434857</c:v>
                </c:pt>
                <c:pt idx="35">
                  <c:v>0.2110341058079217</c:v>
                </c:pt>
                <c:pt idx="36">
                  <c:v>0.231412619389475</c:v>
                </c:pt>
                <c:pt idx="37">
                  <c:v>0.2641894886282166</c:v>
                </c:pt>
                <c:pt idx="38">
                  <c:v>0.23381654463670093</c:v>
                </c:pt>
                <c:pt idx="39">
                  <c:v>0.22569658646966698</c:v>
                </c:pt>
                <c:pt idx="40">
                  <c:v>0.23618547263213535</c:v>
                </c:pt>
                <c:pt idx="41">
                  <c:v>0.25965007111929633</c:v>
                </c:pt>
                <c:pt idx="42">
                  <c:v>0.26024129316312095</c:v>
                </c:pt>
                <c:pt idx="43">
                  <c:v>0.22325590919017227</c:v>
                </c:pt>
                <c:pt idx="44">
                  <c:v>0.20997539007808777</c:v>
                </c:pt>
                <c:pt idx="45">
                  <c:v>0.2164991911371869</c:v>
                </c:pt>
                <c:pt idx="46">
                  <c:v>0.21796404997477736</c:v>
                </c:pt>
                <c:pt idx="47">
                  <c:v>0.21436140834728673</c:v>
                </c:pt>
                <c:pt idx="48">
                  <c:v>0.21692530020798387</c:v>
                </c:pt>
                <c:pt idx="49">
                  <c:v>0.19625952995252094</c:v>
                </c:pt>
                <c:pt idx="50">
                  <c:v>0.16948599143212023</c:v>
                </c:pt>
                <c:pt idx="51">
                  <c:v>0.16602270878809589</c:v>
                </c:pt>
              </c:numCache>
            </c:numRef>
          </c:xVal>
          <c:yVal>
            <c:numRef>
              <c:f>Sheet1!$B$13:$B$64</c:f>
              <c:numCache>
                <c:formatCode>General</c:formatCode>
                <c:ptCount val="52"/>
                <c:pt idx="0">
                  <c:v>0.9634340222575517</c:v>
                </c:pt>
                <c:pt idx="1">
                  <c:v>0.9601518026565465</c:v>
                </c:pt>
                <c:pt idx="2">
                  <c:v>0.9593869731800766</c:v>
                </c:pt>
                <c:pt idx="3">
                  <c:v>0.960060286360211</c:v>
                </c:pt>
                <c:pt idx="4">
                  <c:v>0.9621749408983451</c:v>
                </c:pt>
                <c:pt idx="5">
                  <c:v>0.9579901153212521</c:v>
                </c:pt>
                <c:pt idx="6">
                  <c:v>0.9709257842387146</c:v>
                </c:pt>
                <c:pt idx="7">
                  <c:v>0.9677033492822966</c:v>
                </c:pt>
                <c:pt idx="8">
                  <c:v>0.948502994011976</c:v>
                </c:pt>
                <c:pt idx="9">
                  <c:v>0.950253807106599</c:v>
                </c:pt>
                <c:pt idx="10">
                  <c:v>0.9489120151371807</c:v>
                </c:pt>
                <c:pt idx="11">
                  <c:v>0.9691435768261965</c:v>
                </c:pt>
                <c:pt idx="12">
                  <c:v>0.96045197740113</c:v>
                </c:pt>
                <c:pt idx="13">
                  <c:v>0.9587087087087087</c:v>
                </c:pt>
                <c:pt idx="14">
                  <c:v>0.9609561752988047</c:v>
                </c:pt>
                <c:pt idx="15">
                  <c:v>0.9319965126416739</c:v>
                </c:pt>
                <c:pt idx="16">
                  <c:v>0.9462857142857143</c:v>
                </c:pt>
                <c:pt idx="17">
                  <c:v>0.9426229508196722</c:v>
                </c:pt>
                <c:pt idx="18">
                  <c:v>0.9308510638297872</c:v>
                </c:pt>
                <c:pt idx="19">
                  <c:v>0.9267955801104972</c:v>
                </c:pt>
                <c:pt idx="20">
                  <c:v>0.9192825112107623</c:v>
                </c:pt>
                <c:pt idx="21">
                  <c:v>0.947289156626506</c:v>
                </c:pt>
                <c:pt idx="22">
                  <c:v>0.9367311072056239</c:v>
                </c:pt>
                <c:pt idx="23">
                  <c:v>0.9241379310344827</c:v>
                </c:pt>
                <c:pt idx="24">
                  <c:v>0.926829268292683</c:v>
                </c:pt>
                <c:pt idx="25">
                  <c:v>0.9193548387096774</c:v>
                </c:pt>
                <c:pt idx="26">
                  <c:v>0.9331983805668016</c:v>
                </c:pt>
                <c:pt idx="27">
                  <c:v>0.9111969111969112</c:v>
                </c:pt>
                <c:pt idx="28">
                  <c:v>0.9299552906110283</c:v>
                </c:pt>
                <c:pt idx="29">
                  <c:v>0.9195876288659793</c:v>
                </c:pt>
                <c:pt idx="30">
                  <c:v>0.9158699808795411</c:v>
                </c:pt>
                <c:pt idx="31">
                  <c:v>0.9127659574468086</c:v>
                </c:pt>
                <c:pt idx="32">
                  <c:v>0.920303605313093</c:v>
                </c:pt>
                <c:pt idx="33">
                  <c:v>0.9288590604026845</c:v>
                </c:pt>
                <c:pt idx="34">
                  <c:v>0.9392565729827742</c:v>
                </c:pt>
                <c:pt idx="35">
                  <c:v>0.9195652173913044</c:v>
                </c:pt>
                <c:pt idx="36">
                  <c:v>0.9032921810699589</c:v>
                </c:pt>
                <c:pt idx="37">
                  <c:v>0.8803921568627451</c:v>
                </c:pt>
                <c:pt idx="38">
                  <c:v>0.9055690072639225</c:v>
                </c:pt>
                <c:pt idx="39">
                  <c:v>0.9014285714285715</c:v>
                </c:pt>
                <c:pt idx="40">
                  <c:v>0.7325153374233129</c:v>
                </c:pt>
                <c:pt idx="41">
                  <c:v>0.8328877005347594</c:v>
                </c:pt>
                <c:pt idx="42">
                  <c:v>0.8688783570300158</c:v>
                </c:pt>
                <c:pt idx="43">
                  <c:v>0.8708891595615104</c:v>
                </c:pt>
                <c:pt idx="44">
                  <c:v>0.9065708418891171</c:v>
                </c:pt>
                <c:pt idx="45">
                  <c:v>0.9248389405869721</c:v>
                </c:pt>
                <c:pt idx="46">
                  <c:v>0.9207258834765998</c:v>
                </c:pt>
                <c:pt idx="47">
                  <c:v>0.9324200913242009</c:v>
                </c:pt>
                <c:pt idx="48">
                  <c:v>0.9085979860573199</c:v>
                </c:pt>
                <c:pt idx="49">
                  <c:v>0.9132653061224489</c:v>
                </c:pt>
                <c:pt idx="50">
                  <c:v>0.9417218543046357</c:v>
                </c:pt>
                <c:pt idx="51">
                  <c:v>0.9239332096474954</c:v>
                </c:pt>
              </c:numCache>
            </c:numRef>
          </c:yVal>
          <c:smooth val="0"/>
          <c:extLst>
            <c:ext xmlns:c16="http://schemas.microsoft.com/office/drawing/2014/chart" uri="{C3380CC4-5D6E-409C-BE32-E72D297353CC}">
              <c16:uniqueId val="{00000002-096C-4121-9522-6AB7243CCAAE}"/>
            </c:ext>
          </c:extLst>
        </c:ser>
        <c:ser>
          <c:idx val="2"/>
          <c:order val="2"/>
          <c:tx>
            <c:strRef>
              <c:f>Sheet1!$B$6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67:$A$68</c:f>
              <c:numCache>
                <c:formatCode>General</c:formatCode>
                <c:ptCount val="2"/>
                <c:pt idx="0">
                  <c:v>0</c:v>
                </c:pt>
                <c:pt idx="1">
                  <c:v>-0.13693603892694048</c:v>
                </c:pt>
              </c:numCache>
            </c:numRef>
          </c:xVal>
          <c:yVal>
            <c:numRef>
              <c:f>Sheet1!$B$67:$B$68</c:f>
              <c:numCache>
                <c:formatCode>General</c:formatCode>
                <c:ptCount val="2"/>
                <c:pt idx="0">
                  <c:v>0.9832182931624368</c:v>
                </c:pt>
                <c:pt idx="1">
                  <c:v>0.9832182931624368</c:v>
                </c:pt>
              </c:numCache>
            </c:numRef>
          </c:yVal>
          <c:smooth val="0"/>
          <c:extLst>
            <c:ext xmlns:c16="http://schemas.microsoft.com/office/drawing/2014/chart" uri="{C3380CC4-5D6E-409C-BE32-E72D297353CC}">
              <c16:uniqueId val="{00000005-096C-4121-9522-6AB7243CCAAE}"/>
            </c:ext>
          </c:extLst>
        </c:ser>
        <c:ser>
          <c:idx val="3"/>
          <c:order val="3"/>
          <c:tx>
            <c:strRef>
              <c:f>Sheet1!$B$7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1:$A$72</c:f>
              <c:numCache>
                <c:formatCode>General</c:formatCode>
                <c:ptCount val="2"/>
                <c:pt idx="0">
                  <c:v>-0.13693603892694048</c:v>
                </c:pt>
                <c:pt idx="1">
                  <c:v>-0.13693603892694048</c:v>
                </c:pt>
              </c:numCache>
            </c:numRef>
          </c:xVal>
          <c:yVal>
            <c:numRef>
              <c:f>Sheet1!$B$71:$B$72</c:f>
              <c:numCache>
                <c:formatCode>General</c:formatCode>
                <c:ptCount val="2"/>
                <c:pt idx="0">
                  <c:v>0.983218293162436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7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75:$A$76</c:f>
              <c:numCache>
                <c:formatCode>General</c:formatCode>
                <c:ptCount val="2"/>
                <c:pt idx="0">
                  <c:v>0</c:v>
                </c:pt>
                <c:pt idx="1">
                  <c:v>0.005142059920125005</c:v>
                </c:pt>
              </c:numCache>
            </c:numRef>
          </c:xVal>
          <c:yVal>
            <c:numRef>
              <c:f>Sheet1!$B$75:$B$76</c:f>
              <c:numCache>
                <c:formatCode>General</c:formatCode>
                <c:ptCount val="2"/>
                <c:pt idx="0">
                  <c:v>0.9611478075785522</c:v>
                </c:pt>
                <c:pt idx="1">
                  <c:v>0.9611478075785522</c:v>
                </c:pt>
              </c:numCache>
            </c:numRef>
          </c:yVal>
          <c:smooth val="0"/>
          <c:extLst>
            <c:ext xmlns:c16="http://schemas.microsoft.com/office/drawing/2014/chart" uri="{C3380CC4-5D6E-409C-BE32-E72D297353CC}">
              <c16:uniqueId val="{0000000D-096C-4121-9522-6AB7243CCAAE}"/>
            </c:ext>
          </c:extLst>
        </c:ser>
        <c:ser>
          <c:idx val="5"/>
          <c:order val="5"/>
          <c:tx>
            <c:strRef>
              <c:f>Sheet1!$B$7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9:$A$80</c:f>
              <c:numCache>
                <c:formatCode>General</c:formatCode>
                <c:ptCount val="2"/>
                <c:pt idx="0">
                  <c:v>0.005142059920125005</c:v>
                </c:pt>
                <c:pt idx="1">
                  <c:v>0.005142059920125005</c:v>
                </c:pt>
              </c:numCache>
            </c:numRef>
          </c:xVal>
          <c:yVal>
            <c:numRef>
              <c:f>Sheet1!$B$79:$B$80</c:f>
              <c:numCache>
                <c:formatCode>General</c:formatCode>
                <c:ptCount val="2"/>
                <c:pt idx="0">
                  <c:v>0.96114780757855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82</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83:$A$84</c:f>
              <c:numCache>
                <c:formatCode>General</c:formatCode>
                <c:ptCount val="2"/>
                <c:pt idx="0">
                  <c:v>0</c:v>
                </c:pt>
                <c:pt idx="1">
                  <c:v>0.45885906734423954</c:v>
                </c:pt>
              </c:numCache>
            </c:numRef>
          </c:xVal>
          <c:yVal>
            <c:numRef>
              <c:f>Sheet1!$B$83:$B$84</c:f>
              <c:numCache>
                <c:formatCode>General</c:formatCode>
                <c:ptCount val="2"/>
                <c:pt idx="0">
                  <c:v>0.8906671722605354</c:v>
                </c:pt>
                <c:pt idx="1">
                  <c:v>0.8906671722605354</c:v>
                </c:pt>
              </c:numCache>
            </c:numRef>
          </c:yVal>
          <c:smooth val="0"/>
          <c:extLst>
            <c:ext xmlns:c16="http://schemas.microsoft.com/office/drawing/2014/chart" uri="{C3380CC4-5D6E-409C-BE32-E72D297353CC}">
              <c16:uniqueId val="{00000015-096C-4121-9522-6AB7243CCAAE}"/>
            </c:ext>
          </c:extLst>
        </c:ser>
        <c:ser>
          <c:idx val="7"/>
          <c:order val="7"/>
          <c:tx>
            <c:strRef>
              <c:f>Sheet1!$B$86</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7:$A$88</c:f>
              <c:numCache>
                <c:formatCode>General</c:formatCode>
                <c:ptCount val="2"/>
                <c:pt idx="0">
                  <c:v>0.45885906734423954</c:v>
                </c:pt>
                <c:pt idx="1">
                  <c:v>0.45885906734423954</c:v>
                </c:pt>
              </c:numCache>
            </c:numRef>
          </c:xVal>
          <c:yVal>
            <c:numRef>
              <c:f>Sheet1!$B$87:$B$88</c:f>
              <c:numCache>
                <c:formatCode>General</c:formatCode>
                <c:ptCount val="2"/>
                <c:pt idx="0">
                  <c:v>0.89066717226053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90</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91:$A$145</c:f>
              <c:numCache>
                <c:formatCode>General</c:formatCode>
                <c:ptCount val="55"/>
                <c:pt idx="0">
                  <c:v>0.2402979172955026</c:v>
                </c:pt>
                <c:pt idx="1">
                  <c:v>0.2406991762930721</c:v>
                </c:pt>
                <c:pt idx="2">
                  <c:v>0.23273474802253027</c:v>
                </c:pt>
                <c:pt idx="3">
                  <c:v>0.2321241225197662</c:v>
                </c:pt>
                <c:pt idx="4">
                  <c:v>0.2586112065264062</c:v>
                </c:pt>
                <c:pt idx="5">
                  <c:v>0.23509932472723172</c:v>
                </c:pt>
                <c:pt idx="6">
                  <c:v>0.23865706881682475</c:v>
                </c:pt>
                <c:pt idx="7">
                  <c:v>0.2296946718670938</c:v>
                </c:pt>
                <c:pt idx="8">
                  <c:v>0.2850498174986655</c:v>
                </c:pt>
                <c:pt idx="9">
                  <c:v>0.28101884468896426</c:v>
                </c:pt>
                <c:pt idx="10">
                  <c:v>0.21916886812551362</c:v>
                </c:pt>
                <c:pt idx="11">
                  <c:v>0.18550546660617903</c:v>
                </c:pt>
                <c:pt idx="12">
                  <c:v>0.18613333799541948</c:v>
                </c:pt>
                <c:pt idx="13">
                  <c:v>0.2245192413256319</c:v>
                </c:pt>
                <c:pt idx="14">
                  <c:v>0.21267916505604947</c:v>
                </c:pt>
                <c:pt idx="15">
                  <c:v>0.21552312499999998</c:v>
                </c:pt>
                <c:pt idx="16">
                  <c:v>0.23965438476128978</c:v>
                </c:pt>
                <c:pt idx="17">
                  <c:v>0.23831491459458443</c:v>
                </c:pt>
                <c:pt idx="18">
                  <c:v>0.2557151239958086</c:v>
                </c:pt>
                <c:pt idx="19">
                  <c:v>0.26071741983192226</c:v>
                </c:pt>
                <c:pt idx="20">
                  <c:v>0.24689199898157285</c:v>
                </c:pt>
                <c:pt idx="21">
                  <c:v>0.2577032635166229</c:v>
                </c:pt>
                <c:pt idx="22">
                  <c:v>0.2187290058511661</c:v>
                </c:pt>
                <c:pt idx="23">
                  <c:v>0.26565976656368007</c:v>
                </c:pt>
                <c:pt idx="24">
                  <c:v>0.28943680332514643</c:v>
                </c:pt>
                <c:pt idx="25">
                  <c:v>0.24586684511538204</c:v>
                </c:pt>
                <c:pt idx="26">
                  <c:v>0.22029494174900457</c:v>
                </c:pt>
                <c:pt idx="27">
                  <c:v>0.21047806033066901</c:v>
                </c:pt>
                <c:pt idx="28">
                  <c:v>0.23707981629345018</c:v>
                </c:pt>
                <c:pt idx="29">
                  <c:v>0.2394245921925976</c:v>
                </c:pt>
                <c:pt idx="30">
                  <c:v>0.24556552611354296</c:v>
                </c:pt>
                <c:pt idx="31">
                  <c:v>0.23088014770081491</c:v>
                </c:pt>
                <c:pt idx="32">
                  <c:v>0.21530136340119907</c:v>
                </c:pt>
                <c:pt idx="33">
                  <c:v>0.22580825383342973</c:v>
                </c:pt>
                <c:pt idx="34">
                  <c:v>0.23566698192434857</c:v>
                </c:pt>
                <c:pt idx="35">
                  <c:v>0.2110341058079217</c:v>
                </c:pt>
                <c:pt idx="36">
                  <c:v>0.231412619389475</c:v>
                </c:pt>
                <c:pt idx="37">
                  <c:v>0.2641894886282166</c:v>
                </c:pt>
                <c:pt idx="38">
                  <c:v>0.23381654463670093</c:v>
                </c:pt>
                <c:pt idx="39">
                  <c:v>0.22569658646966698</c:v>
                </c:pt>
                <c:pt idx="40">
                  <c:v>0.23618547263213535</c:v>
                </c:pt>
                <c:pt idx="41">
                  <c:v>0.25965007111929633</c:v>
                </c:pt>
                <c:pt idx="42">
                  <c:v>0.26024129316312095</c:v>
                </c:pt>
                <c:pt idx="43">
                  <c:v>0.22325590919017227</c:v>
                </c:pt>
                <c:pt idx="44">
                  <c:v>0.20997539007808777</c:v>
                </c:pt>
                <c:pt idx="45">
                  <c:v>0.2164991911371869</c:v>
                </c:pt>
                <c:pt idx="46">
                  <c:v>0.21796404997477736</c:v>
                </c:pt>
                <c:pt idx="47">
                  <c:v>0.21436140834728673</c:v>
                </c:pt>
                <c:pt idx="48">
                  <c:v>0.21692530020798387</c:v>
                </c:pt>
                <c:pt idx="49">
                  <c:v>0.19625952995252094</c:v>
                </c:pt>
                <c:pt idx="50">
                  <c:v>0.16948599143212023</c:v>
                </c:pt>
                <c:pt idx="51">
                  <c:v>0.16602270878809589</c:v>
                </c:pt>
                <c:pt idx="52">
                  <c:v>0.005142059920125005</c:v>
                </c:pt>
                <c:pt idx="53">
                  <c:v>-0.13693603892694048</c:v>
                </c:pt>
                <c:pt idx="54">
                  <c:v>0.45885906734423954</c:v>
                </c:pt>
              </c:numCache>
            </c:numRef>
          </c:xVal>
          <c:yVal>
            <c:numRef>
              <c:f>Sheet1!$B$91:$B$145</c:f>
              <c:numCache>
                <c:formatCode>General</c:formatCode>
                <c:ptCount val="55"/>
                <c:pt idx="0">
                  <c:v>0.9246185746968829</c:v>
                </c:pt>
                <c:pt idx="1">
                  <c:v>0.9245562429160304</c:v>
                </c:pt>
                <c:pt idx="2">
                  <c:v>0.9257934413354582</c:v>
                </c:pt>
                <c:pt idx="3">
                  <c:v>0.9258882962178452</c:v>
                </c:pt>
                <c:pt idx="4">
                  <c:v>0.9217737788469663</c:v>
                </c:pt>
                <c:pt idx="5">
                  <c:v>0.9254261267634264</c:v>
                </c:pt>
                <c:pt idx="6">
                  <c:v>0.9248734649508198</c:v>
                </c:pt>
                <c:pt idx="7">
                  <c:v>0.9262656883426108</c:v>
                </c:pt>
                <c:pt idx="8">
                  <c:v>0.9176667913023957</c:v>
                </c:pt>
                <c:pt idx="9">
                  <c:v>0.9182929647098911</c:v>
                </c:pt>
                <c:pt idx="10">
                  <c:v>0.9279007721565307</c:v>
                </c:pt>
                <c:pt idx="11">
                  <c:v>0.9331300624128477</c:v>
                </c:pt>
                <c:pt idx="12">
                  <c:v>0.9330325285455083</c:v>
                </c:pt>
                <c:pt idx="13">
                  <c:v>0.9270696424078935</c:v>
                </c:pt>
                <c:pt idx="14">
                  <c:v>0.9289088859981474</c:v>
                </c:pt>
                <c:pt idx="15">
                  <c:v>0.9284671037850304</c:v>
                </c:pt>
                <c:pt idx="16">
                  <c:v>0.9247185413746071</c:v>
                </c:pt>
                <c:pt idx="17">
                  <c:v>0.9249266153652095</c:v>
                </c:pt>
                <c:pt idx="18">
                  <c:v>0.9222236578097338</c:v>
                </c:pt>
                <c:pt idx="19">
                  <c:v>0.9214465985794008</c:v>
                </c:pt>
                <c:pt idx="20">
                  <c:v>0.9235942466268119</c:v>
                </c:pt>
                <c:pt idx="21">
                  <c:v>0.9219148191851396</c:v>
                </c:pt>
                <c:pt idx="22">
                  <c:v>0.9279691005904249</c:v>
                </c:pt>
                <c:pt idx="23">
                  <c:v>0.9206788518740396</c:v>
                </c:pt>
                <c:pt idx="24">
                  <c:v>0.9169853146481769</c:v>
                </c:pt>
                <c:pt idx="25">
                  <c:v>0.9237534945602276</c:v>
                </c:pt>
                <c:pt idx="26">
                  <c:v>0.9277258472956597</c:v>
                </c:pt>
                <c:pt idx="27">
                  <c:v>0.9292508067481035</c:v>
                </c:pt>
                <c:pt idx="28">
                  <c:v>0.9251184761760668</c:v>
                </c:pt>
                <c:pt idx="29">
                  <c:v>0.9247542374714423</c:v>
                </c:pt>
                <c:pt idx="30">
                  <c:v>0.9238003016102951</c:v>
                </c:pt>
                <c:pt idx="31">
                  <c:v>0.9260815359115853</c:v>
                </c:pt>
                <c:pt idx="32">
                  <c:v>0.9285015523468363</c:v>
                </c:pt>
                <c:pt idx="33">
                  <c:v>0.9268694065362029</c:v>
                </c:pt>
                <c:pt idx="34">
                  <c:v>0.9253379465999302</c:v>
                </c:pt>
                <c:pt idx="35">
                  <c:v>0.9291644303551951</c:v>
                </c:pt>
                <c:pt idx="36">
                  <c:v>0.9259988214832268</c:v>
                </c:pt>
                <c:pt idx="37">
                  <c:v>0.920907245611303</c:v>
                </c:pt>
                <c:pt idx="38">
                  <c:v>0.9256253944881855</c:v>
                </c:pt>
                <c:pt idx="39">
                  <c:v>0.9268867530024218</c:v>
                </c:pt>
                <c:pt idx="40">
                  <c:v>0.9252574039843937</c:v>
                </c:pt>
                <c:pt idx="41">
                  <c:v>0.9216124010821521</c:v>
                </c:pt>
                <c:pt idx="42">
                  <c:v>0.9215205603431431</c:v>
                </c:pt>
                <c:pt idx="43">
                  <c:v>0.9272658890772224</c:v>
                </c:pt>
                <c:pt idx="44">
                  <c:v>0.9293288918059207</c:v>
                </c:pt>
                <c:pt idx="45">
                  <c:v>0.9283154811649045</c:v>
                </c:pt>
                <c:pt idx="46">
                  <c:v>0.9280879292331161</c:v>
                </c:pt>
                <c:pt idx="47">
                  <c:v>0.9286475654525521</c:v>
                </c:pt>
                <c:pt idx="48">
                  <c:v>0.9282492891607849</c:v>
                </c:pt>
                <c:pt idx="49">
                  <c:v>0.9314595206335048</c:v>
                </c:pt>
                <c:pt idx="50">
                  <c:v>0.9356185359971615</c:v>
                </c:pt>
                <c:pt idx="51">
                  <c:v>0.9361565241198077</c:v>
                </c:pt>
                <c:pt idx="52">
                  <c:v>0.9611478075785522</c:v>
                </c:pt>
                <c:pt idx="53">
                  <c:v>0.9832182931624368</c:v>
                </c:pt>
                <c:pt idx="54">
                  <c:v>0.89066717226053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Mustel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822002472187885"/>
          <c:min val="0.586012269938650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c:f>
              <c:numCache>
                <c:formatCode>General</c:formatCode>
                <c:ptCount val="9"/>
                <c:pt idx="0">
                  <c:v>1314.5241</c:v>
                </c:pt>
                <c:pt idx="1">
                  <c:v>1331.78</c:v>
                </c:pt>
                <c:pt idx="2">
                  <c:v>1337.5287</c:v>
                </c:pt>
                <c:pt idx="3">
                  <c:v>1310.1582</c:v>
                </c:pt>
                <c:pt idx="4">
                  <c:v>1244.4564</c:v>
                </c:pt>
                <c:pt idx="5">
                  <c:v>1336.3919</c:v>
                </c:pt>
                <c:pt idx="6">
                  <c:v>1431.5389</c:v>
                </c:pt>
                <c:pt idx="7">
                  <c:v>1353.2611</c:v>
                </c:pt>
                <c:pt idx="8">
                  <c:v>1367.9887</c:v>
                </c:pt>
              </c:numCache>
            </c:numRef>
          </c:xVal>
          <c:yVal>
            <c:numRef>
              <c:f>Sheet1!$B$2:$B$10</c:f>
              <c:numCache>
                <c:formatCode>General</c:formatCode>
                <c:ptCount val="9"/>
                <c:pt idx="0">
                  <c:v>0.984171322160149</c:v>
                </c:pt>
                <c:pt idx="1">
                  <c:v>0.9827327327327328</c:v>
                </c:pt>
                <c:pt idx="2">
                  <c:v>0.9798935541099941</c:v>
                </c:pt>
                <c:pt idx="3">
                  <c:v>0.9841269841269841</c:v>
                </c:pt>
                <c:pt idx="4">
                  <c:v>0.9851668726823238</c:v>
                </c:pt>
                <c:pt idx="5">
                  <c:v>0.972341733251383</c:v>
                </c:pt>
                <c:pt idx="6">
                  <c:v>0.9662487945998072</c:v>
                </c:pt>
                <c:pt idx="7">
                  <c:v>0.9632164242942686</c:v>
                </c:pt>
                <c:pt idx="8">
                  <c:v>0.9690909090909091</c:v>
                </c:pt>
              </c:numCache>
            </c:numRef>
          </c:yVal>
          <c:smooth val="0"/>
          <c:extLst>
            <c:ext xmlns:c16="http://schemas.microsoft.com/office/drawing/2014/chart" uri="{C3380CC4-5D6E-409C-BE32-E72D297353CC}">
              <c16:uniqueId val="{00000000-F32D-48B7-BC20-E66FC6253BAD}"/>
            </c:ext>
          </c:extLst>
        </c:ser>
        <c:ser>
          <c:idx val="1"/>
          <c:order val="1"/>
          <c:tx>
            <c:strRef>
              <c:f>Sheet1!$B$1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3:$A$64</c:f>
              <c:numCache>
                <c:formatCode>General</c:formatCode>
                <c:ptCount val="52"/>
                <c:pt idx="0">
                  <c:v>1432.9926</c:v>
                </c:pt>
                <c:pt idx="1">
                  <c:v>1455.6611</c:v>
                </c:pt>
                <c:pt idx="2">
                  <c:v>1429.3722</c:v>
                </c:pt>
                <c:pt idx="3">
                  <c:v>1468.0958</c:v>
                </c:pt>
                <c:pt idx="4">
                  <c:v>1445.5332</c:v>
                </c:pt>
                <c:pt idx="5">
                  <c:v>1458.7678</c:v>
                </c:pt>
                <c:pt idx="6">
                  <c:v>1376.3751</c:v>
                </c:pt>
                <c:pt idx="7">
                  <c:v>1423.7132</c:v>
                </c:pt>
                <c:pt idx="8">
                  <c:v>1511.6667</c:v>
                </c:pt>
                <c:pt idx="9">
                  <c:v>1415.4487</c:v>
                </c:pt>
                <c:pt idx="10">
                  <c:v>1440.2463</c:v>
                </c:pt>
                <c:pt idx="11">
                  <c:v>1312.4821</c:v>
                </c:pt>
                <c:pt idx="12">
                  <c:v>1330.8301</c:v>
                </c:pt>
                <c:pt idx="13">
                  <c:v>1370.1848</c:v>
                </c:pt>
                <c:pt idx="14">
                  <c:v>1375.5025</c:v>
                </c:pt>
                <c:pt idx="15">
                  <c:v>1379.348</c:v>
                </c:pt>
                <c:pt idx="16">
                  <c:v>1484.599</c:v>
                </c:pt>
                <c:pt idx="17">
                  <c:v>1458.858</c:v>
                </c:pt>
                <c:pt idx="18">
                  <c:v>1464.2248</c:v>
                </c:pt>
                <c:pt idx="19">
                  <c:v>1576.1237</c:v>
                </c:pt>
                <c:pt idx="20">
                  <c:v>1551.5187</c:v>
                </c:pt>
                <c:pt idx="21">
                  <c:v>1491.7583</c:v>
                </c:pt>
                <c:pt idx="22">
                  <c:v>1592.4784</c:v>
                </c:pt>
                <c:pt idx="23">
                  <c:v>1547.7338</c:v>
                </c:pt>
                <c:pt idx="24">
                  <c:v>1531.989</c:v>
                </c:pt>
                <c:pt idx="25">
                  <c:v>1478.8399</c:v>
                </c:pt>
                <c:pt idx="26">
                  <c:v>1493.82</c:v>
                </c:pt>
                <c:pt idx="27">
                  <c:v>1537.8369</c:v>
                </c:pt>
                <c:pt idx="28">
                  <c:v>1579.6154</c:v>
                </c:pt>
                <c:pt idx="29">
                  <c:v>1596.1839</c:v>
                </c:pt>
                <c:pt idx="30">
                  <c:v>1469.8079</c:v>
                </c:pt>
                <c:pt idx="31">
                  <c:v>1269.2867</c:v>
                </c:pt>
                <c:pt idx="32">
                  <c:v>1414.9175</c:v>
                </c:pt>
                <c:pt idx="33">
                  <c:v>1453.0116</c:v>
                </c:pt>
                <c:pt idx="34">
                  <c:v>1467.8649</c:v>
                </c:pt>
                <c:pt idx="35">
                  <c:v>1459.1501</c:v>
                </c:pt>
                <c:pt idx="36">
                  <c:v>1482.7995</c:v>
                </c:pt>
                <c:pt idx="37">
                  <c:v>1519.1336</c:v>
                </c:pt>
                <c:pt idx="38">
                  <c:v>1424.2701</c:v>
                </c:pt>
                <c:pt idx="39">
                  <c:v>1417.2456</c:v>
                </c:pt>
                <c:pt idx="40">
                  <c:v>1413.9112</c:v>
                </c:pt>
                <c:pt idx="41">
                  <c:v>1474.4013</c:v>
                </c:pt>
                <c:pt idx="42">
                  <c:v>1449.1418</c:v>
                </c:pt>
                <c:pt idx="43">
                  <c:v>1465.4112</c:v>
                </c:pt>
                <c:pt idx="44">
                  <c:v>1454.7305</c:v>
                </c:pt>
                <c:pt idx="45">
                  <c:v>1392.9094</c:v>
                </c:pt>
                <c:pt idx="46">
                  <c:v>1450.6234</c:v>
                </c:pt>
                <c:pt idx="47">
                  <c:v>1412.2909</c:v>
                </c:pt>
                <c:pt idx="48">
                  <c:v>1371.335</c:v>
                </c:pt>
                <c:pt idx="49">
                  <c:v>1379.7263</c:v>
                </c:pt>
                <c:pt idx="50">
                  <c:v>1253.6561</c:v>
                </c:pt>
                <c:pt idx="51">
                  <c:v>1247.0221</c:v>
                </c:pt>
              </c:numCache>
            </c:numRef>
          </c:xVal>
          <c:yVal>
            <c:numRef>
              <c:f>Sheet1!$B$13:$B$64</c:f>
              <c:numCache>
                <c:formatCode>General</c:formatCode>
                <c:ptCount val="52"/>
                <c:pt idx="0">
                  <c:v>0.9634340222575517</c:v>
                </c:pt>
                <c:pt idx="1">
                  <c:v>0.9601518026565465</c:v>
                </c:pt>
                <c:pt idx="2">
                  <c:v>0.9593869731800766</c:v>
                </c:pt>
                <c:pt idx="3">
                  <c:v>0.960060286360211</c:v>
                </c:pt>
                <c:pt idx="4">
                  <c:v>0.9621749408983451</c:v>
                </c:pt>
                <c:pt idx="5">
                  <c:v>0.9579901153212521</c:v>
                </c:pt>
                <c:pt idx="6">
                  <c:v>0.9709257842387146</c:v>
                </c:pt>
                <c:pt idx="7">
                  <c:v>0.9677033492822966</c:v>
                </c:pt>
                <c:pt idx="8">
                  <c:v>0.948502994011976</c:v>
                </c:pt>
                <c:pt idx="9">
                  <c:v>0.950253807106599</c:v>
                </c:pt>
                <c:pt idx="10">
                  <c:v>0.9489120151371807</c:v>
                </c:pt>
                <c:pt idx="11">
                  <c:v>0.9691435768261965</c:v>
                </c:pt>
                <c:pt idx="12">
                  <c:v>0.96045197740113</c:v>
                </c:pt>
                <c:pt idx="13">
                  <c:v>0.9587087087087087</c:v>
                </c:pt>
                <c:pt idx="14">
                  <c:v>0.9609561752988047</c:v>
                </c:pt>
                <c:pt idx="15">
                  <c:v>0.9319965126416739</c:v>
                </c:pt>
                <c:pt idx="16">
                  <c:v>0.9462857142857143</c:v>
                </c:pt>
                <c:pt idx="17">
                  <c:v>0.9426229508196722</c:v>
                </c:pt>
                <c:pt idx="18">
                  <c:v>0.9308510638297872</c:v>
                </c:pt>
                <c:pt idx="19">
                  <c:v>0.9267955801104972</c:v>
                </c:pt>
                <c:pt idx="20">
                  <c:v>0.9192825112107623</c:v>
                </c:pt>
                <c:pt idx="21">
                  <c:v>0.947289156626506</c:v>
                </c:pt>
                <c:pt idx="22">
                  <c:v>0.9367311072056239</c:v>
                </c:pt>
                <c:pt idx="23">
                  <c:v>0.9241379310344827</c:v>
                </c:pt>
                <c:pt idx="24">
                  <c:v>0.926829268292683</c:v>
                </c:pt>
                <c:pt idx="25">
                  <c:v>0.9193548387096774</c:v>
                </c:pt>
                <c:pt idx="26">
                  <c:v>0.9331983805668016</c:v>
                </c:pt>
                <c:pt idx="27">
                  <c:v>0.9111969111969112</c:v>
                </c:pt>
                <c:pt idx="28">
                  <c:v>0.9299552906110283</c:v>
                </c:pt>
                <c:pt idx="29">
                  <c:v>0.9195876288659793</c:v>
                </c:pt>
                <c:pt idx="30">
                  <c:v>0.9158699808795411</c:v>
                </c:pt>
                <c:pt idx="31">
                  <c:v>0.9127659574468086</c:v>
                </c:pt>
                <c:pt idx="32">
                  <c:v>0.920303605313093</c:v>
                </c:pt>
                <c:pt idx="33">
                  <c:v>0.9288590604026845</c:v>
                </c:pt>
                <c:pt idx="34">
                  <c:v>0.9392565729827742</c:v>
                </c:pt>
                <c:pt idx="35">
                  <c:v>0.9195652173913044</c:v>
                </c:pt>
                <c:pt idx="36">
                  <c:v>0.9032921810699589</c:v>
                </c:pt>
                <c:pt idx="37">
                  <c:v>0.8803921568627451</c:v>
                </c:pt>
                <c:pt idx="38">
                  <c:v>0.9055690072639225</c:v>
                </c:pt>
                <c:pt idx="39">
                  <c:v>0.9014285714285715</c:v>
                </c:pt>
                <c:pt idx="40">
                  <c:v>0.7325153374233129</c:v>
                </c:pt>
                <c:pt idx="41">
                  <c:v>0.8328877005347594</c:v>
                </c:pt>
                <c:pt idx="42">
                  <c:v>0.8688783570300158</c:v>
                </c:pt>
                <c:pt idx="43">
                  <c:v>0.8708891595615104</c:v>
                </c:pt>
                <c:pt idx="44">
                  <c:v>0.9065708418891171</c:v>
                </c:pt>
                <c:pt idx="45">
                  <c:v>0.9248389405869721</c:v>
                </c:pt>
                <c:pt idx="46">
                  <c:v>0.9207258834765998</c:v>
                </c:pt>
                <c:pt idx="47">
                  <c:v>0.9324200913242009</c:v>
                </c:pt>
                <c:pt idx="48">
                  <c:v>0.9085979860573199</c:v>
                </c:pt>
                <c:pt idx="49">
                  <c:v>0.9132653061224489</c:v>
                </c:pt>
                <c:pt idx="50">
                  <c:v>0.9417218543046357</c:v>
                </c:pt>
                <c:pt idx="51">
                  <c:v>0.9239332096474954</c:v>
                </c:pt>
              </c:numCache>
            </c:numRef>
          </c:yVal>
          <c:smooth val="0"/>
          <c:extLst>
            <c:ext xmlns:c16="http://schemas.microsoft.com/office/drawing/2014/chart" uri="{C3380CC4-5D6E-409C-BE32-E72D297353CC}">
              <c16:uniqueId val="{00000002-F32D-48B7-BC20-E66FC6253BAD}"/>
            </c:ext>
          </c:extLst>
        </c:ser>
        <c:ser>
          <c:idx val="2"/>
          <c:order val="2"/>
          <c:tx>
            <c:strRef>
              <c:f>Sheet1!$B$66</c:f>
              <c:strCache>
                <c:ptCount val="1"/>
                <c:pt idx="0">
                  <c:v>Custom Linep3yQ</c:v>
                </c:pt>
              </c:strCache>
            </c:strRef>
          </c:tx>
          <c:spPr>
            <a:ln w="19050" cap="rnd">
              <a:solidFill>
                <a:srgbClr val="C00000"/>
              </a:solidFill>
              <a:prstDash val="sysDot"/>
              <a:round/>
            </a:ln>
            <a:effectLst/>
          </c:spPr>
          <c:marker>
            <c:symbol val="none"/>
          </c:marker>
          <c:xVal>
            <c:numRef>
              <c:f>Sheet1!$A$67:$A$68</c:f>
              <c:numCache>
                <c:formatCode>General</c:formatCode>
                <c:ptCount val="2"/>
                <c:pt idx="0">
                  <c:v>0</c:v>
                </c:pt>
                <c:pt idx="1">
                  <c:v>306.01396130088585</c:v>
                </c:pt>
              </c:numCache>
            </c:numRef>
          </c:xVal>
          <c:yVal>
            <c:numRef>
              <c:f>Sheet1!$B$67:$B$68</c:f>
              <c:numCache>
                <c:formatCode>General</c:formatCode>
                <c:ptCount val="2"/>
                <c:pt idx="0">
                  <c:v>0.9832182931624368</c:v>
                </c:pt>
                <c:pt idx="1">
                  <c:v>0.9832182931624368</c:v>
                </c:pt>
              </c:numCache>
            </c:numRef>
          </c:yVal>
          <c:smooth val="0"/>
          <c:extLst>
            <c:ext xmlns:c16="http://schemas.microsoft.com/office/drawing/2014/chart" uri="{C3380CC4-5D6E-409C-BE32-E72D297353CC}">
              <c16:uniqueId val="{00000003-F32D-48B7-BC20-E66FC6253BAD}"/>
            </c:ext>
          </c:extLst>
        </c:ser>
        <c:ser>
          <c:idx val="3"/>
          <c:order val="3"/>
          <c:tx>
            <c:strRef>
              <c:f>Sheet1!$B$7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1:$A$72</c:f>
              <c:numCache>
                <c:formatCode>General</c:formatCode>
                <c:ptCount val="2"/>
                <c:pt idx="0">
                  <c:v>306.01396130088585</c:v>
                </c:pt>
                <c:pt idx="1">
                  <c:v>306.01396130088585</c:v>
                </c:pt>
              </c:numCache>
            </c:numRef>
          </c:xVal>
          <c:yVal>
            <c:numRef>
              <c:f>Sheet1!$B$71:$B$72</c:f>
              <c:numCache>
                <c:formatCode>General</c:formatCode>
                <c:ptCount val="2"/>
                <c:pt idx="0">
                  <c:v>0.983218293162436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7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75:$A$76</c:f>
              <c:numCache>
                <c:formatCode>General</c:formatCode>
                <c:ptCount val="2"/>
                <c:pt idx="0">
                  <c:v>0</c:v>
                </c:pt>
                <c:pt idx="1">
                  <c:v>745.074743028469</c:v>
                </c:pt>
              </c:numCache>
            </c:numRef>
          </c:xVal>
          <c:yVal>
            <c:numRef>
              <c:f>Sheet1!$B$75:$B$76</c:f>
              <c:numCache>
                <c:formatCode>General</c:formatCode>
                <c:ptCount val="2"/>
                <c:pt idx="0">
                  <c:v>0.9611478075785522</c:v>
                </c:pt>
                <c:pt idx="1">
                  <c:v>0.9611478075785522</c:v>
                </c:pt>
              </c:numCache>
            </c:numRef>
          </c:yVal>
          <c:smooth val="0"/>
          <c:extLst>
            <c:ext xmlns:c16="http://schemas.microsoft.com/office/drawing/2014/chart" uri="{C3380CC4-5D6E-409C-BE32-E72D297353CC}">
              <c16:uniqueId val="{0000000A-F32D-48B7-BC20-E66FC6253BAD}"/>
            </c:ext>
          </c:extLst>
        </c:ser>
        <c:ser>
          <c:idx val="5"/>
          <c:order val="5"/>
          <c:tx>
            <c:strRef>
              <c:f>Sheet1!$B$7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9:$A$80</c:f>
              <c:numCache>
                <c:formatCode>General</c:formatCode>
                <c:ptCount val="2"/>
                <c:pt idx="0">
                  <c:v>745.074743028469</c:v>
                </c:pt>
                <c:pt idx="1">
                  <c:v>745.074743028469</c:v>
                </c:pt>
              </c:numCache>
            </c:numRef>
          </c:xVal>
          <c:yVal>
            <c:numRef>
              <c:f>Sheet1!$B$79:$B$80</c:f>
              <c:numCache>
                <c:formatCode>General</c:formatCode>
                <c:ptCount val="2"/>
                <c:pt idx="0">
                  <c:v>0.96114780757855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82</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83:$A$84</c:f>
              <c:numCache>
                <c:formatCode>General</c:formatCode>
                <c:ptCount val="2"/>
                <c:pt idx="0">
                  <c:v>0</c:v>
                </c:pt>
                <c:pt idx="1">
                  <c:v>2147.1862970207744</c:v>
                </c:pt>
              </c:numCache>
            </c:numRef>
          </c:xVal>
          <c:yVal>
            <c:numRef>
              <c:f>Sheet1!$B$83:$B$84</c:f>
              <c:numCache>
                <c:formatCode>General</c:formatCode>
                <c:ptCount val="2"/>
                <c:pt idx="0">
                  <c:v>0.8906671722605354</c:v>
                </c:pt>
                <c:pt idx="1">
                  <c:v>0.8906671722605354</c:v>
                </c:pt>
              </c:numCache>
            </c:numRef>
          </c:yVal>
          <c:smooth val="0"/>
          <c:extLst>
            <c:ext xmlns:c16="http://schemas.microsoft.com/office/drawing/2014/chart" uri="{C3380CC4-5D6E-409C-BE32-E72D297353CC}">
              <c16:uniqueId val="{00000011-F32D-48B7-BC20-E66FC6253BAD}"/>
            </c:ext>
          </c:extLst>
        </c:ser>
        <c:ser>
          <c:idx val="7"/>
          <c:order val="7"/>
          <c:tx>
            <c:strRef>
              <c:f>Sheet1!$B$86</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7:$A$88</c:f>
              <c:numCache>
                <c:formatCode>General</c:formatCode>
                <c:ptCount val="2"/>
                <c:pt idx="0">
                  <c:v>2147.1862970207744</c:v>
                </c:pt>
                <c:pt idx="1">
                  <c:v>2147.1862970207744</c:v>
                </c:pt>
              </c:numCache>
            </c:numRef>
          </c:xVal>
          <c:yVal>
            <c:numRef>
              <c:f>Sheet1!$B$87:$B$88</c:f>
              <c:numCache>
                <c:formatCode>General</c:formatCode>
                <c:ptCount val="2"/>
                <c:pt idx="0">
                  <c:v>0.89066717226053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90</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91:$A$145</c:f>
              <c:numCache>
                <c:formatCode>General</c:formatCode>
                <c:ptCount val="55"/>
                <c:pt idx="0">
                  <c:v>1432.9926</c:v>
                </c:pt>
                <c:pt idx="1">
                  <c:v>1455.6611</c:v>
                </c:pt>
                <c:pt idx="2">
                  <c:v>1429.3722</c:v>
                </c:pt>
                <c:pt idx="3">
                  <c:v>1468.0958</c:v>
                </c:pt>
                <c:pt idx="4">
                  <c:v>1445.5332</c:v>
                </c:pt>
                <c:pt idx="5">
                  <c:v>1458.7678</c:v>
                </c:pt>
                <c:pt idx="6">
                  <c:v>1376.3751</c:v>
                </c:pt>
                <c:pt idx="7">
                  <c:v>1423.7132</c:v>
                </c:pt>
                <c:pt idx="8">
                  <c:v>1511.6667</c:v>
                </c:pt>
                <c:pt idx="9">
                  <c:v>1415.4487</c:v>
                </c:pt>
                <c:pt idx="10">
                  <c:v>1440.2463</c:v>
                </c:pt>
                <c:pt idx="11">
                  <c:v>1312.4821</c:v>
                </c:pt>
                <c:pt idx="12">
                  <c:v>1330.8301</c:v>
                </c:pt>
                <c:pt idx="13">
                  <c:v>1370.1848</c:v>
                </c:pt>
                <c:pt idx="14">
                  <c:v>1375.5025</c:v>
                </c:pt>
                <c:pt idx="15">
                  <c:v>1379.348</c:v>
                </c:pt>
                <c:pt idx="16">
                  <c:v>1484.599</c:v>
                </c:pt>
                <c:pt idx="17">
                  <c:v>1458.858</c:v>
                </c:pt>
                <c:pt idx="18">
                  <c:v>1464.2248</c:v>
                </c:pt>
                <c:pt idx="19">
                  <c:v>1576.1237</c:v>
                </c:pt>
                <c:pt idx="20">
                  <c:v>1551.5187</c:v>
                </c:pt>
                <c:pt idx="21">
                  <c:v>1491.7583</c:v>
                </c:pt>
                <c:pt idx="22">
                  <c:v>1592.4784</c:v>
                </c:pt>
                <c:pt idx="23">
                  <c:v>1547.7338</c:v>
                </c:pt>
                <c:pt idx="24">
                  <c:v>1531.989</c:v>
                </c:pt>
                <c:pt idx="25">
                  <c:v>1478.8399</c:v>
                </c:pt>
                <c:pt idx="26">
                  <c:v>1493.82</c:v>
                </c:pt>
                <c:pt idx="27">
                  <c:v>1537.8369</c:v>
                </c:pt>
                <c:pt idx="28">
                  <c:v>1579.6154</c:v>
                </c:pt>
                <c:pt idx="29">
                  <c:v>1596.1839</c:v>
                </c:pt>
                <c:pt idx="30">
                  <c:v>1469.8079</c:v>
                </c:pt>
                <c:pt idx="31">
                  <c:v>1269.2867</c:v>
                </c:pt>
                <c:pt idx="32">
                  <c:v>1414.9175</c:v>
                </c:pt>
                <c:pt idx="33">
                  <c:v>1453.0116</c:v>
                </c:pt>
                <c:pt idx="34">
                  <c:v>1467.8649</c:v>
                </c:pt>
                <c:pt idx="35">
                  <c:v>1459.1501</c:v>
                </c:pt>
                <c:pt idx="36">
                  <c:v>1482.7995</c:v>
                </c:pt>
                <c:pt idx="37">
                  <c:v>1519.1336</c:v>
                </c:pt>
                <c:pt idx="38">
                  <c:v>1424.2701</c:v>
                </c:pt>
                <c:pt idx="39">
                  <c:v>1417.2456</c:v>
                </c:pt>
                <c:pt idx="40">
                  <c:v>1413.9112</c:v>
                </c:pt>
                <c:pt idx="41">
                  <c:v>1474.4013</c:v>
                </c:pt>
                <c:pt idx="42">
                  <c:v>1449.1418</c:v>
                </c:pt>
                <c:pt idx="43">
                  <c:v>1465.4112</c:v>
                </c:pt>
                <c:pt idx="44">
                  <c:v>1454.7305</c:v>
                </c:pt>
                <c:pt idx="45">
                  <c:v>1392.9094</c:v>
                </c:pt>
                <c:pt idx="46">
                  <c:v>1450.6234</c:v>
                </c:pt>
                <c:pt idx="47">
                  <c:v>1412.2909</c:v>
                </c:pt>
                <c:pt idx="48">
                  <c:v>1371.335</c:v>
                </c:pt>
                <c:pt idx="49">
                  <c:v>1379.7263</c:v>
                </c:pt>
                <c:pt idx="50">
                  <c:v>1253.6561</c:v>
                </c:pt>
                <c:pt idx="51">
                  <c:v>1247.0221</c:v>
                </c:pt>
                <c:pt idx="52">
                  <c:v>745.074743028469</c:v>
                </c:pt>
                <c:pt idx="53">
                  <c:v>306.01396130088585</c:v>
                </c:pt>
                <c:pt idx="54">
                  <c:v>2147.1862970207744</c:v>
                </c:pt>
              </c:numCache>
            </c:numRef>
          </c:xVal>
          <c:yVal>
            <c:numRef>
              <c:f>Sheet1!$B$91:$B$145</c:f>
              <c:numCache>
                <c:formatCode>General</c:formatCode>
                <c:ptCount val="55"/>
                <c:pt idx="0">
                  <c:v>0.9265679002467079</c:v>
                </c:pt>
                <c:pt idx="1">
                  <c:v>0.9254284115397235</c:v>
                </c:pt>
                <c:pt idx="2">
                  <c:v>0.9267498886850591</c:v>
                </c:pt>
                <c:pt idx="3">
                  <c:v>0.9248033503215248</c:v>
                </c:pt>
                <c:pt idx="4">
                  <c:v>0.9259375157008047</c:v>
                </c:pt>
                <c:pt idx="5">
                  <c:v>0.9252722455134762</c:v>
                </c:pt>
                <c:pt idx="6">
                  <c:v>0.9294139201363206</c:v>
                </c:pt>
                <c:pt idx="7">
                  <c:v>0.9270343524384096</c:v>
                </c:pt>
                <c:pt idx="8">
                  <c:v>0.9226131503302091</c:v>
                </c:pt>
                <c:pt idx="9">
                  <c:v>0.9274497881495891</c:v>
                </c:pt>
                <c:pt idx="10">
                  <c:v>0.9262032749193219</c:v>
                </c:pt>
                <c:pt idx="11">
                  <c:v>0.932625661184707</c:v>
                </c:pt>
                <c:pt idx="12">
                  <c:v>0.9317033531892178</c:v>
                </c:pt>
                <c:pt idx="13">
                  <c:v>0.9297250910096843</c:v>
                </c:pt>
                <c:pt idx="14">
                  <c:v>0.9294577835523258</c:v>
                </c:pt>
                <c:pt idx="15">
                  <c:v>0.929264479900884</c:v>
                </c:pt>
                <c:pt idx="16">
                  <c:v>0.9239737758005331</c:v>
                </c:pt>
                <c:pt idx="17">
                  <c:v>0.9252677113854408</c:v>
                </c:pt>
                <c:pt idx="18">
                  <c:v>0.9249979357940853</c:v>
                </c:pt>
                <c:pt idx="19">
                  <c:v>0.9193730584147277</c:v>
                </c:pt>
                <c:pt idx="20">
                  <c:v>0.9206098901254871</c:v>
                </c:pt>
                <c:pt idx="21">
                  <c:v>0.9236138957246607</c:v>
                </c:pt>
                <c:pt idx="22">
                  <c:v>0.9185509486167209</c:v>
                </c:pt>
                <c:pt idx="23">
                  <c:v>0.920800147566741</c:v>
                </c:pt>
                <c:pt idx="24">
                  <c:v>0.9215915992196394</c:v>
                </c:pt>
                <c:pt idx="25">
                  <c:v>0.9242632713301179</c:v>
                </c:pt>
                <c:pt idx="26">
                  <c:v>0.9235102592305305</c:v>
                </c:pt>
                <c:pt idx="27">
                  <c:v>0.921297639936512</c:v>
                </c:pt>
                <c:pt idx="28">
                  <c:v>0.9191975394029634</c:v>
                </c:pt>
                <c:pt idx="29">
                  <c:v>0.918364682414558</c:v>
                </c:pt>
                <c:pt idx="30">
                  <c:v>0.9247172873435939</c:v>
                </c:pt>
                <c:pt idx="31">
                  <c:v>0.9347969857317071</c:v>
                </c:pt>
                <c:pt idx="32">
                  <c:v>0.927476490242853</c:v>
                </c:pt>
                <c:pt idx="33">
                  <c:v>0.925561595267326</c:v>
                </c:pt>
                <c:pt idx="34">
                  <c:v>0.9248149570860855</c:v>
                </c:pt>
                <c:pt idx="35">
                  <c:v>0.9252530282501955</c:v>
                </c:pt>
                <c:pt idx="36">
                  <c:v>0.9240642321575138</c:v>
                </c:pt>
                <c:pt idx="37">
                  <c:v>0.9222378079729211</c:v>
                </c:pt>
                <c:pt idx="38">
                  <c:v>0.9270063584705283</c:v>
                </c:pt>
                <c:pt idx="39">
                  <c:v>0.927359462488095</c:v>
                </c:pt>
                <c:pt idx="40">
                  <c:v>0.9275270744229194</c:v>
                </c:pt>
                <c:pt idx="41">
                  <c:v>0.9244863886327546</c:v>
                </c:pt>
                <c:pt idx="42">
                  <c:v>0.9257561204188927</c:v>
                </c:pt>
                <c:pt idx="43">
                  <c:v>0.9249382984381964</c:v>
                </c:pt>
                <c:pt idx="44">
                  <c:v>0.92547519047043</c:v>
                </c:pt>
                <c:pt idx="45">
                  <c:v>0.9285827822962389</c:v>
                </c:pt>
                <c:pt idx="46">
                  <c:v>0.9256816440985244</c:v>
                </c:pt>
                <c:pt idx="47">
                  <c:v>0.9276085228448232</c:v>
                </c:pt>
                <c:pt idx="48">
                  <c:v>0.929667273337109</c:v>
                </c:pt>
                <c:pt idx="49">
                  <c:v>0.9292454637075827</c:v>
                </c:pt>
                <c:pt idx="50">
                  <c:v>0.9355826968366937</c:v>
                </c:pt>
                <c:pt idx="51">
                  <c:v>0.9359161713975219</c:v>
                </c:pt>
                <c:pt idx="52">
                  <c:v>0.9611478075785522</c:v>
                </c:pt>
                <c:pt idx="53">
                  <c:v>0.9832182931624368</c:v>
                </c:pt>
                <c:pt idx="54">
                  <c:v>0.89066717226053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577.0"/>
          <c:min val="24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822002472187885"/>
          <c:min val="0.586012269938650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288236182863841</c:v>
                </c:pt>
                <c:pt idx="1">
                  <c:v>0.2989157098473592</c:v>
                </c:pt>
                <c:pt idx="2">
                  <c:v>0.2989380246237579</c:v>
                </c:pt>
                <c:pt idx="3">
                  <c:v>0.25961516341467533</c:v>
                </c:pt>
                <c:pt idx="4">
                  <c:v>0.4051690005344736</c:v>
                </c:pt>
                <c:pt idx="5">
                  <c:v>0.37007483433004684</c:v>
                </c:pt>
                <c:pt idx="6">
                  <c:v>0.4755392258510454</c:v>
                </c:pt>
                <c:pt idx="7">
                  <c:v>0.40180941176470586</c:v>
                </c:pt>
                <c:pt idx="8">
                  <c:v>0.353940820802005</c:v>
                </c:pt>
                <c:pt idx="9">
                  <c:v>0.5083122715643275</c:v>
                </c:pt>
                <c:pt idx="10">
                  <c:v>0.44584891144213457</c:v>
                </c:pt>
                <c:pt idx="11">
                  <c:v>0.48764035505520675</c:v>
                </c:pt>
                <c:pt idx="12">
                  <c:v>0.42635671110118983</c:v>
                </c:pt>
                <c:pt idx="13">
                  <c:v>0.47395917374380747</c:v>
                </c:pt>
                <c:pt idx="14">
                  <c:v>0.48587941787941785</c:v>
                </c:pt>
                <c:pt idx="15">
                  <c:v>0.49683526605592127</c:v>
                </c:pt>
                <c:pt idx="16">
                  <c:v>0.40568886109591185</c:v>
                </c:pt>
                <c:pt idx="17">
                  <c:v>0.38538821823080155</c:v>
                </c:pt>
                <c:pt idx="18">
                  <c:v>0.5194283055041563</c:v>
                </c:pt>
                <c:pt idx="19">
                  <c:v>0.6412601941828223</c:v>
                </c:pt>
                <c:pt idx="20">
                  <c:v>0.5573040807371654</c:v>
                </c:pt>
                <c:pt idx="21">
                  <c:v>0.4686247585905191</c:v>
                </c:pt>
                <c:pt idx="22">
                  <c:v>0.44341744227353463</c:v>
                </c:pt>
                <c:pt idx="23">
                  <c:v>0.49347454494096904</c:v>
                </c:pt>
                <c:pt idx="24">
                  <c:v>0.7389205604804118</c:v>
                </c:pt>
                <c:pt idx="25">
                  <c:v>0.772628073880073</c:v>
                </c:pt>
                <c:pt idx="26">
                  <c:v>0.952066701342592</c:v>
                </c:pt>
                <c:pt idx="27">
                  <c:v>0.8502616092018086</c:v>
                </c:pt>
                <c:pt idx="28">
                  <c:v>0.7604668591594481</c:v>
                </c:pt>
                <c:pt idx="29">
                  <c:v>0.6058826516974071</c:v>
                </c:pt>
                <c:pt idx="30">
                  <c:v>0.6176134065934066</c:v>
                </c:pt>
                <c:pt idx="31">
                  <c:v>0.5360409096728712</c:v>
                </c:pt>
                <c:pt idx="32">
                  <c:v>0.5764206491858743</c:v>
                </c:pt>
                <c:pt idx="33">
                  <c:v>0.6963098412698413</c:v>
                </c:pt>
                <c:pt idx="34">
                  <c:v>0.5970390230048281</c:v>
                </c:pt>
                <c:pt idx="35">
                  <c:v>0.49191230831021215</c:v>
                </c:pt>
                <c:pt idx="36">
                  <c:v>0.7085574627903741</c:v>
                </c:pt>
                <c:pt idx="37">
                  <c:v>0.6764733545647558</c:v>
                </c:pt>
                <c:pt idx="38">
                  <c:v>0.7195763858093127</c:v>
                </c:pt>
                <c:pt idx="39">
                  <c:v>0.7953017361111111</c:v>
                </c:pt>
                <c:pt idx="40">
                  <c:v>0.7122878383838384</c:v>
                </c:pt>
                <c:pt idx="41">
                  <c:v>0.8557760147601476</c:v>
                </c:pt>
                <c:pt idx="42">
                  <c:v>0.9215524131767109</c:v>
                </c:pt>
                <c:pt idx="43">
                  <c:v>1.0964226590421728</c:v>
                </c:pt>
                <c:pt idx="44">
                  <c:v>0.750131482237648</c:v>
                </c:pt>
                <c:pt idx="45">
                  <c:v>0.6803044569993721</c:v>
                </c:pt>
                <c:pt idx="46">
                  <c:v>0.60537124315918</c:v>
                </c:pt>
                <c:pt idx="47">
                  <c:v>0.5204671216893486</c:v>
                </c:pt>
                <c:pt idx="48">
                  <c:v>0.6460631098969706</c:v>
                </c:pt>
                <c:pt idx="49">
                  <c:v>0.7038820785657023</c:v>
                </c:pt>
                <c:pt idx="50">
                  <c:v>0.6865312329942086</c:v>
                </c:pt>
                <c:pt idx="51">
                  <c:v>0.7012673309114044</c:v>
                </c:pt>
                <c:pt idx="52">
                  <c:v>0.7801775883399955</c:v>
                </c:pt>
                <c:pt idx="53">
                  <c:v>0.7179934192475558</c:v>
                </c:pt>
                <c:pt idx="54">
                  <c:v>0.8088409774436089</c:v>
                </c:pt>
                <c:pt idx="55">
                  <c:v>0.7845634088531628</c:v>
                </c:pt>
                <c:pt idx="56">
                  <c:v>0.7082109175094431</c:v>
                </c:pt>
                <c:pt idx="57">
                  <c:v>0.9391826935330955</c:v>
                </c:pt>
                <c:pt idx="58">
                  <c:v>0.8140345848375451</c:v>
                </c:pt>
                <c:pt idx="59">
                  <c:v>0.652516481847182</c:v>
                </c:pt>
                <c:pt idx="60">
                  <c:v>0.7457984567697685</c:v>
                </c:pt>
                <c:pt idx="61">
                  <c:v>0.7032451706359855</c:v>
                </c:pt>
                <c:pt idx="62">
                  <c:v>0.5747508414074451</c:v>
                </c:pt>
                <c:pt idx="63">
                  <c:v>0.6567031560989479</c:v>
                </c:pt>
                <c:pt idx="64">
                  <c:v>0.8078625307461056</c:v>
                </c:pt>
                <c:pt idx="65">
                  <c:v>0.36460583173996175</c:v>
                </c:pt>
                <c:pt idx="66">
                  <c:v>0.6064309768260486</c:v>
                </c:pt>
                <c:pt idx="67">
                  <c:v>0.5183337252221463</c:v>
                </c:pt>
                <c:pt idx="68">
                  <c:v>0.4889880604796663</c:v>
                </c:pt>
                <c:pt idx="69">
                  <c:v>0.48362091067582813</c:v>
                </c:pt>
                <c:pt idx="70">
                  <c:v>0.4213554054054054</c:v>
                </c:pt>
                <c:pt idx="71">
                  <c:v>0.5524013569321534</c:v>
                </c:pt>
                <c:pt idx="72">
                  <c:v>0.5559997170024904</c:v>
                </c:pt>
                <c:pt idx="73">
                  <c:v>0.5727890879478827</c:v>
                </c:pt>
                <c:pt idx="74">
                  <c:v>0.39939015324421256</c:v>
                </c:pt>
                <c:pt idx="75">
                  <c:v>0.6671537938536851</c:v>
                </c:pt>
                <c:pt idx="76">
                  <c:v>0.4603351677148847</c:v>
                </c:pt>
                <c:pt idx="77">
                  <c:v>0.40578286544046466</c:v>
                </c:pt>
                <c:pt idx="78">
                  <c:v>0.46753362602336784</c:v>
                </c:pt>
                <c:pt idx="79">
                  <c:v>0.260595940005172</c:v>
                </c:pt>
                <c:pt idx="80">
                  <c:v>0.23960942619336953</c:v>
                </c:pt>
                <c:pt idx="81">
                  <c:v>0.30242416893335233</c:v>
                </c:pt>
                <c:pt idx="82">
                  <c:v>0.2449202502844141</c:v>
                </c:pt>
                <c:pt idx="83">
                  <c:v>0.5129889069664251</c:v>
                </c:pt>
                <c:pt idx="84">
                  <c:v>0.32244450100859207</c:v>
                </c:pt>
                <c:pt idx="85">
                  <c:v>0.5092703970401193</c:v>
                </c:pt>
                <c:pt idx="86">
                  <c:v>0.5156065020777316</c:v>
                </c:pt>
                <c:pt idx="87">
                  <c:v>0.524890697888059</c:v>
                </c:pt>
                <c:pt idx="88">
                  <c:v>0.4502725270157939</c:v>
                </c:pt>
                <c:pt idx="89">
                  <c:v>0.39171574380165286</c:v>
                </c:pt>
                <c:pt idx="90">
                  <c:v>0.7052556818181818</c:v>
                </c:pt>
                <c:pt idx="91">
                  <c:v>0.608772124839675</c:v>
                </c:pt>
                <c:pt idx="92">
                  <c:v>0.5367933906745134</c:v>
                </c:pt>
                <c:pt idx="93">
                  <c:v>0.651311467008328</c:v>
                </c:pt>
                <c:pt idx="94">
                  <c:v>0.6040033656297806</c:v>
                </c:pt>
                <c:pt idx="95">
                  <c:v>0.6401094089385118</c:v>
                </c:pt>
                <c:pt idx="96">
                  <c:v>0.6104412092504876</c:v>
                </c:pt>
                <c:pt idx="97">
                  <c:v>0.597523376916524</c:v>
                </c:pt>
                <c:pt idx="98">
                  <c:v>0.6737562776366376</c:v>
                </c:pt>
                <c:pt idx="99">
                  <c:v>0.6323920357185955</c:v>
                </c:pt>
                <c:pt idx="100">
                  <c:v>0.6149639384767435</c:v>
                </c:pt>
                <c:pt idx="101">
                  <c:v>0.6830959810874705</c:v>
                </c:pt>
                <c:pt idx="102">
                  <c:v>0.7745491315925109</c:v>
                </c:pt>
                <c:pt idx="103">
                  <c:v>0.698818022205009</c:v>
                </c:pt>
                <c:pt idx="104">
                  <c:v>0.7897178236397749</c:v>
                </c:pt>
              </c:numCache>
            </c:numRef>
          </c:xVal>
          <c:yVal>
            <c:numRef>
              <c:f>Sheet1!$B$2:$B$106</c:f>
              <c:numCache>
                <c:formatCode>General</c:formatCode>
                <c:ptCount val="105"/>
                <c:pt idx="0">
                  <c:v>0.9943661971830986</c:v>
                </c:pt>
                <c:pt idx="1">
                  <c:v>0.9947368421052631</c:v>
                </c:pt>
                <c:pt idx="2">
                  <c:v>0.9913269731136166</c:v>
                </c:pt>
                <c:pt idx="3">
                  <c:v>0.9932375316990701</c:v>
                </c:pt>
                <c:pt idx="4">
                  <c:v>0.9941002949852508</c:v>
                </c:pt>
                <c:pt idx="5">
                  <c:v>0.9969293756397134</c:v>
                </c:pt>
                <c:pt idx="6">
                  <c:v>0.9915413533834586</c:v>
                </c:pt>
                <c:pt idx="7">
                  <c:v>0.9936708860759493</c:v>
                </c:pt>
                <c:pt idx="8">
                  <c:v>0.9907834101382489</c:v>
                </c:pt>
                <c:pt idx="9">
                  <c:v>0.989351403678606</c:v>
                </c:pt>
                <c:pt idx="10">
                  <c:v>0.9897872340425532</c:v>
                </c:pt>
                <c:pt idx="11">
                  <c:v>0.9933388842631141</c:v>
                </c:pt>
                <c:pt idx="12">
                  <c:v>0.9893790849673203</c:v>
                </c:pt>
                <c:pt idx="13">
                  <c:v>0.9915325994919559</c:v>
                </c:pt>
                <c:pt idx="14">
                  <c:v>0.9905254091300603</c:v>
                </c:pt>
                <c:pt idx="15">
                  <c:v>0.9864864864864865</c:v>
                </c:pt>
                <c:pt idx="16">
                  <c:v>0.9911894273127754</c:v>
                </c:pt>
                <c:pt idx="17">
                  <c:v>0.9894179894179894</c:v>
                </c:pt>
                <c:pt idx="18">
                  <c:v>0.9853300733496333</c:v>
                </c:pt>
                <c:pt idx="19">
                  <c:v>0.9841269841269841</c:v>
                </c:pt>
                <c:pt idx="20">
                  <c:v>0.9846153846153847</c:v>
                </c:pt>
                <c:pt idx="21">
                  <c:v>0.982089552238806</c:v>
                </c:pt>
                <c:pt idx="22">
                  <c:v>0.9862637362637363</c:v>
                </c:pt>
                <c:pt idx="23">
                  <c:v>0.9749216300940439</c:v>
                </c:pt>
                <c:pt idx="24">
                  <c:v>0.9745547073791349</c:v>
                </c:pt>
                <c:pt idx="25">
                  <c:v>0.9741379310344828</c:v>
                </c:pt>
                <c:pt idx="26">
                  <c:v>0.976905311778291</c:v>
                </c:pt>
                <c:pt idx="27">
                  <c:v>0.9859154929577465</c:v>
                </c:pt>
                <c:pt idx="28">
                  <c:v>0.9767981438515081</c:v>
                </c:pt>
                <c:pt idx="29">
                  <c:v>0.9906542056074766</c:v>
                </c:pt>
                <c:pt idx="30">
                  <c:v>0.9855072463768116</c:v>
                </c:pt>
                <c:pt idx="31">
                  <c:v>0.9825870646766169</c:v>
                </c:pt>
                <c:pt idx="32">
                  <c:v>0.9788732394366197</c:v>
                </c:pt>
                <c:pt idx="33">
                  <c:v>0.9858044164037855</c:v>
                </c:pt>
                <c:pt idx="34">
                  <c:v>0.9878869448183042</c:v>
                </c:pt>
                <c:pt idx="35">
                  <c:v>0.9918181818181818</c:v>
                </c:pt>
                <c:pt idx="36">
                  <c:v>0.974304068522484</c:v>
                </c:pt>
                <c:pt idx="37">
                  <c:v>0.9815303430079155</c:v>
                </c:pt>
                <c:pt idx="38">
                  <c:v>0.9806094182825484</c:v>
                </c:pt>
                <c:pt idx="39">
                  <c:v>0.9737609329446064</c:v>
                </c:pt>
                <c:pt idx="40">
                  <c:v>0.9841269841269841</c:v>
                </c:pt>
                <c:pt idx="41">
                  <c:v>0.9735449735449735</c:v>
                </c:pt>
                <c:pt idx="42">
                  <c:v>0.9817767653758542</c:v>
                </c:pt>
                <c:pt idx="43">
                  <c:v>0.9828571428571429</c:v>
                </c:pt>
                <c:pt idx="44">
                  <c:v>0.9914456800684346</c:v>
                </c:pt>
                <c:pt idx="45">
                  <c:v>0.9942429476108232</c:v>
                </c:pt>
                <c:pt idx="46">
                  <c:v>0.9960019990004998</c:v>
                </c:pt>
                <c:pt idx="47">
                  <c:v>0.9943181818181818</c:v>
                </c:pt>
                <c:pt idx="48">
                  <c:v>0.9952348536419333</c:v>
                </c:pt>
                <c:pt idx="49">
                  <c:v>0.9970238095238095</c:v>
                </c:pt>
                <c:pt idx="50">
                  <c:v>0.9956873315363881</c:v>
                </c:pt>
                <c:pt idx="51">
                  <c:v>0.9917664670658682</c:v>
                </c:pt>
                <c:pt idx="52">
                  <c:v>0.9949295774647887</c:v>
                </c:pt>
                <c:pt idx="53">
                  <c:v>0.9910282953761215</c:v>
                </c:pt>
                <c:pt idx="54">
                  <c:v>0.989010989010989</c:v>
                </c:pt>
                <c:pt idx="55">
                  <c:v>0.9917910447761195</c:v>
                </c:pt>
                <c:pt idx="56">
                  <c:v>0.9913112164296999</c:v>
                </c:pt>
                <c:pt idx="57">
                  <c:v>0.9924480805538074</c:v>
                </c:pt>
                <c:pt idx="58">
                  <c:v>0.9949466591802358</c:v>
                </c:pt>
                <c:pt idx="59">
                  <c:v>0.9953271028037384</c:v>
                </c:pt>
                <c:pt idx="60">
                  <c:v>0.9933097205824478</c:v>
                </c:pt>
                <c:pt idx="61">
                  <c:v>0.9954151808456444</c:v>
                </c:pt>
                <c:pt idx="62">
                  <c:v>0.9946265448683503</c:v>
                </c:pt>
                <c:pt idx="63">
                  <c:v>0.9957983193277311</c:v>
                </c:pt>
                <c:pt idx="64">
                  <c:v>0.9954441913439636</c:v>
                </c:pt>
                <c:pt idx="65">
                  <c:v>0.9967514889009204</c:v>
                </c:pt>
                <c:pt idx="66">
                  <c:v>0.995475113122172</c:v>
                </c:pt>
                <c:pt idx="67">
                  <c:v>0.9957081545064378</c:v>
                </c:pt>
                <c:pt idx="68">
                  <c:v>0.996078431372549</c:v>
                </c:pt>
                <c:pt idx="69">
                  <c:v>0.9927826784282278</c:v>
                </c:pt>
                <c:pt idx="70">
                  <c:v>0.9920127795527156</c:v>
                </c:pt>
                <c:pt idx="71">
                  <c:v>0.9896640826873385</c:v>
                </c:pt>
                <c:pt idx="72">
                  <c:v>0.9879310344827587</c:v>
                </c:pt>
                <c:pt idx="73">
                  <c:v>0.9923076923076923</c:v>
                </c:pt>
                <c:pt idx="74">
                  <c:v>0.9927338782924614</c:v>
                </c:pt>
                <c:pt idx="75">
                  <c:v>0.990582191780822</c:v>
                </c:pt>
                <c:pt idx="76">
                  <c:v>0.9888765294771968</c:v>
                </c:pt>
                <c:pt idx="77">
                  <c:v>0.9903536977491961</c:v>
                </c:pt>
                <c:pt idx="78">
                  <c:v>0.9912023460410557</c:v>
                </c:pt>
                <c:pt idx="79">
                  <c:v>0.9958890030832477</c:v>
                </c:pt>
                <c:pt idx="80">
                  <c:v>0.9939659901261657</c:v>
                </c:pt>
                <c:pt idx="81">
                  <c:v>0.9930822444273636</c:v>
                </c:pt>
                <c:pt idx="82">
                  <c:v>0.9943342776203966</c:v>
                </c:pt>
                <c:pt idx="83">
                  <c:v>0.985969387755102</c:v>
                </c:pt>
                <c:pt idx="84">
                  <c:v>0.9893333333333333</c:v>
                </c:pt>
                <c:pt idx="85">
                  <c:v>0.9889570552147239</c:v>
                </c:pt>
                <c:pt idx="86">
                  <c:v>0.9869976359338062</c:v>
                </c:pt>
                <c:pt idx="87">
                  <c:v>0.9907216494845361</c:v>
                </c:pt>
                <c:pt idx="88">
                  <c:v>0.9828080229226361</c:v>
                </c:pt>
                <c:pt idx="89">
                  <c:v>0.9842767295597484</c:v>
                </c:pt>
                <c:pt idx="90">
                  <c:v>0.9879931389365352</c:v>
                </c:pt>
                <c:pt idx="91">
                  <c:v>0.9822380106571936</c:v>
                </c:pt>
                <c:pt idx="92">
                  <c:v>0.9785932721712538</c:v>
                </c:pt>
                <c:pt idx="93">
                  <c:v>0.9837925445705025</c:v>
                </c:pt>
                <c:pt idx="94">
                  <c:v>0.9840989399293286</c:v>
                </c:pt>
                <c:pt idx="95">
                  <c:v>0.9870689655172413</c:v>
                </c:pt>
                <c:pt idx="96">
                  <c:v>0.984171322160149</c:v>
                </c:pt>
                <c:pt idx="97">
                  <c:v>0.9827327327327328</c:v>
                </c:pt>
                <c:pt idx="98">
                  <c:v>0.9798935541099941</c:v>
                </c:pt>
                <c:pt idx="99">
                  <c:v>0.9841269841269841</c:v>
                </c:pt>
                <c:pt idx="100">
                  <c:v>0.9851668726823238</c:v>
                </c:pt>
                <c:pt idx="101">
                  <c:v>0.972341733251383</c:v>
                </c:pt>
                <c:pt idx="102">
                  <c:v>0.9662487945998072</c:v>
                </c:pt>
                <c:pt idx="103">
                  <c:v>0.9632164242942686</c:v>
                </c:pt>
                <c:pt idx="104">
                  <c:v>0.969090909090909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269856487827443</c:v>
                </c:pt>
                <c:pt idx="1">
                  <c:v>0.7176400611319266</c:v>
                </c:pt>
                <c:pt idx="2">
                  <c:v>0.6571826206896552</c:v>
                </c:pt>
                <c:pt idx="3">
                  <c:v>0.7029146503278084</c:v>
                </c:pt>
                <c:pt idx="4">
                  <c:v>0.7709136661054673</c:v>
                </c:pt>
                <c:pt idx="5">
                  <c:v>0.7323437772272304</c:v>
                </c:pt>
                <c:pt idx="6">
                  <c:v>0.6851803619096148</c:v>
                </c:pt>
                <c:pt idx="7">
                  <c:v>0.7293612704918032</c:v>
                </c:pt>
                <c:pt idx="8">
                  <c:v>0.7619714491068528</c:v>
                </c:pt>
                <c:pt idx="9">
                  <c:v>0.6001160421855953</c:v>
                </c:pt>
                <c:pt idx="10">
                  <c:v>0.7239237496858507</c:v>
                </c:pt>
                <c:pt idx="11">
                  <c:v>0.6329281846499246</c:v>
                </c:pt>
                <c:pt idx="12">
                  <c:v>0.6807066483607708</c:v>
                </c:pt>
                <c:pt idx="13">
                  <c:v>0.7041258005460093</c:v>
                </c:pt>
                <c:pt idx="14">
                  <c:v>0.7222855267476206</c:v>
                </c:pt>
                <c:pt idx="15">
                  <c:v>0.7561622502272163</c:v>
                </c:pt>
                <c:pt idx="16">
                  <c:v>0.7268538555691554</c:v>
                </c:pt>
                <c:pt idx="17">
                  <c:v>0.6546997092877274</c:v>
                </c:pt>
                <c:pt idx="18">
                  <c:v>0.8170897321428571</c:v>
                </c:pt>
                <c:pt idx="19">
                  <c:v>0.6415482649842271</c:v>
                </c:pt>
                <c:pt idx="20">
                  <c:v>0.7947449322110978</c:v>
                </c:pt>
                <c:pt idx="21">
                  <c:v>0.5388651359285387</c:v>
                </c:pt>
                <c:pt idx="22">
                  <c:v>0.7993700527169739</c:v>
                </c:pt>
                <c:pt idx="23">
                  <c:v>0.675031106709764</c:v>
                </c:pt>
                <c:pt idx="24">
                  <c:v>0.7989512385919165</c:v>
                </c:pt>
                <c:pt idx="25">
                  <c:v>0.7800702698385854</c:v>
                </c:pt>
                <c:pt idx="26">
                  <c:v>0.7723991726990692</c:v>
                </c:pt>
                <c:pt idx="27">
                  <c:v>0.7433473027842227</c:v>
                </c:pt>
                <c:pt idx="28">
                  <c:v>0.8577661534835821</c:v>
                </c:pt>
                <c:pt idx="29">
                  <c:v>0.836300425699129</c:v>
                </c:pt>
                <c:pt idx="30">
                  <c:v>0.7746023188405797</c:v>
                </c:pt>
                <c:pt idx="31">
                  <c:v>0.6662922309711287</c:v>
                </c:pt>
                <c:pt idx="32">
                  <c:v>0.759425109045581</c:v>
                </c:pt>
                <c:pt idx="33">
                  <c:v>0.6869567063293928</c:v>
                </c:pt>
                <c:pt idx="34">
                  <c:v>0.7308524186520746</c:v>
                </c:pt>
                <c:pt idx="35">
                  <c:v>0.7923464814203819</c:v>
                </c:pt>
                <c:pt idx="36">
                  <c:v>0.7650394696109792</c:v>
                </c:pt>
                <c:pt idx="37">
                  <c:v>0.7566091392138989</c:v>
                </c:pt>
                <c:pt idx="38">
                  <c:v>0.7154568086440128</c:v>
                </c:pt>
                <c:pt idx="39">
                  <c:v>0.652807738369415</c:v>
                </c:pt>
                <c:pt idx="40">
                  <c:v>4.141665575529949</c:v>
                </c:pt>
                <c:pt idx="41">
                  <c:v>2.3932261565883377</c:v>
                </c:pt>
                <c:pt idx="42">
                  <c:v>1.0588660982571045</c:v>
                </c:pt>
                <c:pt idx="43">
                  <c:v>0.9365010010719129</c:v>
                </c:pt>
                <c:pt idx="44">
                  <c:v>1.0793675796889644</c:v>
                </c:pt>
                <c:pt idx="45">
                  <c:v>0.8432566620095853</c:v>
                </c:pt>
                <c:pt idx="46">
                  <c:v>0.7662193059008077</c:v>
                </c:pt>
                <c:pt idx="47">
                  <c:v>0.7103086399697265</c:v>
                </c:pt>
                <c:pt idx="48">
                  <c:v>0.8905052600354453</c:v>
                </c:pt>
                <c:pt idx="49">
                  <c:v>0.8756672098995918</c:v>
                </c:pt>
                <c:pt idx="50">
                  <c:v>0.804436948851239</c:v>
                </c:pt>
                <c:pt idx="51">
                  <c:v>0.8040618524740938</c:v>
                </c:pt>
              </c:numCache>
            </c:numRef>
          </c:xVal>
          <c:yVal>
            <c:numRef>
              <c:f>Sheet1!$B$109:$B$160</c:f>
              <c:numCache>
                <c:formatCode>General</c:formatCode>
                <c:ptCount val="52"/>
                <c:pt idx="0">
                  <c:v>0.9634340222575517</c:v>
                </c:pt>
                <c:pt idx="1">
                  <c:v>0.9601518026565465</c:v>
                </c:pt>
                <c:pt idx="2">
                  <c:v>0.9593869731800766</c:v>
                </c:pt>
                <c:pt idx="3">
                  <c:v>0.960060286360211</c:v>
                </c:pt>
                <c:pt idx="4">
                  <c:v>0.9621749408983451</c:v>
                </c:pt>
                <c:pt idx="5">
                  <c:v>0.9579901153212521</c:v>
                </c:pt>
                <c:pt idx="6">
                  <c:v>0.9709257842387146</c:v>
                </c:pt>
                <c:pt idx="7">
                  <c:v>0.9677033492822966</c:v>
                </c:pt>
                <c:pt idx="8">
                  <c:v>0.948502994011976</c:v>
                </c:pt>
                <c:pt idx="9">
                  <c:v>0.950253807106599</c:v>
                </c:pt>
                <c:pt idx="10">
                  <c:v>0.9489120151371807</c:v>
                </c:pt>
                <c:pt idx="11">
                  <c:v>0.9691435768261965</c:v>
                </c:pt>
                <c:pt idx="12">
                  <c:v>0.96045197740113</c:v>
                </c:pt>
                <c:pt idx="13">
                  <c:v>0.9587087087087087</c:v>
                </c:pt>
                <c:pt idx="14">
                  <c:v>0.9609561752988047</c:v>
                </c:pt>
                <c:pt idx="15">
                  <c:v>0.9319965126416739</c:v>
                </c:pt>
                <c:pt idx="16">
                  <c:v>0.9462857142857143</c:v>
                </c:pt>
                <c:pt idx="17">
                  <c:v>0.9426229508196722</c:v>
                </c:pt>
                <c:pt idx="18">
                  <c:v>0.9308510638297872</c:v>
                </c:pt>
                <c:pt idx="19">
                  <c:v>0.9267955801104972</c:v>
                </c:pt>
                <c:pt idx="20">
                  <c:v>0.9192825112107623</c:v>
                </c:pt>
                <c:pt idx="21">
                  <c:v>0.947289156626506</c:v>
                </c:pt>
                <c:pt idx="22">
                  <c:v>0.9367311072056239</c:v>
                </c:pt>
                <c:pt idx="23">
                  <c:v>0.9241379310344827</c:v>
                </c:pt>
                <c:pt idx="24">
                  <c:v>0.926829268292683</c:v>
                </c:pt>
                <c:pt idx="25">
                  <c:v>0.9193548387096774</c:v>
                </c:pt>
                <c:pt idx="26">
                  <c:v>0.9331983805668016</c:v>
                </c:pt>
                <c:pt idx="27">
                  <c:v>0.9111969111969112</c:v>
                </c:pt>
                <c:pt idx="28">
                  <c:v>0.9299552906110283</c:v>
                </c:pt>
                <c:pt idx="29">
                  <c:v>0.9195876288659793</c:v>
                </c:pt>
                <c:pt idx="30">
                  <c:v>0.9158699808795411</c:v>
                </c:pt>
                <c:pt idx="31">
                  <c:v>0.9127659574468086</c:v>
                </c:pt>
                <c:pt idx="32">
                  <c:v>0.920303605313093</c:v>
                </c:pt>
                <c:pt idx="33">
                  <c:v>0.9288590604026845</c:v>
                </c:pt>
                <c:pt idx="34">
                  <c:v>0.9392565729827742</c:v>
                </c:pt>
                <c:pt idx="35">
                  <c:v>0.9195652173913044</c:v>
                </c:pt>
                <c:pt idx="36">
                  <c:v>0.9032921810699589</c:v>
                </c:pt>
                <c:pt idx="37">
                  <c:v>0.8803921568627451</c:v>
                </c:pt>
                <c:pt idx="38">
                  <c:v>0.9055690072639225</c:v>
                </c:pt>
                <c:pt idx="39">
                  <c:v>0.9014285714285715</c:v>
                </c:pt>
                <c:pt idx="40">
                  <c:v>0.7325153374233129</c:v>
                </c:pt>
                <c:pt idx="41">
                  <c:v>0.8328877005347594</c:v>
                </c:pt>
                <c:pt idx="42">
                  <c:v>0.8688783570300158</c:v>
                </c:pt>
                <c:pt idx="43">
                  <c:v>0.8708891595615104</c:v>
                </c:pt>
                <c:pt idx="44">
                  <c:v>0.9065708418891171</c:v>
                </c:pt>
                <c:pt idx="45">
                  <c:v>0.9248389405869721</c:v>
                </c:pt>
                <c:pt idx="46">
                  <c:v>0.9207258834765998</c:v>
                </c:pt>
                <c:pt idx="47">
                  <c:v>0.9324200913242009</c:v>
                </c:pt>
                <c:pt idx="48">
                  <c:v>0.9085979860573199</c:v>
                </c:pt>
                <c:pt idx="49">
                  <c:v>0.9132653061224489</c:v>
                </c:pt>
                <c:pt idx="50">
                  <c:v>0.9417218543046357</c:v>
                </c:pt>
                <c:pt idx="51">
                  <c:v>0.923933209647495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4457461742717984</c:v>
                </c:pt>
              </c:numCache>
            </c:numRef>
          </c:xVal>
          <c:yVal>
            <c:numRef>
              <c:f>Sheet1!$B$163:$B$164</c:f>
              <c:numCache>
                <c:formatCode>General</c:formatCode>
                <c:ptCount val="2"/>
                <c:pt idx="0">
                  <c:v>0.9938458224420386</c:v>
                </c:pt>
                <c:pt idx="1">
                  <c:v>0.993845822442038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4457461742717984</c:v>
                </c:pt>
                <c:pt idx="1">
                  <c:v>-0.24457461742717984</c:v>
                </c:pt>
              </c:numCache>
            </c:numRef>
          </c:xVal>
          <c:yVal>
            <c:numRef>
              <c:f>Sheet1!$B$167:$B$168</c:f>
              <c:numCache>
                <c:formatCode>General</c:formatCode>
                <c:ptCount val="2"/>
                <c:pt idx="0">
                  <c:v>0.993845822442038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839198521570547</c:v>
                </c:pt>
              </c:numCache>
            </c:numRef>
          </c:xVal>
          <c:yVal>
            <c:numRef>
              <c:f>Sheet1!$B$171:$B$172</c:f>
              <c:numCache>
                <c:formatCode>General</c:formatCode>
                <c:ptCount val="2"/>
                <c:pt idx="0">
                  <c:v>0.9611478075785522</c:v>
                </c:pt>
                <c:pt idx="1">
                  <c:v>0.961147807578552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839198521570547</c:v>
                </c:pt>
                <c:pt idx="1">
                  <c:v>0.2839198521570547</c:v>
                </c:pt>
              </c:numCache>
            </c:numRef>
          </c:xVal>
          <c:yVal>
            <c:numRef>
              <c:f>Sheet1!$B$175:$B$176</c:f>
              <c:numCache>
                <c:formatCode>General</c:formatCode>
                <c:ptCount val="2"/>
                <c:pt idx="0">
                  <c:v>0.96114780757855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4230907202928595</c:v>
                </c:pt>
              </c:numCache>
            </c:numRef>
          </c:xVal>
          <c:yVal>
            <c:numRef>
              <c:f>Sheet1!$B$179:$B$180</c:f>
              <c:numCache>
                <c:formatCode>General</c:formatCode>
                <c:ptCount val="2"/>
                <c:pt idx="0">
                  <c:v>0.8906671722605354</c:v>
                </c:pt>
                <c:pt idx="1">
                  <c:v>0.890667172260535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4230907202928595</c:v>
                </c:pt>
                <c:pt idx="1">
                  <c:v>1.4230907202928595</c:v>
                </c:pt>
              </c:numCache>
            </c:numRef>
          </c:xVal>
          <c:yVal>
            <c:numRef>
              <c:f>Sheet1!$B$183:$B$184</c:f>
              <c:numCache>
                <c:formatCode>General</c:formatCode>
                <c:ptCount val="2"/>
                <c:pt idx="0">
                  <c:v>0.89066717226053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269856487827443</c:v>
                </c:pt>
                <c:pt idx="1">
                  <c:v>0.7176400611319266</c:v>
                </c:pt>
                <c:pt idx="2">
                  <c:v>0.6571826206896552</c:v>
                </c:pt>
                <c:pt idx="3">
                  <c:v>0.7029146503278084</c:v>
                </c:pt>
                <c:pt idx="4">
                  <c:v>0.7709136661054673</c:v>
                </c:pt>
                <c:pt idx="5">
                  <c:v>0.7323437772272304</c:v>
                </c:pt>
                <c:pt idx="6">
                  <c:v>0.6851803619096148</c:v>
                </c:pt>
                <c:pt idx="7">
                  <c:v>0.7293612704918032</c:v>
                </c:pt>
                <c:pt idx="8">
                  <c:v>0.7619714491068528</c:v>
                </c:pt>
                <c:pt idx="9">
                  <c:v>0.6001160421855953</c:v>
                </c:pt>
                <c:pt idx="10">
                  <c:v>0.7239237496858507</c:v>
                </c:pt>
                <c:pt idx="11">
                  <c:v>0.6329281846499246</c:v>
                </c:pt>
                <c:pt idx="12">
                  <c:v>0.6807066483607708</c:v>
                </c:pt>
                <c:pt idx="13">
                  <c:v>0.7041258005460093</c:v>
                </c:pt>
                <c:pt idx="14">
                  <c:v>0.7222855267476206</c:v>
                </c:pt>
                <c:pt idx="15">
                  <c:v>0.7561622502272163</c:v>
                </c:pt>
                <c:pt idx="16">
                  <c:v>0.7268538555691554</c:v>
                </c:pt>
                <c:pt idx="17">
                  <c:v>0.6546997092877274</c:v>
                </c:pt>
                <c:pt idx="18">
                  <c:v>0.8170897321428571</c:v>
                </c:pt>
                <c:pt idx="19">
                  <c:v>0.6415482649842271</c:v>
                </c:pt>
                <c:pt idx="20">
                  <c:v>0.7947449322110978</c:v>
                </c:pt>
                <c:pt idx="21">
                  <c:v>0.5388651359285387</c:v>
                </c:pt>
                <c:pt idx="22">
                  <c:v>0.7993700527169739</c:v>
                </c:pt>
                <c:pt idx="23">
                  <c:v>0.675031106709764</c:v>
                </c:pt>
                <c:pt idx="24">
                  <c:v>0.7989512385919165</c:v>
                </c:pt>
                <c:pt idx="25">
                  <c:v>0.7800702698385854</c:v>
                </c:pt>
                <c:pt idx="26">
                  <c:v>0.7723991726990692</c:v>
                </c:pt>
                <c:pt idx="27">
                  <c:v>0.7433473027842227</c:v>
                </c:pt>
                <c:pt idx="28">
                  <c:v>0.8577661534835821</c:v>
                </c:pt>
                <c:pt idx="29">
                  <c:v>0.836300425699129</c:v>
                </c:pt>
                <c:pt idx="30">
                  <c:v>0.7746023188405797</c:v>
                </c:pt>
                <c:pt idx="31">
                  <c:v>0.6662922309711287</c:v>
                </c:pt>
                <c:pt idx="32">
                  <c:v>0.759425109045581</c:v>
                </c:pt>
                <c:pt idx="33">
                  <c:v>0.6869567063293928</c:v>
                </c:pt>
                <c:pt idx="34">
                  <c:v>0.7308524186520746</c:v>
                </c:pt>
                <c:pt idx="35">
                  <c:v>0.7923464814203819</c:v>
                </c:pt>
                <c:pt idx="36">
                  <c:v>0.7650394696109792</c:v>
                </c:pt>
                <c:pt idx="37">
                  <c:v>0.7566091392138989</c:v>
                </c:pt>
                <c:pt idx="38">
                  <c:v>0.7154568086440128</c:v>
                </c:pt>
                <c:pt idx="39">
                  <c:v>0.652807738369415</c:v>
                </c:pt>
                <c:pt idx="40">
                  <c:v>4.141665575529949</c:v>
                </c:pt>
                <c:pt idx="41">
                  <c:v>2.3932261565883377</c:v>
                </c:pt>
                <c:pt idx="42">
                  <c:v>1.0588660982571045</c:v>
                </c:pt>
                <c:pt idx="43">
                  <c:v>0.9365010010719129</c:v>
                </c:pt>
                <c:pt idx="44">
                  <c:v>1.0793675796889644</c:v>
                </c:pt>
                <c:pt idx="45">
                  <c:v>0.8432566620095853</c:v>
                </c:pt>
                <c:pt idx="46">
                  <c:v>0.7662193059008077</c:v>
                </c:pt>
                <c:pt idx="47">
                  <c:v>0.7103086399697265</c:v>
                </c:pt>
                <c:pt idx="48">
                  <c:v>0.8905052600354453</c:v>
                </c:pt>
                <c:pt idx="49">
                  <c:v>0.8756672098995918</c:v>
                </c:pt>
                <c:pt idx="50">
                  <c:v>0.804436948851239</c:v>
                </c:pt>
                <c:pt idx="51">
                  <c:v>0.8040618524740938</c:v>
                </c:pt>
                <c:pt idx="52">
                  <c:v>0.2839198521570547</c:v>
                </c:pt>
                <c:pt idx="53">
                  <c:v>-0.24457461742717984</c:v>
                </c:pt>
                <c:pt idx="54">
                  <c:v>1.4230907202928595</c:v>
                </c:pt>
              </c:numCache>
            </c:numRef>
          </c:xVal>
          <c:yVal>
            <c:numRef>
              <c:f>Sheet1!$B$187:$B$241</c:f>
              <c:numCache>
                <c:formatCode>General</c:formatCode>
                <c:ptCount val="55"/>
                <c:pt idx="0">
                  <c:v>0.9337352747379222</c:v>
                </c:pt>
                <c:pt idx="1">
                  <c:v>0.934313487342786</c:v>
                </c:pt>
                <c:pt idx="2">
                  <c:v>0.9380539962789437</c:v>
                </c:pt>
                <c:pt idx="3">
                  <c:v>0.9352245502375838</c:v>
                </c:pt>
                <c:pt idx="4">
                  <c:v>0.9310174431502579</c:v>
                </c:pt>
                <c:pt idx="5">
                  <c:v>0.933403766702169</c:v>
                </c:pt>
                <c:pt idx="6">
                  <c:v>0.9363217727435215</c:v>
                </c:pt>
                <c:pt idx="7">
                  <c:v>0.9335882947439518</c:v>
                </c:pt>
                <c:pt idx="8">
                  <c:v>0.9315706991655257</c:v>
                </c:pt>
                <c:pt idx="9">
                  <c:v>0.9415847121889929</c:v>
                </c:pt>
                <c:pt idx="10">
                  <c:v>0.9339247147944273</c:v>
                </c:pt>
                <c:pt idx="11">
                  <c:v>0.9395546210835068</c:v>
                </c:pt>
                <c:pt idx="12">
                  <c:v>0.936598561925876</c:v>
                </c:pt>
                <c:pt idx="13">
                  <c:v>0.9351496162314289</c:v>
                </c:pt>
                <c:pt idx="14">
                  <c:v>0.9340260718398967</c:v>
                </c:pt>
                <c:pt idx="15">
                  <c:v>0.9319301149820445</c:v>
                </c:pt>
                <c:pt idx="16">
                  <c:v>0.9337434287995157</c:v>
                </c:pt>
                <c:pt idx="17">
                  <c:v>0.9382076142988045</c:v>
                </c:pt>
                <c:pt idx="18">
                  <c:v>0.9281605245247598</c:v>
                </c:pt>
                <c:pt idx="19">
                  <c:v>0.9390212957014699</c:v>
                </c:pt>
                <c:pt idx="20">
                  <c:v>0.9295429999191857</c:v>
                </c:pt>
                <c:pt idx="21">
                  <c:v>0.9453743129482417</c:v>
                </c:pt>
                <c:pt idx="22">
                  <c:v>0.9292568431706287</c:v>
                </c:pt>
                <c:pt idx="23">
                  <c:v>0.9369497083539718</c:v>
                </c:pt>
                <c:pt idx="24">
                  <c:v>0.9292827552497029</c:v>
                </c:pt>
                <c:pt idx="25">
                  <c:v>0.9304509230025635</c:v>
                </c:pt>
                <c:pt idx="26">
                  <c:v>0.9309255346829552</c:v>
                </c:pt>
                <c:pt idx="27">
                  <c:v>0.9327229772844551</c:v>
                </c:pt>
                <c:pt idx="28">
                  <c:v>0.9256438695621473</c:v>
                </c:pt>
                <c:pt idx="29">
                  <c:v>0.926971956659641</c:v>
                </c:pt>
                <c:pt idx="30">
                  <c:v>0.9307892257725929</c:v>
                </c:pt>
                <c:pt idx="31">
                  <c:v>0.9374903836216182</c:v>
                </c:pt>
                <c:pt idx="32">
                  <c:v>0.9317282415239849</c:v>
                </c:pt>
                <c:pt idx="33">
                  <c:v>0.9362118701057772</c:v>
                </c:pt>
                <c:pt idx="34">
                  <c:v>0.9334960372322572</c:v>
                </c:pt>
                <c:pt idx="35">
                  <c:v>0.9296913923511175</c:v>
                </c:pt>
                <c:pt idx="36">
                  <c:v>0.9313808803768365</c:v>
                </c:pt>
                <c:pt idx="37">
                  <c:v>0.9319024659079863</c:v>
                </c:pt>
                <c:pt idx="38">
                  <c:v>0.9344485654304654</c:v>
                </c:pt>
                <c:pt idx="39">
                  <c:v>0.9383246707615844</c:v>
                </c:pt>
                <c:pt idx="40">
                  <c:v>0.722468626883185</c:v>
                </c:pt>
                <c:pt idx="41">
                  <c:v>0.8306447789504605</c:v>
                </c:pt>
                <c:pt idx="42">
                  <c:v>0.9132017923755612</c:v>
                </c:pt>
                <c:pt idx="43">
                  <c:v>0.9207725353006121</c:v>
                </c:pt>
                <c:pt idx="44">
                  <c:v>0.9119333633130777</c:v>
                </c:pt>
                <c:pt idx="45">
                  <c:v>0.9265415735026477</c:v>
                </c:pt>
                <c:pt idx="46">
                  <c:v>0.9313078837671054</c:v>
                </c:pt>
                <c:pt idx="47">
                  <c:v>0.9347670832305929</c:v>
                </c:pt>
                <c:pt idx="48">
                  <c:v>0.923618297197138</c:v>
                </c:pt>
                <c:pt idx="49">
                  <c:v>0.9245363291006109</c:v>
                </c:pt>
                <c:pt idx="50">
                  <c:v>0.9289433537120914</c:v>
                </c:pt>
                <c:pt idx="51">
                  <c:v>0.928966560968971</c:v>
                </c:pt>
                <c:pt idx="52">
                  <c:v>0.9611478075785522</c:v>
                </c:pt>
                <c:pt idx="53">
                  <c:v>0.9938458224420386</c:v>
                </c:pt>
                <c:pt idx="54">
                  <c:v>0.89066717226053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64285714285714"/>
          <c:min val="0.586012269938650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94.5109</c:v>
                </c:pt>
                <c:pt idx="1">
                  <c:v>1106.4365</c:v>
                </c:pt>
                <c:pt idx="2">
                  <c:v>1117.3307</c:v>
                </c:pt>
                <c:pt idx="3">
                  <c:v>1136.4221</c:v>
                </c:pt>
                <c:pt idx="4">
                  <c:v>1137.1068</c:v>
                </c:pt>
                <c:pt idx="5">
                  <c:v>1144.8265</c:v>
                </c:pt>
                <c:pt idx="6">
                  <c:v>1100.7782</c:v>
                </c:pt>
                <c:pt idx="7">
                  <c:v>1127.0754</c:v>
                </c:pt>
                <c:pt idx="8">
                  <c:v>1129.7791</c:v>
                </c:pt>
                <c:pt idx="9">
                  <c:v>1112.5939</c:v>
                </c:pt>
                <c:pt idx="10">
                  <c:v>1089.4764</c:v>
                </c:pt>
                <c:pt idx="11">
                  <c:v>1126.2054</c:v>
                </c:pt>
                <c:pt idx="12">
                  <c:v>1116.5673</c:v>
                </c:pt>
                <c:pt idx="13">
                  <c:v>1071.5269</c:v>
                </c:pt>
                <c:pt idx="14">
                  <c:v>1168.54</c:v>
                </c:pt>
                <c:pt idx="15">
                  <c:v>1106.0263</c:v>
                </c:pt>
                <c:pt idx="16">
                  <c:v>1297.4944</c:v>
                </c:pt>
                <c:pt idx="17">
                  <c:v>1127.0036</c:v>
                </c:pt>
                <c:pt idx="18">
                  <c:v>1221.8685</c:v>
                </c:pt>
                <c:pt idx="19">
                  <c:v>1281.4516</c:v>
                </c:pt>
                <c:pt idx="20">
                  <c:v>1270.096</c:v>
                </c:pt>
                <c:pt idx="21">
                  <c:v>1247.6353</c:v>
                </c:pt>
                <c:pt idx="22">
                  <c:v>1248.2201</c:v>
                </c:pt>
                <c:pt idx="23">
                  <c:v>1246.8457</c:v>
                </c:pt>
                <c:pt idx="24">
                  <c:v>1292.0026</c:v>
                </c:pt>
                <c:pt idx="25">
                  <c:v>1224.4867</c:v>
                </c:pt>
                <c:pt idx="26">
                  <c:v>1214.2931</c:v>
                </c:pt>
                <c:pt idx="27">
                  <c:v>1385.2179</c:v>
                </c:pt>
                <c:pt idx="28">
                  <c:v>1185.1876</c:v>
                </c:pt>
                <c:pt idx="29">
                  <c:v>1133.3035</c:v>
                </c:pt>
                <c:pt idx="30">
                  <c:v>1124.0564</c:v>
                </c:pt>
                <c:pt idx="31">
                  <c:v>1106.5671</c:v>
                </c:pt>
                <c:pt idx="32">
                  <c:v>1090.3573</c:v>
                </c:pt>
                <c:pt idx="33">
                  <c:v>1096.688</c:v>
                </c:pt>
                <c:pt idx="34">
                  <c:v>1051.0872</c:v>
                </c:pt>
                <c:pt idx="35">
                  <c:v>1031.1302</c:v>
                </c:pt>
                <c:pt idx="36">
                  <c:v>1273.4549</c:v>
                </c:pt>
                <c:pt idx="37">
                  <c:v>1274.4758</c:v>
                </c:pt>
                <c:pt idx="38">
                  <c:v>1298.1158</c:v>
                </c:pt>
                <c:pt idx="39">
                  <c:v>1374.2814</c:v>
                </c:pt>
                <c:pt idx="40">
                  <c:v>1322.1843</c:v>
                </c:pt>
                <c:pt idx="41">
                  <c:v>1391.4918</c:v>
                </c:pt>
                <c:pt idx="42">
                  <c:v>1443.5197</c:v>
                </c:pt>
                <c:pt idx="43">
                  <c:v>1533.8953</c:v>
                </c:pt>
                <c:pt idx="44">
                  <c:v>1148.17</c:v>
                </c:pt>
                <c:pt idx="45">
                  <c:v>1083.725</c:v>
                </c:pt>
                <c:pt idx="46">
                  <c:v>1029.8374</c:v>
                </c:pt>
                <c:pt idx="47">
                  <c:v>956.2468</c:v>
                </c:pt>
                <c:pt idx="48">
                  <c:v>974.6939</c:v>
                </c:pt>
                <c:pt idx="49">
                  <c:v>965.7966</c:v>
                </c:pt>
                <c:pt idx="50">
                  <c:v>971.5398</c:v>
                </c:pt>
                <c:pt idx="51">
                  <c:v>1032.1653</c:v>
                </c:pt>
                <c:pt idx="52">
                  <c:v>1058.5895</c:v>
                </c:pt>
                <c:pt idx="53">
                  <c:v>1068.9896</c:v>
                </c:pt>
                <c:pt idx="54">
                  <c:v>1075.7585</c:v>
                </c:pt>
                <c:pt idx="55">
                  <c:v>1176.9759</c:v>
                </c:pt>
                <c:pt idx="56">
                  <c:v>1162.4574</c:v>
                </c:pt>
                <c:pt idx="57">
                  <c:v>1160.6956</c:v>
                </c:pt>
                <c:pt idx="58">
                  <c:v>1127.4379</c:v>
                </c:pt>
                <c:pt idx="59">
                  <c:v>1073.879</c:v>
                </c:pt>
                <c:pt idx="60">
                  <c:v>1130.8542</c:v>
                </c:pt>
                <c:pt idx="61">
                  <c:v>1116.6361</c:v>
                </c:pt>
                <c:pt idx="62">
                  <c:v>1127.0864</c:v>
                </c:pt>
                <c:pt idx="63">
                  <c:v>1154.8125</c:v>
                </c:pt>
                <c:pt idx="64">
                  <c:v>1182.3876</c:v>
                </c:pt>
                <c:pt idx="65">
                  <c:v>1144.1331</c:v>
                </c:pt>
                <c:pt idx="66">
                  <c:v>1033.6616</c:v>
                </c:pt>
                <c:pt idx="67">
                  <c:v>947.9028</c:v>
                </c:pt>
                <c:pt idx="68">
                  <c:v>937.8791</c:v>
                </c:pt>
                <c:pt idx="69">
                  <c:v>943.1575</c:v>
                </c:pt>
                <c:pt idx="70">
                  <c:v>904.2287</c:v>
                </c:pt>
                <c:pt idx="71">
                  <c:v>936.3203</c:v>
                </c:pt>
                <c:pt idx="72">
                  <c:v>982.3403</c:v>
                </c:pt>
                <c:pt idx="73">
                  <c:v>1055.0775</c:v>
                </c:pt>
                <c:pt idx="74">
                  <c:v>918.6972</c:v>
                </c:pt>
                <c:pt idx="75">
                  <c:v>981.2498</c:v>
                </c:pt>
                <c:pt idx="76">
                  <c:v>878.3195</c:v>
                </c:pt>
                <c:pt idx="77">
                  <c:v>838.3474</c:v>
                </c:pt>
                <c:pt idx="78">
                  <c:v>951.2751</c:v>
                </c:pt>
                <c:pt idx="79">
                  <c:v>403.0898</c:v>
                </c:pt>
                <c:pt idx="80">
                  <c:v>420.9139</c:v>
                </c:pt>
                <c:pt idx="81">
                  <c:v>619.2639</c:v>
                </c:pt>
                <c:pt idx="82">
                  <c:v>645.8547</c:v>
                </c:pt>
                <c:pt idx="83">
                  <c:v>693.6636</c:v>
                </c:pt>
                <c:pt idx="84">
                  <c:v>719.9111</c:v>
                </c:pt>
                <c:pt idx="85">
                  <c:v>795.6501</c:v>
                </c:pt>
                <c:pt idx="86">
                  <c:v>1054.6731</c:v>
                </c:pt>
                <c:pt idx="87">
                  <c:v>1086.1738</c:v>
                </c:pt>
                <c:pt idx="88">
                  <c:v>1083.3557</c:v>
                </c:pt>
                <c:pt idx="89">
                  <c:v>947.9521</c:v>
                </c:pt>
                <c:pt idx="90">
                  <c:v>993.0</c:v>
                </c:pt>
                <c:pt idx="91">
                  <c:v>1067.9385</c:v>
                </c:pt>
                <c:pt idx="92">
                  <c:v>1185.7766</c:v>
                </c:pt>
                <c:pt idx="93">
                  <c:v>1270.8715</c:v>
                </c:pt>
                <c:pt idx="94">
                  <c:v>1184.4506</c:v>
                </c:pt>
                <c:pt idx="95">
                  <c:v>1384.77</c:v>
                </c:pt>
                <c:pt idx="96">
                  <c:v>1314.5241</c:v>
                </c:pt>
                <c:pt idx="97">
                  <c:v>1331.78</c:v>
                </c:pt>
                <c:pt idx="98">
                  <c:v>1337.5287</c:v>
                </c:pt>
                <c:pt idx="99">
                  <c:v>1310.1582</c:v>
                </c:pt>
                <c:pt idx="100">
                  <c:v>1244.4564</c:v>
                </c:pt>
                <c:pt idx="101">
                  <c:v>1336.3919</c:v>
                </c:pt>
                <c:pt idx="102">
                  <c:v>1431.5389</c:v>
                </c:pt>
                <c:pt idx="103">
                  <c:v>1353.2611</c:v>
                </c:pt>
                <c:pt idx="104">
                  <c:v>1367.9887</c:v>
                </c:pt>
              </c:numCache>
            </c:numRef>
          </c:xVal>
          <c:yVal>
            <c:numRef>
              <c:f>Sheet1!$B$2:$B$106</c:f>
              <c:numCache>
                <c:formatCode>General</c:formatCode>
                <c:ptCount val="105"/>
                <c:pt idx="0">
                  <c:v>0.9943661971830986</c:v>
                </c:pt>
                <c:pt idx="1">
                  <c:v>0.9947368421052631</c:v>
                </c:pt>
                <c:pt idx="2">
                  <c:v>0.9913269731136166</c:v>
                </c:pt>
                <c:pt idx="3">
                  <c:v>0.9932375316990701</c:v>
                </c:pt>
                <c:pt idx="4">
                  <c:v>0.9941002949852508</c:v>
                </c:pt>
                <c:pt idx="5">
                  <c:v>0.9969293756397134</c:v>
                </c:pt>
                <c:pt idx="6">
                  <c:v>0.9915413533834586</c:v>
                </c:pt>
                <c:pt idx="7">
                  <c:v>0.9936708860759493</c:v>
                </c:pt>
                <c:pt idx="8">
                  <c:v>0.9907834101382489</c:v>
                </c:pt>
                <c:pt idx="9">
                  <c:v>0.989351403678606</c:v>
                </c:pt>
                <c:pt idx="10">
                  <c:v>0.9897872340425532</c:v>
                </c:pt>
                <c:pt idx="11">
                  <c:v>0.9933388842631141</c:v>
                </c:pt>
                <c:pt idx="12">
                  <c:v>0.9893790849673203</c:v>
                </c:pt>
                <c:pt idx="13">
                  <c:v>0.9915325994919559</c:v>
                </c:pt>
                <c:pt idx="14">
                  <c:v>0.9905254091300603</c:v>
                </c:pt>
                <c:pt idx="15">
                  <c:v>0.9864864864864865</c:v>
                </c:pt>
                <c:pt idx="16">
                  <c:v>0.9911894273127754</c:v>
                </c:pt>
                <c:pt idx="17">
                  <c:v>0.9894179894179894</c:v>
                </c:pt>
                <c:pt idx="18">
                  <c:v>0.9853300733496333</c:v>
                </c:pt>
                <c:pt idx="19">
                  <c:v>0.9841269841269841</c:v>
                </c:pt>
                <c:pt idx="20">
                  <c:v>0.9846153846153847</c:v>
                </c:pt>
                <c:pt idx="21">
                  <c:v>0.982089552238806</c:v>
                </c:pt>
                <c:pt idx="22">
                  <c:v>0.9862637362637363</c:v>
                </c:pt>
                <c:pt idx="23">
                  <c:v>0.9749216300940439</c:v>
                </c:pt>
                <c:pt idx="24">
                  <c:v>0.9745547073791349</c:v>
                </c:pt>
                <c:pt idx="25">
                  <c:v>0.9741379310344828</c:v>
                </c:pt>
                <c:pt idx="26">
                  <c:v>0.976905311778291</c:v>
                </c:pt>
                <c:pt idx="27">
                  <c:v>0.9859154929577465</c:v>
                </c:pt>
                <c:pt idx="28">
                  <c:v>0.9767981438515081</c:v>
                </c:pt>
                <c:pt idx="29">
                  <c:v>0.9906542056074766</c:v>
                </c:pt>
                <c:pt idx="30">
                  <c:v>0.9855072463768116</c:v>
                </c:pt>
                <c:pt idx="31">
                  <c:v>0.9825870646766169</c:v>
                </c:pt>
                <c:pt idx="32">
                  <c:v>0.9788732394366197</c:v>
                </c:pt>
                <c:pt idx="33">
                  <c:v>0.9858044164037855</c:v>
                </c:pt>
                <c:pt idx="34">
                  <c:v>0.9878869448183042</c:v>
                </c:pt>
                <c:pt idx="35">
                  <c:v>0.9918181818181818</c:v>
                </c:pt>
                <c:pt idx="36">
                  <c:v>0.974304068522484</c:v>
                </c:pt>
                <c:pt idx="37">
                  <c:v>0.9815303430079155</c:v>
                </c:pt>
                <c:pt idx="38">
                  <c:v>0.9806094182825484</c:v>
                </c:pt>
                <c:pt idx="39">
                  <c:v>0.9737609329446064</c:v>
                </c:pt>
                <c:pt idx="40">
                  <c:v>0.9841269841269841</c:v>
                </c:pt>
                <c:pt idx="41">
                  <c:v>0.9735449735449735</c:v>
                </c:pt>
                <c:pt idx="42">
                  <c:v>0.9817767653758542</c:v>
                </c:pt>
                <c:pt idx="43">
                  <c:v>0.9828571428571429</c:v>
                </c:pt>
                <c:pt idx="44">
                  <c:v>0.9914456800684346</c:v>
                </c:pt>
                <c:pt idx="45">
                  <c:v>0.9942429476108232</c:v>
                </c:pt>
                <c:pt idx="46">
                  <c:v>0.9960019990004998</c:v>
                </c:pt>
                <c:pt idx="47">
                  <c:v>0.9943181818181818</c:v>
                </c:pt>
                <c:pt idx="48">
                  <c:v>0.9952348536419333</c:v>
                </c:pt>
                <c:pt idx="49">
                  <c:v>0.9970238095238095</c:v>
                </c:pt>
                <c:pt idx="50">
                  <c:v>0.9956873315363881</c:v>
                </c:pt>
                <c:pt idx="51">
                  <c:v>0.9917664670658682</c:v>
                </c:pt>
                <c:pt idx="52">
                  <c:v>0.9949295774647887</c:v>
                </c:pt>
                <c:pt idx="53">
                  <c:v>0.9910282953761215</c:v>
                </c:pt>
                <c:pt idx="54">
                  <c:v>0.989010989010989</c:v>
                </c:pt>
                <c:pt idx="55">
                  <c:v>0.9917910447761195</c:v>
                </c:pt>
                <c:pt idx="56">
                  <c:v>0.9913112164296999</c:v>
                </c:pt>
                <c:pt idx="57">
                  <c:v>0.9924480805538074</c:v>
                </c:pt>
                <c:pt idx="58">
                  <c:v>0.9949466591802358</c:v>
                </c:pt>
                <c:pt idx="59">
                  <c:v>0.9953271028037384</c:v>
                </c:pt>
                <c:pt idx="60">
                  <c:v>0.9933097205824478</c:v>
                </c:pt>
                <c:pt idx="61">
                  <c:v>0.9954151808456444</c:v>
                </c:pt>
                <c:pt idx="62">
                  <c:v>0.9946265448683503</c:v>
                </c:pt>
                <c:pt idx="63">
                  <c:v>0.9957983193277311</c:v>
                </c:pt>
                <c:pt idx="64">
                  <c:v>0.9954441913439636</c:v>
                </c:pt>
                <c:pt idx="65">
                  <c:v>0.9967514889009204</c:v>
                </c:pt>
                <c:pt idx="66">
                  <c:v>0.995475113122172</c:v>
                </c:pt>
                <c:pt idx="67">
                  <c:v>0.9957081545064378</c:v>
                </c:pt>
                <c:pt idx="68">
                  <c:v>0.996078431372549</c:v>
                </c:pt>
                <c:pt idx="69">
                  <c:v>0.9927826784282278</c:v>
                </c:pt>
                <c:pt idx="70">
                  <c:v>0.9920127795527156</c:v>
                </c:pt>
                <c:pt idx="71">
                  <c:v>0.9896640826873385</c:v>
                </c:pt>
                <c:pt idx="72">
                  <c:v>0.9879310344827587</c:v>
                </c:pt>
                <c:pt idx="73">
                  <c:v>0.9923076923076923</c:v>
                </c:pt>
                <c:pt idx="74">
                  <c:v>0.9927338782924614</c:v>
                </c:pt>
                <c:pt idx="75">
                  <c:v>0.990582191780822</c:v>
                </c:pt>
                <c:pt idx="76">
                  <c:v>0.9888765294771968</c:v>
                </c:pt>
                <c:pt idx="77">
                  <c:v>0.9903536977491961</c:v>
                </c:pt>
                <c:pt idx="78">
                  <c:v>0.9912023460410557</c:v>
                </c:pt>
                <c:pt idx="79">
                  <c:v>0.9958890030832477</c:v>
                </c:pt>
                <c:pt idx="80">
                  <c:v>0.9939659901261657</c:v>
                </c:pt>
                <c:pt idx="81">
                  <c:v>0.9930822444273636</c:v>
                </c:pt>
                <c:pt idx="82">
                  <c:v>0.9943342776203966</c:v>
                </c:pt>
                <c:pt idx="83">
                  <c:v>0.985969387755102</c:v>
                </c:pt>
                <c:pt idx="84">
                  <c:v>0.9893333333333333</c:v>
                </c:pt>
                <c:pt idx="85">
                  <c:v>0.9889570552147239</c:v>
                </c:pt>
                <c:pt idx="86">
                  <c:v>0.9869976359338062</c:v>
                </c:pt>
                <c:pt idx="87">
                  <c:v>0.9907216494845361</c:v>
                </c:pt>
                <c:pt idx="88">
                  <c:v>0.9828080229226361</c:v>
                </c:pt>
                <c:pt idx="89">
                  <c:v>0.9842767295597484</c:v>
                </c:pt>
                <c:pt idx="90">
                  <c:v>0.9879931389365352</c:v>
                </c:pt>
                <c:pt idx="91">
                  <c:v>0.9822380106571936</c:v>
                </c:pt>
                <c:pt idx="92">
                  <c:v>0.9785932721712538</c:v>
                </c:pt>
                <c:pt idx="93">
                  <c:v>0.9837925445705025</c:v>
                </c:pt>
                <c:pt idx="94">
                  <c:v>0.9840989399293286</c:v>
                </c:pt>
                <c:pt idx="95">
                  <c:v>0.9870689655172413</c:v>
                </c:pt>
                <c:pt idx="96">
                  <c:v>0.984171322160149</c:v>
                </c:pt>
                <c:pt idx="97">
                  <c:v>0.9827327327327328</c:v>
                </c:pt>
                <c:pt idx="98">
                  <c:v>0.9798935541099941</c:v>
                </c:pt>
                <c:pt idx="99">
                  <c:v>0.9841269841269841</c:v>
                </c:pt>
                <c:pt idx="100">
                  <c:v>0.9851668726823238</c:v>
                </c:pt>
                <c:pt idx="101">
                  <c:v>0.972341733251383</c:v>
                </c:pt>
                <c:pt idx="102">
                  <c:v>0.9662487945998072</c:v>
                </c:pt>
                <c:pt idx="103">
                  <c:v>0.9632164242942686</c:v>
                </c:pt>
                <c:pt idx="104">
                  <c:v>0.969090909090909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32.9926</c:v>
                </c:pt>
                <c:pt idx="1">
                  <c:v>1455.6611</c:v>
                </c:pt>
                <c:pt idx="2">
                  <c:v>1429.3722</c:v>
                </c:pt>
                <c:pt idx="3">
                  <c:v>1468.0958</c:v>
                </c:pt>
                <c:pt idx="4">
                  <c:v>1445.5332</c:v>
                </c:pt>
                <c:pt idx="5">
                  <c:v>1458.7678</c:v>
                </c:pt>
                <c:pt idx="6">
                  <c:v>1376.3751</c:v>
                </c:pt>
                <c:pt idx="7">
                  <c:v>1423.7132</c:v>
                </c:pt>
                <c:pt idx="8">
                  <c:v>1511.6667</c:v>
                </c:pt>
                <c:pt idx="9">
                  <c:v>1415.4487</c:v>
                </c:pt>
                <c:pt idx="10">
                  <c:v>1440.2463</c:v>
                </c:pt>
                <c:pt idx="11">
                  <c:v>1312.4821</c:v>
                </c:pt>
                <c:pt idx="12">
                  <c:v>1330.8301</c:v>
                </c:pt>
                <c:pt idx="13">
                  <c:v>1370.1848</c:v>
                </c:pt>
                <c:pt idx="14">
                  <c:v>1375.5025</c:v>
                </c:pt>
                <c:pt idx="15">
                  <c:v>1379.348</c:v>
                </c:pt>
                <c:pt idx="16">
                  <c:v>1484.599</c:v>
                </c:pt>
                <c:pt idx="17">
                  <c:v>1458.858</c:v>
                </c:pt>
                <c:pt idx="18">
                  <c:v>1464.2248</c:v>
                </c:pt>
                <c:pt idx="19">
                  <c:v>1576.1237</c:v>
                </c:pt>
                <c:pt idx="20">
                  <c:v>1551.5187</c:v>
                </c:pt>
                <c:pt idx="21">
                  <c:v>1491.7583</c:v>
                </c:pt>
                <c:pt idx="22">
                  <c:v>1592.4784</c:v>
                </c:pt>
                <c:pt idx="23">
                  <c:v>1547.7338</c:v>
                </c:pt>
                <c:pt idx="24">
                  <c:v>1531.989</c:v>
                </c:pt>
                <c:pt idx="25">
                  <c:v>1478.8399</c:v>
                </c:pt>
                <c:pt idx="26">
                  <c:v>1493.82</c:v>
                </c:pt>
                <c:pt idx="27">
                  <c:v>1537.8369</c:v>
                </c:pt>
                <c:pt idx="28">
                  <c:v>1579.6154</c:v>
                </c:pt>
                <c:pt idx="29">
                  <c:v>1596.1839</c:v>
                </c:pt>
                <c:pt idx="30">
                  <c:v>1469.8079</c:v>
                </c:pt>
                <c:pt idx="31">
                  <c:v>1269.2867</c:v>
                </c:pt>
                <c:pt idx="32">
                  <c:v>1414.9175</c:v>
                </c:pt>
                <c:pt idx="33">
                  <c:v>1453.0116</c:v>
                </c:pt>
                <c:pt idx="34">
                  <c:v>1467.8649</c:v>
                </c:pt>
                <c:pt idx="35">
                  <c:v>1459.1501</c:v>
                </c:pt>
                <c:pt idx="36">
                  <c:v>1482.7995</c:v>
                </c:pt>
                <c:pt idx="37">
                  <c:v>1519.1336</c:v>
                </c:pt>
                <c:pt idx="38">
                  <c:v>1424.2701</c:v>
                </c:pt>
                <c:pt idx="39">
                  <c:v>1417.2456</c:v>
                </c:pt>
                <c:pt idx="40">
                  <c:v>1413.9112</c:v>
                </c:pt>
                <c:pt idx="41">
                  <c:v>1474.4013</c:v>
                </c:pt>
                <c:pt idx="42">
                  <c:v>1449.1418</c:v>
                </c:pt>
                <c:pt idx="43">
                  <c:v>1465.4112</c:v>
                </c:pt>
                <c:pt idx="44">
                  <c:v>1454.7305</c:v>
                </c:pt>
                <c:pt idx="45">
                  <c:v>1392.9094</c:v>
                </c:pt>
                <c:pt idx="46">
                  <c:v>1450.6234</c:v>
                </c:pt>
                <c:pt idx="47">
                  <c:v>1412.2909</c:v>
                </c:pt>
                <c:pt idx="48">
                  <c:v>1371.335</c:v>
                </c:pt>
                <c:pt idx="49">
                  <c:v>1379.7263</c:v>
                </c:pt>
                <c:pt idx="50">
                  <c:v>1253.6561</c:v>
                </c:pt>
                <c:pt idx="51">
                  <c:v>1247.0221</c:v>
                </c:pt>
              </c:numCache>
            </c:numRef>
          </c:xVal>
          <c:yVal>
            <c:numRef>
              <c:f>Sheet1!$B$109:$B$160</c:f>
              <c:numCache>
                <c:formatCode>General</c:formatCode>
                <c:ptCount val="52"/>
                <c:pt idx="0">
                  <c:v>0.9634340222575517</c:v>
                </c:pt>
                <c:pt idx="1">
                  <c:v>0.9601518026565465</c:v>
                </c:pt>
                <c:pt idx="2">
                  <c:v>0.9593869731800766</c:v>
                </c:pt>
                <c:pt idx="3">
                  <c:v>0.960060286360211</c:v>
                </c:pt>
                <c:pt idx="4">
                  <c:v>0.9621749408983451</c:v>
                </c:pt>
                <c:pt idx="5">
                  <c:v>0.9579901153212521</c:v>
                </c:pt>
                <c:pt idx="6">
                  <c:v>0.9709257842387146</c:v>
                </c:pt>
                <c:pt idx="7">
                  <c:v>0.9677033492822966</c:v>
                </c:pt>
                <c:pt idx="8">
                  <c:v>0.948502994011976</c:v>
                </c:pt>
                <c:pt idx="9">
                  <c:v>0.950253807106599</c:v>
                </c:pt>
                <c:pt idx="10">
                  <c:v>0.9489120151371807</c:v>
                </c:pt>
                <c:pt idx="11">
                  <c:v>0.9691435768261965</c:v>
                </c:pt>
                <c:pt idx="12">
                  <c:v>0.96045197740113</c:v>
                </c:pt>
                <c:pt idx="13">
                  <c:v>0.9587087087087087</c:v>
                </c:pt>
                <c:pt idx="14">
                  <c:v>0.9609561752988047</c:v>
                </c:pt>
                <c:pt idx="15">
                  <c:v>0.9319965126416739</c:v>
                </c:pt>
                <c:pt idx="16">
                  <c:v>0.9462857142857143</c:v>
                </c:pt>
                <c:pt idx="17">
                  <c:v>0.9426229508196722</c:v>
                </c:pt>
                <c:pt idx="18">
                  <c:v>0.9308510638297872</c:v>
                </c:pt>
                <c:pt idx="19">
                  <c:v>0.9267955801104972</c:v>
                </c:pt>
                <c:pt idx="20">
                  <c:v>0.9192825112107623</c:v>
                </c:pt>
                <c:pt idx="21">
                  <c:v>0.947289156626506</c:v>
                </c:pt>
                <c:pt idx="22">
                  <c:v>0.9367311072056239</c:v>
                </c:pt>
                <c:pt idx="23">
                  <c:v>0.9241379310344827</c:v>
                </c:pt>
                <c:pt idx="24">
                  <c:v>0.926829268292683</c:v>
                </c:pt>
                <c:pt idx="25">
                  <c:v>0.9193548387096774</c:v>
                </c:pt>
                <c:pt idx="26">
                  <c:v>0.9331983805668016</c:v>
                </c:pt>
                <c:pt idx="27">
                  <c:v>0.9111969111969112</c:v>
                </c:pt>
                <c:pt idx="28">
                  <c:v>0.9299552906110283</c:v>
                </c:pt>
                <c:pt idx="29">
                  <c:v>0.9195876288659793</c:v>
                </c:pt>
                <c:pt idx="30">
                  <c:v>0.9158699808795411</c:v>
                </c:pt>
                <c:pt idx="31">
                  <c:v>0.9127659574468086</c:v>
                </c:pt>
                <c:pt idx="32">
                  <c:v>0.920303605313093</c:v>
                </c:pt>
                <c:pt idx="33">
                  <c:v>0.9288590604026845</c:v>
                </c:pt>
                <c:pt idx="34">
                  <c:v>0.9392565729827742</c:v>
                </c:pt>
                <c:pt idx="35">
                  <c:v>0.9195652173913044</c:v>
                </c:pt>
                <c:pt idx="36">
                  <c:v>0.9032921810699589</c:v>
                </c:pt>
                <c:pt idx="37">
                  <c:v>0.8803921568627451</c:v>
                </c:pt>
                <c:pt idx="38">
                  <c:v>0.9055690072639225</c:v>
                </c:pt>
                <c:pt idx="39">
                  <c:v>0.9014285714285715</c:v>
                </c:pt>
                <c:pt idx="40">
                  <c:v>0.7325153374233129</c:v>
                </c:pt>
                <c:pt idx="41">
                  <c:v>0.8328877005347594</c:v>
                </c:pt>
                <c:pt idx="42">
                  <c:v>0.8688783570300158</c:v>
                </c:pt>
                <c:pt idx="43">
                  <c:v>0.8708891595615104</c:v>
                </c:pt>
                <c:pt idx="44">
                  <c:v>0.9065708418891171</c:v>
                </c:pt>
                <c:pt idx="45">
                  <c:v>0.9248389405869721</c:v>
                </c:pt>
                <c:pt idx="46">
                  <c:v>0.9207258834765998</c:v>
                </c:pt>
                <c:pt idx="47">
                  <c:v>0.9324200913242009</c:v>
                </c:pt>
                <c:pt idx="48">
                  <c:v>0.9085979860573199</c:v>
                </c:pt>
                <c:pt idx="49">
                  <c:v>0.9132653061224489</c:v>
                </c:pt>
                <c:pt idx="50">
                  <c:v>0.9417218543046357</c:v>
                </c:pt>
                <c:pt idx="51">
                  <c:v>0.923933209647495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4.59444832280076</c:v>
                </c:pt>
              </c:numCache>
            </c:numRef>
          </c:xVal>
          <c:yVal>
            <c:numRef>
              <c:f>Sheet1!$B$163:$B$164</c:f>
              <c:numCache>
                <c:formatCode>General</c:formatCode>
                <c:ptCount val="2"/>
                <c:pt idx="0">
                  <c:v>0.9938458224420386</c:v>
                </c:pt>
                <c:pt idx="1">
                  <c:v>0.993845822442038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4.59444832280076</c:v>
                </c:pt>
                <c:pt idx="1">
                  <c:v>94.59444832280076</c:v>
                </c:pt>
              </c:numCache>
            </c:numRef>
          </c:xVal>
          <c:yVal>
            <c:numRef>
              <c:f>Sheet1!$B$167:$B$168</c:f>
              <c:numCache>
                <c:formatCode>General</c:formatCode>
                <c:ptCount val="2"/>
                <c:pt idx="0">
                  <c:v>0.993845822442038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745.074743028469</c:v>
                </c:pt>
              </c:numCache>
            </c:numRef>
          </c:xVal>
          <c:yVal>
            <c:numRef>
              <c:f>Sheet1!$B$171:$B$172</c:f>
              <c:numCache>
                <c:formatCode>General</c:formatCode>
                <c:ptCount val="2"/>
                <c:pt idx="0">
                  <c:v>0.9611478075785522</c:v>
                </c:pt>
                <c:pt idx="1">
                  <c:v>0.961147807578552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745.074743028469</c:v>
                </c:pt>
                <c:pt idx="1">
                  <c:v>745.074743028469</c:v>
                </c:pt>
              </c:numCache>
            </c:numRef>
          </c:xVal>
          <c:yVal>
            <c:numRef>
              <c:f>Sheet1!$B$175:$B$176</c:f>
              <c:numCache>
                <c:formatCode>General</c:formatCode>
                <c:ptCount val="2"/>
                <c:pt idx="0">
                  <c:v>0.96114780757855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2147.1862970207744</c:v>
                </c:pt>
              </c:numCache>
            </c:numRef>
          </c:xVal>
          <c:yVal>
            <c:numRef>
              <c:f>Sheet1!$B$179:$B$180</c:f>
              <c:numCache>
                <c:formatCode>General</c:formatCode>
                <c:ptCount val="2"/>
                <c:pt idx="0">
                  <c:v>0.8906671722605354</c:v>
                </c:pt>
                <c:pt idx="1">
                  <c:v>0.890667172260535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2147.1862970207744</c:v>
                </c:pt>
                <c:pt idx="1">
                  <c:v>2147.1862970207744</c:v>
                </c:pt>
              </c:numCache>
            </c:numRef>
          </c:xVal>
          <c:yVal>
            <c:numRef>
              <c:f>Sheet1!$B$183:$B$184</c:f>
              <c:numCache>
                <c:formatCode>General</c:formatCode>
                <c:ptCount val="2"/>
                <c:pt idx="0">
                  <c:v>0.89066717226053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32.9926</c:v>
                </c:pt>
                <c:pt idx="1">
                  <c:v>1455.6611</c:v>
                </c:pt>
                <c:pt idx="2">
                  <c:v>1429.3722</c:v>
                </c:pt>
                <c:pt idx="3">
                  <c:v>1468.0958</c:v>
                </c:pt>
                <c:pt idx="4">
                  <c:v>1445.5332</c:v>
                </c:pt>
                <c:pt idx="5">
                  <c:v>1458.7678</c:v>
                </c:pt>
                <c:pt idx="6">
                  <c:v>1376.3751</c:v>
                </c:pt>
                <c:pt idx="7">
                  <c:v>1423.7132</c:v>
                </c:pt>
                <c:pt idx="8">
                  <c:v>1511.6667</c:v>
                </c:pt>
                <c:pt idx="9">
                  <c:v>1415.4487</c:v>
                </c:pt>
                <c:pt idx="10">
                  <c:v>1440.2463</c:v>
                </c:pt>
                <c:pt idx="11">
                  <c:v>1312.4821</c:v>
                </c:pt>
                <c:pt idx="12">
                  <c:v>1330.8301</c:v>
                </c:pt>
                <c:pt idx="13">
                  <c:v>1370.1848</c:v>
                </c:pt>
                <c:pt idx="14">
                  <c:v>1375.5025</c:v>
                </c:pt>
                <c:pt idx="15">
                  <c:v>1379.348</c:v>
                </c:pt>
                <c:pt idx="16">
                  <c:v>1484.599</c:v>
                </c:pt>
                <c:pt idx="17">
                  <c:v>1458.858</c:v>
                </c:pt>
                <c:pt idx="18">
                  <c:v>1464.2248</c:v>
                </c:pt>
                <c:pt idx="19">
                  <c:v>1576.1237</c:v>
                </c:pt>
                <c:pt idx="20">
                  <c:v>1551.5187</c:v>
                </c:pt>
                <c:pt idx="21">
                  <c:v>1491.7583</c:v>
                </c:pt>
                <c:pt idx="22">
                  <c:v>1592.4784</c:v>
                </c:pt>
                <c:pt idx="23">
                  <c:v>1547.7338</c:v>
                </c:pt>
                <c:pt idx="24">
                  <c:v>1531.989</c:v>
                </c:pt>
                <c:pt idx="25">
                  <c:v>1478.8399</c:v>
                </c:pt>
                <c:pt idx="26">
                  <c:v>1493.82</c:v>
                </c:pt>
                <c:pt idx="27">
                  <c:v>1537.8369</c:v>
                </c:pt>
                <c:pt idx="28">
                  <c:v>1579.6154</c:v>
                </c:pt>
                <c:pt idx="29">
                  <c:v>1596.1839</c:v>
                </c:pt>
                <c:pt idx="30">
                  <c:v>1469.8079</c:v>
                </c:pt>
                <c:pt idx="31">
                  <c:v>1269.2867</c:v>
                </c:pt>
                <c:pt idx="32">
                  <c:v>1414.9175</c:v>
                </c:pt>
                <c:pt idx="33">
                  <c:v>1453.0116</c:v>
                </c:pt>
                <c:pt idx="34">
                  <c:v>1467.8649</c:v>
                </c:pt>
                <c:pt idx="35">
                  <c:v>1459.1501</c:v>
                </c:pt>
                <c:pt idx="36">
                  <c:v>1482.7995</c:v>
                </c:pt>
                <c:pt idx="37">
                  <c:v>1519.1336</c:v>
                </c:pt>
                <c:pt idx="38">
                  <c:v>1424.2701</c:v>
                </c:pt>
                <c:pt idx="39">
                  <c:v>1417.2456</c:v>
                </c:pt>
                <c:pt idx="40">
                  <c:v>1413.9112</c:v>
                </c:pt>
                <c:pt idx="41">
                  <c:v>1474.4013</c:v>
                </c:pt>
                <c:pt idx="42">
                  <c:v>1449.1418</c:v>
                </c:pt>
                <c:pt idx="43">
                  <c:v>1465.4112</c:v>
                </c:pt>
                <c:pt idx="44">
                  <c:v>1454.7305</c:v>
                </c:pt>
                <c:pt idx="45">
                  <c:v>1392.9094</c:v>
                </c:pt>
                <c:pt idx="46">
                  <c:v>1450.6234</c:v>
                </c:pt>
                <c:pt idx="47">
                  <c:v>1412.2909</c:v>
                </c:pt>
                <c:pt idx="48">
                  <c:v>1371.335</c:v>
                </c:pt>
                <c:pt idx="49">
                  <c:v>1379.7263</c:v>
                </c:pt>
                <c:pt idx="50">
                  <c:v>1253.6561</c:v>
                </c:pt>
                <c:pt idx="51">
                  <c:v>1247.0221</c:v>
                </c:pt>
                <c:pt idx="52">
                  <c:v>745.074743028469</c:v>
                </c:pt>
                <c:pt idx="53">
                  <c:v>94.59444832280076</c:v>
                </c:pt>
                <c:pt idx="54">
                  <c:v>2147.1862970207744</c:v>
                </c:pt>
              </c:numCache>
            </c:numRef>
          </c:xVal>
          <c:yVal>
            <c:numRef>
              <c:f>Sheet1!$B$187:$B$241</c:f>
              <c:numCache>
                <c:formatCode>General</c:formatCode>
                <c:ptCount val="55"/>
                <c:pt idx="0">
                  <c:v>0.9265679002467079</c:v>
                </c:pt>
                <c:pt idx="1">
                  <c:v>0.9254284115397235</c:v>
                </c:pt>
                <c:pt idx="2">
                  <c:v>0.9267498886850591</c:v>
                </c:pt>
                <c:pt idx="3">
                  <c:v>0.9248033503215248</c:v>
                </c:pt>
                <c:pt idx="4">
                  <c:v>0.9259375157008047</c:v>
                </c:pt>
                <c:pt idx="5">
                  <c:v>0.9252722455134762</c:v>
                </c:pt>
                <c:pt idx="6">
                  <c:v>0.9294139201363206</c:v>
                </c:pt>
                <c:pt idx="7">
                  <c:v>0.9270343524384096</c:v>
                </c:pt>
                <c:pt idx="8">
                  <c:v>0.9226131503302091</c:v>
                </c:pt>
                <c:pt idx="9">
                  <c:v>0.9274497881495891</c:v>
                </c:pt>
                <c:pt idx="10">
                  <c:v>0.9262032749193219</c:v>
                </c:pt>
                <c:pt idx="11">
                  <c:v>0.932625661184707</c:v>
                </c:pt>
                <c:pt idx="12">
                  <c:v>0.9317033531892178</c:v>
                </c:pt>
                <c:pt idx="13">
                  <c:v>0.9297250910096843</c:v>
                </c:pt>
                <c:pt idx="14">
                  <c:v>0.9294577835523258</c:v>
                </c:pt>
                <c:pt idx="15">
                  <c:v>0.929264479900884</c:v>
                </c:pt>
                <c:pt idx="16">
                  <c:v>0.9239737758005331</c:v>
                </c:pt>
                <c:pt idx="17">
                  <c:v>0.9252677113854408</c:v>
                </c:pt>
                <c:pt idx="18">
                  <c:v>0.9249979357940853</c:v>
                </c:pt>
                <c:pt idx="19">
                  <c:v>0.9193730584147277</c:v>
                </c:pt>
                <c:pt idx="20">
                  <c:v>0.9206098901254871</c:v>
                </c:pt>
                <c:pt idx="21">
                  <c:v>0.9236138957246607</c:v>
                </c:pt>
                <c:pt idx="22">
                  <c:v>0.9185509486167209</c:v>
                </c:pt>
                <c:pt idx="23">
                  <c:v>0.920800147566741</c:v>
                </c:pt>
                <c:pt idx="24">
                  <c:v>0.9215915992196394</c:v>
                </c:pt>
                <c:pt idx="25">
                  <c:v>0.9242632713301179</c:v>
                </c:pt>
                <c:pt idx="26">
                  <c:v>0.9235102592305305</c:v>
                </c:pt>
                <c:pt idx="27">
                  <c:v>0.921297639936512</c:v>
                </c:pt>
                <c:pt idx="28">
                  <c:v>0.9191975394029634</c:v>
                </c:pt>
                <c:pt idx="29">
                  <c:v>0.918364682414558</c:v>
                </c:pt>
                <c:pt idx="30">
                  <c:v>0.9247172873435939</c:v>
                </c:pt>
                <c:pt idx="31">
                  <c:v>0.9347969857317071</c:v>
                </c:pt>
                <c:pt idx="32">
                  <c:v>0.927476490242853</c:v>
                </c:pt>
                <c:pt idx="33">
                  <c:v>0.925561595267326</c:v>
                </c:pt>
                <c:pt idx="34">
                  <c:v>0.9248149570860855</c:v>
                </c:pt>
                <c:pt idx="35">
                  <c:v>0.9252530282501955</c:v>
                </c:pt>
                <c:pt idx="36">
                  <c:v>0.9240642321575138</c:v>
                </c:pt>
                <c:pt idx="37">
                  <c:v>0.9222378079729211</c:v>
                </c:pt>
                <c:pt idx="38">
                  <c:v>0.9270063584705283</c:v>
                </c:pt>
                <c:pt idx="39">
                  <c:v>0.927359462488095</c:v>
                </c:pt>
                <c:pt idx="40">
                  <c:v>0.9275270744229194</c:v>
                </c:pt>
                <c:pt idx="41">
                  <c:v>0.9244863886327546</c:v>
                </c:pt>
                <c:pt idx="42">
                  <c:v>0.9257561204188927</c:v>
                </c:pt>
                <c:pt idx="43">
                  <c:v>0.9249382984381964</c:v>
                </c:pt>
                <c:pt idx="44">
                  <c:v>0.92547519047043</c:v>
                </c:pt>
                <c:pt idx="45">
                  <c:v>0.9285827822962389</c:v>
                </c:pt>
                <c:pt idx="46">
                  <c:v>0.9256816440985244</c:v>
                </c:pt>
                <c:pt idx="47">
                  <c:v>0.9276085228448232</c:v>
                </c:pt>
                <c:pt idx="48">
                  <c:v>0.929667273337109</c:v>
                </c:pt>
                <c:pt idx="49">
                  <c:v>0.9292454637075827</c:v>
                </c:pt>
                <c:pt idx="50">
                  <c:v>0.9355826968366937</c:v>
                </c:pt>
                <c:pt idx="51">
                  <c:v>0.9359161713975219</c:v>
                </c:pt>
                <c:pt idx="52">
                  <c:v>0.9611478075785522</c:v>
                </c:pt>
                <c:pt idx="53">
                  <c:v>0.9938458224420386</c:v>
                </c:pt>
                <c:pt idx="54">
                  <c:v>0.89066717226053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577.0"/>
          <c:min val="7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64285714285714"/>
          <c:min val="0.586012269938650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475945411248449</c:v>
                </c:pt>
                <c:pt idx="1">
                  <c:v>0.8795202702702702</c:v>
                </c:pt>
                <c:pt idx="2">
                  <c:v>0.8614731688511951</c:v>
                </c:pt>
                <c:pt idx="3">
                  <c:v>0.9484410782840927</c:v>
                </c:pt>
                <c:pt idx="4">
                  <c:v>0.8814781395348837</c:v>
                </c:pt>
                <c:pt idx="5">
                  <c:v>0.701057256582976</c:v>
                </c:pt>
                <c:pt idx="6">
                  <c:v>0.8933075268817204</c:v>
                </c:pt>
                <c:pt idx="7">
                  <c:v>0.8765898502819366</c:v>
                </c:pt>
                <c:pt idx="8">
                  <c:v>0.8279196101421662</c:v>
                </c:pt>
                <c:pt idx="9">
                  <c:v>0.9789651561812583</c:v>
                </c:pt>
                <c:pt idx="10">
                  <c:v>0.9355170494484065</c:v>
                </c:pt>
                <c:pt idx="11">
                  <c:v>0.9788834419817471</c:v>
                </c:pt>
                <c:pt idx="12">
                  <c:v>0.9518902813299233</c:v>
                </c:pt>
                <c:pt idx="13">
                  <c:v>0.9425817206192822</c:v>
                </c:pt>
                <c:pt idx="14">
                  <c:v>0.9776240107281464</c:v>
                </c:pt>
                <c:pt idx="15">
                  <c:v>0.8169790958782686</c:v>
                </c:pt>
                <c:pt idx="16">
                  <c:v>1.125076436158682</c:v>
                </c:pt>
                <c:pt idx="17">
                  <c:v>0.7806535954593952</c:v>
                </c:pt>
                <c:pt idx="18">
                  <c:v>0.9033034523582195</c:v>
                </c:pt>
                <c:pt idx="19">
                  <c:v>0.8609013100436682</c:v>
                </c:pt>
                <c:pt idx="20">
                  <c:v>1.090913463603178</c:v>
                </c:pt>
                <c:pt idx="21">
                  <c:v>1.1523724706781875</c:v>
                </c:pt>
                <c:pt idx="22">
                  <c:v>0.8646179204659912</c:v>
                </c:pt>
                <c:pt idx="23">
                  <c:v>1.0440844917099315</c:v>
                </c:pt>
                <c:pt idx="24">
                  <c:v>1.1234805217391304</c:v>
                </c:pt>
                <c:pt idx="25">
                  <c:v>0.9692507115897284</c:v>
                </c:pt>
                <c:pt idx="26">
                  <c:v>0.8977031074986913</c:v>
                </c:pt>
                <c:pt idx="27">
                  <c:v>1.137755975359343</c:v>
                </c:pt>
                <c:pt idx="28">
                  <c:v>0.8762939741219963</c:v>
                </c:pt>
                <c:pt idx="29">
                  <c:v>1.0474154343807762</c:v>
                </c:pt>
                <c:pt idx="30">
                  <c:v>0.693006411837238</c:v>
                </c:pt>
                <c:pt idx="31">
                  <c:v>0.9096318125770654</c:v>
                </c:pt>
                <c:pt idx="32">
                  <c:v>0.8491879283489095</c:v>
                </c:pt>
                <c:pt idx="33">
                  <c:v>0.9018815789473685</c:v>
                </c:pt>
                <c:pt idx="34">
                  <c:v>0.8978535051864036</c:v>
                </c:pt>
                <c:pt idx="35">
                  <c:v>0.8177083267248216</c:v>
                </c:pt>
                <c:pt idx="36">
                  <c:v>1.047356759535314</c:v>
                </c:pt>
                <c:pt idx="37">
                  <c:v>0.9433573649148779</c:v>
                </c:pt>
                <c:pt idx="38">
                  <c:v>0.9608555144337528</c:v>
                </c:pt>
                <c:pt idx="39">
                  <c:v>1.156024057873486</c:v>
                </c:pt>
                <c:pt idx="40">
                  <c:v>1.1294284701187793</c:v>
                </c:pt>
                <c:pt idx="41">
                  <c:v>1.0297176869688625</c:v>
                </c:pt>
                <c:pt idx="42">
                  <c:v>1.0015169288047394</c:v>
                </c:pt>
                <c:pt idx="43">
                  <c:v>1.309529320134585</c:v>
                </c:pt>
                <c:pt idx="44">
                  <c:v>0.7723982509249916</c:v>
                </c:pt>
                <c:pt idx="45">
                  <c:v>0.6685533621221468</c:v>
                </c:pt>
                <c:pt idx="46">
                  <c:v>1.088623044397463</c:v>
                </c:pt>
                <c:pt idx="47">
                  <c:v>0.707937664260596</c:v>
                </c:pt>
                <c:pt idx="48">
                  <c:v>0.8200352515564531</c:v>
                </c:pt>
                <c:pt idx="49">
                  <c:v>0.7150076624097723</c:v>
                </c:pt>
                <c:pt idx="50">
                  <c:v>0.5997159259259259</c:v>
                </c:pt>
                <c:pt idx="51">
                  <c:v>0.80449360872954</c:v>
                </c:pt>
                <c:pt idx="52">
                  <c:v>0.8712670781893005</c:v>
                </c:pt>
                <c:pt idx="53">
                  <c:v>0.8795855425009749</c:v>
                </c:pt>
                <c:pt idx="54">
                  <c:v>0.8535508027916107</c:v>
                </c:pt>
                <c:pt idx="55">
                  <c:v>0.9080202900786914</c:v>
                </c:pt>
                <c:pt idx="56">
                  <c:v>0.9564926757129094</c:v>
                </c:pt>
                <c:pt idx="57">
                  <c:v>0.8953221228016044</c:v>
                </c:pt>
                <c:pt idx="58">
                  <c:v>0.982088763066202</c:v>
                </c:pt>
                <c:pt idx="59">
                  <c:v>0.8642193787220345</c:v>
                </c:pt>
                <c:pt idx="60">
                  <c:v>0.9765580310880829</c:v>
                </c:pt>
                <c:pt idx="61">
                  <c:v>0.7750828835010901</c:v>
                </c:pt>
                <c:pt idx="62">
                  <c:v>0.9126205668016194</c:v>
                </c:pt>
                <c:pt idx="63">
                  <c:v>0.9290526950925181</c:v>
                </c:pt>
                <c:pt idx="64">
                  <c:v>0.9119139287366961</c:v>
                </c:pt>
                <c:pt idx="65">
                  <c:v>0.847380462153755</c:v>
                </c:pt>
                <c:pt idx="66">
                  <c:v>0.8120798477692429</c:v>
                </c:pt>
                <c:pt idx="67">
                  <c:v>0.7629610431423052</c:v>
                </c:pt>
                <c:pt idx="68">
                  <c:v>0.7308623417105007</c:v>
                </c:pt>
                <c:pt idx="69">
                  <c:v>0.8078436830835118</c:v>
                </c:pt>
                <c:pt idx="70">
                  <c:v>0.6693032568467802</c:v>
                </c:pt>
                <c:pt idx="71">
                  <c:v>0.7349452904238618</c:v>
                </c:pt>
                <c:pt idx="72">
                  <c:v>0.7977138878539705</c:v>
                </c:pt>
                <c:pt idx="73">
                  <c:v>0.821711448598131</c:v>
                </c:pt>
                <c:pt idx="74">
                  <c:v>0.7156355988315481</c:v>
                </c:pt>
                <c:pt idx="75">
                  <c:v>0.749713351578081</c:v>
                </c:pt>
                <c:pt idx="76">
                  <c:v>0.7224012535271077</c:v>
                </c:pt>
                <c:pt idx="77">
                  <c:v>0.6898086310973294</c:v>
                </c:pt>
                <c:pt idx="78">
                  <c:v>0.755180001186028</c:v>
                </c:pt>
                <c:pt idx="79">
                  <c:v>0.32008190365489425</c:v>
                </c:pt>
                <c:pt idx="80">
                  <c:v>0.3566311374708748</c:v>
                </c:pt>
                <c:pt idx="81">
                  <c:v>0.5298892318913511</c:v>
                </c:pt>
                <c:pt idx="82">
                  <c:v>0.5044754540128881</c:v>
                </c:pt>
                <c:pt idx="83">
                  <c:v>0.594398971722365</c:v>
                </c:pt>
                <c:pt idx="84">
                  <c:v>0.5569480891226986</c:v>
                </c:pt>
                <c:pt idx="85">
                  <c:v>0.6113331540530157</c:v>
                </c:pt>
                <c:pt idx="86">
                  <c:v>0.8307316154097358</c:v>
                </c:pt>
                <c:pt idx="87">
                  <c:v>0.9307401885175665</c:v>
                </c:pt>
                <c:pt idx="88">
                  <c:v>0.874590861386938</c:v>
                </c:pt>
                <c:pt idx="89">
                  <c:v>0.782461494015683</c:v>
                </c:pt>
                <c:pt idx="90">
                  <c:v>0.8021001615508885</c:v>
                </c:pt>
                <c:pt idx="91">
                  <c:v>0.8818649876135425</c:v>
                </c:pt>
                <c:pt idx="92">
                  <c:v>0.9671913539967373</c:v>
                </c:pt>
                <c:pt idx="93">
                  <c:v>1.0494397192402973</c:v>
                </c:pt>
                <c:pt idx="94">
                  <c:v>0.9335833922578155</c:v>
                </c:pt>
                <c:pt idx="95">
                  <c:v>1.143492981007432</c:v>
                </c:pt>
                <c:pt idx="96">
                  <c:v>1.0989983288341694</c:v>
                </c:pt>
                <c:pt idx="97">
                  <c:v>1.0997357555739058</c:v>
                </c:pt>
                <c:pt idx="98">
                  <c:v>1.1373543367346939</c:v>
                </c:pt>
                <c:pt idx="99">
                  <c:v>1.053923137254902</c:v>
                </c:pt>
                <c:pt idx="100">
                  <c:v>1.058323716381418</c:v>
                </c:pt>
                <c:pt idx="101">
                  <c:v>1.0390054688839923</c:v>
                </c:pt>
                <c:pt idx="102">
                  <c:v>1.2681953401842665</c:v>
                </c:pt>
                <c:pt idx="103">
                  <c:v>1.041771439568899</c:v>
                </c:pt>
                <c:pt idx="104">
                  <c:v>1.0531090839107007</c:v>
                </c:pt>
              </c:numCache>
            </c:numRef>
          </c:xVal>
          <c:yVal>
            <c:numRef>
              <c:f>Sheet1!$B$2:$B$106</c:f>
              <c:numCache>
                <c:formatCode>General</c:formatCode>
                <c:ptCount val="105"/>
                <c:pt idx="0">
                  <c:v>0.9943661971830986</c:v>
                </c:pt>
                <c:pt idx="1">
                  <c:v>0.9947368421052631</c:v>
                </c:pt>
                <c:pt idx="2">
                  <c:v>0.9913269731136166</c:v>
                </c:pt>
                <c:pt idx="3">
                  <c:v>0.9932375316990701</c:v>
                </c:pt>
                <c:pt idx="4">
                  <c:v>0.9941002949852508</c:v>
                </c:pt>
                <c:pt idx="5">
                  <c:v>0.9969293756397134</c:v>
                </c:pt>
                <c:pt idx="6">
                  <c:v>0.9915413533834586</c:v>
                </c:pt>
                <c:pt idx="7">
                  <c:v>0.9936708860759493</c:v>
                </c:pt>
                <c:pt idx="8">
                  <c:v>0.9907834101382489</c:v>
                </c:pt>
                <c:pt idx="9">
                  <c:v>0.989351403678606</c:v>
                </c:pt>
                <c:pt idx="10">
                  <c:v>0.9897872340425532</c:v>
                </c:pt>
                <c:pt idx="11">
                  <c:v>0.9933388842631141</c:v>
                </c:pt>
                <c:pt idx="12">
                  <c:v>0.9893790849673203</c:v>
                </c:pt>
                <c:pt idx="13">
                  <c:v>0.9915325994919559</c:v>
                </c:pt>
                <c:pt idx="14">
                  <c:v>0.9905254091300603</c:v>
                </c:pt>
                <c:pt idx="15">
                  <c:v>0.9864864864864865</c:v>
                </c:pt>
                <c:pt idx="16">
                  <c:v>0.9911894273127754</c:v>
                </c:pt>
                <c:pt idx="17">
                  <c:v>0.9894179894179894</c:v>
                </c:pt>
                <c:pt idx="18">
                  <c:v>0.9853300733496333</c:v>
                </c:pt>
                <c:pt idx="19">
                  <c:v>0.9841269841269841</c:v>
                </c:pt>
                <c:pt idx="20">
                  <c:v>0.9846153846153847</c:v>
                </c:pt>
                <c:pt idx="21">
                  <c:v>0.982089552238806</c:v>
                </c:pt>
                <c:pt idx="22">
                  <c:v>0.9862637362637363</c:v>
                </c:pt>
                <c:pt idx="23">
                  <c:v>0.9749216300940439</c:v>
                </c:pt>
                <c:pt idx="24">
                  <c:v>0.9745547073791349</c:v>
                </c:pt>
                <c:pt idx="25">
                  <c:v>0.9741379310344828</c:v>
                </c:pt>
                <c:pt idx="26">
                  <c:v>0.976905311778291</c:v>
                </c:pt>
                <c:pt idx="27">
                  <c:v>0.9859154929577465</c:v>
                </c:pt>
                <c:pt idx="28">
                  <c:v>0.9767981438515081</c:v>
                </c:pt>
                <c:pt idx="29">
                  <c:v>0.9906542056074766</c:v>
                </c:pt>
                <c:pt idx="30">
                  <c:v>0.9855072463768116</c:v>
                </c:pt>
                <c:pt idx="31">
                  <c:v>0.9825870646766169</c:v>
                </c:pt>
                <c:pt idx="32">
                  <c:v>0.9788732394366197</c:v>
                </c:pt>
                <c:pt idx="33">
                  <c:v>0.9858044164037855</c:v>
                </c:pt>
                <c:pt idx="34">
                  <c:v>0.9878869448183042</c:v>
                </c:pt>
                <c:pt idx="35">
                  <c:v>0.9918181818181818</c:v>
                </c:pt>
                <c:pt idx="36">
                  <c:v>0.974304068522484</c:v>
                </c:pt>
                <c:pt idx="37">
                  <c:v>0.9815303430079155</c:v>
                </c:pt>
                <c:pt idx="38">
                  <c:v>0.9806094182825484</c:v>
                </c:pt>
                <c:pt idx="39">
                  <c:v>0.9737609329446064</c:v>
                </c:pt>
                <c:pt idx="40">
                  <c:v>0.9841269841269841</c:v>
                </c:pt>
                <c:pt idx="41">
                  <c:v>0.9735449735449735</c:v>
                </c:pt>
                <c:pt idx="42">
                  <c:v>0.9817767653758542</c:v>
                </c:pt>
                <c:pt idx="43">
                  <c:v>0.9828571428571429</c:v>
                </c:pt>
                <c:pt idx="44">
                  <c:v>0.9914456800684346</c:v>
                </c:pt>
                <c:pt idx="45">
                  <c:v>0.9942429476108232</c:v>
                </c:pt>
                <c:pt idx="46">
                  <c:v>0.9960019990004998</c:v>
                </c:pt>
                <c:pt idx="47">
                  <c:v>0.9943181818181818</c:v>
                </c:pt>
                <c:pt idx="48">
                  <c:v>0.9952348536419333</c:v>
                </c:pt>
                <c:pt idx="49">
                  <c:v>0.9970238095238095</c:v>
                </c:pt>
                <c:pt idx="50">
                  <c:v>0.9956873315363881</c:v>
                </c:pt>
                <c:pt idx="51">
                  <c:v>0.9917664670658682</c:v>
                </c:pt>
                <c:pt idx="52">
                  <c:v>0.9949295774647887</c:v>
                </c:pt>
                <c:pt idx="53">
                  <c:v>0.9910282953761215</c:v>
                </c:pt>
                <c:pt idx="54">
                  <c:v>0.989010989010989</c:v>
                </c:pt>
                <c:pt idx="55">
                  <c:v>0.9917910447761195</c:v>
                </c:pt>
                <c:pt idx="56">
                  <c:v>0.9913112164296999</c:v>
                </c:pt>
                <c:pt idx="57">
                  <c:v>0.9924480805538074</c:v>
                </c:pt>
                <c:pt idx="58">
                  <c:v>0.9949466591802358</c:v>
                </c:pt>
                <c:pt idx="59">
                  <c:v>0.9953271028037384</c:v>
                </c:pt>
                <c:pt idx="60">
                  <c:v>0.9933097205824478</c:v>
                </c:pt>
                <c:pt idx="61">
                  <c:v>0.9954151808456444</c:v>
                </c:pt>
                <c:pt idx="62">
                  <c:v>0.9946265448683503</c:v>
                </c:pt>
                <c:pt idx="63">
                  <c:v>0.9957983193277311</c:v>
                </c:pt>
                <c:pt idx="64">
                  <c:v>0.9954441913439636</c:v>
                </c:pt>
                <c:pt idx="65">
                  <c:v>0.9967514889009204</c:v>
                </c:pt>
                <c:pt idx="66">
                  <c:v>0.995475113122172</c:v>
                </c:pt>
                <c:pt idx="67">
                  <c:v>0.9957081545064378</c:v>
                </c:pt>
                <c:pt idx="68">
                  <c:v>0.996078431372549</c:v>
                </c:pt>
                <c:pt idx="69">
                  <c:v>0.9927826784282278</c:v>
                </c:pt>
                <c:pt idx="70">
                  <c:v>0.9920127795527156</c:v>
                </c:pt>
                <c:pt idx="71">
                  <c:v>0.9896640826873385</c:v>
                </c:pt>
                <c:pt idx="72">
                  <c:v>0.9879310344827587</c:v>
                </c:pt>
                <c:pt idx="73">
                  <c:v>0.9923076923076923</c:v>
                </c:pt>
                <c:pt idx="74">
                  <c:v>0.9927338782924614</c:v>
                </c:pt>
                <c:pt idx="75">
                  <c:v>0.990582191780822</c:v>
                </c:pt>
                <c:pt idx="76">
                  <c:v>0.9888765294771968</c:v>
                </c:pt>
                <c:pt idx="77">
                  <c:v>0.9903536977491961</c:v>
                </c:pt>
                <c:pt idx="78">
                  <c:v>0.9912023460410557</c:v>
                </c:pt>
                <c:pt idx="79">
                  <c:v>0.9958890030832477</c:v>
                </c:pt>
                <c:pt idx="80">
                  <c:v>0.9939659901261657</c:v>
                </c:pt>
                <c:pt idx="81">
                  <c:v>0.9930822444273636</c:v>
                </c:pt>
                <c:pt idx="82">
                  <c:v>0.9943342776203966</c:v>
                </c:pt>
                <c:pt idx="83">
                  <c:v>0.985969387755102</c:v>
                </c:pt>
                <c:pt idx="84">
                  <c:v>0.9893333333333333</c:v>
                </c:pt>
                <c:pt idx="85">
                  <c:v>0.9889570552147239</c:v>
                </c:pt>
                <c:pt idx="86">
                  <c:v>0.9869976359338062</c:v>
                </c:pt>
                <c:pt idx="87">
                  <c:v>0.9907216494845361</c:v>
                </c:pt>
                <c:pt idx="88">
                  <c:v>0.9828080229226361</c:v>
                </c:pt>
                <c:pt idx="89">
                  <c:v>0.9842767295597484</c:v>
                </c:pt>
                <c:pt idx="90">
                  <c:v>0.9879931389365352</c:v>
                </c:pt>
                <c:pt idx="91">
                  <c:v>0.9822380106571936</c:v>
                </c:pt>
                <c:pt idx="92">
                  <c:v>0.9785932721712538</c:v>
                </c:pt>
                <c:pt idx="93">
                  <c:v>0.9837925445705025</c:v>
                </c:pt>
                <c:pt idx="94">
                  <c:v>0.9840989399293286</c:v>
                </c:pt>
                <c:pt idx="95">
                  <c:v>0.9870689655172413</c:v>
                </c:pt>
                <c:pt idx="96">
                  <c:v>0.984171322160149</c:v>
                </c:pt>
                <c:pt idx="97">
                  <c:v>0.9827327327327328</c:v>
                </c:pt>
                <c:pt idx="98">
                  <c:v>0.9798935541099941</c:v>
                </c:pt>
                <c:pt idx="99">
                  <c:v>0.9841269841269841</c:v>
                </c:pt>
                <c:pt idx="100">
                  <c:v>0.9851668726823238</c:v>
                </c:pt>
                <c:pt idx="101">
                  <c:v>0.972341733251383</c:v>
                </c:pt>
                <c:pt idx="102">
                  <c:v>0.9662487945998072</c:v>
                </c:pt>
                <c:pt idx="103">
                  <c:v>0.9632164242942686</c:v>
                </c:pt>
                <c:pt idx="104">
                  <c:v>0.969090909090909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157482251686537</c:v>
                </c:pt>
                <c:pt idx="1">
                  <c:v>1.1400184826235928</c:v>
                </c:pt>
                <c:pt idx="2">
                  <c:v>1.1634425154288957</c:v>
                </c:pt>
                <c:pt idx="3">
                  <c:v>1.1396047351057637</c:v>
                </c:pt>
                <c:pt idx="4">
                  <c:v>1.023930015937666</c:v>
                </c:pt>
                <c:pt idx="5">
                  <c:v>1.1077646921598403</c:v>
                </c:pt>
                <c:pt idx="6">
                  <c:v>1.137500082644628</c:v>
                </c:pt>
                <c:pt idx="7">
                  <c:v>1.0115191474245115</c:v>
                </c:pt>
                <c:pt idx="8">
                  <c:v>1.1194214306872037</c:v>
                </c:pt>
                <c:pt idx="9">
                  <c:v>1.0536839219276406</c:v>
                </c:pt>
                <c:pt idx="10">
                  <c:v>1.153119535628503</c:v>
                </c:pt>
                <c:pt idx="11">
                  <c:v>0.9654863174930115</c:v>
                </c:pt>
                <c:pt idx="12">
                  <c:v>1.093832928936084</c:v>
                </c:pt>
                <c:pt idx="13">
                  <c:v>1.0887443782280493</c:v>
                </c:pt>
                <c:pt idx="14">
                  <c:v>1.0273569227896555</c:v>
                </c:pt>
                <c:pt idx="15">
                  <c:v>0.9827915924474527</c:v>
                </c:pt>
                <c:pt idx="16">
                  <c:v>1.1085715352449224</c:v>
                </c:pt>
                <c:pt idx="17">
                  <c:v>1.0997798718431964</c:v>
                </c:pt>
                <c:pt idx="18">
                  <c:v>1.1881084063615708</c:v>
                </c:pt>
                <c:pt idx="19">
                  <c:v>1.2587590695817112</c:v>
                </c:pt>
                <c:pt idx="20">
                  <c:v>1.2233539917208753</c:v>
                </c:pt>
                <c:pt idx="21">
                  <c:v>1.1494221176171084</c:v>
                </c:pt>
                <c:pt idx="22">
                  <c:v>1.1906380560747662</c:v>
                </c:pt>
                <c:pt idx="23">
                  <c:v>1.1905644615384616</c:v>
                </c:pt>
                <c:pt idx="24">
                  <c:v>1.3666271186440677</c:v>
                </c:pt>
                <c:pt idx="25">
                  <c:v>1.1859181234963914</c:v>
                </c:pt>
                <c:pt idx="26">
                  <c:v>1.1269860430026404</c:v>
                </c:pt>
                <c:pt idx="27">
                  <c:v>1.1793227760736196</c:v>
                </c:pt>
                <c:pt idx="28">
                  <c:v>1.1301803212454014</c:v>
                </c:pt>
                <c:pt idx="29">
                  <c:v>1.0281377777777778</c:v>
                </c:pt>
                <c:pt idx="30">
                  <c:v>1.1237063455657492</c:v>
                </c:pt>
                <c:pt idx="31">
                  <c:v>0.8568542272019404</c:v>
                </c:pt>
                <c:pt idx="32">
                  <c:v>1.213271737266335</c:v>
                </c:pt>
                <c:pt idx="33">
                  <c:v>1.11107749952208</c:v>
                </c:pt>
                <c:pt idx="34">
                  <c:v>1.1741353373114163</c:v>
                </c:pt>
                <c:pt idx="35">
                  <c:v>1.1717392241796403</c:v>
                </c:pt>
                <c:pt idx="36">
                  <c:v>1.1721735177865613</c:v>
                </c:pt>
                <c:pt idx="37">
                  <c:v>1.1942874213836476</c:v>
                </c:pt>
                <c:pt idx="38">
                  <c:v>1.1518561261625555</c:v>
                </c:pt>
                <c:pt idx="39">
                  <c:v>1.0723169464737214</c:v>
                </c:pt>
                <c:pt idx="40">
                  <c:v>1.1394027559000233</c:v>
                </c:pt>
                <c:pt idx="41">
                  <c:v>1.1374488104127392</c:v>
                </c:pt>
                <c:pt idx="42">
                  <c:v>1.1500516599637147</c:v>
                </c:pt>
                <c:pt idx="43">
                  <c:v>1.1456532937514996</c:v>
                </c:pt>
                <c:pt idx="44">
                  <c:v>1.0781637907464847</c:v>
                </c:pt>
                <c:pt idx="45">
                  <c:v>1.022735876736231</c:v>
                </c:pt>
                <c:pt idx="46">
                  <c:v>1.1265176310833087</c:v>
                </c:pt>
                <c:pt idx="47">
                  <c:v>1.1153019417340022</c:v>
                </c:pt>
                <c:pt idx="48">
                  <c:v>1.0393400597804232</c:v>
                </c:pt>
                <c:pt idx="49">
                  <c:v>1.0631078108849161</c:v>
                </c:pt>
                <c:pt idx="50">
                  <c:v>0.9698443429258219</c:v>
                </c:pt>
                <c:pt idx="51">
                  <c:v>0.9952291300877892</c:v>
                </c:pt>
              </c:numCache>
            </c:numRef>
          </c:xVal>
          <c:yVal>
            <c:numRef>
              <c:f>Sheet1!$B$109:$B$160</c:f>
              <c:numCache>
                <c:formatCode>General</c:formatCode>
                <c:ptCount val="52"/>
                <c:pt idx="0">
                  <c:v>0.9634340222575517</c:v>
                </c:pt>
                <c:pt idx="1">
                  <c:v>0.9601518026565465</c:v>
                </c:pt>
                <c:pt idx="2">
                  <c:v>0.9593869731800766</c:v>
                </c:pt>
                <c:pt idx="3">
                  <c:v>0.960060286360211</c:v>
                </c:pt>
                <c:pt idx="4">
                  <c:v>0.9621749408983451</c:v>
                </c:pt>
                <c:pt idx="5">
                  <c:v>0.9579901153212521</c:v>
                </c:pt>
                <c:pt idx="6">
                  <c:v>0.9709257842387146</c:v>
                </c:pt>
                <c:pt idx="7">
                  <c:v>0.9677033492822966</c:v>
                </c:pt>
                <c:pt idx="8">
                  <c:v>0.948502994011976</c:v>
                </c:pt>
                <c:pt idx="9">
                  <c:v>0.950253807106599</c:v>
                </c:pt>
                <c:pt idx="10">
                  <c:v>0.9489120151371807</c:v>
                </c:pt>
                <c:pt idx="11">
                  <c:v>0.9691435768261965</c:v>
                </c:pt>
                <c:pt idx="12">
                  <c:v>0.96045197740113</c:v>
                </c:pt>
                <c:pt idx="13">
                  <c:v>0.9587087087087087</c:v>
                </c:pt>
                <c:pt idx="14">
                  <c:v>0.9609561752988047</c:v>
                </c:pt>
                <c:pt idx="15">
                  <c:v>0.9319965126416739</c:v>
                </c:pt>
                <c:pt idx="16">
                  <c:v>0.9462857142857143</c:v>
                </c:pt>
                <c:pt idx="17">
                  <c:v>0.9426229508196722</c:v>
                </c:pt>
                <c:pt idx="18">
                  <c:v>0.9308510638297872</c:v>
                </c:pt>
                <c:pt idx="19">
                  <c:v>0.9267955801104972</c:v>
                </c:pt>
                <c:pt idx="20">
                  <c:v>0.9192825112107623</c:v>
                </c:pt>
                <c:pt idx="21">
                  <c:v>0.947289156626506</c:v>
                </c:pt>
                <c:pt idx="22">
                  <c:v>0.9367311072056239</c:v>
                </c:pt>
                <c:pt idx="23">
                  <c:v>0.9241379310344827</c:v>
                </c:pt>
                <c:pt idx="24">
                  <c:v>0.926829268292683</c:v>
                </c:pt>
                <c:pt idx="25">
                  <c:v>0.9193548387096774</c:v>
                </c:pt>
                <c:pt idx="26">
                  <c:v>0.9331983805668016</c:v>
                </c:pt>
                <c:pt idx="27">
                  <c:v>0.9111969111969112</c:v>
                </c:pt>
                <c:pt idx="28">
                  <c:v>0.9299552906110283</c:v>
                </c:pt>
                <c:pt idx="29">
                  <c:v>0.9195876288659793</c:v>
                </c:pt>
                <c:pt idx="30">
                  <c:v>0.9158699808795411</c:v>
                </c:pt>
                <c:pt idx="31">
                  <c:v>0.9127659574468086</c:v>
                </c:pt>
                <c:pt idx="32">
                  <c:v>0.920303605313093</c:v>
                </c:pt>
                <c:pt idx="33">
                  <c:v>0.9288590604026845</c:v>
                </c:pt>
                <c:pt idx="34">
                  <c:v>0.9392565729827742</c:v>
                </c:pt>
                <c:pt idx="35">
                  <c:v>0.9195652173913044</c:v>
                </c:pt>
                <c:pt idx="36">
                  <c:v>0.9032921810699589</c:v>
                </c:pt>
                <c:pt idx="37">
                  <c:v>0.8803921568627451</c:v>
                </c:pt>
                <c:pt idx="38">
                  <c:v>0.9055690072639225</c:v>
                </c:pt>
                <c:pt idx="39">
                  <c:v>0.9014285714285715</c:v>
                </c:pt>
                <c:pt idx="40">
                  <c:v>0.7325153374233129</c:v>
                </c:pt>
                <c:pt idx="41">
                  <c:v>0.8328877005347594</c:v>
                </c:pt>
                <c:pt idx="42">
                  <c:v>0.8688783570300158</c:v>
                </c:pt>
                <c:pt idx="43">
                  <c:v>0.8708891595615104</c:v>
                </c:pt>
                <c:pt idx="44">
                  <c:v>0.9065708418891171</c:v>
                </c:pt>
                <c:pt idx="45">
                  <c:v>0.9248389405869721</c:v>
                </c:pt>
                <c:pt idx="46">
                  <c:v>0.9207258834765998</c:v>
                </c:pt>
                <c:pt idx="47">
                  <c:v>0.9324200913242009</c:v>
                </c:pt>
                <c:pt idx="48">
                  <c:v>0.9085979860573199</c:v>
                </c:pt>
                <c:pt idx="49">
                  <c:v>0.9132653061224489</c:v>
                </c:pt>
                <c:pt idx="50">
                  <c:v>0.9417218543046357</c:v>
                </c:pt>
                <c:pt idx="51">
                  <c:v>0.923933209647495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0342013657803665</c:v>
                </c:pt>
              </c:numCache>
            </c:numRef>
          </c:xVal>
          <c:yVal>
            <c:numRef>
              <c:f>Sheet1!$B$163:$B$164</c:f>
              <c:numCache>
                <c:formatCode>General</c:formatCode>
                <c:ptCount val="2"/>
                <c:pt idx="0">
                  <c:v>0.9938458224420386</c:v>
                </c:pt>
                <c:pt idx="1">
                  <c:v>0.993845822442038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0342013657803665</c:v>
                </c:pt>
                <c:pt idx="1">
                  <c:v>0.20342013657803665</c:v>
                </c:pt>
              </c:numCache>
            </c:numRef>
          </c:xVal>
          <c:yVal>
            <c:numRef>
              <c:f>Sheet1!$B$167:$B$168</c:f>
              <c:numCache>
                <c:formatCode>General</c:formatCode>
                <c:ptCount val="2"/>
                <c:pt idx="0">
                  <c:v>0.993845822442038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423805738027558</c:v>
                </c:pt>
              </c:numCache>
            </c:numRef>
          </c:xVal>
          <c:yVal>
            <c:numRef>
              <c:f>Sheet1!$B$171:$B$172</c:f>
              <c:numCache>
                <c:formatCode>General</c:formatCode>
                <c:ptCount val="2"/>
                <c:pt idx="0">
                  <c:v>0.9611478075785522</c:v>
                </c:pt>
                <c:pt idx="1">
                  <c:v>0.961147807578552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423805738027558</c:v>
                </c:pt>
                <c:pt idx="1">
                  <c:v>0.6423805738027558</c:v>
                </c:pt>
              </c:numCache>
            </c:numRef>
          </c:xVal>
          <c:yVal>
            <c:numRef>
              <c:f>Sheet1!$B$175:$B$176</c:f>
              <c:numCache>
                <c:formatCode>General</c:formatCode>
                <c:ptCount val="2"/>
                <c:pt idx="0">
                  <c:v>0.96114780757855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5885606591761086</c:v>
                </c:pt>
              </c:numCache>
            </c:numRef>
          </c:xVal>
          <c:yVal>
            <c:numRef>
              <c:f>Sheet1!$B$179:$B$180</c:f>
              <c:numCache>
                <c:formatCode>General</c:formatCode>
                <c:ptCount val="2"/>
                <c:pt idx="0">
                  <c:v>0.8906671722605354</c:v>
                </c:pt>
                <c:pt idx="1">
                  <c:v>0.890667172260535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5885606591761086</c:v>
                </c:pt>
                <c:pt idx="1">
                  <c:v>1.5885606591761086</c:v>
                </c:pt>
              </c:numCache>
            </c:numRef>
          </c:xVal>
          <c:yVal>
            <c:numRef>
              <c:f>Sheet1!$B$183:$B$184</c:f>
              <c:numCache>
                <c:formatCode>General</c:formatCode>
                <c:ptCount val="2"/>
                <c:pt idx="0">
                  <c:v>0.89066717226053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157482251686537</c:v>
                </c:pt>
                <c:pt idx="1">
                  <c:v>1.1400184826235928</c:v>
                </c:pt>
                <c:pt idx="2">
                  <c:v>1.1634425154288957</c:v>
                </c:pt>
                <c:pt idx="3">
                  <c:v>1.1396047351057637</c:v>
                </c:pt>
                <c:pt idx="4">
                  <c:v>1.023930015937666</c:v>
                </c:pt>
                <c:pt idx="5">
                  <c:v>1.1077646921598403</c:v>
                </c:pt>
                <c:pt idx="6">
                  <c:v>1.137500082644628</c:v>
                </c:pt>
                <c:pt idx="7">
                  <c:v>1.0115191474245115</c:v>
                </c:pt>
                <c:pt idx="8">
                  <c:v>1.1194214306872037</c:v>
                </c:pt>
                <c:pt idx="9">
                  <c:v>1.0536839219276406</c:v>
                </c:pt>
                <c:pt idx="10">
                  <c:v>1.153119535628503</c:v>
                </c:pt>
                <c:pt idx="11">
                  <c:v>0.9654863174930115</c:v>
                </c:pt>
                <c:pt idx="12">
                  <c:v>1.093832928936084</c:v>
                </c:pt>
                <c:pt idx="13">
                  <c:v>1.0887443782280493</c:v>
                </c:pt>
                <c:pt idx="14">
                  <c:v>1.0273569227896555</c:v>
                </c:pt>
                <c:pt idx="15">
                  <c:v>0.9827915924474527</c:v>
                </c:pt>
                <c:pt idx="16">
                  <c:v>1.1085715352449224</c:v>
                </c:pt>
                <c:pt idx="17">
                  <c:v>1.0997798718431964</c:v>
                </c:pt>
                <c:pt idx="18">
                  <c:v>1.1881084063615708</c:v>
                </c:pt>
                <c:pt idx="19">
                  <c:v>1.2587590695817112</c:v>
                </c:pt>
                <c:pt idx="20">
                  <c:v>1.2233539917208753</c:v>
                </c:pt>
                <c:pt idx="21">
                  <c:v>1.1494221176171084</c:v>
                </c:pt>
                <c:pt idx="22">
                  <c:v>1.1906380560747662</c:v>
                </c:pt>
                <c:pt idx="23">
                  <c:v>1.1905644615384616</c:v>
                </c:pt>
                <c:pt idx="24">
                  <c:v>1.3666271186440677</c:v>
                </c:pt>
                <c:pt idx="25">
                  <c:v>1.1859181234963914</c:v>
                </c:pt>
                <c:pt idx="26">
                  <c:v>1.1269860430026404</c:v>
                </c:pt>
                <c:pt idx="27">
                  <c:v>1.1793227760736196</c:v>
                </c:pt>
                <c:pt idx="28">
                  <c:v>1.1301803212454014</c:v>
                </c:pt>
                <c:pt idx="29">
                  <c:v>1.0281377777777778</c:v>
                </c:pt>
                <c:pt idx="30">
                  <c:v>1.1237063455657492</c:v>
                </c:pt>
                <c:pt idx="31">
                  <c:v>0.8568542272019404</c:v>
                </c:pt>
                <c:pt idx="32">
                  <c:v>1.213271737266335</c:v>
                </c:pt>
                <c:pt idx="33">
                  <c:v>1.11107749952208</c:v>
                </c:pt>
                <c:pt idx="34">
                  <c:v>1.1741353373114163</c:v>
                </c:pt>
                <c:pt idx="35">
                  <c:v>1.1717392241796403</c:v>
                </c:pt>
                <c:pt idx="36">
                  <c:v>1.1721735177865613</c:v>
                </c:pt>
                <c:pt idx="37">
                  <c:v>1.1942874213836476</c:v>
                </c:pt>
                <c:pt idx="38">
                  <c:v>1.1518561261625555</c:v>
                </c:pt>
                <c:pt idx="39">
                  <c:v>1.0723169464737214</c:v>
                </c:pt>
                <c:pt idx="40">
                  <c:v>1.1394027559000233</c:v>
                </c:pt>
                <c:pt idx="41">
                  <c:v>1.1374488104127392</c:v>
                </c:pt>
                <c:pt idx="42">
                  <c:v>1.1500516599637147</c:v>
                </c:pt>
                <c:pt idx="43">
                  <c:v>1.1456532937514996</c:v>
                </c:pt>
                <c:pt idx="44">
                  <c:v>1.0781637907464847</c:v>
                </c:pt>
                <c:pt idx="45">
                  <c:v>1.022735876736231</c:v>
                </c:pt>
                <c:pt idx="46">
                  <c:v>1.1265176310833087</c:v>
                </c:pt>
                <c:pt idx="47">
                  <c:v>1.1153019417340022</c:v>
                </c:pt>
                <c:pt idx="48">
                  <c:v>1.0393400597804232</c:v>
                </c:pt>
                <c:pt idx="49">
                  <c:v>1.0631078108849161</c:v>
                </c:pt>
                <c:pt idx="50">
                  <c:v>0.9698443429258219</c:v>
                </c:pt>
                <c:pt idx="51">
                  <c:v>0.9952291300877892</c:v>
                </c:pt>
                <c:pt idx="52">
                  <c:v>0.6423805738027558</c:v>
                </c:pt>
                <c:pt idx="53">
                  <c:v>0.20342013657803665</c:v>
                </c:pt>
                <c:pt idx="54">
                  <c:v>1.5885606591761086</c:v>
                </c:pt>
              </c:numCache>
            </c:numRef>
          </c:xVal>
          <c:yVal>
            <c:numRef>
              <c:f>Sheet1!$B$187:$B$241</c:f>
              <c:numCache>
                <c:formatCode>General</c:formatCode>
                <c:ptCount val="55"/>
                <c:pt idx="0">
                  <c:v>0.9258868109426939</c:v>
                </c:pt>
                <c:pt idx="1">
                  <c:v>0.9240789276536676</c:v>
                </c:pt>
                <c:pt idx="2">
                  <c:v>0.9223340793532763</c:v>
                </c:pt>
                <c:pt idx="3">
                  <c:v>0.9241097475666721</c:v>
                </c:pt>
                <c:pt idx="4">
                  <c:v>0.9327263183688188</c:v>
                </c:pt>
                <c:pt idx="5">
                  <c:v>0.9264815016228739</c:v>
                </c:pt>
                <c:pt idx="6">
                  <c:v>0.9242665224183917</c:v>
                </c:pt>
                <c:pt idx="7">
                  <c:v>0.933650799776933</c:v>
                </c:pt>
                <c:pt idx="8">
                  <c:v>0.9256131951029577</c:v>
                </c:pt>
                <c:pt idx="9">
                  <c:v>0.9305099599506024</c:v>
                </c:pt>
                <c:pt idx="10">
                  <c:v>0.923103034635631</c:v>
                </c:pt>
                <c:pt idx="11">
                  <c:v>0.9370797697470398</c:v>
                </c:pt>
                <c:pt idx="12">
                  <c:v>0.9275192739648305</c:v>
                </c:pt>
                <c:pt idx="13">
                  <c:v>0.9278983183901934</c:v>
                </c:pt>
                <c:pt idx="14">
                  <c:v>0.9324710492336535</c:v>
                </c:pt>
                <c:pt idx="15">
                  <c:v>0.9357907056544884</c:v>
                </c:pt>
                <c:pt idx="16">
                  <c:v>0.9264214001536952</c:v>
                </c:pt>
                <c:pt idx="17">
                  <c:v>0.92707628819418</c:v>
                </c:pt>
                <c:pt idx="18">
                  <c:v>0.9204967254599803</c:v>
                </c:pt>
                <c:pt idx="19">
                  <c:v>0.9152339813942669</c:v>
                </c:pt>
                <c:pt idx="20">
                  <c:v>0.9178712936984368</c:v>
                </c:pt>
                <c:pt idx="21">
                  <c:v>0.9233784540557899</c:v>
                </c:pt>
                <c:pt idx="22">
                  <c:v>0.9203082927063488</c:v>
                </c:pt>
                <c:pt idx="23">
                  <c:v>0.9203137747385274</c:v>
                </c:pt>
                <c:pt idx="24">
                  <c:v>0.907198926814324</c:v>
                </c:pt>
                <c:pt idx="25">
                  <c:v>0.9206598788916054</c:v>
                </c:pt>
                <c:pt idx="26">
                  <c:v>0.9250497096838832</c:v>
                </c:pt>
                <c:pt idx="27">
                  <c:v>0.9211511640958554</c:v>
                </c:pt>
                <c:pt idx="28">
                  <c:v>0.9248117689753305</c:v>
                </c:pt>
                <c:pt idx="29">
                  <c:v>0.9324128836090491</c:v>
                </c:pt>
                <c:pt idx="30">
                  <c:v>0.9252940132393864</c:v>
                </c:pt>
                <c:pt idx="31">
                  <c:v>0.9451717375003219</c:v>
                </c:pt>
                <c:pt idx="32">
                  <c:v>0.9186223174309998</c:v>
                </c:pt>
                <c:pt idx="33">
                  <c:v>0.9262347317202029</c:v>
                </c:pt>
                <c:pt idx="34">
                  <c:v>0.9215375746590085</c:v>
                </c:pt>
                <c:pt idx="35">
                  <c:v>0.9217160603177453</c:v>
                </c:pt>
                <c:pt idx="36">
                  <c:v>0.9216837099334966</c:v>
                </c:pt>
                <c:pt idx="37">
                  <c:v>0.9200364527157873</c:v>
                </c:pt>
                <c:pt idx="38">
                  <c:v>0.9231971455804747</c:v>
                </c:pt>
                <c:pt idx="39">
                  <c:v>0.9291219922389529</c:v>
                </c:pt>
                <c:pt idx="40">
                  <c:v>0.9241247929295598</c:v>
                </c:pt>
                <c:pt idx="41">
                  <c:v>0.9242703416696458</c:v>
                </c:pt>
                <c:pt idx="42">
                  <c:v>0.923331559658799</c:v>
                </c:pt>
                <c:pt idx="43">
                  <c:v>0.9236591924739368</c:v>
                </c:pt>
                <c:pt idx="44">
                  <c:v>0.9286864627818018</c:v>
                </c:pt>
                <c:pt idx="45">
                  <c:v>0.9328152693950308</c:v>
                </c:pt>
                <c:pt idx="46">
                  <c:v>0.925084601529712</c:v>
                </c:pt>
                <c:pt idx="47">
                  <c:v>0.9259200544451649</c:v>
                </c:pt>
                <c:pt idx="48">
                  <c:v>0.9315784294023253</c:v>
                </c:pt>
                <c:pt idx="49">
                  <c:v>0.9298079776417979</c:v>
                </c:pt>
                <c:pt idx="50">
                  <c:v>0.9367551419029488</c:v>
                </c:pt>
                <c:pt idx="51">
                  <c:v>0.9348642376720887</c:v>
                </c:pt>
                <c:pt idx="52">
                  <c:v>0.9611478075785522</c:v>
                </c:pt>
                <c:pt idx="53">
                  <c:v>0.9938458224420386</c:v>
                </c:pt>
                <c:pt idx="54">
                  <c:v>0.89066717226053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64285714285714"/>
          <c:min val="0.586012269938650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94.5109</c:v>
                </c:pt>
                <c:pt idx="1">
                  <c:v>1106.4365</c:v>
                </c:pt>
                <c:pt idx="2">
                  <c:v>1117.3307</c:v>
                </c:pt>
                <c:pt idx="3">
                  <c:v>1136.4221</c:v>
                </c:pt>
                <c:pt idx="4">
                  <c:v>1137.1068</c:v>
                </c:pt>
                <c:pt idx="5">
                  <c:v>1144.8265</c:v>
                </c:pt>
                <c:pt idx="6">
                  <c:v>1100.7782</c:v>
                </c:pt>
                <c:pt idx="7">
                  <c:v>1127.0754</c:v>
                </c:pt>
                <c:pt idx="8">
                  <c:v>1129.7791</c:v>
                </c:pt>
                <c:pt idx="9">
                  <c:v>1112.5939</c:v>
                </c:pt>
                <c:pt idx="10">
                  <c:v>1089.4764</c:v>
                </c:pt>
                <c:pt idx="11">
                  <c:v>1126.2054</c:v>
                </c:pt>
                <c:pt idx="12">
                  <c:v>1116.5673</c:v>
                </c:pt>
                <c:pt idx="13">
                  <c:v>1071.5269</c:v>
                </c:pt>
                <c:pt idx="14">
                  <c:v>1168.54</c:v>
                </c:pt>
                <c:pt idx="15">
                  <c:v>1106.0263</c:v>
                </c:pt>
                <c:pt idx="16">
                  <c:v>1297.4944</c:v>
                </c:pt>
                <c:pt idx="17">
                  <c:v>1127.0036</c:v>
                </c:pt>
                <c:pt idx="18">
                  <c:v>1221.8685</c:v>
                </c:pt>
                <c:pt idx="19">
                  <c:v>1281.4516</c:v>
                </c:pt>
                <c:pt idx="20">
                  <c:v>1270.096</c:v>
                </c:pt>
                <c:pt idx="21">
                  <c:v>1247.6353</c:v>
                </c:pt>
                <c:pt idx="22">
                  <c:v>1248.2201</c:v>
                </c:pt>
                <c:pt idx="23">
                  <c:v>1246.8457</c:v>
                </c:pt>
                <c:pt idx="24">
                  <c:v>1292.0026</c:v>
                </c:pt>
                <c:pt idx="25">
                  <c:v>1224.4867</c:v>
                </c:pt>
                <c:pt idx="26">
                  <c:v>1214.2931</c:v>
                </c:pt>
                <c:pt idx="27">
                  <c:v>1385.2179</c:v>
                </c:pt>
                <c:pt idx="28">
                  <c:v>1185.1876</c:v>
                </c:pt>
                <c:pt idx="29">
                  <c:v>1133.3035</c:v>
                </c:pt>
                <c:pt idx="30">
                  <c:v>1124.0564</c:v>
                </c:pt>
                <c:pt idx="31">
                  <c:v>1106.5671</c:v>
                </c:pt>
                <c:pt idx="32">
                  <c:v>1090.3573</c:v>
                </c:pt>
                <c:pt idx="33">
                  <c:v>1096.688</c:v>
                </c:pt>
                <c:pt idx="34">
                  <c:v>1051.0872</c:v>
                </c:pt>
                <c:pt idx="35">
                  <c:v>1031.1302</c:v>
                </c:pt>
                <c:pt idx="36">
                  <c:v>1273.4549</c:v>
                </c:pt>
                <c:pt idx="37">
                  <c:v>1274.4758</c:v>
                </c:pt>
                <c:pt idx="38">
                  <c:v>1298.1158</c:v>
                </c:pt>
                <c:pt idx="39">
                  <c:v>1374.2814</c:v>
                </c:pt>
                <c:pt idx="40">
                  <c:v>1322.1843</c:v>
                </c:pt>
                <c:pt idx="41">
                  <c:v>1391.4918</c:v>
                </c:pt>
                <c:pt idx="42">
                  <c:v>1443.5197</c:v>
                </c:pt>
                <c:pt idx="43">
                  <c:v>1533.8953</c:v>
                </c:pt>
                <c:pt idx="44">
                  <c:v>1148.17</c:v>
                </c:pt>
                <c:pt idx="45">
                  <c:v>1083.725</c:v>
                </c:pt>
                <c:pt idx="46">
                  <c:v>1029.8374</c:v>
                </c:pt>
                <c:pt idx="47">
                  <c:v>956.2468</c:v>
                </c:pt>
                <c:pt idx="48">
                  <c:v>974.6939</c:v>
                </c:pt>
                <c:pt idx="49">
                  <c:v>965.7966</c:v>
                </c:pt>
                <c:pt idx="50">
                  <c:v>971.5398</c:v>
                </c:pt>
                <c:pt idx="51">
                  <c:v>1032.1653</c:v>
                </c:pt>
                <c:pt idx="52">
                  <c:v>1058.5895</c:v>
                </c:pt>
                <c:pt idx="53">
                  <c:v>1068.9896</c:v>
                </c:pt>
                <c:pt idx="54">
                  <c:v>1075.7585</c:v>
                </c:pt>
                <c:pt idx="55">
                  <c:v>1176.9759</c:v>
                </c:pt>
                <c:pt idx="56">
                  <c:v>1162.4574</c:v>
                </c:pt>
                <c:pt idx="57">
                  <c:v>1160.6956</c:v>
                </c:pt>
                <c:pt idx="58">
                  <c:v>1127.4379</c:v>
                </c:pt>
                <c:pt idx="59">
                  <c:v>1073.879</c:v>
                </c:pt>
                <c:pt idx="60">
                  <c:v>1130.8542</c:v>
                </c:pt>
                <c:pt idx="61">
                  <c:v>1116.6361</c:v>
                </c:pt>
                <c:pt idx="62">
                  <c:v>1127.0864</c:v>
                </c:pt>
                <c:pt idx="63">
                  <c:v>1154.8125</c:v>
                </c:pt>
                <c:pt idx="64">
                  <c:v>1182.3876</c:v>
                </c:pt>
                <c:pt idx="65">
                  <c:v>1144.1331</c:v>
                </c:pt>
                <c:pt idx="66">
                  <c:v>1033.6616</c:v>
                </c:pt>
                <c:pt idx="67">
                  <c:v>947.9028</c:v>
                </c:pt>
                <c:pt idx="68">
                  <c:v>937.8791</c:v>
                </c:pt>
                <c:pt idx="69">
                  <c:v>943.1575</c:v>
                </c:pt>
                <c:pt idx="70">
                  <c:v>904.2287</c:v>
                </c:pt>
                <c:pt idx="71">
                  <c:v>936.3203</c:v>
                </c:pt>
                <c:pt idx="72">
                  <c:v>982.3403</c:v>
                </c:pt>
                <c:pt idx="73">
                  <c:v>1055.0775</c:v>
                </c:pt>
                <c:pt idx="74">
                  <c:v>918.6972</c:v>
                </c:pt>
                <c:pt idx="75">
                  <c:v>981.2498</c:v>
                </c:pt>
                <c:pt idx="76">
                  <c:v>878.3195</c:v>
                </c:pt>
                <c:pt idx="77">
                  <c:v>838.3474</c:v>
                </c:pt>
                <c:pt idx="78">
                  <c:v>951.2751</c:v>
                </c:pt>
                <c:pt idx="79">
                  <c:v>403.0898</c:v>
                </c:pt>
                <c:pt idx="80">
                  <c:v>420.9139</c:v>
                </c:pt>
                <c:pt idx="81">
                  <c:v>619.2639</c:v>
                </c:pt>
                <c:pt idx="82">
                  <c:v>645.8547</c:v>
                </c:pt>
                <c:pt idx="83">
                  <c:v>693.6636</c:v>
                </c:pt>
                <c:pt idx="84">
                  <c:v>719.9111</c:v>
                </c:pt>
                <c:pt idx="85">
                  <c:v>795.6501</c:v>
                </c:pt>
                <c:pt idx="86">
                  <c:v>1054.6731</c:v>
                </c:pt>
                <c:pt idx="87">
                  <c:v>1086.1738</c:v>
                </c:pt>
                <c:pt idx="88">
                  <c:v>1083.3557</c:v>
                </c:pt>
                <c:pt idx="89">
                  <c:v>947.9521</c:v>
                </c:pt>
                <c:pt idx="90">
                  <c:v>993.0</c:v>
                </c:pt>
                <c:pt idx="91">
                  <c:v>1067.9385</c:v>
                </c:pt>
                <c:pt idx="92">
                  <c:v>1185.7766</c:v>
                </c:pt>
                <c:pt idx="93">
                  <c:v>1270.8715</c:v>
                </c:pt>
                <c:pt idx="94">
                  <c:v>1184.4506</c:v>
                </c:pt>
                <c:pt idx="95">
                  <c:v>1384.77</c:v>
                </c:pt>
                <c:pt idx="96">
                  <c:v>1314.5241</c:v>
                </c:pt>
                <c:pt idx="97">
                  <c:v>1331.78</c:v>
                </c:pt>
                <c:pt idx="98">
                  <c:v>1337.5287</c:v>
                </c:pt>
                <c:pt idx="99">
                  <c:v>1310.1582</c:v>
                </c:pt>
                <c:pt idx="100">
                  <c:v>1244.4564</c:v>
                </c:pt>
                <c:pt idx="101">
                  <c:v>1336.3919</c:v>
                </c:pt>
                <c:pt idx="102">
                  <c:v>1431.5389</c:v>
                </c:pt>
                <c:pt idx="103">
                  <c:v>1353.2611</c:v>
                </c:pt>
                <c:pt idx="104">
                  <c:v>1367.9887</c:v>
                </c:pt>
              </c:numCache>
            </c:numRef>
          </c:xVal>
          <c:yVal>
            <c:numRef>
              <c:f>Sheet1!$B$2:$B$106</c:f>
              <c:numCache>
                <c:formatCode>General</c:formatCode>
                <c:ptCount val="105"/>
                <c:pt idx="0">
                  <c:v>0.9943661971830986</c:v>
                </c:pt>
                <c:pt idx="1">
                  <c:v>0.9947368421052631</c:v>
                </c:pt>
                <c:pt idx="2">
                  <c:v>0.9913269731136166</c:v>
                </c:pt>
                <c:pt idx="3">
                  <c:v>0.9932375316990701</c:v>
                </c:pt>
                <c:pt idx="4">
                  <c:v>0.9941002949852508</c:v>
                </c:pt>
                <c:pt idx="5">
                  <c:v>0.9969293756397134</c:v>
                </c:pt>
                <c:pt idx="6">
                  <c:v>0.9915413533834586</c:v>
                </c:pt>
                <c:pt idx="7">
                  <c:v>0.9936708860759493</c:v>
                </c:pt>
                <c:pt idx="8">
                  <c:v>0.9907834101382489</c:v>
                </c:pt>
                <c:pt idx="9">
                  <c:v>0.989351403678606</c:v>
                </c:pt>
                <c:pt idx="10">
                  <c:v>0.9897872340425532</c:v>
                </c:pt>
                <c:pt idx="11">
                  <c:v>0.9933388842631141</c:v>
                </c:pt>
                <c:pt idx="12">
                  <c:v>0.9893790849673203</c:v>
                </c:pt>
                <c:pt idx="13">
                  <c:v>0.9915325994919559</c:v>
                </c:pt>
                <c:pt idx="14">
                  <c:v>0.9905254091300603</c:v>
                </c:pt>
                <c:pt idx="15">
                  <c:v>0.9864864864864865</c:v>
                </c:pt>
                <c:pt idx="16">
                  <c:v>0.9911894273127754</c:v>
                </c:pt>
                <c:pt idx="17">
                  <c:v>0.9894179894179894</c:v>
                </c:pt>
                <c:pt idx="18">
                  <c:v>0.9853300733496333</c:v>
                </c:pt>
                <c:pt idx="19">
                  <c:v>0.9841269841269841</c:v>
                </c:pt>
                <c:pt idx="20">
                  <c:v>0.9846153846153847</c:v>
                </c:pt>
                <c:pt idx="21">
                  <c:v>0.982089552238806</c:v>
                </c:pt>
                <c:pt idx="22">
                  <c:v>0.9862637362637363</c:v>
                </c:pt>
                <c:pt idx="23">
                  <c:v>0.9749216300940439</c:v>
                </c:pt>
                <c:pt idx="24">
                  <c:v>0.9745547073791349</c:v>
                </c:pt>
                <c:pt idx="25">
                  <c:v>0.9741379310344828</c:v>
                </c:pt>
                <c:pt idx="26">
                  <c:v>0.976905311778291</c:v>
                </c:pt>
                <c:pt idx="27">
                  <c:v>0.9859154929577465</c:v>
                </c:pt>
                <c:pt idx="28">
                  <c:v>0.9767981438515081</c:v>
                </c:pt>
                <c:pt idx="29">
                  <c:v>0.9906542056074766</c:v>
                </c:pt>
                <c:pt idx="30">
                  <c:v>0.9855072463768116</c:v>
                </c:pt>
                <c:pt idx="31">
                  <c:v>0.9825870646766169</c:v>
                </c:pt>
                <c:pt idx="32">
                  <c:v>0.9788732394366197</c:v>
                </c:pt>
                <c:pt idx="33">
                  <c:v>0.9858044164037855</c:v>
                </c:pt>
                <c:pt idx="34">
                  <c:v>0.9878869448183042</c:v>
                </c:pt>
                <c:pt idx="35">
                  <c:v>0.9918181818181818</c:v>
                </c:pt>
                <c:pt idx="36">
                  <c:v>0.974304068522484</c:v>
                </c:pt>
                <c:pt idx="37">
                  <c:v>0.9815303430079155</c:v>
                </c:pt>
                <c:pt idx="38">
                  <c:v>0.9806094182825484</c:v>
                </c:pt>
                <c:pt idx="39">
                  <c:v>0.9737609329446064</c:v>
                </c:pt>
                <c:pt idx="40">
                  <c:v>0.9841269841269841</c:v>
                </c:pt>
                <c:pt idx="41">
                  <c:v>0.9735449735449735</c:v>
                </c:pt>
                <c:pt idx="42">
                  <c:v>0.9817767653758542</c:v>
                </c:pt>
                <c:pt idx="43">
                  <c:v>0.9828571428571429</c:v>
                </c:pt>
                <c:pt idx="44">
                  <c:v>0.9914456800684346</c:v>
                </c:pt>
                <c:pt idx="45">
                  <c:v>0.9942429476108232</c:v>
                </c:pt>
                <c:pt idx="46">
                  <c:v>0.9960019990004998</c:v>
                </c:pt>
                <c:pt idx="47">
                  <c:v>0.9943181818181818</c:v>
                </c:pt>
                <c:pt idx="48">
                  <c:v>0.9952348536419333</c:v>
                </c:pt>
                <c:pt idx="49">
                  <c:v>0.9970238095238095</c:v>
                </c:pt>
                <c:pt idx="50">
                  <c:v>0.9956873315363881</c:v>
                </c:pt>
                <c:pt idx="51">
                  <c:v>0.9917664670658682</c:v>
                </c:pt>
                <c:pt idx="52">
                  <c:v>0.9949295774647887</c:v>
                </c:pt>
                <c:pt idx="53">
                  <c:v>0.9910282953761215</c:v>
                </c:pt>
                <c:pt idx="54">
                  <c:v>0.989010989010989</c:v>
                </c:pt>
                <c:pt idx="55">
                  <c:v>0.9917910447761195</c:v>
                </c:pt>
                <c:pt idx="56">
                  <c:v>0.9913112164296999</c:v>
                </c:pt>
                <c:pt idx="57">
                  <c:v>0.9924480805538074</c:v>
                </c:pt>
                <c:pt idx="58">
                  <c:v>0.9949466591802358</c:v>
                </c:pt>
                <c:pt idx="59">
                  <c:v>0.9953271028037384</c:v>
                </c:pt>
                <c:pt idx="60">
                  <c:v>0.9933097205824478</c:v>
                </c:pt>
                <c:pt idx="61">
                  <c:v>0.9954151808456444</c:v>
                </c:pt>
                <c:pt idx="62">
                  <c:v>0.9946265448683503</c:v>
                </c:pt>
                <c:pt idx="63">
                  <c:v>0.9957983193277311</c:v>
                </c:pt>
                <c:pt idx="64">
                  <c:v>0.9954441913439636</c:v>
                </c:pt>
                <c:pt idx="65">
                  <c:v>0.9967514889009204</c:v>
                </c:pt>
                <c:pt idx="66">
                  <c:v>0.995475113122172</c:v>
                </c:pt>
                <c:pt idx="67">
                  <c:v>0.9957081545064378</c:v>
                </c:pt>
                <c:pt idx="68">
                  <c:v>0.996078431372549</c:v>
                </c:pt>
                <c:pt idx="69">
                  <c:v>0.9927826784282278</c:v>
                </c:pt>
                <c:pt idx="70">
                  <c:v>0.9920127795527156</c:v>
                </c:pt>
                <c:pt idx="71">
                  <c:v>0.9896640826873385</c:v>
                </c:pt>
                <c:pt idx="72">
                  <c:v>0.9879310344827587</c:v>
                </c:pt>
                <c:pt idx="73">
                  <c:v>0.9923076923076923</c:v>
                </c:pt>
                <c:pt idx="74">
                  <c:v>0.9927338782924614</c:v>
                </c:pt>
                <c:pt idx="75">
                  <c:v>0.990582191780822</c:v>
                </c:pt>
                <c:pt idx="76">
                  <c:v>0.9888765294771968</c:v>
                </c:pt>
                <c:pt idx="77">
                  <c:v>0.9903536977491961</c:v>
                </c:pt>
                <c:pt idx="78">
                  <c:v>0.9912023460410557</c:v>
                </c:pt>
                <c:pt idx="79">
                  <c:v>0.9958890030832477</c:v>
                </c:pt>
                <c:pt idx="80">
                  <c:v>0.9939659901261657</c:v>
                </c:pt>
                <c:pt idx="81">
                  <c:v>0.9930822444273636</c:v>
                </c:pt>
                <c:pt idx="82">
                  <c:v>0.9943342776203966</c:v>
                </c:pt>
                <c:pt idx="83">
                  <c:v>0.985969387755102</c:v>
                </c:pt>
                <c:pt idx="84">
                  <c:v>0.9893333333333333</c:v>
                </c:pt>
                <c:pt idx="85">
                  <c:v>0.9889570552147239</c:v>
                </c:pt>
                <c:pt idx="86">
                  <c:v>0.9869976359338062</c:v>
                </c:pt>
                <c:pt idx="87">
                  <c:v>0.9907216494845361</c:v>
                </c:pt>
                <c:pt idx="88">
                  <c:v>0.9828080229226361</c:v>
                </c:pt>
                <c:pt idx="89">
                  <c:v>0.9842767295597484</c:v>
                </c:pt>
                <c:pt idx="90">
                  <c:v>0.9879931389365352</c:v>
                </c:pt>
                <c:pt idx="91">
                  <c:v>0.9822380106571936</c:v>
                </c:pt>
                <c:pt idx="92">
                  <c:v>0.9785932721712538</c:v>
                </c:pt>
                <c:pt idx="93">
                  <c:v>0.9837925445705025</c:v>
                </c:pt>
                <c:pt idx="94">
                  <c:v>0.9840989399293286</c:v>
                </c:pt>
                <c:pt idx="95">
                  <c:v>0.9870689655172413</c:v>
                </c:pt>
                <c:pt idx="96">
                  <c:v>0.984171322160149</c:v>
                </c:pt>
                <c:pt idx="97">
                  <c:v>0.9827327327327328</c:v>
                </c:pt>
                <c:pt idx="98">
                  <c:v>0.9798935541099941</c:v>
                </c:pt>
                <c:pt idx="99">
                  <c:v>0.9841269841269841</c:v>
                </c:pt>
                <c:pt idx="100">
                  <c:v>0.9851668726823238</c:v>
                </c:pt>
                <c:pt idx="101">
                  <c:v>0.972341733251383</c:v>
                </c:pt>
                <c:pt idx="102">
                  <c:v>0.9662487945998072</c:v>
                </c:pt>
                <c:pt idx="103">
                  <c:v>0.9632164242942686</c:v>
                </c:pt>
                <c:pt idx="104">
                  <c:v>0.969090909090909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32.9926</c:v>
                </c:pt>
                <c:pt idx="1">
                  <c:v>1455.6611</c:v>
                </c:pt>
                <c:pt idx="2">
                  <c:v>1429.3722</c:v>
                </c:pt>
                <c:pt idx="3">
                  <c:v>1468.0958</c:v>
                </c:pt>
                <c:pt idx="4">
                  <c:v>1445.5332</c:v>
                </c:pt>
                <c:pt idx="5">
                  <c:v>1458.7678</c:v>
                </c:pt>
                <c:pt idx="6">
                  <c:v>1376.3751</c:v>
                </c:pt>
                <c:pt idx="7">
                  <c:v>1423.7132</c:v>
                </c:pt>
                <c:pt idx="8">
                  <c:v>1511.6667</c:v>
                </c:pt>
                <c:pt idx="9">
                  <c:v>1415.4487</c:v>
                </c:pt>
                <c:pt idx="10">
                  <c:v>1440.2463</c:v>
                </c:pt>
                <c:pt idx="11">
                  <c:v>1312.4821</c:v>
                </c:pt>
                <c:pt idx="12">
                  <c:v>1330.8301</c:v>
                </c:pt>
                <c:pt idx="13">
                  <c:v>1370.1848</c:v>
                </c:pt>
                <c:pt idx="14">
                  <c:v>1375.5025</c:v>
                </c:pt>
                <c:pt idx="15">
                  <c:v>1379.348</c:v>
                </c:pt>
                <c:pt idx="16">
                  <c:v>1484.599</c:v>
                </c:pt>
                <c:pt idx="17">
                  <c:v>1458.858</c:v>
                </c:pt>
                <c:pt idx="18">
                  <c:v>1464.2248</c:v>
                </c:pt>
                <c:pt idx="19">
                  <c:v>1576.1237</c:v>
                </c:pt>
                <c:pt idx="20">
                  <c:v>1551.5187</c:v>
                </c:pt>
                <c:pt idx="21">
                  <c:v>1491.7583</c:v>
                </c:pt>
                <c:pt idx="22">
                  <c:v>1592.4784</c:v>
                </c:pt>
                <c:pt idx="23">
                  <c:v>1547.7338</c:v>
                </c:pt>
                <c:pt idx="24">
                  <c:v>1531.989</c:v>
                </c:pt>
                <c:pt idx="25">
                  <c:v>1478.8399</c:v>
                </c:pt>
                <c:pt idx="26">
                  <c:v>1493.82</c:v>
                </c:pt>
                <c:pt idx="27">
                  <c:v>1537.8369</c:v>
                </c:pt>
                <c:pt idx="28">
                  <c:v>1579.6154</c:v>
                </c:pt>
                <c:pt idx="29">
                  <c:v>1596.1839</c:v>
                </c:pt>
                <c:pt idx="30">
                  <c:v>1469.8079</c:v>
                </c:pt>
                <c:pt idx="31">
                  <c:v>1269.2867</c:v>
                </c:pt>
                <c:pt idx="32">
                  <c:v>1414.9175</c:v>
                </c:pt>
                <c:pt idx="33">
                  <c:v>1453.0116</c:v>
                </c:pt>
                <c:pt idx="34">
                  <c:v>1467.8649</c:v>
                </c:pt>
                <c:pt idx="35">
                  <c:v>1459.1501</c:v>
                </c:pt>
                <c:pt idx="36">
                  <c:v>1482.7995</c:v>
                </c:pt>
                <c:pt idx="37">
                  <c:v>1519.1336</c:v>
                </c:pt>
                <c:pt idx="38">
                  <c:v>1424.2701</c:v>
                </c:pt>
                <c:pt idx="39">
                  <c:v>1417.2456</c:v>
                </c:pt>
                <c:pt idx="40">
                  <c:v>1413.9112</c:v>
                </c:pt>
                <c:pt idx="41">
                  <c:v>1474.4013</c:v>
                </c:pt>
                <c:pt idx="42">
                  <c:v>1449.1418</c:v>
                </c:pt>
                <c:pt idx="43">
                  <c:v>1465.4112</c:v>
                </c:pt>
                <c:pt idx="44">
                  <c:v>1454.7305</c:v>
                </c:pt>
                <c:pt idx="45">
                  <c:v>1392.9094</c:v>
                </c:pt>
                <c:pt idx="46">
                  <c:v>1450.6234</c:v>
                </c:pt>
                <c:pt idx="47">
                  <c:v>1412.2909</c:v>
                </c:pt>
                <c:pt idx="48">
                  <c:v>1371.335</c:v>
                </c:pt>
                <c:pt idx="49">
                  <c:v>1379.7263</c:v>
                </c:pt>
                <c:pt idx="50">
                  <c:v>1253.6561</c:v>
                </c:pt>
                <c:pt idx="51">
                  <c:v>1247.0221</c:v>
                </c:pt>
              </c:numCache>
            </c:numRef>
          </c:xVal>
          <c:yVal>
            <c:numRef>
              <c:f>Sheet1!$B$109:$B$160</c:f>
              <c:numCache>
                <c:formatCode>General</c:formatCode>
                <c:ptCount val="52"/>
                <c:pt idx="0">
                  <c:v>0.9634340222575517</c:v>
                </c:pt>
                <c:pt idx="1">
                  <c:v>0.9601518026565465</c:v>
                </c:pt>
                <c:pt idx="2">
                  <c:v>0.9593869731800766</c:v>
                </c:pt>
                <c:pt idx="3">
                  <c:v>0.960060286360211</c:v>
                </c:pt>
                <c:pt idx="4">
                  <c:v>0.9621749408983451</c:v>
                </c:pt>
                <c:pt idx="5">
                  <c:v>0.9579901153212521</c:v>
                </c:pt>
                <c:pt idx="6">
                  <c:v>0.9709257842387146</c:v>
                </c:pt>
                <c:pt idx="7">
                  <c:v>0.9677033492822966</c:v>
                </c:pt>
                <c:pt idx="8">
                  <c:v>0.948502994011976</c:v>
                </c:pt>
                <c:pt idx="9">
                  <c:v>0.950253807106599</c:v>
                </c:pt>
                <c:pt idx="10">
                  <c:v>0.9489120151371807</c:v>
                </c:pt>
                <c:pt idx="11">
                  <c:v>0.9691435768261965</c:v>
                </c:pt>
                <c:pt idx="12">
                  <c:v>0.96045197740113</c:v>
                </c:pt>
                <c:pt idx="13">
                  <c:v>0.9587087087087087</c:v>
                </c:pt>
                <c:pt idx="14">
                  <c:v>0.9609561752988047</c:v>
                </c:pt>
                <c:pt idx="15">
                  <c:v>0.9319965126416739</c:v>
                </c:pt>
                <c:pt idx="16">
                  <c:v>0.9462857142857143</c:v>
                </c:pt>
                <c:pt idx="17">
                  <c:v>0.9426229508196722</c:v>
                </c:pt>
                <c:pt idx="18">
                  <c:v>0.9308510638297872</c:v>
                </c:pt>
                <c:pt idx="19">
                  <c:v>0.9267955801104972</c:v>
                </c:pt>
                <c:pt idx="20">
                  <c:v>0.9192825112107623</c:v>
                </c:pt>
                <c:pt idx="21">
                  <c:v>0.947289156626506</c:v>
                </c:pt>
                <c:pt idx="22">
                  <c:v>0.9367311072056239</c:v>
                </c:pt>
                <c:pt idx="23">
                  <c:v>0.9241379310344827</c:v>
                </c:pt>
                <c:pt idx="24">
                  <c:v>0.926829268292683</c:v>
                </c:pt>
                <c:pt idx="25">
                  <c:v>0.9193548387096774</c:v>
                </c:pt>
                <c:pt idx="26">
                  <c:v>0.9331983805668016</c:v>
                </c:pt>
                <c:pt idx="27">
                  <c:v>0.9111969111969112</c:v>
                </c:pt>
                <c:pt idx="28">
                  <c:v>0.9299552906110283</c:v>
                </c:pt>
                <c:pt idx="29">
                  <c:v>0.9195876288659793</c:v>
                </c:pt>
                <c:pt idx="30">
                  <c:v>0.9158699808795411</c:v>
                </c:pt>
                <c:pt idx="31">
                  <c:v>0.9127659574468086</c:v>
                </c:pt>
                <c:pt idx="32">
                  <c:v>0.920303605313093</c:v>
                </c:pt>
                <c:pt idx="33">
                  <c:v>0.9288590604026845</c:v>
                </c:pt>
                <c:pt idx="34">
                  <c:v>0.9392565729827742</c:v>
                </c:pt>
                <c:pt idx="35">
                  <c:v>0.9195652173913044</c:v>
                </c:pt>
                <c:pt idx="36">
                  <c:v>0.9032921810699589</c:v>
                </c:pt>
                <c:pt idx="37">
                  <c:v>0.8803921568627451</c:v>
                </c:pt>
                <c:pt idx="38">
                  <c:v>0.9055690072639225</c:v>
                </c:pt>
                <c:pt idx="39">
                  <c:v>0.9014285714285715</c:v>
                </c:pt>
                <c:pt idx="40">
                  <c:v>0.7325153374233129</c:v>
                </c:pt>
                <c:pt idx="41">
                  <c:v>0.8328877005347594</c:v>
                </c:pt>
                <c:pt idx="42">
                  <c:v>0.8688783570300158</c:v>
                </c:pt>
                <c:pt idx="43">
                  <c:v>0.8708891595615104</c:v>
                </c:pt>
                <c:pt idx="44">
                  <c:v>0.9065708418891171</c:v>
                </c:pt>
                <c:pt idx="45">
                  <c:v>0.9248389405869721</c:v>
                </c:pt>
                <c:pt idx="46">
                  <c:v>0.9207258834765998</c:v>
                </c:pt>
                <c:pt idx="47">
                  <c:v>0.9324200913242009</c:v>
                </c:pt>
                <c:pt idx="48">
                  <c:v>0.9085979860573199</c:v>
                </c:pt>
                <c:pt idx="49">
                  <c:v>0.9132653061224489</c:v>
                </c:pt>
                <c:pt idx="50">
                  <c:v>0.9417218543046357</c:v>
                </c:pt>
                <c:pt idx="51">
                  <c:v>0.923933209647495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4.59444832280076</c:v>
                </c:pt>
              </c:numCache>
            </c:numRef>
          </c:xVal>
          <c:yVal>
            <c:numRef>
              <c:f>Sheet1!$B$163:$B$164</c:f>
              <c:numCache>
                <c:formatCode>General</c:formatCode>
                <c:ptCount val="2"/>
                <c:pt idx="0">
                  <c:v>0.9938458224420386</c:v>
                </c:pt>
                <c:pt idx="1">
                  <c:v>0.993845822442038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4.59444832280076</c:v>
                </c:pt>
                <c:pt idx="1">
                  <c:v>94.59444832280076</c:v>
                </c:pt>
              </c:numCache>
            </c:numRef>
          </c:xVal>
          <c:yVal>
            <c:numRef>
              <c:f>Sheet1!$B$167:$B$168</c:f>
              <c:numCache>
                <c:formatCode>General</c:formatCode>
                <c:ptCount val="2"/>
                <c:pt idx="0">
                  <c:v>0.993845822442038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745.074743028469</c:v>
                </c:pt>
              </c:numCache>
            </c:numRef>
          </c:xVal>
          <c:yVal>
            <c:numRef>
              <c:f>Sheet1!$B$171:$B$172</c:f>
              <c:numCache>
                <c:formatCode>General</c:formatCode>
                <c:ptCount val="2"/>
                <c:pt idx="0">
                  <c:v>0.9611478075785522</c:v>
                </c:pt>
                <c:pt idx="1">
                  <c:v>0.961147807578552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745.074743028469</c:v>
                </c:pt>
                <c:pt idx="1">
                  <c:v>745.074743028469</c:v>
                </c:pt>
              </c:numCache>
            </c:numRef>
          </c:xVal>
          <c:yVal>
            <c:numRef>
              <c:f>Sheet1!$B$175:$B$176</c:f>
              <c:numCache>
                <c:formatCode>General</c:formatCode>
                <c:ptCount val="2"/>
                <c:pt idx="0">
                  <c:v>0.96114780757855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2147.1862970207744</c:v>
                </c:pt>
              </c:numCache>
            </c:numRef>
          </c:xVal>
          <c:yVal>
            <c:numRef>
              <c:f>Sheet1!$B$179:$B$180</c:f>
              <c:numCache>
                <c:formatCode>General</c:formatCode>
                <c:ptCount val="2"/>
                <c:pt idx="0">
                  <c:v>0.8906671722605354</c:v>
                </c:pt>
                <c:pt idx="1">
                  <c:v>0.890667172260535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2147.1862970207744</c:v>
                </c:pt>
                <c:pt idx="1">
                  <c:v>2147.1862970207744</c:v>
                </c:pt>
              </c:numCache>
            </c:numRef>
          </c:xVal>
          <c:yVal>
            <c:numRef>
              <c:f>Sheet1!$B$183:$B$184</c:f>
              <c:numCache>
                <c:formatCode>General</c:formatCode>
                <c:ptCount val="2"/>
                <c:pt idx="0">
                  <c:v>0.89066717226053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32.9926</c:v>
                </c:pt>
                <c:pt idx="1">
                  <c:v>1455.6611</c:v>
                </c:pt>
                <c:pt idx="2">
                  <c:v>1429.3722</c:v>
                </c:pt>
                <c:pt idx="3">
                  <c:v>1468.0958</c:v>
                </c:pt>
                <c:pt idx="4">
                  <c:v>1445.5332</c:v>
                </c:pt>
                <c:pt idx="5">
                  <c:v>1458.7678</c:v>
                </c:pt>
                <c:pt idx="6">
                  <c:v>1376.3751</c:v>
                </c:pt>
                <c:pt idx="7">
                  <c:v>1423.7132</c:v>
                </c:pt>
                <c:pt idx="8">
                  <c:v>1511.6667</c:v>
                </c:pt>
                <c:pt idx="9">
                  <c:v>1415.4487</c:v>
                </c:pt>
                <c:pt idx="10">
                  <c:v>1440.2463</c:v>
                </c:pt>
                <c:pt idx="11">
                  <c:v>1312.4821</c:v>
                </c:pt>
                <c:pt idx="12">
                  <c:v>1330.8301</c:v>
                </c:pt>
                <c:pt idx="13">
                  <c:v>1370.1848</c:v>
                </c:pt>
                <c:pt idx="14">
                  <c:v>1375.5025</c:v>
                </c:pt>
                <c:pt idx="15">
                  <c:v>1379.348</c:v>
                </c:pt>
                <c:pt idx="16">
                  <c:v>1484.599</c:v>
                </c:pt>
                <c:pt idx="17">
                  <c:v>1458.858</c:v>
                </c:pt>
                <c:pt idx="18">
                  <c:v>1464.2248</c:v>
                </c:pt>
                <c:pt idx="19">
                  <c:v>1576.1237</c:v>
                </c:pt>
                <c:pt idx="20">
                  <c:v>1551.5187</c:v>
                </c:pt>
                <c:pt idx="21">
                  <c:v>1491.7583</c:v>
                </c:pt>
                <c:pt idx="22">
                  <c:v>1592.4784</c:v>
                </c:pt>
                <c:pt idx="23">
                  <c:v>1547.7338</c:v>
                </c:pt>
                <c:pt idx="24">
                  <c:v>1531.989</c:v>
                </c:pt>
                <c:pt idx="25">
                  <c:v>1478.8399</c:v>
                </c:pt>
                <c:pt idx="26">
                  <c:v>1493.82</c:v>
                </c:pt>
                <c:pt idx="27">
                  <c:v>1537.8369</c:v>
                </c:pt>
                <c:pt idx="28">
                  <c:v>1579.6154</c:v>
                </c:pt>
                <c:pt idx="29">
                  <c:v>1596.1839</c:v>
                </c:pt>
                <c:pt idx="30">
                  <c:v>1469.8079</c:v>
                </c:pt>
                <c:pt idx="31">
                  <c:v>1269.2867</c:v>
                </c:pt>
                <c:pt idx="32">
                  <c:v>1414.9175</c:v>
                </c:pt>
                <c:pt idx="33">
                  <c:v>1453.0116</c:v>
                </c:pt>
                <c:pt idx="34">
                  <c:v>1467.8649</c:v>
                </c:pt>
                <c:pt idx="35">
                  <c:v>1459.1501</c:v>
                </c:pt>
                <c:pt idx="36">
                  <c:v>1482.7995</c:v>
                </c:pt>
                <c:pt idx="37">
                  <c:v>1519.1336</c:v>
                </c:pt>
                <c:pt idx="38">
                  <c:v>1424.2701</c:v>
                </c:pt>
                <c:pt idx="39">
                  <c:v>1417.2456</c:v>
                </c:pt>
                <c:pt idx="40">
                  <c:v>1413.9112</c:v>
                </c:pt>
                <c:pt idx="41">
                  <c:v>1474.4013</c:v>
                </c:pt>
                <c:pt idx="42">
                  <c:v>1449.1418</c:v>
                </c:pt>
                <c:pt idx="43">
                  <c:v>1465.4112</c:v>
                </c:pt>
                <c:pt idx="44">
                  <c:v>1454.7305</c:v>
                </c:pt>
                <c:pt idx="45">
                  <c:v>1392.9094</c:v>
                </c:pt>
                <c:pt idx="46">
                  <c:v>1450.6234</c:v>
                </c:pt>
                <c:pt idx="47">
                  <c:v>1412.2909</c:v>
                </c:pt>
                <c:pt idx="48">
                  <c:v>1371.335</c:v>
                </c:pt>
                <c:pt idx="49">
                  <c:v>1379.7263</c:v>
                </c:pt>
                <c:pt idx="50">
                  <c:v>1253.6561</c:v>
                </c:pt>
                <c:pt idx="51">
                  <c:v>1247.0221</c:v>
                </c:pt>
                <c:pt idx="52">
                  <c:v>745.074743028469</c:v>
                </c:pt>
                <c:pt idx="53">
                  <c:v>94.59444832280076</c:v>
                </c:pt>
                <c:pt idx="54">
                  <c:v>2147.1862970207744</c:v>
                </c:pt>
              </c:numCache>
            </c:numRef>
          </c:xVal>
          <c:yVal>
            <c:numRef>
              <c:f>Sheet1!$B$187:$B$241</c:f>
              <c:numCache>
                <c:formatCode>General</c:formatCode>
                <c:ptCount val="55"/>
                <c:pt idx="0">
                  <c:v>0.9265679002467079</c:v>
                </c:pt>
                <c:pt idx="1">
                  <c:v>0.9254284115397235</c:v>
                </c:pt>
                <c:pt idx="2">
                  <c:v>0.9267498886850591</c:v>
                </c:pt>
                <c:pt idx="3">
                  <c:v>0.9248033503215248</c:v>
                </c:pt>
                <c:pt idx="4">
                  <c:v>0.9259375157008047</c:v>
                </c:pt>
                <c:pt idx="5">
                  <c:v>0.9252722455134762</c:v>
                </c:pt>
                <c:pt idx="6">
                  <c:v>0.9294139201363206</c:v>
                </c:pt>
                <c:pt idx="7">
                  <c:v>0.9270343524384096</c:v>
                </c:pt>
                <c:pt idx="8">
                  <c:v>0.9226131503302091</c:v>
                </c:pt>
                <c:pt idx="9">
                  <c:v>0.9274497881495891</c:v>
                </c:pt>
                <c:pt idx="10">
                  <c:v>0.9262032749193219</c:v>
                </c:pt>
                <c:pt idx="11">
                  <c:v>0.932625661184707</c:v>
                </c:pt>
                <c:pt idx="12">
                  <c:v>0.9317033531892178</c:v>
                </c:pt>
                <c:pt idx="13">
                  <c:v>0.9297250910096843</c:v>
                </c:pt>
                <c:pt idx="14">
                  <c:v>0.9294577835523258</c:v>
                </c:pt>
                <c:pt idx="15">
                  <c:v>0.929264479900884</c:v>
                </c:pt>
                <c:pt idx="16">
                  <c:v>0.9239737758005331</c:v>
                </c:pt>
                <c:pt idx="17">
                  <c:v>0.9252677113854408</c:v>
                </c:pt>
                <c:pt idx="18">
                  <c:v>0.9249979357940853</c:v>
                </c:pt>
                <c:pt idx="19">
                  <c:v>0.9193730584147277</c:v>
                </c:pt>
                <c:pt idx="20">
                  <c:v>0.9206098901254871</c:v>
                </c:pt>
                <c:pt idx="21">
                  <c:v>0.9236138957246607</c:v>
                </c:pt>
                <c:pt idx="22">
                  <c:v>0.9185509486167209</c:v>
                </c:pt>
                <c:pt idx="23">
                  <c:v>0.920800147566741</c:v>
                </c:pt>
                <c:pt idx="24">
                  <c:v>0.9215915992196394</c:v>
                </c:pt>
                <c:pt idx="25">
                  <c:v>0.9242632713301179</c:v>
                </c:pt>
                <c:pt idx="26">
                  <c:v>0.9235102592305305</c:v>
                </c:pt>
                <c:pt idx="27">
                  <c:v>0.921297639936512</c:v>
                </c:pt>
                <c:pt idx="28">
                  <c:v>0.9191975394029634</c:v>
                </c:pt>
                <c:pt idx="29">
                  <c:v>0.918364682414558</c:v>
                </c:pt>
                <c:pt idx="30">
                  <c:v>0.9247172873435939</c:v>
                </c:pt>
                <c:pt idx="31">
                  <c:v>0.9347969857317071</c:v>
                </c:pt>
                <c:pt idx="32">
                  <c:v>0.927476490242853</c:v>
                </c:pt>
                <c:pt idx="33">
                  <c:v>0.925561595267326</c:v>
                </c:pt>
                <c:pt idx="34">
                  <c:v>0.9248149570860855</c:v>
                </c:pt>
                <c:pt idx="35">
                  <c:v>0.9252530282501955</c:v>
                </c:pt>
                <c:pt idx="36">
                  <c:v>0.9240642321575138</c:v>
                </c:pt>
                <c:pt idx="37">
                  <c:v>0.9222378079729211</c:v>
                </c:pt>
                <c:pt idx="38">
                  <c:v>0.9270063584705283</c:v>
                </c:pt>
                <c:pt idx="39">
                  <c:v>0.927359462488095</c:v>
                </c:pt>
                <c:pt idx="40">
                  <c:v>0.9275270744229194</c:v>
                </c:pt>
                <c:pt idx="41">
                  <c:v>0.9244863886327546</c:v>
                </c:pt>
                <c:pt idx="42">
                  <c:v>0.9257561204188927</c:v>
                </c:pt>
                <c:pt idx="43">
                  <c:v>0.9249382984381964</c:v>
                </c:pt>
                <c:pt idx="44">
                  <c:v>0.92547519047043</c:v>
                </c:pt>
                <c:pt idx="45">
                  <c:v>0.9285827822962389</c:v>
                </c:pt>
                <c:pt idx="46">
                  <c:v>0.9256816440985244</c:v>
                </c:pt>
                <c:pt idx="47">
                  <c:v>0.9276085228448232</c:v>
                </c:pt>
                <c:pt idx="48">
                  <c:v>0.929667273337109</c:v>
                </c:pt>
                <c:pt idx="49">
                  <c:v>0.9292454637075827</c:v>
                </c:pt>
                <c:pt idx="50">
                  <c:v>0.9355826968366937</c:v>
                </c:pt>
                <c:pt idx="51">
                  <c:v>0.9359161713975219</c:v>
                </c:pt>
                <c:pt idx="52">
                  <c:v>0.9611478075785522</c:v>
                </c:pt>
                <c:pt idx="53">
                  <c:v>0.9938458224420386</c:v>
                </c:pt>
                <c:pt idx="54">
                  <c:v>0.89066717226053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577.0"/>
          <c:min val="7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64285714285714"/>
          <c:min val="0.586012269938650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7</c:f>
              <c:numCache>
                <c:formatCode>General</c:formatCode>
                <c:ptCount val="56"/>
                <c:pt idx="0">
                  <c:v>0.0</c:v>
                </c:pt>
                <c:pt idx="1">
                  <c:v>0.5070160126253578</c:v>
                </c:pt>
                <c:pt idx="2">
                  <c:v>0.6755175765511685</c:v>
                </c:pt>
                <c:pt idx="3">
                  <c:v>0.6586180323657848</c:v>
                </c:pt>
                <c:pt idx="4">
                  <c:v>0.6831957105894821</c:v>
                </c:pt>
                <c:pt idx="5">
                  <c:v>0.6506618272841052</c:v>
                </c:pt>
                <c:pt idx="6">
                  <c:v>0.7110070762582434</c:v>
                </c:pt>
                <c:pt idx="7">
                  <c:v>0.5459743550834598</c:v>
                </c:pt>
                <c:pt idx="8">
                  <c:v>0.5446093823137484</c:v>
                </c:pt>
                <c:pt idx="9">
                  <c:v>0.5085250707150255</c:v>
                </c:pt>
                <c:pt idx="10">
                  <c:v>0.5616958158617421</c:v>
                </c:pt>
                <c:pt idx="11">
                  <c:v>0.6836904799453294</c:v>
                </c:pt>
                <c:pt idx="12">
                  <c:v>0.7621035245532634</c:v>
                </c:pt>
                <c:pt idx="13">
                  <c:v>0.5727430470756821</c:v>
                </c:pt>
                <c:pt idx="14">
                  <c:v>0.6808695619023213</c:v>
                </c:pt>
                <c:pt idx="15">
                  <c:v>0.6874106400665004</c:v>
                </c:pt>
                <c:pt idx="16">
                  <c:v>0.7273605386231298</c:v>
                </c:pt>
                <c:pt idx="17">
                  <c:v>0.5573417153120791</c:v>
                </c:pt>
                <c:pt idx="18">
                  <c:v>0.5392750891265597</c:v>
                </c:pt>
                <c:pt idx="19">
                  <c:v>0.5382737660305141</c:v>
                </c:pt>
                <c:pt idx="20">
                  <c:v>0.7157512995176883</c:v>
                </c:pt>
                <c:pt idx="21">
                  <c:v>0.5395175869325584</c:v>
                </c:pt>
                <c:pt idx="22">
                  <c:v>0.4709557273568605</c:v>
                </c:pt>
                <c:pt idx="23">
                  <c:v>0.4802139178425757</c:v>
                </c:pt>
                <c:pt idx="24">
                  <c:v>0.3944039562727746</c:v>
                </c:pt>
                <c:pt idx="25">
                  <c:v>0.4270816834050693</c:v>
                </c:pt>
                <c:pt idx="26">
                  <c:v>0.39072061176470585</c:v>
                </c:pt>
                <c:pt idx="27">
                  <c:v>0.40851926977687625</c:v>
                </c:pt>
                <c:pt idx="28">
                  <c:v>0.49678451495540465</c:v>
                </c:pt>
                <c:pt idx="29">
                  <c:v>0.45326169354838713</c:v>
                </c:pt>
                <c:pt idx="30">
                  <c:v>0.6125674583858985</c:v>
                </c:pt>
                <c:pt idx="31">
                  <c:v>0.39818375</c:v>
                </c:pt>
                <c:pt idx="32">
                  <c:v>0.6386725379909216</c:v>
                </c:pt>
                <c:pt idx="33">
                  <c:v>0.6130268199233716</c:v>
                </c:pt>
                <c:pt idx="34">
                  <c:v>0.5899147089630405</c:v>
                </c:pt>
                <c:pt idx="35">
                  <c:v>0.70080575347939</c:v>
                </c:pt>
                <c:pt idx="36">
                  <c:v>0.5860928739157522</c:v>
                </c:pt>
                <c:pt idx="37">
                  <c:v>0.5893859105836436</c:v>
                </c:pt>
                <c:pt idx="38">
                  <c:v>0.44976580758588225</c:v>
                </c:pt>
                <c:pt idx="39">
                  <c:v>0.7023910177974068</c:v>
                </c:pt>
                <c:pt idx="40">
                  <c:v>0.7729962423062351</c:v>
                </c:pt>
                <c:pt idx="41">
                  <c:v>0.6999428995179829</c:v>
                </c:pt>
                <c:pt idx="42">
                  <c:v>0.752324947870347</c:v>
                </c:pt>
                <c:pt idx="43">
                  <c:v>0.7222094262924802</c:v>
                </c:pt>
                <c:pt idx="44">
                  <c:v>0.6760484673513509</c:v>
                </c:pt>
                <c:pt idx="45">
                  <c:v>0.6413737124944021</c:v>
                </c:pt>
                <c:pt idx="46">
                  <c:v>0.6707969221509364</c:v>
                </c:pt>
                <c:pt idx="47">
                  <c:v>0.5370497107966067</c:v>
                </c:pt>
                <c:pt idx="48">
                  <c:v>0.5301167414185228</c:v>
                </c:pt>
                <c:pt idx="49">
                  <c:v>0.6206703891031098</c:v>
                </c:pt>
                <c:pt idx="50">
                  <c:v>0.6419968058149946</c:v>
                </c:pt>
                <c:pt idx="51">
                  <c:v>0.48932069374415127</c:v>
                </c:pt>
                <c:pt idx="52">
                  <c:v>0.5795964449727155</c:v>
                </c:pt>
                <c:pt idx="53">
                  <c:v>0.4731623196691146</c:v>
                </c:pt>
                <c:pt idx="54">
                  <c:v>0.5689178574876368</c:v>
                </c:pt>
                <c:pt idx="55">
                  <c:v>0.649570937066947</c:v>
                </c:pt>
              </c:numCache>
            </c:numRef>
          </c:xVal>
          <c:yVal>
            <c:numRef>
              <c:f>Sheet1!$B$2:$B$57</c:f>
              <c:numCache>
                <c:formatCode>General</c:formatCode>
                <c:ptCount val="56"/>
                <c:pt idx="0">
                  <c:v>0.9782608695652174</c:v>
                </c:pt>
                <c:pt idx="1">
                  <c:v>0.9029126213592233</c:v>
                </c:pt>
                <c:pt idx="2">
                  <c:v>0.4642857142857143</c:v>
                </c:pt>
                <c:pt idx="3">
                  <c:v>0.5</c:v>
                </c:pt>
                <c:pt idx="4">
                  <c:v>0.5151515151515151</c:v>
                </c:pt>
                <c:pt idx="5">
                  <c:v>0.5172413793103449</c:v>
                </c:pt>
                <c:pt idx="6">
                  <c:v>0.5806451612903226</c:v>
                </c:pt>
                <c:pt idx="7">
                  <c:v>0.7301587301587301</c:v>
                </c:pt>
                <c:pt idx="8">
                  <c:v>0.8253968253968254</c:v>
                </c:pt>
                <c:pt idx="9">
                  <c:v>0.845360824742268</c:v>
                </c:pt>
                <c:pt idx="10">
                  <c:v>0.8117647058823529</c:v>
                </c:pt>
                <c:pt idx="11">
                  <c:v>0.8850574712643678</c:v>
                </c:pt>
                <c:pt idx="12">
                  <c:v>0.75</c:v>
                </c:pt>
                <c:pt idx="13">
                  <c:v>0.7666666666666667</c:v>
                </c:pt>
                <c:pt idx="14">
                  <c:v>0.631578947368421</c:v>
                </c:pt>
                <c:pt idx="15">
                  <c:v>0.6296296296296297</c:v>
                </c:pt>
                <c:pt idx="16">
                  <c:v>0.5909090909090909</c:v>
                </c:pt>
                <c:pt idx="17">
                  <c:v>0.7</c:v>
                </c:pt>
                <c:pt idx="18">
                  <c:v>0.6818181818181818</c:v>
                </c:pt>
                <c:pt idx="19">
                  <c:v>0.7758620689655172</c:v>
                </c:pt>
                <c:pt idx="20">
                  <c:v>0.5714285714285714</c:v>
                </c:pt>
                <c:pt idx="21">
                  <c:v>0.5652173913043478</c:v>
                </c:pt>
                <c:pt idx="22">
                  <c:v>0.7659574468085106</c:v>
                </c:pt>
                <c:pt idx="23">
                  <c:v>0.75</c:v>
                </c:pt>
                <c:pt idx="24">
                  <c:v>0.7272727272727273</c:v>
                </c:pt>
                <c:pt idx="25">
                  <c:v>0.72</c:v>
                </c:pt>
                <c:pt idx="26">
                  <c:v>0.6956521739130435</c:v>
                </c:pt>
                <c:pt idx="27">
                  <c:v>0.7142857142857143</c:v>
                </c:pt>
                <c:pt idx="28">
                  <c:v>0.6363636363636364</c:v>
                </c:pt>
                <c:pt idx="29">
                  <c:v>0.8428571428571429</c:v>
                </c:pt>
                <c:pt idx="30">
                  <c:v>0.4782608695652174</c:v>
                </c:pt>
                <c:pt idx="31">
                  <c:v>0.6</c:v>
                </c:pt>
                <c:pt idx="32">
                  <c:v>0.34210526315789475</c:v>
                </c:pt>
                <c:pt idx="33">
                  <c:v>0.3142857142857143</c:v>
                </c:pt>
                <c:pt idx="34">
                  <c:v>0.38461538461538464</c:v>
                </c:pt>
                <c:pt idx="35">
                  <c:v>0.2727272727272727</c:v>
                </c:pt>
                <c:pt idx="36">
                  <c:v>0.5652173913043478</c:v>
                </c:pt>
                <c:pt idx="37">
                  <c:v>0.41025641025641024</c:v>
                </c:pt>
                <c:pt idx="38">
                  <c:v>0.7058823529411765</c:v>
                </c:pt>
                <c:pt idx="39">
                  <c:v>0.3508771929824561</c:v>
                </c:pt>
                <c:pt idx="40">
                  <c:v>0.4864864864864865</c:v>
                </c:pt>
                <c:pt idx="41">
                  <c:v>0.4666666666666667</c:v>
                </c:pt>
                <c:pt idx="42">
                  <c:v>0.30952380952380953</c:v>
                </c:pt>
                <c:pt idx="43">
                  <c:v>0.3148148148148148</c:v>
                </c:pt>
                <c:pt idx="44">
                  <c:v>0.32653061224489793</c:v>
                </c:pt>
                <c:pt idx="45">
                  <c:v>0.3076923076923077</c:v>
                </c:pt>
                <c:pt idx="46">
                  <c:v>0.6881720430107527</c:v>
                </c:pt>
                <c:pt idx="47">
                  <c:v>0.4166666666666667</c:v>
                </c:pt>
                <c:pt idx="48">
                  <c:v>0.46938775510204084</c:v>
                </c:pt>
                <c:pt idx="49">
                  <c:v>0.5454545454545454</c:v>
                </c:pt>
                <c:pt idx="50">
                  <c:v>0.603448275862069</c:v>
                </c:pt>
                <c:pt idx="51">
                  <c:v>0.8263157894736842</c:v>
                </c:pt>
                <c:pt idx="52">
                  <c:v>0.5</c:v>
                </c:pt>
                <c:pt idx="53">
                  <c:v>0.81</c:v>
                </c:pt>
                <c:pt idx="54">
                  <c:v>0.6071428571428571</c:v>
                </c:pt>
                <c:pt idx="55">
                  <c:v>0.3684210526315789</c:v>
                </c:pt>
              </c:numCache>
            </c:numRef>
          </c:yVal>
          <c:smooth val="0"/>
          <c:extLst>
            <c:ext xmlns:c16="http://schemas.microsoft.com/office/drawing/2014/chart" uri="{C3380CC4-5D6E-409C-BE32-E72D297353CC}">
              <c16:uniqueId val="{00000000-096C-4121-9522-6AB7243CCAAE}"/>
            </c:ext>
          </c:extLst>
        </c:ser>
        <c:ser>
          <c:idx val="1"/>
          <c:order val="1"/>
          <c:tx>
            <c:strRef>
              <c:f>Sheet1!$B$5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0:$A$111</c:f>
              <c:numCache>
                <c:formatCode>General</c:formatCode>
                <c:ptCount val="52"/>
                <c:pt idx="0">
                  <c:v>0.7428991525294912</c:v>
                </c:pt>
                <c:pt idx="1">
                  <c:v>0.5998673270194341</c:v>
                </c:pt>
                <c:pt idx="2">
                  <c:v>0.6723863470176538</c:v>
                </c:pt>
                <c:pt idx="3">
                  <c:v>0.6150340261434474</c:v>
                </c:pt>
                <c:pt idx="4">
                  <c:v>0.6249606048578441</c:v>
                </c:pt>
                <c:pt idx="5">
                  <c:v>0.5813072587649883</c:v>
                </c:pt>
                <c:pt idx="6">
                  <c:v>0.6261807068388003</c:v>
                </c:pt>
                <c:pt idx="7">
                  <c:v>0.5643362030624133</c:v>
                </c:pt>
                <c:pt idx="8">
                  <c:v>0.6141975778546713</c:v>
                </c:pt>
                <c:pt idx="9">
                  <c:v>0.6750078476686249</c:v>
                </c:pt>
                <c:pt idx="10">
                  <c:v>0.54499335668559</c:v>
                </c:pt>
                <c:pt idx="11">
                  <c:v>0.46674703930905126</c:v>
                </c:pt>
                <c:pt idx="12">
                  <c:v>0.4096140333684494</c:v>
                </c:pt>
                <c:pt idx="13">
                  <c:v>0.38024544980523267</c:v>
                </c:pt>
                <c:pt idx="14">
                  <c:v>0.4030465519823927</c:v>
                </c:pt>
                <c:pt idx="15">
                  <c:v>0.4058092985937881</c:v>
                </c:pt>
                <c:pt idx="16">
                  <c:v>0.4040819003656078</c:v>
                </c:pt>
                <c:pt idx="17">
                  <c:v>0.44045102085143356</c:v>
                </c:pt>
                <c:pt idx="18">
                  <c:v>0.3719504465307992</c:v>
                </c:pt>
                <c:pt idx="19">
                  <c:v>0.4056458089637008</c:v>
                </c:pt>
                <c:pt idx="20">
                  <c:v>0.4028307220048287</c:v>
                </c:pt>
                <c:pt idx="21">
                  <c:v>0.3942943257182277</c:v>
                </c:pt>
                <c:pt idx="22">
                  <c:v>0.4337060648801129</c:v>
                </c:pt>
                <c:pt idx="23">
                  <c:v>0.46213713798977857</c:v>
                </c:pt>
                <c:pt idx="24">
                  <c:v>0.501957982585635</c:v>
                </c:pt>
                <c:pt idx="25">
                  <c:v>0.4719784568616788</c:v>
                </c:pt>
                <c:pt idx="26">
                  <c:v>0.5798155225791112</c:v>
                </c:pt>
                <c:pt idx="27">
                  <c:v>0.4494495861754956</c:v>
                </c:pt>
                <c:pt idx="28">
                  <c:v>0.532496275119557</c:v>
                </c:pt>
                <c:pt idx="29">
                  <c:v>0.5238176645465861</c:v>
                </c:pt>
                <c:pt idx="30">
                  <c:v>0.7092817109870619</c:v>
                </c:pt>
                <c:pt idx="31">
                  <c:v>0.6945315568395793</c:v>
                </c:pt>
                <c:pt idx="32">
                  <c:v>0.6618730174089913</c:v>
                </c:pt>
                <c:pt idx="33">
                  <c:v>0.5810765506968827</c:v>
                </c:pt>
                <c:pt idx="34">
                  <c:v>0.7823876212446864</c:v>
                </c:pt>
                <c:pt idx="35">
                  <c:v>0.576532305315637</c:v>
                </c:pt>
                <c:pt idx="36">
                  <c:v>0.5423696576903195</c:v>
                </c:pt>
                <c:pt idx="37">
                  <c:v>0.3415755454065071</c:v>
                </c:pt>
                <c:pt idx="38">
                  <c:v>0.2659795706103421</c:v>
                </c:pt>
                <c:pt idx="39">
                  <c:v>0.4127623273556298</c:v>
                </c:pt>
                <c:pt idx="40">
                  <c:v>0.354583524604939</c:v>
                </c:pt>
                <c:pt idx="41">
                  <c:v>0.4046453611379373</c:v>
                </c:pt>
                <c:pt idx="42">
                  <c:v>0.45601846508018246</c:v>
                </c:pt>
                <c:pt idx="43">
                  <c:v>0.41981829402141424</c:v>
                </c:pt>
                <c:pt idx="44">
                  <c:v>0.40535194352352266</c:v>
                </c:pt>
                <c:pt idx="45">
                  <c:v>0.4739039463364776</c:v>
                </c:pt>
                <c:pt idx="46">
                  <c:v>0.405971047262076</c:v>
                </c:pt>
                <c:pt idx="47">
                  <c:v>0.3006651275042889</c:v>
                </c:pt>
                <c:pt idx="48">
                  <c:v>0.4334072169681389</c:v>
                </c:pt>
                <c:pt idx="49">
                  <c:v>0.5750595472865506</c:v>
                </c:pt>
                <c:pt idx="50">
                  <c:v>0.5298893686387428</c:v>
                </c:pt>
                <c:pt idx="51">
                  <c:v>0.6225875974386805</c:v>
                </c:pt>
              </c:numCache>
            </c:numRef>
          </c:xVal>
          <c:yVal>
            <c:numRef>
              <c:f>Sheet1!$B$60:$B$111</c:f>
              <c:numCache>
                <c:formatCode>General</c:formatCode>
                <c:ptCount val="52"/>
                <c:pt idx="0">
                  <c:v>0.3333333333333333</c:v>
                </c:pt>
                <c:pt idx="1">
                  <c:v>0.75</c:v>
                </c:pt>
                <c:pt idx="2">
                  <c:v>0.8571428571428571</c:v>
                </c:pt>
                <c:pt idx="3">
                  <c:v>0.8311688311688312</c:v>
                </c:pt>
                <c:pt idx="4">
                  <c:v>0.8188976377952756</c:v>
                </c:pt>
                <c:pt idx="5">
                  <c:v>0.8571428571428571</c:v>
                </c:pt>
                <c:pt idx="6">
                  <c:v>0.8404255319148937</c:v>
                </c:pt>
                <c:pt idx="7">
                  <c:v>0.9133858267716536</c:v>
                </c:pt>
                <c:pt idx="8">
                  <c:v>0.71875</c:v>
                </c:pt>
                <c:pt idx="9">
                  <c:v>0.703125</c:v>
                </c:pt>
                <c:pt idx="10">
                  <c:v>0.7441860465116279</c:v>
                </c:pt>
                <c:pt idx="11">
                  <c:v>0.7787610619469026</c:v>
                </c:pt>
                <c:pt idx="12">
                  <c:v>0.8031496062992126</c:v>
                </c:pt>
                <c:pt idx="13">
                  <c:v>0.8235294117647058</c:v>
                </c:pt>
                <c:pt idx="14">
                  <c:v>0.8285714285714286</c:v>
                </c:pt>
                <c:pt idx="15">
                  <c:v>0.8023255813953488</c:v>
                </c:pt>
                <c:pt idx="16">
                  <c:v>0.7710843373493976</c:v>
                </c:pt>
                <c:pt idx="17">
                  <c:v>0.8666666666666667</c:v>
                </c:pt>
                <c:pt idx="18">
                  <c:v>0.75</c:v>
                </c:pt>
                <c:pt idx="19">
                  <c:v>0.7076923076923077</c:v>
                </c:pt>
                <c:pt idx="20">
                  <c:v>0.6938775510204082</c:v>
                </c:pt>
                <c:pt idx="21">
                  <c:v>0.6</c:v>
                </c:pt>
                <c:pt idx="22">
                  <c:v>0.5806451612903226</c:v>
                </c:pt>
                <c:pt idx="23">
                  <c:v>0.47058823529411764</c:v>
                </c:pt>
                <c:pt idx="24">
                  <c:v>0.3958333333333333</c:v>
                </c:pt>
                <c:pt idx="25">
                  <c:v>0.42857142857142855</c:v>
                </c:pt>
                <c:pt idx="26">
                  <c:v>0.3392857142857143</c:v>
                </c:pt>
                <c:pt idx="27">
                  <c:v>0.38461538461538464</c:v>
                </c:pt>
                <c:pt idx="28">
                  <c:v>0.37777777777777777</c:v>
                </c:pt>
                <c:pt idx="29">
                  <c:v>0.3076923076923077</c:v>
                </c:pt>
                <c:pt idx="30">
                  <c:v>0.22807017543859648</c:v>
                </c:pt>
                <c:pt idx="31">
                  <c:v>0.17391304347826086</c:v>
                </c:pt>
                <c:pt idx="32">
                  <c:v>0.2909090909090909</c:v>
                </c:pt>
                <c:pt idx="33">
                  <c:v>0.4482758620689655</c:v>
                </c:pt>
                <c:pt idx="34">
                  <c:v>0.34408602150537637</c:v>
                </c:pt>
                <c:pt idx="35">
                  <c:v>0.26881720430107525</c:v>
                </c:pt>
                <c:pt idx="36">
                  <c:v>0.32</c:v>
                </c:pt>
                <c:pt idx="37">
                  <c:v>0.5121951219512195</c:v>
                </c:pt>
                <c:pt idx="38">
                  <c:v>0.4918032786885246</c:v>
                </c:pt>
                <c:pt idx="39">
                  <c:v>0.375</c:v>
                </c:pt>
                <c:pt idx="40">
                  <c:v>0.21428571428571427</c:v>
                </c:pt>
                <c:pt idx="41">
                  <c:v>0.17682926829268292</c:v>
                </c:pt>
                <c:pt idx="42">
                  <c:v>0.22972972972972974</c:v>
                </c:pt>
                <c:pt idx="43">
                  <c:v>0.11224489795918367</c:v>
                </c:pt>
                <c:pt idx="44">
                  <c:v>0.06363636363636363</c:v>
                </c:pt>
                <c:pt idx="45">
                  <c:v>0.2222222222222222</c:v>
                </c:pt>
                <c:pt idx="46">
                  <c:v>0.20535714285714285</c:v>
                </c:pt>
                <c:pt idx="47">
                  <c:v>0.27058823529411763</c:v>
                </c:pt>
                <c:pt idx="48">
                  <c:v>0.2916666666666667</c:v>
                </c:pt>
                <c:pt idx="49">
                  <c:v>0.2727272727272727</c:v>
                </c:pt>
                <c:pt idx="50">
                  <c:v>0.2545454545454545</c:v>
                </c:pt>
                <c:pt idx="51">
                  <c:v>0.1836734693877551</c:v>
                </c:pt>
              </c:numCache>
            </c:numRef>
          </c:yVal>
          <c:smooth val="0"/>
          <c:extLst>
            <c:ext xmlns:c16="http://schemas.microsoft.com/office/drawing/2014/chart" uri="{C3380CC4-5D6E-409C-BE32-E72D297353CC}">
              <c16:uniqueId val="{00000002-096C-4121-9522-6AB7243CCAAE}"/>
            </c:ext>
          </c:extLst>
        </c:ser>
        <c:ser>
          <c:idx val="2"/>
          <c:order val="2"/>
          <c:tx>
            <c:strRef>
              <c:f>Sheet1!$B$1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4:$A$115</c:f>
              <c:numCache>
                <c:formatCode>General</c:formatCode>
                <c:ptCount val="2"/>
                <c:pt idx="0">
                  <c:v>0</c:v>
                </c:pt>
                <c:pt idx="1">
                  <c:v>-10.311940446376962</c:v>
                </c:pt>
              </c:numCache>
            </c:numRef>
          </c:xVal>
          <c:yVal>
            <c:numRef>
              <c:f>Sheet1!$B$114:$B$115</c:f>
              <c:numCache>
                <c:formatCode>General</c:formatCode>
                <c:ptCount val="2"/>
                <c:pt idx="0">
                  <c:v>0.7594591537860005</c:v>
                </c:pt>
                <c:pt idx="1">
                  <c:v>0.7594591537860005</c:v>
                </c:pt>
              </c:numCache>
            </c:numRef>
          </c:yVal>
          <c:smooth val="0"/>
          <c:extLst>
            <c:ext xmlns:c16="http://schemas.microsoft.com/office/drawing/2014/chart" uri="{C3380CC4-5D6E-409C-BE32-E72D297353CC}">
              <c16:uniqueId val="{00000005-096C-4121-9522-6AB7243CCAAE}"/>
            </c:ext>
          </c:extLst>
        </c:ser>
        <c:ser>
          <c:idx val="3"/>
          <c:order val="3"/>
          <c:tx>
            <c:strRef>
              <c:f>Sheet1!$B$1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8:$A$119</c:f>
              <c:numCache>
                <c:formatCode>General</c:formatCode>
                <c:ptCount val="2"/>
                <c:pt idx="0">
                  <c:v>-10.311940446376962</c:v>
                </c:pt>
                <c:pt idx="1">
                  <c:v>-10.311940446376962</c:v>
                </c:pt>
              </c:numCache>
            </c:numRef>
          </c:xVal>
          <c:yVal>
            <c:numRef>
              <c:f>Sheet1!$B$118:$B$119</c:f>
              <c:numCache>
                <c:formatCode>General</c:formatCode>
                <c:ptCount val="2"/>
                <c:pt idx="0">
                  <c:v>0.75945915378600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2:$A$123</c:f>
              <c:numCache>
                <c:formatCode>General</c:formatCode>
                <c:ptCount val="2"/>
                <c:pt idx="0">
                  <c:v>0</c:v>
                </c:pt>
                <c:pt idx="1">
                  <c:v>-10.70705040850965</c:v>
                </c:pt>
              </c:numCache>
            </c:numRef>
          </c:xVal>
          <c:yVal>
            <c:numRef>
              <c:f>Sheet1!$B$122:$B$123</c:f>
              <c:numCache>
                <c:formatCode>General</c:formatCode>
                <c:ptCount val="2"/>
                <c:pt idx="0">
                  <c:v>0.7689163194744113</c:v>
                </c:pt>
                <c:pt idx="1">
                  <c:v>0.7689163194744113</c:v>
                </c:pt>
              </c:numCache>
            </c:numRef>
          </c:yVal>
          <c:smooth val="0"/>
          <c:extLst>
            <c:ext xmlns:c16="http://schemas.microsoft.com/office/drawing/2014/chart" uri="{C3380CC4-5D6E-409C-BE32-E72D297353CC}">
              <c16:uniqueId val="{0000000D-096C-4121-9522-6AB7243CCAAE}"/>
            </c:ext>
          </c:extLst>
        </c:ser>
        <c:ser>
          <c:idx val="5"/>
          <c:order val="5"/>
          <c:tx>
            <c:strRef>
              <c:f>Sheet1!$B$1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10.70705040850965</c:v>
                </c:pt>
                <c:pt idx="1">
                  <c:v>-10.70705040850965</c:v>
                </c:pt>
              </c:numCache>
            </c:numRef>
          </c:xVal>
          <c:yVal>
            <c:numRef>
              <c:f>Sheet1!$B$126:$B$127</c:f>
              <c:numCache>
                <c:formatCode>General</c:formatCode>
                <c:ptCount val="2"/>
                <c:pt idx="0">
                  <c:v>0.768916319474411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9</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0:$A$131</c:f>
              <c:numCache>
                <c:formatCode>General</c:formatCode>
                <c:ptCount val="2"/>
                <c:pt idx="0">
                  <c:v>0</c:v>
                </c:pt>
                <c:pt idx="1">
                  <c:v>12.185875892141693</c:v>
                </c:pt>
              </c:numCache>
            </c:numRef>
          </c:xVal>
          <c:yVal>
            <c:numRef>
              <c:f>Sheet1!$B$130:$B$131</c:f>
              <c:numCache>
                <c:formatCode>General</c:formatCode>
                <c:ptCount val="2"/>
                <c:pt idx="0">
                  <c:v>0.22096203366186967</c:v>
                </c:pt>
                <c:pt idx="1">
                  <c:v>0.22096203366186967</c:v>
                </c:pt>
              </c:numCache>
            </c:numRef>
          </c:yVal>
          <c:smooth val="0"/>
          <c:extLst>
            <c:ext xmlns:c16="http://schemas.microsoft.com/office/drawing/2014/chart" uri="{C3380CC4-5D6E-409C-BE32-E72D297353CC}">
              <c16:uniqueId val="{00000015-096C-4121-9522-6AB7243CCAAE}"/>
            </c:ext>
          </c:extLst>
        </c:ser>
        <c:ser>
          <c:idx val="7"/>
          <c:order val="7"/>
          <c:tx>
            <c:strRef>
              <c:f>Sheet1!$B$133</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12.185875892141693</c:v>
                </c:pt>
                <c:pt idx="1">
                  <c:v>12.185875892141693</c:v>
                </c:pt>
              </c:numCache>
            </c:numRef>
          </c:xVal>
          <c:yVal>
            <c:numRef>
              <c:f>Sheet1!$B$134:$B$135</c:f>
              <c:numCache>
                <c:formatCode>General</c:formatCode>
                <c:ptCount val="2"/>
                <c:pt idx="0">
                  <c:v>0.2209620336618696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7</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8:$A$192</c:f>
              <c:numCache>
                <c:formatCode>General</c:formatCode>
                <c:ptCount val="55"/>
                <c:pt idx="0">
                  <c:v>0.7428991525294912</c:v>
                </c:pt>
                <c:pt idx="1">
                  <c:v>0.5998673270194341</c:v>
                </c:pt>
                <c:pt idx="2">
                  <c:v>0.6723863470176538</c:v>
                </c:pt>
                <c:pt idx="3">
                  <c:v>0.6150340261434474</c:v>
                </c:pt>
                <c:pt idx="4">
                  <c:v>0.6249606048578441</c:v>
                </c:pt>
                <c:pt idx="5">
                  <c:v>0.5813072587649883</c:v>
                </c:pt>
                <c:pt idx="6">
                  <c:v>0.6261807068388003</c:v>
                </c:pt>
                <c:pt idx="7">
                  <c:v>0.5643362030624133</c:v>
                </c:pt>
                <c:pt idx="8">
                  <c:v>0.6141975778546713</c:v>
                </c:pt>
                <c:pt idx="9">
                  <c:v>0.6750078476686249</c:v>
                </c:pt>
                <c:pt idx="10">
                  <c:v>0.54499335668559</c:v>
                </c:pt>
                <c:pt idx="11">
                  <c:v>0.46674703930905126</c:v>
                </c:pt>
                <c:pt idx="12">
                  <c:v>0.4096140333684494</c:v>
                </c:pt>
                <c:pt idx="13">
                  <c:v>0.38024544980523267</c:v>
                </c:pt>
                <c:pt idx="14">
                  <c:v>0.4030465519823927</c:v>
                </c:pt>
                <c:pt idx="15">
                  <c:v>0.4058092985937881</c:v>
                </c:pt>
                <c:pt idx="16">
                  <c:v>0.4040819003656078</c:v>
                </c:pt>
                <c:pt idx="17">
                  <c:v>0.44045102085143356</c:v>
                </c:pt>
                <c:pt idx="18">
                  <c:v>0.3719504465307992</c:v>
                </c:pt>
                <c:pt idx="19">
                  <c:v>0.4056458089637008</c:v>
                </c:pt>
                <c:pt idx="20">
                  <c:v>0.4028307220048287</c:v>
                </c:pt>
                <c:pt idx="21">
                  <c:v>0.3942943257182277</c:v>
                </c:pt>
                <c:pt idx="22">
                  <c:v>0.4337060648801129</c:v>
                </c:pt>
                <c:pt idx="23">
                  <c:v>0.46213713798977857</c:v>
                </c:pt>
                <c:pt idx="24">
                  <c:v>0.501957982585635</c:v>
                </c:pt>
                <c:pt idx="25">
                  <c:v>0.4719784568616788</c:v>
                </c:pt>
                <c:pt idx="26">
                  <c:v>0.5798155225791112</c:v>
                </c:pt>
                <c:pt idx="27">
                  <c:v>0.4494495861754956</c:v>
                </c:pt>
                <c:pt idx="28">
                  <c:v>0.532496275119557</c:v>
                </c:pt>
                <c:pt idx="29">
                  <c:v>0.5238176645465861</c:v>
                </c:pt>
                <c:pt idx="30">
                  <c:v>0.7092817109870619</c:v>
                </c:pt>
                <c:pt idx="31">
                  <c:v>0.6945315568395793</c:v>
                </c:pt>
                <c:pt idx="32">
                  <c:v>0.6618730174089913</c:v>
                </c:pt>
                <c:pt idx="33">
                  <c:v>0.5810765506968827</c:v>
                </c:pt>
                <c:pt idx="34">
                  <c:v>0.7823876212446864</c:v>
                </c:pt>
                <c:pt idx="35">
                  <c:v>0.576532305315637</c:v>
                </c:pt>
                <c:pt idx="36">
                  <c:v>0.5423696576903195</c:v>
                </c:pt>
                <c:pt idx="37">
                  <c:v>0.3415755454065071</c:v>
                </c:pt>
                <c:pt idx="38">
                  <c:v>0.2659795706103421</c:v>
                </c:pt>
                <c:pt idx="39">
                  <c:v>0.4127623273556298</c:v>
                </c:pt>
                <c:pt idx="40">
                  <c:v>0.354583524604939</c:v>
                </c:pt>
                <c:pt idx="41">
                  <c:v>0.4046453611379373</c:v>
                </c:pt>
                <c:pt idx="42">
                  <c:v>0.45601846508018246</c:v>
                </c:pt>
                <c:pt idx="43">
                  <c:v>0.41981829402141424</c:v>
                </c:pt>
                <c:pt idx="44">
                  <c:v>0.40535194352352266</c:v>
                </c:pt>
                <c:pt idx="45">
                  <c:v>0.4739039463364776</c:v>
                </c:pt>
                <c:pt idx="46">
                  <c:v>0.405971047262076</c:v>
                </c:pt>
                <c:pt idx="47">
                  <c:v>0.3006651275042889</c:v>
                </c:pt>
                <c:pt idx="48">
                  <c:v>0.4334072169681389</c:v>
                </c:pt>
                <c:pt idx="49">
                  <c:v>0.5750595472865506</c:v>
                </c:pt>
                <c:pt idx="50">
                  <c:v>0.5298893686387428</c:v>
                </c:pt>
                <c:pt idx="51">
                  <c:v>0.6225875974386805</c:v>
                </c:pt>
                <c:pt idx="52">
                  <c:v>-10.70705040850965</c:v>
                </c:pt>
                <c:pt idx="53">
                  <c:v>-10.311940446376962</c:v>
                </c:pt>
                <c:pt idx="54">
                  <c:v>12.185875892141693</c:v>
                </c:pt>
              </c:numCache>
            </c:numRef>
          </c:xVal>
          <c:yVal>
            <c:numRef>
              <c:f>Sheet1!$B$138:$B$192</c:f>
              <c:numCache>
                <c:formatCode>General</c:formatCode>
                <c:ptCount val="55"/>
                <c:pt idx="0">
                  <c:v>0.4948557274857707</c:v>
                </c:pt>
                <c:pt idx="1">
                  <c:v>0.4982792697960256</c:v>
                </c:pt>
                <c:pt idx="2">
                  <c:v>0.49654348873907006</c:v>
                </c:pt>
                <c:pt idx="3">
                  <c:v>0.49791624683961155</c:v>
                </c:pt>
                <c:pt idx="4">
                  <c:v>0.4976786489336656</c:v>
                </c:pt>
                <c:pt idx="5">
                  <c:v>0.4987235148353637</c:v>
                </c:pt>
                <c:pt idx="6">
                  <c:v>0.4976494451481463</c:v>
                </c:pt>
                <c:pt idx="7">
                  <c:v>0.4991297260197646</c:v>
                </c:pt>
                <c:pt idx="8">
                  <c:v>0.4979362676713163</c:v>
                </c:pt>
                <c:pt idx="9">
                  <c:v>0.4964807417359961</c:v>
                </c:pt>
                <c:pt idx="10">
                  <c:v>0.49959270726701965</c:v>
                </c:pt>
                <c:pt idx="11">
                  <c:v>0.5014655742125749</c:v>
                </c:pt>
                <c:pt idx="12">
                  <c:v>0.502833082894312</c:v>
                </c:pt>
                <c:pt idx="13">
                  <c:v>0.5035360354579277</c:v>
                </c:pt>
                <c:pt idx="14">
                  <c:v>0.5029902790310234</c:v>
                </c:pt>
                <c:pt idx="15">
                  <c:v>0.5029241512312635</c:v>
                </c:pt>
                <c:pt idx="16">
                  <c:v>0.5029654974204752</c:v>
                </c:pt>
                <c:pt idx="17">
                  <c:v>0.5020949833070885</c:v>
                </c:pt>
                <c:pt idx="18">
                  <c:v>0.503734580743723</c:v>
                </c:pt>
                <c:pt idx="19">
                  <c:v>0.5029280644419346</c:v>
                </c:pt>
                <c:pt idx="20">
                  <c:v>0.5029954450355639</c:v>
                </c:pt>
                <c:pt idx="21">
                  <c:v>0.5031997681906384</c:v>
                </c:pt>
                <c:pt idx="22">
                  <c:v>0.5022564273917617</c:v>
                </c:pt>
                <c:pt idx="23">
                  <c:v>0.5015759146361579</c:v>
                </c:pt>
                <c:pt idx="24">
                  <c:v>0.5006227816825803</c:v>
                </c:pt>
                <c:pt idx="25">
                  <c:v>0.5013403574695867</c:v>
                </c:pt>
                <c:pt idx="26">
                  <c:v>0.49875922032908776</c:v>
                </c:pt>
                <c:pt idx="27">
                  <c:v>0.5018795978919288</c:v>
                </c:pt>
                <c:pt idx="28">
                  <c:v>0.4998918315167693</c:v>
                </c:pt>
                <c:pt idx="29">
                  <c:v>0.5000995586459228</c:v>
                </c:pt>
                <c:pt idx="30">
                  <c:v>0.4956603787098784</c:v>
                </c:pt>
                <c:pt idx="31">
                  <c:v>0.49601343144220994</c:v>
                </c:pt>
                <c:pt idx="32">
                  <c:v>0.4967951308376629</c:v>
                </c:pt>
                <c:pt idx="33">
                  <c:v>0.49872903695486165</c:v>
                </c:pt>
                <c:pt idx="34">
                  <c:v>0.49391055012449775</c:v>
                </c:pt>
                <c:pt idx="35">
                  <c:v>0.4988378058688806</c:v>
                </c:pt>
                <c:pt idx="36">
                  <c:v>0.49965550688862587</c:v>
                </c:pt>
                <c:pt idx="37">
                  <c:v>0.5044616200498214</c:v>
                </c:pt>
                <c:pt idx="38">
                  <c:v>0.5062710496454846</c:v>
                </c:pt>
                <c:pt idx="39">
                  <c:v>0.5027577268144199</c:v>
                </c:pt>
                <c:pt idx="40">
                  <c:v>0.5041502671953225</c:v>
                </c:pt>
                <c:pt idx="41">
                  <c:v>0.5029520106892016</c:v>
                </c:pt>
                <c:pt idx="42">
                  <c:v>0.5017223683048706</c:v>
                </c:pt>
                <c:pt idx="43">
                  <c:v>0.5025888385244612</c:v>
                </c:pt>
                <c:pt idx="44">
                  <c:v>0.5029350982665005</c:v>
                </c:pt>
                <c:pt idx="45">
                  <c:v>0.5012942698617314</c:v>
                </c:pt>
                <c:pt idx="46">
                  <c:v>0.5029202796914328</c:v>
                </c:pt>
                <c:pt idx="47">
                  <c:v>0.5054408325161309</c:v>
                </c:pt>
                <c:pt idx="48">
                  <c:v>0.5022635804744223</c:v>
                </c:pt>
                <c:pt idx="49">
                  <c:v>0.4988730571103953</c:v>
                </c:pt>
                <c:pt idx="50">
                  <c:v>0.49995422920067023</c:v>
                </c:pt>
                <c:pt idx="51">
                  <c:v>0.4977354481199522</c:v>
                </c:pt>
                <c:pt idx="52">
                  <c:v>0.7689163194744113</c:v>
                </c:pt>
                <c:pt idx="53">
                  <c:v>0.7594591537860005</c:v>
                </c:pt>
                <c:pt idx="54">
                  <c:v>0.2209620336618696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739130434782608"/>
          <c:min val="0.05090909090909090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7</c:f>
              <c:numCache>
                <c:formatCode>General</c:formatCode>
                <c:ptCount val="56"/>
                <c:pt idx="0">
                  <c:v>1250.2889</c:v>
                </c:pt>
                <c:pt idx="1">
                  <c:v>1047.7204</c:v>
                </c:pt>
                <c:pt idx="2">
                  <c:v>1341.3077</c:v>
                </c:pt>
                <c:pt idx="3">
                  <c:v>1282.0</c:v>
                </c:pt>
                <c:pt idx="4">
                  <c:v>1369.7647</c:v>
                </c:pt>
                <c:pt idx="5">
                  <c:v>1429.6667</c:v>
                </c:pt>
                <c:pt idx="6">
                  <c:v>1491.1111</c:v>
                </c:pt>
                <c:pt idx="7">
                  <c:v>1079.3913</c:v>
                </c:pt>
                <c:pt idx="8">
                  <c:v>1115.2115</c:v>
                </c:pt>
                <c:pt idx="9">
                  <c:v>1032.7805</c:v>
                </c:pt>
                <c:pt idx="10">
                  <c:v>1148.4058</c:v>
                </c:pt>
                <c:pt idx="11">
                  <c:v>1300.5844</c:v>
                </c:pt>
                <c:pt idx="12">
                  <c:v>1411.0</c:v>
                </c:pt>
                <c:pt idx="13">
                  <c:v>1179.6304</c:v>
                </c:pt>
                <c:pt idx="14">
                  <c:v>1375.1944</c:v>
                </c:pt>
                <c:pt idx="15">
                  <c:v>1405.8235</c:v>
                </c:pt>
                <c:pt idx="16">
                  <c:v>1445.3462</c:v>
                </c:pt>
                <c:pt idx="17">
                  <c:v>1241.2</c:v>
                </c:pt>
                <c:pt idx="18">
                  <c:v>1210.1333</c:v>
                </c:pt>
                <c:pt idx="19">
                  <c:v>1136.0889</c:v>
                </c:pt>
                <c:pt idx="20">
                  <c:v>1426.3333</c:v>
                </c:pt>
                <c:pt idx="21">
                  <c:v>1076.7692</c:v>
                </c:pt>
                <c:pt idx="22">
                  <c:v>964.3889</c:v>
                </c:pt>
                <c:pt idx="23">
                  <c:v>932.5385</c:v>
                </c:pt>
                <c:pt idx="24">
                  <c:v>757.65</c:v>
                </c:pt>
                <c:pt idx="25">
                  <c:v>893.0278</c:v>
                </c:pt>
                <c:pt idx="26">
                  <c:v>830.2813</c:v>
                </c:pt>
                <c:pt idx="27">
                  <c:v>926.44</c:v>
                </c:pt>
                <c:pt idx="28">
                  <c:v>1001.4762</c:v>
                </c:pt>
                <c:pt idx="29">
                  <c:v>899.2712</c:v>
                </c:pt>
                <c:pt idx="30">
                  <c:v>1159.1818</c:v>
                </c:pt>
                <c:pt idx="31">
                  <c:v>828.2222</c:v>
                </c:pt>
                <c:pt idx="32">
                  <c:v>1294.4615</c:v>
                </c:pt>
                <c:pt idx="33">
                  <c:v>1300.0</c:v>
                </c:pt>
                <c:pt idx="34">
                  <c:v>1232.0</c:v>
                </c:pt>
                <c:pt idx="35">
                  <c:v>1315.5</c:v>
                </c:pt>
                <c:pt idx="36">
                  <c:v>1223.0</c:v>
                </c:pt>
                <c:pt idx="37">
                  <c:v>1214.75</c:v>
                </c:pt>
                <c:pt idx="38">
                  <c:v>936.8472</c:v>
                </c:pt>
                <c:pt idx="39">
                  <c:v>1391.0</c:v>
                </c:pt>
                <c:pt idx="40">
                  <c:v>1492.7778</c:v>
                </c:pt>
                <c:pt idx="41">
                  <c:v>1415.8095</c:v>
                </c:pt>
                <c:pt idx="42">
                  <c:v>1530.3846</c:v>
                </c:pt>
                <c:pt idx="43">
                  <c:v>1437.3529</c:v>
                </c:pt>
                <c:pt idx="44">
                  <c:v>1411.9375</c:v>
                </c:pt>
                <c:pt idx="45">
                  <c:v>1432.1875</c:v>
                </c:pt>
                <c:pt idx="46">
                  <c:v>1668.1563</c:v>
                </c:pt>
                <c:pt idx="47">
                  <c:v>1314.8</c:v>
                </c:pt>
                <c:pt idx="48">
                  <c:v>1310.0</c:v>
                </c:pt>
                <c:pt idx="49">
                  <c:v>1239.4167</c:v>
                </c:pt>
                <c:pt idx="50">
                  <c:v>1292.2</c:v>
                </c:pt>
                <c:pt idx="51">
                  <c:v>1031.0446</c:v>
                </c:pt>
                <c:pt idx="52">
                  <c:v>1152.5517</c:v>
                </c:pt>
                <c:pt idx="53">
                  <c:v>951.3086</c:v>
                </c:pt>
                <c:pt idx="54">
                  <c:v>1120.2941</c:v>
                </c:pt>
                <c:pt idx="55">
                  <c:v>1359.3571</c:v>
                </c:pt>
              </c:numCache>
            </c:numRef>
          </c:xVal>
          <c:yVal>
            <c:numRef>
              <c:f>Sheet1!$B$2:$B$57</c:f>
              <c:numCache>
                <c:formatCode>General</c:formatCode>
                <c:ptCount val="56"/>
                <c:pt idx="0">
                  <c:v>0.9782608695652174</c:v>
                </c:pt>
                <c:pt idx="1">
                  <c:v>0.9029126213592233</c:v>
                </c:pt>
                <c:pt idx="2">
                  <c:v>0.4642857142857143</c:v>
                </c:pt>
                <c:pt idx="3">
                  <c:v>0.5</c:v>
                </c:pt>
                <c:pt idx="4">
                  <c:v>0.5151515151515151</c:v>
                </c:pt>
                <c:pt idx="5">
                  <c:v>0.5172413793103449</c:v>
                </c:pt>
                <c:pt idx="6">
                  <c:v>0.5806451612903226</c:v>
                </c:pt>
                <c:pt idx="7">
                  <c:v>0.7301587301587301</c:v>
                </c:pt>
                <c:pt idx="8">
                  <c:v>0.8253968253968254</c:v>
                </c:pt>
                <c:pt idx="9">
                  <c:v>0.845360824742268</c:v>
                </c:pt>
                <c:pt idx="10">
                  <c:v>0.8117647058823529</c:v>
                </c:pt>
                <c:pt idx="11">
                  <c:v>0.8850574712643678</c:v>
                </c:pt>
                <c:pt idx="12">
                  <c:v>0.75</c:v>
                </c:pt>
                <c:pt idx="13">
                  <c:v>0.7666666666666667</c:v>
                </c:pt>
                <c:pt idx="14">
                  <c:v>0.631578947368421</c:v>
                </c:pt>
                <c:pt idx="15">
                  <c:v>0.6296296296296297</c:v>
                </c:pt>
                <c:pt idx="16">
                  <c:v>0.5909090909090909</c:v>
                </c:pt>
                <c:pt idx="17">
                  <c:v>0.7</c:v>
                </c:pt>
                <c:pt idx="18">
                  <c:v>0.6818181818181818</c:v>
                </c:pt>
                <c:pt idx="19">
                  <c:v>0.7758620689655172</c:v>
                </c:pt>
                <c:pt idx="20">
                  <c:v>0.5714285714285714</c:v>
                </c:pt>
                <c:pt idx="21">
                  <c:v>0.5652173913043478</c:v>
                </c:pt>
                <c:pt idx="22">
                  <c:v>0.7659574468085106</c:v>
                </c:pt>
                <c:pt idx="23">
                  <c:v>0.75</c:v>
                </c:pt>
                <c:pt idx="24">
                  <c:v>0.7272727272727273</c:v>
                </c:pt>
                <c:pt idx="25">
                  <c:v>0.72</c:v>
                </c:pt>
                <c:pt idx="26">
                  <c:v>0.6956521739130435</c:v>
                </c:pt>
                <c:pt idx="27">
                  <c:v>0.7142857142857143</c:v>
                </c:pt>
                <c:pt idx="28">
                  <c:v>0.6363636363636364</c:v>
                </c:pt>
                <c:pt idx="29">
                  <c:v>0.8428571428571429</c:v>
                </c:pt>
                <c:pt idx="30">
                  <c:v>0.4782608695652174</c:v>
                </c:pt>
                <c:pt idx="31">
                  <c:v>0.6</c:v>
                </c:pt>
                <c:pt idx="32">
                  <c:v>0.34210526315789475</c:v>
                </c:pt>
                <c:pt idx="33">
                  <c:v>0.3142857142857143</c:v>
                </c:pt>
                <c:pt idx="34">
                  <c:v>0.38461538461538464</c:v>
                </c:pt>
                <c:pt idx="35">
                  <c:v>0.2727272727272727</c:v>
                </c:pt>
                <c:pt idx="36">
                  <c:v>0.5652173913043478</c:v>
                </c:pt>
                <c:pt idx="37">
                  <c:v>0.41025641025641024</c:v>
                </c:pt>
                <c:pt idx="38">
                  <c:v>0.7058823529411765</c:v>
                </c:pt>
                <c:pt idx="39">
                  <c:v>0.3508771929824561</c:v>
                </c:pt>
                <c:pt idx="40">
                  <c:v>0.4864864864864865</c:v>
                </c:pt>
                <c:pt idx="41">
                  <c:v>0.4666666666666667</c:v>
                </c:pt>
                <c:pt idx="42">
                  <c:v>0.30952380952380953</c:v>
                </c:pt>
                <c:pt idx="43">
                  <c:v>0.3148148148148148</c:v>
                </c:pt>
                <c:pt idx="44">
                  <c:v>0.32653061224489793</c:v>
                </c:pt>
                <c:pt idx="45">
                  <c:v>0.3076923076923077</c:v>
                </c:pt>
                <c:pt idx="46">
                  <c:v>0.6881720430107527</c:v>
                </c:pt>
                <c:pt idx="47">
                  <c:v>0.4166666666666667</c:v>
                </c:pt>
                <c:pt idx="48">
                  <c:v>0.46938775510204084</c:v>
                </c:pt>
                <c:pt idx="49">
                  <c:v>0.5454545454545454</c:v>
                </c:pt>
                <c:pt idx="50">
                  <c:v>0.603448275862069</c:v>
                </c:pt>
                <c:pt idx="51">
                  <c:v>0.8263157894736842</c:v>
                </c:pt>
                <c:pt idx="52">
                  <c:v>0.5</c:v>
                </c:pt>
                <c:pt idx="53">
                  <c:v>0.81</c:v>
                </c:pt>
                <c:pt idx="54">
                  <c:v>0.6071428571428571</c:v>
                </c:pt>
                <c:pt idx="55">
                  <c:v>0.3684210526315789</c:v>
                </c:pt>
              </c:numCache>
            </c:numRef>
          </c:yVal>
          <c:smooth val="0"/>
          <c:extLst>
            <c:ext xmlns:c16="http://schemas.microsoft.com/office/drawing/2014/chart" uri="{C3380CC4-5D6E-409C-BE32-E72D297353CC}">
              <c16:uniqueId val="{00000000-F32D-48B7-BC20-E66FC6253BAD}"/>
            </c:ext>
          </c:extLst>
        </c:ser>
        <c:ser>
          <c:idx val="1"/>
          <c:order val="1"/>
          <c:tx>
            <c:strRef>
              <c:f>Sheet1!$B$5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0:$A$111</c:f>
              <c:numCache>
                <c:formatCode>General</c:formatCode>
                <c:ptCount val="52"/>
                <c:pt idx="0">
                  <c:v>1432.0</c:v>
                </c:pt>
                <c:pt idx="1">
                  <c:v>1294.4762</c:v>
                </c:pt>
                <c:pt idx="2">
                  <c:v>1287.3509</c:v>
                </c:pt>
                <c:pt idx="3">
                  <c:v>1282.7344</c:v>
                </c:pt>
                <c:pt idx="4">
                  <c:v>1272.0865</c:v>
                </c:pt>
                <c:pt idx="5">
                  <c:v>1123.75</c:v>
                </c:pt>
                <c:pt idx="6">
                  <c:v>1174.5063</c:v>
                </c:pt>
                <c:pt idx="7">
                  <c:v>1041.6034</c:v>
                </c:pt>
                <c:pt idx="8">
                  <c:v>1242.5217</c:v>
                </c:pt>
                <c:pt idx="9">
                  <c:v>1297.7333</c:v>
                </c:pt>
                <c:pt idx="10">
                  <c:v>1128.0</c:v>
                </c:pt>
                <c:pt idx="11">
                  <c:v>921.3068</c:v>
                </c:pt>
                <c:pt idx="12">
                  <c:v>835.9608</c:v>
                </c:pt>
                <c:pt idx="13">
                  <c:v>774.8214</c:v>
                </c:pt>
                <c:pt idx="14">
                  <c:v>783.2874</c:v>
                </c:pt>
                <c:pt idx="15">
                  <c:v>805.058</c:v>
                </c:pt>
                <c:pt idx="16">
                  <c:v>823.0781</c:v>
                </c:pt>
                <c:pt idx="17">
                  <c:v>811.1346</c:v>
                </c:pt>
                <c:pt idx="18">
                  <c:v>812.1538</c:v>
                </c:pt>
                <c:pt idx="19">
                  <c:v>803.0435</c:v>
                </c:pt>
                <c:pt idx="20">
                  <c:v>798.5</c:v>
                </c:pt>
                <c:pt idx="21">
                  <c:v>885.8667</c:v>
                </c:pt>
                <c:pt idx="22">
                  <c:v>884.0556</c:v>
                </c:pt>
                <c:pt idx="23">
                  <c:v>922.3333</c:v>
                </c:pt>
                <c:pt idx="24">
                  <c:v>945.4737</c:v>
                </c:pt>
                <c:pt idx="25">
                  <c:v>896.4444</c:v>
                </c:pt>
                <c:pt idx="26">
                  <c:v>949.0526</c:v>
                </c:pt>
                <c:pt idx="27">
                  <c:v>906.8667</c:v>
                </c:pt>
                <c:pt idx="28">
                  <c:v>1017.5294</c:v>
                </c:pt>
                <c:pt idx="29">
                  <c:v>945.875</c:v>
                </c:pt>
                <c:pt idx="30">
                  <c:v>1203.0769</c:v>
                </c:pt>
                <c:pt idx="31">
                  <c:v>1124.5</c:v>
                </c:pt>
                <c:pt idx="32">
                  <c:v>1010.9375</c:v>
                </c:pt>
                <c:pt idx="33">
                  <c:v>1092.3077</c:v>
                </c:pt>
                <c:pt idx="34">
                  <c:v>1530.8125</c:v>
                </c:pt>
                <c:pt idx="35">
                  <c:v>1124.6</c:v>
                </c:pt>
                <c:pt idx="36">
                  <c:v>1131.8125</c:v>
                </c:pt>
                <c:pt idx="37">
                  <c:v>723.9762</c:v>
                </c:pt>
                <c:pt idx="38">
                  <c:v>581.2667</c:v>
                </c:pt>
                <c:pt idx="39">
                  <c:v>876.0667</c:v>
                </c:pt>
                <c:pt idx="40">
                  <c:v>737.6667</c:v>
                </c:pt>
                <c:pt idx="41">
                  <c:v>900.931</c:v>
                </c:pt>
                <c:pt idx="42">
                  <c:v>1023.2353</c:v>
                </c:pt>
                <c:pt idx="43">
                  <c:v>909.8182</c:v>
                </c:pt>
                <c:pt idx="44">
                  <c:v>883.619</c:v>
                </c:pt>
                <c:pt idx="45">
                  <c:v>1045.0</c:v>
                </c:pt>
                <c:pt idx="46">
                  <c:v>881.2174</c:v>
                </c:pt>
                <c:pt idx="47">
                  <c:v>646.2609</c:v>
                </c:pt>
                <c:pt idx="48">
                  <c:v>944.0476</c:v>
                </c:pt>
                <c:pt idx="49">
                  <c:v>1220.5</c:v>
                </c:pt>
                <c:pt idx="50">
                  <c:v>1149.4286</c:v>
                </c:pt>
                <c:pt idx="51">
                  <c:v>1258.7778</c:v>
                </c:pt>
              </c:numCache>
            </c:numRef>
          </c:xVal>
          <c:yVal>
            <c:numRef>
              <c:f>Sheet1!$B$60:$B$111</c:f>
              <c:numCache>
                <c:formatCode>General</c:formatCode>
                <c:ptCount val="52"/>
                <c:pt idx="0">
                  <c:v>0.3333333333333333</c:v>
                </c:pt>
                <c:pt idx="1">
                  <c:v>0.75</c:v>
                </c:pt>
                <c:pt idx="2">
                  <c:v>0.8571428571428571</c:v>
                </c:pt>
                <c:pt idx="3">
                  <c:v>0.8311688311688312</c:v>
                </c:pt>
                <c:pt idx="4">
                  <c:v>0.8188976377952756</c:v>
                </c:pt>
                <c:pt idx="5">
                  <c:v>0.8571428571428571</c:v>
                </c:pt>
                <c:pt idx="6">
                  <c:v>0.8404255319148937</c:v>
                </c:pt>
                <c:pt idx="7">
                  <c:v>0.9133858267716536</c:v>
                </c:pt>
                <c:pt idx="8">
                  <c:v>0.71875</c:v>
                </c:pt>
                <c:pt idx="9">
                  <c:v>0.703125</c:v>
                </c:pt>
                <c:pt idx="10">
                  <c:v>0.7441860465116279</c:v>
                </c:pt>
                <c:pt idx="11">
                  <c:v>0.7787610619469026</c:v>
                </c:pt>
                <c:pt idx="12">
                  <c:v>0.8031496062992126</c:v>
                </c:pt>
                <c:pt idx="13">
                  <c:v>0.8235294117647058</c:v>
                </c:pt>
                <c:pt idx="14">
                  <c:v>0.8285714285714286</c:v>
                </c:pt>
                <c:pt idx="15">
                  <c:v>0.8023255813953488</c:v>
                </c:pt>
                <c:pt idx="16">
                  <c:v>0.7710843373493976</c:v>
                </c:pt>
                <c:pt idx="17">
                  <c:v>0.8666666666666667</c:v>
                </c:pt>
                <c:pt idx="18">
                  <c:v>0.75</c:v>
                </c:pt>
                <c:pt idx="19">
                  <c:v>0.7076923076923077</c:v>
                </c:pt>
                <c:pt idx="20">
                  <c:v>0.6938775510204082</c:v>
                </c:pt>
                <c:pt idx="21">
                  <c:v>0.6</c:v>
                </c:pt>
                <c:pt idx="22">
                  <c:v>0.5806451612903226</c:v>
                </c:pt>
                <c:pt idx="23">
                  <c:v>0.47058823529411764</c:v>
                </c:pt>
                <c:pt idx="24">
                  <c:v>0.3958333333333333</c:v>
                </c:pt>
                <c:pt idx="25">
                  <c:v>0.42857142857142855</c:v>
                </c:pt>
                <c:pt idx="26">
                  <c:v>0.3392857142857143</c:v>
                </c:pt>
                <c:pt idx="27">
                  <c:v>0.38461538461538464</c:v>
                </c:pt>
                <c:pt idx="28">
                  <c:v>0.37777777777777777</c:v>
                </c:pt>
                <c:pt idx="29">
                  <c:v>0.3076923076923077</c:v>
                </c:pt>
                <c:pt idx="30">
                  <c:v>0.22807017543859648</c:v>
                </c:pt>
                <c:pt idx="31">
                  <c:v>0.17391304347826086</c:v>
                </c:pt>
                <c:pt idx="32">
                  <c:v>0.2909090909090909</c:v>
                </c:pt>
                <c:pt idx="33">
                  <c:v>0.4482758620689655</c:v>
                </c:pt>
                <c:pt idx="34">
                  <c:v>0.34408602150537637</c:v>
                </c:pt>
                <c:pt idx="35">
                  <c:v>0.26881720430107525</c:v>
                </c:pt>
                <c:pt idx="36">
                  <c:v>0.32</c:v>
                </c:pt>
                <c:pt idx="37">
                  <c:v>0.5121951219512195</c:v>
                </c:pt>
                <c:pt idx="38">
                  <c:v>0.4918032786885246</c:v>
                </c:pt>
                <c:pt idx="39">
                  <c:v>0.375</c:v>
                </c:pt>
                <c:pt idx="40">
                  <c:v>0.21428571428571427</c:v>
                </c:pt>
                <c:pt idx="41">
                  <c:v>0.17682926829268292</c:v>
                </c:pt>
                <c:pt idx="42">
                  <c:v>0.22972972972972974</c:v>
                </c:pt>
                <c:pt idx="43">
                  <c:v>0.11224489795918367</c:v>
                </c:pt>
                <c:pt idx="44">
                  <c:v>0.06363636363636363</c:v>
                </c:pt>
                <c:pt idx="45">
                  <c:v>0.2222222222222222</c:v>
                </c:pt>
                <c:pt idx="46">
                  <c:v>0.20535714285714285</c:v>
                </c:pt>
                <c:pt idx="47">
                  <c:v>0.27058823529411763</c:v>
                </c:pt>
                <c:pt idx="48">
                  <c:v>0.2916666666666667</c:v>
                </c:pt>
                <c:pt idx="49">
                  <c:v>0.2727272727272727</c:v>
                </c:pt>
                <c:pt idx="50">
                  <c:v>0.2545454545454545</c:v>
                </c:pt>
                <c:pt idx="51">
                  <c:v>0.1836734693877551</c:v>
                </c:pt>
              </c:numCache>
            </c:numRef>
          </c:yVal>
          <c:smooth val="0"/>
          <c:extLst>
            <c:ext xmlns:c16="http://schemas.microsoft.com/office/drawing/2014/chart" uri="{C3380CC4-5D6E-409C-BE32-E72D297353CC}">
              <c16:uniqueId val="{00000002-F32D-48B7-BC20-E66FC6253BAD}"/>
            </c:ext>
          </c:extLst>
        </c:ser>
        <c:ser>
          <c:idx val="2"/>
          <c:order val="2"/>
          <c:tx>
            <c:strRef>
              <c:f>Sheet1!$B$113</c:f>
              <c:strCache>
                <c:ptCount val="1"/>
                <c:pt idx="0">
                  <c:v>Custom Linep3yQ</c:v>
                </c:pt>
              </c:strCache>
            </c:strRef>
          </c:tx>
          <c:spPr>
            <a:ln w="19050" cap="rnd">
              <a:solidFill>
                <a:srgbClr val="C00000"/>
              </a:solidFill>
              <a:prstDash val="sysDot"/>
              <a:round/>
            </a:ln>
            <a:effectLst/>
          </c:spPr>
          <c:marker>
            <c:symbol val="none"/>
          </c:marker>
          <c:xVal>
            <c:numRef>
              <c:f>Sheet1!$A$114:$A$115</c:f>
              <c:numCache>
                <c:formatCode>General</c:formatCode>
                <c:ptCount val="2"/>
                <c:pt idx="0">
                  <c:v>0</c:v>
                </c:pt>
                <c:pt idx="1">
                  <c:v>-14399.566587690104</c:v>
                </c:pt>
              </c:numCache>
            </c:numRef>
          </c:xVal>
          <c:yVal>
            <c:numRef>
              <c:f>Sheet1!$B$114:$B$115</c:f>
              <c:numCache>
                <c:formatCode>General</c:formatCode>
                <c:ptCount val="2"/>
                <c:pt idx="0">
                  <c:v>0.7594591537860005</c:v>
                </c:pt>
                <c:pt idx="1">
                  <c:v>0.7594591537860005</c:v>
                </c:pt>
              </c:numCache>
            </c:numRef>
          </c:yVal>
          <c:smooth val="0"/>
          <c:extLst>
            <c:ext xmlns:c16="http://schemas.microsoft.com/office/drawing/2014/chart" uri="{C3380CC4-5D6E-409C-BE32-E72D297353CC}">
              <c16:uniqueId val="{00000003-F32D-48B7-BC20-E66FC6253BAD}"/>
            </c:ext>
          </c:extLst>
        </c:ser>
        <c:ser>
          <c:idx val="3"/>
          <c:order val="3"/>
          <c:tx>
            <c:strRef>
              <c:f>Sheet1!$B$1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8:$A$119</c:f>
              <c:numCache>
                <c:formatCode>General</c:formatCode>
                <c:ptCount val="2"/>
                <c:pt idx="0">
                  <c:v>-14399.566587690104</c:v>
                </c:pt>
                <c:pt idx="1">
                  <c:v>-14399.566587690104</c:v>
                </c:pt>
              </c:numCache>
            </c:numRef>
          </c:xVal>
          <c:yVal>
            <c:numRef>
              <c:f>Sheet1!$B$118:$B$119</c:f>
              <c:numCache>
                <c:formatCode>General</c:formatCode>
                <c:ptCount val="2"/>
                <c:pt idx="0">
                  <c:v>0.75945915378600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2:$A$123</c:f>
              <c:numCache>
                <c:formatCode>General</c:formatCode>
                <c:ptCount val="2"/>
                <c:pt idx="0">
                  <c:v>0</c:v>
                </c:pt>
                <c:pt idx="1">
                  <c:v>-14962.14360573921</c:v>
                </c:pt>
              </c:numCache>
            </c:numRef>
          </c:xVal>
          <c:yVal>
            <c:numRef>
              <c:f>Sheet1!$B$122:$B$123</c:f>
              <c:numCache>
                <c:formatCode>General</c:formatCode>
                <c:ptCount val="2"/>
                <c:pt idx="0">
                  <c:v>0.7689163194744113</c:v>
                </c:pt>
                <c:pt idx="1">
                  <c:v>0.7689163194744113</c:v>
                </c:pt>
              </c:numCache>
            </c:numRef>
          </c:yVal>
          <c:smooth val="0"/>
          <c:extLst>
            <c:ext xmlns:c16="http://schemas.microsoft.com/office/drawing/2014/chart" uri="{C3380CC4-5D6E-409C-BE32-E72D297353CC}">
              <c16:uniqueId val="{0000000A-F32D-48B7-BC20-E66FC6253BAD}"/>
            </c:ext>
          </c:extLst>
        </c:ser>
        <c:ser>
          <c:idx val="5"/>
          <c:order val="5"/>
          <c:tx>
            <c:strRef>
              <c:f>Sheet1!$B$1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14962.14360573921</c:v>
                </c:pt>
                <c:pt idx="1">
                  <c:v>-14962.14360573921</c:v>
                </c:pt>
              </c:numCache>
            </c:numRef>
          </c:xVal>
          <c:yVal>
            <c:numRef>
              <c:f>Sheet1!$B$126:$B$127</c:f>
              <c:numCache>
                <c:formatCode>General</c:formatCode>
                <c:ptCount val="2"/>
                <c:pt idx="0">
                  <c:v>0.768916319474411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9</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0:$A$131</c:f>
              <c:numCache>
                <c:formatCode>General</c:formatCode>
                <c:ptCount val="2"/>
                <c:pt idx="0">
                  <c:v>0</c:v>
                </c:pt>
                <c:pt idx="1">
                  <c:v>17633.932036396225</c:v>
                </c:pt>
              </c:numCache>
            </c:numRef>
          </c:xVal>
          <c:yVal>
            <c:numRef>
              <c:f>Sheet1!$B$130:$B$131</c:f>
              <c:numCache>
                <c:formatCode>General</c:formatCode>
                <c:ptCount val="2"/>
                <c:pt idx="0">
                  <c:v>0.22096203366186967</c:v>
                </c:pt>
                <c:pt idx="1">
                  <c:v>0.22096203366186967</c:v>
                </c:pt>
              </c:numCache>
            </c:numRef>
          </c:yVal>
          <c:smooth val="0"/>
          <c:extLst>
            <c:ext xmlns:c16="http://schemas.microsoft.com/office/drawing/2014/chart" uri="{C3380CC4-5D6E-409C-BE32-E72D297353CC}">
              <c16:uniqueId val="{00000011-F32D-48B7-BC20-E66FC6253BAD}"/>
            </c:ext>
          </c:extLst>
        </c:ser>
        <c:ser>
          <c:idx val="7"/>
          <c:order val="7"/>
          <c:tx>
            <c:strRef>
              <c:f>Sheet1!$B$133</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17633.932036396225</c:v>
                </c:pt>
                <c:pt idx="1">
                  <c:v>17633.932036396225</c:v>
                </c:pt>
              </c:numCache>
            </c:numRef>
          </c:xVal>
          <c:yVal>
            <c:numRef>
              <c:f>Sheet1!$B$134:$B$135</c:f>
              <c:numCache>
                <c:formatCode>General</c:formatCode>
                <c:ptCount val="2"/>
                <c:pt idx="0">
                  <c:v>0.2209620336618696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7</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8:$A$192</c:f>
              <c:numCache>
                <c:formatCode>General</c:formatCode>
                <c:ptCount val="55"/>
                <c:pt idx="0">
                  <c:v>1432.0</c:v>
                </c:pt>
                <c:pt idx="1">
                  <c:v>1294.4762</c:v>
                </c:pt>
                <c:pt idx="2">
                  <c:v>1287.3509</c:v>
                </c:pt>
                <c:pt idx="3">
                  <c:v>1282.7344</c:v>
                </c:pt>
                <c:pt idx="4">
                  <c:v>1272.0865</c:v>
                </c:pt>
                <c:pt idx="5">
                  <c:v>1123.75</c:v>
                </c:pt>
                <c:pt idx="6">
                  <c:v>1174.5063</c:v>
                </c:pt>
                <c:pt idx="7">
                  <c:v>1041.6034</c:v>
                </c:pt>
                <c:pt idx="8">
                  <c:v>1242.5217</c:v>
                </c:pt>
                <c:pt idx="9">
                  <c:v>1297.7333</c:v>
                </c:pt>
                <c:pt idx="10">
                  <c:v>1128.0</c:v>
                </c:pt>
                <c:pt idx="11">
                  <c:v>921.3068</c:v>
                </c:pt>
                <c:pt idx="12">
                  <c:v>835.9608</c:v>
                </c:pt>
                <c:pt idx="13">
                  <c:v>774.8214</c:v>
                </c:pt>
                <c:pt idx="14">
                  <c:v>783.2874</c:v>
                </c:pt>
                <c:pt idx="15">
                  <c:v>805.058</c:v>
                </c:pt>
                <c:pt idx="16">
                  <c:v>823.0781</c:v>
                </c:pt>
                <c:pt idx="17">
                  <c:v>811.1346</c:v>
                </c:pt>
                <c:pt idx="18">
                  <c:v>812.1538</c:v>
                </c:pt>
                <c:pt idx="19">
                  <c:v>803.0435</c:v>
                </c:pt>
                <c:pt idx="20">
                  <c:v>798.5</c:v>
                </c:pt>
                <c:pt idx="21">
                  <c:v>885.8667</c:v>
                </c:pt>
                <c:pt idx="22">
                  <c:v>884.0556</c:v>
                </c:pt>
                <c:pt idx="23">
                  <c:v>922.3333</c:v>
                </c:pt>
                <c:pt idx="24">
                  <c:v>945.4737</c:v>
                </c:pt>
                <c:pt idx="25">
                  <c:v>896.4444</c:v>
                </c:pt>
                <c:pt idx="26">
                  <c:v>949.0526</c:v>
                </c:pt>
                <c:pt idx="27">
                  <c:v>906.8667</c:v>
                </c:pt>
                <c:pt idx="28">
                  <c:v>1017.5294</c:v>
                </c:pt>
                <c:pt idx="29">
                  <c:v>945.875</c:v>
                </c:pt>
                <c:pt idx="30">
                  <c:v>1203.0769</c:v>
                </c:pt>
                <c:pt idx="31">
                  <c:v>1124.5</c:v>
                </c:pt>
                <c:pt idx="32">
                  <c:v>1010.9375</c:v>
                </c:pt>
                <c:pt idx="33">
                  <c:v>1092.3077</c:v>
                </c:pt>
                <c:pt idx="34">
                  <c:v>1530.8125</c:v>
                </c:pt>
                <c:pt idx="35">
                  <c:v>1124.6</c:v>
                </c:pt>
                <c:pt idx="36">
                  <c:v>1131.8125</c:v>
                </c:pt>
                <c:pt idx="37">
                  <c:v>723.9762</c:v>
                </c:pt>
                <c:pt idx="38">
                  <c:v>581.2667</c:v>
                </c:pt>
                <c:pt idx="39">
                  <c:v>876.0667</c:v>
                </c:pt>
                <c:pt idx="40">
                  <c:v>737.6667</c:v>
                </c:pt>
                <c:pt idx="41">
                  <c:v>900.931</c:v>
                </c:pt>
                <c:pt idx="42">
                  <c:v>1023.2353</c:v>
                </c:pt>
                <c:pt idx="43">
                  <c:v>909.8182</c:v>
                </c:pt>
                <c:pt idx="44">
                  <c:v>883.619</c:v>
                </c:pt>
                <c:pt idx="45">
                  <c:v>1045.0</c:v>
                </c:pt>
                <c:pt idx="46">
                  <c:v>881.2174</c:v>
                </c:pt>
                <c:pt idx="47">
                  <c:v>646.2609</c:v>
                </c:pt>
                <c:pt idx="48">
                  <c:v>944.0476</c:v>
                </c:pt>
                <c:pt idx="49">
                  <c:v>1220.5</c:v>
                </c:pt>
                <c:pt idx="50">
                  <c:v>1149.4286</c:v>
                </c:pt>
                <c:pt idx="51">
                  <c:v>1258.7778</c:v>
                </c:pt>
                <c:pt idx="52">
                  <c:v>-14962.14360573921</c:v>
                </c:pt>
                <c:pt idx="53">
                  <c:v>-14399.566587690104</c:v>
                </c:pt>
                <c:pt idx="54">
                  <c:v>17633.932036396225</c:v>
                </c:pt>
              </c:numCache>
            </c:numRef>
          </c:xVal>
          <c:yVal>
            <c:numRef>
              <c:f>Sheet1!$B$138:$B$192</c:f>
              <c:numCache>
                <c:formatCode>General</c:formatCode>
                <c:ptCount val="55"/>
                <c:pt idx="0">
                  <c:v>0.4933235963007402</c:v>
                </c:pt>
                <c:pt idx="1">
                  <c:v>0.49563543151791634</c:v>
                </c:pt>
                <c:pt idx="2">
                  <c:v>0.495755210926811</c:v>
                </c:pt>
                <c:pt idx="3">
                  <c:v>0.49583281631060705</c:v>
                </c:pt>
                <c:pt idx="4">
                  <c:v>0.49601181216593515</c:v>
                </c:pt>
                <c:pt idx="5">
                  <c:v>0.4985054135985065</c:v>
                </c:pt>
                <c:pt idx="6">
                  <c:v>0.4976521779997697</c:v>
                </c:pt>
                <c:pt idx="7">
                  <c:v>0.4998863338672257</c:v>
                </c:pt>
                <c:pt idx="8">
                  <c:v>0.49650880938262615</c:v>
                </c:pt>
                <c:pt idx="9">
                  <c:v>0.4955806782425861</c:v>
                </c:pt>
                <c:pt idx="10">
                  <c:v>0.4984339692399809</c:v>
                </c:pt>
                <c:pt idx="11">
                  <c:v>0.5019085723189449</c:v>
                </c:pt>
                <c:pt idx="12">
                  <c:v>0.5033432759007622</c:v>
                </c:pt>
                <c:pt idx="13">
                  <c:v>0.50437105595103</c:v>
                </c:pt>
                <c:pt idx="14">
                  <c:v>0.5042287387888471</c:v>
                </c:pt>
                <c:pt idx="15">
                  <c:v>0.5038627654825608</c:v>
                </c:pt>
                <c:pt idx="16">
                  <c:v>0.5035598397213686</c:v>
                </c:pt>
                <c:pt idx="17">
                  <c:v>0.5037606151792627</c:v>
                </c:pt>
                <c:pt idx="18">
                  <c:v>0.5037434819815665</c:v>
                </c:pt>
                <c:pt idx="19">
                  <c:v>0.5038966301085019</c:v>
                </c:pt>
                <c:pt idx="20">
                  <c:v>0.5039730083303751</c:v>
                </c:pt>
                <c:pt idx="21">
                  <c:v>0.5025043358979054</c:v>
                </c:pt>
                <c:pt idx="22">
                  <c:v>0.5025347812808997</c:v>
                </c:pt>
                <c:pt idx="23">
                  <c:v>0.5018913164050564</c:v>
                </c:pt>
                <c:pt idx="24">
                  <c:v>0.5015023161617563</c:v>
                </c:pt>
                <c:pt idx="25">
                  <c:v>0.5023265201352758</c:v>
                </c:pt>
                <c:pt idx="26">
                  <c:v>0.5014421532877029</c:v>
                </c:pt>
                <c:pt idx="27">
                  <c:v>0.5021513167146027</c:v>
                </c:pt>
                <c:pt idx="28">
                  <c:v>0.5002910283347891</c:v>
                </c:pt>
                <c:pt idx="29">
                  <c:v>0.5014955701332678</c:v>
                </c:pt>
                <c:pt idx="30">
                  <c:v>0.4971718937198425</c:v>
                </c:pt>
                <c:pt idx="31">
                  <c:v>0.4984928057705314</c:v>
                </c:pt>
                <c:pt idx="32">
                  <c:v>0.5004018410564278</c:v>
                </c:pt>
                <c:pt idx="33">
                  <c:v>0.4990339724112285</c:v>
                </c:pt>
                <c:pt idx="34">
                  <c:v>0.4916625149650207</c:v>
                </c:pt>
                <c:pt idx="35">
                  <c:v>0.49849112472680135</c:v>
                </c:pt>
                <c:pt idx="36">
                  <c:v>0.49836987944777417</c:v>
                </c:pt>
                <c:pt idx="37">
                  <c:v>0.5052257859976428</c:v>
                </c:pt>
                <c:pt idx="38">
                  <c:v>0.5076247950995263</c:v>
                </c:pt>
                <c:pt idx="39">
                  <c:v>0.5026690781834467</c:v>
                </c:pt>
                <c:pt idx="40">
                  <c:v>0.5049956427057853</c:v>
                </c:pt>
                <c:pt idx="41">
                  <c:v>0.502251098427285</c:v>
                </c:pt>
                <c:pt idx="42">
                  <c:v>0.5001951096605982</c:v>
                </c:pt>
                <c:pt idx="43">
                  <c:v>0.5021017007089112</c:v>
                </c:pt>
                <c:pt idx="44">
                  <c:v>0.502542120717825</c:v>
                </c:pt>
                <c:pt idx="45">
                  <c:v>0.49982923553589204</c:v>
                </c:pt>
                <c:pt idx="46">
                  <c:v>0.502582492664045</c:v>
                </c:pt>
                <c:pt idx="47">
                  <c:v>0.5065322141755539</c:v>
                </c:pt>
                <c:pt idx="48">
                  <c:v>0.5015262895263901</c:v>
                </c:pt>
                <c:pt idx="49">
                  <c:v>0.49687900378971855</c:v>
                </c:pt>
                <c:pt idx="50">
                  <c:v>0.49807374510325125</c:v>
                </c:pt>
                <c:pt idx="51">
                  <c:v>0.4962355372328315</c:v>
                </c:pt>
                <c:pt idx="52">
                  <c:v>0.7689163194744113</c:v>
                </c:pt>
                <c:pt idx="53">
                  <c:v>0.7594591537860005</c:v>
                </c:pt>
                <c:pt idx="54">
                  <c:v>0.220962033661869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16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739130434782608"/>
          <c:min val="0.05090909090909090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4</c:f>
              <c:numCache>
                <c:formatCode>General</c:formatCode>
                <c:ptCount val="103"/>
                <c:pt idx="0">
                  <c:v>0.7688809608540925</c:v>
                </c:pt>
                <c:pt idx="1">
                  <c:v>1.0137908372754734</c:v>
                </c:pt>
                <c:pt idx="2">
                  <c:v>0.9124392130781143</c:v>
                </c:pt>
                <c:pt idx="3">
                  <c:v>0.8800486801549132</c:v>
                </c:pt>
                <c:pt idx="4">
                  <c:v>0.7938904193198096</c:v>
                </c:pt>
                <c:pt idx="5">
                  <c:v>0.750079874378735</c:v>
                </c:pt>
                <c:pt idx="6">
                  <c:v>0.7507740544777581</c:v>
                </c:pt>
                <c:pt idx="7">
                  <c:v>0.8811087288135593</c:v>
                </c:pt>
                <c:pt idx="8">
                  <c:v>0.764764174421239</c:v>
                </c:pt>
                <c:pt idx="9">
                  <c:v>0.7024965495899738</c:v>
                </c:pt>
                <c:pt idx="10">
                  <c:v>0.6181120397428405</c:v>
                </c:pt>
                <c:pt idx="11">
                  <c:v>0.7107259129418639</c:v>
                </c:pt>
                <c:pt idx="12">
                  <c:v>0.9747054981397273</c:v>
                </c:pt>
                <c:pt idx="13">
                  <c:v>1.0256574171867499</c:v>
                </c:pt>
                <c:pt idx="14">
                  <c:v>0.7696412729658793</c:v>
                </c:pt>
                <c:pt idx="15">
                  <c:v>0.9519498013998551</c:v>
                </c:pt>
                <c:pt idx="16">
                  <c:v>0.5643755536626917</c:v>
                </c:pt>
                <c:pt idx="17">
                  <c:v>1.0130296495342</c:v>
                </c:pt>
                <c:pt idx="18">
                  <c:v>0.5816179990426041</c:v>
                </c:pt>
                <c:pt idx="19">
                  <c:v>1.0073001856304702</c:v>
                </c:pt>
                <c:pt idx="20">
                  <c:v>1.4899248783280847</c:v>
                </c:pt>
                <c:pt idx="21">
                  <c:v>0.7620381785063752</c:v>
                </c:pt>
                <c:pt idx="22">
                  <c:v>1.2697576396206534</c:v>
                </c:pt>
                <c:pt idx="23">
                  <c:v>1.4624451754385965</c:v>
                </c:pt>
                <c:pt idx="24">
                  <c:v>0.9207762050497322</c:v>
                </c:pt>
                <c:pt idx="25">
                  <c:v>0.9261050875729776</c:v>
                </c:pt>
                <c:pt idx="26">
                  <c:v>0.735331401666063</c:v>
                </c:pt>
                <c:pt idx="27">
                  <c:v>1.017864434463046</c:v>
                </c:pt>
                <c:pt idx="28">
                  <c:v>1.3672043010752688</c:v>
                </c:pt>
                <c:pt idx="29">
                  <c:v>1.5269981120201386</c:v>
                </c:pt>
                <c:pt idx="30">
                  <c:v>1.1383064516129033</c:v>
                </c:pt>
                <c:pt idx="31">
                  <c:v>1.402075741935484</c:v>
                </c:pt>
                <c:pt idx="32">
                  <c:v>0.9349265541740676</c:v>
                </c:pt>
                <c:pt idx="33">
                  <c:v>1.106424761904762</c:v>
                </c:pt>
                <c:pt idx="34">
                  <c:v>1.1106694936018568</c:v>
                </c:pt>
                <c:pt idx="35">
                  <c:v>1.0745641671917665</c:v>
                </c:pt>
                <c:pt idx="36">
                  <c:v>0.765898629032258</c:v>
                </c:pt>
                <c:pt idx="37">
                  <c:v>0.8955912337662337</c:v>
                </c:pt>
                <c:pt idx="38">
                  <c:v>1.5203814759036145</c:v>
                </c:pt>
                <c:pt idx="39">
                  <c:v>0.0</c:v>
                </c:pt>
                <c:pt idx="40">
                  <c:v>1.0728304368698993</c:v>
                </c:pt>
                <c:pt idx="41">
                  <c:v>0.6547931758530183</c:v>
                </c:pt>
                <c:pt idx="42">
                  <c:v>1.0945567627227162</c:v>
                </c:pt>
                <c:pt idx="43">
                  <c:v>0.8877551020408163</c:v>
                </c:pt>
                <c:pt idx="44">
                  <c:v>0.5126430167597765</c:v>
                </c:pt>
                <c:pt idx="45">
                  <c:v>1.35909604519774</c:v>
                </c:pt>
                <c:pt idx="46">
                  <c:v>1.4032147562582344</c:v>
                </c:pt>
                <c:pt idx="47">
                  <c:v>1.7165098666666667</c:v>
                </c:pt>
                <c:pt idx="48">
                  <c:v>1.15234</c:v>
                </c:pt>
                <c:pt idx="49">
                  <c:v>1.4063361073825502</c:v>
                </c:pt>
                <c:pt idx="50">
                  <c:v>0.0</c:v>
                </c:pt>
                <c:pt idx="51">
                  <c:v>0.0</c:v>
                </c:pt>
                <c:pt idx="52">
                  <c:v>5.33457723880597</c:v>
                </c:pt>
                <c:pt idx="53">
                  <c:v>8.745519648093842</c:v>
                </c:pt>
                <c:pt idx="54">
                  <c:v>0.0</c:v>
                </c:pt>
                <c:pt idx="55">
                  <c:v>0.0</c:v>
                </c:pt>
                <c:pt idx="56">
                  <c:v>1.698825147928994</c:v>
                </c:pt>
                <c:pt idx="57">
                  <c:v>0.0</c:v>
                </c:pt>
                <c:pt idx="58">
                  <c:v>1.276656277056277</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pt idx="80">
                  <c:v>0.0</c:v>
                </c:pt>
                <c:pt idx="81">
                  <c:v>0.0</c:v>
                </c:pt>
                <c:pt idx="82">
                  <c:v>0.0</c:v>
                </c:pt>
                <c:pt idx="83">
                  <c:v>0.8850168240343347</c:v>
                </c:pt>
                <c:pt idx="84">
                  <c:v>0.0</c:v>
                </c:pt>
                <c:pt idx="85">
                  <c:v>0.0</c:v>
                </c:pt>
                <c:pt idx="86">
                  <c:v>0.0</c:v>
                </c:pt>
                <c:pt idx="87">
                  <c:v>0.0</c:v>
                </c:pt>
                <c:pt idx="88">
                  <c:v>0.0</c:v>
                </c:pt>
                <c:pt idx="89">
                  <c:v>0.0</c:v>
                </c:pt>
                <c:pt idx="90">
                  <c:v>0.0</c:v>
                </c:pt>
                <c:pt idx="91">
                  <c:v>0.0</c:v>
                </c:pt>
                <c:pt idx="92">
                  <c:v>0.0</c:v>
                </c:pt>
                <c:pt idx="93">
                  <c:v>0.0</c:v>
                </c:pt>
                <c:pt idx="94">
                  <c:v>0.0</c:v>
                </c:pt>
                <c:pt idx="95">
                  <c:v>0.0</c:v>
                </c:pt>
                <c:pt idx="96">
                  <c:v>0.0</c:v>
                </c:pt>
                <c:pt idx="97">
                  <c:v>0.0</c:v>
                </c:pt>
                <c:pt idx="98">
                  <c:v>0.0</c:v>
                </c:pt>
                <c:pt idx="99">
                  <c:v>0.0</c:v>
                </c:pt>
                <c:pt idx="100">
                  <c:v>0.0</c:v>
                </c:pt>
                <c:pt idx="101">
                  <c:v>0.0</c:v>
                </c:pt>
                <c:pt idx="102">
                  <c:v>0.0</c:v>
                </c:pt>
              </c:numCache>
            </c:numRef>
          </c:xVal>
          <c:yVal>
            <c:numRef>
              <c:f>Sheet1!$B$2:$B$104</c:f>
              <c:numCache>
                <c:formatCode>General</c:formatCode>
                <c:ptCount val="103"/>
                <c:pt idx="0">
                  <c:v>0.65625</c:v>
                </c:pt>
                <c:pt idx="1">
                  <c:v>0.6285714285714286</c:v>
                </c:pt>
                <c:pt idx="2">
                  <c:v>0.717948717948718</c:v>
                </c:pt>
                <c:pt idx="3">
                  <c:v>0.6818181818181818</c:v>
                </c:pt>
                <c:pt idx="4">
                  <c:v>0.9178082191780822</c:v>
                </c:pt>
                <c:pt idx="5">
                  <c:v>0.9285714285714286</c:v>
                </c:pt>
                <c:pt idx="6">
                  <c:v>0.8974358974358975</c:v>
                </c:pt>
                <c:pt idx="7">
                  <c:v>0.8888888888888888</c:v>
                </c:pt>
                <c:pt idx="8">
                  <c:v>0.9090909090909091</c:v>
                </c:pt>
                <c:pt idx="9">
                  <c:v>0.8095238095238095</c:v>
                </c:pt>
                <c:pt idx="10">
                  <c:v>0.9285714285714286</c:v>
                </c:pt>
                <c:pt idx="11">
                  <c:v>0.9310344827586207</c:v>
                </c:pt>
                <c:pt idx="12">
                  <c:v>0.9411764705882353</c:v>
                </c:pt>
                <c:pt idx="13">
                  <c:v>0.9473684210526315</c:v>
                </c:pt>
                <c:pt idx="14">
                  <c:v>0.9090909090909091</c:v>
                </c:pt>
                <c:pt idx="15">
                  <c:v>0.9032258064516129</c:v>
                </c:pt>
                <c:pt idx="16">
                  <c:v>0.9285714285714286</c:v>
                </c:pt>
                <c:pt idx="17">
                  <c:v>0.7857142857142857</c:v>
                </c:pt>
                <c:pt idx="18">
                  <c:v>0.8181818181818182</c:v>
                </c:pt>
                <c:pt idx="19">
                  <c:v>0.6666666666666666</c:v>
                </c:pt>
                <c:pt idx="20">
                  <c:v>0.7647058823529411</c:v>
                </c:pt>
                <c:pt idx="21">
                  <c:v>0.9512195121951219</c:v>
                </c:pt>
                <c:pt idx="22">
                  <c:v>0.7142857142857143</c:v>
                </c:pt>
                <c:pt idx="23">
                  <c:v>0.8888888888888888</c:v>
                </c:pt>
                <c:pt idx="24">
                  <c:v>0.8461538461538461</c:v>
                </c:pt>
                <c:pt idx="25">
                  <c:v>0.9090909090909091</c:v>
                </c:pt>
                <c:pt idx="26">
                  <c:v>0.8</c:v>
                </c:pt>
                <c:pt idx="27">
                  <c:v>0.8</c:v>
                </c:pt>
                <c:pt idx="28">
                  <c:v>0.9230769230769231</c:v>
                </c:pt>
                <c:pt idx="29">
                  <c:v>0.8823529411764706</c:v>
                </c:pt>
                <c:pt idx="30">
                  <c:v>0.96</c:v>
                </c:pt>
                <c:pt idx="31">
                  <c:v>0.92</c:v>
                </c:pt>
                <c:pt idx="32">
                  <c:v>0.9565217391304348</c:v>
                </c:pt>
                <c:pt idx="33">
                  <c:v>0.9655172413793104</c:v>
                </c:pt>
                <c:pt idx="34">
                  <c:v>0.9117647058823529</c:v>
                </c:pt>
                <c:pt idx="35">
                  <c:v>0.7647058823529411</c:v>
                </c:pt>
                <c:pt idx="36">
                  <c:v>0.9545454545454546</c:v>
                </c:pt>
                <c:pt idx="37">
                  <c:v>0.95</c:v>
                </c:pt>
                <c:pt idx="38">
                  <c:v>0.9375</c:v>
                </c:pt>
                <c:pt idx="39">
                  <c:v>1.0</c:v>
                </c:pt>
                <c:pt idx="40">
                  <c:v>0.8947368421052632</c:v>
                </c:pt>
                <c:pt idx="41">
                  <c:v>0.8571428571428571</c:v>
                </c:pt>
                <c:pt idx="42">
                  <c:v>0.8421052631578947</c:v>
                </c:pt>
                <c:pt idx="43">
                  <c:v>0.9230769230769231</c:v>
                </c:pt>
                <c:pt idx="44">
                  <c:v>0.9882352941176471</c:v>
                </c:pt>
                <c:pt idx="45">
                  <c:v>0.9523809523809523</c:v>
                </c:pt>
                <c:pt idx="46">
                  <c:v>0.9615384615384616</c:v>
                </c:pt>
                <c:pt idx="47">
                  <c:v>0.9444444444444444</c:v>
                </c:pt>
                <c:pt idx="48">
                  <c:v>0.9782608695652174</c:v>
                </c:pt>
                <c:pt idx="49">
                  <c:v>0.9029126213592233</c:v>
                </c:pt>
                <c:pt idx="50">
                  <c:v>0.5</c:v>
                </c:pt>
                <c:pt idx="51">
                  <c:v>0.5151515151515151</c:v>
                </c:pt>
                <c:pt idx="52">
                  <c:v>0.5172413793103449</c:v>
                </c:pt>
                <c:pt idx="53">
                  <c:v>0.5806451612903226</c:v>
                </c:pt>
                <c:pt idx="54">
                  <c:v>0.7301587301587301</c:v>
                </c:pt>
                <c:pt idx="55">
                  <c:v>0.845360824742268</c:v>
                </c:pt>
                <c:pt idx="56">
                  <c:v>0.8117647058823529</c:v>
                </c:pt>
                <c:pt idx="57">
                  <c:v>0.8850574712643678</c:v>
                </c:pt>
                <c:pt idx="58">
                  <c:v>0.7666666666666667</c:v>
                </c:pt>
                <c:pt idx="59">
                  <c:v>0.5909090909090909</c:v>
                </c:pt>
                <c:pt idx="60">
                  <c:v>0.7</c:v>
                </c:pt>
                <c:pt idx="61">
                  <c:v>0.6818181818181818</c:v>
                </c:pt>
                <c:pt idx="62">
                  <c:v>0.5652173913043478</c:v>
                </c:pt>
                <c:pt idx="63">
                  <c:v>0.75</c:v>
                </c:pt>
                <c:pt idx="64">
                  <c:v>0.7272727272727273</c:v>
                </c:pt>
                <c:pt idx="65">
                  <c:v>0.72</c:v>
                </c:pt>
                <c:pt idx="66">
                  <c:v>0.6956521739130435</c:v>
                </c:pt>
                <c:pt idx="67">
                  <c:v>0.7142857142857143</c:v>
                </c:pt>
                <c:pt idx="68">
                  <c:v>0.6363636363636364</c:v>
                </c:pt>
                <c:pt idx="69">
                  <c:v>0.3142857142857143</c:v>
                </c:pt>
                <c:pt idx="70">
                  <c:v>0.38461538461538464</c:v>
                </c:pt>
                <c:pt idx="71">
                  <c:v>0.5652173913043478</c:v>
                </c:pt>
                <c:pt idx="72">
                  <c:v>0.41025641025641024</c:v>
                </c:pt>
                <c:pt idx="73">
                  <c:v>0.7058823529411765</c:v>
                </c:pt>
                <c:pt idx="74">
                  <c:v>0.3508771929824561</c:v>
                </c:pt>
                <c:pt idx="75">
                  <c:v>0.30952380952380953</c:v>
                </c:pt>
                <c:pt idx="76">
                  <c:v>0.3148148148148148</c:v>
                </c:pt>
                <c:pt idx="77">
                  <c:v>0.32653061224489793</c:v>
                </c:pt>
                <c:pt idx="78">
                  <c:v>0.6881720430107527</c:v>
                </c:pt>
                <c:pt idx="79">
                  <c:v>0.4166666666666667</c:v>
                </c:pt>
                <c:pt idx="80">
                  <c:v>0.46938775510204084</c:v>
                </c:pt>
                <c:pt idx="81">
                  <c:v>0.5454545454545454</c:v>
                </c:pt>
                <c:pt idx="82">
                  <c:v>0.603448275862069</c:v>
                </c:pt>
                <c:pt idx="83">
                  <c:v>0.8263157894736842</c:v>
                </c:pt>
                <c:pt idx="84">
                  <c:v>0.5</c:v>
                </c:pt>
                <c:pt idx="85">
                  <c:v>0.81</c:v>
                </c:pt>
                <c:pt idx="86">
                  <c:v>0.6071428571428571</c:v>
                </c:pt>
                <c:pt idx="87">
                  <c:v>0.3684210526315789</c:v>
                </c:pt>
                <c:pt idx="88">
                  <c:v>0.3333333333333333</c:v>
                </c:pt>
                <c:pt idx="89">
                  <c:v>0.75</c:v>
                </c:pt>
                <c:pt idx="90">
                  <c:v>0.8571428571428571</c:v>
                </c:pt>
                <c:pt idx="91">
                  <c:v>0.8311688311688312</c:v>
                </c:pt>
                <c:pt idx="92">
                  <c:v>0.8571428571428571</c:v>
                </c:pt>
                <c:pt idx="93">
                  <c:v>0.8404255319148937</c:v>
                </c:pt>
                <c:pt idx="94">
                  <c:v>0.9133858267716536</c:v>
                </c:pt>
                <c:pt idx="95">
                  <c:v>0.71875</c:v>
                </c:pt>
                <c:pt idx="96">
                  <c:v>0.7787610619469026</c:v>
                </c:pt>
                <c:pt idx="97">
                  <c:v>0.8031496062992126</c:v>
                </c:pt>
                <c:pt idx="98">
                  <c:v>0.8285714285714286</c:v>
                </c:pt>
                <c:pt idx="99">
                  <c:v>0.8666666666666667</c:v>
                </c:pt>
                <c:pt idx="100">
                  <c:v>0.75</c:v>
                </c:pt>
                <c:pt idx="101">
                  <c:v>0.7076923076923077</c:v>
                </c:pt>
                <c:pt idx="102">
                  <c:v>0.5806451612903226</c:v>
                </c:pt>
              </c:numCache>
            </c:numRef>
          </c:yVal>
          <c:smooth val="0"/>
          <c:extLst>
            <c:ext xmlns:c16="http://schemas.microsoft.com/office/drawing/2014/chart" uri="{C3380CC4-5D6E-409C-BE32-E72D297353CC}">
              <c16:uniqueId val="{00000000-096C-4121-9522-6AB7243CCAAE}"/>
            </c:ext>
          </c:extLst>
        </c:ser>
        <c:ser>
          <c:idx val="1"/>
          <c:order val="1"/>
          <c:tx>
            <c:strRef>
              <c:f>Sheet1!$B$10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7:$A$136</c:f>
              <c:numCache>
                <c:formatCode>General</c:formatCode>
                <c:ptCount val="30"/>
                <c:pt idx="0">
                  <c:v>5.17025219123506</c:v>
                </c:pt>
                <c:pt idx="1">
                  <c:v>1.9697454351308061</c:v>
                </c:pt>
                <c:pt idx="2">
                  <c:v>1.7713792974238876</c:v>
                </c:pt>
                <c:pt idx="3">
                  <c:v>2.0036006702476685</c:v>
                </c:pt>
                <c:pt idx="4">
                  <c:v>1.2405014746640635</c:v>
                </c:pt>
                <c:pt idx="5">
                  <c:v>0.5954476034143139</c:v>
                </c:pt>
                <c:pt idx="6">
                  <c:v>0.7630108144190855</c:v>
                </c:pt>
                <c:pt idx="7">
                  <c:v>0.8847119437772634</c:v>
                </c:pt>
                <c:pt idx="8">
                  <c:v>1.0979125754241912</c:v>
                </c:pt>
                <c:pt idx="9">
                  <c:v>1.0856492805413323</c:v>
                </c:pt>
                <c:pt idx="10">
                  <c:v>1.0480380468588015</c:v>
                </c:pt>
                <c:pt idx="11">
                  <c:v>0.6254266819352992</c:v>
                </c:pt>
                <c:pt idx="12">
                  <c:v>0.9504610083198809</c:v>
                </c:pt>
                <c:pt idx="13">
                  <c:v>0.9179045917920099</c:v>
                </c:pt>
                <c:pt idx="14">
                  <c:v>0.8435869355630575</c:v>
                </c:pt>
                <c:pt idx="15">
                  <c:v>0.498091640866873</c:v>
                </c:pt>
                <c:pt idx="16">
                  <c:v>0.35529749388753057</c:v>
                </c:pt>
                <c:pt idx="17">
                  <c:v>0.6039062591014187</c:v>
                </c:pt>
                <c:pt idx="18">
                  <c:v>0.5013593452958619</c:v>
                </c:pt>
                <c:pt idx="19">
                  <c:v>0.9416843685878117</c:v>
                </c:pt>
                <c:pt idx="20">
                  <c:v>0.8151645488946425</c:v>
                </c:pt>
                <c:pt idx="21">
                  <c:v>1.1410294468249906</c:v>
                </c:pt>
                <c:pt idx="22">
                  <c:v>1.117420034293283</c:v>
                </c:pt>
                <c:pt idx="23">
                  <c:v>0.6943876401392204</c:v>
                </c:pt>
                <c:pt idx="24">
                  <c:v>1.4267917443301854</c:v>
                </c:pt>
                <c:pt idx="25">
                  <c:v>0.4764296093667467</c:v>
                </c:pt>
                <c:pt idx="26">
                  <c:v>0.7246773908906964</c:v>
                </c:pt>
                <c:pt idx="27">
                  <c:v>0.8100023779094798</c:v>
                </c:pt>
                <c:pt idx="28">
                  <c:v>0.768789218544602</c:v>
                </c:pt>
                <c:pt idx="29">
                  <c:v>1.0776209838798312</c:v>
                </c:pt>
              </c:numCache>
            </c:numRef>
          </c:xVal>
          <c:yVal>
            <c:numRef>
              <c:f>Sheet1!$B$107:$B$136</c:f>
              <c:numCache>
                <c:formatCode>General</c:formatCode>
                <c:ptCount val="30"/>
                <c:pt idx="0">
                  <c:v>0.703125</c:v>
                </c:pt>
                <c:pt idx="1">
                  <c:v>0.47058823529411764</c:v>
                </c:pt>
                <c:pt idx="2">
                  <c:v>0.3958333333333333</c:v>
                </c:pt>
                <c:pt idx="3">
                  <c:v>0.42857142857142855</c:v>
                </c:pt>
                <c:pt idx="4">
                  <c:v>0.3392857142857143</c:v>
                </c:pt>
                <c:pt idx="5">
                  <c:v>0.38461538461538464</c:v>
                </c:pt>
                <c:pt idx="6">
                  <c:v>0.37777777777777777</c:v>
                </c:pt>
                <c:pt idx="7">
                  <c:v>0.3076923076923077</c:v>
                </c:pt>
                <c:pt idx="8">
                  <c:v>0.22807017543859648</c:v>
                </c:pt>
                <c:pt idx="9">
                  <c:v>0.17391304347826086</c:v>
                </c:pt>
                <c:pt idx="10">
                  <c:v>0.2909090909090909</c:v>
                </c:pt>
                <c:pt idx="11">
                  <c:v>0.4482758620689655</c:v>
                </c:pt>
                <c:pt idx="12">
                  <c:v>0.34408602150537637</c:v>
                </c:pt>
                <c:pt idx="13">
                  <c:v>0.26881720430107525</c:v>
                </c:pt>
                <c:pt idx="14">
                  <c:v>0.32</c:v>
                </c:pt>
                <c:pt idx="15">
                  <c:v>0.5121951219512195</c:v>
                </c:pt>
                <c:pt idx="16">
                  <c:v>0.4918032786885246</c:v>
                </c:pt>
                <c:pt idx="17">
                  <c:v>0.375</c:v>
                </c:pt>
                <c:pt idx="18">
                  <c:v>0.21428571428571427</c:v>
                </c:pt>
                <c:pt idx="19">
                  <c:v>0.17682926829268292</c:v>
                </c:pt>
                <c:pt idx="20">
                  <c:v>0.22972972972972974</c:v>
                </c:pt>
                <c:pt idx="21">
                  <c:v>0.11224489795918367</c:v>
                </c:pt>
                <c:pt idx="22">
                  <c:v>0.06363636363636363</c:v>
                </c:pt>
                <c:pt idx="23">
                  <c:v>0.2222222222222222</c:v>
                </c:pt>
                <c:pt idx="24">
                  <c:v>0.20535714285714285</c:v>
                </c:pt>
                <c:pt idx="25">
                  <c:v>0.27058823529411763</c:v>
                </c:pt>
                <c:pt idx="26">
                  <c:v>0.2916666666666667</c:v>
                </c:pt>
                <c:pt idx="27">
                  <c:v>0.2727272727272727</c:v>
                </c:pt>
                <c:pt idx="28">
                  <c:v>0.2545454545454545</c:v>
                </c:pt>
                <c:pt idx="29">
                  <c:v>0.1836734693877551</c:v>
                </c:pt>
              </c:numCache>
            </c:numRef>
          </c:yVal>
          <c:smooth val="0"/>
          <c:extLst>
            <c:ext xmlns:c16="http://schemas.microsoft.com/office/drawing/2014/chart" uri="{C3380CC4-5D6E-409C-BE32-E72D297353CC}">
              <c16:uniqueId val="{00000002-096C-4121-9522-6AB7243CCAAE}"/>
            </c:ext>
          </c:extLst>
        </c:ser>
        <c:ser>
          <c:idx val="2"/>
          <c:order val="2"/>
          <c:tx>
            <c:strRef>
              <c:f>Sheet1!$B$13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9:$A$140</c:f>
              <c:numCache>
                <c:formatCode>General</c:formatCode>
                <c:ptCount val="2"/>
                <c:pt idx="0">
                  <c:v>0</c:v>
                </c:pt>
                <c:pt idx="1">
                  <c:v>9.186256888885184</c:v>
                </c:pt>
              </c:numCache>
            </c:numRef>
          </c:xVal>
          <c:yVal>
            <c:numRef>
              <c:f>Sheet1!$B$139:$B$140</c:f>
              <c:numCache>
                <c:formatCode>General</c:formatCode>
                <c:ptCount val="2"/>
                <c:pt idx="0">
                  <c:v>0.9188306608681995</c:v>
                </c:pt>
                <c:pt idx="1">
                  <c:v>0.9188306608681995</c:v>
                </c:pt>
              </c:numCache>
            </c:numRef>
          </c:yVal>
          <c:smooth val="0"/>
          <c:extLst>
            <c:ext xmlns:c16="http://schemas.microsoft.com/office/drawing/2014/chart" uri="{C3380CC4-5D6E-409C-BE32-E72D297353CC}">
              <c16:uniqueId val="{00000005-096C-4121-9522-6AB7243CCAAE}"/>
            </c:ext>
          </c:extLst>
        </c:ser>
        <c:ser>
          <c:idx val="3"/>
          <c:order val="3"/>
          <c:tx>
            <c:strRef>
              <c:f>Sheet1!$B$14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9.186256888885184</c:v>
                </c:pt>
                <c:pt idx="1">
                  <c:v>9.186256888885184</c:v>
                </c:pt>
              </c:numCache>
            </c:numRef>
          </c:xVal>
          <c:yVal>
            <c:numRef>
              <c:f>Sheet1!$B$143:$B$144</c:f>
              <c:numCache>
                <c:formatCode>General</c:formatCode>
                <c:ptCount val="2"/>
                <c:pt idx="0">
                  <c:v>0.918830660868199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7:$A$148</c:f>
              <c:numCache>
                <c:formatCode>General</c:formatCode>
                <c:ptCount val="2"/>
                <c:pt idx="0">
                  <c:v>0</c:v>
                </c:pt>
                <c:pt idx="1">
                  <c:v>7.293918783270149</c:v>
                </c:pt>
              </c:numCache>
            </c:numRef>
          </c:xVal>
          <c:yVal>
            <c:numRef>
              <c:f>Sheet1!$B$147:$B$148</c:f>
              <c:numCache>
                <c:formatCode>General</c:formatCode>
                <c:ptCount val="2"/>
                <c:pt idx="0">
                  <c:v>0.7768522958823597</c:v>
                </c:pt>
                <c:pt idx="1">
                  <c:v>0.7768522958823597</c:v>
                </c:pt>
              </c:numCache>
            </c:numRef>
          </c:yVal>
          <c:smooth val="0"/>
          <c:extLst>
            <c:ext xmlns:c16="http://schemas.microsoft.com/office/drawing/2014/chart" uri="{C3380CC4-5D6E-409C-BE32-E72D297353CC}">
              <c16:uniqueId val="{0000000D-096C-4121-9522-6AB7243CCAAE}"/>
            </c:ext>
          </c:extLst>
        </c:ser>
        <c:ser>
          <c:idx val="5"/>
          <c:order val="5"/>
          <c:tx>
            <c:strRef>
              <c:f>Sheet1!$B$15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1:$A$152</c:f>
              <c:numCache>
                <c:formatCode>General</c:formatCode>
                <c:ptCount val="2"/>
                <c:pt idx="0">
                  <c:v>7.293918783270149</c:v>
                </c:pt>
                <c:pt idx="1">
                  <c:v>7.293918783270149</c:v>
                </c:pt>
              </c:numCache>
            </c:numRef>
          </c:xVal>
          <c:yVal>
            <c:numRef>
              <c:f>Sheet1!$B$151:$B$152</c:f>
              <c:numCache>
                <c:formatCode>General</c:formatCode>
                <c:ptCount val="2"/>
                <c:pt idx="0">
                  <c:v>0.776852295882359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5:$A$156</c:f>
              <c:numCache>
                <c:formatCode>General</c:formatCode>
                <c:ptCount val="2"/>
                <c:pt idx="0">
                  <c:v>0</c:v>
                </c:pt>
                <c:pt idx="1">
                  <c:v>-0.11518418706678867</c:v>
                </c:pt>
              </c:numCache>
            </c:numRef>
          </c:xVal>
          <c:yVal>
            <c:numRef>
              <c:f>Sheet1!$B$155:$B$156</c:f>
              <c:numCache>
                <c:formatCode>General</c:formatCode>
                <c:ptCount val="2"/>
                <c:pt idx="0">
                  <c:v>0.22096203366186967</c:v>
                </c:pt>
                <c:pt idx="1">
                  <c:v>0.22096203366186967</c:v>
                </c:pt>
              </c:numCache>
            </c:numRef>
          </c:yVal>
          <c:smooth val="0"/>
          <c:extLst>
            <c:ext xmlns:c16="http://schemas.microsoft.com/office/drawing/2014/chart" uri="{C3380CC4-5D6E-409C-BE32-E72D297353CC}">
              <c16:uniqueId val="{00000015-096C-4121-9522-6AB7243CCAAE}"/>
            </c:ext>
          </c:extLst>
        </c:ser>
        <c:ser>
          <c:idx val="7"/>
          <c:order val="7"/>
          <c:tx>
            <c:strRef>
              <c:f>Sheet1!$B$15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9:$A$160</c:f>
              <c:numCache>
                <c:formatCode>General</c:formatCode>
                <c:ptCount val="2"/>
                <c:pt idx="0">
                  <c:v>-0.11518418706678867</c:v>
                </c:pt>
                <c:pt idx="1">
                  <c:v>-0.11518418706678867</c:v>
                </c:pt>
              </c:numCache>
            </c:numRef>
          </c:xVal>
          <c:yVal>
            <c:numRef>
              <c:f>Sheet1!$B$159:$B$160</c:f>
              <c:numCache>
                <c:formatCode>General</c:formatCode>
                <c:ptCount val="2"/>
                <c:pt idx="0">
                  <c:v>0.2209620336618696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3:$A$195</c:f>
              <c:numCache>
                <c:formatCode>General</c:formatCode>
                <c:ptCount val="33"/>
                <c:pt idx="0">
                  <c:v>5.17025219123506</c:v>
                </c:pt>
                <c:pt idx="1">
                  <c:v>1.9697454351308061</c:v>
                </c:pt>
                <c:pt idx="2">
                  <c:v>1.7713792974238876</c:v>
                </c:pt>
                <c:pt idx="3">
                  <c:v>2.0036006702476685</c:v>
                </c:pt>
                <c:pt idx="4">
                  <c:v>1.2405014746640635</c:v>
                </c:pt>
                <c:pt idx="5">
                  <c:v>0.5954476034143139</c:v>
                </c:pt>
                <c:pt idx="6">
                  <c:v>0.7630108144190855</c:v>
                </c:pt>
                <c:pt idx="7">
                  <c:v>0.8847119437772634</c:v>
                </c:pt>
                <c:pt idx="8">
                  <c:v>1.0979125754241912</c:v>
                </c:pt>
                <c:pt idx="9">
                  <c:v>1.0856492805413323</c:v>
                </c:pt>
                <c:pt idx="10">
                  <c:v>1.0480380468588015</c:v>
                </c:pt>
                <c:pt idx="11">
                  <c:v>0.6254266819352992</c:v>
                </c:pt>
                <c:pt idx="12">
                  <c:v>0.9504610083198809</c:v>
                </c:pt>
                <c:pt idx="13">
                  <c:v>0.9179045917920099</c:v>
                </c:pt>
                <c:pt idx="14">
                  <c:v>0.8435869355630575</c:v>
                </c:pt>
                <c:pt idx="15">
                  <c:v>0.498091640866873</c:v>
                </c:pt>
                <c:pt idx="16">
                  <c:v>0.35529749388753057</c:v>
                </c:pt>
                <c:pt idx="17">
                  <c:v>0.6039062591014187</c:v>
                </c:pt>
                <c:pt idx="18">
                  <c:v>0.5013593452958619</c:v>
                </c:pt>
                <c:pt idx="19">
                  <c:v>0.9416843685878117</c:v>
                </c:pt>
                <c:pt idx="20">
                  <c:v>0.8151645488946425</c:v>
                </c:pt>
                <c:pt idx="21">
                  <c:v>1.1410294468249906</c:v>
                </c:pt>
                <c:pt idx="22">
                  <c:v>1.117420034293283</c:v>
                </c:pt>
                <c:pt idx="23">
                  <c:v>0.6943876401392204</c:v>
                </c:pt>
                <c:pt idx="24">
                  <c:v>1.4267917443301854</c:v>
                </c:pt>
                <c:pt idx="25">
                  <c:v>0.4764296093667467</c:v>
                </c:pt>
                <c:pt idx="26">
                  <c:v>0.7246773908906964</c:v>
                </c:pt>
                <c:pt idx="27">
                  <c:v>0.8100023779094798</c:v>
                </c:pt>
                <c:pt idx="28">
                  <c:v>0.768789218544602</c:v>
                </c:pt>
                <c:pt idx="29">
                  <c:v>1.0776209838798312</c:v>
                </c:pt>
                <c:pt idx="30">
                  <c:v>7.293918783270149</c:v>
                </c:pt>
                <c:pt idx="31">
                  <c:v>9.186256888885184</c:v>
                </c:pt>
                <c:pt idx="32">
                  <c:v>-0.11518418706678867</c:v>
                </c:pt>
              </c:numCache>
            </c:numRef>
          </c:xVal>
          <c:yVal>
            <c:numRef>
              <c:f>Sheet1!$B$163:$B$195</c:f>
              <c:numCache>
                <c:formatCode>General</c:formatCode>
                <c:ptCount val="33"/>
                <c:pt idx="0">
                  <c:v>0.617517814577183</c:v>
                </c:pt>
                <c:pt idx="1">
                  <c:v>0.37739015715196356</c:v>
                </c:pt>
                <c:pt idx="2">
                  <c:v>0.36250714030808373</c:v>
                </c:pt>
                <c:pt idx="3">
                  <c:v>0.3799302481187103</c:v>
                </c:pt>
                <c:pt idx="4">
                  <c:v>0.3226764329630108</c:v>
                </c:pt>
                <c:pt idx="5">
                  <c:v>0.2742793237487143</c:v>
                </c:pt>
                <c:pt idx="6">
                  <c:v>0.2868512582564235</c:v>
                </c:pt>
                <c:pt idx="7">
                  <c:v>0.295982251978916</c:v>
                </c:pt>
                <c:pt idx="8">
                  <c:v>0.31197827140343687</c:v>
                </c:pt>
                <c:pt idx="9">
                  <c:v>0.31105818077500147</c:v>
                </c:pt>
                <c:pt idx="10">
                  <c:v>0.30823628470500164</c:v>
                </c:pt>
                <c:pt idx="11">
                  <c:v>0.2765285943941459</c:v>
                </c:pt>
                <c:pt idx="12">
                  <c:v>0.30091527354383096</c:v>
                </c:pt>
                <c:pt idx="13">
                  <c:v>0.29847263035300287</c:v>
                </c:pt>
                <c:pt idx="14">
                  <c:v>0.29289672439325</c:v>
                </c:pt>
                <c:pt idx="15">
                  <c:v>0.26697489947955555</c:v>
                </c:pt>
                <c:pt idx="16">
                  <c:v>0.2562613385902421</c:v>
                </c:pt>
                <c:pt idx="17">
                  <c:v>0.27491395986414724</c:v>
                </c:pt>
                <c:pt idx="18">
                  <c:v>0.2672200688447489</c:v>
                </c:pt>
                <c:pt idx="19">
                  <c:v>0.30025677971784315</c:v>
                </c:pt>
                <c:pt idx="20">
                  <c:v>0.2907642492418999</c:v>
                </c:pt>
                <c:pt idx="21">
                  <c:v>0.31521324452300026</c:v>
                </c:pt>
                <c:pt idx="22">
                  <c:v>0.31344187725011086</c:v>
                </c:pt>
                <c:pt idx="23">
                  <c:v>0.28170259795333935</c:v>
                </c:pt>
                <c:pt idx="24">
                  <c:v>0.33665342144170063</c:v>
                </c:pt>
                <c:pt idx="25">
                  <c:v>0.26534964033292957</c:v>
                </c:pt>
                <c:pt idx="26">
                  <c:v>0.283975177718426</c:v>
                </c:pt>
                <c:pt idx="27">
                  <c:v>0.2903769418183079</c:v>
                </c:pt>
                <c:pt idx="28">
                  <c:v>0.2872848004271032</c:v>
                </c:pt>
                <c:pt idx="29">
                  <c:v>0.3104558336414533</c:v>
                </c:pt>
                <c:pt idx="30">
                  <c:v>0.7768522958823597</c:v>
                </c:pt>
                <c:pt idx="31">
                  <c:v>0.9188306608681994</c:v>
                </c:pt>
                <c:pt idx="32">
                  <c:v>0.2209620336618696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05090909090909090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4.1047</c:v>
                </c:pt>
                <c:pt idx="1">
                  <c:v>871.9001</c:v>
                </c:pt>
                <c:pt idx="2">
                  <c:v>898.2265</c:v>
                </c:pt>
                <c:pt idx="3">
                  <c:v>910.7331</c:v>
                </c:pt>
                <c:pt idx="4">
                  <c:v>904.1224</c:v>
                </c:pt>
                <c:pt idx="5">
                  <c:v>893.8169</c:v>
                </c:pt>
                <c:pt idx="6">
                  <c:v>858.8036</c:v>
                </c:pt>
                <c:pt idx="7">
                  <c:v>867.0558</c:v>
                </c:pt>
                <c:pt idx="8">
                  <c:v>868.809</c:v>
                </c:pt>
                <c:pt idx="9">
                  <c:v>842.1731</c:v>
                </c:pt>
                <c:pt idx="10">
                  <c:v>826.7434</c:v>
                </c:pt>
                <c:pt idx="11">
                  <c:v>861.1664</c:v>
                </c:pt>
                <c:pt idx="12">
                  <c:v>867.1068</c:v>
                </c:pt>
                <c:pt idx="13">
                  <c:v>868.5584</c:v>
                </c:pt>
                <c:pt idx="14">
                  <c:v>895.9741</c:v>
                </c:pt>
                <c:pt idx="15">
                  <c:v>914.0135</c:v>
                </c:pt>
                <c:pt idx="16">
                  <c:v>930.0587</c:v>
                </c:pt>
                <c:pt idx="17">
                  <c:v>919.9987</c:v>
                </c:pt>
                <c:pt idx="18">
                  <c:v>972.0593</c:v>
                </c:pt>
                <c:pt idx="19">
                  <c:v>990.7156</c:v>
                </c:pt>
                <c:pt idx="20">
                  <c:v>1014.1583</c:v>
                </c:pt>
                <c:pt idx="21">
                  <c:v>1027.6645</c:v>
                </c:pt>
                <c:pt idx="22">
                  <c:v>1008.3504</c:v>
                </c:pt>
                <c:pt idx="23">
                  <c:v>1004.1741</c:v>
                </c:pt>
                <c:pt idx="24">
                  <c:v>1013.5886</c:v>
                </c:pt>
                <c:pt idx="25">
                  <c:v>990.419</c:v>
                </c:pt>
                <c:pt idx="26">
                  <c:v>979.0327</c:v>
                </c:pt>
                <c:pt idx="27">
                  <c:v>996.4611</c:v>
                </c:pt>
                <c:pt idx="28">
                  <c:v>998.4049</c:v>
                </c:pt>
                <c:pt idx="29">
                  <c:v>987.1565</c:v>
                </c:pt>
                <c:pt idx="30">
                  <c:v>989.7549</c:v>
                </c:pt>
                <c:pt idx="31">
                  <c:v>975.2188</c:v>
                </c:pt>
                <c:pt idx="32">
                  <c:v>964.5709</c:v>
                </c:pt>
                <c:pt idx="33">
                  <c:v>921.5912</c:v>
                </c:pt>
                <c:pt idx="34">
                  <c:v>934.5094</c:v>
                </c:pt>
                <c:pt idx="35">
                  <c:v>965.3223</c:v>
                </c:pt>
                <c:pt idx="36">
                  <c:v>1025.9005</c:v>
                </c:pt>
                <c:pt idx="37">
                  <c:v>1045.4788</c:v>
                </c:pt>
                <c:pt idx="38">
                  <c:v>1082.9511</c:v>
                </c:pt>
                <c:pt idx="39">
                  <c:v>1108.7055</c:v>
                </c:pt>
                <c:pt idx="40">
                  <c:v>1106.815</c:v>
                </c:pt>
                <c:pt idx="41">
                  <c:v>1131.6485</c:v>
                </c:pt>
                <c:pt idx="42">
                  <c:v>1148.8976</c:v>
                </c:pt>
                <c:pt idx="43">
                  <c:v>1154.9292</c:v>
                </c:pt>
                <c:pt idx="44">
                  <c:v>1113.0708</c:v>
                </c:pt>
                <c:pt idx="45">
                  <c:v>1078.0761</c:v>
                </c:pt>
                <c:pt idx="46">
                  <c:v>1061.4059</c:v>
                </c:pt>
                <c:pt idx="47">
                  <c:v>1047.8382</c:v>
                </c:pt>
                <c:pt idx="48">
                  <c:v>1044.792</c:v>
                </c:pt>
                <c:pt idx="49">
                  <c:v>999.338</c:v>
                </c:pt>
                <c:pt idx="50">
                  <c:v>1004.3309</c:v>
                </c:pt>
                <c:pt idx="51">
                  <c:v>1014.8195</c:v>
                </c:pt>
                <c:pt idx="52">
                  <c:v>1016.3603</c:v>
                </c:pt>
                <c:pt idx="53">
                  <c:v>1111.8357</c:v>
                </c:pt>
                <c:pt idx="54">
                  <c:v>1105.4646</c:v>
                </c:pt>
                <c:pt idx="55">
                  <c:v>1118.4436</c:v>
                </c:pt>
                <c:pt idx="56">
                  <c:v>1124.8373</c:v>
                </c:pt>
                <c:pt idx="57">
                  <c:v>1102.1197</c:v>
                </c:pt>
                <c:pt idx="58">
                  <c:v>1081.0693</c:v>
                </c:pt>
                <c:pt idx="59">
                  <c:v>1077.478</c:v>
                </c:pt>
                <c:pt idx="60">
                  <c:v>1092.2519</c:v>
                </c:pt>
                <c:pt idx="61">
                  <c:v>1097.7472</c:v>
                </c:pt>
                <c:pt idx="62">
                  <c:v>1033.3266</c:v>
                </c:pt>
                <c:pt idx="63">
                  <c:v>1053.9903</c:v>
                </c:pt>
                <c:pt idx="64">
                  <c:v>1060.6227</c:v>
                </c:pt>
                <c:pt idx="65">
                  <c:v>1053.3096</c:v>
                </c:pt>
                <c:pt idx="66">
                  <c:v>1083.3464</c:v>
                </c:pt>
                <c:pt idx="67">
                  <c:v>1105.0394</c:v>
                </c:pt>
                <c:pt idx="68">
                  <c:v>1116.0063</c:v>
                </c:pt>
                <c:pt idx="69">
                  <c:v>1146.5405</c:v>
                </c:pt>
                <c:pt idx="70">
                  <c:v>1135.5569</c:v>
                </c:pt>
                <c:pt idx="71">
                  <c:v>1184.6456</c:v>
                </c:pt>
                <c:pt idx="72">
                  <c:v>1253.7753</c:v>
                </c:pt>
                <c:pt idx="73">
                  <c:v>1235.0861</c:v>
                </c:pt>
                <c:pt idx="74">
                  <c:v>1227.9679</c:v>
                </c:pt>
                <c:pt idx="75">
                  <c:v>1196.1969</c:v>
                </c:pt>
                <c:pt idx="76">
                  <c:v>1160.9117</c:v>
                </c:pt>
                <c:pt idx="77">
                  <c:v>1163.9833</c:v>
                </c:pt>
                <c:pt idx="78">
                  <c:v>1207.1764</c:v>
                </c:pt>
                <c:pt idx="79">
                  <c:v>1195.5859</c:v>
                </c:pt>
                <c:pt idx="80">
                  <c:v>1214.1439</c:v>
                </c:pt>
                <c:pt idx="81">
                  <c:v>1212.0495</c:v>
                </c:pt>
                <c:pt idx="82">
                  <c:v>1220.6117</c:v>
                </c:pt>
                <c:pt idx="83">
                  <c:v>1184.5929</c:v>
                </c:pt>
                <c:pt idx="84">
                  <c:v>1204.6501</c:v>
                </c:pt>
                <c:pt idx="85">
                  <c:v>1185.7867</c:v>
                </c:pt>
                <c:pt idx="86">
                  <c:v>1181.1099</c:v>
                </c:pt>
                <c:pt idx="87">
                  <c:v>1181.1963</c:v>
                </c:pt>
                <c:pt idx="88">
                  <c:v>1222.5552</c:v>
                </c:pt>
                <c:pt idx="89">
                  <c:v>1217.5926</c:v>
                </c:pt>
                <c:pt idx="90">
                  <c:v>1271.0298</c:v>
                </c:pt>
                <c:pt idx="91">
                  <c:v>1268.4142</c:v>
                </c:pt>
                <c:pt idx="92">
                  <c:v>1222.2023</c:v>
                </c:pt>
                <c:pt idx="93">
                  <c:v>1248.6531</c:v>
                </c:pt>
                <c:pt idx="94">
                  <c:v>1233.51</c:v>
                </c:pt>
                <c:pt idx="95">
                  <c:v>1198.1168</c:v>
                </c:pt>
                <c:pt idx="96">
                  <c:v>1150.1633</c:v>
                </c:pt>
                <c:pt idx="97">
                  <c:v>1148.0502</c:v>
                </c:pt>
                <c:pt idx="98">
                  <c:v>1130.0131</c:v>
                </c:pt>
                <c:pt idx="99">
                  <c:v>1100.8128</c:v>
                </c:pt>
                <c:pt idx="100">
                  <c:v>1087.9755</c:v>
                </c:pt>
                <c:pt idx="101">
                  <c:v>1123.3286</c:v>
                </c:pt>
                <c:pt idx="102">
                  <c:v>1145.7458</c:v>
                </c:pt>
                <c:pt idx="103">
                  <c:v>1119.9822</c:v>
                </c:pt>
                <c:pt idx="104">
                  <c:v>1148.4012</c:v>
                </c:pt>
              </c:numCache>
            </c:numRef>
          </c:xVal>
          <c:yVal>
            <c:numRef>
              <c:f>Sheet1!$B$2:$B$106</c:f>
              <c:numCache>
                <c:formatCode>General</c:formatCode>
                <c:ptCount val="105"/>
                <c:pt idx="0">
                  <c:v>0.23418296003728872</c:v>
                </c:pt>
                <c:pt idx="1">
                  <c:v>0.23165931366074022</c:v>
                </c:pt>
                <c:pt idx="2">
                  <c:v>0.23278705032349017</c:v>
                </c:pt>
                <c:pt idx="3">
                  <c:v>0.2333306651724966</c:v>
                </c:pt>
                <c:pt idx="4">
                  <c:v>0.24390852650297945</c:v>
                </c:pt>
                <c:pt idx="5">
                  <c:v>0.24548332427333483</c:v>
                </c:pt>
                <c:pt idx="6">
                  <c:v>0.2714250734573947</c:v>
                </c:pt>
                <c:pt idx="7">
                  <c:v>0.2720096286594216</c:v>
                </c:pt>
                <c:pt idx="8">
                  <c:v>0.26972618872368614</c:v>
                </c:pt>
                <c:pt idx="9">
                  <c:v>0.2604732837193745</c:v>
                </c:pt>
                <c:pt idx="10">
                  <c:v>0.2556938879776278</c:v>
                </c:pt>
                <c:pt idx="11">
                  <c:v>0.2384407146724418</c:v>
                </c:pt>
                <c:pt idx="12">
                  <c:v>0.22535420957296345</c:v>
                </c:pt>
                <c:pt idx="13">
                  <c:v>0.2139852513502285</c:v>
                </c:pt>
                <c:pt idx="14">
                  <c:v>0.19951765538574462</c:v>
                </c:pt>
                <c:pt idx="15">
                  <c:v>0.19060190073917635</c:v>
                </c:pt>
                <c:pt idx="16">
                  <c:v>0.18443732193732193</c:v>
                </c:pt>
                <c:pt idx="17">
                  <c:v>0.18215192345245068</c:v>
                </c:pt>
                <c:pt idx="18">
                  <c:v>0.16783307976526843</c:v>
                </c:pt>
                <c:pt idx="19">
                  <c:v>0.1664623557053836</c:v>
                </c:pt>
                <c:pt idx="20">
                  <c:v>0.1770842061164642</c:v>
                </c:pt>
                <c:pt idx="21">
                  <c:v>0.18135450625722999</c:v>
                </c:pt>
                <c:pt idx="22">
                  <c:v>0.19217118997912316</c:v>
                </c:pt>
                <c:pt idx="23">
                  <c:v>0.20130612244897958</c:v>
                </c:pt>
                <c:pt idx="24">
                  <c:v>0.20415400202634246</c:v>
                </c:pt>
                <c:pt idx="25">
                  <c:v>0.20853382804800277</c:v>
                </c:pt>
                <c:pt idx="26">
                  <c:v>0.22318810760763336</c:v>
                </c:pt>
                <c:pt idx="27">
                  <c:v>0.22061949590039479</c:v>
                </c:pt>
                <c:pt idx="28">
                  <c:v>0.22781491002570695</c:v>
                </c:pt>
                <c:pt idx="29">
                  <c:v>0.22411392120749293</c:v>
                </c:pt>
                <c:pt idx="30">
                  <c:v>0.22836372028617585</c:v>
                </c:pt>
                <c:pt idx="31">
                  <c:v>0.23155645524066576</c:v>
                </c:pt>
                <c:pt idx="32">
                  <c:v>0.2391124358337473</c:v>
                </c:pt>
                <c:pt idx="33">
                  <c:v>0.23732728936930655</c:v>
                </c:pt>
                <c:pt idx="34">
                  <c:v>0.2376046610332986</c:v>
                </c:pt>
                <c:pt idx="35">
                  <c:v>0.25597164957235835</c:v>
                </c:pt>
                <c:pt idx="36">
                  <c:v>0.2249256444150694</c:v>
                </c:pt>
                <c:pt idx="37">
                  <c:v>0.21881479338444476</c:v>
                </c:pt>
                <c:pt idx="38">
                  <c:v>0.20735478882767952</c:v>
                </c:pt>
                <c:pt idx="39">
                  <c:v>0.20157617317435136</c:v>
                </c:pt>
                <c:pt idx="40">
                  <c:v>0.2043353918846106</c:v>
                </c:pt>
                <c:pt idx="41">
                  <c:v>0.19930262433474033</c:v>
                </c:pt>
                <c:pt idx="42">
                  <c:v>0.19792563600782778</c:v>
                </c:pt>
                <c:pt idx="43">
                  <c:v>0.19148566463944397</c:v>
                </c:pt>
                <c:pt idx="44">
                  <c:v>0.18882872746876686</c:v>
                </c:pt>
                <c:pt idx="45">
                  <c:v>0.20146325946347152</c:v>
                </c:pt>
                <c:pt idx="46">
                  <c:v>0.20674221893734088</c:v>
                </c:pt>
                <c:pt idx="47">
                  <c:v>0.20248705097825404</c:v>
                </c:pt>
                <c:pt idx="48">
                  <c:v>0.20068823124569857</c:v>
                </c:pt>
                <c:pt idx="49">
                  <c:v>0.21421377913941334</c:v>
                </c:pt>
                <c:pt idx="50">
                  <c:v>0.20370295834171864</c:v>
                </c:pt>
                <c:pt idx="51">
                  <c:v>0.19657907167540958</c:v>
                </c:pt>
                <c:pt idx="52">
                  <c:v>0.1990873753591347</c:v>
                </c:pt>
                <c:pt idx="53">
                  <c:v>0.1924849250862364</c:v>
                </c:pt>
                <c:pt idx="54">
                  <c:v>0.19632599504300918</c:v>
                </c:pt>
                <c:pt idx="55">
                  <c:v>0.1932637372498579</c:v>
                </c:pt>
                <c:pt idx="56">
                  <c:v>0.1963961784980046</c:v>
                </c:pt>
                <c:pt idx="57">
                  <c:v>0.1902930783620869</c:v>
                </c:pt>
                <c:pt idx="58">
                  <c:v>0.2004390569819605</c:v>
                </c:pt>
                <c:pt idx="59">
                  <c:v>0.19565183241961073</c:v>
                </c:pt>
                <c:pt idx="60">
                  <c:v>0.1985710596539554</c:v>
                </c:pt>
                <c:pt idx="61">
                  <c:v>0.19782154510669264</c:v>
                </c:pt>
                <c:pt idx="62">
                  <c:v>0.21214106590154305</c:v>
                </c:pt>
                <c:pt idx="63">
                  <c:v>0.2160689782292584</c:v>
                </c:pt>
                <c:pt idx="64">
                  <c:v>0.2057314629258517</c:v>
                </c:pt>
                <c:pt idx="65">
                  <c:v>0.20019627085377822</c:v>
                </c:pt>
                <c:pt idx="66">
                  <c:v>0.1993405749644317</c:v>
                </c:pt>
                <c:pt idx="67">
                  <c:v>0.18906573406609092</c:v>
                </c:pt>
                <c:pt idx="68">
                  <c:v>0.1790146244498083</c:v>
                </c:pt>
                <c:pt idx="69">
                  <c:v>0.17184334908845375</c:v>
                </c:pt>
                <c:pt idx="70">
                  <c:v>0.17183179516644523</c:v>
                </c:pt>
                <c:pt idx="71">
                  <c:v>0.1720010810393421</c:v>
                </c:pt>
                <c:pt idx="72">
                  <c:v>0.1703549517966696</c:v>
                </c:pt>
                <c:pt idx="73">
                  <c:v>0.17289084055492948</c:v>
                </c:pt>
                <c:pt idx="74">
                  <c:v>0.1736186858238989</c:v>
                </c:pt>
                <c:pt idx="75">
                  <c:v>0.18380130535722108</c:v>
                </c:pt>
                <c:pt idx="76">
                  <c:v>0.1867787900023359</c:v>
                </c:pt>
                <c:pt idx="77">
                  <c:v>0.17921302316620913</c:v>
                </c:pt>
                <c:pt idx="78">
                  <c:v>0.183714055361462</c:v>
                </c:pt>
                <c:pt idx="79">
                  <c:v>0.16925569427237205</c:v>
                </c:pt>
                <c:pt idx="80">
                  <c:v>0.1642047079005051</c:v>
                </c:pt>
                <c:pt idx="81">
                  <c:v>0.1722029753413491</c:v>
                </c:pt>
                <c:pt idx="82">
                  <c:v>0.17136125654450263</c:v>
                </c:pt>
                <c:pt idx="83">
                  <c:v>0.17091711623344777</c:v>
                </c:pt>
                <c:pt idx="84">
                  <c:v>0.1731971525843392</c:v>
                </c:pt>
                <c:pt idx="85">
                  <c:v>0.1781016320069865</c:v>
                </c:pt>
                <c:pt idx="86">
                  <c:v>0.18914164143687096</c:v>
                </c:pt>
                <c:pt idx="87">
                  <c:v>0.20626872551279096</c:v>
                </c:pt>
                <c:pt idx="88">
                  <c:v>0.19925086345283846</c:v>
                </c:pt>
                <c:pt idx="89">
                  <c:v>0.18920077137347333</c:v>
                </c:pt>
                <c:pt idx="90">
                  <c:v>0.17882288228822882</c:v>
                </c:pt>
                <c:pt idx="91">
                  <c:v>0.17116303770578864</c:v>
                </c:pt>
                <c:pt idx="92">
                  <c:v>0.18376905390445372</c:v>
                </c:pt>
                <c:pt idx="93">
                  <c:v>0.17386494017374202</c:v>
                </c:pt>
                <c:pt idx="94">
                  <c:v>0.17872005918801442</c:v>
                </c:pt>
                <c:pt idx="95">
                  <c:v>0.18349928876244664</c:v>
                </c:pt>
                <c:pt idx="96">
                  <c:v>0.1838017571962526</c:v>
                </c:pt>
                <c:pt idx="97">
                  <c:v>0.18564141638622558</c:v>
                </c:pt>
                <c:pt idx="98">
                  <c:v>0.19047008859925313</c:v>
                </c:pt>
                <c:pt idx="99">
                  <c:v>0.19314582541492462</c:v>
                </c:pt>
                <c:pt idx="100">
                  <c:v>0.19683051921857891</c:v>
                </c:pt>
                <c:pt idx="101">
                  <c:v>0.19314315106433488</c:v>
                </c:pt>
                <c:pt idx="102">
                  <c:v>0.17887716504081227</c:v>
                </c:pt>
                <c:pt idx="103">
                  <c:v>0.1841797332085186</c:v>
                </c:pt>
                <c:pt idx="104">
                  <c:v>0.1828788495455162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95.6848</c:v>
                </c:pt>
                <c:pt idx="1">
                  <c:v>1198.9994</c:v>
                </c:pt>
                <c:pt idx="2">
                  <c:v>1210.5629</c:v>
                </c:pt>
                <c:pt idx="3">
                  <c:v>1199.603</c:v>
                </c:pt>
                <c:pt idx="4">
                  <c:v>1217.8573</c:v>
                </c:pt>
                <c:pt idx="5">
                  <c:v>1213.9471</c:v>
                </c:pt>
                <c:pt idx="6">
                  <c:v>1133.9565</c:v>
                </c:pt>
                <c:pt idx="7">
                  <c:v>1164.5555</c:v>
                </c:pt>
                <c:pt idx="8">
                  <c:v>1201.2923</c:v>
                </c:pt>
                <c:pt idx="9">
                  <c:v>1136.7634</c:v>
                </c:pt>
                <c:pt idx="10">
                  <c:v>1160.9751</c:v>
                </c:pt>
                <c:pt idx="11">
                  <c:v>1076.0515</c:v>
                </c:pt>
                <c:pt idx="12">
                  <c:v>1107.9836</c:v>
                </c:pt>
                <c:pt idx="13">
                  <c:v>1135.0708</c:v>
                </c:pt>
                <c:pt idx="14">
                  <c:v>1145.0448</c:v>
                </c:pt>
                <c:pt idx="15">
                  <c:v>1152.681</c:v>
                </c:pt>
                <c:pt idx="16">
                  <c:v>1202.9584</c:v>
                </c:pt>
                <c:pt idx="17">
                  <c:v>1161.3676</c:v>
                </c:pt>
                <c:pt idx="18">
                  <c:v>1174.7117</c:v>
                </c:pt>
                <c:pt idx="19">
                  <c:v>1255.5536</c:v>
                </c:pt>
                <c:pt idx="20">
                  <c:v>1241.1818</c:v>
                </c:pt>
                <c:pt idx="21">
                  <c:v>1182.4799</c:v>
                </c:pt>
                <c:pt idx="22">
                  <c:v>1207.6495</c:v>
                </c:pt>
                <c:pt idx="23">
                  <c:v>1197.7542</c:v>
                </c:pt>
                <c:pt idx="24">
                  <c:v>1194.7574</c:v>
                </c:pt>
                <c:pt idx="25">
                  <c:v>1180.9858</c:v>
                </c:pt>
                <c:pt idx="26">
                  <c:v>1195.4343</c:v>
                </c:pt>
                <c:pt idx="27">
                  <c:v>1200.8557</c:v>
                </c:pt>
                <c:pt idx="28">
                  <c:v>1239.3249</c:v>
                </c:pt>
                <c:pt idx="29">
                  <c:v>1245.4634</c:v>
                </c:pt>
                <c:pt idx="30">
                  <c:v>1236.1846</c:v>
                </c:pt>
                <c:pt idx="31">
                  <c:v>1222.3516</c:v>
                </c:pt>
                <c:pt idx="32">
                  <c:v>1238.381</c:v>
                </c:pt>
                <c:pt idx="33">
                  <c:v>1235.9333</c:v>
                </c:pt>
                <c:pt idx="34">
                  <c:v>1249.3299</c:v>
                </c:pt>
                <c:pt idx="35">
                  <c:v>1268.9072</c:v>
                </c:pt>
                <c:pt idx="36">
                  <c:v>1290.0027</c:v>
                </c:pt>
                <c:pt idx="37">
                  <c:v>1273.1904</c:v>
                </c:pt>
                <c:pt idx="38">
                  <c:v>1281.431</c:v>
                </c:pt>
                <c:pt idx="39">
                  <c:v>1247.9419</c:v>
                </c:pt>
                <c:pt idx="40">
                  <c:v>1274.4374</c:v>
                </c:pt>
                <c:pt idx="41">
                  <c:v>1296.8614</c:v>
                </c:pt>
                <c:pt idx="42">
                  <c:v>1292.6702</c:v>
                </c:pt>
                <c:pt idx="43">
                  <c:v>1302.0746</c:v>
                </c:pt>
                <c:pt idx="44">
                  <c:v>1228.3732</c:v>
                </c:pt>
                <c:pt idx="45">
                  <c:v>1191.7719</c:v>
                </c:pt>
                <c:pt idx="46">
                  <c:v>1187.7071</c:v>
                </c:pt>
                <c:pt idx="47">
                  <c:v>1166.1368</c:v>
                </c:pt>
                <c:pt idx="48">
                  <c:v>1151.4027</c:v>
                </c:pt>
                <c:pt idx="49">
                  <c:v>1160.7003</c:v>
                </c:pt>
                <c:pt idx="50">
                  <c:v>1117.3454</c:v>
                </c:pt>
                <c:pt idx="51">
                  <c:v>1097.8635</c:v>
                </c:pt>
              </c:numCache>
            </c:numRef>
          </c:xVal>
          <c:yVal>
            <c:numRef>
              <c:f>Sheet1!$B$109:$B$160</c:f>
              <c:numCache>
                <c:formatCode>General</c:formatCode>
                <c:ptCount val="52"/>
                <c:pt idx="0">
                  <c:v>0.1895009881422925</c:v>
                </c:pt>
                <c:pt idx="1">
                  <c:v>0.18778197460917007</c:v>
                </c:pt>
                <c:pt idx="2">
                  <c:v>0.20062526444454892</c:v>
                </c:pt>
                <c:pt idx="3">
                  <c:v>0.2109382344646047</c:v>
                </c:pt>
                <c:pt idx="4">
                  <c:v>0.19643423331138266</c:v>
                </c:pt>
                <c:pt idx="5">
                  <c:v>0.19497255978047826</c:v>
                </c:pt>
                <c:pt idx="6">
                  <c:v>0.20213940648723258</c:v>
                </c:pt>
                <c:pt idx="7">
                  <c:v>0.19750794499858407</c:v>
                </c:pt>
                <c:pt idx="8">
                  <c:v>0.18985678180286436</c:v>
                </c:pt>
                <c:pt idx="9">
                  <c:v>0.19953445065176909</c:v>
                </c:pt>
                <c:pt idx="10">
                  <c:v>0.20161601758607373</c:v>
                </c:pt>
                <c:pt idx="11">
                  <c:v>0.20536135246177678</c:v>
                </c:pt>
                <c:pt idx="12">
                  <c:v>0.2045144675049235</c:v>
                </c:pt>
                <c:pt idx="13">
                  <c:v>0.20614427991779521</c:v>
                </c:pt>
                <c:pt idx="14">
                  <c:v>0.20374727668845316</c:v>
                </c:pt>
                <c:pt idx="15">
                  <c:v>0.20129224652087474</c:v>
                </c:pt>
                <c:pt idx="16">
                  <c:v>0.19142342342342342</c:v>
                </c:pt>
                <c:pt idx="17">
                  <c:v>0.19288650850526157</c:v>
                </c:pt>
                <c:pt idx="18">
                  <c:v>0.19724100127900604</c:v>
                </c:pt>
                <c:pt idx="19">
                  <c:v>0.19699765179469977</c:v>
                </c:pt>
                <c:pt idx="20">
                  <c:v>0.1840305244055651</c:v>
                </c:pt>
                <c:pt idx="21">
                  <c:v>0.19424171024653755</c:v>
                </c:pt>
                <c:pt idx="22">
                  <c:v>0.19073538583659352</c:v>
                </c:pt>
                <c:pt idx="23">
                  <c:v>0.19870296798317363</c:v>
                </c:pt>
                <c:pt idx="24">
                  <c:v>0.19888425499647944</c:v>
                </c:pt>
                <c:pt idx="25">
                  <c:v>0.19659187730758307</c:v>
                </c:pt>
                <c:pt idx="26">
                  <c:v>0.19053030303030302</c:v>
                </c:pt>
                <c:pt idx="27">
                  <c:v>0.19100848163945677</c:v>
                </c:pt>
                <c:pt idx="28">
                  <c:v>0.18142673236560572</c:v>
                </c:pt>
                <c:pt idx="29">
                  <c:v>0.18295873151460146</c:v>
                </c:pt>
                <c:pt idx="30">
                  <c:v>0.19096874652430207</c:v>
                </c:pt>
                <c:pt idx="31">
                  <c:v>0.1822752604797674</c:v>
                </c:pt>
                <c:pt idx="32">
                  <c:v>0.17781783480012725</c:v>
                </c:pt>
                <c:pt idx="33">
                  <c:v>0.1965108041091038</c:v>
                </c:pt>
                <c:pt idx="34">
                  <c:v>0.21435682653026195</c:v>
                </c:pt>
                <c:pt idx="35">
                  <c:v>0.21057403057650306</c:v>
                </c:pt>
                <c:pt idx="36">
                  <c:v>0.1951282884053264</c:v>
                </c:pt>
                <c:pt idx="37">
                  <c:v>0.19675832127351664</c:v>
                </c:pt>
                <c:pt idx="38">
                  <c:v>0.19594594594594594</c:v>
                </c:pt>
                <c:pt idx="39">
                  <c:v>0.20339545691658367</c:v>
                </c:pt>
                <c:pt idx="40">
                  <c:v>0.19003562011379932</c:v>
                </c:pt>
                <c:pt idx="41">
                  <c:v>0.1933872088981578</c:v>
                </c:pt>
                <c:pt idx="42">
                  <c:v>0.19131495486704075</c:v>
                </c:pt>
                <c:pt idx="43">
                  <c:v>0.18496799799764008</c:v>
                </c:pt>
                <c:pt idx="44">
                  <c:v>0.1825501390718782</c:v>
                </c:pt>
                <c:pt idx="45">
                  <c:v>0.1977002885653237</c:v>
                </c:pt>
                <c:pt idx="46">
                  <c:v>0.2098371043113235</c:v>
                </c:pt>
                <c:pt idx="47">
                  <c:v>0.21031106704672203</c:v>
                </c:pt>
                <c:pt idx="48">
                  <c:v>0.20441701986204605</c:v>
                </c:pt>
                <c:pt idx="49">
                  <c:v>0.21285381785419324</c:v>
                </c:pt>
                <c:pt idx="50">
                  <c:v>0.21914104646980764</c:v>
                </c:pt>
                <c:pt idx="51">
                  <c:v>0.210663171014741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01.6273839627527</c:v>
                </c:pt>
              </c:numCache>
            </c:numRef>
          </c:xVal>
          <c:yVal>
            <c:numRef>
              <c:f>Sheet1!$B$163:$B$164</c:f>
              <c:numCache>
                <c:formatCode>General</c:formatCode>
                <c:ptCount val="2"/>
                <c:pt idx="0">
                  <c:v>0.2482791923123147</c:v>
                </c:pt>
                <c:pt idx="1">
                  <c:v>0.2482791923123147</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01.6273839627527</c:v>
                </c:pt>
                <c:pt idx="1">
                  <c:v>601.6273839627527</c:v>
                </c:pt>
              </c:numCache>
            </c:numRef>
          </c:xVal>
          <c:yVal>
            <c:numRef>
              <c:f>Sheet1!$B$167:$B$168</c:f>
              <c:numCache>
                <c:formatCode>General</c:formatCode>
                <c:ptCount val="2"/>
                <c:pt idx="0">
                  <c:v>0.24827919231231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30.6676908402665</c:v>
                </c:pt>
              </c:numCache>
            </c:numRef>
          </c:xVal>
          <c:yVal>
            <c:numRef>
              <c:f>Sheet1!$B$171:$B$172</c:f>
              <c:numCache>
                <c:formatCode>General</c:formatCode>
                <c:ptCount val="2"/>
                <c:pt idx="0">
                  <c:v>0.2117687638001972</c:v>
                </c:pt>
                <c:pt idx="1">
                  <c:v>0.211768763800197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30.6676908402665</c:v>
                </c:pt>
                <c:pt idx="1">
                  <c:v>1030.6676908402665</c:v>
                </c:pt>
              </c:numCache>
            </c:numRef>
          </c:xVal>
          <c:yVal>
            <c:numRef>
              <c:f>Sheet1!$B$175:$B$176</c:f>
              <c:numCache>
                <c:formatCode>General</c:formatCode>
                <c:ptCount val="2"/>
                <c:pt idx="0">
                  <c:v>0.211768763800197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9.4054232510846</c:v>
                </c:pt>
              </c:numCache>
            </c:numRef>
          </c:xVal>
          <c:yVal>
            <c:numRef>
              <c:f>Sheet1!$B$179:$B$180</c:f>
              <c:numCache>
                <c:formatCode>General</c:formatCode>
                <c:ptCount val="2"/>
                <c:pt idx="0">
                  <c:v>0.20081345330686598</c:v>
                </c:pt>
                <c:pt idx="1">
                  <c:v>0.2008134533068659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9.4054232510846</c:v>
                </c:pt>
                <c:pt idx="1">
                  <c:v>1159.4054232510846</c:v>
                </c:pt>
              </c:numCache>
            </c:numRef>
          </c:xVal>
          <c:yVal>
            <c:numRef>
              <c:f>Sheet1!$B$183:$B$184</c:f>
              <c:numCache>
                <c:formatCode>General</c:formatCode>
                <c:ptCount val="2"/>
                <c:pt idx="0">
                  <c:v>0.2008134533068659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95.6848</c:v>
                </c:pt>
                <c:pt idx="1">
                  <c:v>1198.9994</c:v>
                </c:pt>
                <c:pt idx="2">
                  <c:v>1210.5629</c:v>
                </c:pt>
                <c:pt idx="3">
                  <c:v>1199.603</c:v>
                </c:pt>
                <c:pt idx="4">
                  <c:v>1217.8573</c:v>
                </c:pt>
                <c:pt idx="5">
                  <c:v>1213.9471</c:v>
                </c:pt>
                <c:pt idx="6">
                  <c:v>1133.9565</c:v>
                </c:pt>
                <c:pt idx="7">
                  <c:v>1164.5555</c:v>
                </c:pt>
                <c:pt idx="8">
                  <c:v>1201.2923</c:v>
                </c:pt>
                <c:pt idx="9">
                  <c:v>1136.7634</c:v>
                </c:pt>
                <c:pt idx="10">
                  <c:v>1160.9751</c:v>
                </c:pt>
                <c:pt idx="11">
                  <c:v>1076.0515</c:v>
                </c:pt>
                <c:pt idx="12">
                  <c:v>1107.9836</c:v>
                </c:pt>
                <c:pt idx="13">
                  <c:v>1135.0708</c:v>
                </c:pt>
                <c:pt idx="14">
                  <c:v>1145.0448</c:v>
                </c:pt>
                <c:pt idx="15">
                  <c:v>1152.681</c:v>
                </c:pt>
                <c:pt idx="16">
                  <c:v>1202.9584</c:v>
                </c:pt>
                <c:pt idx="17">
                  <c:v>1161.3676</c:v>
                </c:pt>
                <c:pt idx="18">
                  <c:v>1174.7117</c:v>
                </c:pt>
                <c:pt idx="19">
                  <c:v>1255.5536</c:v>
                </c:pt>
                <c:pt idx="20">
                  <c:v>1241.1818</c:v>
                </c:pt>
                <c:pt idx="21">
                  <c:v>1182.4799</c:v>
                </c:pt>
                <c:pt idx="22">
                  <c:v>1207.6495</c:v>
                </c:pt>
                <c:pt idx="23">
                  <c:v>1197.7542</c:v>
                </c:pt>
                <c:pt idx="24">
                  <c:v>1194.7574</c:v>
                </c:pt>
                <c:pt idx="25">
                  <c:v>1180.9858</c:v>
                </c:pt>
                <c:pt idx="26">
                  <c:v>1195.4343</c:v>
                </c:pt>
                <c:pt idx="27">
                  <c:v>1200.8557</c:v>
                </c:pt>
                <c:pt idx="28">
                  <c:v>1239.3249</c:v>
                </c:pt>
                <c:pt idx="29">
                  <c:v>1245.4634</c:v>
                </c:pt>
                <c:pt idx="30">
                  <c:v>1236.1846</c:v>
                </c:pt>
                <c:pt idx="31">
                  <c:v>1222.3516</c:v>
                </c:pt>
                <c:pt idx="32">
                  <c:v>1238.381</c:v>
                </c:pt>
                <c:pt idx="33">
                  <c:v>1235.9333</c:v>
                </c:pt>
                <c:pt idx="34">
                  <c:v>1249.3299</c:v>
                </c:pt>
                <c:pt idx="35">
                  <c:v>1268.9072</c:v>
                </c:pt>
                <c:pt idx="36">
                  <c:v>1290.0027</c:v>
                </c:pt>
                <c:pt idx="37">
                  <c:v>1273.1904</c:v>
                </c:pt>
                <c:pt idx="38">
                  <c:v>1281.431</c:v>
                </c:pt>
                <c:pt idx="39">
                  <c:v>1247.9419</c:v>
                </c:pt>
                <c:pt idx="40">
                  <c:v>1274.4374</c:v>
                </c:pt>
                <c:pt idx="41">
                  <c:v>1296.8614</c:v>
                </c:pt>
                <c:pt idx="42">
                  <c:v>1292.6702</c:v>
                </c:pt>
                <c:pt idx="43">
                  <c:v>1302.0746</c:v>
                </c:pt>
                <c:pt idx="44">
                  <c:v>1228.3732</c:v>
                </c:pt>
                <c:pt idx="45">
                  <c:v>1191.7719</c:v>
                </c:pt>
                <c:pt idx="46">
                  <c:v>1187.7071</c:v>
                </c:pt>
                <c:pt idx="47">
                  <c:v>1166.1368</c:v>
                </c:pt>
                <c:pt idx="48">
                  <c:v>1151.4027</c:v>
                </c:pt>
                <c:pt idx="49">
                  <c:v>1160.7003</c:v>
                </c:pt>
                <c:pt idx="50">
                  <c:v>1117.3454</c:v>
                </c:pt>
                <c:pt idx="51">
                  <c:v>1097.8635</c:v>
                </c:pt>
                <c:pt idx="52">
                  <c:v>1030.6676908402665</c:v>
                </c:pt>
                <c:pt idx="53">
                  <c:v>601.6273839627527</c:v>
                </c:pt>
                <c:pt idx="54">
                  <c:v>1159.4054232510846</c:v>
                </c:pt>
              </c:numCache>
            </c:numRef>
          </c:xVal>
          <c:yVal>
            <c:numRef>
              <c:f>Sheet1!$B$187:$B$241</c:f>
              <c:numCache>
                <c:formatCode>General</c:formatCode>
                <c:ptCount val="55"/>
                <c:pt idx="0">
                  <c:v>0.19772615458452564</c:v>
                </c:pt>
                <c:pt idx="1">
                  <c:v>0.19744408908996405</c:v>
                </c:pt>
                <c:pt idx="2">
                  <c:v>0.19646005953998424</c:v>
                </c:pt>
                <c:pt idx="3">
                  <c:v>0.1973927239983942</c:v>
                </c:pt>
                <c:pt idx="4">
                  <c:v>0.19583932142874005</c:v>
                </c:pt>
                <c:pt idx="5">
                  <c:v>0.19617207123168298</c:v>
                </c:pt>
                <c:pt idx="6">
                  <c:v>0.20297910319610668</c:v>
                </c:pt>
                <c:pt idx="7">
                  <c:v>0.20037519259811892</c:v>
                </c:pt>
                <c:pt idx="8">
                  <c:v>0.1972489681183595</c:v>
                </c:pt>
                <c:pt idx="9">
                  <c:v>0.20274024190464318</c:v>
                </c:pt>
                <c:pt idx="10">
                  <c:v>0.20067987711411733</c:v>
                </c:pt>
                <c:pt idx="11">
                  <c:v>0.2079066970121295</c:v>
                </c:pt>
                <c:pt idx="12">
                  <c:v>0.20518934240557354</c:v>
                </c:pt>
                <c:pt idx="13">
                  <c:v>0.2028842786077431</c:v>
                </c:pt>
                <c:pt idx="14">
                  <c:v>0.20203551216752186</c:v>
                </c:pt>
                <c:pt idx="15">
                  <c:v>0.20138568759455036</c:v>
                </c:pt>
                <c:pt idx="16">
                  <c:v>0.19710718650957143</c:v>
                </c:pt>
                <c:pt idx="17">
                  <c:v>0.20064647618893316</c:v>
                </c:pt>
                <c:pt idx="18">
                  <c:v>0.19951092132078033</c:v>
                </c:pt>
                <c:pt idx="19">
                  <c:v>0.19263144551531391</c:v>
                </c:pt>
                <c:pt idx="20">
                  <c:v>0.19385445549381516</c:v>
                </c:pt>
                <c:pt idx="21">
                  <c:v>0.19884986382519915</c:v>
                </c:pt>
                <c:pt idx="22">
                  <c:v>0.19670798375764423</c:v>
                </c:pt>
                <c:pt idx="23">
                  <c:v>0.19755005299324893</c:v>
                </c:pt>
                <c:pt idx="24">
                  <c:v>0.19780507437564868</c:v>
                </c:pt>
                <c:pt idx="25">
                  <c:v>0.1989770085954352</c:v>
                </c:pt>
                <c:pt idx="26">
                  <c:v>0.1977474716081145</c:v>
                </c:pt>
                <c:pt idx="27">
                  <c:v>0.19728612186087013</c:v>
                </c:pt>
                <c:pt idx="28">
                  <c:v>0.1940124737816482</c:v>
                </c:pt>
                <c:pt idx="29">
                  <c:v>0.19349010033134761</c:v>
                </c:pt>
                <c:pt idx="30">
                  <c:v>0.1942797067124911</c:v>
                </c:pt>
                <c:pt idx="31">
                  <c:v>0.19545686594324913</c:v>
                </c:pt>
                <c:pt idx="32">
                  <c:v>0.19409279768809745</c:v>
                </c:pt>
                <c:pt idx="33">
                  <c:v>0.1943010918143988</c:v>
                </c:pt>
                <c:pt idx="34">
                  <c:v>0.19316106930657168</c:v>
                </c:pt>
                <c:pt idx="35">
                  <c:v>0.19149508221712475</c:v>
                </c:pt>
                <c:pt idx="36">
                  <c:v>0.18969989949808652</c:v>
                </c:pt>
                <c:pt idx="37">
                  <c:v>0.19113059089801954</c:v>
                </c:pt>
                <c:pt idx="38">
                  <c:v>0.19042933315515936</c:v>
                </c:pt>
                <c:pt idx="39">
                  <c:v>0.1932791851897707</c:v>
                </c:pt>
                <c:pt idx="40">
                  <c:v>0.19102447381851723</c:v>
                </c:pt>
                <c:pt idx="41">
                  <c:v>0.18911623854124418</c:v>
                </c:pt>
                <c:pt idx="42">
                  <c:v>0.18947290085368204</c:v>
                </c:pt>
                <c:pt idx="43">
                  <c:v>0.18867260617647966</c:v>
                </c:pt>
                <c:pt idx="44">
                  <c:v>0.19494444043728998</c:v>
                </c:pt>
                <c:pt idx="45">
                  <c:v>0.1980591341517947</c:v>
                </c:pt>
                <c:pt idx="46">
                  <c:v>0.1984050400898548</c:v>
                </c:pt>
                <c:pt idx="47">
                  <c:v>0.20024062729112857</c:v>
                </c:pt>
                <c:pt idx="48">
                  <c:v>0.20149446823827752</c:v>
                </c:pt>
                <c:pt idx="49">
                  <c:v>0.20070326201664118</c:v>
                </c:pt>
                <c:pt idx="50">
                  <c:v>0.20439267289884974</c:v>
                </c:pt>
                <c:pt idx="51">
                  <c:v>0.20605054164877418</c:v>
                </c:pt>
                <c:pt idx="52">
                  <c:v>0.2117687638001972</c:v>
                </c:pt>
                <c:pt idx="53">
                  <c:v>0.2482791923123147</c:v>
                </c:pt>
                <c:pt idx="54">
                  <c:v>0.2008134533068659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62.0"/>
          <c:min val="48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641155439130587"/>
          <c:min val="0.1313637663204040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1296.3333</c:v>
                </c:pt>
                <c:pt idx="1">
                  <c:v>1367.6818</c:v>
                </c:pt>
                <c:pt idx="2">
                  <c:v>1318.1429</c:v>
                </c:pt>
                <c:pt idx="3">
                  <c:v>1273.9333</c:v>
                </c:pt>
                <c:pt idx="4">
                  <c:v>1081.9403</c:v>
                </c:pt>
                <c:pt idx="5">
                  <c:v>1204.1282</c:v>
                </c:pt>
                <c:pt idx="6">
                  <c:v>957.8</c:v>
                </c:pt>
                <c:pt idx="7">
                  <c:v>1039.7083</c:v>
                </c:pt>
                <c:pt idx="8">
                  <c:v>1156.8333</c:v>
                </c:pt>
                <c:pt idx="9">
                  <c:v>1135.0588</c:v>
                </c:pt>
                <c:pt idx="10">
                  <c:v>1057.5897</c:v>
                </c:pt>
                <c:pt idx="11">
                  <c:v>1216.4074</c:v>
                </c:pt>
                <c:pt idx="12">
                  <c:v>1178.9063</c:v>
                </c:pt>
                <c:pt idx="13">
                  <c:v>1068.2222</c:v>
                </c:pt>
                <c:pt idx="14">
                  <c:v>1172.9333</c:v>
                </c:pt>
                <c:pt idx="15">
                  <c:v>1270.5357</c:v>
                </c:pt>
                <c:pt idx="16">
                  <c:v>1325.1538</c:v>
                </c:pt>
                <c:pt idx="17">
                  <c:v>1234.5455</c:v>
                </c:pt>
                <c:pt idx="18">
                  <c:v>1215.0</c:v>
                </c:pt>
                <c:pt idx="19">
                  <c:v>1264.8333</c:v>
                </c:pt>
                <c:pt idx="20">
                  <c:v>1301.0769</c:v>
                </c:pt>
                <c:pt idx="21">
                  <c:v>1045.8974</c:v>
                </c:pt>
                <c:pt idx="22">
                  <c:v>1205.0</c:v>
                </c:pt>
                <c:pt idx="23">
                  <c:v>1333.75</c:v>
                </c:pt>
                <c:pt idx="24">
                  <c:v>1203.4545</c:v>
                </c:pt>
                <c:pt idx="25">
                  <c:v>1110.4</c:v>
                </c:pt>
                <c:pt idx="26">
                  <c:v>1015.125</c:v>
                </c:pt>
                <c:pt idx="27">
                  <c:v>1246.375</c:v>
                </c:pt>
                <c:pt idx="28">
                  <c:v>1271.5</c:v>
                </c:pt>
                <c:pt idx="29">
                  <c:v>1213.2</c:v>
                </c:pt>
                <c:pt idx="30">
                  <c:v>1058.625</c:v>
                </c:pt>
                <c:pt idx="31">
                  <c:v>1086.6087</c:v>
                </c:pt>
                <c:pt idx="32">
                  <c:v>1052.7273</c:v>
                </c:pt>
                <c:pt idx="33">
                  <c:v>1045.5714</c:v>
                </c:pt>
                <c:pt idx="34">
                  <c:v>1066.6129</c:v>
                </c:pt>
                <c:pt idx="35">
                  <c:v>1279.0</c:v>
                </c:pt>
                <c:pt idx="36">
                  <c:v>949.7143</c:v>
                </c:pt>
                <c:pt idx="37">
                  <c:v>827.5263</c:v>
                </c:pt>
                <c:pt idx="38">
                  <c:v>1009.5333</c:v>
                </c:pt>
                <c:pt idx="39">
                  <c:v>1089.9167</c:v>
                </c:pt>
                <c:pt idx="40">
                  <c:v>1117.3529</c:v>
                </c:pt>
                <c:pt idx="41">
                  <c:v>873.1667</c:v>
                </c:pt>
                <c:pt idx="42">
                  <c:v>1074.125</c:v>
                </c:pt>
                <c:pt idx="43">
                  <c:v>1000.5</c:v>
                </c:pt>
                <c:pt idx="44">
                  <c:v>917.631</c:v>
                </c:pt>
                <c:pt idx="45">
                  <c:v>1202.8</c:v>
                </c:pt>
                <c:pt idx="46">
                  <c:v>1065.04</c:v>
                </c:pt>
                <c:pt idx="47">
                  <c:v>1287.3824</c:v>
                </c:pt>
                <c:pt idx="48">
                  <c:v>1250.2889</c:v>
                </c:pt>
                <c:pt idx="49">
                  <c:v>1047.7204</c:v>
                </c:pt>
                <c:pt idx="50">
                  <c:v>1282.0</c:v>
                </c:pt>
                <c:pt idx="51">
                  <c:v>1369.7647</c:v>
                </c:pt>
                <c:pt idx="52">
                  <c:v>1429.6667</c:v>
                </c:pt>
                <c:pt idx="53">
                  <c:v>1491.1111</c:v>
                </c:pt>
                <c:pt idx="54">
                  <c:v>1079.3913</c:v>
                </c:pt>
                <c:pt idx="55">
                  <c:v>1032.7805</c:v>
                </c:pt>
                <c:pt idx="56">
                  <c:v>1148.4058</c:v>
                </c:pt>
                <c:pt idx="57">
                  <c:v>1300.5844</c:v>
                </c:pt>
                <c:pt idx="58">
                  <c:v>1179.6304</c:v>
                </c:pt>
                <c:pt idx="59">
                  <c:v>1445.3462</c:v>
                </c:pt>
                <c:pt idx="60">
                  <c:v>1241.2</c:v>
                </c:pt>
                <c:pt idx="61">
                  <c:v>1210.1333</c:v>
                </c:pt>
                <c:pt idx="62">
                  <c:v>1076.7692</c:v>
                </c:pt>
                <c:pt idx="63">
                  <c:v>932.5385</c:v>
                </c:pt>
                <c:pt idx="64">
                  <c:v>757.65</c:v>
                </c:pt>
                <c:pt idx="65">
                  <c:v>893.0278</c:v>
                </c:pt>
                <c:pt idx="66">
                  <c:v>830.2813</c:v>
                </c:pt>
                <c:pt idx="67">
                  <c:v>926.44</c:v>
                </c:pt>
                <c:pt idx="68">
                  <c:v>1001.4762</c:v>
                </c:pt>
                <c:pt idx="69">
                  <c:v>1300.0</c:v>
                </c:pt>
                <c:pt idx="70">
                  <c:v>1232.0</c:v>
                </c:pt>
                <c:pt idx="71">
                  <c:v>1223.0</c:v>
                </c:pt>
                <c:pt idx="72">
                  <c:v>1214.75</c:v>
                </c:pt>
                <c:pt idx="73">
                  <c:v>936.8472</c:v>
                </c:pt>
                <c:pt idx="74">
                  <c:v>1391.0</c:v>
                </c:pt>
                <c:pt idx="75">
                  <c:v>1530.3846</c:v>
                </c:pt>
                <c:pt idx="76">
                  <c:v>1437.3529</c:v>
                </c:pt>
                <c:pt idx="77">
                  <c:v>1411.9375</c:v>
                </c:pt>
                <c:pt idx="78">
                  <c:v>1668.1563</c:v>
                </c:pt>
                <c:pt idx="79">
                  <c:v>1314.8</c:v>
                </c:pt>
                <c:pt idx="80">
                  <c:v>1310.0</c:v>
                </c:pt>
                <c:pt idx="81">
                  <c:v>1239.4167</c:v>
                </c:pt>
                <c:pt idx="82">
                  <c:v>1292.2</c:v>
                </c:pt>
                <c:pt idx="83">
                  <c:v>1031.0446</c:v>
                </c:pt>
                <c:pt idx="84">
                  <c:v>1152.5517</c:v>
                </c:pt>
                <c:pt idx="85">
                  <c:v>951.3086</c:v>
                </c:pt>
                <c:pt idx="86">
                  <c:v>1120.2941</c:v>
                </c:pt>
                <c:pt idx="87">
                  <c:v>1359.3571</c:v>
                </c:pt>
              </c:numCache>
            </c:numRef>
          </c:xVal>
          <c:yVal>
            <c:numRef>
              <c:f>Sheet1!$B$2:$B$89</c:f>
              <c:numCache>
                <c:formatCode>General</c:formatCode>
                <c:ptCount val="88"/>
                <c:pt idx="0">
                  <c:v>0.65625</c:v>
                </c:pt>
                <c:pt idx="1">
                  <c:v>0.6285714285714286</c:v>
                </c:pt>
                <c:pt idx="2">
                  <c:v>0.717948717948718</c:v>
                </c:pt>
                <c:pt idx="3">
                  <c:v>0.6818181818181818</c:v>
                </c:pt>
                <c:pt idx="4">
                  <c:v>0.9178082191780822</c:v>
                </c:pt>
                <c:pt idx="5">
                  <c:v>0.9285714285714286</c:v>
                </c:pt>
                <c:pt idx="6">
                  <c:v>0.8974358974358975</c:v>
                </c:pt>
                <c:pt idx="7">
                  <c:v>0.8888888888888888</c:v>
                </c:pt>
                <c:pt idx="8">
                  <c:v>0.9090909090909091</c:v>
                </c:pt>
                <c:pt idx="9">
                  <c:v>0.8095238095238095</c:v>
                </c:pt>
                <c:pt idx="10">
                  <c:v>0.9285714285714286</c:v>
                </c:pt>
                <c:pt idx="11">
                  <c:v>0.9310344827586207</c:v>
                </c:pt>
                <c:pt idx="12">
                  <c:v>0.9411764705882353</c:v>
                </c:pt>
                <c:pt idx="13">
                  <c:v>0.9473684210526315</c:v>
                </c:pt>
                <c:pt idx="14">
                  <c:v>0.9090909090909091</c:v>
                </c:pt>
                <c:pt idx="15">
                  <c:v>0.9032258064516129</c:v>
                </c:pt>
                <c:pt idx="16">
                  <c:v>0.9285714285714286</c:v>
                </c:pt>
                <c:pt idx="17">
                  <c:v>0.7857142857142857</c:v>
                </c:pt>
                <c:pt idx="18">
                  <c:v>0.8181818181818182</c:v>
                </c:pt>
                <c:pt idx="19">
                  <c:v>0.6666666666666666</c:v>
                </c:pt>
                <c:pt idx="20">
                  <c:v>0.7647058823529411</c:v>
                </c:pt>
                <c:pt idx="21">
                  <c:v>0.9512195121951219</c:v>
                </c:pt>
                <c:pt idx="22">
                  <c:v>0.7142857142857143</c:v>
                </c:pt>
                <c:pt idx="23">
                  <c:v>0.8888888888888888</c:v>
                </c:pt>
                <c:pt idx="24">
                  <c:v>0.8461538461538461</c:v>
                </c:pt>
                <c:pt idx="25">
                  <c:v>0.9090909090909091</c:v>
                </c:pt>
                <c:pt idx="26">
                  <c:v>0.8</c:v>
                </c:pt>
                <c:pt idx="27">
                  <c:v>0.8</c:v>
                </c:pt>
                <c:pt idx="28">
                  <c:v>0.9230769230769231</c:v>
                </c:pt>
                <c:pt idx="29">
                  <c:v>0.8823529411764706</c:v>
                </c:pt>
                <c:pt idx="30">
                  <c:v>0.96</c:v>
                </c:pt>
                <c:pt idx="31">
                  <c:v>0.92</c:v>
                </c:pt>
                <c:pt idx="32">
                  <c:v>0.9565217391304348</c:v>
                </c:pt>
                <c:pt idx="33">
                  <c:v>0.9655172413793104</c:v>
                </c:pt>
                <c:pt idx="34">
                  <c:v>0.9117647058823529</c:v>
                </c:pt>
                <c:pt idx="35">
                  <c:v>0.7647058823529411</c:v>
                </c:pt>
                <c:pt idx="36">
                  <c:v>0.9545454545454546</c:v>
                </c:pt>
                <c:pt idx="37">
                  <c:v>0.95</c:v>
                </c:pt>
                <c:pt idx="38">
                  <c:v>0.9375</c:v>
                </c:pt>
                <c:pt idx="39">
                  <c:v>1.0</c:v>
                </c:pt>
                <c:pt idx="40">
                  <c:v>0.8947368421052632</c:v>
                </c:pt>
                <c:pt idx="41">
                  <c:v>0.8571428571428571</c:v>
                </c:pt>
                <c:pt idx="42">
                  <c:v>0.8421052631578947</c:v>
                </c:pt>
                <c:pt idx="43">
                  <c:v>0.9230769230769231</c:v>
                </c:pt>
                <c:pt idx="44">
                  <c:v>0.9882352941176471</c:v>
                </c:pt>
                <c:pt idx="45">
                  <c:v>0.9523809523809523</c:v>
                </c:pt>
                <c:pt idx="46">
                  <c:v>0.9615384615384616</c:v>
                </c:pt>
                <c:pt idx="47">
                  <c:v>0.9444444444444444</c:v>
                </c:pt>
                <c:pt idx="48">
                  <c:v>0.9782608695652174</c:v>
                </c:pt>
                <c:pt idx="49">
                  <c:v>0.9029126213592233</c:v>
                </c:pt>
                <c:pt idx="50">
                  <c:v>0.5</c:v>
                </c:pt>
                <c:pt idx="51">
                  <c:v>0.5151515151515151</c:v>
                </c:pt>
                <c:pt idx="52">
                  <c:v>0.5172413793103449</c:v>
                </c:pt>
                <c:pt idx="53">
                  <c:v>0.5806451612903226</c:v>
                </c:pt>
                <c:pt idx="54">
                  <c:v>0.7301587301587301</c:v>
                </c:pt>
                <c:pt idx="55">
                  <c:v>0.845360824742268</c:v>
                </c:pt>
                <c:pt idx="56">
                  <c:v>0.8117647058823529</c:v>
                </c:pt>
                <c:pt idx="57">
                  <c:v>0.8850574712643678</c:v>
                </c:pt>
                <c:pt idx="58">
                  <c:v>0.7666666666666667</c:v>
                </c:pt>
                <c:pt idx="59">
                  <c:v>0.5909090909090909</c:v>
                </c:pt>
                <c:pt idx="60">
                  <c:v>0.7</c:v>
                </c:pt>
                <c:pt idx="61">
                  <c:v>0.6818181818181818</c:v>
                </c:pt>
                <c:pt idx="62">
                  <c:v>0.5652173913043478</c:v>
                </c:pt>
                <c:pt idx="63">
                  <c:v>0.75</c:v>
                </c:pt>
                <c:pt idx="64">
                  <c:v>0.7272727272727273</c:v>
                </c:pt>
                <c:pt idx="65">
                  <c:v>0.72</c:v>
                </c:pt>
                <c:pt idx="66">
                  <c:v>0.6956521739130435</c:v>
                </c:pt>
                <c:pt idx="67">
                  <c:v>0.7142857142857143</c:v>
                </c:pt>
                <c:pt idx="68">
                  <c:v>0.6363636363636364</c:v>
                </c:pt>
                <c:pt idx="69">
                  <c:v>0.3142857142857143</c:v>
                </c:pt>
                <c:pt idx="70">
                  <c:v>0.38461538461538464</c:v>
                </c:pt>
                <c:pt idx="71">
                  <c:v>0.5652173913043478</c:v>
                </c:pt>
                <c:pt idx="72">
                  <c:v>0.41025641025641024</c:v>
                </c:pt>
                <c:pt idx="73">
                  <c:v>0.7058823529411765</c:v>
                </c:pt>
                <c:pt idx="74">
                  <c:v>0.3508771929824561</c:v>
                </c:pt>
                <c:pt idx="75">
                  <c:v>0.30952380952380953</c:v>
                </c:pt>
                <c:pt idx="76">
                  <c:v>0.3148148148148148</c:v>
                </c:pt>
                <c:pt idx="77">
                  <c:v>0.32653061224489793</c:v>
                </c:pt>
                <c:pt idx="78">
                  <c:v>0.6881720430107527</c:v>
                </c:pt>
                <c:pt idx="79">
                  <c:v>0.4166666666666667</c:v>
                </c:pt>
                <c:pt idx="80">
                  <c:v>0.46938775510204084</c:v>
                </c:pt>
                <c:pt idx="81">
                  <c:v>0.5454545454545454</c:v>
                </c:pt>
                <c:pt idx="82">
                  <c:v>0.603448275862069</c:v>
                </c:pt>
                <c:pt idx="83">
                  <c:v>0.8263157894736842</c:v>
                </c:pt>
                <c:pt idx="84">
                  <c:v>0.5</c:v>
                </c:pt>
                <c:pt idx="85">
                  <c:v>0.81</c:v>
                </c:pt>
                <c:pt idx="86">
                  <c:v>0.6071428571428571</c:v>
                </c:pt>
                <c:pt idx="87">
                  <c:v>0.3684210526315789</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36</c:f>
              <c:numCache>
                <c:formatCode>General</c:formatCode>
                <c:ptCount val="45"/>
                <c:pt idx="0">
                  <c:v>1432.0</c:v>
                </c:pt>
                <c:pt idx="1">
                  <c:v>1294.4762</c:v>
                </c:pt>
                <c:pt idx="2">
                  <c:v>1287.3509</c:v>
                </c:pt>
                <c:pt idx="3">
                  <c:v>1282.7344</c:v>
                </c:pt>
                <c:pt idx="4">
                  <c:v>1123.75</c:v>
                </c:pt>
                <c:pt idx="5">
                  <c:v>1174.5063</c:v>
                </c:pt>
                <c:pt idx="6">
                  <c:v>1041.6034</c:v>
                </c:pt>
                <c:pt idx="7">
                  <c:v>1242.5217</c:v>
                </c:pt>
                <c:pt idx="8">
                  <c:v>1297.7333</c:v>
                </c:pt>
                <c:pt idx="9">
                  <c:v>921.3068</c:v>
                </c:pt>
                <c:pt idx="10">
                  <c:v>835.9608</c:v>
                </c:pt>
                <c:pt idx="11">
                  <c:v>783.2874</c:v>
                </c:pt>
                <c:pt idx="12">
                  <c:v>811.1346</c:v>
                </c:pt>
                <c:pt idx="13">
                  <c:v>812.1538</c:v>
                </c:pt>
                <c:pt idx="14">
                  <c:v>803.0435</c:v>
                </c:pt>
                <c:pt idx="15">
                  <c:v>884.0556</c:v>
                </c:pt>
                <c:pt idx="16">
                  <c:v>922.3333</c:v>
                </c:pt>
                <c:pt idx="17">
                  <c:v>945.4737</c:v>
                </c:pt>
                <c:pt idx="18">
                  <c:v>896.4444</c:v>
                </c:pt>
                <c:pt idx="19">
                  <c:v>949.0526</c:v>
                </c:pt>
                <c:pt idx="20">
                  <c:v>906.8667</c:v>
                </c:pt>
                <c:pt idx="21">
                  <c:v>1017.5294</c:v>
                </c:pt>
                <c:pt idx="22">
                  <c:v>945.875</c:v>
                </c:pt>
                <c:pt idx="23">
                  <c:v>1203.0769</c:v>
                </c:pt>
                <c:pt idx="24">
                  <c:v>1124.5</c:v>
                </c:pt>
                <c:pt idx="25">
                  <c:v>1010.9375</c:v>
                </c:pt>
                <c:pt idx="26">
                  <c:v>1092.3077</c:v>
                </c:pt>
                <c:pt idx="27">
                  <c:v>1530.8125</c:v>
                </c:pt>
                <c:pt idx="28">
                  <c:v>1124.6</c:v>
                </c:pt>
                <c:pt idx="29">
                  <c:v>1131.8125</c:v>
                </c:pt>
                <c:pt idx="30">
                  <c:v>723.9762</c:v>
                </c:pt>
                <c:pt idx="31">
                  <c:v>581.2667</c:v>
                </c:pt>
                <c:pt idx="32">
                  <c:v>876.0667</c:v>
                </c:pt>
                <c:pt idx="33">
                  <c:v>737.6667</c:v>
                </c:pt>
                <c:pt idx="34">
                  <c:v>900.931</c:v>
                </c:pt>
                <c:pt idx="35">
                  <c:v>1023.2353</c:v>
                </c:pt>
                <c:pt idx="36">
                  <c:v>909.8182</c:v>
                </c:pt>
                <c:pt idx="37">
                  <c:v>883.619</c:v>
                </c:pt>
                <c:pt idx="38">
                  <c:v>1045.0</c:v>
                </c:pt>
                <c:pt idx="39">
                  <c:v>881.2174</c:v>
                </c:pt>
                <c:pt idx="40">
                  <c:v>646.2609</c:v>
                </c:pt>
                <c:pt idx="41">
                  <c:v>944.0476</c:v>
                </c:pt>
                <c:pt idx="42">
                  <c:v>1220.5</c:v>
                </c:pt>
                <c:pt idx="43">
                  <c:v>1149.4286</c:v>
                </c:pt>
                <c:pt idx="44">
                  <c:v>1258.7778</c:v>
                </c:pt>
              </c:numCache>
            </c:numRef>
          </c:xVal>
          <c:yVal>
            <c:numRef>
              <c:f>Sheet1!$B$92:$B$136</c:f>
              <c:numCache>
                <c:formatCode>General</c:formatCode>
                <c:ptCount val="45"/>
                <c:pt idx="0">
                  <c:v>0.3333333333333333</c:v>
                </c:pt>
                <c:pt idx="1">
                  <c:v>0.75</c:v>
                </c:pt>
                <c:pt idx="2">
                  <c:v>0.8571428571428571</c:v>
                </c:pt>
                <c:pt idx="3">
                  <c:v>0.8311688311688312</c:v>
                </c:pt>
                <c:pt idx="4">
                  <c:v>0.8571428571428571</c:v>
                </c:pt>
                <c:pt idx="5">
                  <c:v>0.8404255319148937</c:v>
                </c:pt>
                <c:pt idx="6">
                  <c:v>0.9133858267716536</c:v>
                </c:pt>
                <c:pt idx="7">
                  <c:v>0.71875</c:v>
                </c:pt>
                <c:pt idx="8">
                  <c:v>0.703125</c:v>
                </c:pt>
                <c:pt idx="9">
                  <c:v>0.7787610619469026</c:v>
                </c:pt>
                <c:pt idx="10">
                  <c:v>0.8031496062992126</c:v>
                </c:pt>
                <c:pt idx="11">
                  <c:v>0.8285714285714286</c:v>
                </c:pt>
                <c:pt idx="12">
                  <c:v>0.8666666666666667</c:v>
                </c:pt>
                <c:pt idx="13">
                  <c:v>0.75</c:v>
                </c:pt>
                <c:pt idx="14">
                  <c:v>0.7076923076923077</c:v>
                </c:pt>
                <c:pt idx="15">
                  <c:v>0.5806451612903226</c:v>
                </c:pt>
                <c:pt idx="16">
                  <c:v>0.47058823529411764</c:v>
                </c:pt>
                <c:pt idx="17">
                  <c:v>0.3958333333333333</c:v>
                </c:pt>
                <c:pt idx="18">
                  <c:v>0.42857142857142855</c:v>
                </c:pt>
                <c:pt idx="19">
                  <c:v>0.3392857142857143</c:v>
                </c:pt>
                <c:pt idx="20">
                  <c:v>0.38461538461538464</c:v>
                </c:pt>
                <c:pt idx="21">
                  <c:v>0.37777777777777777</c:v>
                </c:pt>
                <c:pt idx="22">
                  <c:v>0.3076923076923077</c:v>
                </c:pt>
                <c:pt idx="23">
                  <c:v>0.22807017543859648</c:v>
                </c:pt>
                <c:pt idx="24">
                  <c:v>0.17391304347826086</c:v>
                </c:pt>
                <c:pt idx="25">
                  <c:v>0.2909090909090909</c:v>
                </c:pt>
                <c:pt idx="26">
                  <c:v>0.4482758620689655</c:v>
                </c:pt>
                <c:pt idx="27">
                  <c:v>0.34408602150537637</c:v>
                </c:pt>
                <c:pt idx="28">
                  <c:v>0.26881720430107525</c:v>
                </c:pt>
                <c:pt idx="29">
                  <c:v>0.32</c:v>
                </c:pt>
                <c:pt idx="30">
                  <c:v>0.5121951219512195</c:v>
                </c:pt>
                <c:pt idx="31">
                  <c:v>0.4918032786885246</c:v>
                </c:pt>
                <c:pt idx="32">
                  <c:v>0.375</c:v>
                </c:pt>
                <c:pt idx="33">
                  <c:v>0.21428571428571427</c:v>
                </c:pt>
                <c:pt idx="34">
                  <c:v>0.17682926829268292</c:v>
                </c:pt>
                <c:pt idx="35">
                  <c:v>0.22972972972972974</c:v>
                </c:pt>
                <c:pt idx="36">
                  <c:v>0.11224489795918367</c:v>
                </c:pt>
                <c:pt idx="37">
                  <c:v>0.06363636363636363</c:v>
                </c:pt>
                <c:pt idx="38">
                  <c:v>0.2222222222222222</c:v>
                </c:pt>
                <c:pt idx="39">
                  <c:v>0.20535714285714285</c:v>
                </c:pt>
                <c:pt idx="40">
                  <c:v>0.27058823529411763</c:v>
                </c:pt>
                <c:pt idx="41">
                  <c:v>0.2916666666666667</c:v>
                </c:pt>
                <c:pt idx="42">
                  <c:v>0.2727272727272727</c:v>
                </c:pt>
                <c:pt idx="43">
                  <c:v>0.2545454545454545</c:v>
                </c:pt>
                <c:pt idx="44">
                  <c:v>0.1836734693877551</c:v>
                </c:pt>
              </c:numCache>
            </c:numRef>
          </c:yVal>
          <c:smooth val="0"/>
          <c:extLst>
            <c:ext xmlns:c16="http://schemas.microsoft.com/office/drawing/2014/chart" uri="{C3380CC4-5D6E-409C-BE32-E72D297353CC}">
              <c16:uniqueId val="{00000002-F32D-48B7-BC20-E66FC6253BAD}"/>
            </c:ext>
          </c:extLst>
        </c:ser>
        <c:ser>
          <c:idx val="2"/>
          <c:order val="2"/>
          <c:tx>
            <c:strRef>
              <c:f>Sheet1!$B$138</c:f>
              <c:strCache>
                <c:ptCount val="1"/>
                <c:pt idx="0">
                  <c:v>Custom Linep3yQ</c:v>
                </c:pt>
              </c:strCache>
            </c:strRef>
          </c:tx>
          <c:spPr>
            <a:ln w="19050" cap="rnd">
              <a:solidFill>
                <a:srgbClr val="C00000"/>
              </a:solidFill>
              <a:prstDash val="sysDot"/>
              <a:round/>
            </a:ln>
            <a:effectLst/>
          </c:spPr>
          <c:marker>
            <c:symbol val="none"/>
          </c:marker>
          <c:xVal>
            <c:numRef>
              <c:f>Sheet1!$A$139:$A$140</c:f>
              <c:numCache>
                <c:formatCode>General</c:formatCode>
                <c:ptCount val="2"/>
                <c:pt idx="0">
                  <c:v>0</c:v>
                </c:pt>
                <c:pt idx="1">
                  <c:v>9712.228951229054</c:v>
                </c:pt>
              </c:numCache>
            </c:numRef>
          </c:xVal>
          <c:yVal>
            <c:numRef>
              <c:f>Sheet1!$B$139:$B$140</c:f>
              <c:numCache>
                <c:formatCode>General</c:formatCode>
                <c:ptCount val="2"/>
                <c:pt idx="0">
                  <c:v>0.9188306608681995</c:v>
                </c:pt>
                <c:pt idx="1">
                  <c:v>0.9188306608681995</c:v>
                </c:pt>
              </c:numCache>
            </c:numRef>
          </c:yVal>
          <c:smooth val="0"/>
          <c:extLst>
            <c:ext xmlns:c16="http://schemas.microsoft.com/office/drawing/2014/chart" uri="{C3380CC4-5D6E-409C-BE32-E72D297353CC}">
              <c16:uniqueId val="{00000003-F32D-48B7-BC20-E66FC6253BAD}"/>
            </c:ext>
          </c:extLst>
        </c:ser>
        <c:ser>
          <c:idx val="3"/>
          <c:order val="3"/>
          <c:tx>
            <c:strRef>
              <c:f>Sheet1!$B$14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9712.228951229054</c:v>
                </c:pt>
                <c:pt idx="1">
                  <c:v>9712.228951229054</c:v>
                </c:pt>
              </c:numCache>
            </c:numRef>
          </c:xVal>
          <c:yVal>
            <c:numRef>
              <c:f>Sheet1!$B$143:$B$144</c:f>
              <c:numCache>
                <c:formatCode>General</c:formatCode>
                <c:ptCount val="2"/>
                <c:pt idx="0">
                  <c:v>0.918830660868199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7:$A$148</c:f>
              <c:numCache>
                <c:formatCode>General</c:formatCode>
                <c:ptCount val="2"/>
                <c:pt idx="0">
                  <c:v>0</c:v>
                </c:pt>
                <c:pt idx="1">
                  <c:v>7010.760398046613</c:v>
                </c:pt>
              </c:numCache>
            </c:numRef>
          </c:xVal>
          <c:yVal>
            <c:numRef>
              <c:f>Sheet1!$B$147:$B$148</c:f>
              <c:numCache>
                <c:formatCode>General</c:formatCode>
                <c:ptCount val="2"/>
                <c:pt idx="0">
                  <c:v>0.7768522958823597</c:v>
                </c:pt>
                <c:pt idx="1">
                  <c:v>0.7768522958823597</c:v>
                </c:pt>
              </c:numCache>
            </c:numRef>
          </c:yVal>
          <c:smooth val="0"/>
          <c:extLst>
            <c:ext xmlns:c16="http://schemas.microsoft.com/office/drawing/2014/chart" uri="{C3380CC4-5D6E-409C-BE32-E72D297353CC}">
              <c16:uniqueId val="{0000000A-F32D-48B7-BC20-E66FC6253BAD}"/>
            </c:ext>
          </c:extLst>
        </c:ser>
        <c:ser>
          <c:idx val="5"/>
          <c:order val="5"/>
          <c:tx>
            <c:strRef>
              <c:f>Sheet1!$B$15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1:$A$152</c:f>
              <c:numCache>
                <c:formatCode>General</c:formatCode>
                <c:ptCount val="2"/>
                <c:pt idx="0">
                  <c:v>7010.760398046613</c:v>
                </c:pt>
                <c:pt idx="1">
                  <c:v>7010.760398046613</c:v>
                </c:pt>
              </c:numCache>
            </c:numRef>
          </c:xVal>
          <c:yVal>
            <c:numRef>
              <c:f>Sheet1!$B$151:$B$152</c:f>
              <c:numCache>
                <c:formatCode>General</c:formatCode>
                <c:ptCount val="2"/>
                <c:pt idx="0">
                  <c:v>0.776852295882359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5:$A$156</c:f>
              <c:numCache>
                <c:formatCode>General</c:formatCode>
                <c:ptCount val="2"/>
                <c:pt idx="0">
                  <c:v>0</c:v>
                </c:pt>
                <c:pt idx="1">
                  <c:v>-3566.3445190213392</c:v>
                </c:pt>
              </c:numCache>
            </c:numRef>
          </c:xVal>
          <c:yVal>
            <c:numRef>
              <c:f>Sheet1!$B$155:$B$156</c:f>
              <c:numCache>
                <c:formatCode>General</c:formatCode>
                <c:ptCount val="2"/>
                <c:pt idx="0">
                  <c:v>0.22096203366186967</c:v>
                </c:pt>
                <c:pt idx="1">
                  <c:v>0.22096203366186967</c:v>
                </c:pt>
              </c:numCache>
            </c:numRef>
          </c:yVal>
          <c:smooth val="0"/>
          <c:extLst>
            <c:ext xmlns:c16="http://schemas.microsoft.com/office/drawing/2014/chart" uri="{C3380CC4-5D6E-409C-BE32-E72D297353CC}">
              <c16:uniqueId val="{00000011-F32D-48B7-BC20-E66FC6253BAD}"/>
            </c:ext>
          </c:extLst>
        </c:ser>
        <c:ser>
          <c:idx val="7"/>
          <c:order val="7"/>
          <c:tx>
            <c:strRef>
              <c:f>Sheet1!$B$15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9:$A$160</c:f>
              <c:numCache>
                <c:formatCode>General</c:formatCode>
                <c:ptCount val="2"/>
                <c:pt idx="0">
                  <c:v>-3566.3445190213392</c:v>
                </c:pt>
                <c:pt idx="1">
                  <c:v>-3566.3445190213392</c:v>
                </c:pt>
              </c:numCache>
            </c:numRef>
          </c:xVal>
          <c:yVal>
            <c:numRef>
              <c:f>Sheet1!$B$159:$B$160</c:f>
              <c:numCache>
                <c:formatCode>General</c:formatCode>
                <c:ptCount val="2"/>
                <c:pt idx="0">
                  <c:v>0.2209620336618696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3:$A$210</c:f>
              <c:numCache>
                <c:formatCode>General</c:formatCode>
                <c:ptCount val="48"/>
                <c:pt idx="0">
                  <c:v>1432.0</c:v>
                </c:pt>
                <c:pt idx="1">
                  <c:v>1294.4762</c:v>
                </c:pt>
                <c:pt idx="2">
                  <c:v>1287.3509</c:v>
                </c:pt>
                <c:pt idx="3">
                  <c:v>1282.7344</c:v>
                </c:pt>
                <c:pt idx="4">
                  <c:v>1123.75</c:v>
                </c:pt>
                <c:pt idx="5">
                  <c:v>1174.5063</c:v>
                </c:pt>
                <c:pt idx="6">
                  <c:v>1041.6034</c:v>
                </c:pt>
                <c:pt idx="7">
                  <c:v>1242.5217</c:v>
                </c:pt>
                <c:pt idx="8">
                  <c:v>1297.7333</c:v>
                </c:pt>
                <c:pt idx="9">
                  <c:v>921.3068</c:v>
                </c:pt>
                <c:pt idx="10">
                  <c:v>835.9608</c:v>
                </c:pt>
                <c:pt idx="11">
                  <c:v>783.2874</c:v>
                </c:pt>
                <c:pt idx="12">
                  <c:v>811.1346</c:v>
                </c:pt>
                <c:pt idx="13">
                  <c:v>812.1538</c:v>
                </c:pt>
                <c:pt idx="14">
                  <c:v>803.0435</c:v>
                </c:pt>
                <c:pt idx="15">
                  <c:v>884.0556</c:v>
                </c:pt>
                <c:pt idx="16">
                  <c:v>922.3333</c:v>
                </c:pt>
                <c:pt idx="17">
                  <c:v>945.4737</c:v>
                </c:pt>
                <c:pt idx="18">
                  <c:v>896.4444</c:v>
                </c:pt>
                <c:pt idx="19">
                  <c:v>949.0526</c:v>
                </c:pt>
                <c:pt idx="20">
                  <c:v>906.8667</c:v>
                </c:pt>
                <c:pt idx="21">
                  <c:v>1017.5294</c:v>
                </c:pt>
                <c:pt idx="22">
                  <c:v>945.875</c:v>
                </c:pt>
                <c:pt idx="23">
                  <c:v>1203.0769</c:v>
                </c:pt>
                <c:pt idx="24">
                  <c:v>1124.5</c:v>
                </c:pt>
                <c:pt idx="25">
                  <c:v>1010.9375</c:v>
                </c:pt>
                <c:pt idx="26">
                  <c:v>1092.3077</c:v>
                </c:pt>
                <c:pt idx="27">
                  <c:v>1530.8125</c:v>
                </c:pt>
                <c:pt idx="28">
                  <c:v>1124.6</c:v>
                </c:pt>
                <c:pt idx="29">
                  <c:v>1131.8125</c:v>
                </c:pt>
                <c:pt idx="30">
                  <c:v>723.9762</c:v>
                </c:pt>
                <c:pt idx="31">
                  <c:v>581.2667</c:v>
                </c:pt>
                <c:pt idx="32">
                  <c:v>876.0667</c:v>
                </c:pt>
                <c:pt idx="33">
                  <c:v>737.6667</c:v>
                </c:pt>
                <c:pt idx="34">
                  <c:v>900.931</c:v>
                </c:pt>
                <c:pt idx="35">
                  <c:v>1023.2353</c:v>
                </c:pt>
                <c:pt idx="36">
                  <c:v>909.8182</c:v>
                </c:pt>
                <c:pt idx="37">
                  <c:v>883.619</c:v>
                </c:pt>
                <c:pt idx="38">
                  <c:v>1045.0</c:v>
                </c:pt>
                <c:pt idx="39">
                  <c:v>881.2174</c:v>
                </c:pt>
                <c:pt idx="40">
                  <c:v>646.2609</c:v>
                </c:pt>
                <c:pt idx="41">
                  <c:v>944.0476</c:v>
                </c:pt>
                <c:pt idx="42">
                  <c:v>1220.5</c:v>
                </c:pt>
                <c:pt idx="43">
                  <c:v>1149.4286</c:v>
                </c:pt>
                <c:pt idx="44">
                  <c:v>1258.7778</c:v>
                </c:pt>
                <c:pt idx="45">
                  <c:v>7010.760398046613</c:v>
                </c:pt>
                <c:pt idx="46">
                  <c:v>9712.228951229054</c:v>
                </c:pt>
                <c:pt idx="47">
                  <c:v>-3566.3445190213392</c:v>
                </c:pt>
              </c:numCache>
            </c:numRef>
          </c:xVal>
          <c:yVal>
            <c:numRef>
              <c:f>Sheet1!$B$163:$B$210</c:f>
              <c:numCache>
                <c:formatCode>General</c:formatCode>
                <c:ptCount val="48"/>
                <c:pt idx="0">
                  <c:v>0.48365499805361833</c:v>
                </c:pt>
                <c:pt idx="1">
                  <c:v>0.47642729805035977</c:v>
                </c:pt>
                <c:pt idx="2">
                  <c:v>0.4760528208265395</c:v>
                </c:pt>
                <c:pt idx="3">
                  <c:v>0.4758101960803861</c:v>
                </c:pt>
                <c:pt idx="4">
                  <c:v>0.4674546129129776</c:v>
                </c:pt>
                <c:pt idx="5">
                  <c:v>0.4701221607096164</c:v>
                </c:pt>
                <c:pt idx="6">
                  <c:v>0.4631373166988846</c:v>
                </c:pt>
                <c:pt idx="7">
                  <c:v>0.4736967776617485</c:v>
                </c:pt>
                <c:pt idx="8">
                  <c:v>0.476598478178313</c:v>
                </c:pt>
                <c:pt idx="9">
                  <c:v>0.4568150093149118</c:v>
                </c:pt>
                <c:pt idx="10">
                  <c:v>0.45232956545371755</c:v>
                </c:pt>
                <c:pt idx="11">
                  <c:v>0.44956126256104273</c:v>
                </c:pt>
                <c:pt idx="12">
                  <c:v>0.4510247998362688</c:v>
                </c:pt>
                <c:pt idx="13">
                  <c:v>0.45107836490532105</c:v>
                </c:pt>
                <c:pt idx="14">
                  <c:v>0.45059956403347423</c:v>
                </c:pt>
                <c:pt idx="15">
                  <c:v>0.45485723547241047</c:v>
                </c:pt>
                <c:pt idx="16">
                  <c:v>0.45686895804272</c:v>
                </c:pt>
                <c:pt idx="17">
                  <c:v>0.4580851247655375</c:v>
                </c:pt>
                <c:pt idx="18">
                  <c:v>0.45550834117048145</c:v>
                </c:pt>
                <c:pt idx="19">
                  <c:v>0.4582732174123496</c:v>
                </c:pt>
                <c:pt idx="20">
                  <c:v>0.4560560955064143</c:v>
                </c:pt>
                <c:pt idx="21">
                  <c:v>0.4618720837000986</c:v>
                </c:pt>
                <c:pt idx="22">
                  <c:v>0.45810621548591685</c:v>
                </c:pt>
                <c:pt idx="23">
                  <c:v>0.47162371699087896</c:v>
                </c:pt>
                <c:pt idx="24">
                  <c:v>0.46749402990845357</c:v>
                </c:pt>
                <c:pt idx="25">
                  <c:v>0.46152563984346084</c:v>
                </c:pt>
                <c:pt idx="26">
                  <c:v>0.46580213158383704</c:v>
                </c:pt>
                <c:pt idx="27">
                  <c:v>0.4888481872075829</c:v>
                </c:pt>
                <c:pt idx="28">
                  <c:v>0.46749928550785036</c:v>
                </c:pt>
                <c:pt idx="29">
                  <c:v>0.4678783456143447</c:v>
                </c:pt>
                <c:pt idx="30">
                  <c:v>0.44644410349160696</c:v>
                </c:pt>
                <c:pt idx="31">
                  <c:v>0.43894386387042844</c:v>
                </c:pt>
                <c:pt idx="32">
                  <c:v>0.4544373708921994</c:v>
                </c:pt>
                <c:pt idx="33">
                  <c:v>0.4471636213270261</c:v>
                </c:pt>
                <c:pt idx="34">
                  <c:v>0.45574413889301835</c:v>
                </c:pt>
                <c:pt idx="35">
                  <c:v>0.4621719629460807</c:v>
                </c:pt>
                <c:pt idx="36">
                  <c:v>0.4562112145226109</c:v>
                </c:pt>
                <c:pt idx="37">
                  <c:v>0.454834289525444</c:v>
                </c:pt>
                <c:pt idx="38">
                  <c:v>0.46331582838799634</c:v>
                </c:pt>
                <c:pt idx="39">
                  <c:v>0.45470807105033045</c:v>
                </c:pt>
                <c:pt idx="40">
                  <c:v>0.44235969865358443</c:v>
                </c:pt>
                <c:pt idx="41">
                  <c:v>0.4580101746625397</c:v>
                </c:pt>
                <c:pt idx="42">
                  <c:v>0.4725394053293831</c:v>
                </c:pt>
                <c:pt idx="43">
                  <c:v>0.46880417725968465</c:v>
                </c:pt>
                <c:pt idx="44">
                  <c:v>0.47455113315529196</c:v>
                </c:pt>
                <c:pt idx="45">
                  <c:v>0.7768522958823597</c:v>
                </c:pt>
                <c:pt idx="46">
                  <c:v>0.9188306608681995</c:v>
                </c:pt>
                <c:pt idx="47">
                  <c:v>0.220962033661869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165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05090909090909090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c:f>
              <c:numCache>
                <c:formatCode>General</c:formatCode>
                <c:ptCount val="4"/>
                <c:pt idx="0">
                  <c:v>0.5220481032725626</c:v>
                </c:pt>
                <c:pt idx="1">
                  <c:v>0.4272663822142376</c:v>
                </c:pt>
                <c:pt idx="2">
                  <c:v>0.4514281067638938</c:v>
                </c:pt>
                <c:pt idx="3">
                  <c:v>0.7475841200290397</c:v>
                </c:pt>
              </c:numCache>
            </c:numRef>
          </c:xVal>
          <c:yVal>
            <c:numRef>
              <c:f>Sheet1!$B$2:$B$5</c:f>
              <c:numCache>
                <c:formatCode>General</c:formatCode>
                <c:ptCount val="4"/>
                <c:pt idx="0">
                  <c:v>0.5</c:v>
                </c:pt>
                <c:pt idx="1">
                  <c:v>0.81</c:v>
                </c:pt>
                <c:pt idx="2">
                  <c:v>0.6071428571428571</c:v>
                </c:pt>
                <c:pt idx="3">
                  <c:v>0.3684210526315789</c:v>
                </c:pt>
              </c:numCache>
            </c:numRef>
          </c:yVal>
          <c:smooth val="0"/>
          <c:extLst>
            <c:ext xmlns:c16="http://schemas.microsoft.com/office/drawing/2014/chart" uri="{C3380CC4-5D6E-409C-BE32-E72D297353CC}">
              <c16:uniqueId val="{00000000-096C-4121-9522-6AB7243CCAAE}"/>
            </c:ext>
          </c:extLst>
        </c:ser>
        <c:ser>
          <c:idx val="1"/>
          <c:order val="1"/>
          <c:tx>
            <c:strRef>
              <c:f>Sheet1!$B$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A$59</c:f>
              <c:numCache>
                <c:formatCode>General</c:formatCode>
                <c:ptCount val="52"/>
                <c:pt idx="0">
                  <c:v>0.6147241897402876</c:v>
                </c:pt>
                <c:pt idx="1">
                  <c:v>0.5216156545115426</c:v>
                </c:pt>
                <c:pt idx="2">
                  <c:v>0.446686641221374</c:v>
                </c:pt>
                <c:pt idx="3">
                  <c:v>0.6056347497639283</c:v>
                </c:pt>
                <c:pt idx="4">
                  <c:v>0.5696249776106036</c:v>
                </c:pt>
                <c:pt idx="5">
                  <c:v>0.4686755215164709</c:v>
                </c:pt>
                <c:pt idx="6">
                  <c:v>0.4643693980428981</c:v>
                </c:pt>
                <c:pt idx="7">
                  <c:v>0.44829068216053364</c:v>
                </c:pt>
                <c:pt idx="8">
                  <c:v>0.5401328899321857</c:v>
                </c:pt>
                <c:pt idx="9">
                  <c:v>0.6453174042764794</c:v>
                </c:pt>
                <c:pt idx="10">
                  <c:v>0.3843925711364798</c:v>
                </c:pt>
                <c:pt idx="11">
                  <c:v>0.4473448895362952</c:v>
                </c:pt>
                <c:pt idx="12">
                  <c:v>0.31940426019677143</c:v>
                </c:pt>
                <c:pt idx="13">
                  <c:v>0.31154861278648976</c:v>
                </c:pt>
                <c:pt idx="14">
                  <c:v>0.2984406766745409</c:v>
                </c:pt>
                <c:pt idx="15">
                  <c:v>0.2746935084875885</c:v>
                </c:pt>
                <c:pt idx="16">
                  <c:v>0.37820314676515127</c:v>
                </c:pt>
                <c:pt idx="17">
                  <c:v>0.32799619894864535</c:v>
                </c:pt>
                <c:pt idx="18">
                  <c:v>0.34145629598486443</c:v>
                </c:pt>
                <c:pt idx="19">
                  <c:v>0.37894305341811946</c:v>
                </c:pt>
                <c:pt idx="20">
                  <c:v>0.38504195197222485</c:v>
                </c:pt>
                <c:pt idx="21">
                  <c:v>0.272155668202765</c:v>
                </c:pt>
                <c:pt idx="22">
                  <c:v>0.48151176470588236</c:v>
                </c:pt>
                <c:pt idx="23">
                  <c:v>0.45682679544328875</c:v>
                </c:pt>
                <c:pt idx="24">
                  <c:v>0.3941773117651964</c:v>
                </c:pt>
                <c:pt idx="25">
                  <c:v>0.4296608512269938</c:v>
                </c:pt>
                <c:pt idx="26">
                  <c:v>0.4352703548701485</c:v>
                </c:pt>
                <c:pt idx="27">
                  <c:v>0.457576961049633</c:v>
                </c:pt>
                <c:pt idx="28">
                  <c:v>0.5838921464442971</c:v>
                </c:pt>
                <c:pt idx="29">
                  <c:v>0.6503839250603696</c:v>
                </c:pt>
                <c:pt idx="30">
                  <c:v>0.7147876123282585</c:v>
                </c:pt>
                <c:pt idx="31">
                  <c:v>1.167705088265836</c:v>
                </c:pt>
                <c:pt idx="32">
                  <c:v>0.7018774751649497</c:v>
                </c:pt>
                <c:pt idx="33">
                  <c:v>0.650221858443955</c:v>
                </c:pt>
                <c:pt idx="34">
                  <c:v>0.7486550923095733</c:v>
                </c:pt>
                <c:pt idx="35">
                  <c:v>0.579861511787544</c:v>
                </c:pt>
                <c:pt idx="36">
                  <c:v>0.5060803193090984</c:v>
                </c:pt>
                <c:pt idx="37">
                  <c:v>0.329175312349445</c:v>
                </c:pt>
                <c:pt idx="38">
                  <c:v>0.29354432634383765</c:v>
                </c:pt>
                <c:pt idx="39">
                  <c:v>0.40699333199630405</c:v>
                </c:pt>
                <c:pt idx="40">
                  <c:v>0.3836173687860945</c:v>
                </c:pt>
                <c:pt idx="41">
                  <c:v>0.4325527343051392</c:v>
                </c:pt>
                <c:pt idx="42">
                  <c:v>0.49341607379537006</c:v>
                </c:pt>
                <c:pt idx="43">
                  <c:v>0.44660959753563617</c:v>
                </c:pt>
                <c:pt idx="44">
                  <c:v>0.42453496020190445</c:v>
                </c:pt>
                <c:pt idx="45">
                  <c:v>0.492831541218638</c:v>
                </c:pt>
                <c:pt idx="46">
                  <c:v>0.42862371651935816</c:v>
                </c:pt>
                <c:pt idx="47">
                  <c:v>0.3237530595087412</c:v>
                </c:pt>
                <c:pt idx="48">
                  <c:v>0.4631973203030983</c:v>
                </c:pt>
                <c:pt idx="49">
                  <c:v>0.5631410805212385</c:v>
                </c:pt>
                <c:pt idx="50">
                  <c:v>0.5569974909084319</c:v>
                </c:pt>
                <c:pt idx="51">
                  <c:v>0.6154055324114408</c:v>
                </c:pt>
              </c:numCache>
            </c:numRef>
          </c:xVal>
          <c:yVal>
            <c:numRef>
              <c:f>Sheet1!$B$8:$B$59</c:f>
              <c:numCache>
                <c:formatCode>General</c:formatCode>
                <c:ptCount val="52"/>
                <c:pt idx="0">
                  <c:v>0.3333333333333333</c:v>
                </c:pt>
                <c:pt idx="1">
                  <c:v>0.75</c:v>
                </c:pt>
                <c:pt idx="2">
                  <c:v>0.8571428571428571</c:v>
                </c:pt>
                <c:pt idx="3">
                  <c:v>0.8311688311688312</c:v>
                </c:pt>
                <c:pt idx="4">
                  <c:v>0.8188976377952756</c:v>
                </c:pt>
                <c:pt idx="5">
                  <c:v>0.8571428571428571</c:v>
                </c:pt>
                <c:pt idx="6">
                  <c:v>0.8404255319148937</c:v>
                </c:pt>
                <c:pt idx="7">
                  <c:v>0.9133858267716536</c:v>
                </c:pt>
                <c:pt idx="8">
                  <c:v>0.71875</c:v>
                </c:pt>
                <c:pt idx="9">
                  <c:v>0.703125</c:v>
                </c:pt>
                <c:pt idx="10">
                  <c:v>0.7441860465116279</c:v>
                </c:pt>
                <c:pt idx="11">
                  <c:v>0.7787610619469026</c:v>
                </c:pt>
                <c:pt idx="12">
                  <c:v>0.8031496062992126</c:v>
                </c:pt>
                <c:pt idx="13">
                  <c:v>0.8235294117647058</c:v>
                </c:pt>
                <c:pt idx="14">
                  <c:v>0.8285714285714286</c:v>
                </c:pt>
                <c:pt idx="15">
                  <c:v>0.8023255813953488</c:v>
                </c:pt>
                <c:pt idx="16">
                  <c:v>0.7710843373493976</c:v>
                </c:pt>
                <c:pt idx="17">
                  <c:v>0.8666666666666667</c:v>
                </c:pt>
                <c:pt idx="18">
                  <c:v>0.75</c:v>
                </c:pt>
                <c:pt idx="19">
                  <c:v>0.7076923076923077</c:v>
                </c:pt>
                <c:pt idx="20">
                  <c:v>0.6938775510204082</c:v>
                </c:pt>
                <c:pt idx="21">
                  <c:v>0.6</c:v>
                </c:pt>
                <c:pt idx="22">
                  <c:v>0.5806451612903226</c:v>
                </c:pt>
                <c:pt idx="23">
                  <c:v>0.47058823529411764</c:v>
                </c:pt>
                <c:pt idx="24">
                  <c:v>0.3958333333333333</c:v>
                </c:pt>
                <c:pt idx="25">
                  <c:v>0.42857142857142855</c:v>
                </c:pt>
                <c:pt idx="26">
                  <c:v>0.3392857142857143</c:v>
                </c:pt>
                <c:pt idx="27">
                  <c:v>0.38461538461538464</c:v>
                </c:pt>
                <c:pt idx="28">
                  <c:v>0.37777777777777777</c:v>
                </c:pt>
                <c:pt idx="29">
                  <c:v>0.3076923076923077</c:v>
                </c:pt>
                <c:pt idx="30">
                  <c:v>0.22807017543859648</c:v>
                </c:pt>
                <c:pt idx="31">
                  <c:v>0.17391304347826086</c:v>
                </c:pt>
                <c:pt idx="32">
                  <c:v>0.2909090909090909</c:v>
                </c:pt>
                <c:pt idx="33">
                  <c:v>0.4482758620689655</c:v>
                </c:pt>
                <c:pt idx="34">
                  <c:v>0.34408602150537637</c:v>
                </c:pt>
                <c:pt idx="35">
                  <c:v>0.26881720430107525</c:v>
                </c:pt>
                <c:pt idx="36">
                  <c:v>0.32</c:v>
                </c:pt>
                <c:pt idx="37">
                  <c:v>0.5121951219512195</c:v>
                </c:pt>
                <c:pt idx="38">
                  <c:v>0.4918032786885246</c:v>
                </c:pt>
                <c:pt idx="39">
                  <c:v>0.375</c:v>
                </c:pt>
                <c:pt idx="40">
                  <c:v>0.21428571428571427</c:v>
                </c:pt>
                <c:pt idx="41">
                  <c:v>0.17682926829268292</c:v>
                </c:pt>
                <c:pt idx="42">
                  <c:v>0.22972972972972974</c:v>
                </c:pt>
                <c:pt idx="43">
                  <c:v>0.11224489795918367</c:v>
                </c:pt>
                <c:pt idx="44">
                  <c:v>0.06363636363636363</c:v>
                </c:pt>
                <c:pt idx="45">
                  <c:v>0.2222222222222222</c:v>
                </c:pt>
                <c:pt idx="46">
                  <c:v>0.20535714285714285</c:v>
                </c:pt>
                <c:pt idx="47">
                  <c:v>0.27058823529411763</c:v>
                </c:pt>
                <c:pt idx="48">
                  <c:v>0.2916666666666667</c:v>
                </c:pt>
                <c:pt idx="49">
                  <c:v>0.2727272727272727</c:v>
                </c:pt>
                <c:pt idx="50">
                  <c:v>0.2545454545454545</c:v>
                </c:pt>
                <c:pt idx="51">
                  <c:v>0.1836734693877551</c:v>
                </c:pt>
              </c:numCache>
            </c:numRef>
          </c:yVal>
          <c:smooth val="0"/>
          <c:extLst>
            <c:ext xmlns:c16="http://schemas.microsoft.com/office/drawing/2014/chart" uri="{C3380CC4-5D6E-409C-BE32-E72D297353CC}">
              <c16:uniqueId val="{00000002-096C-4121-9522-6AB7243CCAAE}"/>
            </c:ext>
          </c:extLst>
        </c:ser>
        <c:ser>
          <c:idx val="2"/>
          <c:order val="2"/>
          <c:tx>
            <c:strRef>
              <c:f>Sheet1!$B$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62:$A$63</c:f>
              <c:numCache>
                <c:formatCode>General</c:formatCode>
                <c:ptCount val="2"/>
                <c:pt idx="0">
                  <c:v>0</c:v>
                </c:pt>
                <c:pt idx="1">
                  <c:v>0.0610129169908735</c:v>
                </c:pt>
              </c:numCache>
            </c:numRef>
          </c:xVal>
          <c:yVal>
            <c:numRef>
              <c:f>Sheet1!$B$62:$B$63</c:f>
              <c:numCache>
                <c:formatCode>General</c:formatCode>
                <c:ptCount val="2"/>
                <c:pt idx="0">
                  <c:v>0.7594591537860005</c:v>
                </c:pt>
                <c:pt idx="1">
                  <c:v>0.7594591537860005</c:v>
                </c:pt>
              </c:numCache>
            </c:numRef>
          </c:yVal>
          <c:smooth val="0"/>
          <c:extLst>
            <c:ext xmlns:c16="http://schemas.microsoft.com/office/drawing/2014/chart" uri="{C3380CC4-5D6E-409C-BE32-E72D297353CC}">
              <c16:uniqueId val="{00000005-096C-4121-9522-6AB7243CCAAE}"/>
            </c:ext>
          </c:extLst>
        </c:ser>
        <c:ser>
          <c:idx val="3"/>
          <c:order val="3"/>
          <c:tx>
            <c:strRef>
              <c:f>Sheet1!$B$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6:$A$67</c:f>
              <c:numCache>
                <c:formatCode>General</c:formatCode>
                <c:ptCount val="2"/>
                <c:pt idx="0">
                  <c:v>0.0610129169908735</c:v>
                </c:pt>
                <c:pt idx="1">
                  <c:v>0.0610129169908735</c:v>
                </c:pt>
              </c:numCache>
            </c:numRef>
          </c:xVal>
          <c:yVal>
            <c:numRef>
              <c:f>Sheet1!$B$66:$B$67</c:f>
              <c:numCache>
                <c:formatCode>General</c:formatCode>
                <c:ptCount val="2"/>
                <c:pt idx="0">
                  <c:v>0.75945915378600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70:$A$71</c:f>
              <c:numCache>
                <c:formatCode>General</c:formatCode>
                <c:ptCount val="2"/>
                <c:pt idx="0">
                  <c:v>0</c:v>
                </c:pt>
                <c:pt idx="1">
                  <c:v>0.045639819233895124</c:v>
                </c:pt>
              </c:numCache>
            </c:numRef>
          </c:xVal>
          <c:yVal>
            <c:numRef>
              <c:f>Sheet1!$B$70:$B$71</c:f>
              <c:numCache>
                <c:formatCode>General</c:formatCode>
                <c:ptCount val="2"/>
                <c:pt idx="0">
                  <c:v>0.7689163194744113</c:v>
                </c:pt>
                <c:pt idx="1">
                  <c:v>0.7689163194744113</c:v>
                </c:pt>
              </c:numCache>
            </c:numRef>
          </c:yVal>
          <c:smooth val="0"/>
          <c:extLst>
            <c:ext xmlns:c16="http://schemas.microsoft.com/office/drawing/2014/chart" uri="{C3380CC4-5D6E-409C-BE32-E72D297353CC}">
              <c16:uniqueId val="{0000000D-096C-4121-9522-6AB7243CCAAE}"/>
            </c:ext>
          </c:extLst>
        </c:ser>
        <c:ser>
          <c:idx val="5"/>
          <c:order val="5"/>
          <c:tx>
            <c:strRef>
              <c:f>Sheet1!$B$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4:$A$75</c:f>
              <c:numCache>
                <c:formatCode>General</c:formatCode>
                <c:ptCount val="2"/>
                <c:pt idx="0">
                  <c:v>0.045639819233895124</c:v>
                </c:pt>
                <c:pt idx="1">
                  <c:v>0.045639819233895124</c:v>
                </c:pt>
              </c:numCache>
            </c:numRef>
          </c:xVal>
          <c:yVal>
            <c:numRef>
              <c:f>Sheet1!$B$74:$B$75</c:f>
              <c:numCache>
                <c:formatCode>General</c:formatCode>
                <c:ptCount val="2"/>
                <c:pt idx="0">
                  <c:v>0.768916319474411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78:$A$79</c:f>
              <c:numCache>
                <c:formatCode>General</c:formatCode>
                <c:ptCount val="2"/>
                <c:pt idx="0">
                  <c:v>0</c:v>
                </c:pt>
                <c:pt idx="1">
                  <c:v>0.9363670286000451</c:v>
                </c:pt>
              </c:numCache>
            </c:numRef>
          </c:xVal>
          <c:yVal>
            <c:numRef>
              <c:f>Sheet1!$B$78:$B$79</c:f>
              <c:numCache>
                <c:formatCode>General</c:formatCode>
                <c:ptCount val="2"/>
                <c:pt idx="0">
                  <c:v>0.22096203366186967</c:v>
                </c:pt>
                <c:pt idx="1">
                  <c:v>0.22096203366186967</c:v>
                </c:pt>
              </c:numCache>
            </c:numRef>
          </c:yVal>
          <c:smooth val="0"/>
          <c:extLst>
            <c:ext xmlns:c16="http://schemas.microsoft.com/office/drawing/2014/chart" uri="{C3380CC4-5D6E-409C-BE32-E72D297353CC}">
              <c16:uniqueId val="{00000015-096C-4121-9522-6AB7243CCAAE}"/>
            </c:ext>
          </c:extLst>
        </c:ser>
        <c:ser>
          <c:idx val="7"/>
          <c:order val="7"/>
          <c:tx>
            <c:strRef>
              <c:f>Sheet1!$B$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2:$A$83</c:f>
              <c:numCache>
                <c:formatCode>General</c:formatCode>
                <c:ptCount val="2"/>
                <c:pt idx="0">
                  <c:v>0.9363670286000451</c:v>
                </c:pt>
                <c:pt idx="1">
                  <c:v>0.9363670286000451</c:v>
                </c:pt>
              </c:numCache>
            </c:numRef>
          </c:xVal>
          <c:yVal>
            <c:numRef>
              <c:f>Sheet1!$B$82:$B$83</c:f>
              <c:numCache>
                <c:formatCode>General</c:formatCode>
                <c:ptCount val="2"/>
                <c:pt idx="0">
                  <c:v>0.2209620336618696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86:$A$140</c:f>
              <c:numCache>
                <c:formatCode>General</c:formatCode>
                <c:ptCount val="55"/>
                <c:pt idx="0">
                  <c:v>0.6147241897402876</c:v>
                </c:pt>
                <c:pt idx="1">
                  <c:v>0.5216156545115426</c:v>
                </c:pt>
                <c:pt idx="2">
                  <c:v>0.446686641221374</c:v>
                </c:pt>
                <c:pt idx="3">
                  <c:v>0.6056347497639283</c:v>
                </c:pt>
                <c:pt idx="4">
                  <c:v>0.5696249776106036</c:v>
                </c:pt>
                <c:pt idx="5">
                  <c:v>0.4686755215164709</c:v>
                </c:pt>
                <c:pt idx="6">
                  <c:v>0.4643693980428981</c:v>
                </c:pt>
                <c:pt idx="7">
                  <c:v>0.44829068216053364</c:v>
                </c:pt>
                <c:pt idx="8">
                  <c:v>0.5401328899321857</c:v>
                </c:pt>
                <c:pt idx="9">
                  <c:v>0.6453174042764794</c:v>
                </c:pt>
                <c:pt idx="10">
                  <c:v>0.3843925711364798</c:v>
                </c:pt>
                <c:pt idx="11">
                  <c:v>0.4473448895362952</c:v>
                </c:pt>
                <c:pt idx="12">
                  <c:v>0.31940426019677143</c:v>
                </c:pt>
                <c:pt idx="13">
                  <c:v>0.31154861278648976</c:v>
                </c:pt>
                <c:pt idx="14">
                  <c:v>0.2984406766745409</c:v>
                </c:pt>
                <c:pt idx="15">
                  <c:v>0.2746935084875885</c:v>
                </c:pt>
                <c:pt idx="16">
                  <c:v>0.37820314676515127</c:v>
                </c:pt>
                <c:pt idx="17">
                  <c:v>0.32799619894864535</c:v>
                </c:pt>
                <c:pt idx="18">
                  <c:v>0.34145629598486443</c:v>
                </c:pt>
                <c:pt idx="19">
                  <c:v>0.37894305341811946</c:v>
                </c:pt>
                <c:pt idx="20">
                  <c:v>0.38504195197222485</c:v>
                </c:pt>
                <c:pt idx="21">
                  <c:v>0.272155668202765</c:v>
                </c:pt>
                <c:pt idx="22">
                  <c:v>0.48151176470588236</c:v>
                </c:pt>
                <c:pt idx="23">
                  <c:v>0.45682679544328875</c:v>
                </c:pt>
                <c:pt idx="24">
                  <c:v>0.3941773117651964</c:v>
                </c:pt>
                <c:pt idx="25">
                  <c:v>0.4296608512269938</c:v>
                </c:pt>
                <c:pt idx="26">
                  <c:v>0.4352703548701485</c:v>
                </c:pt>
                <c:pt idx="27">
                  <c:v>0.457576961049633</c:v>
                </c:pt>
                <c:pt idx="28">
                  <c:v>0.5838921464442971</c:v>
                </c:pt>
                <c:pt idx="29">
                  <c:v>0.6503839250603696</c:v>
                </c:pt>
                <c:pt idx="30">
                  <c:v>0.7147876123282585</c:v>
                </c:pt>
                <c:pt idx="31">
                  <c:v>1.167705088265836</c:v>
                </c:pt>
                <c:pt idx="32">
                  <c:v>0.7018774751649497</c:v>
                </c:pt>
                <c:pt idx="33">
                  <c:v>0.650221858443955</c:v>
                </c:pt>
                <c:pt idx="34">
                  <c:v>0.7486550923095733</c:v>
                </c:pt>
                <c:pt idx="35">
                  <c:v>0.579861511787544</c:v>
                </c:pt>
                <c:pt idx="36">
                  <c:v>0.5060803193090984</c:v>
                </c:pt>
                <c:pt idx="37">
                  <c:v>0.329175312349445</c:v>
                </c:pt>
                <c:pt idx="38">
                  <c:v>0.29354432634383765</c:v>
                </c:pt>
                <c:pt idx="39">
                  <c:v>0.40699333199630405</c:v>
                </c:pt>
                <c:pt idx="40">
                  <c:v>0.3836173687860945</c:v>
                </c:pt>
                <c:pt idx="41">
                  <c:v>0.4325527343051392</c:v>
                </c:pt>
                <c:pt idx="42">
                  <c:v>0.49341607379537006</c:v>
                </c:pt>
                <c:pt idx="43">
                  <c:v>0.44660959753563617</c:v>
                </c:pt>
                <c:pt idx="44">
                  <c:v>0.42453496020190445</c:v>
                </c:pt>
                <c:pt idx="45">
                  <c:v>0.492831541218638</c:v>
                </c:pt>
                <c:pt idx="46">
                  <c:v>0.42862371651935816</c:v>
                </c:pt>
                <c:pt idx="47">
                  <c:v>0.3237530595087412</c:v>
                </c:pt>
                <c:pt idx="48">
                  <c:v>0.4631973203030983</c:v>
                </c:pt>
                <c:pt idx="49">
                  <c:v>0.5631410805212385</c:v>
                </c:pt>
                <c:pt idx="50">
                  <c:v>0.5569974909084319</c:v>
                </c:pt>
                <c:pt idx="51">
                  <c:v>0.6154055324114408</c:v>
                </c:pt>
                <c:pt idx="52">
                  <c:v>0.045639819233895124</c:v>
                </c:pt>
                <c:pt idx="53">
                  <c:v>0.0610129169908735</c:v>
                </c:pt>
                <c:pt idx="54">
                  <c:v>0.9363670286000451</c:v>
                </c:pt>
              </c:numCache>
            </c:numRef>
          </c:xVal>
          <c:yVal>
            <c:numRef>
              <c:f>Sheet1!$B$86:$B$140</c:f>
              <c:numCache>
                <c:formatCode>General</c:formatCode>
                <c:ptCount val="55"/>
                <c:pt idx="0">
                  <c:v>0.4188290912759902</c:v>
                </c:pt>
                <c:pt idx="1">
                  <c:v>0.476107257237289</c:v>
                </c:pt>
                <c:pt idx="2">
                  <c:v>0.5222018118128361</c:v>
                </c:pt>
                <c:pt idx="3">
                  <c:v>0.4244206995016177</c:v>
                </c:pt>
                <c:pt idx="4">
                  <c:v>0.4465730585797564</c:v>
                </c:pt>
                <c:pt idx="5">
                  <c:v>0.5086747733759038</c:v>
                </c:pt>
                <c:pt idx="6">
                  <c:v>0.5113237985631565</c:v>
                </c:pt>
                <c:pt idx="7">
                  <c:v>0.5212150438124998</c:v>
                </c:pt>
                <c:pt idx="8">
                  <c:v>0.46471589251479267</c:v>
                </c:pt>
                <c:pt idx="9">
                  <c:v>0.4000088701739336</c:v>
                </c:pt>
                <c:pt idx="10">
                  <c:v>0.5605236485377015</c:v>
                </c:pt>
                <c:pt idx="11">
                  <c:v>0.5217968730375329</c:v>
                </c:pt>
                <c:pt idx="12">
                  <c:v>0.6005029184338936</c:v>
                </c:pt>
                <c:pt idx="13">
                  <c:v>0.6053355266904206</c:v>
                </c:pt>
                <c:pt idx="14">
                  <c:v>0.6133992185763016</c:v>
                </c:pt>
                <c:pt idx="15">
                  <c:v>0.6280079140861329</c:v>
                </c:pt>
                <c:pt idx="16">
                  <c:v>0.5643312358386391</c:v>
                </c:pt>
                <c:pt idx="17">
                  <c:v>0.5952173611801992</c:v>
                </c:pt>
                <c:pt idx="18">
                  <c:v>0.586937028233261</c:v>
                </c:pt>
                <c:pt idx="19">
                  <c:v>0.5638760627875277</c:v>
                </c:pt>
                <c:pt idx="20">
                  <c:v>0.5601241648255959</c:v>
                </c:pt>
                <c:pt idx="21">
                  <c:v>0.629569133330537</c:v>
                </c:pt>
                <c:pt idx="22">
                  <c:v>0.5007782205419837</c:v>
                </c:pt>
                <c:pt idx="23">
                  <c:v>0.5159638290653996</c:v>
                </c:pt>
                <c:pt idx="24">
                  <c:v>0.55450430781622</c:v>
                </c:pt>
                <c:pt idx="25">
                  <c:v>0.532675674628146</c:v>
                </c:pt>
                <c:pt idx="26">
                  <c:v>0.5292248408260273</c:v>
                </c:pt>
                <c:pt idx="27">
                  <c:v>0.5155023449491144</c:v>
                </c:pt>
                <c:pt idx="28">
                  <c:v>0.4377962341753502</c:v>
                </c:pt>
                <c:pt idx="29">
                  <c:v>0.3968920665684094</c:v>
                </c:pt>
                <c:pt idx="30">
                  <c:v>0.357272443310596</c:v>
                </c:pt>
                <c:pt idx="31">
                  <c:v>0.07864833769244595</c:v>
                </c:pt>
                <c:pt idx="32">
                  <c:v>0.36521445396736807</c:v>
                </c:pt>
                <c:pt idx="33">
                  <c:v>0.39699176611291387</c:v>
                </c:pt>
                <c:pt idx="34">
                  <c:v>0.33643797164486816</c:v>
                </c:pt>
                <c:pt idx="35">
                  <c:v>0.4402757851663703</c:v>
                </c:pt>
                <c:pt idx="36">
                  <c:v>0.4856642275601912</c:v>
                </c:pt>
                <c:pt idx="37">
                  <c:v>0.5944919985387156</c:v>
                </c:pt>
                <c:pt idx="38">
                  <c:v>0.6164113373488468</c:v>
                </c:pt>
                <c:pt idx="39">
                  <c:v>0.5466201956673467</c:v>
                </c:pt>
                <c:pt idx="40">
                  <c:v>0.5610005346660234</c:v>
                </c:pt>
                <c:pt idx="41">
                  <c:v>0.530896656641409</c:v>
                </c:pt>
                <c:pt idx="42">
                  <c:v>0.4934549714971232</c:v>
                </c:pt>
                <c:pt idx="43">
                  <c:v>0.5222492072638237</c:v>
                </c:pt>
                <c:pt idx="44">
                  <c:v>0.5358290014001041</c:v>
                </c:pt>
                <c:pt idx="45">
                  <c:v>0.4938145620959613</c:v>
                </c:pt>
                <c:pt idx="46">
                  <c:v>0.5333136953398052</c:v>
                </c:pt>
                <c:pt idx="47">
                  <c:v>0.5978276400814694</c:v>
                </c:pt>
                <c:pt idx="48">
                  <c:v>0.5120448330326052</c:v>
                </c:pt>
                <c:pt idx="49">
                  <c:v>0.4505617985233957</c:v>
                </c:pt>
                <c:pt idx="50">
                  <c:v>0.4543411893663074</c:v>
                </c:pt>
                <c:pt idx="51">
                  <c:v>0.4184099453996326</c:v>
                </c:pt>
                <c:pt idx="52">
                  <c:v>0.7689163194744113</c:v>
                </c:pt>
                <c:pt idx="53">
                  <c:v>0.7594591537860005</c:v>
                </c:pt>
                <c:pt idx="54">
                  <c:v>0.2209620336618697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cean Poti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960629921259843"/>
          <c:min val="0.05090909090909090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c:f>
              <c:numCache>
                <c:formatCode>General</c:formatCode>
                <c:ptCount val="4"/>
                <c:pt idx="0">
                  <c:v>1152.5517</c:v>
                </c:pt>
                <c:pt idx="1">
                  <c:v>951.3086</c:v>
                </c:pt>
                <c:pt idx="2">
                  <c:v>1120.2941</c:v>
                </c:pt>
                <c:pt idx="3">
                  <c:v>1359.3571</c:v>
                </c:pt>
              </c:numCache>
            </c:numRef>
          </c:xVal>
          <c:yVal>
            <c:numRef>
              <c:f>Sheet1!$B$2:$B$5</c:f>
              <c:numCache>
                <c:formatCode>General</c:formatCode>
                <c:ptCount val="4"/>
                <c:pt idx="0">
                  <c:v>0.5</c:v>
                </c:pt>
                <c:pt idx="1">
                  <c:v>0.81</c:v>
                </c:pt>
                <c:pt idx="2">
                  <c:v>0.6071428571428571</c:v>
                </c:pt>
                <c:pt idx="3">
                  <c:v>0.3684210526315789</c:v>
                </c:pt>
              </c:numCache>
            </c:numRef>
          </c:yVal>
          <c:smooth val="0"/>
          <c:extLst>
            <c:ext xmlns:c16="http://schemas.microsoft.com/office/drawing/2014/chart" uri="{C3380CC4-5D6E-409C-BE32-E72D297353CC}">
              <c16:uniqueId val="{00000000-F32D-48B7-BC20-E66FC6253BAD}"/>
            </c:ext>
          </c:extLst>
        </c:ser>
        <c:ser>
          <c:idx val="1"/>
          <c:order val="1"/>
          <c:tx>
            <c:strRef>
              <c:f>Sheet1!$B$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A$59</c:f>
              <c:numCache>
                <c:formatCode>General</c:formatCode>
                <c:ptCount val="52"/>
                <c:pt idx="0">
                  <c:v>1432.0</c:v>
                </c:pt>
                <c:pt idx="1">
                  <c:v>1294.4762</c:v>
                </c:pt>
                <c:pt idx="2">
                  <c:v>1287.3509</c:v>
                </c:pt>
                <c:pt idx="3">
                  <c:v>1282.7344</c:v>
                </c:pt>
                <c:pt idx="4">
                  <c:v>1272.0865</c:v>
                </c:pt>
                <c:pt idx="5">
                  <c:v>1123.75</c:v>
                </c:pt>
                <c:pt idx="6">
                  <c:v>1174.5063</c:v>
                </c:pt>
                <c:pt idx="7">
                  <c:v>1041.6034</c:v>
                </c:pt>
                <c:pt idx="8">
                  <c:v>1242.5217</c:v>
                </c:pt>
                <c:pt idx="9">
                  <c:v>1297.7333</c:v>
                </c:pt>
                <c:pt idx="10">
                  <c:v>1128.0</c:v>
                </c:pt>
                <c:pt idx="11">
                  <c:v>921.3068</c:v>
                </c:pt>
                <c:pt idx="12">
                  <c:v>835.9608</c:v>
                </c:pt>
                <c:pt idx="13">
                  <c:v>774.8214</c:v>
                </c:pt>
                <c:pt idx="14">
                  <c:v>783.2874</c:v>
                </c:pt>
                <c:pt idx="15">
                  <c:v>805.058</c:v>
                </c:pt>
                <c:pt idx="16">
                  <c:v>823.0781</c:v>
                </c:pt>
                <c:pt idx="17">
                  <c:v>811.1346</c:v>
                </c:pt>
                <c:pt idx="18">
                  <c:v>812.1538</c:v>
                </c:pt>
                <c:pt idx="19">
                  <c:v>803.0435</c:v>
                </c:pt>
                <c:pt idx="20">
                  <c:v>798.5</c:v>
                </c:pt>
                <c:pt idx="21">
                  <c:v>885.8667</c:v>
                </c:pt>
                <c:pt idx="22">
                  <c:v>884.0556</c:v>
                </c:pt>
                <c:pt idx="23">
                  <c:v>922.3333</c:v>
                </c:pt>
                <c:pt idx="24">
                  <c:v>945.4737</c:v>
                </c:pt>
                <c:pt idx="25">
                  <c:v>896.4444</c:v>
                </c:pt>
                <c:pt idx="26">
                  <c:v>949.0526</c:v>
                </c:pt>
                <c:pt idx="27">
                  <c:v>906.8667</c:v>
                </c:pt>
                <c:pt idx="28">
                  <c:v>1017.5294</c:v>
                </c:pt>
                <c:pt idx="29">
                  <c:v>945.875</c:v>
                </c:pt>
                <c:pt idx="30">
                  <c:v>1203.0769</c:v>
                </c:pt>
                <c:pt idx="31">
                  <c:v>1124.5</c:v>
                </c:pt>
                <c:pt idx="32">
                  <c:v>1010.9375</c:v>
                </c:pt>
                <c:pt idx="33">
                  <c:v>1092.3077</c:v>
                </c:pt>
                <c:pt idx="34">
                  <c:v>1530.8125</c:v>
                </c:pt>
                <c:pt idx="35">
                  <c:v>1124.6</c:v>
                </c:pt>
                <c:pt idx="36">
                  <c:v>1131.8125</c:v>
                </c:pt>
                <c:pt idx="37">
                  <c:v>723.9762</c:v>
                </c:pt>
                <c:pt idx="38">
                  <c:v>581.2667</c:v>
                </c:pt>
                <c:pt idx="39">
                  <c:v>876.0667</c:v>
                </c:pt>
                <c:pt idx="40">
                  <c:v>737.6667</c:v>
                </c:pt>
                <c:pt idx="41">
                  <c:v>900.931</c:v>
                </c:pt>
                <c:pt idx="42">
                  <c:v>1023.2353</c:v>
                </c:pt>
                <c:pt idx="43">
                  <c:v>909.8182</c:v>
                </c:pt>
                <c:pt idx="44">
                  <c:v>883.619</c:v>
                </c:pt>
                <c:pt idx="45">
                  <c:v>1045.0</c:v>
                </c:pt>
                <c:pt idx="46">
                  <c:v>881.2174</c:v>
                </c:pt>
                <c:pt idx="47">
                  <c:v>646.2609</c:v>
                </c:pt>
                <c:pt idx="48">
                  <c:v>944.0476</c:v>
                </c:pt>
                <c:pt idx="49">
                  <c:v>1220.5</c:v>
                </c:pt>
                <c:pt idx="50">
                  <c:v>1149.4286</c:v>
                </c:pt>
                <c:pt idx="51">
                  <c:v>1258.7778</c:v>
                </c:pt>
              </c:numCache>
            </c:numRef>
          </c:xVal>
          <c:yVal>
            <c:numRef>
              <c:f>Sheet1!$B$8:$B$59</c:f>
              <c:numCache>
                <c:formatCode>General</c:formatCode>
                <c:ptCount val="52"/>
                <c:pt idx="0">
                  <c:v>0.3333333333333333</c:v>
                </c:pt>
                <c:pt idx="1">
                  <c:v>0.75</c:v>
                </c:pt>
                <c:pt idx="2">
                  <c:v>0.8571428571428571</c:v>
                </c:pt>
                <c:pt idx="3">
                  <c:v>0.8311688311688312</c:v>
                </c:pt>
                <c:pt idx="4">
                  <c:v>0.8188976377952756</c:v>
                </c:pt>
                <c:pt idx="5">
                  <c:v>0.8571428571428571</c:v>
                </c:pt>
                <c:pt idx="6">
                  <c:v>0.8404255319148937</c:v>
                </c:pt>
                <c:pt idx="7">
                  <c:v>0.9133858267716536</c:v>
                </c:pt>
                <c:pt idx="8">
                  <c:v>0.71875</c:v>
                </c:pt>
                <c:pt idx="9">
                  <c:v>0.703125</c:v>
                </c:pt>
                <c:pt idx="10">
                  <c:v>0.7441860465116279</c:v>
                </c:pt>
                <c:pt idx="11">
                  <c:v>0.7787610619469026</c:v>
                </c:pt>
                <c:pt idx="12">
                  <c:v>0.8031496062992126</c:v>
                </c:pt>
                <c:pt idx="13">
                  <c:v>0.8235294117647058</c:v>
                </c:pt>
                <c:pt idx="14">
                  <c:v>0.8285714285714286</c:v>
                </c:pt>
                <c:pt idx="15">
                  <c:v>0.8023255813953488</c:v>
                </c:pt>
                <c:pt idx="16">
                  <c:v>0.7710843373493976</c:v>
                </c:pt>
                <c:pt idx="17">
                  <c:v>0.8666666666666667</c:v>
                </c:pt>
                <c:pt idx="18">
                  <c:v>0.75</c:v>
                </c:pt>
                <c:pt idx="19">
                  <c:v>0.7076923076923077</c:v>
                </c:pt>
                <c:pt idx="20">
                  <c:v>0.6938775510204082</c:v>
                </c:pt>
                <c:pt idx="21">
                  <c:v>0.6</c:v>
                </c:pt>
                <c:pt idx="22">
                  <c:v>0.5806451612903226</c:v>
                </c:pt>
                <c:pt idx="23">
                  <c:v>0.47058823529411764</c:v>
                </c:pt>
                <c:pt idx="24">
                  <c:v>0.3958333333333333</c:v>
                </c:pt>
                <c:pt idx="25">
                  <c:v>0.42857142857142855</c:v>
                </c:pt>
                <c:pt idx="26">
                  <c:v>0.3392857142857143</c:v>
                </c:pt>
                <c:pt idx="27">
                  <c:v>0.38461538461538464</c:v>
                </c:pt>
                <c:pt idx="28">
                  <c:v>0.37777777777777777</c:v>
                </c:pt>
                <c:pt idx="29">
                  <c:v>0.3076923076923077</c:v>
                </c:pt>
                <c:pt idx="30">
                  <c:v>0.22807017543859648</c:v>
                </c:pt>
                <c:pt idx="31">
                  <c:v>0.17391304347826086</c:v>
                </c:pt>
                <c:pt idx="32">
                  <c:v>0.2909090909090909</c:v>
                </c:pt>
                <c:pt idx="33">
                  <c:v>0.4482758620689655</c:v>
                </c:pt>
                <c:pt idx="34">
                  <c:v>0.34408602150537637</c:v>
                </c:pt>
                <c:pt idx="35">
                  <c:v>0.26881720430107525</c:v>
                </c:pt>
                <c:pt idx="36">
                  <c:v>0.32</c:v>
                </c:pt>
                <c:pt idx="37">
                  <c:v>0.5121951219512195</c:v>
                </c:pt>
                <c:pt idx="38">
                  <c:v>0.4918032786885246</c:v>
                </c:pt>
                <c:pt idx="39">
                  <c:v>0.375</c:v>
                </c:pt>
                <c:pt idx="40">
                  <c:v>0.21428571428571427</c:v>
                </c:pt>
                <c:pt idx="41">
                  <c:v>0.17682926829268292</c:v>
                </c:pt>
                <c:pt idx="42">
                  <c:v>0.22972972972972974</c:v>
                </c:pt>
                <c:pt idx="43">
                  <c:v>0.11224489795918367</c:v>
                </c:pt>
                <c:pt idx="44">
                  <c:v>0.06363636363636363</c:v>
                </c:pt>
                <c:pt idx="45">
                  <c:v>0.2222222222222222</c:v>
                </c:pt>
                <c:pt idx="46">
                  <c:v>0.20535714285714285</c:v>
                </c:pt>
                <c:pt idx="47">
                  <c:v>0.27058823529411763</c:v>
                </c:pt>
                <c:pt idx="48">
                  <c:v>0.2916666666666667</c:v>
                </c:pt>
                <c:pt idx="49">
                  <c:v>0.2727272727272727</c:v>
                </c:pt>
                <c:pt idx="50">
                  <c:v>0.2545454545454545</c:v>
                </c:pt>
                <c:pt idx="51">
                  <c:v>0.1836734693877551</c:v>
                </c:pt>
              </c:numCache>
            </c:numRef>
          </c:yVal>
          <c:smooth val="0"/>
          <c:extLst>
            <c:ext xmlns:c16="http://schemas.microsoft.com/office/drawing/2014/chart" uri="{C3380CC4-5D6E-409C-BE32-E72D297353CC}">
              <c16:uniqueId val="{00000002-F32D-48B7-BC20-E66FC6253BAD}"/>
            </c:ext>
          </c:extLst>
        </c:ser>
        <c:ser>
          <c:idx val="2"/>
          <c:order val="2"/>
          <c:tx>
            <c:strRef>
              <c:f>Sheet1!$B$61</c:f>
              <c:strCache>
                <c:ptCount val="1"/>
                <c:pt idx="0">
                  <c:v>Custom Linep3yQ</c:v>
                </c:pt>
              </c:strCache>
            </c:strRef>
          </c:tx>
          <c:spPr>
            <a:ln w="19050" cap="rnd">
              <a:solidFill>
                <a:srgbClr val="C00000"/>
              </a:solidFill>
              <a:prstDash val="sysDot"/>
              <a:round/>
            </a:ln>
            <a:effectLst/>
          </c:spPr>
          <c:marker>
            <c:symbol val="none"/>
          </c:marker>
          <c:xVal>
            <c:numRef>
              <c:f>Sheet1!$A$62:$A$63</c:f>
              <c:numCache>
                <c:formatCode>General</c:formatCode>
                <c:ptCount val="2"/>
                <c:pt idx="0">
                  <c:v>0</c:v>
                </c:pt>
                <c:pt idx="1">
                  <c:v>-14399.566587690104</c:v>
                </c:pt>
              </c:numCache>
            </c:numRef>
          </c:xVal>
          <c:yVal>
            <c:numRef>
              <c:f>Sheet1!$B$62:$B$63</c:f>
              <c:numCache>
                <c:formatCode>General</c:formatCode>
                <c:ptCount val="2"/>
                <c:pt idx="0">
                  <c:v>0.7594591537860005</c:v>
                </c:pt>
                <c:pt idx="1">
                  <c:v>0.7594591537860005</c:v>
                </c:pt>
              </c:numCache>
            </c:numRef>
          </c:yVal>
          <c:smooth val="0"/>
          <c:extLst>
            <c:ext xmlns:c16="http://schemas.microsoft.com/office/drawing/2014/chart" uri="{C3380CC4-5D6E-409C-BE32-E72D297353CC}">
              <c16:uniqueId val="{00000003-F32D-48B7-BC20-E66FC6253BAD}"/>
            </c:ext>
          </c:extLst>
        </c:ser>
        <c:ser>
          <c:idx val="3"/>
          <c:order val="3"/>
          <c:tx>
            <c:strRef>
              <c:f>Sheet1!$B$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6:$A$67</c:f>
              <c:numCache>
                <c:formatCode>General</c:formatCode>
                <c:ptCount val="2"/>
                <c:pt idx="0">
                  <c:v>-14399.566587690104</c:v>
                </c:pt>
                <c:pt idx="1">
                  <c:v>-14399.566587690104</c:v>
                </c:pt>
              </c:numCache>
            </c:numRef>
          </c:xVal>
          <c:yVal>
            <c:numRef>
              <c:f>Sheet1!$B$66:$B$67</c:f>
              <c:numCache>
                <c:formatCode>General</c:formatCode>
                <c:ptCount val="2"/>
                <c:pt idx="0">
                  <c:v>0.75945915378600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70:$A$71</c:f>
              <c:numCache>
                <c:formatCode>General</c:formatCode>
                <c:ptCount val="2"/>
                <c:pt idx="0">
                  <c:v>0</c:v>
                </c:pt>
                <c:pt idx="1">
                  <c:v>-14962.14360573921</c:v>
                </c:pt>
              </c:numCache>
            </c:numRef>
          </c:xVal>
          <c:yVal>
            <c:numRef>
              <c:f>Sheet1!$B$70:$B$71</c:f>
              <c:numCache>
                <c:formatCode>General</c:formatCode>
                <c:ptCount val="2"/>
                <c:pt idx="0">
                  <c:v>0.7689163194744113</c:v>
                </c:pt>
                <c:pt idx="1">
                  <c:v>0.7689163194744113</c:v>
                </c:pt>
              </c:numCache>
            </c:numRef>
          </c:yVal>
          <c:smooth val="0"/>
          <c:extLst>
            <c:ext xmlns:c16="http://schemas.microsoft.com/office/drawing/2014/chart" uri="{C3380CC4-5D6E-409C-BE32-E72D297353CC}">
              <c16:uniqueId val="{0000000A-F32D-48B7-BC20-E66FC6253BAD}"/>
            </c:ext>
          </c:extLst>
        </c:ser>
        <c:ser>
          <c:idx val="5"/>
          <c:order val="5"/>
          <c:tx>
            <c:strRef>
              <c:f>Sheet1!$B$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4:$A$75</c:f>
              <c:numCache>
                <c:formatCode>General</c:formatCode>
                <c:ptCount val="2"/>
                <c:pt idx="0">
                  <c:v>-14962.14360573921</c:v>
                </c:pt>
                <c:pt idx="1">
                  <c:v>-14962.14360573921</c:v>
                </c:pt>
              </c:numCache>
            </c:numRef>
          </c:xVal>
          <c:yVal>
            <c:numRef>
              <c:f>Sheet1!$B$74:$B$75</c:f>
              <c:numCache>
                <c:formatCode>General</c:formatCode>
                <c:ptCount val="2"/>
                <c:pt idx="0">
                  <c:v>0.768916319474411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78:$A$79</c:f>
              <c:numCache>
                <c:formatCode>General</c:formatCode>
                <c:ptCount val="2"/>
                <c:pt idx="0">
                  <c:v>0</c:v>
                </c:pt>
                <c:pt idx="1">
                  <c:v>17633.932036396225</c:v>
                </c:pt>
              </c:numCache>
            </c:numRef>
          </c:xVal>
          <c:yVal>
            <c:numRef>
              <c:f>Sheet1!$B$78:$B$79</c:f>
              <c:numCache>
                <c:formatCode>General</c:formatCode>
                <c:ptCount val="2"/>
                <c:pt idx="0">
                  <c:v>0.22096203366186967</c:v>
                </c:pt>
                <c:pt idx="1">
                  <c:v>0.22096203366186967</c:v>
                </c:pt>
              </c:numCache>
            </c:numRef>
          </c:yVal>
          <c:smooth val="0"/>
          <c:extLst>
            <c:ext xmlns:c16="http://schemas.microsoft.com/office/drawing/2014/chart" uri="{C3380CC4-5D6E-409C-BE32-E72D297353CC}">
              <c16:uniqueId val="{00000011-F32D-48B7-BC20-E66FC6253BAD}"/>
            </c:ext>
          </c:extLst>
        </c:ser>
        <c:ser>
          <c:idx val="7"/>
          <c:order val="7"/>
          <c:tx>
            <c:strRef>
              <c:f>Sheet1!$B$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2:$A$83</c:f>
              <c:numCache>
                <c:formatCode>General</c:formatCode>
                <c:ptCount val="2"/>
                <c:pt idx="0">
                  <c:v>17633.932036396225</c:v>
                </c:pt>
                <c:pt idx="1">
                  <c:v>17633.932036396225</c:v>
                </c:pt>
              </c:numCache>
            </c:numRef>
          </c:xVal>
          <c:yVal>
            <c:numRef>
              <c:f>Sheet1!$B$82:$B$83</c:f>
              <c:numCache>
                <c:formatCode>General</c:formatCode>
                <c:ptCount val="2"/>
                <c:pt idx="0">
                  <c:v>0.2209620336618696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86:$A$140</c:f>
              <c:numCache>
                <c:formatCode>General</c:formatCode>
                <c:ptCount val="55"/>
                <c:pt idx="0">
                  <c:v>1432.0</c:v>
                </c:pt>
                <c:pt idx="1">
                  <c:v>1294.4762</c:v>
                </c:pt>
                <c:pt idx="2">
                  <c:v>1287.3509</c:v>
                </c:pt>
                <c:pt idx="3">
                  <c:v>1282.7344</c:v>
                </c:pt>
                <c:pt idx="4">
                  <c:v>1272.0865</c:v>
                </c:pt>
                <c:pt idx="5">
                  <c:v>1123.75</c:v>
                </c:pt>
                <c:pt idx="6">
                  <c:v>1174.5063</c:v>
                </c:pt>
                <c:pt idx="7">
                  <c:v>1041.6034</c:v>
                </c:pt>
                <c:pt idx="8">
                  <c:v>1242.5217</c:v>
                </c:pt>
                <c:pt idx="9">
                  <c:v>1297.7333</c:v>
                </c:pt>
                <c:pt idx="10">
                  <c:v>1128.0</c:v>
                </c:pt>
                <c:pt idx="11">
                  <c:v>921.3068</c:v>
                </c:pt>
                <c:pt idx="12">
                  <c:v>835.9608</c:v>
                </c:pt>
                <c:pt idx="13">
                  <c:v>774.8214</c:v>
                </c:pt>
                <c:pt idx="14">
                  <c:v>783.2874</c:v>
                </c:pt>
                <c:pt idx="15">
                  <c:v>805.058</c:v>
                </c:pt>
                <c:pt idx="16">
                  <c:v>823.0781</c:v>
                </c:pt>
                <c:pt idx="17">
                  <c:v>811.1346</c:v>
                </c:pt>
                <c:pt idx="18">
                  <c:v>812.1538</c:v>
                </c:pt>
                <c:pt idx="19">
                  <c:v>803.0435</c:v>
                </c:pt>
                <c:pt idx="20">
                  <c:v>798.5</c:v>
                </c:pt>
                <c:pt idx="21">
                  <c:v>885.8667</c:v>
                </c:pt>
                <c:pt idx="22">
                  <c:v>884.0556</c:v>
                </c:pt>
                <c:pt idx="23">
                  <c:v>922.3333</c:v>
                </c:pt>
                <c:pt idx="24">
                  <c:v>945.4737</c:v>
                </c:pt>
                <c:pt idx="25">
                  <c:v>896.4444</c:v>
                </c:pt>
                <c:pt idx="26">
                  <c:v>949.0526</c:v>
                </c:pt>
                <c:pt idx="27">
                  <c:v>906.8667</c:v>
                </c:pt>
                <c:pt idx="28">
                  <c:v>1017.5294</c:v>
                </c:pt>
                <c:pt idx="29">
                  <c:v>945.875</c:v>
                </c:pt>
                <c:pt idx="30">
                  <c:v>1203.0769</c:v>
                </c:pt>
                <c:pt idx="31">
                  <c:v>1124.5</c:v>
                </c:pt>
                <c:pt idx="32">
                  <c:v>1010.9375</c:v>
                </c:pt>
                <c:pt idx="33">
                  <c:v>1092.3077</c:v>
                </c:pt>
                <c:pt idx="34">
                  <c:v>1530.8125</c:v>
                </c:pt>
                <c:pt idx="35">
                  <c:v>1124.6</c:v>
                </c:pt>
                <c:pt idx="36">
                  <c:v>1131.8125</c:v>
                </c:pt>
                <c:pt idx="37">
                  <c:v>723.9762</c:v>
                </c:pt>
                <c:pt idx="38">
                  <c:v>581.2667</c:v>
                </c:pt>
                <c:pt idx="39">
                  <c:v>876.0667</c:v>
                </c:pt>
                <c:pt idx="40">
                  <c:v>737.6667</c:v>
                </c:pt>
                <c:pt idx="41">
                  <c:v>900.931</c:v>
                </c:pt>
                <c:pt idx="42">
                  <c:v>1023.2353</c:v>
                </c:pt>
                <c:pt idx="43">
                  <c:v>909.8182</c:v>
                </c:pt>
                <c:pt idx="44">
                  <c:v>883.619</c:v>
                </c:pt>
                <c:pt idx="45">
                  <c:v>1045.0</c:v>
                </c:pt>
                <c:pt idx="46">
                  <c:v>881.2174</c:v>
                </c:pt>
                <c:pt idx="47">
                  <c:v>646.2609</c:v>
                </c:pt>
                <c:pt idx="48">
                  <c:v>944.0476</c:v>
                </c:pt>
                <c:pt idx="49">
                  <c:v>1220.5</c:v>
                </c:pt>
                <c:pt idx="50">
                  <c:v>1149.4286</c:v>
                </c:pt>
                <c:pt idx="51">
                  <c:v>1258.7778</c:v>
                </c:pt>
                <c:pt idx="52">
                  <c:v>-14962.14360573921</c:v>
                </c:pt>
                <c:pt idx="53">
                  <c:v>-14399.566587690104</c:v>
                </c:pt>
                <c:pt idx="54">
                  <c:v>17633.932036396225</c:v>
                </c:pt>
              </c:numCache>
            </c:numRef>
          </c:xVal>
          <c:yVal>
            <c:numRef>
              <c:f>Sheet1!$B$86:$B$140</c:f>
              <c:numCache>
                <c:formatCode>General</c:formatCode>
                <c:ptCount val="55"/>
                <c:pt idx="0">
                  <c:v>0.4933235963007402</c:v>
                </c:pt>
                <c:pt idx="1">
                  <c:v>0.49563543151791634</c:v>
                </c:pt>
                <c:pt idx="2">
                  <c:v>0.495755210926811</c:v>
                </c:pt>
                <c:pt idx="3">
                  <c:v>0.49583281631060705</c:v>
                </c:pt>
                <c:pt idx="4">
                  <c:v>0.49601181216593515</c:v>
                </c:pt>
                <c:pt idx="5">
                  <c:v>0.4985054135985065</c:v>
                </c:pt>
                <c:pt idx="6">
                  <c:v>0.4976521779997697</c:v>
                </c:pt>
                <c:pt idx="7">
                  <c:v>0.4998863338672257</c:v>
                </c:pt>
                <c:pt idx="8">
                  <c:v>0.49650880938262615</c:v>
                </c:pt>
                <c:pt idx="9">
                  <c:v>0.4955806782425861</c:v>
                </c:pt>
                <c:pt idx="10">
                  <c:v>0.4984339692399809</c:v>
                </c:pt>
                <c:pt idx="11">
                  <c:v>0.5019085723189449</c:v>
                </c:pt>
                <c:pt idx="12">
                  <c:v>0.5033432759007622</c:v>
                </c:pt>
                <c:pt idx="13">
                  <c:v>0.50437105595103</c:v>
                </c:pt>
                <c:pt idx="14">
                  <c:v>0.5042287387888471</c:v>
                </c:pt>
                <c:pt idx="15">
                  <c:v>0.5038627654825608</c:v>
                </c:pt>
                <c:pt idx="16">
                  <c:v>0.5035598397213686</c:v>
                </c:pt>
                <c:pt idx="17">
                  <c:v>0.5037606151792627</c:v>
                </c:pt>
                <c:pt idx="18">
                  <c:v>0.5037434819815665</c:v>
                </c:pt>
                <c:pt idx="19">
                  <c:v>0.5038966301085019</c:v>
                </c:pt>
                <c:pt idx="20">
                  <c:v>0.5039730083303751</c:v>
                </c:pt>
                <c:pt idx="21">
                  <c:v>0.5025043358979054</c:v>
                </c:pt>
                <c:pt idx="22">
                  <c:v>0.5025347812808997</c:v>
                </c:pt>
                <c:pt idx="23">
                  <c:v>0.5018913164050564</c:v>
                </c:pt>
                <c:pt idx="24">
                  <c:v>0.5015023161617563</c:v>
                </c:pt>
                <c:pt idx="25">
                  <c:v>0.5023265201352758</c:v>
                </c:pt>
                <c:pt idx="26">
                  <c:v>0.5014421532877029</c:v>
                </c:pt>
                <c:pt idx="27">
                  <c:v>0.5021513167146027</c:v>
                </c:pt>
                <c:pt idx="28">
                  <c:v>0.5002910283347891</c:v>
                </c:pt>
                <c:pt idx="29">
                  <c:v>0.5014955701332678</c:v>
                </c:pt>
                <c:pt idx="30">
                  <c:v>0.4971718937198425</c:v>
                </c:pt>
                <c:pt idx="31">
                  <c:v>0.4984928057705314</c:v>
                </c:pt>
                <c:pt idx="32">
                  <c:v>0.5004018410564278</c:v>
                </c:pt>
                <c:pt idx="33">
                  <c:v>0.4990339724112285</c:v>
                </c:pt>
                <c:pt idx="34">
                  <c:v>0.4916625149650207</c:v>
                </c:pt>
                <c:pt idx="35">
                  <c:v>0.49849112472680135</c:v>
                </c:pt>
                <c:pt idx="36">
                  <c:v>0.49836987944777417</c:v>
                </c:pt>
                <c:pt idx="37">
                  <c:v>0.5052257859976428</c:v>
                </c:pt>
                <c:pt idx="38">
                  <c:v>0.5076247950995263</c:v>
                </c:pt>
                <c:pt idx="39">
                  <c:v>0.5026690781834467</c:v>
                </c:pt>
                <c:pt idx="40">
                  <c:v>0.5049956427057853</c:v>
                </c:pt>
                <c:pt idx="41">
                  <c:v>0.502251098427285</c:v>
                </c:pt>
                <c:pt idx="42">
                  <c:v>0.5001951096605982</c:v>
                </c:pt>
                <c:pt idx="43">
                  <c:v>0.5021017007089112</c:v>
                </c:pt>
                <c:pt idx="44">
                  <c:v>0.502542120717825</c:v>
                </c:pt>
                <c:pt idx="45">
                  <c:v>0.49982923553589204</c:v>
                </c:pt>
                <c:pt idx="46">
                  <c:v>0.502582492664045</c:v>
                </c:pt>
                <c:pt idx="47">
                  <c:v>0.5065322141755539</c:v>
                </c:pt>
                <c:pt idx="48">
                  <c:v>0.5015262895263901</c:v>
                </c:pt>
                <c:pt idx="49">
                  <c:v>0.49687900378971855</c:v>
                </c:pt>
                <c:pt idx="50">
                  <c:v>0.49807374510325125</c:v>
                </c:pt>
                <c:pt idx="51">
                  <c:v>0.4962355372328315</c:v>
                </c:pt>
                <c:pt idx="52">
                  <c:v>0.7689163194744113</c:v>
                </c:pt>
                <c:pt idx="53">
                  <c:v>0.7594591537860005</c:v>
                </c:pt>
                <c:pt idx="54">
                  <c:v>0.220962033661869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16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960629921259843"/>
          <c:min val="0.05090909090909090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702705028400294</c:v>
                </c:pt>
                <c:pt idx="1">
                  <c:v>2.086774147600261</c:v>
                </c:pt>
                <c:pt idx="2">
                  <c:v>2.0102485211204337</c:v>
                </c:pt>
                <c:pt idx="3">
                  <c:v>2.333613773086734</c:v>
                </c:pt>
                <c:pt idx="4">
                  <c:v>2.188904911731929</c:v>
                </c:pt>
                <c:pt idx="5">
                  <c:v>1.8318945355104144</c:v>
                </c:pt>
                <c:pt idx="6">
                  <c:v>1.7220966294820266</c:v>
                </c:pt>
                <c:pt idx="7">
                  <c:v>1.5999982086875555</c:v>
                </c:pt>
                <c:pt idx="8">
                  <c:v>1.6915398358758382</c:v>
                </c:pt>
                <c:pt idx="9">
                  <c:v>1.6720689016868042</c:v>
                </c:pt>
                <c:pt idx="10">
                  <c:v>1.4432242785720553</c:v>
                </c:pt>
                <c:pt idx="11">
                  <c:v>1.4645897795487093</c:v>
                </c:pt>
                <c:pt idx="12">
                  <c:v>1.5065574283147298</c:v>
                </c:pt>
                <c:pt idx="13">
                  <c:v>1.5818821264869802</c:v>
                </c:pt>
                <c:pt idx="14">
                  <c:v>1.7121712531680744</c:v>
                </c:pt>
                <c:pt idx="15">
                  <c:v>1.7255542163679933</c:v>
                </c:pt>
                <c:pt idx="16">
                  <c:v>1.7285624104870758</c:v>
                </c:pt>
                <c:pt idx="17">
                  <c:v>1.911607998259271</c:v>
                </c:pt>
                <c:pt idx="18">
                  <c:v>2.023447133975079</c:v>
                </c:pt>
                <c:pt idx="19">
                  <c:v>2.3555660090003343</c:v>
                </c:pt>
                <c:pt idx="20">
                  <c:v>2.5634299397999585</c:v>
                </c:pt>
                <c:pt idx="21">
                  <c:v>2.503691027818778</c:v>
                </c:pt>
                <c:pt idx="22">
                  <c:v>2.4943445896506193</c:v>
                </c:pt>
                <c:pt idx="23">
                  <c:v>2.4771508588019167</c:v>
                </c:pt>
                <c:pt idx="24">
                  <c:v>2.516961098994108</c:v>
                </c:pt>
                <c:pt idx="25">
                  <c:v>2.433245804921374</c:v>
                </c:pt>
                <c:pt idx="26">
                  <c:v>1.931366137975271</c:v>
                </c:pt>
                <c:pt idx="27">
                  <c:v>1.8054518973875198</c:v>
                </c:pt>
                <c:pt idx="28">
                  <c:v>1.738105126604198</c:v>
                </c:pt>
                <c:pt idx="29">
                  <c:v>1.5534403730423416</c:v>
                </c:pt>
                <c:pt idx="30">
                  <c:v>1.6651523747786017</c:v>
                </c:pt>
                <c:pt idx="31">
                  <c:v>1.7327136446706684</c:v>
                </c:pt>
                <c:pt idx="32">
                  <c:v>1.6757225184769386</c:v>
                </c:pt>
                <c:pt idx="33">
                  <c:v>1.5465332972419863</c:v>
                </c:pt>
                <c:pt idx="34">
                  <c:v>1.6410797571154943</c:v>
                </c:pt>
                <c:pt idx="35">
                  <c:v>1.8835101327613448</c:v>
                </c:pt>
                <c:pt idx="36">
                  <c:v>2.0326007491724547</c:v>
                </c:pt>
                <c:pt idx="37">
                  <c:v>2.027802768827471</c:v>
                </c:pt>
                <c:pt idx="38">
                  <c:v>1.9206049903420925</c:v>
                </c:pt>
                <c:pt idx="39">
                  <c:v>1.8261446714254175</c:v>
                </c:pt>
                <c:pt idx="40">
                  <c:v>2.133388901923732</c:v>
                </c:pt>
                <c:pt idx="41">
                  <c:v>2.194034289676468</c:v>
                </c:pt>
                <c:pt idx="42">
                  <c:v>2.1725770465941743</c:v>
                </c:pt>
                <c:pt idx="43">
                  <c:v>2.147427267234412</c:v>
                </c:pt>
                <c:pt idx="44">
                  <c:v>1.9630716526484964</c:v>
                </c:pt>
                <c:pt idx="45">
                  <c:v>1.9437854229143274</c:v>
                </c:pt>
                <c:pt idx="46">
                  <c:v>1.9167491083633106</c:v>
                </c:pt>
                <c:pt idx="47">
                  <c:v>1.836618616876982</c:v>
                </c:pt>
                <c:pt idx="48">
                  <c:v>1.8008927057172222</c:v>
                </c:pt>
                <c:pt idx="49">
                  <c:v>1.7267408212186768</c:v>
                </c:pt>
                <c:pt idx="50">
                  <c:v>1.724215378196788</c:v>
                </c:pt>
                <c:pt idx="51">
                  <c:v>1.685246219411324</c:v>
                </c:pt>
                <c:pt idx="52">
                  <c:v>1.738830272119447</c:v>
                </c:pt>
                <c:pt idx="53">
                  <c:v>1.9928644522400438</c:v>
                </c:pt>
                <c:pt idx="54">
                  <c:v>2.065244696357244</c:v>
                </c:pt>
                <c:pt idx="55">
                  <c:v>2.143356063262987</c:v>
                </c:pt>
                <c:pt idx="56">
                  <c:v>2.070250910389666</c:v>
                </c:pt>
                <c:pt idx="57">
                  <c:v>2.0524236692409503</c:v>
                </c:pt>
                <c:pt idx="58">
                  <c:v>1.9783258482851436</c:v>
                </c:pt>
                <c:pt idx="59">
                  <c:v>2.120646384845778</c:v>
                </c:pt>
                <c:pt idx="60">
                  <c:v>2.055493811389049</c:v>
                </c:pt>
                <c:pt idx="61">
                  <c:v>2.036588235850977</c:v>
                </c:pt>
                <c:pt idx="62">
                  <c:v>1.9211362094798141</c:v>
                </c:pt>
                <c:pt idx="63">
                  <c:v>1.9382396676676883</c:v>
                </c:pt>
                <c:pt idx="64">
                  <c:v>1.886279813083831</c:v>
                </c:pt>
                <c:pt idx="65">
                  <c:v>1.8842406573719663</c:v>
                </c:pt>
                <c:pt idx="66">
                  <c:v>2.0100715102828386</c:v>
                </c:pt>
                <c:pt idx="67">
                  <c:v>2.0023437740309618</c:v>
                </c:pt>
                <c:pt idx="68">
                  <c:v>2.0520235885189795</c:v>
                </c:pt>
                <c:pt idx="69">
                  <c:v>2.05883599334308</c:v>
                </c:pt>
                <c:pt idx="70">
                  <c:v>2.133006174956246</c:v>
                </c:pt>
                <c:pt idx="71">
                  <c:v>2.215343746107391</c:v>
                </c:pt>
                <c:pt idx="72">
                  <c:v>2.099820340133449</c:v>
                </c:pt>
                <c:pt idx="73">
                  <c:v>2.1457837567906917</c:v>
                </c:pt>
                <c:pt idx="74">
                  <c:v>2.0813019137512296</c:v>
                </c:pt>
                <c:pt idx="75">
                  <c:v>2.129586537373072</c:v>
                </c:pt>
                <c:pt idx="76">
                  <c:v>2.157817072172115</c:v>
                </c:pt>
                <c:pt idx="77">
                  <c:v>2.2072875372694787</c:v>
                </c:pt>
                <c:pt idx="78">
                  <c:v>2.201961851603236</c:v>
                </c:pt>
                <c:pt idx="79">
                  <c:v>2.294308403878058</c:v>
                </c:pt>
                <c:pt idx="80">
                  <c:v>2.3916868243856286</c:v>
                </c:pt>
                <c:pt idx="81">
                  <c:v>2.4510747236935657</c:v>
                </c:pt>
                <c:pt idx="82">
                  <c:v>2.226479662109944</c:v>
                </c:pt>
                <c:pt idx="83">
                  <c:v>2.2219314816031215</c:v>
                </c:pt>
                <c:pt idx="84">
                  <c:v>2.23855944758492</c:v>
                </c:pt>
                <c:pt idx="85">
                  <c:v>2.213159649188884</c:v>
                </c:pt>
                <c:pt idx="86">
                  <c:v>2.311135211249128</c:v>
                </c:pt>
                <c:pt idx="87">
                  <c:v>2.3673104772093576</c:v>
                </c:pt>
                <c:pt idx="88">
                  <c:v>2.362117547170719</c:v>
                </c:pt>
                <c:pt idx="89">
                  <c:v>2.356483170241963</c:v>
                </c:pt>
                <c:pt idx="90">
                  <c:v>2.4424775677182606</c:v>
                </c:pt>
                <c:pt idx="91">
                  <c:v>2.517753483982999</c:v>
                </c:pt>
                <c:pt idx="92">
                  <c:v>2.160033355225157</c:v>
                </c:pt>
                <c:pt idx="93">
                  <c:v>1.9865894419558199</c:v>
                </c:pt>
                <c:pt idx="94">
                  <c:v>1.835166755393507</c:v>
                </c:pt>
                <c:pt idx="95">
                  <c:v>1.8226368569922284</c:v>
                </c:pt>
                <c:pt idx="96">
                  <c:v>1.6486718661131143</c:v>
                </c:pt>
                <c:pt idx="97">
                  <c:v>1.6674206165937917</c:v>
                </c:pt>
                <c:pt idx="98">
                  <c:v>1.6343237680517948</c:v>
                </c:pt>
                <c:pt idx="99">
                  <c:v>1.5804843735587213</c:v>
                </c:pt>
                <c:pt idx="100">
                  <c:v>1.4710981839706398</c:v>
                </c:pt>
                <c:pt idx="101">
                  <c:v>1.6031229235978708</c:v>
                </c:pt>
                <c:pt idx="102">
                  <c:v>1.6532309715596842</c:v>
                </c:pt>
                <c:pt idx="103">
                  <c:v>1.5375802633525673</c:v>
                </c:pt>
                <c:pt idx="104">
                  <c:v>1.704286387364543</c:v>
                </c:pt>
              </c:numCache>
            </c:numRef>
          </c:xVal>
          <c:yVal>
            <c:numRef>
              <c:f>Sheet1!$B$2:$B$106</c:f>
              <c:numCache>
                <c:formatCode>General</c:formatCode>
                <c:ptCount val="105"/>
                <c:pt idx="0">
                  <c:v>0.7477628635346756</c:v>
                </c:pt>
                <c:pt idx="1">
                  <c:v>0.7167684358853922</c:v>
                </c:pt>
                <c:pt idx="2">
                  <c:v>0.6016161616161616</c:v>
                </c:pt>
                <c:pt idx="3">
                  <c:v>0.5613295880149812</c:v>
                </c:pt>
                <c:pt idx="4">
                  <c:v>0.4391727493917275</c:v>
                </c:pt>
                <c:pt idx="5">
                  <c:v>0.3745427944403804</c:v>
                </c:pt>
                <c:pt idx="6">
                  <c:v>0.43447669305189096</c:v>
                </c:pt>
                <c:pt idx="7">
                  <c:v>0.37393767705382436</c:v>
                </c:pt>
                <c:pt idx="8">
                  <c:v>0.5449591280653951</c:v>
                </c:pt>
                <c:pt idx="9">
                  <c:v>0.6287042417199302</c:v>
                </c:pt>
                <c:pt idx="10">
                  <c:v>0.6635044642857143</c:v>
                </c:pt>
                <c:pt idx="11">
                  <c:v>0.6827033218785796</c:v>
                </c:pt>
                <c:pt idx="12">
                  <c:v>0.7445026178010471</c:v>
                </c:pt>
                <c:pt idx="13">
                  <c:v>0.7683881064162754</c:v>
                </c:pt>
                <c:pt idx="14">
                  <c:v>0.8057142857142857</c:v>
                </c:pt>
                <c:pt idx="15">
                  <c:v>0.770949720670391</c:v>
                </c:pt>
                <c:pt idx="16">
                  <c:v>0.7401263823064771</c:v>
                </c:pt>
                <c:pt idx="17">
                  <c:v>0.7251512532411409</c:v>
                </c:pt>
                <c:pt idx="18">
                  <c:v>0.715042372881356</c:v>
                </c:pt>
                <c:pt idx="19">
                  <c:v>0.5820170109356014</c:v>
                </c:pt>
                <c:pt idx="20">
                  <c:v>0.6005639097744361</c:v>
                </c:pt>
                <c:pt idx="21">
                  <c:v>0.6106471816283925</c:v>
                </c:pt>
                <c:pt idx="22">
                  <c:v>0.5395152792413066</c:v>
                </c:pt>
                <c:pt idx="23">
                  <c:v>0.5790080738177624</c:v>
                </c:pt>
                <c:pt idx="24">
                  <c:v>0.5565302144249513</c:v>
                </c:pt>
                <c:pt idx="25">
                  <c:v>0.5511163337250293</c:v>
                </c:pt>
                <c:pt idx="26">
                  <c:v>0.6269230769230769</c:v>
                </c:pt>
                <c:pt idx="27">
                  <c:v>0.6493506493506493</c:v>
                </c:pt>
                <c:pt idx="28">
                  <c:v>0.5409429280397022</c:v>
                </c:pt>
                <c:pt idx="29">
                  <c:v>0.5248618784530387</c:v>
                </c:pt>
                <c:pt idx="30">
                  <c:v>0.4967741935483871</c:v>
                </c:pt>
                <c:pt idx="31">
                  <c:v>0.4956268221574344</c:v>
                </c:pt>
                <c:pt idx="32">
                  <c:v>0.5267260579064588</c:v>
                </c:pt>
                <c:pt idx="33">
                  <c:v>0.5064247921390779</c:v>
                </c:pt>
                <c:pt idx="34">
                  <c:v>0.47670492910195816</c:v>
                </c:pt>
                <c:pt idx="35">
                  <c:v>0.6188557614826753</c:v>
                </c:pt>
                <c:pt idx="36">
                  <c:v>0.5739769150052466</c:v>
                </c:pt>
                <c:pt idx="37">
                  <c:v>0.5784190715181933</c:v>
                </c:pt>
                <c:pt idx="38">
                  <c:v>0.5876543209876544</c:v>
                </c:pt>
                <c:pt idx="39">
                  <c:v>0.6409214092140921</c:v>
                </c:pt>
                <c:pt idx="40">
                  <c:v>0.6078639744952179</c:v>
                </c:pt>
                <c:pt idx="41">
                  <c:v>0.51875</c:v>
                </c:pt>
                <c:pt idx="42">
                  <c:v>0.4990791896869245</c:v>
                </c:pt>
                <c:pt idx="43">
                  <c:v>0.4788135593220339</c:v>
                </c:pt>
                <c:pt idx="44">
                  <c:v>0.5431931252826775</c:v>
                </c:pt>
                <c:pt idx="45">
                  <c:v>0.6189821182943603</c:v>
                </c:pt>
                <c:pt idx="46">
                  <c:v>0.6272838002436053</c:v>
                </c:pt>
                <c:pt idx="47">
                  <c:v>0.5687037757882445</c:v>
                </c:pt>
                <c:pt idx="48">
                  <c:v>0.6074436294485194</c:v>
                </c:pt>
                <c:pt idx="49">
                  <c:v>0.6360913515537252</c:v>
                </c:pt>
                <c:pt idx="50">
                  <c:v>0.5873458018304815</c:v>
                </c:pt>
                <c:pt idx="51">
                  <c:v>0.5636540330417882</c:v>
                </c:pt>
                <c:pt idx="52">
                  <c:v>0.5740601503759398</c:v>
                </c:pt>
                <c:pt idx="53">
                  <c:v>0.49661508704061896</c:v>
                </c:pt>
                <c:pt idx="54">
                  <c:v>0.4834710743801653</c:v>
                </c:pt>
                <c:pt idx="55">
                  <c:v>0.4757493188010899</c:v>
                </c:pt>
                <c:pt idx="56">
                  <c:v>0.47532188841201717</c:v>
                </c:pt>
                <c:pt idx="57">
                  <c:v>0.4742857142857143</c:v>
                </c:pt>
                <c:pt idx="58">
                  <c:v>0.5159963436928702</c:v>
                </c:pt>
                <c:pt idx="59">
                  <c:v>0.5493939393939394</c:v>
                </c:pt>
                <c:pt idx="60">
                  <c:v>0.5612635609444799</c:v>
                </c:pt>
                <c:pt idx="61">
                  <c:v>0.5353488372093024</c:v>
                </c:pt>
                <c:pt idx="62">
                  <c:v>0.5830479452054794</c:v>
                </c:pt>
                <c:pt idx="63">
                  <c:v>0.626827485380117</c:v>
                </c:pt>
                <c:pt idx="64">
                  <c:v>0.6477400074710497</c:v>
                </c:pt>
                <c:pt idx="65">
                  <c:v>0.6203592814371257</c:v>
                </c:pt>
                <c:pt idx="66">
                  <c:v>0.5973491773308958</c:v>
                </c:pt>
                <c:pt idx="67">
                  <c:v>0.5980582524271845</c:v>
                </c:pt>
                <c:pt idx="68">
                  <c:v>0.5796752856283824</c:v>
                </c:pt>
                <c:pt idx="69">
                  <c:v>0.5509554140127388</c:v>
                </c:pt>
                <c:pt idx="70">
                  <c:v>0.4872994652406417</c:v>
                </c:pt>
                <c:pt idx="71">
                  <c:v>0.48441926345609065</c:v>
                </c:pt>
                <c:pt idx="72">
                  <c:v>0.4890885750962773</c:v>
                </c:pt>
                <c:pt idx="73">
                  <c:v>0.48070412999322953</c:v>
                </c:pt>
                <c:pt idx="74">
                  <c:v>0.4488135593220339</c:v>
                </c:pt>
                <c:pt idx="75">
                  <c:v>0.4938811188811189</c:v>
                </c:pt>
                <c:pt idx="76">
                  <c:v>0.44936708860759494</c:v>
                </c:pt>
                <c:pt idx="77">
                  <c:v>0.46878097125867196</c:v>
                </c:pt>
                <c:pt idx="78">
                  <c:v>0.4442013129102845</c:v>
                </c:pt>
                <c:pt idx="79">
                  <c:v>0.44250513347022585</c:v>
                </c:pt>
                <c:pt idx="80">
                  <c:v>0.34485738980121</c:v>
                </c:pt>
                <c:pt idx="81">
                  <c:v>0.38598999285203717</c:v>
                </c:pt>
                <c:pt idx="82">
                  <c:v>0.3865461847389558</c:v>
                </c:pt>
                <c:pt idx="83">
                  <c:v>0.36394557823129253</c:v>
                </c:pt>
                <c:pt idx="84">
                  <c:v>0.3906447534766119</c:v>
                </c:pt>
                <c:pt idx="85">
                  <c:v>0.4181222707423581</c:v>
                </c:pt>
                <c:pt idx="86">
                  <c:v>0.4707933740191805</c:v>
                </c:pt>
                <c:pt idx="87">
                  <c:v>0.4934865900383142</c:v>
                </c:pt>
                <c:pt idx="88">
                  <c:v>0.4300469483568075</c:v>
                </c:pt>
                <c:pt idx="89">
                  <c:v>0.3868312757201646</c:v>
                </c:pt>
                <c:pt idx="90">
                  <c:v>0.3627858627858628</c:v>
                </c:pt>
                <c:pt idx="91">
                  <c:v>0.3983402489626556</c:v>
                </c:pt>
                <c:pt idx="92">
                  <c:v>0.45496323529411764</c:v>
                </c:pt>
                <c:pt idx="93">
                  <c:v>0.44254937163375224</c:v>
                </c:pt>
                <c:pt idx="94">
                  <c:v>0.46812957157784746</c:v>
                </c:pt>
                <c:pt idx="95">
                  <c:v>0.4996400287976962</c:v>
                </c:pt>
                <c:pt idx="96">
                  <c:v>0.48845208845208843</c:v>
                </c:pt>
                <c:pt idx="97">
                  <c:v>0.5218360071301248</c:v>
                </c:pt>
                <c:pt idx="98">
                  <c:v>0.543447792571829</c:v>
                </c:pt>
                <c:pt idx="99">
                  <c:v>0.5894245723172629</c:v>
                </c:pt>
                <c:pt idx="100">
                  <c:v>0.6122696902206924</c:v>
                </c:pt>
                <c:pt idx="101">
                  <c:v>0.552901023890785</c:v>
                </c:pt>
                <c:pt idx="102">
                  <c:v>0.5050774986638161</c:v>
                </c:pt>
                <c:pt idx="103">
                  <c:v>0.4964221824686941</c:v>
                </c:pt>
                <c:pt idx="104">
                  <c:v>0.468342194296761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7661958945622962</c:v>
                </c:pt>
                <c:pt idx="1">
                  <c:v>1.7894475532855707</c:v>
                </c:pt>
                <c:pt idx="2">
                  <c:v>1.693121164173061</c:v>
                </c:pt>
                <c:pt idx="3">
                  <c:v>1.7703393633759794</c:v>
                </c:pt>
                <c:pt idx="4">
                  <c:v>1.8494246979124678</c:v>
                </c:pt>
                <c:pt idx="5">
                  <c:v>1.796938607867949</c:v>
                </c:pt>
                <c:pt idx="6">
                  <c:v>1.7016523167781261</c:v>
                </c:pt>
                <c:pt idx="7">
                  <c:v>1.7418158142490057</c:v>
                </c:pt>
                <c:pt idx="8">
                  <c:v>1.9145156409088837</c:v>
                </c:pt>
                <c:pt idx="9">
                  <c:v>1.6730528756838476</c:v>
                </c:pt>
                <c:pt idx="10">
                  <c:v>1.802110582708297</c:v>
                </c:pt>
                <c:pt idx="11">
                  <c:v>1.632698247684231</c:v>
                </c:pt>
                <c:pt idx="12">
                  <c:v>1.708901511454653</c:v>
                </c:pt>
                <c:pt idx="13">
                  <c:v>1.685505707811531</c:v>
                </c:pt>
                <c:pt idx="14">
                  <c:v>1.8235585579766396</c:v>
                </c:pt>
                <c:pt idx="15">
                  <c:v>1.83963617455469</c:v>
                </c:pt>
                <c:pt idx="16">
                  <c:v>1.8472773628286228</c:v>
                </c:pt>
                <c:pt idx="17">
                  <c:v>1.8994384126549113</c:v>
                </c:pt>
                <c:pt idx="18">
                  <c:v>1.8081801253220389</c:v>
                </c:pt>
                <c:pt idx="19">
                  <c:v>1.6533089855361938</c:v>
                </c:pt>
                <c:pt idx="20">
                  <c:v>1.6436710380080168</c:v>
                </c:pt>
                <c:pt idx="21">
                  <c:v>1.5774014740504037</c:v>
                </c:pt>
                <c:pt idx="22">
                  <c:v>1.6464127185883242</c:v>
                </c:pt>
                <c:pt idx="23">
                  <c:v>1.6935109858963115</c:v>
                </c:pt>
                <c:pt idx="24">
                  <c:v>1.8587968164982285</c:v>
                </c:pt>
                <c:pt idx="25">
                  <c:v>1.8749381634805096</c:v>
                </c:pt>
                <c:pt idx="26">
                  <c:v>1.9704557062952353</c:v>
                </c:pt>
                <c:pt idx="27">
                  <c:v>1.9068269850249062</c:v>
                </c:pt>
                <c:pt idx="28">
                  <c:v>1.7204515812634418</c:v>
                </c:pt>
                <c:pt idx="29">
                  <c:v>1.728913485223985</c:v>
                </c:pt>
                <c:pt idx="30">
                  <c:v>1.7464443069258662</c:v>
                </c:pt>
                <c:pt idx="31">
                  <c:v>1.7769108943064649</c:v>
                </c:pt>
                <c:pt idx="32">
                  <c:v>1.7027687459737941</c:v>
                </c:pt>
                <c:pt idx="33">
                  <c:v>1.7432185424558688</c:v>
                </c:pt>
                <c:pt idx="34">
                  <c:v>1.7149264494916991</c:v>
                </c:pt>
                <c:pt idx="35">
                  <c:v>1.800882421621325</c:v>
                </c:pt>
                <c:pt idx="36">
                  <c:v>1.7630430150723067</c:v>
                </c:pt>
                <c:pt idx="37">
                  <c:v>1.932832246797161</c:v>
                </c:pt>
                <c:pt idx="38">
                  <c:v>1.8532398360457745</c:v>
                </c:pt>
                <c:pt idx="39">
                  <c:v>1.951605182057826</c:v>
                </c:pt>
                <c:pt idx="40">
                  <c:v>1.9621121890484852</c:v>
                </c:pt>
                <c:pt idx="41">
                  <c:v>2.077441428476795</c:v>
                </c:pt>
                <c:pt idx="42">
                  <c:v>2.0716584772312543</c:v>
                </c:pt>
                <c:pt idx="43">
                  <c:v>2.0262565322015957</c:v>
                </c:pt>
                <c:pt idx="44">
                  <c:v>1.783433533671074</c:v>
                </c:pt>
                <c:pt idx="45">
                  <c:v>1.8659859214569805</c:v>
                </c:pt>
                <c:pt idx="46">
                  <c:v>1.8713725837042838</c:v>
                </c:pt>
                <c:pt idx="47">
                  <c:v>1.8533436903041278</c:v>
                </c:pt>
                <c:pt idx="48">
                  <c:v>1.761207716535433</c:v>
                </c:pt>
                <c:pt idx="49">
                  <c:v>1.7481933523783324</c:v>
                </c:pt>
                <c:pt idx="50">
                  <c:v>1.584594536686896</c:v>
                </c:pt>
                <c:pt idx="51">
                  <c:v>1.6102318844116046</c:v>
                </c:pt>
              </c:numCache>
            </c:numRef>
          </c:xVal>
          <c:yVal>
            <c:numRef>
              <c:f>Sheet1!$B$109:$B$160</c:f>
              <c:numCache>
                <c:formatCode>General</c:formatCode>
                <c:ptCount val="52"/>
                <c:pt idx="0">
                  <c:v>0.48958742632612967</c:v>
                </c:pt>
                <c:pt idx="1">
                  <c:v>0.4875791524598149</c:v>
                </c:pt>
                <c:pt idx="2">
                  <c:v>0.519578947368421</c:v>
                </c:pt>
                <c:pt idx="3">
                  <c:v>0.5402699172834131</c:v>
                </c:pt>
                <c:pt idx="4">
                  <c:v>0.44204322200392926</c:v>
                </c:pt>
                <c:pt idx="5">
                  <c:v>0.49383259911894273</c:v>
                </c:pt>
                <c:pt idx="6">
                  <c:v>0.5731424148606811</c:v>
                </c:pt>
                <c:pt idx="7">
                  <c:v>0.570958904109589</c:v>
                </c:pt>
                <c:pt idx="8">
                  <c:v>0.5337965887555275</c:v>
                </c:pt>
                <c:pt idx="9">
                  <c:v>0.5877742946708464</c:v>
                </c:pt>
                <c:pt idx="10">
                  <c:v>0.598729792147806</c:v>
                </c:pt>
                <c:pt idx="11">
                  <c:v>0.6227164416203336</c:v>
                </c:pt>
                <c:pt idx="12">
                  <c:v>0.5935632183908046</c:v>
                </c:pt>
                <c:pt idx="13">
                  <c:v>0.555921052631579</c:v>
                </c:pt>
                <c:pt idx="14">
                  <c:v>0.5430220356768101</c:v>
                </c:pt>
                <c:pt idx="15">
                  <c:v>0.555488902219556</c:v>
                </c:pt>
                <c:pt idx="16">
                  <c:v>0.5412517780938834</c:v>
                </c:pt>
                <c:pt idx="17">
                  <c:v>0.5362537764350453</c:v>
                </c:pt>
                <c:pt idx="18">
                  <c:v>0.5306306306306307</c:v>
                </c:pt>
                <c:pt idx="19">
                  <c:v>0.5418106427090532</c:v>
                </c:pt>
                <c:pt idx="20">
                  <c:v>0.5021994134897361</c:v>
                </c:pt>
                <c:pt idx="21">
                  <c:v>0.5262664165103189</c:v>
                </c:pt>
                <c:pt idx="22">
                  <c:v>0.49044585987261147</c:v>
                </c:pt>
                <c:pt idx="23">
                  <c:v>0.4937428896473265</c:v>
                </c:pt>
                <c:pt idx="24">
                  <c:v>0.45542427497314714</c:v>
                </c:pt>
                <c:pt idx="25">
                  <c:v>0.47098214285714285</c:v>
                </c:pt>
                <c:pt idx="26">
                  <c:v>0.4088937093275488</c:v>
                </c:pt>
                <c:pt idx="27">
                  <c:v>0.416044776119403</c:v>
                </c:pt>
                <c:pt idx="28">
                  <c:v>0.4821576763485477</c:v>
                </c:pt>
                <c:pt idx="29">
                  <c:v>0.5057833859095688</c:v>
                </c:pt>
                <c:pt idx="30">
                  <c:v>0.5305263157894737</c:v>
                </c:pt>
                <c:pt idx="31">
                  <c:v>0.49352051835853133</c:v>
                </c:pt>
                <c:pt idx="32">
                  <c:v>0.5544147843942505</c:v>
                </c:pt>
                <c:pt idx="33">
                  <c:v>0.5863166268894192</c:v>
                </c:pt>
                <c:pt idx="34">
                  <c:v>0.6038300418910831</c:v>
                </c:pt>
                <c:pt idx="35">
                  <c:v>0.5973724884080371</c:v>
                </c:pt>
                <c:pt idx="36">
                  <c:v>0.509367681498829</c:v>
                </c:pt>
                <c:pt idx="37">
                  <c:v>0.4806122448979592</c:v>
                </c:pt>
                <c:pt idx="38">
                  <c:v>0.5274043433298863</c:v>
                </c:pt>
                <c:pt idx="39">
                  <c:v>0.5380989787902593</c:v>
                </c:pt>
                <c:pt idx="40">
                  <c:v>0.5058922558922558</c:v>
                </c:pt>
                <c:pt idx="41">
                  <c:v>0.4850574712643678</c:v>
                </c:pt>
                <c:pt idx="42">
                  <c:v>0.4867337602927722</c:v>
                </c:pt>
                <c:pt idx="43">
                  <c:v>0.484529702970297</c:v>
                </c:pt>
                <c:pt idx="44">
                  <c:v>0.5595238095238095</c:v>
                </c:pt>
                <c:pt idx="45">
                  <c:v>0.5924387203988367</c:v>
                </c:pt>
                <c:pt idx="46">
                  <c:v>0.5785601681555439</c:v>
                </c:pt>
                <c:pt idx="47">
                  <c:v>0.5872718764623304</c:v>
                </c:pt>
                <c:pt idx="48">
                  <c:v>0.5992462311557789</c:v>
                </c:pt>
                <c:pt idx="49">
                  <c:v>0.6043010752688172</c:v>
                </c:pt>
                <c:pt idx="50">
                  <c:v>0.6811352253756261</c:v>
                </c:pt>
                <c:pt idx="51">
                  <c:v>0.63185975609756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0858430613860428</c:v>
                </c:pt>
              </c:numCache>
            </c:numRef>
          </c:xVal>
          <c:yVal>
            <c:numRef>
              <c:f>Sheet1!$B$163:$B$164</c:f>
              <c:numCache>
                <c:formatCode>General</c:formatCode>
                <c:ptCount val="2"/>
                <c:pt idx="0">
                  <c:v>0.6952319130195098</c:v>
                </c:pt>
                <c:pt idx="1">
                  <c:v>0.695231913019509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0858430613860428</c:v>
                </c:pt>
                <c:pt idx="1">
                  <c:v>1.0858430613860428</c:v>
                </c:pt>
              </c:numCache>
            </c:numRef>
          </c:xVal>
          <c:yVal>
            <c:numRef>
              <c:f>Sheet1!$B$167:$B$168</c:f>
              <c:numCache>
                <c:formatCode>General</c:formatCode>
                <c:ptCount val="2"/>
                <c:pt idx="0">
                  <c:v>0.695231913019509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3776999097678169</c:v>
                </c:pt>
              </c:numCache>
            </c:numRef>
          </c:xVal>
          <c:yVal>
            <c:numRef>
              <c:f>Sheet1!$B$171:$B$172</c:f>
              <c:numCache>
                <c:formatCode>General</c:formatCode>
                <c:ptCount val="2"/>
                <c:pt idx="0">
                  <c:v>0.6291355719744458</c:v>
                </c:pt>
                <c:pt idx="1">
                  <c:v>0.629135571974445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3776999097678169</c:v>
                </c:pt>
                <c:pt idx="1">
                  <c:v>1.3776999097678169</c:v>
                </c:pt>
              </c:numCache>
            </c:numRef>
          </c:xVal>
          <c:yVal>
            <c:numRef>
              <c:f>Sheet1!$B$175:$B$176</c:f>
              <c:numCache>
                <c:formatCode>General</c:formatCode>
                <c:ptCount val="2"/>
                <c:pt idx="0">
                  <c:v>0.629135571974445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6644145795719432</c:v>
                </c:pt>
              </c:numCache>
            </c:numRef>
          </c:xVal>
          <c:yVal>
            <c:numRef>
              <c:f>Sheet1!$B$179:$B$180</c:f>
              <c:numCache>
                <c:formatCode>General</c:formatCode>
                <c:ptCount val="2"/>
                <c:pt idx="0">
                  <c:v>0.5642037716652505</c:v>
                </c:pt>
                <c:pt idx="1">
                  <c:v>0.56420377166525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6644145795719432</c:v>
                </c:pt>
                <c:pt idx="1">
                  <c:v>1.6644145795719432</c:v>
                </c:pt>
              </c:numCache>
            </c:numRef>
          </c:xVal>
          <c:yVal>
            <c:numRef>
              <c:f>Sheet1!$B$183:$B$184</c:f>
              <c:numCache>
                <c:formatCode>General</c:formatCode>
                <c:ptCount val="2"/>
                <c:pt idx="0">
                  <c:v>0.56420377166525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7661958945622962</c:v>
                </c:pt>
                <c:pt idx="1">
                  <c:v>1.7894475532855707</c:v>
                </c:pt>
                <c:pt idx="2">
                  <c:v>1.693121164173061</c:v>
                </c:pt>
                <c:pt idx="3">
                  <c:v>1.7703393633759794</c:v>
                </c:pt>
                <c:pt idx="4">
                  <c:v>1.8494246979124678</c:v>
                </c:pt>
                <c:pt idx="5">
                  <c:v>1.796938607867949</c:v>
                </c:pt>
                <c:pt idx="6">
                  <c:v>1.7016523167781261</c:v>
                </c:pt>
                <c:pt idx="7">
                  <c:v>1.7418158142490057</c:v>
                </c:pt>
                <c:pt idx="8">
                  <c:v>1.9145156409088837</c:v>
                </c:pt>
                <c:pt idx="9">
                  <c:v>1.6730528756838476</c:v>
                </c:pt>
                <c:pt idx="10">
                  <c:v>1.802110582708297</c:v>
                </c:pt>
                <c:pt idx="11">
                  <c:v>1.632698247684231</c:v>
                </c:pt>
                <c:pt idx="12">
                  <c:v>1.708901511454653</c:v>
                </c:pt>
                <c:pt idx="13">
                  <c:v>1.685505707811531</c:v>
                </c:pt>
                <c:pt idx="14">
                  <c:v>1.8235585579766396</c:v>
                </c:pt>
                <c:pt idx="15">
                  <c:v>1.83963617455469</c:v>
                </c:pt>
                <c:pt idx="16">
                  <c:v>1.8472773628286228</c:v>
                </c:pt>
                <c:pt idx="17">
                  <c:v>1.8994384126549113</c:v>
                </c:pt>
                <c:pt idx="18">
                  <c:v>1.8081801253220389</c:v>
                </c:pt>
                <c:pt idx="19">
                  <c:v>1.6533089855361938</c:v>
                </c:pt>
                <c:pt idx="20">
                  <c:v>1.6436710380080168</c:v>
                </c:pt>
                <c:pt idx="21">
                  <c:v>1.5774014740504037</c:v>
                </c:pt>
                <c:pt idx="22">
                  <c:v>1.6464127185883242</c:v>
                </c:pt>
                <c:pt idx="23">
                  <c:v>1.6935109858963115</c:v>
                </c:pt>
                <c:pt idx="24">
                  <c:v>1.8587968164982285</c:v>
                </c:pt>
                <c:pt idx="25">
                  <c:v>1.8749381634805096</c:v>
                </c:pt>
                <c:pt idx="26">
                  <c:v>1.9704557062952353</c:v>
                </c:pt>
                <c:pt idx="27">
                  <c:v>1.9068269850249062</c:v>
                </c:pt>
                <c:pt idx="28">
                  <c:v>1.7204515812634418</c:v>
                </c:pt>
                <c:pt idx="29">
                  <c:v>1.728913485223985</c:v>
                </c:pt>
                <c:pt idx="30">
                  <c:v>1.7464443069258662</c:v>
                </c:pt>
                <c:pt idx="31">
                  <c:v>1.7769108943064649</c:v>
                </c:pt>
                <c:pt idx="32">
                  <c:v>1.7027687459737941</c:v>
                </c:pt>
                <c:pt idx="33">
                  <c:v>1.7432185424558688</c:v>
                </c:pt>
                <c:pt idx="34">
                  <c:v>1.7149264494916991</c:v>
                </c:pt>
                <c:pt idx="35">
                  <c:v>1.800882421621325</c:v>
                </c:pt>
                <c:pt idx="36">
                  <c:v>1.7630430150723067</c:v>
                </c:pt>
                <c:pt idx="37">
                  <c:v>1.932832246797161</c:v>
                </c:pt>
                <c:pt idx="38">
                  <c:v>1.8532398360457745</c:v>
                </c:pt>
                <c:pt idx="39">
                  <c:v>1.951605182057826</c:v>
                </c:pt>
                <c:pt idx="40">
                  <c:v>1.9621121890484852</c:v>
                </c:pt>
                <c:pt idx="41">
                  <c:v>2.077441428476795</c:v>
                </c:pt>
                <c:pt idx="42">
                  <c:v>2.0716584772312543</c:v>
                </c:pt>
                <c:pt idx="43">
                  <c:v>2.0262565322015957</c:v>
                </c:pt>
                <c:pt idx="44">
                  <c:v>1.783433533671074</c:v>
                </c:pt>
                <c:pt idx="45">
                  <c:v>1.8659859214569805</c:v>
                </c:pt>
                <c:pt idx="46">
                  <c:v>1.8713725837042838</c:v>
                </c:pt>
                <c:pt idx="47">
                  <c:v>1.8533436903041278</c:v>
                </c:pt>
                <c:pt idx="48">
                  <c:v>1.761207716535433</c:v>
                </c:pt>
                <c:pt idx="49">
                  <c:v>1.7481933523783324</c:v>
                </c:pt>
                <c:pt idx="50">
                  <c:v>1.584594536686896</c:v>
                </c:pt>
                <c:pt idx="51">
                  <c:v>1.6102318844116046</c:v>
                </c:pt>
                <c:pt idx="52">
                  <c:v>1.3776999097678169</c:v>
                </c:pt>
                <c:pt idx="53">
                  <c:v>1.0858430613860428</c:v>
                </c:pt>
                <c:pt idx="54">
                  <c:v>1.6644145795719432</c:v>
                </c:pt>
              </c:numCache>
            </c:numRef>
          </c:xVal>
          <c:yVal>
            <c:numRef>
              <c:f>Sheet1!$B$187:$B$241</c:f>
              <c:numCache>
                <c:formatCode>General</c:formatCode>
                <c:ptCount val="55"/>
                <c:pt idx="0">
                  <c:v>0.5411535244467323</c:v>
                </c:pt>
                <c:pt idx="1">
                  <c:v>0.5358877594891575</c:v>
                </c:pt>
                <c:pt idx="2">
                  <c:v>0.5577026386044546</c:v>
                </c:pt>
                <c:pt idx="3">
                  <c:v>0.5402151598706146</c:v>
                </c:pt>
                <c:pt idx="4">
                  <c:v>0.5223048340647627</c:v>
                </c:pt>
                <c:pt idx="5">
                  <c:v>0.5341912726627925</c:v>
                </c:pt>
                <c:pt idx="6">
                  <c:v>0.5557706024873705</c:v>
                </c:pt>
                <c:pt idx="7">
                  <c:v>0.5466748411882378</c:v>
                </c:pt>
                <c:pt idx="8">
                  <c:v>0.5075637951236165</c:v>
                </c:pt>
                <c:pt idx="9">
                  <c:v>0.562247470934168</c:v>
                </c:pt>
                <c:pt idx="10">
                  <c:v>0.5330199840162538</c:v>
                </c:pt>
                <c:pt idx="11">
                  <c:v>0.5713865172501904</c:v>
                </c:pt>
                <c:pt idx="12">
                  <c:v>0.5541288892766015</c:v>
                </c:pt>
                <c:pt idx="13">
                  <c:v>0.5594272984973999</c:v>
                </c:pt>
                <c:pt idx="14">
                  <c:v>0.5281626962879629</c:v>
                </c:pt>
                <c:pt idx="15">
                  <c:v>0.5245216248708395</c:v>
                </c:pt>
                <c:pt idx="16">
                  <c:v>0.5227911375139598</c:v>
                </c:pt>
                <c:pt idx="17">
                  <c:v>0.5109783102402372</c:v>
                </c:pt>
                <c:pt idx="18">
                  <c:v>0.5316454246704314</c:v>
                </c:pt>
                <c:pt idx="19">
                  <c:v>0.5667188373043296</c:v>
                </c:pt>
                <c:pt idx="20">
                  <c:v>0.5689015274496145</c:v>
                </c:pt>
                <c:pt idx="21">
                  <c:v>0.5839094867438245</c:v>
                </c:pt>
                <c:pt idx="22">
                  <c:v>0.5682806235521134</c:v>
                </c:pt>
                <c:pt idx="23">
                  <c:v>0.5576143563191163</c:v>
                </c:pt>
                <c:pt idx="24">
                  <c:v>0.5201823457634126</c:v>
                </c:pt>
                <c:pt idx="25">
                  <c:v>0.5165268414263275</c:v>
                </c:pt>
                <c:pt idx="26">
                  <c:v>0.4948951404034679</c:v>
                </c:pt>
                <c:pt idx="27">
                  <c:v>0.5093050323921721</c:v>
                </c:pt>
                <c:pt idx="28">
                  <c:v>0.551513163939304</c:v>
                </c:pt>
                <c:pt idx="29">
                  <c:v>0.5495968104489963</c:v>
                </c:pt>
                <c:pt idx="30">
                  <c:v>0.545626634054533</c:v>
                </c:pt>
                <c:pt idx="31">
                  <c:v>0.5387269160552721</c:v>
                </c:pt>
                <c:pt idx="32">
                  <c:v>0.5555177666012892</c:v>
                </c:pt>
                <c:pt idx="33">
                  <c:v>0.5463571676353696</c:v>
                </c:pt>
                <c:pt idx="34">
                  <c:v>0.5527644314559954</c:v>
                </c:pt>
                <c:pt idx="35">
                  <c:v>0.5332981236402266</c:v>
                </c:pt>
                <c:pt idx="36">
                  <c:v>0.5418675518858683</c:v>
                </c:pt>
                <c:pt idx="37">
                  <c:v>0.5034156634751998</c:v>
                </c:pt>
                <c:pt idx="38">
                  <c:v>0.5214408259985096</c:v>
                </c:pt>
                <c:pt idx="39">
                  <c:v>0.4991641876633911</c:v>
                </c:pt>
                <c:pt idx="40">
                  <c:v>0.4967846830491665</c:v>
                </c:pt>
                <c:pt idx="41">
                  <c:v>0.47066625963718595</c:v>
                </c:pt>
                <c:pt idx="42">
                  <c:v>0.4719759151066105</c:v>
                </c:pt>
                <c:pt idx="43">
                  <c:v>0.48225801901963616</c:v>
                </c:pt>
                <c:pt idx="44">
                  <c:v>0.5372497446325436</c:v>
                </c:pt>
                <c:pt idx="45">
                  <c:v>0.5185542409723238</c:v>
                </c:pt>
                <c:pt idx="46">
                  <c:v>0.5173343324213804</c:v>
                </c:pt>
                <c:pt idx="47">
                  <c:v>0.5214173062952128</c:v>
                </c:pt>
                <c:pt idx="48">
                  <c:v>0.5422831889308282</c:v>
                </c:pt>
                <c:pt idx="49">
                  <c:v>0.5452305306039185</c:v>
                </c:pt>
                <c:pt idx="50">
                  <c:v>0.5822804856639587</c:v>
                </c:pt>
                <c:pt idx="51">
                  <c:v>0.5764744376369938</c:v>
                </c:pt>
                <c:pt idx="52">
                  <c:v>0.6291355719744458</c:v>
                </c:pt>
                <c:pt idx="53">
                  <c:v>0.6952319130195098</c:v>
                </c:pt>
                <c:pt idx="54">
                  <c:v>0.56420377166525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668571428571429"/>
          <c:min val="0.27588591184096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24.2117</c:v>
                </c:pt>
                <c:pt idx="1">
                  <c:v>865.8316</c:v>
                </c:pt>
                <c:pt idx="2">
                  <c:v>892.7576</c:v>
                </c:pt>
                <c:pt idx="3">
                  <c:v>912.5655</c:v>
                </c:pt>
                <c:pt idx="4">
                  <c:v>893.8947</c:v>
                </c:pt>
                <c:pt idx="5">
                  <c:v>942.2617</c:v>
                </c:pt>
                <c:pt idx="6">
                  <c:v>907.8704</c:v>
                </c:pt>
                <c:pt idx="7">
                  <c:v>928.9268</c:v>
                </c:pt>
                <c:pt idx="8">
                  <c:v>900.0017</c:v>
                </c:pt>
                <c:pt idx="9">
                  <c:v>807.5434</c:v>
                </c:pt>
                <c:pt idx="10">
                  <c:v>765.1203</c:v>
                </c:pt>
                <c:pt idx="11">
                  <c:v>789.5252</c:v>
                </c:pt>
                <c:pt idx="12">
                  <c:v>785.2679</c:v>
                </c:pt>
                <c:pt idx="13">
                  <c:v>807.1881</c:v>
                </c:pt>
                <c:pt idx="14">
                  <c:v>895.9234</c:v>
                </c:pt>
                <c:pt idx="15">
                  <c:v>911.548</c:v>
                </c:pt>
                <c:pt idx="16">
                  <c:v>921.968</c:v>
                </c:pt>
                <c:pt idx="17">
                  <c:v>882.9249</c:v>
                </c:pt>
                <c:pt idx="18">
                  <c:v>923.6504</c:v>
                </c:pt>
                <c:pt idx="19">
                  <c:v>958.9415</c:v>
                </c:pt>
                <c:pt idx="20">
                  <c:v>1006.0391</c:v>
                </c:pt>
                <c:pt idx="21">
                  <c:v>973.8274</c:v>
                </c:pt>
                <c:pt idx="22">
                  <c:v>976.3184</c:v>
                </c:pt>
                <c:pt idx="23">
                  <c:v>964.1195</c:v>
                </c:pt>
                <c:pt idx="24">
                  <c:v>966.4816</c:v>
                </c:pt>
                <c:pt idx="25">
                  <c:v>944.6269</c:v>
                </c:pt>
                <c:pt idx="26">
                  <c:v>958.1125</c:v>
                </c:pt>
                <c:pt idx="27">
                  <c:v>981.42</c:v>
                </c:pt>
                <c:pt idx="28">
                  <c:v>1002.7271</c:v>
                </c:pt>
                <c:pt idx="29">
                  <c:v>886.3516</c:v>
                </c:pt>
                <c:pt idx="30">
                  <c:v>905.724</c:v>
                </c:pt>
                <c:pt idx="31">
                  <c:v>940.05</c:v>
                </c:pt>
                <c:pt idx="32">
                  <c:v>895.5899</c:v>
                </c:pt>
                <c:pt idx="33">
                  <c:v>831.8716</c:v>
                </c:pt>
                <c:pt idx="34">
                  <c:v>887.3612</c:v>
                </c:pt>
                <c:pt idx="35">
                  <c:v>986.7331</c:v>
                </c:pt>
                <c:pt idx="36">
                  <c:v>1069.298</c:v>
                </c:pt>
                <c:pt idx="37">
                  <c:v>1071.5141</c:v>
                </c:pt>
                <c:pt idx="38">
                  <c:v>1073.6639</c:v>
                </c:pt>
                <c:pt idx="39">
                  <c:v>1067.8076</c:v>
                </c:pt>
                <c:pt idx="40">
                  <c:v>1115.6713</c:v>
                </c:pt>
                <c:pt idx="41">
                  <c:v>1153.053</c:v>
                </c:pt>
                <c:pt idx="42">
                  <c:v>1156.8321</c:v>
                </c:pt>
                <c:pt idx="43">
                  <c:v>1149.3894</c:v>
                </c:pt>
                <c:pt idx="44">
                  <c:v>1067.5537</c:v>
                </c:pt>
                <c:pt idx="45">
                  <c:v>1038.1756</c:v>
                </c:pt>
                <c:pt idx="46">
                  <c:v>998.9644</c:v>
                </c:pt>
                <c:pt idx="47">
                  <c:v>981.7002</c:v>
                </c:pt>
                <c:pt idx="48">
                  <c:v>953.5572</c:v>
                </c:pt>
                <c:pt idx="49">
                  <c:v>933.2599</c:v>
                </c:pt>
                <c:pt idx="50">
                  <c:v>931.5196</c:v>
                </c:pt>
                <c:pt idx="51">
                  <c:v>914.6052</c:v>
                </c:pt>
                <c:pt idx="52">
                  <c:v>925.8913</c:v>
                </c:pt>
                <c:pt idx="53">
                  <c:v>1117.259</c:v>
                </c:pt>
                <c:pt idx="54">
                  <c:v>1104.6143</c:v>
                </c:pt>
                <c:pt idx="55">
                  <c:v>1122.6644</c:v>
                </c:pt>
                <c:pt idx="56">
                  <c:v>1139.0034</c:v>
                </c:pt>
                <c:pt idx="57">
                  <c:v>1120.2309</c:v>
                </c:pt>
                <c:pt idx="58">
                  <c:v>1081.8831</c:v>
                </c:pt>
                <c:pt idx="59">
                  <c:v>1082.513</c:v>
                </c:pt>
                <c:pt idx="60">
                  <c:v>1098.9562</c:v>
                </c:pt>
                <c:pt idx="61">
                  <c:v>1075.6699</c:v>
                </c:pt>
                <c:pt idx="62">
                  <c:v>989.6153</c:v>
                </c:pt>
                <c:pt idx="63">
                  <c:v>1007.4367</c:v>
                </c:pt>
                <c:pt idx="64">
                  <c:v>1003.0225</c:v>
                </c:pt>
                <c:pt idx="65">
                  <c:v>997.5952</c:v>
                </c:pt>
                <c:pt idx="66">
                  <c:v>1060.0689</c:v>
                </c:pt>
                <c:pt idx="67">
                  <c:v>1093.6209</c:v>
                </c:pt>
                <c:pt idx="68">
                  <c:v>1081.6992</c:v>
                </c:pt>
                <c:pt idx="69">
                  <c:v>1087.2962</c:v>
                </c:pt>
                <c:pt idx="70">
                  <c:v>1090.4143</c:v>
                </c:pt>
                <c:pt idx="71">
                  <c:v>1127.5599</c:v>
                </c:pt>
                <c:pt idx="72">
                  <c:v>1178.71</c:v>
                </c:pt>
                <c:pt idx="73">
                  <c:v>1212.1732</c:v>
                </c:pt>
                <c:pt idx="74">
                  <c:v>1169.8459</c:v>
                </c:pt>
                <c:pt idx="75">
                  <c:v>1153.2071</c:v>
                </c:pt>
                <c:pt idx="76">
                  <c:v>1162.0926</c:v>
                </c:pt>
                <c:pt idx="77">
                  <c:v>1157.2579</c:v>
                </c:pt>
                <c:pt idx="78">
                  <c:v>1144.8374</c:v>
                </c:pt>
                <c:pt idx="79">
                  <c:v>1186.5383</c:v>
                </c:pt>
                <c:pt idx="80">
                  <c:v>1180.9499</c:v>
                </c:pt>
                <c:pt idx="81">
                  <c:v>1165.187</c:v>
                </c:pt>
                <c:pt idx="82">
                  <c:v>1186.6649</c:v>
                </c:pt>
                <c:pt idx="83">
                  <c:v>1177.1713</c:v>
                </c:pt>
                <c:pt idx="84">
                  <c:v>1160.4531</c:v>
                </c:pt>
                <c:pt idx="85">
                  <c:v>1139.9556</c:v>
                </c:pt>
                <c:pt idx="86">
                  <c:v>1162.7</c:v>
                </c:pt>
                <c:pt idx="87">
                  <c:v>1170.1289</c:v>
                </c:pt>
                <c:pt idx="88">
                  <c:v>1178.4869</c:v>
                </c:pt>
                <c:pt idx="89">
                  <c:v>1175.1011</c:v>
                </c:pt>
                <c:pt idx="90">
                  <c:v>1205.5444</c:v>
                </c:pt>
                <c:pt idx="91">
                  <c:v>1216.9141</c:v>
                </c:pt>
                <c:pt idx="92">
                  <c:v>1135.3455</c:v>
                </c:pt>
                <c:pt idx="93">
                  <c:v>1198.4665</c:v>
                </c:pt>
                <c:pt idx="94">
                  <c:v>1149.9933</c:v>
                </c:pt>
                <c:pt idx="95">
                  <c:v>1143.6412</c:v>
                </c:pt>
                <c:pt idx="96">
                  <c:v>1060.9276</c:v>
                </c:pt>
                <c:pt idx="97">
                  <c:v>1088.5397</c:v>
                </c:pt>
                <c:pt idx="98">
                  <c:v>1077.4487</c:v>
                </c:pt>
                <c:pt idx="99">
                  <c:v>1034.9018</c:v>
                </c:pt>
                <c:pt idx="100">
                  <c:v>1012.0036</c:v>
                </c:pt>
                <c:pt idx="101">
                  <c:v>1083.5487</c:v>
                </c:pt>
                <c:pt idx="102">
                  <c:v>1083.0984</c:v>
                </c:pt>
                <c:pt idx="103">
                  <c:v>1039.2505</c:v>
                </c:pt>
                <c:pt idx="104">
                  <c:v>1090.9628</c:v>
                </c:pt>
              </c:numCache>
            </c:numRef>
          </c:xVal>
          <c:yVal>
            <c:numRef>
              <c:f>Sheet1!$B$2:$B$106</c:f>
              <c:numCache>
                <c:formatCode>General</c:formatCode>
                <c:ptCount val="105"/>
                <c:pt idx="0">
                  <c:v>0.7477628635346756</c:v>
                </c:pt>
                <c:pt idx="1">
                  <c:v>0.7167684358853922</c:v>
                </c:pt>
                <c:pt idx="2">
                  <c:v>0.6016161616161616</c:v>
                </c:pt>
                <c:pt idx="3">
                  <c:v>0.5613295880149812</c:v>
                </c:pt>
                <c:pt idx="4">
                  <c:v>0.4391727493917275</c:v>
                </c:pt>
                <c:pt idx="5">
                  <c:v>0.3745427944403804</c:v>
                </c:pt>
                <c:pt idx="6">
                  <c:v>0.43447669305189096</c:v>
                </c:pt>
                <c:pt idx="7">
                  <c:v>0.37393767705382436</c:v>
                </c:pt>
                <c:pt idx="8">
                  <c:v>0.5449591280653951</c:v>
                </c:pt>
                <c:pt idx="9">
                  <c:v>0.6287042417199302</c:v>
                </c:pt>
                <c:pt idx="10">
                  <c:v>0.6635044642857143</c:v>
                </c:pt>
                <c:pt idx="11">
                  <c:v>0.6827033218785796</c:v>
                </c:pt>
                <c:pt idx="12">
                  <c:v>0.7445026178010471</c:v>
                </c:pt>
                <c:pt idx="13">
                  <c:v>0.7683881064162754</c:v>
                </c:pt>
                <c:pt idx="14">
                  <c:v>0.8057142857142857</c:v>
                </c:pt>
                <c:pt idx="15">
                  <c:v>0.770949720670391</c:v>
                </c:pt>
                <c:pt idx="16">
                  <c:v>0.7401263823064771</c:v>
                </c:pt>
                <c:pt idx="17">
                  <c:v>0.7251512532411409</c:v>
                </c:pt>
                <c:pt idx="18">
                  <c:v>0.715042372881356</c:v>
                </c:pt>
                <c:pt idx="19">
                  <c:v>0.5820170109356014</c:v>
                </c:pt>
                <c:pt idx="20">
                  <c:v>0.6005639097744361</c:v>
                </c:pt>
                <c:pt idx="21">
                  <c:v>0.6106471816283925</c:v>
                </c:pt>
                <c:pt idx="22">
                  <c:v>0.5395152792413066</c:v>
                </c:pt>
                <c:pt idx="23">
                  <c:v>0.5790080738177624</c:v>
                </c:pt>
                <c:pt idx="24">
                  <c:v>0.5565302144249513</c:v>
                </c:pt>
                <c:pt idx="25">
                  <c:v>0.5511163337250293</c:v>
                </c:pt>
                <c:pt idx="26">
                  <c:v>0.6269230769230769</c:v>
                </c:pt>
                <c:pt idx="27">
                  <c:v>0.6493506493506493</c:v>
                </c:pt>
                <c:pt idx="28">
                  <c:v>0.5409429280397022</c:v>
                </c:pt>
                <c:pt idx="29">
                  <c:v>0.5248618784530387</c:v>
                </c:pt>
                <c:pt idx="30">
                  <c:v>0.4967741935483871</c:v>
                </c:pt>
                <c:pt idx="31">
                  <c:v>0.4956268221574344</c:v>
                </c:pt>
                <c:pt idx="32">
                  <c:v>0.5267260579064588</c:v>
                </c:pt>
                <c:pt idx="33">
                  <c:v>0.5064247921390779</c:v>
                </c:pt>
                <c:pt idx="34">
                  <c:v>0.47670492910195816</c:v>
                </c:pt>
                <c:pt idx="35">
                  <c:v>0.6188557614826753</c:v>
                </c:pt>
                <c:pt idx="36">
                  <c:v>0.5739769150052466</c:v>
                </c:pt>
                <c:pt idx="37">
                  <c:v>0.5784190715181933</c:v>
                </c:pt>
                <c:pt idx="38">
                  <c:v>0.5876543209876544</c:v>
                </c:pt>
                <c:pt idx="39">
                  <c:v>0.6409214092140921</c:v>
                </c:pt>
                <c:pt idx="40">
                  <c:v>0.6078639744952179</c:v>
                </c:pt>
                <c:pt idx="41">
                  <c:v>0.51875</c:v>
                </c:pt>
                <c:pt idx="42">
                  <c:v>0.4990791896869245</c:v>
                </c:pt>
                <c:pt idx="43">
                  <c:v>0.4788135593220339</c:v>
                </c:pt>
                <c:pt idx="44">
                  <c:v>0.5431931252826775</c:v>
                </c:pt>
                <c:pt idx="45">
                  <c:v>0.6189821182943603</c:v>
                </c:pt>
                <c:pt idx="46">
                  <c:v>0.6272838002436053</c:v>
                </c:pt>
                <c:pt idx="47">
                  <c:v>0.5687037757882445</c:v>
                </c:pt>
                <c:pt idx="48">
                  <c:v>0.6074436294485194</c:v>
                </c:pt>
                <c:pt idx="49">
                  <c:v>0.6360913515537252</c:v>
                </c:pt>
                <c:pt idx="50">
                  <c:v>0.5873458018304815</c:v>
                </c:pt>
                <c:pt idx="51">
                  <c:v>0.5636540330417882</c:v>
                </c:pt>
                <c:pt idx="52">
                  <c:v>0.5740601503759398</c:v>
                </c:pt>
                <c:pt idx="53">
                  <c:v>0.49661508704061896</c:v>
                </c:pt>
                <c:pt idx="54">
                  <c:v>0.4834710743801653</c:v>
                </c:pt>
                <c:pt idx="55">
                  <c:v>0.4757493188010899</c:v>
                </c:pt>
                <c:pt idx="56">
                  <c:v>0.47532188841201717</c:v>
                </c:pt>
                <c:pt idx="57">
                  <c:v>0.4742857142857143</c:v>
                </c:pt>
                <c:pt idx="58">
                  <c:v>0.5159963436928702</c:v>
                </c:pt>
                <c:pt idx="59">
                  <c:v>0.5493939393939394</c:v>
                </c:pt>
                <c:pt idx="60">
                  <c:v>0.5612635609444799</c:v>
                </c:pt>
                <c:pt idx="61">
                  <c:v>0.5353488372093024</c:v>
                </c:pt>
                <c:pt idx="62">
                  <c:v>0.5830479452054794</c:v>
                </c:pt>
                <c:pt idx="63">
                  <c:v>0.626827485380117</c:v>
                </c:pt>
                <c:pt idx="64">
                  <c:v>0.6477400074710497</c:v>
                </c:pt>
                <c:pt idx="65">
                  <c:v>0.6203592814371257</c:v>
                </c:pt>
                <c:pt idx="66">
                  <c:v>0.5973491773308958</c:v>
                </c:pt>
                <c:pt idx="67">
                  <c:v>0.5980582524271845</c:v>
                </c:pt>
                <c:pt idx="68">
                  <c:v>0.5796752856283824</c:v>
                </c:pt>
                <c:pt idx="69">
                  <c:v>0.5509554140127388</c:v>
                </c:pt>
                <c:pt idx="70">
                  <c:v>0.4872994652406417</c:v>
                </c:pt>
                <c:pt idx="71">
                  <c:v>0.48441926345609065</c:v>
                </c:pt>
                <c:pt idx="72">
                  <c:v>0.4890885750962773</c:v>
                </c:pt>
                <c:pt idx="73">
                  <c:v>0.48070412999322953</c:v>
                </c:pt>
                <c:pt idx="74">
                  <c:v>0.4488135593220339</c:v>
                </c:pt>
                <c:pt idx="75">
                  <c:v>0.4938811188811189</c:v>
                </c:pt>
                <c:pt idx="76">
                  <c:v>0.44936708860759494</c:v>
                </c:pt>
                <c:pt idx="77">
                  <c:v>0.46878097125867196</c:v>
                </c:pt>
                <c:pt idx="78">
                  <c:v>0.4442013129102845</c:v>
                </c:pt>
                <c:pt idx="79">
                  <c:v>0.44250513347022585</c:v>
                </c:pt>
                <c:pt idx="80">
                  <c:v>0.34485738980121</c:v>
                </c:pt>
                <c:pt idx="81">
                  <c:v>0.38598999285203717</c:v>
                </c:pt>
                <c:pt idx="82">
                  <c:v>0.3865461847389558</c:v>
                </c:pt>
                <c:pt idx="83">
                  <c:v>0.36394557823129253</c:v>
                </c:pt>
                <c:pt idx="84">
                  <c:v>0.3906447534766119</c:v>
                </c:pt>
                <c:pt idx="85">
                  <c:v>0.4181222707423581</c:v>
                </c:pt>
                <c:pt idx="86">
                  <c:v>0.4707933740191805</c:v>
                </c:pt>
                <c:pt idx="87">
                  <c:v>0.4934865900383142</c:v>
                </c:pt>
                <c:pt idx="88">
                  <c:v>0.4300469483568075</c:v>
                </c:pt>
                <c:pt idx="89">
                  <c:v>0.3868312757201646</c:v>
                </c:pt>
                <c:pt idx="90">
                  <c:v>0.3627858627858628</c:v>
                </c:pt>
                <c:pt idx="91">
                  <c:v>0.3983402489626556</c:v>
                </c:pt>
                <c:pt idx="92">
                  <c:v>0.45496323529411764</c:v>
                </c:pt>
                <c:pt idx="93">
                  <c:v>0.44254937163375224</c:v>
                </c:pt>
                <c:pt idx="94">
                  <c:v>0.46812957157784746</c:v>
                </c:pt>
                <c:pt idx="95">
                  <c:v>0.4996400287976962</c:v>
                </c:pt>
                <c:pt idx="96">
                  <c:v>0.48845208845208843</c:v>
                </c:pt>
                <c:pt idx="97">
                  <c:v>0.5218360071301248</c:v>
                </c:pt>
                <c:pt idx="98">
                  <c:v>0.543447792571829</c:v>
                </c:pt>
                <c:pt idx="99">
                  <c:v>0.5894245723172629</c:v>
                </c:pt>
                <c:pt idx="100">
                  <c:v>0.6122696902206924</c:v>
                </c:pt>
                <c:pt idx="101">
                  <c:v>0.552901023890785</c:v>
                </c:pt>
                <c:pt idx="102">
                  <c:v>0.5050774986638161</c:v>
                </c:pt>
                <c:pt idx="103">
                  <c:v>0.4964221824686941</c:v>
                </c:pt>
                <c:pt idx="104">
                  <c:v>0.468342194296761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2.1597</c:v>
                </c:pt>
                <c:pt idx="1">
                  <c:v>1179.6593</c:v>
                </c:pt>
                <c:pt idx="2">
                  <c:v>1148.2658</c:v>
                </c:pt>
                <c:pt idx="3">
                  <c:v>1156.9952</c:v>
                </c:pt>
                <c:pt idx="4">
                  <c:v>1152.9689</c:v>
                </c:pt>
                <c:pt idx="5">
                  <c:v>1127.6708</c:v>
                </c:pt>
                <c:pt idx="6">
                  <c:v>1048.056</c:v>
                </c:pt>
                <c:pt idx="7">
                  <c:v>1052.7169</c:v>
                </c:pt>
                <c:pt idx="8">
                  <c:v>1163.374</c:v>
                </c:pt>
                <c:pt idx="9">
                  <c:v>1044.6676</c:v>
                </c:pt>
                <c:pt idx="10">
                  <c:v>1093.5535</c:v>
                </c:pt>
                <c:pt idx="11">
                  <c:v>985.9739</c:v>
                </c:pt>
                <c:pt idx="12">
                  <c:v>1050.5848</c:v>
                </c:pt>
                <c:pt idx="13">
                  <c:v>1080.4218</c:v>
                </c:pt>
                <c:pt idx="14">
                  <c:v>1115.1449</c:v>
                </c:pt>
                <c:pt idx="15">
                  <c:v>1126.4784</c:v>
                </c:pt>
                <c:pt idx="16">
                  <c:v>1147.975</c:v>
                </c:pt>
                <c:pt idx="17">
                  <c:v>1132.4845</c:v>
                </c:pt>
                <c:pt idx="18">
                  <c:v>1121.6248</c:v>
                </c:pt>
                <c:pt idx="19">
                  <c:v>1039.6531</c:v>
                </c:pt>
                <c:pt idx="20">
                  <c:v>1020.9066</c:v>
                </c:pt>
                <c:pt idx="21">
                  <c:v>981.0374</c:v>
                </c:pt>
                <c:pt idx="22">
                  <c:v>994.7922</c:v>
                </c:pt>
                <c:pt idx="23">
                  <c:v>1064.4355</c:v>
                </c:pt>
                <c:pt idx="24">
                  <c:v>1155.5071</c:v>
                </c:pt>
                <c:pt idx="25">
                  <c:v>1137.4123</c:v>
                </c:pt>
                <c:pt idx="26">
                  <c:v>1191.679</c:v>
                </c:pt>
                <c:pt idx="27">
                  <c:v>1164.9462</c:v>
                </c:pt>
                <c:pt idx="28">
                  <c:v>1054.8985</c:v>
                </c:pt>
                <c:pt idx="29">
                  <c:v>1059.9647</c:v>
                </c:pt>
                <c:pt idx="30">
                  <c:v>1074.6766</c:v>
                </c:pt>
                <c:pt idx="31">
                  <c:v>1095.8293</c:v>
                </c:pt>
                <c:pt idx="32">
                  <c:v>1061.2685</c:v>
                </c:pt>
                <c:pt idx="33">
                  <c:v>1079.2008</c:v>
                </c:pt>
                <c:pt idx="34">
                  <c:v>1105.776</c:v>
                </c:pt>
                <c:pt idx="35">
                  <c:v>1155.2794</c:v>
                </c:pt>
                <c:pt idx="36">
                  <c:v>1119.554</c:v>
                </c:pt>
                <c:pt idx="37">
                  <c:v>1217.1783</c:v>
                </c:pt>
                <c:pt idx="38">
                  <c:v>1152.3588</c:v>
                </c:pt>
                <c:pt idx="39">
                  <c:v>1200.6117</c:v>
                </c:pt>
                <c:pt idx="40">
                  <c:v>1227.797</c:v>
                </c:pt>
                <c:pt idx="41">
                  <c:v>1295.1927</c:v>
                </c:pt>
                <c:pt idx="42">
                  <c:v>1279.6767</c:v>
                </c:pt>
                <c:pt idx="43">
                  <c:v>1289.7522</c:v>
                </c:pt>
                <c:pt idx="44">
                  <c:v>1133.5088</c:v>
                </c:pt>
                <c:pt idx="45">
                  <c:v>1185.3948</c:v>
                </c:pt>
                <c:pt idx="46">
                  <c:v>1176.406</c:v>
                </c:pt>
                <c:pt idx="47">
                  <c:v>1155.9944</c:v>
                </c:pt>
                <c:pt idx="48">
                  <c:v>1118.3669</c:v>
                </c:pt>
                <c:pt idx="49">
                  <c:v>1096.8013</c:v>
                </c:pt>
                <c:pt idx="50">
                  <c:v>1025.046</c:v>
                </c:pt>
                <c:pt idx="51">
                  <c:v>1016.2642</c:v>
                </c:pt>
              </c:numCache>
            </c:numRef>
          </c:xVal>
          <c:yVal>
            <c:numRef>
              <c:f>Sheet1!$B$109:$B$160</c:f>
              <c:numCache>
                <c:formatCode>General</c:formatCode>
                <c:ptCount val="52"/>
                <c:pt idx="0">
                  <c:v>0.48958742632612967</c:v>
                </c:pt>
                <c:pt idx="1">
                  <c:v>0.4875791524598149</c:v>
                </c:pt>
                <c:pt idx="2">
                  <c:v>0.519578947368421</c:v>
                </c:pt>
                <c:pt idx="3">
                  <c:v>0.5402699172834131</c:v>
                </c:pt>
                <c:pt idx="4">
                  <c:v>0.44204322200392926</c:v>
                </c:pt>
                <c:pt idx="5">
                  <c:v>0.49383259911894273</c:v>
                </c:pt>
                <c:pt idx="6">
                  <c:v>0.5731424148606811</c:v>
                </c:pt>
                <c:pt idx="7">
                  <c:v>0.570958904109589</c:v>
                </c:pt>
                <c:pt idx="8">
                  <c:v>0.5337965887555275</c:v>
                </c:pt>
                <c:pt idx="9">
                  <c:v>0.5877742946708464</c:v>
                </c:pt>
                <c:pt idx="10">
                  <c:v>0.598729792147806</c:v>
                </c:pt>
                <c:pt idx="11">
                  <c:v>0.6227164416203336</c:v>
                </c:pt>
                <c:pt idx="12">
                  <c:v>0.5935632183908046</c:v>
                </c:pt>
                <c:pt idx="13">
                  <c:v>0.555921052631579</c:v>
                </c:pt>
                <c:pt idx="14">
                  <c:v>0.5430220356768101</c:v>
                </c:pt>
                <c:pt idx="15">
                  <c:v>0.555488902219556</c:v>
                </c:pt>
                <c:pt idx="16">
                  <c:v>0.5412517780938834</c:v>
                </c:pt>
                <c:pt idx="17">
                  <c:v>0.5362537764350453</c:v>
                </c:pt>
                <c:pt idx="18">
                  <c:v>0.5306306306306307</c:v>
                </c:pt>
                <c:pt idx="19">
                  <c:v>0.5418106427090532</c:v>
                </c:pt>
                <c:pt idx="20">
                  <c:v>0.5021994134897361</c:v>
                </c:pt>
                <c:pt idx="21">
                  <c:v>0.5262664165103189</c:v>
                </c:pt>
                <c:pt idx="22">
                  <c:v>0.49044585987261147</c:v>
                </c:pt>
                <c:pt idx="23">
                  <c:v>0.4937428896473265</c:v>
                </c:pt>
                <c:pt idx="24">
                  <c:v>0.45542427497314714</c:v>
                </c:pt>
                <c:pt idx="25">
                  <c:v>0.47098214285714285</c:v>
                </c:pt>
                <c:pt idx="26">
                  <c:v>0.4088937093275488</c:v>
                </c:pt>
                <c:pt idx="27">
                  <c:v>0.416044776119403</c:v>
                </c:pt>
                <c:pt idx="28">
                  <c:v>0.4821576763485477</c:v>
                </c:pt>
                <c:pt idx="29">
                  <c:v>0.5057833859095688</c:v>
                </c:pt>
                <c:pt idx="30">
                  <c:v>0.5305263157894737</c:v>
                </c:pt>
                <c:pt idx="31">
                  <c:v>0.49352051835853133</c:v>
                </c:pt>
                <c:pt idx="32">
                  <c:v>0.5544147843942505</c:v>
                </c:pt>
                <c:pt idx="33">
                  <c:v>0.5863166268894192</c:v>
                </c:pt>
                <c:pt idx="34">
                  <c:v>0.6038300418910831</c:v>
                </c:pt>
                <c:pt idx="35">
                  <c:v>0.5973724884080371</c:v>
                </c:pt>
                <c:pt idx="36">
                  <c:v>0.509367681498829</c:v>
                </c:pt>
                <c:pt idx="37">
                  <c:v>0.4806122448979592</c:v>
                </c:pt>
                <c:pt idx="38">
                  <c:v>0.5274043433298863</c:v>
                </c:pt>
                <c:pt idx="39">
                  <c:v>0.5380989787902593</c:v>
                </c:pt>
                <c:pt idx="40">
                  <c:v>0.5058922558922558</c:v>
                </c:pt>
                <c:pt idx="41">
                  <c:v>0.4850574712643678</c:v>
                </c:pt>
                <c:pt idx="42">
                  <c:v>0.4867337602927722</c:v>
                </c:pt>
                <c:pt idx="43">
                  <c:v>0.484529702970297</c:v>
                </c:pt>
                <c:pt idx="44">
                  <c:v>0.5595238095238095</c:v>
                </c:pt>
                <c:pt idx="45">
                  <c:v>0.5924387203988367</c:v>
                </c:pt>
                <c:pt idx="46">
                  <c:v>0.5785601681555439</c:v>
                </c:pt>
                <c:pt idx="47">
                  <c:v>0.5872718764623304</c:v>
                </c:pt>
                <c:pt idx="48">
                  <c:v>0.5992462311557789</c:v>
                </c:pt>
                <c:pt idx="49">
                  <c:v>0.6043010752688172</c:v>
                </c:pt>
                <c:pt idx="50">
                  <c:v>0.6811352253756261</c:v>
                </c:pt>
                <c:pt idx="51">
                  <c:v>0.63185975609756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20.3281700485021</c:v>
                </c:pt>
              </c:numCache>
            </c:numRef>
          </c:xVal>
          <c:yVal>
            <c:numRef>
              <c:f>Sheet1!$B$163:$B$164</c:f>
              <c:numCache>
                <c:formatCode>General</c:formatCode>
                <c:ptCount val="2"/>
                <c:pt idx="0">
                  <c:v>0.6952319130195098</c:v>
                </c:pt>
                <c:pt idx="1">
                  <c:v>0.695231913019509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20.3281700485021</c:v>
                </c:pt>
                <c:pt idx="1">
                  <c:v>620.3281700485021</c:v>
                </c:pt>
              </c:numCache>
            </c:numRef>
          </c:xVal>
          <c:yVal>
            <c:numRef>
              <c:f>Sheet1!$B$167:$B$168</c:f>
              <c:numCache>
                <c:formatCode>General</c:formatCode>
                <c:ptCount val="2"/>
                <c:pt idx="0">
                  <c:v>0.695231913019509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826.3861384348739</c:v>
                </c:pt>
              </c:numCache>
            </c:numRef>
          </c:xVal>
          <c:yVal>
            <c:numRef>
              <c:f>Sheet1!$B$171:$B$172</c:f>
              <c:numCache>
                <c:formatCode>General</c:formatCode>
                <c:ptCount val="2"/>
                <c:pt idx="0">
                  <c:v>0.6291355719744458</c:v>
                </c:pt>
                <c:pt idx="1">
                  <c:v>0.629135571974445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826.3861384348739</c:v>
                </c:pt>
                <c:pt idx="1">
                  <c:v>826.3861384348739</c:v>
                </c:pt>
              </c:numCache>
            </c:numRef>
          </c:xVal>
          <c:yVal>
            <c:numRef>
              <c:f>Sheet1!$B$175:$B$176</c:f>
              <c:numCache>
                <c:formatCode>General</c:formatCode>
                <c:ptCount val="2"/>
                <c:pt idx="0">
                  <c:v>0.629135571974445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28.813604824582</c:v>
                </c:pt>
              </c:numCache>
            </c:numRef>
          </c:xVal>
          <c:yVal>
            <c:numRef>
              <c:f>Sheet1!$B$179:$B$180</c:f>
              <c:numCache>
                <c:formatCode>General</c:formatCode>
                <c:ptCount val="2"/>
                <c:pt idx="0">
                  <c:v>0.5642037716652505</c:v>
                </c:pt>
                <c:pt idx="1">
                  <c:v>0.56420377166525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28.813604824582</c:v>
                </c:pt>
                <c:pt idx="1">
                  <c:v>1028.813604824582</c:v>
                </c:pt>
              </c:numCache>
            </c:numRef>
          </c:xVal>
          <c:yVal>
            <c:numRef>
              <c:f>Sheet1!$B$183:$B$184</c:f>
              <c:numCache>
                <c:formatCode>General</c:formatCode>
                <c:ptCount val="2"/>
                <c:pt idx="0">
                  <c:v>0.56420377166525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2.1597</c:v>
                </c:pt>
                <c:pt idx="1">
                  <c:v>1179.6593</c:v>
                </c:pt>
                <c:pt idx="2">
                  <c:v>1148.2658</c:v>
                </c:pt>
                <c:pt idx="3">
                  <c:v>1156.9952</c:v>
                </c:pt>
                <c:pt idx="4">
                  <c:v>1152.9689</c:v>
                </c:pt>
                <c:pt idx="5">
                  <c:v>1127.6708</c:v>
                </c:pt>
                <c:pt idx="6">
                  <c:v>1048.056</c:v>
                </c:pt>
                <c:pt idx="7">
                  <c:v>1052.7169</c:v>
                </c:pt>
                <c:pt idx="8">
                  <c:v>1163.374</c:v>
                </c:pt>
                <c:pt idx="9">
                  <c:v>1044.6676</c:v>
                </c:pt>
                <c:pt idx="10">
                  <c:v>1093.5535</c:v>
                </c:pt>
                <c:pt idx="11">
                  <c:v>985.9739</c:v>
                </c:pt>
                <c:pt idx="12">
                  <c:v>1050.5848</c:v>
                </c:pt>
                <c:pt idx="13">
                  <c:v>1080.4218</c:v>
                </c:pt>
                <c:pt idx="14">
                  <c:v>1115.1449</c:v>
                </c:pt>
                <c:pt idx="15">
                  <c:v>1126.4784</c:v>
                </c:pt>
                <c:pt idx="16">
                  <c:v>1147.975</c:v>
                </c:pt>
                <c:pt idx="17">
                  <c:v>1132.4845</c:v>
                </c:pt>
                <c:pt idx="18">
                  <c:v>1121.6248</c:v>
                </c:pt>
                <c:pt idx="19">
                  <c:v>1039.6531</c:v>
                </c:pt>
                <c:pt idx="20">
                  <c:v>1020.9066</c:v>
                </c:pt>
                <c:pt idx="21">
                  <c:v>981.0374</c:v>
                </c:pt>
                <c:pt idx="22">
                  <c:v>994.7922</c:v>
                </c:pt>
                <c:pt idx="23">
                  <c:v>1064.4355</c:v>
                </c:pt>
                <c:pt idx="24">
                  <c:v>1155.5071</c:v>
                </c:pt>
                <c:pt idx="25">
                  <c:v>1137.4123</c:v>
                </c:pt>
                <c:pt idx="26">
                  <c:v>1191.679</c:v>
                </c:pt>
                <c:pt idx="27">
                  <c:v>1164.9462</c:v>
                </c:pt>
                <c:pt idx="28">
                  <c:v>1054.8985</c:v>
                </c:pt>
                <c:pt idx="29">
                  <c:v>1059.9647</c:v>
                </c:pt>
                <c:pt idx="30">
                  <c:v>1074.6766</c:v>
                </c:pt>
                <c:pt idx="31">
                  <c:v>1095.8293</c:v>
                </c:pt>
                <c:pt idx="32">
                  <c:v>1061.2685</c:v>
                </c:pt>
                <c:pt idx="33">
                  <c:v>1079.2008</c:v>
                </c:pt>
                <c:pt idx="34">
                  <c:v>1105.776</c:v>
                </c:pt>
                <c:pt idx="35">
                  <c:v>1155.2794</c:v>
                </c:pt>
                <c:pt idx="36">
                  <c:v>1119.554</c:v>
                </c:pt>
                <c:pt idx="37">
                  <c:v>1217.1783</c:v>
                </c:pt>
                <c:pt idx="38">
                  <c:v>1152.3588</c:v>
                </c:pt>
                <c:pt idx="39">
                  <c:v>1200.6117</c:v>
                </c:pt>
                <c:pt idx="40">
                  <c:v>1227.797</c:v>
                </c:pt>
                <c:pt idx="41">
                  <c:v>1295.1927</c:v>
                </c:pt>
                <c:pt idx="42">
                  <c:v>1279.6767</c:v>
                </c:pt>
                <c:pt idx="43">
                  <c:v>1289.7522</c:v>
                </c:pt>
                <c:pt idx="44">
                  <c:v>1133.5088</c:v>
                </c:pt>
                <c:pt idx="45">
                  <c:v>1185.3948</c:v>
                </c:pt>
                <c:pt idx="46">
                  <c:v>1176.406</c:v>
                </c:pt>
                <c:pt idx="47">
                  <c:v>1155.9944</c:v>
                </c:pt>
                <c:pt idx="48">
                  <c:v>1118.3669</c:v>
                </c:pt>
                <c:pt idx="49">
                  <c:v>1096.8013</c:v>
                </c:pt>
                <c:pt idx="50">
                  <c:v>1025.046</c:v>
                </c:pt>
                <c:pt idx="51">
                  <c:v>1016.2642</c:v>
                </c:pt>
                <c:pt idx="52">
                  <c:v>826.3861384348739</c:v>
                </c:pt>
                <c:pt idx="53">
                  <c:v>620.3281700485021</c:v>
                </c:pt>
                <c:pt idx="54">
                  <c:v>1028.813604824582</c:v>
                </c:pt>
              </c:numCache>
            </c:numRef>
          </c:xVal>
          <c:yVal>
            <c:numRef>
              <c:f>Sheet1!$B$187:$B$241</c:f>
              <c:numCache>
                <c:formatCode>General</c:formatCode>
                <c:ptCount val="55"/>
                <c:pt idx="0">
                  <c:v>0.5246385675766395</c:v>
                </c:pt>
                <c:pt idx="1">
                  <c:v>0.5158176374547104</c:v>
                </c:pt>
                <c:pt idx="2">
                  <c:v>0.5258875973735013</c:v>
                </c:pt>
                <c:pt idx="3">
                  <c:v>0.523087504739195</c:v>
                </c:pt>
                <c:pt idx="4">
                  <c:v>0.5243790039228167</c:v>
                </c:pt>
                <c:pt idx="5">
                  <c:v>0.5324937682218455</c:v>
                </c:pt>
                <c:pt idx="6">
                  <c:v>0.5580314701328316</c:v>
                </c:pt>
                <c:pt idx="7">
                  <c:v>0.5565364129972624</c:v>
                </c:pt>
                <c:pt idx="8">
                  <c:v>0.521041404102758</c:v>
                </c:pt>
                <c:pt idx="9">
                  <c:v>0.5591183528374943</c:v>
                </c:pt>
                <c:pt idx="10">
                  <c:v>0.5434374299205207</c:v>
                </c:pt>
                <c:pt idx="11">
                  <c:v>0.5779452821854654</c:v>
                </c:pt>
                <c:pt idx="12">
                  <c:v>0.5572203176763473</c:v>
                </c:pt>
                <c:pt idx="13">
                  <c:v>0.5476496296645945</c:v>
                </c:pt>
                <c:pt idx="14">
                  <c:v>0.5365116480678894</c:v>
                </c:pt>
                <c:pt idx="15">
                  <c:v>0.5328762493152936</c:v>
                </c:pt>
                <c:pt idx="16">
                  <c:v>0.5259808760568079</c:v>
                </c:pt>
                <c:pt idx="17">
                  <c:v>0.5309496980779914</c:v>
                </c:pt>
                <c:pt idx="18">
                  <c:v>0.5344331180130127</c:v>
                </c:pt>
                <c:pt idx="19">
                  <c:v>0.5607268327461625</c:v>
                </c:pt>
                <c:pt idx="20">
                  <c:v>0.566740068085249</c:v>
                </c:pt>
                <c:pt idx="21">
                  <c:v>0.5795287423647735</c:v>
                </c:pt>
                <c:pt idx="22">
                  <c:v>0.575116673475004</c:v>
                </c:pt>
                <c:pt idx="23">
                  <c:v>0.5527774873500952</c:v>
                </c:pt>
                <c:pt idx="24">
                  <c:v>0.5235648362681788</c:v>
                </c:pt>
                <c:pt idx="25">
                  <c:v>0.5293690285608041</c:v>
                </c:pt>
                <c:pt idx="26">
                  <c:v>0.5119621292368981</c:v>
                </c:pt>
                <c:pt idx="27">
                  <c:v>0.5205370961732719</c:v>
                </c:pt>
                <c:pt idx="28">
                  <c:v>0.5558366304130067</c:v>
                </c:pt>
                <c:pt idx="29">
                  <c:v>0.5542115669144934</c:v>
                </c:pt>
                <c:pt idx="30">
                  <c:v>0.549492493114845</c:v>
                </c:pt>
                <c:pt idx="31">
                  <c:v>0.5427074312015762</c:v>
                </c:pt>
                <c:pt idx="32">
                  <c:v>0.5537933525152667</c:v>
                </c:pt>
                <c:pt idx="33">
                  <c:v>0.5480412846588081</c:v>
                </c:pt>
                <c:pt idx="34">
                  <c:v>0.5395168704063722</c:v>
                </c:pt>
                <c:pt idx="35">
                  <c:v>0.5236378746319645</c:v>
                </c:pt>
                <c:pt idx="36">
                  <c:v>0.5350973597509467</c:v>
                </c:pt>
                <c:pt idx="37">
                  <c:v>0.5037828268667508</c:v>
                </c:pt>
                <c:pt idx="38">
                  <c:v>0.5245747031136191</c:v>
                </c:pt>
                <c:pt idx="39">
                  <c:v>0.5090968249233753</c:v>
                </c:pt>
                <c:pt idx="40">
                  <c:v>0.500376711480137</c:v>
                </c:pt>
                <c:pt idx="41">
                  <c:v>0.4787584784797118</c:v>
                </c:pt>
                <c:pt idx="42">
                  <c:v>0.48373548002780165</c:v>
                </c:pt>
                <c:pt idx="43">
                  <c:v>0.48050360460257746</c:v>
                </c:pt>
                <c:pt idx="44">
                  <c:v>0.5306211377089718</c:v>
                </c:pt>
                <c:pt idx="45">
                  <c:v>0.513977885432342</c:v>
                </c:pt>
                <c:pt idx="46">
                  <c:v>0.5168611847050586</c:v>
                </c:pt>
                <c:pt idx="47">
                  <c:v>0.5234085271128305</c:v>
                </c:pt>
                <c:pt idx="48">
                  <c:v>0.5354781407858615</c:v>
                </c:pt>
                <c:pt idx="49">
                  <c:v>0.5423956468818583</c:v>
                </c:pt>
                <c:pt idx="50">
                  <c:v>0.5654122902940553</c:v>
                </c:pt>
                <c:pt idx="51">
                  <c:v>0.5682291910542393</c:v>
                </c:pt>
                <c:pt idx="52">
                  <c:v>0.6291355719744458</c:v>
                </c:pt>
                <c:pt idx="53">
                  <c:v>0.6952319130195098</c:v>
                </c:pt>
                <c:pt idx="54">
                  <c:v>0.56420377166525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54.0"/>
          <c:min val="49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668571428571429"/>
          <c:min val="0.27588591184096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215877184207348</c:v>
                </c:pt>
                <c:pt idx="1">
                  <c:v>0.841488515335272</c:v>
                </c:pt>
                <c:pt idx="2">
                  <c:v>0.8913897624095826</c:v>
                </c:pt>
                <c:pt idx="3">
                  <c:v>0.9043936701149424</c:v>
                </c:pt>
                <c:pt idx="4">
                  <c:v>0.8761916850984287</c:v>
                </c:pt>
                <c:pt idx="5">
                  <c:v>0.9305727753685951</c:v>
                </c:pt>
                <c:pt idx="6">
                  <c:v>0.8836036397987509</c:v>
                </c:pt>
                <c:pt idx="7">
                  <c:v>0.8907029081871828</c:v>
                </c:pt>
                <c:pt idx="8">
                  <c:v>0.8857366456015926</c:v>
                </c:pt>
                <c:pt idx="9">
                  <c:v>0.8590521679928514</c:v>
                </c:pt>
                <c:pt idx="10">
                  <c:v>0.8295429362460421</c:v>
                </c:pt>
                <c:pt idx="11">
                  <c:v>0.8488141010238232</c:v>
                </c:pt>
                <c:pt idx="12">
                  <c:v>0.8346021512210422</c:v>
                </c:pt>
                <c:pt idx="13">
                  <c:v>0.8577510672367947</c:v>
                </c:pt>
                <c:pt idx="14">
                  <c:v>0.9509946439351022</c:v>
                </c:pt>
                <c:pt idx="15">
                  <c:v>0.9698208495289674</c:v>
                </c:pt>
                <c:pt idx="16">
                  <c:v>0.9700581476401884</c:v>
                </c:pt>
                <c:pt idx="17">
                  <c:v>0.9798133513199307</c:v>
                </c:pt>
                <c:pt idx="18">
                  <c:v>1.0291942726614296</c:v>
                </c:pt>
                <c:pt idx="19">
                  <c:v>1.0642784606420466</c:v>
                </c:pt>
                <c:pt idx="20">
                  <c:v>1.1028805000875364</c:v>
                </c:pt>
                <c:pt idx="21">
                  <c:v>1.1301047226441525</c:v>
                </c:pt>
                <c:pt idx="22">
                  <c:v>1.0329318450282297</c:v>
                </c:pt>
                <c:pt idx="23">
                  <c:v>1.015434374575748</c:v>
                </c:pt>
                <c:pt idx="24">
                  <c:v>1.0094806293012109</c:v>
                </c:pt>
                <c:pt idx="25">
                  <c:v>1.0125522460901386</c:v>
                </c:pt>
                <c:pt idx="26">
                  <c:v>1.0433095774155878</c:v>
                </c:pt>
                <c:pt idx="27">
                  <c:v>1.1134076898441114</c:v>
                </c:pt>
                <c:pt idx="28">
                  <c:v>1.1472602022679372</c:v>
                </c:pt>
                <c:pt idx="29">
                  <c:v>0.9880881167666439</c:v>
                </c:pt>
                <c:pt idx="30">
                  <c:v>1.0820665453889022</c:v>
                </c:pt>
                <c:pt idx="31">
                  <c:v>1.1198035540197855</c:v>
                </c:pt>
                <c:pt idx="32">
                  <c:v>1.0621242986443529</c:v>
                </c:pt>
                <c:pt idx="33">
                  <c:v>0.9830315795643457</c:v>
                </c:pt>
                <c:pt idx="34">
                  <c:v>1.0879857773418342</c:v>
                </c:pt>
                <c:pt idx="35">
                  <c:v>1.0911784054997882</c:v>
                </c:pt>
                <c:pt idx="36">
                  <c:v>1.1432266979054417</c:v>
                </c:pt>
                <c:pt idx="37">
                  <c:v>1.1909756246120906</c:v>
                </c:pt>
                <c:pt idx="38">
                  <c:v>1.176171736268388</c:v>
                </c:pt>
                <c:pt idx="39">
                  <c:v>1.2137713761145863</c:v>
                </c:pt>
                <c:pt idx="40">
                  <c:v>1.12993675148753</c:v>
                </c:pt>
                <c:pt idx="41">
                  <c:v>1.1184401842421836</c:v>
                </c:pt>
                <c:pt idx="42">
                  <c:v>1.1932534160418198</c:v>
                </c:pt>
                <c:pt idx="43">
                  <c:v>1.1613737316745227</c:v>
                </c:pt>
                <c:pt idx="44">
                  <c:v>0.9964031422594243</c:v>
                </c:pt>
                <c:pt idx="45">
                  <c:v>0.9737491433066586</c:v>
                </c:pt>
                <c:pt idx="46">
                  <c:v>0.9867108328511547</c:v>
                </c:pt>
                <c:pt idx="47">
                  <c:v>0.9708749443702714</c:v>
                </c:pt>
                <c:pt idx="48">
                  <c:v>0.9339264398058568</c:v>
                </c:pt>
                <c:pt idx="49">
                  <c:v>0.8636546868952977</c:v>
                </c:pt>
                <c:pt idx="50">
                  <c:v>0.8637368168161708</c:v>
                </c:pt>
                <c:pt idx="51">
                  <c:v>0.8795626330912739</c:v>
                </c:pt>
                <c:pt idx="52">
                  <c:v>0.8377357019004537</c:v>
                </c:pt>
                <c:pt idx="53">
                  <c:v>0.9665022407792233</c:v>
                </c:pt>
                <c:pt idx="54">
                  <c:v>0.9575253793817965</c:v>
                </c:pt>
                <c:pt idx="55">
                  <c:v>0.9574075307474692</c:v>
                </c:pt>
                <c:pt idx="56">
                  <c:v>0.987432509752926</c:v>
                </c:pt>
                <c:pt idx="57">
                  <c:v>0.9857623656658637</c:v>
                </c:pt>
                <c:pt idx="58">
                  <c:v>0.9718055223201679</c:v>
                </c:pt>
                <c:pt idx="59">
                  <c:v>0.9601475691395512</c:v>
                </c:pt>
                <c:pt idx="60">
                  <c:v>0.9847697805031829</c:v>
                </c:pt>
                <c:pt idx="61">
                  <c:v>0.8438143547059598</c:v>
                </c:pt>
                <c:pt idx="62">
                  <c:v>0.7713291504286828</c:v>
                </c:pt>
                <c:pt idx="63">
                  <c:v>0.8044259060421013</c:v>
                </c:pt>
                <c:pt idx="64">
                  <c:v>0.7518147899714205</c:v>
                </c:pt>
                <c:pt idx="65">
                  <c:v>0.7075645081211432</c:v>
                </c:pt>
                <c:pt idx="66">
                  <c:v>0.6951488453016632</c:v>
                </c:pt>
                <c:pt idx="67">
                  <c:v>0.805063217897503</c:v>
                </c:pt>
                <c:pt idx="68">
                  <c:v>0.6670207422823448</c:v>
                </c:pt>
                <c:pt idx="69">
                  <c:v>0.626647570745202</c:v>
                </c:pt>
                <c:pt idx="70">
                  <c:v>0.6161228952424003</c:v>
                </c:pt>
                <c:pt idx="71">
                  <c:v>0.6925371918780113</c:v>
                </c:pt>
                <c:pt idx="72">
                  <c:v>0.9216901559994468</c:v>
                </c:pt>
                <c:pt idx="73">
                  <c:v>0.7007051659159345</c:v>
                </c:pt>
                <c:pt idx="74">
                  <c:v>0.6337929153964083</c:v>
                </c:pt>
                <c:pt idx="75">
                  <c:v>0.6967047133245708</c:v>
                </c:pt>
                <c:pt idx="76">
                  <c:v>0.6871060282718644</c:v>
                </c:pt>
                <c:pt idx="77">
                  <c:v>0.6979842581423402</c:v>
                </c:pt>
                <c:pt idx="78">
                  <c:v>0.7640887101505348</c:v>
                </c:pt>
                <c:pt idx="79">
                  <c:v>0.8100745442513428</c:v>
                </c:pt>
                <c:pt idx="80">
                  <c:v>0.8140739013310225</c:v>
                </c:pt>
                <c:pt idx="81">
                  <c:v>0.794373466048541</c:v>
                </c:pt>
                <c:pt idx="82">
                  <c:v>0.7015873832328249</c:v>
                </c:pt>
                <c:pt idx="83">
                  <c:v>0.5948614381727222</c:v>
                </c:pt>
                <c:pt idx="84">
                  <c:v>0.6441951260131009</c:v>
                </c:pt>
                <c:pt idx="85">
                  <c:v>0.7124277232672959</c:v>
                </c:pt>
                <c:pt idx="86">
                  <c:v>0.6296932851581233</c:v>
                </c:pt>
                <c:pt idx="87">
                  <c:v>1.0889614183453593</c:v>
                </c:pt>
                <c:pt idx="88">
                  <c:v>1.066841895623048</c:v>
                </c:pt>
                <c:pt idx="89">
                  <c:v>1.0363585933193695</c:v>
                </c:pt>
                <c:pt idx="90">
                  <c:v>1.3668303854875283</c:v>
                </c:pt>
                <c:pt idx="91">
                  <c:v>1.0788245567375887</c:v>
                </c:pt>
                <c:pt idx="92">
                  <c:v>0.9268429173197491</c:v>
                </c:pt>
                <c:pt idx="93">
                  <c:v>0.9373649836017159</c:v>
                </c:pt>
                <c:pt idx="94">
                  <c:v>0.8781553833987653</c:v>
                </c:pt>
                <c:pt idx="95">
                  <c:v>0.9385391437394448</c:v>
                </c:pt>
                <c:pt idx="96">
                  <c:v>0.9095699720946151</c:v>
                </c:pt>
                <c:pt idx="97">
                  <c:v>0.9877917565908535</c:v>
                </c:pt>
                <c:pt idx="98">
                  <c:v>0.9934272095287989</c:v>
                </c:pt>
                <c:pt idx="99">
                  <c:v>0.947513917873969</c:v>
                </c:pt>
                <c:pt idx="100">
                  <c:v>0.9519035510673275</c:v>
                </c:pt>
                <c:pt idx="101">
                  <c:v>1.003960438972743</c:v>
                </c:pt>
                <c:pt idx="102">
                  <c:v>0.9979480808244239</c:v>
                </c:pt>
                <c:pt idx="103">
                  <c:v>0.9517063626702346</c:v>
                </c:pt>
                <c:pt idx="104">
                  <c:v>1.021182059943278</c:v>
                </c:pt>
              </c:numCache>
            </c:numRef>
          </c:xVal>
          <c:yVal>
            <c:numRef>
              <c:f>Sheet1!$B$2:$B$106</c:f>
              <c:numCache>
                <c:formatCode>General</c:formatCode>
                <c:ptCount val="105"/>
                <c:pt idx="0">
                  <c:v>0.7477628635346756</c:v>
                </c:pt>
                <c:pt idx="1">
                  <c:v>0.7167684358853922</c:v>
                </c:pt>
                <c:pt idx="2">
                  <c:v>0.6016161616161616</c:v>
                </c:pt>
                <c:pt idx="3">
                  <c:v>0.5613295880149812</c:v>
                </c:pt>
                <c:pt idx="4">
                  <c:v>0.4391727493917275</c:v>
                </c:pt>
                <c:pt idx="5">
                  <c:v>0.3745427944403804</c:v>
                </c:pt>
                <c:pt idx="6">
                  <c:v>0.43447669305189096</c:v>
                </c:pt>
                <c:pt idx="7">
                  <c:v>0.37393767705382436</c:v>
                </c:pt>
                <c:pt idx="8">
                  <c:v>0.5449591280653951</c:v>
                </c:pt>
                <c:pt idx="9">
                  <c:v>0.6287042417199302</c:v>
                </c:pt>
                <c:pt idx="10">
                  <c:v>0.6635044642857143</c:v>
                </c:pt>
                <c:pt idx="11">
                  <c:v>0.6827033218785796</c:v>
                </c:pt>
                <c:pt idx="12">
                  <c:v>0.7445026178010471</c:v>
                </c:pt>
                <c:pt idx="13">
                  <c:v>0.7683881064162754</c:v>
                </c:pt>
                <c:pt idx="14">
                  <c:v>0.8057142857142857</c:v>
                </c:pt>
                <c:pt idx="15">
                  <c:v>0.770949720670391</c:v>
                </c:pt>
                <c:pt idx="16">
                  <c:v>0.7401263823064771</c:v>
                </c:pt>
                <c:pt idx="17">
                  <c:v>0.7251512532411409</c:v>
                </c:pt>
                <c:pt idx="18">
                  <c:v>0.715042372881356</c:v>
                </c:pt>
                <c:pt idx="19">
                  <c:v>0.5820170109356014</c:v>
                </c:pt>
                <c:pt idx="20">
                  <c:v>0.6005639097744361</c:v>
                </c:pt>
                <c:pt idx="21">
                  <c:v>0.6106471816283925</c:v>
                </c:pt>
                <c:pt idx="22">
                  <c:v>0.5395152792413066</c:v>
                </c:pt>
                <c:pt idx="23">
                  <c:v>0.5790080738177624</c:v>
                </c:pt>
                <c:pt idx="24">
                  <c:v>0.5565302144249513</c:v>
                </c:pt>
                <c:pt idx="25">
                  <c:v>0.5511163337250293</c:v>
                </c:pt>
                <c:pt idx="26">
                  <c:v>0.6269230769230769</c:v>
                </c:pt>
                <c:pt idx="27">
                  <c:v>0.6493506493506493</c:v>
                </c:pt>
                <c:pt idx="28">
                  <c:v>0.5409429280397022</c:v>
                </c:pt>
                <c:pt idx="29">
                  <c:v>0.5248618784530387</c:v>
                </c:pt>
                <c:pt idx="30">
                  <c:v>0.4967741935483871</c:v>
                </c:pt>
                <c:pt idx="31">
                  <c:v>0.4956268221574344</c:v>
                </c:pt>
                <c:pt idx="32">
                  <c:v>0.5267260579064588</c:v>
                </c:pt>
                <c:pt idx="33">
                  <c:v>0.5064247921390779</c:v>
                </c:pt>
                <c:pt idx="34">
                  <c:v>0.47670492910195816</c:v>
                </c:pt>
                <c:pt idx="35">
                  <c:v>0.6188557614826753</c:v>
                </c:pt>
                <c:pt idx="36">
                  <c:v>0.5739769150052466</c:v>
                </c:pt>
                <c:pt idx="37">
                  <c:v>0.5784190715181933</c:v>
                </c:pt>
                <c:pt idx="38">
                  <c:v>0.5876543209876544</c:v>
                </c:pt>
                <c:pt idx="39">
                  <c:v>0.6409214092140921</c:v>
                </c:pt>
                <c:pt idx="40">
                  <c:v>0.6078639744952179</c:v>
                </c:pt>
                <c:pt idx="41">
                  <c:v>0.51875</c:v>
                </c:pt>
                <c:pt idx="42">
                  <c:v>0.4990791896869245</c:v>
                </c:pt>
                <c:pt idx="43">
                  <c:v>0.4788135593220339</c:v>
                </c:pt>
                <c:pt idx="44">
                  <c:v>0.5431931252826775</c:v>
                </c:pt>
                <c:pt idx="45">
                  <c:v>0.6189821182943603</c:v>
                </c:pt>
                <c:pt idx="46">
                  <c:v>0.6272838002436053</c:v>
                </c:pt>
                <c:pt idx="47">
                  <c:v>0.5687037757882445</c:v>
                </c:pt>
                <c:pt idx="48">
                  <c:v>0.6074436294485194</c:v>
                </c:pt>
                <c:pt idx="49">
                  <c:v>0.6360913515537252</c:v>
                </c:pt>
                <c:pt idx="50">
                  <c:v>0.5873458018304815</c:v>
                </c:pt>
                <c:pt idx="51">
                  <c:v>0.5636540330417882</c:v>
                </c:pt>
                <c:pt idx="52">
                  <c:v>0.5740601503759398</c:v>
                </c:pt>
                <c:pt idx="53">
                  <c:v>0.49661508704061896</c:v>
                </c:pt>
                <c:pt idx="54">
                  <c:v>0.4834710743801653</c:v>
                </c:pt>
                <c:pt idx="55">
                  <c:v>0.4757493188010899</c:v>
                </c:pt>
                <c:pt idx="56">
                  <c:v>0.47532188841201717</c:v>
                </c:pt>
                <c:pt idx="57">
                  <c:v>0.4742857142857143</c:v>
                </c:pt>
                <c:pt idx="58">
                  <c:v>0.5159963436928702</c:v>
                </c:pt>
                <c:pt idx="59">
                  <c:v>0.5493939393939394</c:v>
                </c:pt>
                <c:pt idx="60">
                  <c:v>0.5612635609444799</c:v>
                </c:pt>
                <c:pt idx="61">
                  <c:v>0.5353488372093024</c:v>
                </c:pt>
                <c:pt idx="62">
                  <c:v>0.5830479452054794</c:v>
                </c:pt>
                <c:pt idx="63">
                  <c:v>0.626827485380117</c:v>
                </c:pt>
                <c:pt idx="64">
                  <c:v>0.6477400074710497</c:v>
                </c:pt>
                <c:pt idx="65">
                  <c:v>0.6203592814371257</c:v>
                </c:pt>
                <c:pt idx="66">
                  <c:v>0.5973491773308958</c:v>
                </c:pt>
                <c:pt idx="67">
                  <c:v>0.5980582524271845</c:v>
                </c:pt>
                <c:pt idx="68">
                  <c:v>0.5796752856283824</c:v>
                </c:pt>
                <c:pt idx="69">
                  <c:v>0.5509554140127388</c:v>
                </c:pt>
                <c:pt idx="70">
                  <c:v>0.4872994652406417</c:v>
                </c:pt>
                <c:pt idx="71">
                  <c:v>0.48441926345609065</c:v>
                </c:pt>
                <c:pt idx="72">
                  <c:v>0.4890885750962773</c:v>
                </c:pt>
                <c:pt idx="73">
                  <c:v>0.48070412999322953</c:v>
                </c:pt>
                <c:pt idx="74">
                  <c:v>0.4488135593220339</c:v>
                </c:pt>
                <c:pt idx="75">
                  <c:v>0.4938811188811189</c:v>
                </c:pt>
                <c:pt idx="76">
                  <c:v>0.44936708860759494</c:v>
                </c:pt>
                <c:pt idx="77">
                  <c:v>0.46878097125867196</c:v>
                </c:pt>
                <c:pt idx="78">
                  <c:v>0.4442013129102845</c:v>
                </c:pt>
                <c:pt idx="79">
                  <c:v>0.44250513347022585</c:v>
                </c:pt>
                <c:pt idx="80">
                  <c:v>0.34485738980121</c:v>
                </c:pt>
                <c:pt idx="81">
                  <c:v>0.38598999285203717</c:v>
                </c:pt>
                <c:pt idx="82">
                  <c:v>0.3865461847389558</c:v>
                </c:pt>
                <c:pt idx="83">
                  <c:v>0.36394557823129253</c:v>
                </c:pt>
                <c:pt idx="84">
                  <c:v>0.3906447534766119</c:v>
                </c:pt>
                <c:pt idx="85">
                  <c:v>0.4181222707423581</c:v>
                </c:pt>
                <c:pt idx="86">
                  <c:v>0.4707933740191805</c:v>
                </c:pt>
                <c:pt idx="87">
                  <c:v>0.4934865900383142</c:v>
                </c:pt>
                <c:pt idx="88">
                  <c:v>0.4300469483568075</c:v>
                </c:pt>
                <c:pt idx="89">
                  <c:v>0.3868312757201646</c:v>
                </c:pt>
                <c:pt idx="90">
                  <c:v>0.3627858627858628</c:v>
                </c:pt>
                <c:pt idx="91">
                  <c:v>0.3983402489626556</c:v>
                </c:pt>
                <c:pt idx="92">
                  <c:v>0.45496323529411764</c:v>
                </c:pt>
                <c:pt idx="93">
                  <c:v>0.44254937163375224</c:v>
                </c:pt>
                <c:pt idx="94">
                  <c:v>0.46812957157784746</c:v>
                </c:pt>
                <c:pt idx="95">
                  <c:v>0.4996400287976962</c:v>
                </c:pt>
                <c:pt idx="96">
                  <c:v>0.48845208845208843</c:v>
                </c:pt>
                <c:pt idx="97">
                  <c:v>0.5218360071301248</c:v>
                </c:pt>
                <c:pt idx="98">
                  <c:v>0.543447792571829</c:v>
                </c:pt>
                <c:pt idx="99">
                  <c:v>0.5894245723172629</c:v>
                </c:pt>
                <c:pt idx="100">
                  <c:v>0.6122696902206924</c:v>
                </c:pt>
                <c:pt idx="101">
                  <c:v>0.552901023890785</c:v>
                </c:pt>
                <c:pt idx="102">
                  <c:v>0.5050774986638161</c:v>
                </c:pt>
                <c:pt idx="103">
                  <c:v>0.4964221824686941</c:v>
                </c:pt>
                <c:pt idx="104">
                  <c:v>0.468342194296761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0963729549340886</c:v>
                </c:pt>
                <c:pt idx="1">
                  <c:v>1.0966773443855797</c:v>
                </c:pt>
                <c:pt idx="2">
                  <c:v>1.094736679528434</c:v>
                </c:pt>
                <c:pt idx="3">
                  <c:v>1.0835694968957525</c:v>
                </c:pt>
                <c:pt idx="4">
                  <c:v>1.0559891771470085</c:v>
                </c:pt>
                <c:pt idx="5">
                  <c:v>1.2934971323698097</c:v>
                </c:pt>
                <c:pt idx="6">
                  <c:v>1.2609164808979556</c:v>
                </c:pt>
                <c:pt idx="7">
                  <c:v>1.3728675543801099</c:v>
                </c:pt>
                <c:pt idx="8">
                  <c:v>1.390726489723827</c:v>
                </c:pt>
                <c:pt idx="9">
                  <c:v>1.2511128567060688</c:v>
                </c:pt>
                <c:pt idx="10">
                  <c:v>1.2953415471461118</c:v>
                </c:pt>
                <c:pt idx="11">
                  <c:v>1.2294050806198111</c:v>
                </c:pt>
                <c:pt idx="12">
                  <c:v>1.2306474780030001</c:v>
                </c:pt>
                <c:pt idx="13">
                  <c:v>1.3139849986901766</c:v>
                </c:pt>
                <c:pt idx="14">
                  <c:v>1.3637673194288722</c:v>
                </c:pt>
                <c:pt idx="15">
                  <c:v>1.389246104024155</c:v>
                </c:pt>
                <c:pt idx="16">
                  <c:v>1.3325133013376147</c:v>
                </c:pt>
                <c:pt idx="17">
                  <c:v>1.3852250425205692</c:v>
                </c:pt>
                <c:pt idx="18">
                  <c:v>2.1862002667978566</c:v>
                </c:pt>
                <c:pt idx="19">
                  <c:v>1.9905755008207164</c:v>
                </c:pt>
                <c:pt idx="20">
                  <c:v>2.089986126217641</c:v>
                </c:pt>
                <c:pt idx="21">
                  <c:v>2.034463872845256</c:v>
                </c:pt>
                <c:pt idx="22">
                  <c:v>2.0973535567477946</c:v>
                </c:pt>
                <c:pt idx="23">
                  <c:v>2.2435883654305</c:v>
                </c:pt>
                <c:pt idx="24">
                  <c:v>2.4889448877106113</c:v>
                </c:pt>
                <c:pt idx="25">
                  <c:v>2.4850363061757093</c:v>
                </c:pt>
                <c:pt idx="26">
                  <c:v>2.410040522642383</c:v>
                </c:pt>
                <c:pt idx="27">
                  <c:v>2.190001663726164</c:v>
                </c:pt>
                <c:pt idx="28">
                  <c:v>1.9250843833808537</c:v>
                </c:pt>
                <c:pt idx="29">
                  <c:v>1.999427503343022</c:v>
                </c:pt>
                <c:pt idx="30">
                  <c:v>1.799684868267802</c:v>
                </c:pt>
                <c:pt idx="31">
                  <c:v>1.8565630748660475</c:v>
                </c:pt>
                <c:pt idx="32">
                  <c:v>2.1804752808783303</c:v>
                </c:pt>
                <c:pt idx="33">
                  <c:v>2.2346565739998563</c:v>
                </c:pt>
                <c:pt idx="34">
                  <c:v>2.2745165313302014</c:v>
                </c:pt>
                <c:pt idx="35">
                  <c:v>2.1451485411411473</c:v>
                </c:pt>
                <c:pt idx="36">
                  <c:v>2.3362526561984507</c:v>
                </c:pt>
                <c:pt idx="37">
                  <c:v>2.4029481453813495</c:v>
                </c:pt>
                <c:pt idx="38">
                  <c:v>2.4611912813816312</c:v>
                </c:pt>
                <c:pt idx="39">
                  <c:v>2.4666472722610897</c:v>
                </c:pt>
                <c:pt idx="40">
                  <c:v>2.555614622863794</c:v>
                </c:pt>
                <c:pt idx="41">
                  <c:v>2.6905217776239643</c:v>
                </c:pt>
                <c:pt idx="42">
                  <c:v>2.562316975814227</c:v>
                </c:pt>
                <c:pt idx="43">
                  <c:v>2.320229433825406</c:v>
                </c:pt>
                <c:pt idx="44">
                  <c:v>2.1164064947688663</c:v>
                </c:pt>
                <c:pt idx="45">
                  <c:v>2.1899092293976006</c:v>
                </c:pt>
                <c:pt idx="46">
                  <c:v>2.1481821804047487</c:v>
                </c:pt>
                <c:pt idx="47">
                  <c:v>1.9522935507122527</c:v>
                </c:pt>
                <c:pt idx="48">
                  <c:v>1.796719379920681</c:v>
                </c:pt>
                <c:pt idx="49">
                  <c:v>1.9306418443592603</c:v>
                </c:pt>
                <c:pt idx="50">
                  <c:v>1.672592818616673</c:v>
                </c:pt>
                <c:pt idx="51">
                  <c:v>1.5748235679881932</c:v>
                </c:pt>
              </c:numCache>
            </c:numRef>
          </c:xVal>
          <c:yVal>
            <c:numRef>
              <c:f>Sheet1!$B$109:$B$160</c:f>
              <c:numCache>
                <c:formatCode>General</c:formatCode>
                <c:ptCount val="52"/>
                <c:pt idx="0">
                  <c:v>0.48958742632612967</c:v>
                </c:pt>
                <c:pt idx="1">
                  <c:v>0.4875791524598149</c:v>
                </c:pt>
                <c:pt idx="2">
                  <c:v>0.519578947368421</c:v>
                </c:pt>
                <c:pt idx="3">
                  <c:v>0.5402699172834131</c:v>
                </c:pt>
                <c:pt idx="4">
                  <c:v>0.44204322200392926</c:v>
                </c:pt>
                <c:pt idx="5">
                  <c:v>0.49383259911894273</c:v>
                </c:pt>
                <c:pt idx="6">
                  <c:v>0.5731424148606811</c:v>
                </c:pt>
                <c:pt idx="7">
                  <c:v>0.570958904109589</c:v>
                </c:pt>
                <c:pt idx="8">
                  <c:v>0.5337965887555275</c:v>
                </c:pt>
                <c:pt idx="9">
                  <c:v>0.5877742946708464</c:v>
                </c:pt>
                <c:pt idx="10">
                  <c:v>0.598729792147806</c:v>
                </c:pt>
                <c:pt idx="11">
                  <c:v>0.6227164416203336</c:v>
                </c:pt>
                <c:pt idx="12">
                  <c:v>0.5935632183908046</c:v>
                </c:pt>
                <c:pt idx="13">
                  <c:v>0.555921052631579</c:v>
                </c:pt>
                <c:pt idx="14">
                  <c:v>0.5430220356768101</c:v>
                </c:pt>
                <c:pt idx="15">
                  <c:v>0.555488902219556</c:v>
                </c:pt>
                <c:pt idx="16">
                  <c:v>0.5412517780938834</c:v>
                </c:pt>
                <c:pt idx="17">
                  <c:v>0.5362537764350453</c:v>
                </c:pt>
                <c:pt idx="18">
                  <c:v>0.5306306306306307</c:v>
                </c:pt>
                <c:pt idx="19">
                  <c:v>0.5418106427090532</c:v>
                </c:pt>
                <c:pt idx="20">
                  <c:v>0.5021994134897361</c:v>
                </c:pt>
                <c:pt idx="21">
                  <c:v>0.5262664165103189</c:v>
                </c:pt>
                <c:pt idx="22">
                  <c:v>0.49044585987261147</c:v>
                </c:pt>
                <c:pt idx="23">
                  <c:v>0.4937428896473265</c:v>
                </c:pt>
                <c:pt idx="24">
                  <c:v>0.45542427497314714</c:v>
                </c:pt>
                <c:pt idx="25">
                  <c:v>0.47098214285714285</c:v>
                </c:pt>
                <c:pt idx="26">
                  <c:v>0.4088937093275488</c:v>
                </c:pt>
                <c:pt idx="27">
                  <c:v>0.416044776119403</c:v>
                </c:pt>
                <c:pt idx="28">
                  <c:v>0.4821576763485477</c:v>
                </c:pt>
                <c:pt idx="29">
                  <c:v>0.5057833859095688</c:v>
                </c:pt>
                <c:pt idx="30">
                  <c:v>0.5305263157894737</c:v>
                </c:pt>
                <c:pt idx="31">
                  <c:v>0.49352051835853133</c:v>
                </c:pt>
                <c:pt idx="32">
                  <c:v>0.5544147843942505</c:v>
                </c:pt>
                <c:pt idx="33">
                  <c:v>0.5863166268894192</c:v>
                </c:pt>
                <c:pt idx="34">
                  <c:v>0.6038300418910831</c:v>
                </c:pt>
                <c:pt idx="35">
                  <c:v>0.5973724884080371</c:v>
                </c:pt>
                <c:pt idx="36">
                  <c:v>0.509367681498829</c:v>
                </c:pt>
                <c:pt idx="37">
                  <c:v>0.4806122448979592</c:v>
                </c:pt>
                <c:pt idx="38">
                  <c:v>0.5274043433298863</c:v>
                </c:pt>
                <c:pt idx="39">
                  <c:v>0.5380989787902593</c:v>
                </c:pt>
                <c:pt idx="40">
                  <c:v>0.5058922558922558</c:v>
                </c:pt>
                <c:pt idx="41">
                  <c:v>0.4850574712643678</c:v>
                </c:pt>
                <c:pt idx="42">
                  <c:v>0.4867337602927722</c:v>
                </c:pt>
                <c:pt idx="43">
                  <c:v>0.484529702970297</c:v>
                </c:pt>
                <c:pt idx="44">
                  <c:v>0.5595238095238095</c:v>
                </c:pt>
                <c:pt idx="45">
                  <c:v>0.5924387203988367</c:v>
                </c:pt>
                <c:pt idx="46">
                  <c:v>0.5785601681555439</c:v>
                </c:pt>
                <c:pt idx="47">
                  <c:v>0.5872718764623304</c:v>
                </c:pt>
                <c:pt idx="48">
                  <c:v>0.5992462311557789</c:v>
                </c:pt>
                <c:pt idx="49">
                  <c:v>0.6043010752688172</c:v>
                </c:pt>
                <c:pt idx="50">
                  <c:v>0.6811352253756261</c:v>
                </c:pt>
                <c:pt idx="51">
                  <c:v>0.63185975609756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201626851142349</c:v>
                </c:pt>
              </c:numCache>
            </c:numRef>
          </c:xVal>
          <c:yVal>
            <c:numRef>
              <c:f>Sheet1!$B$163:$B$164</c:f>
              <c:numCache>
                <c:formatCode>General</c:formatCode>
                <c:ptCount val="2"/>
                <c:pt idx="0">
                  <c:v>0.6952319130195098</c:v>
                </c:pt>
                <c:pt idx="1">
                  <c:v>0.695231913019509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201626851142349</c:v>
                </c:pt>
                <c:pt idx="1">
                  <c:v>-3.201626851142349</c:v>
                </c:pt>
              </c:numCache>
            </c:numRef>
          </c:xVal>
          <c:yVal>
            <c:numRef>
              <c:f>Sheet1!$B$167:$B$168</c:f>
              <c:numCache>
                <c:formatCode>General</c:formatCode>
                <c:ptCount val="2"/>
                <c:pt idx="0">
                  <c:v>0.695231913019509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1146738086081789</c:v>
                </c:pt>
              </c:numCache>
            </c:numRef>
          </c:xVal>
          <c:yVal>
            <c:numRef>
              <c:f>Sheet1!$B$171:$B$172</c:f>
              <c:numCache>
                <c:formatCode>General</c:formatCode>
                <c:ptCount val="2"/>
                <c:pt idx="0">
                  <c:v>0.6291355719744458</c:v>
                </c:pt>
                <c:pt idx="1">
                  <c:v>0.629135571974445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1146738086081789</c:v>
                </c:pt>
                <c:pt idx="1">
                  <c:v>-1.1146738086081789</c:v>
                </c:pt>
              </c:numCache>
            </c:numRef>
          </c:xVal>
          <c:yVal>
            <c:numRef>
              <c:f>Sheet1!$B$175:$B$176</c:f>
              <c:numCache>
                <c:formatCode>General</c:formatCode>
                <c:ptCount val="2"/>
                <c:pt idx="0">
                  <c:v>0.629135571974445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355095460211926</c:v>
                </c:pt>
              </c:numCache>
            </c:numRef>
          </c:xVal>
          <c:yVal>
            <c:numRef>
              <c:f>Sheet1!$B$179:$B$180</c:f>
              <c:numCache>
                <c:formatCode>General</c:formatCode>
                <c:ptCount val="2"/>
                <c:pt idx="0">
                  <c:v>0.5642037716652505</c:v>
                </c:pt>
                <c:pt idx="1">
                  <c:v>0.56420377166525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355095460211926</c:v>
                </c:pt>
                <c:pt idx="1">
                  <c:v>0.9355095460211926</c:v>
                </c:pt>
              </c:numCache>
            </c:numRef>
          </c:xVal>
          <c:yVal>
            <c:numRef>
              <c:f>Sheet1!$B$183:$B$184</c:f>
              <c:numCache>
                <c:formatCode>General</c:formatCode>
                <c:ptCount val="2"/>
                <c:pt idx="0">
                  <c:v>0.56420377166525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0963729549340886</c:v>
                </c:pt>
                <c:pt idx="1">
                  <c:v>1.0966773443855797</c:v>
                </c:pt>
                <c:pt idx="2">
                  <c:v>1.094736679528434</c:v>
                </c:pt>
                <c:pt idx="3">
                  <c:v>1.0835694968957525</c:v>
                </c:pt>
                <c:pt idx="4">
                  <c:v>1.0559891771470085</c:v>
                </c:pt>
                <c:pt idx="5">
                  <c:v>1.2934971323698097</c:v>
                </c:pt>
                <c:pt idx="6">
                  <c:v>1.2609164808979556</c:v>
                </c:pt>
                <c:pt idx="7">
                  <c:v>1.3728675543801099</c:v>
                </c:pt>
                <c:pt idx="8">
                  <c:v>1.390726489723827</c:v>
                </c:pt>
                <c:pt idx="9">
                  <c:v>1.2511128567060688</c:v>
                </c:pt>
                <c:pt idx="10">
                  <c:v>1.2953415471461118</c:v>
                </c:pt>
                <c:pt idx="11">
                  <c:v>1.2294050806198111</c:v>
                </c:pt>
                <c:pt idx="12">
                  <c:v>1.2306474780030001</c:v>
                </c:pt>
                <c:pt idx="13">
                  <c:v>1.3139849986901766</c:v>
                </c:pt>
                <c:pt idx="14">
                  <c:v>1.3637673194288722</c:v>
                </c:pt>
                <c:pt idx="15">
                  <c:v>1.389246104024155</c:v>
                </c:pt>
                <c:pt idx="16">
                  <c:v>1.3325133013376147</c:v>
                </c:pt>
                <c:pt idx="17">
                  <c:v>1.3852250425205692</c:v>
                </c:pt>
                <c:pt idx="18">
                  <c:v>2.1862002667978566</c:v>
                </c:pt>
                <c:pt idx="19">
                  <c:v>1.9905755008207164</c:v>
                </c:pt>
                <c:pt idx="20">
                  <c:v>2.089986126217641</c:v>
                </c:pt>
                <c:pt idx="21">
                  <c:v>2.034463872845256</c:v>
                </c:pt>
                <c:pt idx="22">
                  <c:v>2.0973535567477946</c:v>
                </c:pt>
                <c:pt idx="23">
                  <c:v>2.2435883654305</c:v>
                </c:pt>
                <c:pt idx="24">
                  <c:v>2.4889448877106113</c:v>
                </c:pt>
                <c:pt idx="25">
                  <c:v>2.4850363061757093</c:v>
                </c:pt>
                <c:pt idx="26">
                  <c:v>2.410040522642383</c:v>
                </c:pt>
                <c:pt idx="27">
                  <c:v>2.190001663726164</c:v>
                </c:pt>
                <c:pt idx="28">
                  <c:v>1.9250843833808537</c:v>
                </c:pt>
                <c:pt idx="29">
                  <c:v>1.999427503343022</c:v>
                </c:pt>
                <c:pt idx="30">
                  <c:v>1.799684868267802</c:v>
                </c:pt>
                <c:pt idx="31">
                  <c:v>1.8565630748660475</c:v>
                </c:pt>
                <c:pt idx="32">
                  <c:v>2.1804752808783303</c:v>
                </c:pt>
                <c:pt idx="33">
                  <c:v>2.2346565739998563</c:v>
                </c:pt>
                <c:pt idx="34">
                  <c:v>2.2745165313302014</c:v>
                </c:pt>
                <c:pt idx="35">
                  <c:v>2.1451485411411473</c:v>
                </c:pt>
                <c:pt idx="36">
                  <c:v>2.3362526561984507</c:v>
                </c:pt>
                <c:pt idx="37">
                  <c:v>2.4029481453813495</c:v>
                </c:pt>
                <c:pt idx="38">
                  <c:v>2.4611912813816312</c:v>
                </c:pt>
                <c:pt idx="39">
                  <c:v>2.4666472722610897</c:v>
                </c:pt>
                <c:pt idx="40">
                  <c:v>2.555614622863794</c:v>
                </c:pt>
                <c:pt idx="41">
                  <c:v>2.6905217776239643</c:v>
                </c:pt>
                <c:pt idx="42">
                  <c:v>2.562316975814227</c:v>
                </c:pt>
                <c:pt idx="43">
                  <c:v>2.320229433825406</c:v>
                </c:pt>
                <c:pt idx="44">
                  <c:v>2.1164064947688663</c:v>
                </c:pt>
                <c:pt idx="45">
                  <c:v>2.1899092293976006</c:v>
                </c:pt>
                <c:pt idx="46">
                  <c:v>2.1481821804047487</c:v>
                </c:pt>
                <c:pt idx="47">
                  <c:v>1.9522935507122527</c:v>
                </c:pt>
                <c:pt idx="48">
                  <c:v>1.796719379920681</c:v>
                </c:pt>
                <c:pt idx="49">
                  <c:v>1.9306418443592603</c:v>
                </c:pt>
                <c:pt idx="50">
                  <c:v>1.672592818616673</c:v>
                </c:pt>
                <c:pt idx="51">
                  <c:v>1.5748235679881932</c:v>
                </c:pt>
                <c:pt idx="52">
                  <c:v>-1.1146738086081789</c:v>
                </c:pt>
                <c:pt idx="53">
                  <c:v>-3.201626851142349</c:v>
                </c:pt>
                <c:pt idx="54">
                  <c:v>0.9355095460211926</c:v>
                </c:pt>
              </c:numCache>
            </c:numRef>
          </c:xVal>
          <c:yVal>
            <c:numRef>
              <c:f>Sheet1!$B$187:$B$241</c:f>
              <c:numCache>
                <c:formatCode>General</c:formatCode>
                <c:ptCount val="55"/>
                <c:pt idx="0">
                  <c:v>0.5591090318601482</c:v>
                </c:pt>
                <c:pt idx="1">
                  <c:v>0.5590993914760157</c:v>
                </c:pt>
                <c:pt idx="2">
                  <c:v>0.5591608546923114</c:v>
                </c:pt>
                <c:pt idx="3">
                  <c:v>0.559514532948007</c:v>
                </c:pt>
                <c:pt idx="4">
                  <c:v>0.5603880352181067</c:v>
                </c:pt>
                <c:pt idx="5">
                  <c:v>0.5528658694149606</c:v>
                </c:pt>
                <c:pt idx="6">
                  <c:v>0.5538977382722201</c:v>
                </c:pt>
                <c:pt idx="7">
                  <c:v>0.5503521116182288</c:v>
                </c:pt>
                <c:pt idx="8">
                  <c:v>0.5497864974155504</c:v>
                </c:pt>
                <c:pt idx="9">
                  <c:v>0.5542082309737127</c:v>
                </c:pt>
                <c:pt idx="10">
                  <c:v>0.5528074545557863</c:v>
                </c:pt>
                <c:pt idx="11">
                  <c:v>0.5548957426437333</c:v>
                </c:pt>
                <c:pt idx="12">
                  <c:v>0.5548563944075827</c:v>
                </c:pt>
                <c:pt idx="13">
                  <c:v>0.5522169937709009</c:v>
                </c:pt>
                <c:pt idx="14">
                  <c:v>0.550640327126996</c:v>
                </c:pt>
                <c:pt idx="15">
                  <c:v>0.5498333830311295</c:v>
                </c:pt>
                <c:pt idx="16">
                  <c:v>0.5516301798916178</c:v>
                </c:pt>
                <c:pt idx="17">
                  <c:v>0.5499607349394319</c:v>
                </c:pt>
                <c:pt idx="18">
                  <c:v>0.5245928754267943</c:v>
                </c:pt>
                <c:pt idx="19">
                  <c:v>0.5307885496874787</c:v>
                </c:pt>
                <c:pt idx="20">
                  <c:v>0.5276400942762542</c:v>
                </c:pt>
                <c:pt idx="21">
                  <c:v>0.5293985515676723</c:v>
                </c:pt>
                <c:pt idx="22">
                  <c:v>0.5274067587909691</c:v>
                </c:pt>
                <c:pt idx="23">
                  <c:v>0.5227753245467108</c:v>
                </c:pt>
                <c:pt idx="24">
                  <c:v>0.5150045850792982</c:v>
                </c:pt>
                <c:pt idx="25">
                  <c:v>0.5151283746101923</c:v>
                </c:pt>
                <c:pt idx="26">
                  <c:v>0.5175035822858483</c:v>
                </c:pt>
                <c:pt idx="27">
                  <c:v>0.5244724805627509</c:v>
                </c:pt>
                <c:pt idx="28">
                  <c:v>0.5328627330282171</c:v>
                </c:pt>
                <c:pt idx="29">
                  <c:v>0.5305081960016403</c:v>
                </c:pt>
                <c:pt idx="30">
                  <c:v>0.5368342881848838</c:v>
                </c:pt>
                <c:pt idx="31">
                  <c:v>0.535032886205669</c:v>
                </c:pt>
                <c:pt idx="32">
                  <c:v>0.5247741926936916</c:v>
                </c:pt>
                <c:pt idx="33">
                  <c:v>0.5230582052443169</c:v>
                </c:pt>
                <c:pt idx="34">
                  <c:v>0.5217957919173026</c:v>
                </c:pt>
                <c:pt idx="35">
                  <c:v>0.5258930335061537</c:v>
                </c:pt>
                <c:pt idx="36">
                  <c:v>0.5198405337581935</c:v>
                </c:pt>
                <c:pt idx="37">
                  <c:v>0.5177282064995757</c:v>
                </c:pt>
                <c:pt idx="38">
                  <c:v>0.515883575546148</c:v>
                </c:pt>
                <c:pt idx="39">
                  <c:v>0.5157107776793262</c:v>
                </c:pt>
                <c:pt idx="40">
                  <c:v>0.5128930734821241</c:v>
                </c:pt>
                <c:pt idx="41">
                  <c:v>0.508620399814479</c:v>
                </c:pt>
                <c:pt idx="42">
                  <c:v>0.5126808018126675</c:v>
                </c:pt>
                <c:pt idx="43">
                  <c:v>0.5203480086984651</c:v>
                </c:pt>
                <c:pt idx="44">
                  <c:v>0.5268033290713325</c:v>
                </c:pt>
                <c:pt idx="45">
                  <c:v>0.5244754080703566</c:v>
                </c:pt>
                <c:pt idx="46">
                  <c:v>0.5257969544611114</c:v>
                </c:pt>
                <c:pt idx="47">
                  <c:v>0.5320009856065767</c:v>
                </c:pt>
                <c:pt idx="48">
                  <c:v>0.5369282088075148</c:v>
                </c:pt>
                <c:pt idx="49">
                  <c:v>0.5326867214799518</c:v>
                </c:pt>
                <c:pt idx="50">
                  <c:v>0.5408594479688609</c:v>
                </c:pt>
                <c:pt idx="51">
                  <c:v>0.5439559190449007</c:v>
                </c:pt>
                <c:pt idx="52">
                  <c:v>0.6291355719744458</c:v>
                </c:pt>
                <c:pt idx="53">
                  <c:v>0.6952319130195098</c:v>
                </c:pt>
                <c:pt idx="54">
                  <c:v>0.56420377166525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668571428571429"/>
          <c:min val="0.27588591184096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263847870466453</c:v>
                </c:pt>
                <c:pt idx="1">
                  <c:v>0.6654084725058582</c:v>
                </c:pt>
                <c:pt idx="2">
                  <c:v>0.6540282307325145</c:v>
                </c:pt>
                <c:pt idx="3">
                  <c:v>0.6561794918769535</c:v>
                </c:pt>
                <c:pt idx="4">
                  <c:v>0.6398119877557189</c:v>
                </c:pt>
                <c:pt idx="5">
                  <c:v>0.6392825612856021</c:v>
                </c:pt>
                <c:pt idx="6">
                  <c:v>0.612195465455738</c:v>
                </c:pt>
                <c:pt idx="7">
                  <c:v>0.6101162802842458</c:v>
                </c:pt>
                <c:pt idx="8">
                  <c:v>0.6194042229523424</c:v>
                </c:pt>
                <c:pt idx="9">
                  <c:v>0.6464060138957001</c:v>
                </c:pt>
                <c:pt idx="10">
                  <c:v>0.6519835258262723</c:v>
                </c:pt>
                <c:pt idx="11">
                  <c:v>0.6547067688370537</c:v>
                </c:pt>
                <c:pt idx="12">
                  <c:v>0.666801098630514</c:v>
                </c:pt>
                <c:pt idx="13">
                  <c:v>0.6541899042869412</c:v>
                </c:pt>
                <c:pt idx="14">
                  <c:v>0.6776500449716251</c:v>
                </c:pt>
                <c:pt idx="15">
                  <c:v>0.6819272917412814</c:v>
                </c:pt>
                <c:pt idx="16">
                  <c:v>0.6817258953136939</c:v>
                </c:pt>
                <c:pt idx="17">
                  <c:v>0.6757109492039169</c:v>
                </c:pt>
                <c:pt idx="18">
                  <c:v>0.6877312621307093</c:v>
                </c:pt>
                <c:pt idx="19">
                  <c:v>0.7042211722517426</c:v>
                </c:pt>
                <c:pt idx="20">
                  <c:v>0.7174704680388322</c:v>
                </c:pt>
                <c:pt idx="21">
                  <c:v>0.6503374337997475</c:v>
                </c:pt>
                <c:pt idx="22">
                  <c:v>0.6196134494899533</c:v>
                </c:pt>
                <c:pt idx="23">
                  <c:v>0.6043128946493352</c:v>
                </c:pt>
                <c:pt idx="24">
                  <c:v>0.5888115222668906</c:v>
                </c:pt>
                <c:pt idx="25">
                  <c:v>0.5719393834335819</c:v>
                </c:pt>
                <c:pt idx="26">
                  <c:v>0.579579939522783</c:v>
                </c:pt>
                <c:pt idx="27">
                  <c:v>0.5964664037193702</c:v>
                </c:pt>
                <c:pt idx="28">
                  <c:v>0.5904404262440189</c:v>
                </c:pt>
                <c:pt idx="29">
                  <c:v>0.556616646647874</c:v>
                </c:pt>
                <c:pt idx="30">
                  <c:v>0.5640009111532478</c:v>
                </c:pt>
                <c:pt idx="31">
                  <c:v>0.5737633450013329</c:v>
                </c:pt>
                <c:pt idx="32">
                  <c:v>0.5500989266271537</c:v>
                </c:pt>
                <c:pt idx="33">
                  <c:v>0.5355957536241286</c:v>
                </c:pt>
                <c:pt idx="34">
                  <c:v>0.5998186943286711</c:v>
                </c:pt>
                <c:pt idx="35">
                  <c:v>0.6659776612470568</c:v>
                </c:pt>
                <c:pt idx="36">
                  <c:v>0.6764338550044398</c:v>
                </c:pt>
                <c:pt idx="37">
                  <c:v>0.655892123161259</c:v>
                </c:pt>
                <c:pt idx="38">
                  <c:v>0.6810390078190283</c:v>
                </c:pt>
                <c:pt idx="39">
                  <c:v>0.6997775792959753</c:v>
                </c:pt>
                <c:pt idx="40">
                  <c:v>0.7091891677333966</c:v>
                </c:pt>
                <c:pt idx="41">
                  <c:v>0.6801292763003807</c:v>
                </c:pt>
                <c:pt idx="42">
                  <c:v>0.7067705045157096</c:v>
                </c:pt>
                <c:pt idx="43">
                  <c:v>0.7116430451186853</c:v>
                </c:pt>
                <c:pt idx="44">
                  <c:v>0.6750415062076466</c:v>
                </c:pt>
                <c:pt idx="45">
                  <c:v>0.6643789074958019</c:v>
                </c:pt>
                <c:pt idx="46">
                  <c:v>0.6656675598149181</c:v>
                </c:pt>
                <c:pt idx="47">
                  <c:v>0.6639368005757954</c:v>
                </c:pt>
                <c:pt idx="48">
                  <c:v>0.6720209085606905</c:v>
                </c:pt>
                <c:pt idx="49">
                  <c:v>0.6771427743353156</c:v>
                </c:pt>
                <c:pt idx="50">
                  <c:v>0.6374416894067158</c:v>
                </c:pt>
                <c:pt idx="51">
                  <c:v>0.6406314450758094</c:v>
                </c:pt>
                <c:pt idx="52">
                  <c:v>0.6577340983486905</c:v>
                </c:pt>
                <c:pt idx="53">
                  <c:v>0.6309602296736041</c:v>
                </c:pt>
                <c:pt idx="54">
                  <c:v>0.6168275772035154</c:v>
                </c:pt>
                <c:pt idx="55">
                  <c:v>0.6183037349680018</c:v>
                </c:pt>
                <c:pt idx="56">
                  <c:v>0.623065073536399</c:v>
                </c:pt>
                <c:pt idx="57">
                  <c:v>0.6200015522824055</c:v>
                </c:pt>
                <c:pt idx="58">
                  <c:v>0.6066309190952107</c:v>
                </c:pt>
                <c:pt idx="59">
                  <c:v>0.6368057636695611</c:v>
                </c:pt>
                <c:pt idx="60">
                  <c:v>0.6443918459393397</c:v>
                </c:pt>
                <c:pt idx="61">
                  <c:v>0.6407213190608257</c:v>
                </c:pt>
                <c:pt idx="62">
                  <c:v>0.6302552598027615</c:v>
                </c:pt>
                <c:pt idx="63">
                  <c:v>0.6491064287483023</c:v>
                </c:pt>
                <c:pt idx="64">
                  <c:v>0.6775994350239849</c:v>
                </c:pt>
                <c:pt idx="65">
                  <c:v>0.6817577355639988</c:v>
                </c:pt>
                <c:pt idx="66">
                  <c:v>0.6710062979657764</c:v>
                </c:pt>
                <c:pt idx="67">
                  <c:v>0.6721287051764202</c:v>
                </c:pt>
                <c:pt idx="68">
                  <c:v>0.6647340100625997</c:v>
                </c:pt>
                <c:pt idx="69">
                  <c:v>0.6599328832744282</c:v>
                </c:pt>
                <c:pt idx="70">
                  <c:v>0.6430483946111676</c:v>
                </c:pt>
                <c:pt idx="71">
                  <c:v>0.6119191270422305</c:v>
                </c:pt>
                <c:pt idx="72">
                  <c:v>0.6252424078406839</c:v>
                </c:pt>
                <c:pt idx="73">
                  <c:v>0.6155289970700475</c:v>
                </c:pt>
                <c:pt idx="74">
                  <c:v>0.6001225073697589</c:v>
                </c:pt>
                <c:pt idx="75">
                  <c:v>0.5944920002147026</c:v>
                </c:pt>
                <c:pt idx="76">
                  <c:v>0.5933790613271615</c:v>
                </c:pt>
                <c:pt idx="77">
                  <c:v>0.5926788069219551</c:v>
                </c:pt>
                <c:pt idx="78">
                  <c:v>0.6254486126970339</c:v>
                </c:pt>
                <c:pt idx="79">
                  <c:v>0.4512192979901188</c:v>
                </c:pt>
                <c:pt idx="80">
                  <c:v>0.47607866374073776</c:v>
                </c:pt>
                <c:pt idx="81">
                  <c:v>0.5873012862291447</c:v>
                </c:pt>
                <c:pt idx="82">
                  <c:v>0.5761786526650617</c:v>
                </c:pt>
                <c:pt idx="83">
                  <c:v>0.5673577902175381</c:v>
                </c:pt>
                <c:pt idx="84">
                  <c:v>0.5802820522726954</c:v>
                </c:pt>
                <c:pt idx="85">
                  <c:v>0.5959120575635964</c:v>
                </c:pt>
                <c:pt idx="86">
                  <c:v>0.6691331377521857</c:v>
                </c:pt>
                <c:pt idx="87">
                  <c:v>0.7081241560236059</c:v>
                </c:pt>
                <c:pt idx="88">
                  <c:v>0.6567351503797165</c:v>
                </c:pt>
                <c:pt idx="89">
                  <c:v>0.6105888754851567</c:v>
                </c:pt>
                <c:pt idx="90">
                  <c:v>0.620464961826001</c:v>
                </c:pt>
                <c:pt idx="91">
                  <c:v>0.6502575103143724</c:v>
                </c:pt>
                <c:pt idx="92">
                  <c:v>0.6742392280788576</c:v>
                </c:pt>
                <c:pt idx="93">
                  <c:v>0.6837261875072995</c:v>
                </c:pt>
                <c:pt idx="94">
                  <c:v>0.6909706917730628</c:v>
                </c:pt>
                <c:pt idx="95">
                  <c:v>0.7180639954668643</c:v>
                </c:pt>
                <c:pt idx="96">
                  <c:v>0.7172162816726845</c:v>
                </c:pt>
                <c:pt idx="97">
                  <c:v>0.7663642099017786</c:v>
                </c:pt>
                <c:pt idx="98">
                  <c:v>0.7761971954376677</c:v>
                </c:pt>
                <c:pt idx="99">
                  <c:v>0.7590023996265466</c:v>
                </c:pt>
                <c:pt idx="100">
                  <c:v>0.7551539979649569</c:v>
                </c:pt>
                <c:pt idx="101">
                  <c:v>0.714938547494566</c:v>
                </c:pt>
                <c:pt idx="102">
                  <c:v>0.7038933558957978</c:v>
                </c:pt>
                <c:pt idx="103">
                  <c:v>0.6514903033724037</c:v>
                </c:pt>
                <c:pt idx="104">
                  <c:v>0.6679829197532918</c:v>
                </c:pt>
              </c:numCache>
            </c:numRef>
          </c:xVal>
          <c:yVal>
            <c:numRef>
              <c:f>Sheet1!$B$2:$B$106</c:f>
              <c:numCache>
                <c:formatCode>General</c:formatCode>
                <c:ptCount val="105"/>
                <c:pt idx="0">
                  <c:v>0.22760837033584377</c:v>
                </c:pt>
                <c:pt idx="1">
                  <c:v>0.2325046891924022</c:v>
                </c:pt>
                <c:pt idx="2">
                  <c:v>0.21503914608665006</c:v>
                </c:pt>
                <c:pt idx="3">
                  <c:v>0.21465353931534992</c:v>
                </c:pt>
                <c:pt idx="4">
                  <c:v>0.20793685458459427</c:v>
                </c:pt>
                <c:pt idx="5">
                  <c:v>0.19700700284590542</c:v>
                </c:pt>
                <c:pt idx="6">
                  <c:v>0.21223065621939274</c:v>
                </c:pt>
                <c:pt idx="7">
                  <c:v>0.2064143863499593</c:v>
                </c:pt>
                <c:pt idx="8">
                  <c:v>0.21617841896069484</c:v>
                </c:pt>
                <c:pt idx="9">
                  <c:v>0.2153190066059035</c:v>
                </c:pt>
                <c:pt idx="10">
                  <c:v>0.22748662238834064</c:v>
                </c:pt>
                <c:pt idx="11">
                  <c:v>0.2233351380617217</c:v>
                </c:pt>
                <c:pt idx="12">
                  <c:v>0.23061462494727178</c:v>
                </c:pt>
                <c:pt idx="13">
                  <c:v>0.23896447860407147</c:v>
                </c:pt>
                <c:pt idx="14">
                  <c:v>0.2310797703620206</c:v>
                </c:pt>
                <c:pt idx="15">
                  <c:v>0.22597676874340022</c:v>
                </c:pt>
                <c:pt idx="16">
                  <c:v>0.2103988603988604</c:v>
                </c:pt>
                <c:pt idx="17">
                  <c:v>0.2051552431165788</c:v>
                </c:pt>
                <c:pt idx="18">
                  <c:v>0.1855248858943708</c:v>
                </c:pt>
                <c:pt idx="19">
                  <c:v>0.17197875166002657</c:v>
                </c:pt>
                <c:pt idx="20">
                  <c:v>0.18437369082530372</c:v>
                </c:pt>
                <c:pt idx="21">
                  <c:v>0.1804080344936376</c:v>
                </c:pt>
                <c:pt idx="22">
                  <c:v>0.17943632567849688</c:v>
                </c:pt>
                <c:pt idx="23">
                  <c:v>0.179156462585034</c:v>
                </c:pt>
                <c:pt idx="24">
                  <c:v>0.18617021276595744</c:v>
                </c:pt>
                <c:pt idx="25">
                  <c:v>0.18273523102788566</c:v>
                </c:pt>
                <c:pt idx="26">
                  <c:v>0.18625585103646933</c:v>
                </c:pt>
                <c:pt idx="27">
                  <c:v>0.18023079259034316</c:v>
                </c:pt>
                <c:pt idx="28">
                  <c:v>0.17629820051413883</c:v>
                </c:pt>
                <c:pt idx="29">
                  <c:v>0.18736804276537442</c:v>
                </c:pt>
                <c:pt idx="30">
                  <c:v>0.17649434571890146</c:v>
                </c:pt>
                <c:pt idx="31">
                  <c:v>0.16942195231668916</c:v>
                </c:pt>
                <c:pt idx="32">
                  <c:v>0.1783959816746702</c:v>
                </c:pt>
                <c:pt idx="33">
                  <c:v>0.19256418079588544</c:v>
                </c:pt>
                <c:pt idx="34">
                  <c:v>0.1910329127599645</c:v>
                </c:pt>
                <c:pt idx="35">
                  <c:v>0.19439806453811292</c:v>
                </c:pt>
                <c:pt idx="36">
                  <c:v>0.1634170522141441</c:v>
                </c:pt>
                <c:pt idx="37">
                  <c:v>0.14788562611504893</c:v>
                </c:pt>
                <c:pt idx="38">
                  <c:v>0.1440997390547985</c:v>
                </c:pt>
                <c:pt idx="39">
                  <c:v>0.14272555140473875</c:v>
                </c:pt>
                <c:pt idx="40">
                  <c:v>0.14606043022340118</c:v>
                </c:pt>
                <c:pt idx="41">
                  <c:v>0.1362635345935034</c:v>
                </c:pt>
                <c:pt idx="42">
                  <c:v>0.14438356164383562</c:v>
                </c:pt>
                <c:pt idx="43">
                  <c:v>0.15096437880104258</c:v>
                </c:pt>
                <c:pt idx="44">
                  <c:v>0.16644399128050066</c:v>
                </c:pt>
                <c:pt idx="45">
                  <c:v>0.18401017919626764</c:v>
                </c:pt>
                <c:pt idx="46">
                  <c:v>0.191180093619118</c:v>
                </c:pt>
                <c:pt idx="47">
                  <c:v>0.19401514039465684</c:v>
                </c:pt>
                <c:pt idx="48">
                  <c:v>0.20776936606255259</c:v>
                </c:pt>
                <c:pt idx="49">
                  <c:v>0.24055718692688513</c:v>
                </c:pt>
                <c:pt idx="50">
                  <c:v>0.20537331455021132</c:v>
                </c:pt>
                <c:pt idx="51">
                  <c:v>0.18708201775103797</c:v>
                </c:pt>
                <c:pt idx="52">
                  <c:v>0.20016477944904512</c:v>
                </c:pt>
                <c:pt idx="53">
                  <c:v>0.19037838691839798</c:v>
                </c:pt>
                <c:pt idx="54">
                  <c:v>0.18361277154104097</c:v>
                </c:pt>
                <c:pt idx="55">
                  <c:v>0.180431336184978</c:v>
                </c:pt>
                <c:pt idx="56">
                  <c:v>0.1921937356391341</c:v>
                </c:pt>
                <c:pt idx="57">
                  <c:v>0.1869673664518811</c:v>
                </c:pt>
                <c:pt idx="58">
                  <c:v>0.20230027679679297</c:v>
                </c:pt>
                <c:pt idx="59">
                  <c:v>0.20680500793289244</c:v>
                </c:pt>
                <c:pt idx="60">
                  <c:v>0.21535680468279245</c:v>
                </c:pt>
                <c:pt idx="61">
                  <c:v>0.21254020047418953</c:v>
                </c:pt>
                <c:pt idx="62">
                  <c:v>0.21977724058468698</c:v>
                </c:pt>
                <c:pt idx="63">
                  <c:v>0.23405083253118153</c:v>
                </c:pt>
                <c:pt idx="64">
                  <c:v>0.22663326653306612</c:v>
                </c:pt>
                <c:pt idx="65">
                  <c:v>0.21906008068912877</c:v>
                </c:pt>
                <c:pt idx="66">
                  <c:v>0.21964273616223662</c:v>
                </c:pt>
                <c:pt idx="67">
                  <c:v>0.2167344705350558</c:v>
                </c:pt>
                <c:pt idx="68">
                  <c:v>0.19713190401817407</c:v>
                </c:pt>
                <c:pt idx="69">
                  <c:v>0.18215920174056568</c:v>
                </c:pt>
                <c:pt idx="70">
                  <c:v>0.17000035910511008</c:v>
                </c:pt>
                <c:pt idx="71">
                  <c:v>0.17906644531099186</c:v>
                </c:pt>
                <c:pt idx="72">
                  <c:v>0.18262489044697633</c:v>
                </c:pt>
                <c:pt idx="73">
                  <c:v>0.18369408930167488</c:v>
                </c:pt>
                <c:pt idx="74">
                  <c:v>0.17798172038966412</c:v>
                </c:pt>
                <c:pt idx="75">
                  <c:v>0.17587279337684525</c:v>
                </c:pt>
                <c:pt idx="76">
                  <c:v>0.17318383555244102</c:v>
                </c:pt>
                <c:pt idx="77">
                  <c:v>0.16938785339305495</c:v>
                </c:pt>
                <c:pt idx="78">
                  <c:v>0.16006449879064769</c:v>
                </c:pt>
                <c:pt idx="79">
                  <c:v>0.20537501191270371</c:v>
                </c:pt>
                <c:pt idx="80">
                  <c:v>0.1914609739826551</c:v>
                </c:pt>
                <c:pt idx="81">
                  <c:v>0.16176890156918688</c:v>
                </c:pt>
                <c:pt idx="82">
                  <c:v>0.1631413612565445</c:v>
                </c:pt>
                <c:pt idx="83">
                  <c:v>0.1470696419813634</c:v>
                </c:pt>
                <c:pt idx="84">
                  <c:v>0.14775611265861963</c:v>
                </c:pt>
                <c:pt idx="85">
                  <c:v>0.14966431963320778</c:v>
                </c:pt>
                <c:pt idx="86">
                  <c:v>0.1466328451026921</c:v>
                </c:pt>
                <c:pt idx="87">
                  <c:v>0.1682031189982331</c:v>
                </c:pt>
                <c:pt idx="88">
                  <c:v>0.15206499002772778</c:v>
                </c:pt>
                <c:pt idx="89">
                  <c:v>0.14356117420184272</c:v>
                </c:pt>
                <c:pt idx="90">
                  <c:v>0.13762376237623763</c:v>
                </c:pt>
                <c:pt idx="91">
                  <c:v>0.14078597981943708</c:v>
                </c:pt>
                <c:pt idx="92">
                  <c:v>0.14561866643958102</c:v>
                </c:pt>
                <c:pt idx="93">
                  <c:v>0.1377233240452385</c:v>
                </c:pt>
                <c:pt idx="94">
                  <c:v>0.13904559326736335</c:v>
                </c:pt>
                <c:pt idx="95">
                  <c:v>0.14864864864864866</c:v>
                </c:pt>
                <c:pt idx="96">
                  <c:v>0.145429833503228</c:v>
                </c:pt>
                <c:pt idx="97">
                  <c:v>0.15325840794124496</c:v>
                </c:pt>
                <c:pt idx="98">
                  <c:v>0.1700043933513949</c:v>
                </c:pt>
                <c:pt idx="99">
                  <c:v>0.17778411250475104</c:v>
                </c:pt>
                <c:pt idx="100">
                  <c:v>0.20069152307958277</c:v>
                </c:pt>
                <c:pt idx="101">
                  <c:v>0.18210413864050012</c:v>
                </c:pt>
                <c:pt idx="102">
                  <c:v>0.1514782002787179</c:v>
                </c:pt>
                <c:pt idx="103">
                  <c:v>0.17233793587643342</c:v>
                </c:pt>
                <c:pt idx="104">
                  <c:v>0.176800976800976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885797307817654</c:v>
                </c:pt>
                <c:pt idx="1">
                  <c:v>0.6563220850089598</c:v>
                </c:pt>
                <c:pt idx="2">
                  <c:v>0.6632602005306948</c:v>
                </c:pt>
                <c:pt idx="3">
                  <c:v>0.6561758544326717</c:v>
                </c:pt>
                <c:pt idx="4">
                  <c:v>0.6474974271957761</c:v>
                </c:pt>
                <c:pt idx="5">
                  <c:v>0.6684645629290037</c:v>
                </c:pt>
                <c:pt idx="6">
                  <c:v>0.6738075464811809</c:v>
                </c:pt>
                <c:pt idx="7">
                  <c:v>0.6681023536255871</c:v>
                </c:pt>
                <c:pt idx="8">
                  <c:v>0.6975714095555463</c:v>
                </c:pt>
                <c:pt idx="9">
                  <c:v>0.6766699906244048</c:v>
                </c:pt>
                <c:pt idx="10">
                  <c:v>0.6864162068387485</c:v>
                </c:pt>
                <c:pt idx="11">
                  <c:v>0.7061908740340637</c:v>
                </c:pt>
                <c:pt idx="12">
                  <c:v>0.6977758254002584</c:v>
                </c:pt>
                <c:pt idx="13">
                  <c:v>0.6575443525307846</c:v>
                </c:pt>
                <c:pt idx="14">
                  <c:v>0.6732429524429325</c:v>
                </c:pt>
                <c:pt idx="15">
                  <c:v>0.6670920762897972</c:v>
                </c:pt>
                <c:pt idx="16">
                  <c:v>0.6841492239266176</c:v>
                </c:pt>
                <c:pt idx="17">
                  <c:v>0.6602906484074695</c:v>
                </c:pt>
                <c:pt idx="18">
                  <c:v>0.6514453220662881</c:v>
                </c:pt>
                <c:pt idx="19">
                  <c:v>0.6497758947713987</c:v>
                </c:pt>
                <c:pt idx="20">
                  <c:v>0.6072104051664333</c:v>
                </c:pt>
                <c:pt idx="21">
                  <c:v>0.6080767956432788</c:v>
                </c:pt>
                <c:pt idx="22">
                  <c:v>0.5960289347232606</c:v>
                </c:pt>
                <c:pt idx="23">
                  <c:v>0.5834334918129332</c:v>
                </c:pt>
                <c:pt idx="24">
                  <c:v>0.5822186319856387</c:v>
                </c:pt>
                <c:pt idx="25">
                  <c:v>0.5970667883727078</c:v>
                </c:pt>
                <c:pt idx="26">
                  <c:v>0.6245861597036773</c:v>
                </c:pt>
                <c:pt idx="27">
                  <c:v>0.6694445776662051</c:v>
                </c:pt>
                <c:pt idx="28">
                  <c:v>0.6716584333230641</c:v>
                </c:pt>
                <c:pt idx="29">
                  <c:v>0.6387485188851173</c:v>
                </c:pt>
                <c:pt idx="30">
                  <c:v>0.6358640378379189</c:v>
                </c:pt>
                <c:pt idx="31">
                  <c:v>0.5990764345683366</c:v>
                </c:pt>
                <c:pt idx="32">
                  <c:v>0.6075092559718448</c:v>
                </c:pt>
                <c:pt idx="33">
                  <c:v>0.6559167370906708</c:v>
                </c:pt>
                <c:pt idx="34">
                  <c:v>0.6988655258674583</c:v>
                </c:pt>
                <c:pt idx="35">
                  <c:v>0.6592415867045455</c:v>
                </c:pt>
                <c:pt idx="36">
                  <c:v>0.5896618099735788</c:v>
                </c:pt>
                <c:pt idx="37">
                  <c:v>0.6210903882949546</c:v>
                </c:pt>
                <c:pt idx="38">
                  <c:v>0.6090900209099204</c:v>
                </c:pt>
                <c:pt idx="39">
                  <c:v>0.6576602032046528</c:v>
                </c:pt>
                <c:pt idx="40">
                  <c:v>0.6577961336897985</c:v>
                </c:pt>
                <c:pt idx="41">
                  <c:v>0.6821605637865912</c:v>
                </c:pt>
                <c:pt idx="42">
                  <c:v>0.6511356066395433</c:v>
                </c:pt>
                <c:pt idx="43">
                  <c:v>0.6938795554623701</c:v>
                </c:pt>
                <c:pt idx="44">
                  <c:v>0.7284049534152643</c:v>
                </c:pt>
                <c:pt idx="45">
                  <c:v>0.7351396766039741</c:v>
                </c:pt>
                <c:pt idx="46">
                  <c:v>0.6948036855833497</c:v>
                </c:pt>
                <c:pt idx="47">
                  <c:v>0.7124409470508252</c:v>
                </c:pt>
                <c:pt idx="48">
                  <c:v>0.7371963584758727</c:v>
                </c:pt>
                <c:pt idx="49">
                  <c:v>0.7569621576689382</c:v>
                </c:pt>
                <c:pt idx="50">
                  <c:v>0.7092732696998801</c:v>
                </c:pt>
                <c:pt idx="51">
                  <c:v>0.6747693574876937</c:v>
                </c:pt>
              </c:numCache>
            </c:numRef>
          </c:xVal>
          <c:yVal>
            <c:numRef>
              <c:f>Sheet1!$B$109:$B$160</c:f>
              <c:numCache>
                <c:formatCode>General</c:formatCode>
                <c:ptCount val="52"/>
                <c:pt idx="0">
                  <c:v>0.1756422924901186</c:v>
                </c:pt>
                <c:pt idx="1">
                  <c:v>0.17338159689434476</c:v>
                </c:pt>
                <c:pt idx="2">
                  <c:v>0.18069202200178647</c:v>
                </c:pt>
                <c:pt idx="3">
                  <c:v>0.1907962771458118</c:v>
                </c:pt>
                <c:pt idx="4">
                  <c:v>0.1789468549547572</c:v>
                </c:pt>
                <c:pt idx="5">
                  <c:v>0.17145237161897295</c:v>
                </c:pt>
                <c:pt idx="6">
                  <c:v>0.17660455486542442</c:v>
                </c:pt>
                <c:pt idx="7">
                  <c:v>0.1757968597589755</c:v>
                </c:pt>
                <c:pt idx="8">
                  <c:v>0.1740185341196293</c:v>
                </c:pt>
                <c:pt idx="9">
                  <c:v>0.18755431409062695</c:v>
                </c:pt>
                <c:pt idx="10">
                  <c:v>0.1889908801948727</c:v>
                </c:pt>
                <c:pt idx="11">
                  <c:v>0.19810960687905524</c:v>
                </c:pt>
                <c:pt idx="12">
                  <c:v>0.19908599707115082</c:v>
                </c:pt>
                <c:pt idx="13">
                  <c:v>0.1935764346313959</c:v>
                </c:pt>
                <c:pt idx="14">
                  <c:v>0.19270878721859114</c:v>
                </c:pt>
                <c:pt idx="15">
                  <c:v>0.18215705765407555</c:v>
                </c:pt>
                <c:pt idx="16">
                  <c:v>0.16933333333333334</c:v>
                </c:pt>
                <c:pt idx="17">
                  <c:v>0.15995926526609588</c:v>
                </c:pt>
                <c:pt idx="18">
                  <c:v>0.15850539009683903</c:v>
                </c:pt>
                <c:pt idx="19">
                  <c:v>0.16571620261657163</c:v>
                </c:pt>
                <c:pt idx="20">
                  <c:v>0.16150946908008004</c:v>
                </c:pt>
                <c:pt idx="21">
                  <c:v>0.15918625366358255</c:v>
                </c:pt>
                <c:pt idx="22">
                  <c:v>0.1599478369337189</c:v>
                </c:pt>
                <c:pt idx="23">
                  <c:v>0.16913998597803226</c:v>
                </c:pt>
                <c:pt idx="24">
                  <c:v>0.16763256242214158</c:v>
                </c:pt>
                <c:pt idx="25">
                  <c:v>0.1772223800056802</c:v>
                </c:pt>
                <c:pt idx="26">
                  <c:v>0.15735930735930737</c:v>
                </c:pt>
                <c:pt idx="27">
                  <c:v>0.14624699710741776</c:v>
                </c:pt>
                <c:pt idx="28">
                  <c:v>0.1447596217871887</c:v>
                </c:pt>
                <c:pt idx="29">
                  <c:v>0.14361219368960546</c:v>
                </c:pt>
                <c:pt idx="30">
                  <c:v>0.1505394283172061</c:v>
                </c:pt>
                <c:pt idx="31">
                  <c:v>0.1473225102980373</c:v>
                </c:pt>
                <c:pt idx="32">
                  <c:v>0.14749231258615206</c:v>
                </c:pt>
                <c:pt idx="33">
                  <c:v>0.17016471838469713</c:v>
                </c:pt>
                <c:pt idx="34">
                  <c:v>0.18908991039857187</c:v>
                </c:pt>
                <c:pt idx="35">
                  <c:v>0.1857666790291342</c:v>
                </c:pt>
                <c:pt idx="36">
                  <c:v>0.15440077947385514</c:v>
                </c:pt>
                <c:pt idx="37">
                  <c:v>0.14483357452966714</c:v>
                </c:pt>
                <c:pt idx="38">
                  <c:v>0.1463097713097713</c:v>
                </c:pt>
                <c:pt idx="39">
                  <c:v>0.16379760041731872</c:v>
                </c:pt>
                <c:pt idx="40">
                  <c:v>0.14710644400240552</c:v>
                </c:pt>
                <c:pt idx="41">
                  <c:v>0.1488095238095238</c:v>
                </c:pt>
                <c:pt idx="42">
                  <c:v>0.14745059770675775</c:v>
                </c:pt>
                <c:pt idx="43">
                  <c:v>0.14470626095040584</c:v>
                </c:pt>
                <c:pt idx="44">
                  <c:v>0.14358073488508272</c:v>
                </c:pt>
                <c:pt idx="45">
                  <c:v>0.16175077648302752</c:v>
                </c:pt>
                <c:pt idx="46">
                  <c:v>0.1573514269873538</c:v>
                </c:pt>
                <c:pt idx="47">
                  <c:v>0.15974718056760442</c:v>
                </c:pt>
                <c:pt idx="48">
                  <c:v>0.15152081775118426</c:v>
                </c:pt>
                <c:pt idx="49">
                  <c:v>0.16450183947743824</c:v>
                </c:pt>
                <c:pt idx="50">
                  <c:v>0.2032294470006077</c:v>
                </c:pt>
                <c:pt idx="51">
                  <c:v>0.1885073279752439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1415326913789996</c:v>
                </c:pt>
              </c:numCache>
            </c:numRef>
          </c:xVal>
          <c:yVal>
            <c:numRef>
              <c:f>Sheet1!$B$163:$B$164</c:f>
              <c:numCache>
                <c:formatCode>General</c:formatCode>
                <c:ptCount val="2"/>
                <c:pt idx="0">
                  <c:v>0.21439700709897694</c:v>
                </c:pt>
                <c:pt idx="1">
                  <c:v>0.2143970070989769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1415326913789996</c:v>
                </c:pt>
                <c:pt idx="1">
                  <c:v>1.1415326913789996</c:v>
                </c:pt>
              </c:numCache>
            </c:numRef>
          </c:xVal>
          <c:yVal>
            <c:numRef>
              <c:f>Sheet1!$B$167:$B$168</c:f>
              <c:numCache>
                <c:formatCode>General</c:formatCode>
                <c:ptCount val="2"/>
                <c:pt idx="0">
                  <c:v>0.2143970070989769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724191190466402</c:v>
                </c:pt>
              </c:numCache>
            </c:numRef>
          </c:xVal>
          <c:yVal>
            <c:numRef>
              <c:f>Sheet1!$B$171:$B$172</c:f>
              <c:numCache>
                <c:formatCode>General</c:formatCode>
                <c:ptCount val="2"/>
                <c:pt idx="0">
                  <c:v>0.17818407629202085</c:v>
                </c:pt>
                <c:pt idx="1">
                  <c:v>0.1781840762920208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724191190466402</c:v>
                </c:pt>
                <c:pt idx="1">
                  <c:v>0.7724191190466402</c:v>
                </c:pt>
              </c:numCache>
            </c:numRef>
          </c:xVal>
          <c:yVal>
            <c:numRef>
              <c:f>Sheet1!$B$175:$B$176</c:f>
              <c:numCache>
                <c:formatCode>General</c:formatCode>
                <c:ptCount val="2"/>
                <c:pt idx="0">
                  <c:v>0.1781840762920208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886864155297897</c:v>
                </c:pt>
              </c:numCache>
            </c:numRef>
          </c:xVal>
          <c:yVal>
            <c:numRef>
              <c:f>Sheet1!$B$179:$B$180</c:f>
              <c:numCache>
                <c:formatCode>General</c:formatCode>
                <c:ptCount val="2"/>
                <c:pt idx="0">
                  <c:v>0.16015845984722726</c:v>
                </c:pt>
                <c:pt idx="1">
                  <c:v>0.1601584598472272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886864155297897</c:v>
                </c:pt>
                <c:pt idx="1">
                  <c:v>0.5886864155297897</c:v>
                </c:pt>
              </c:numCache>
            </c:numRef>
          </c:xVal>
          <c:yVal>
            <c:numRef>
              <c:f>Sheet1!$B$183:$B$184</c:f>
              <c:numCache>
                <c:formatCode>General</c:formatCode>
                <c:ptCount val="2"/>
                <c:pt idx="0">
                  <c:v>0.1601584598472272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885797307817654</c:v>
                </c:pt>
                <c:pt idx="1">
                  <c:v>0.6563220850089598</c:v>
                </c:pt>
                <c:pt idx="2">
                  <c:v>0.6632602005306948</c:v>
                </c:pt>
                <c:pt idx="3">
                  <c:v>0.6561758544326717</c:v>
                </c:pt>
                <c:pt idx="4">
                  <c:v>0.6474974271957761</c:v>
                </c:pt>
                <c:pt idx="5">
                  <c:v>0.6684645629290037</c:v>
                </c:pt>
                <c:pt idx="6">
                  <c:v>0.6738075464811809</c:v>
                </c:pt>
                <c:pt idx="7">
                  <c:v>0.6681023536255871</c:v>
                </c:pt>
                <c:pt idx="8">
                  <c:v>0.6975714095555463</c:v>
                </c:pt>
                <c:pt idx="9">
                  <c:v>0.6766699906244048</c:v>
                </c:pt>
                <c:pt idx="10">
                  <c:v>0.6864162068387485</c:v>
                </c:pt>
                <c:pt idx="11">
                  <c:v>0.7061908740340637</c:v>
                </c:pt>
                <c:pt idx="12">
                  <c:v>0.6977758254002584</c:v>
                </c:pt>
                <c:pt idx="13">
                  <c:v>0.6575443525307846</c:v>
                </c:pt>
                <c:pt idx="14">
                  <c:v>0.6732429524429325</c:v>
                </c:pt>
                <c:pt idx="15">
                  <c:v>0.6670920762897972</c:v>
                </c:pt>
                <c:pt idx="16">
                  <c:v>0.6841492239266176</c:v>
                </c:pt>
                <c:pt idx="17">
                  <c:v>0.6602906484074695</c:v>
                </c:pt>
                <c:pt idx="18">
                  <c:v>0.6514453220662881</c:v>
                </c:pt>
                <c:pt idx="19">
                  <c:v>0.6497758947713987</c:v>
                </c:pt>
                <c:pt idx="20">
                  <c:v>0.6072104051664333</c:v>
                </c:pt>
                <c:pt idx="21">
                  <c:v>0.6080767956432788</c:v>
                </c:pt>
                <c:pt idx="22">
                  <c:v>0.5960289347232606</c:v>
                </c:pt>
                <c:pt idx="23">
                  <c:v>0.5834334918129332</c:v>
                </c:pt>
                <c:pt idx="24">
                  <c:v>0.5822186319856387</c:v>
                </c:pt>
                <c:pt idx="25">
                  <c:v>0.5970667883727078</c:v>
                </c:pt>
                <c:pt idx="26">
                  <c:v>0.6245861597036773</c:v>
                </c:pt>
                <c:pt idx="27">
                  <c:v>0.6694445776662051</c:v>
                </c:pt>
                <c:pt idx="28">
                  <c:v>0.6716584333230641</c:v>
                </c:pt>
                <c:pt idx="29">
                  <c:v>0.6387485188851173</c:v>
                </c:pt>
                <c:pt idx="30">
                  <c:v>0.6358640378379189</c:v>
                </c:pt>
                <c:pt idx="31">
                  <c:v>0.5990764345683366</c:v>
                </c:pt>
                <c:pt idx="32">
                  <c:v>0.6075092559718448</c:v>
                </c:pt>
                <c:pt idx="33">
                  <c:v>0.6559167370906708</c:v>
                </c:pt>
                <c:pt idx="34">
                  <c:v>0.6988655258674583</c:v>
                </c:pt>
                <c:pt idx="35">
                  <c:v>0.6592415867045455</c:v>
                </c:pt>
                <c:pt idx="36">
                  <c:v>0.5896618099735788</c:v>
                </c:pt>
                <c:pt idx="37">
                  <c:v>0.6210903882949546</c:v>
                </c:pt>
                <c:pt idx="38">
                  <c:v>0.6090900209099204</c:v>
                </c:pt>
                <c:pt idx="39">
                  <c:v>0.6576602032046528</c:v>
                </c:pt>
                <c:pt idx="40">
                  <c:v>0.6577961336897985</c:v>
                </c:pt>
                <c:pt idx="41">
                  <c:v>0.6821605637865912</c:v>
                </c:pt>
                <c:pt idx="42">
                  <c:v>0.6511356066395433</c:v>
                </c:pt>
                <c:pt idx="43">
                  <c:v>0.6938795554623701</c:v>
                </c:pt>
                <c:pt idx="44">
                  <c:v>0.7284049534152643</c:v>
                </c:pt>
                <c:pt idx="45">
                  <c:v>0.7351396766039741</c:v>
                </c:pt>
                <c:pt idx="46">
                  <c:v>0.6948036855833497</c:v>
                </c:pt>
                <c:pt idx="47">
                  <c:v>0.7124409470508252</c:v>
                </c:pt>
                <c:pt idx="48">
                  <c:v>0.7371963584758727</c:v>
                </c:pt>
                <c:pt idx="49">
                  <c:v>0.7569621576689382</c:v>
                </c:pt>
                <c:pt idx="50">
                  <c:v>0.7092732696998801</c:v>
                </c:pt>
                <c:pt idx="51">
                  <c:v>0.6747693574876937</c:v>
                </c:pt>
                <c:pt idx="52">
                  <c:v>0.7724191190466402</c:v>
                </c:pt>
                <c:pt idx="53">
                  <c:v>1.1415326913789996</c:v>
                </c:pt>
                <c:pt idx="54">
                  <c:v>0.5886864155297897</c:v>
                </c:pt>
              </c:numCache>
            </c:numRef>
          </c:xVal>
          <c:yVal>
            <c:numRef>
              <c:f>Sheet1!$B$187:$B$241</c:f>
              <c:numCache>
                <c:formatCode>General</c:formatCode>
                <c:ptCount val="55"/>
                <c:pt idx="0">
                  <c:v>0.16995877602210913</c:v>
                </c:pt>
                <c:pt idx="1">
                  <c:v>0.16679404846417994</c:v>
                </c:pt>
                <c:pt idx="2">
                  <c:v>0.16747473190730466</c:v>
                </c:pt>
                <c:pt idx="3">
                  <c:v>0.16677970209997683</c:v>
                </c:pt>
                <c:pt idx="4">
                  <c:v>0.16592828045471714</c:v>
                </c:pt>
                <c:pt idx="5">
                  <c:v>0.16798532059748317</c:v>
                </c:pt>
                <c:pt idx="6">
                  <c:v>0.16850950910796003</c:v>
                </c:pt>
                <c:pt idx="7">
                  <c:v>0.1679497850295023</c:v>
                </c:pt>
                <c:pt idx="8">
                  <c:v>0.17084093009521947</c:v>
                </c:pt>
                <c:pt idx="9">
                  <c:v>0.16879033728515858</c:v>
                </c:pt>
                <c:pt idx="10">
                  <c:v>0.16974651738758478</c:v>
                </c:pt>
                <c:pt idx="11">
                  <c:v>0.17168656703233137</c:v>
                </c:pt>
                <c:pt idx="12">
                  <c:v>0.1708609848897198</c:v>
                </c:pt>
                <c:pt idx="13">
                  <c:v>0.16691396247578277</c:v>
                </c:pt>
                <c:pt idx="14">
                  <c:v>0.16845411801325733</c:v>
                </c:pt>
                <c:pt idx="15">
                  <c:v>0.16785066891457429</c:v>
                </c:pt>
                <c:pt idx="16">
                  <c:v>0.16952410861833034</c:v>
                </c:pt>
                <c:pt idx="17">
                  <c:v>0.16718339559884407</c:v>
                </c:pt>
                <c:pt idx="18">
                  <c:v>0.16631559984499483</c:v>
                </c:pt>
                <c:pt idx="19">
                  <c:v>0.16615181595936018</c:v>
                </c:pt>
                <c:pt idx="20">
                  <c:v>0.16197580823336716</c:v>
                </c:pt>
                <c:pt idx="21">
                  <c:v>0.16206080792110977</c:v>
                </c:pt>
                <c:pt idx="22">
                  <c:v>0.1608788184561556</c:v>
                </c:pt>
                <c:pt idx="23">
                  <c:v>0.15964310691156913</c:v>
                </c:pt>
                <c:pt idx="24">
                  <c:v>0.15952391965278595</c:v>
                </c:pt>
                <c:pt idx="25">
                  <c:v>0.16098064002331633</c:v>
                </c:pt>
                <c:pt idx="26">
                  <c:v>0.16368050576805793</c:v>
                </c:pt>
                <c:pt idx="27">
                  <c:v>0.16808146771459895</c:v>
                </c:pt>
                <c:pt idx="28">
                  <c:v>0.16829866428423967</c:v>
                </c:pt>
                <c:pt idx="29">
                  <c:v>0.16506994406440686</c:v>
                </c:pt>
                <c:pt idx="30">
                  <c:v>0.1647869538944271</c:v>
                </c:pt>
                <c:pt idx="31">
                  <c:v>0.16117780204629184</c:v>
                </c:pt>
                <c:pt idx="32">
                  <c:v>0.16200512783673365</c:v>
                </c:pt>
                <c:pt idx="33">
                  <c:v>0.16675428066039805</c:v>
                </c:pt>
                <c:pt idx="34">
                  <c:v>0.17096789303555054</c:v>
                </c:pt>
                <c:pt idx="35">
                  <c:v>0.16708047443390245</c:v>
                </c:pt>
                <c:pt idx="36">
                  <c:v>0.1602541536773924</c:v>
                </c:pt>
                <c:pt idx="37">
                  <c:v>0.16333754322853086</c:v>
                </c:pt>
                <c:pt idx="38">
                  <c:v>0.16216021325113028</c:v>
                </c:pt>
                <c:pt idx="39">
                  <c:v>0.1669253283337495</c:v>
                </c:pt>
                <c:pt idx="40">
                  <c:v>0.1669386641783841</c:v>
                </c:pt>
                <c:pt idx="41">
                  <c:v>0.1693290054916849</c:v>
                </c:pt>
                <c:pt idx="42">
                  <c:v>0.16628521433722904</c:v>
                </c:pt>
                <c:pt idx="43">
                  <c:v>0.1704787303094441</c:v>
                </c:pt>
                <c:pt idx="44">
                  <c:v>0.17386594210783607</c:v>
                </c:pt>
                <c:pt idx="45">
                  <c:v>0.17452667117096884</c:v>
                </c:pt>
                <c:pt idx="46">
                  <c:v>0.17056939470825283</c:v>
                </c:pt>
                <c:pt idx="47">
                  <c:v>0.17229974811983312</c:v>
                </c:pt>
                <c:pt idx="48">
                  <c:v>0.17472844776197408</c:v>
                </c:pt>
                <c:pt idx="49">
                  <c:v>0.17666762738628267</c:v>
                </c:pt>
                <c:pt idx="50">
                  <c:v>0.17198897417564107</c:v>
                </c:pt>
                <c:pt idx="51">
                  <c:v>0.16860387029659943</c:v>
                </c:pt>
                <c:pt idx="52">
                  <c:v>0.17818407629202085</c:v>
                </c:pt>
                <c:pt idx="53">
                  <c:v>0.21439700709897694</c:v>
                </c:pt>
                <c:pt idx="54">
                  <c:v>0.1601584598472272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866862431226215"/>
          <c:min val="0.1090108276748027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24.2117</c:v>
                </c:pt>
                <c:pt idx="1">
                  <c:v>865.8316</c:v>
                </c:pt>
                <c:pt idx="2">
                  <c:v>892.7576</c:v>
                </c:pt>
                <c:pt idx="3">
                  <c:v>912.5655</c:v>
                </c:pt>
                <c:pt idx="4">
                  <c:v>893.8947</c:v>
                </c:pt>
                <c:pt idx="5">
                  <c:v>942.2617</c:v>
                </c:pt>
                <c:pt idx="6">
                  <c:v>907.8704</c:v>
                </c:pt>
                <c:pt idx="7">
                  <c:v>928.9268</c:v>
                </c:pt>
                <c:pt idx="8">
                  <c:v>900.0017</c:v>
                </c:pt>
                <c:pt idx="9">
                  <c:v>807.5434</c:v>
                </c:pt>
                <c:pt idx="10">
                  <c:v>765.1203</c:v>
                </c:pt>
                <c:pt idx="11">
                  <c:v>789.5252</c:v>
                </c:pt>
                <c:pt idx="12">
                  <c:v>785.2679</c:v>
                </c:pt>
                <c:pt idx="13">
                  <c:v>807.1881</c:v>
                </c:pt>
                <c:pt idx="14">
                  <c:v>895.9234</c:v>
                </c:pt>
                <c:pt idx="15">
                  <c:v>911.548</c:v>
                </c:pt>
                <c:pt idx="16">
                  <c:v>921.968</c:v>
                </c:pt>
                <c:pt idx="17">
                  <c:v>882.9249</c:v>
                </c:pt>
                <c:pt idx="18">
                  <c:v>923.6504</c:v>
                </c:pt>
                <c:pt idx="19">
                  <c:v>958.9415</c:v>
                </c:pt>
                <c:pt idx="20">
                  <c:v>1006.0391</c:v>
                </c:pt>
                <c:pt idx="21">
                  <c:v>973.8274</c:v>
                </c:pt>
                <c:pt idx="22">
                  <c:v>976.3184</c:v>
                </c:pt>
                <c:pt idx="23">
                  <c:v>964.1195</c:v>
                </c:pt>
                <c:pt idx="24">
                  <c:v>966.4816</c:v>
                </c:pt>
                <c:pt idx="25">
                  <c:v>944.6269</c:v>
                </c:pt>
                <c:pt idx="26">
                  <c:v>958.1125</c:v>
                </c:pt>
                <c:pt idx="27">
                  <c:v>981.42</c:v>
                </c:pt>
                <c:pt idx="28">
                  <c:v>1002.7271</c:v>
                </c:pt>
                <c:pt idx="29">
                  <c:v>886.3516</c:v>
                </c:pt>
                <c:pt idx="30">
                  <c:v>905.724</c:v>
                </c:pt>
                <c:pt idx="31">
                  <c:v>940.05</c:v>
                </c:pt>
                <c:pt idx="32">
                  <c:v>895.5899</c:v>
                </c:pt>
                <c:pt idx="33">
                  <c:v>831.8716</c:v>
                </c:pt>
                <c:pt idx="34">
                  <c:v>887.3612</c:v>
                </c:pt>
                <c:pt idx="35">
                  <c:v>986.7331</c:v>
                </c:pt>
                <c:pt idx="36">
                  <c:v>1069.298</c:v>
                </c:pt>
                <c:pt idx="37">
                  <c:v>1071.5141</c:v>
                </c:pt>
                <c:pt idx="38">
                  <c:v>1073.6639</c:v>
                </c:pt>
                <c:pt idx="39">
                  <c:v>1067.8076</c:v>
                </c:pt>
                <c:pt idx="40">
                  <c:v>1115.6713</c:v>
                </c:pt>
                <c:pt idx="41">
                  <c:v>1153.053</c:v>
                </c:pt>
                <c:pt idx="42">
                  <c:v>1156.8321</c:v>
                </c:pt>
                <c:pt idx="43">
                  <c:v>1149.3894</c:v>
                </c:pt>
                <c:pt idx="44">
                  <c:v>1067.5537</c:v>
                </c:pt>
                <c:pt idx="45">
                  <c:v>1038.1756</c:v>
                </c:pt>
                <c:pt idx="46">
                  <c:v>998.9644</c:v>
                </c:pt>
                <c:pt idx="47">
                  <c:v>981.7002</c:v>
                </c:pt>
                <c:pt idx="48">
                  <c:v>953.5572</c:v>
                </c:pt>
                <c:pt idx="49">
                  <c:v>933.2599</c:v>
                </c:pt>
                <c:pt idx="50">
                  <c:v>931.5196</c:v>
                </c:pt>
                <c:pt idx="51">
                  <c:v>914.6052</c:v>
                </c:pt>
                <c:pt idx="52">
                  <c:v>925.8913</c:v>
                </c:pt>
                <c:pt idx="53">
                  <c:v>1117.259</c:v>
                </c:pt>
                <c:pt idx="54">
                  <c:v>1104.6143</c:v>
                </c:pt>
                <c:pt idx="55">
                  <c:v>1122.6644</c:v>
                </c:pt>
                <c:pt idx="56">
                  <c:v>1139.0034</c:v>
                </c:pt>
                <c:pt idx="57">
                  <c:v>1120.2309</c:v>
                </c:pt>
                <c:pt idx="58">
                  <c:v>1081.8831</c:v>
                </c:pt>
                <c:pt idx="59">
                  <c:v>1082.513</c:v>
                </c:pt>
                <c:pt idx="60">
                  <c:v>1098.9562</c:v>
                </c:pt>
                <c:pt idx="61">
                  <c:v>1075.6699</c:v>
                </c:pt>
                <c:pt idx="62">
                  <c:v>989.6153</c:v>
                </c:pt>
                <c:pt idx="63">
                  <c:v>1007.4367</c:v>
                </c:pt>
                <c:pt idx="64">
                  <c:v>1003.0225</c:v>
                </c:pt>
                <c:pt idx="65">
                  <c:v>997.5952</c:v>
                </c:pt>
                <c:pt idx="66">
                  <c:v>1060.0689</c:v>
                </c:pt>
                <c:pt idx="67">
                  <c:v>1093.6209</c:v>
                </c:pt>
                <c:pt idx="68">
                  <c:v>1081.6992</c:v>
                </c:pt>
                <c:pt idx="69">
                  <c:v>1087.2962</c:v>
                </c:pt>
                <c:pt idx="70">
                  <c:v>1090.4143</c:v>
                </c:pt>
                <c:pt idx="71">
                  <c:v>1127.5599</c:v>
                </c:pt>
                <c:pt idx="72">
                  <c:v>1178.71</c:v>
                </c:pt>
                <c:pt idx="73">
                  <c:v>1212.1732</c:v>
                </c:pt>
                <c:pt idx="74">
                  <c:v>1169.8459</c:v>
                </c:pt>
                <c:pt idx="75">
                  <c:v>1153.2071</c:v>
                </c:pt>
                <c:pt idx="76">
                  <c:v>1162.0926</c:v>
                </c:pt>
                <c:pt idx="77">
                  <c:v>1157.2579</c:v>
                </c:pt>
                <c:pt idx="78">
                  <c:v>1144.8374</c:v>
                </c:pt>
                <c:pt idx="79">
                  <c:v>1186.5383</c:v>
                </c:pt>
                <c:pt idx="80">
                  <c:v>1180.9499</c:v>
                </c:pt>
                <c:pt idx="81">
                  <c:v>1165.187</c:v>
                </c:pt>
                <c:pt idx="82">
                  <c:v>1186.6649</c:v>
                </c:pt>
                <c:pt idx="83">
                  <c:v>1177.1713</c:v>
                </c:pt>
                <c:pt idx="84">
                  <c:v>1160.4531</c:v>
                </c:pt>
                <c:pt idx="85">
                  <c:v>1139.9556</c:v>
                </c:pt>
                <c:pt idx="86">
                  <c:v>1162.7</c:v>
                </c:pt>
                <c:pt idx="87">
                  <c:v>1170.1289</c:v>
                </c:pt>
                <c:pt idx="88">
                  <c:v>1178.4869</c:v>
                </c:pt>
                <c:pt idx="89">
                  <c:v>1175.1011</c:v>
                </c:pt>
                <c:pt idx="90">
                  <c:v>1205.5444</c:v>
                </c:pt>
                <c:pt idx="91">
                  <c:v>1216.9141</c:v>
                </c:pt>
                <c:pt idx="92">
                  <c:v>1135.3455</c:v>
                </c:pt>
                <c:pt idx="93">
                  <c:v>1198.4665</c:v>
                </c:pt>
                <c:pt idx="94">
                  <c:v>1149.9933</c:v>
                </c:pt>
                <c:pt idx="95">
                  <c:v>1143.6412</c:v>
                </c:pt>
                <c:pt idx="96">
                  <c:v>1060.9276</c:v>
                </c:pt>
                <c:pt idx="97">
                  <c:v>1088.5397</c:v>
                </c:pt>
                <c:pt idx="98">
                  <c:v>1077.4487</c:v>
                </c:pt>
                <c:pt idx="99">
                  <c:v>1034.9018</c:v>
                </c:pt>
                <c:pt idx="100">
                  <c:v>1012.0036</c:v>
                </c:pt>
                <c:pt idx="101">
                  <c:v>1083.5487</c:v>
                </c:pt>
                <c:pt idx="102">
                  <c:v>1083.0984</c:v>
                </c:pt>
                <c:pt idx="103">
                  <c:v>1039.2505</c:v>
                </c:pt>
                <c:pt idx="104">
                  <c:v>1090.9628</c:v>
                </c:pt>
              </c:numCache>
            </c:numRef>
          </c:xVal>
          <c:yVal>
            <c:numRef>
              <c:f>Sheet1!$B$2:$B$106</c:f>
              <c:numCache>
                <c:formatCode>General</c:formatCode>
                <c:ptCount val="105"/>
                <c:pt idx="0">
                  <c:v>0.7477628635346756</c:v>
                </c:pt>
                <c:pt idx="1">
                  <c:v>0.7167684358853922</c:v>
                </c:pt>
                <c:pt idx="2">
                  <c:v>0.6016161616161616</c:v>
                </c:pt>
                <c:pt idx="3">
                  <c:v>0.5613295880149812</c:v>
                </c:pt>
                <c:pt idx="4">
                  <c:v>0.4391727493917275</c:v>
                </c:pt>
                <c:pt idx="5">
                  <c:v>0.3745427944403804</c:v>
                </c:pt>
                <c:pt idx="6">
                  <c:v>0.43447669305189096</c:v>
                </c:pt>
                <c:pt idx="7">
                  <c:v>0.37393767705382436</c:v>
                </c:pt>
                <c:pt idx="8">
                  <c:v>0.5449591280653951</c:v>
                </c:pt>
                <c:pt idx="9">
                  <c:v>0.6287042417199302</c:v>
                </c:pt>
                <c:pt idx="10">
                  <c:v>0.6635044642857143</c:v>
                </c:pt>
                <c:pt idx="11">
                  <c:v>0.6827033218785796</c:v>
                </c:pt>
                <c:pt idx="12">
                  <c:v>0.7445026178010471</c:v>
                </c:pt>
                <c:pt idx="13">
                  <c:v>0.7683881064162754</c:v>
                </c:pt>
                <c:pt idx="14">
                  <c:v>0.8057142857142857</c:v>
                </c:pt>
                <c:pt idx="15">
                  <c:v>0.770949720670391</c:v>
                </c:pt>
                <c:pt idx="16">
                  <c:v>0.7401263823064771</c:v>
                </c:pt>
                <c:pt idx="17">
                  <c:v>0.7251512532411409</c:v>
                </c:pt>
                <c:pt idx="18">
                  <c:v>0.715042372881356</c:v>
                </c:pt>
                <c:pt idx="19">
                  <c:v>0.5820170109356014</c:v>
                </c:pt>
                <c:pt idx="20">
                  <c:v>0.6005639097744361</c:v>
                </c:pt>
                <c:pt idx="21">
                  <c:v>0.6106471816283925</c:v>
                </c:pt>
                <c:pt idx="22">
                  <c:v>0.5395152792413066</c:v>
                </c:pt>
                <c:pt idx="23">
                  <c:v>0.5790080738177624</c:v>
                </c:pt>
                <c:pt idx="24">
                  <c:v>0.5565302144249513</c:v>
                </c:pt>
                <c:pt idx="25">
                  <c:v>0.5511163337250293</c:v>
                </c:pt>
                <c:pt idx="26">
                  <c:v>0.6269230769230769</c:v>
                </c:pt>
                <c:pt idx="27">
                  <c:v>0.6493506493506493</c:v>
                </c:pt>
                <c:pt idx="28">
                  <c:v>0.5409429280397022</c:v>
                </c:pt>
                <c:pt idx="29">
                  <c:v>0.5248618784530387</c:v>
                </c:pt>
                <c:pt idx="30">
                  <c:v>0.4967741935483871</c:v>
                </c:pt>
                <c:pt idx="31">
                  <c:v>0.4956268221574344</c:v>
                </c:pt>
                <c:pt idx="32">
                  <c:v>0.5267260579064588</c:v>
                </c:pt>
                <c:pt idx="33">
                  <c:v>0.5064247921390779</c:v>
                </c:pt>
                <c:pt idx="34">
                  <c:v>0.47670492910195816</c:v>
                </c:pt>
                <c:pt idx="35">
                  <c:v>0.6188557614826753</c:v>
                </c:pt>
                <c:pt idx="36">
                  <c:v>0.5739769150052466</c:v>
                </c:pt>
                <c:pt idx="37">
                  <c:v>0.5784190715181933</c:v>
                </c:pt>
                <c:pt idx="38">
                  <c:v>0.5876543209876544</c:v>
                </c:pt>
                <c:pt idx="39">
                  <c:v>0.6409214092140921</c:v>
                </c:pt>
                <c:pt idx="40">
                  <c:v>0.6078639744952179</c:v>
                </c:pt>
                <c:pt idx="41">
                  <c:v>0.51875</c:v>
                </c:pt>
                <c:pt idx="42">
                  <c:v>0.4990791896869245</c:v>
                </c:pt>
                <c:pt idx="43">
                  <c:v>0.4788135593220339</c:v>
                </c:pt>
                <c:pt idx="44">
                  <c:v>0.5431931252826775</c:v>
                </c:pt>
                <c:pt idx="45">
                  <c:v>0.6189821182943603</c:v>
                </c:pt>
                <c:pt idx="46">
                  <c:v>0.6272838002436053</c:v>
                </c:pt>
                <c:pt idx="47">
                  <c:v>0.5687037757882445</c:v>
                </c:pt>
                <c:pt idx="48">
                  <c:v>0.6074436294485194</c:v>
                </c:pt>
                <c:pt idx="49">
                  <c:v>0.6360913515537252</c:v>
                </c:pt>
                <c:pt idx="50">
                  <c:v>0.5873458018304815</c:v>
                </c:pt>
                <c:pt idx="51">
                  <c:v>0.5636540330417882</c:v>
                </c:pt>
                <c:pt idx="52">
                  <c:v>0.5740601503759398</c:v>
                </c:pt>
                <c:pt idx="53">
                  <c:v>0.49661508704061896</c:v>
                </c:pt>
                <c:pt idx="54">
                  <c:v>0.4834710743801653</c:v>
                </c:pt>
                <c:pt idx="55">
                  <c:v>0.4757493188010899</c:v>
                </c:pt>
                <c:pt idx="56">
                  <c:v>0.47532188841201717</c:v>
                </c:pt>
                <c:pt idx="57">
                  <c:v>0.4742857142857143</c:v>
                </c:pt>
                <c:pt idx="58">
                  <c:v>0.5159963436928702</c:v>
                </c:pt>
                <c:pt idx="59">
                  <c:v>0.5493939393939394</c:v>
                </c:pt>
                <c:pt idx="60">
                  <c:v>0.5612635609444799</c:v>
                </c:pt>
                <c:pt idx="61">
                  <c:v>0.5353488372093024</c:v>
                </c:pt>
                <c:pt idx="62">
                  <c:v>0.5830479452054794</c:v>
                </c:pt>
                <c:pt idx="63">
                  <c:v>0.626827485380117</c:v>
                </c:pt>
                <c:pt idx="64">
                  <c:v>0.6477400074710497</c:v>
                </c:pt>
                <c:pt idx="65">
                  <c:v>0.6203592814371257</c:v>
                </c:pt>
                <c:pt idx="66">
                  <c:v>0.5973491773308958</c:v>
                </c:pt>
                <c:pt idx="67">
                  <c:v>0.5980582524271845</c:v>
                </c:pt>
                <c:pt idx="68">
                  <c:v>0.5796752856283824</c:v>
                </c:pt>
                <c:pt idx="69">
                  <c:v>0.5509554140127388</c:v>
                </c:pt>
                <c:pt idx="70">
                  <c:v>0.4872994652406417</c:v>
                </c:pt>
                <c:pt idx="71">
                  <c:v>0.48441926345609065</c:v>
                </c:pt>
                <c:pt idx="72">
                  <c:v>0.4890885750962773</c:v>
                </c:pt>
                <c:pt idx="73">
                  <c:v>0.48070412999322953</c:v>
                </c:pt>
                <c:pt idx="74">
                  <c:v>0.4488135593220339</c:v>
                </c:pt>
                <c:pt idx="75">
                  <c:v>0.4938811188811189</c:v>
                </c:pt>
                <c:pt idx="76">
                  <c:v>0.44936708860759494</c:v>
                </c:pt>
                <c:pt idx="77">
                  <c:v>0.46878097125867196</c:v>
                </c:pt>
                <c:pt idx="78">
                  <c:v>0.4442013129102845</c:v>
                </c:pt>
                <c:pt idx="79">
                  <c:v>0.44250513347022585</c:v>
                </c:pt>
                <c:pt idx="80">
                  <c:v>0.34485738980121</c:v>
                </c:pt>
                <c:pt idx="81">
                  <c:v>0.38598999285203717</c:v>
                </c:pt>
                <c:pt idx="82">
                  <c:v>0.3865461847389558</c:v>
                </c:pt>
                <c:pt idx="83">
                  <c:v>0.36394557823129253</c:v>
                </c:pt>
                <c:pt idx="84">
                  <c:v>0.3906447534766119</c:v>
                </c:pt>
                <c:pt idx="85">
                  <c:v>0.4181222707423581</c:v>
                </c:pt>
                <c:pt idx="86">
                  <c:v>0.4707933740191805</c:v>
                </c:pt>
                <c:pt idx="87">
                  <c:v>0.4934865900383142</c:v>
                </c:pt>
                <c:pt idx="88">
                  <c:v>0.4300469483568075</c:v>
                </c:pt>
                <c:pt idx="89">
                  <c:v>0.3868312757201646</c:v>
                </c:pt>
                <c:pt idx="90">
                  <c:v>0.3627858627858628</c:v>
                </c:pt>
                <c:pt idx="91">
                  <c:v>0.3983402489626556</c:v>
                </c:pt>
                <c:pt idx="92">
                  <c:v>0.45496323529411764</c:v>
                </c:pt>
                <c:pt idx="93">
                  <c:v>0.44254937163375224</c:v>
                </c:pt>
                <c:pt idx="94">
                  <c:v>0.46812957157784746</c:v>
                </c:pt>
                <c:pt idx="95">
                  <c:v>0.4996400287976962</c:v>
                </c:pt>
                <c:pt idx="96">
                  <c:v>0.48845208845208843</c:v>
                </c:pt>
                <c:pt idx="97">
                  <c:v>0.5218360071301248</c:v>
                </c:pt>
                <c:pt idx="98">
                  <c:v>0.543447792571829</c:v>
                </c:pt>
                <c:pt idx="99">
                  <c:v>0.5894245723172629</c:v>
                </c:pt>
                <c:pt idx="100">
                  <c:v>0.6122696902206924</c:v>
                </c:pt>
                <c:pt idx="101">
                  <c:v>0.552901023890785</c:v>
                </c:pt>
                <c:pt idx="102">
                  <c:v>0.5050774986638161</c:v>
                </c:pt>
                <c:pt idx="103">
                  <c:v>0.4964221824686941</c:v>
                </c:pt>
                <c:pt idx="104">
                  <c:v>0.468342194296761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2.1597</c:v>
                </c:pt>
                <c:pt idx="1">
                  <c:v>1179.6593</c:v>
                </c:pt>
                <c:pt idx="2">
                  <c:v>1148.2658</c:v>
                </c:pt>
                <c:pt idx="3">
                  <c:v>1156.9952</c:v>
                </c:pt>
                <c:pt idx="4">
                  <c:v>1152.9689</c:v>
                </c:pt>
                <c:pt idx="5">
                  <c:v>1127.6708</c:v>
                </c:pt>
                <c:pt idx="6">
                  <c:v>1048.056</c:v>
                </c:pt>
                <c:pt idx="7">
                  <c:v>1052.7169</c:v>
                </c:pt>
                <c:pt idx="8">
                  <c:v>1163.374</c:v>
                </c:pt>
                <c:pt idx="9">
                  <c:v>1044.6676</c:v>
                </c:pt>
                <c:pt idx="10">
                  <c:v>1093.5535</c:v>
                </c:pt>
                <c:pt idx="11">
                  <c:v>985.9739</c:v>
                </c:pt>
                <c:pt idx="12">
                  <c:v>1050.5848</c:v>
                </c:pt>
                <c:pt idx="13">
                  <c:v>1080.4218</c:v>
                </c:pt>
                <c:pt idx="14">
                  <c:v>1115.1449</c:v>
                </c:pt>
                <c:pt idx="15">
                  <c:v>1126.4784</c:v>
                </c:pt>
                <c:pt idx="16">
                  <c:v>1147.975</c:v>
                </c:pt>
                <c:pt idx="17">
                  <c:v>1132.4845</c:v>
                </c:pt>
                <c:pt idx="18">
                  <c:v>1121.6248</c:v>
                </c:pt>
                <c:pt idx="19">
                  <c:v>1039.6531</c:v>
                </c:pt>
                <c:pt idx="20">
                  <c:v>1020.9066</c:v>
                </c:pt>
                <c:pt idx="21">
                  <c:v>981.0374</c:v>
                </c:pt>
                <c:pt idx="22">
                  <c:v>994.7922</c:v>
                </c:pt>
                <c:pt idx="23">
                  <c:v>1064.4355</c:v>
                </c:pt>
                <c:pt idx="24">
                  <c:v>1155.5071</c:v>
                </c:pt>
                <c:pt idx="25">
                  <c:v>1137.4123</c:v>
                </c:pt>
                <c:pt idx="26">
                  <c:v>1191.679</c:v>
                </c:pt>
                <c:pt idx="27">
                  <c:v>1164.9462</c:v>
                </c:pt>
                <c:pt idx="28">
                  <c:v>1054.8985</c:v>
                </c:pt>
                <c:pt idx="29">
                  <c:v>1059.9647</c:v>
                </c:pt>
                <c:pt idx="30">
                  <c:v>1074.6766</c:v>
                </c:pt>
                <c:pt idx="31">
                  <c:v>1095.8293</c:v>
                </c:pt>
                <c:pt idx="32">
                  <c:v>1061.2685</c:v>
                </c:pt>
                <c:pt idx="33">
                  <c:v>1079.2008</c:v>
                </c:pt>
                <c:pt idx="34">
                  <c:v>1105.776</c:v>
                </c:pt>
                <c:pt idx="35">
                  <c:v>1155.2794</c:v>
                </c:pt>
                <c:pt idx="36">
                  <c:v>1119.554</c:v>
                </c:pt>
                <c:pt idx="37">
                  <c:v>1217.1783</c:v>
                </c:pt>
                <c:pt idx="38">
                  <c:v>1152.3588</c:v>
                </c:pt>
                <c:pt idx="39">
                  <c:v>1200.6117</c:v>
                </c:pt>
                <c:pt idx="40">
                  <c:v>1227.797</c:v>
                </c:pt>
                <c:pt idx="41">
                  <c:v>1295.1927</c:v>
                </c:pt>
                <c:pt idx="42">
                  <c:v>1279.6767</c:v>
                </c:pt>
                <c:pt idx="43">
                  <c:v>1289.7522</c:v>
                </c:pt>
                <c:pt idx="44">
                  <c:v>1133.5088</c:v>
                </c:pt>
                <c:pt idx="45">
                  <c:v>1185.3948</c:v>
                </c:pt>
                <c:pt idx="46">
                  <c:v>1176.406</c:v>
                </c:pt>
                <c:pt idx="47">
                  <c:v>1155.9944</c:v>
                </c:pt>
                <c:pt idx="48">
                  <c:v>1118.3669</c:v>
                </c:pt>
                <c:pt idx="49">
                  <c:v>1096.8013</c:v>
                </c:pt>
                <c:pt idx="50">
                  <c:v>1025.046</c:v>
                </c:pt>
                <c:pt idx="51">
                  <c:v>1016.2642</c:v>
                </c:pt>
              </c:numCache>
            </c:numRef>
          </c:xVal>
          <c:yVal>
            <c:numRef>
              <c:f>Sheet1!$B$109:$B$160</c:f>
              <c:numCache>
                <c:formatCode>General</c:formatCode>
                <c:ptCount val="52"/>
                <c:pt idx="0">
                  <c:v>0.48958742632612967</c:v>
                </c:pt>
                <c:pt idx="1">
                  <c:v>0.4875791524598149</c:v>
                </c:pt>
                <c:pt idx="2">
                  <c:v>0.519578947368421</c:v>
                </c:pt>
                <c:pt idx="3">
                  <c:v>0.5402699172834131</c:v>
                </c:pt>
                <c:pt idx="4">
                  <c:v>0.44204322200392926</c:v>
                </c:pt>
                <c:pt idx="5">
                  <c:v>0.49383259911894273</c:v>
                </c:pt>
                <c:pt idx="6">
                  <c:v>0.5731424148606811</c:v>
                </c:pt>
                <c:pt idx="7">
                  <c:v>0.570958904109589</c:v>
                </c:pt>
                <c:pt idx="8">
                  <c:v>0.5337965887555275</c:v>
                </c:pt>
                <c:pt idx="9">
                  <c:v>0.5877742946708464</c:v>
                </c:pt>
                <c:pt idx="10">
                  <c:v>0.598729792147806</c:v>
                </c:pt>
                <c:pt idx="11">
                  <c:v>0.6227164416203336</c:v>
                </c:pt>
                <c:pt idx="12">
                  <c:v>0.5935632183908046</c:v>
                </c:pt>
                <c:pt idx="13">
                  <c:v>0.555921052631579</c:v>
                </c:pt>
                <c:pt idx="14">
                  <c:v>0.5430220356768101</c:v>
                </c:pt>
                <c:pt idx="15">
                  <c:v>0.555488902219556</c:v>
                </c:pt>
                <c:pt idx="16">
                  <c:v>0.5412517780938834</c:v>
                </c:pt>
                <c:pt idx="17">
                  <c:v>0.5362537764350453</c:v>
                </c:pt>
                <c:pt idx="18">
                  <c:v>0.5306306306306307</c:v>
                </c:pt>
                <c:pt idx="19">
                  <c:v>0.5418106427090532</c:v>
                </c:pt>
                <c:pt idx="20">
                  <c:v>0.5021994134897361</c:v>
                </c:pt>
                <c:pt idx="21">
                  <c:v>0.5262664165103189</c:v>
                </c:pt>
                <c:pt idx="22">
                  <c:v>0.49044585987261147</c:v>
                </c:pt>
                <c:pt idx="23">
                  <c:v>0.4937428896473265</c:v>
                </c:pt>
                <c:pt idx="24">
                  <c:v>0.45542427497314714</c:v>
                </c:pt>
                <c:pt idx="25">
                  <c:v>0.47098214285714285</c:v>
                </c:pt>
                <c:pt idx="26">
                  <c:v>0.4088937093275488</c:v>
                </c:pt>
                <c:pt idx="27">
                  <c:v>0.416044776119403</c:v>
                </c:pt>
                <c:pt idx="28">
                  <c:v>0.4821576763485477</c:v>
                </c:pt>
                <c:pt idx="29">
                  <c:v>0.5057833859095688</c:v>
                </c:pt>
                <c:pt idx="30">
                  <c:v>0.5305263157894737</c:v>
                </c:pt>
                <c:pt idx="31">
                  <c:v>0.49352051835853133</c:v>
                </c:pt>
                <c:pt idx="32">
                  <c:v>0.5544147843942505</c:v>
                </c:pt>
                <c:pt idx="33">
                  <c:v>0.5863166268894192</c:v>
                </c:pt>
                <c:pt idx="34">
                  <c:v>0.6038300418910831</c:v>
                </c:pt>
                <c:pt idx="35">
                  <c:v>0.5973724884080371</c:v>
                </c:pt>
                <c:pt idx="36">
                  <c:v>0.509367681498829</c:v>
                </c:pt>
                <c:pt idx="37">
                  <c:v>0.4806122448979592</c:v>
                </c:pt>
                <c:pt idx="38">
                  <c:v>0.5274043433298863</c:v>
                </c:pt>
                <c:pt idx="39">
                  <c:v>0.5380989787902593</c:v>
                </c:pt>
                <c:pt idx="40">
                  <c:v>0.5058922558922558</c:v>
                </c:pt>
                <c:pt idx="41">
                  <c:v>0.4850574712643678</c:v>
                </c:pt>
                <c:pt idx="42">
                  <c:v>0.4867337602927722</c:v>
                </c:pt>
                <c:pt idx="43">
                  <c:v>0.484529702970297</c:v>
                </c:pt>
                <c:pt idx="44">
                  <c:v>0.5595238095238095</c:v>
                </c:pt>
                <c:pt idx="45">
                  <c:v>0.5924387203988367</c:v>
                </c:pt>
                <c:pt idx="46">
                  <c:v>0.5785601681555439</c:v>
                </c:pt>
                <c:pt idx="47">
                  <c:v>0.5872718764623304</c:v>
                </c:pt>
                <c:pt idx="48">
                  <c:v>0.5992462311557789</c:v>
                </c:pt>
                <c:pt idx="49">
                  <c:v>0.6043010752688172</c:v>
                </c:pt>
                <c:pt idx="50">
                  <c:v>0.6811352253756261</c:v>
                </c:pt>
                <c:pt idx="51">
                  <c:v>0.63185975609756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20.3281700485021</c:v>
                </c:pt>
              </c:numCache>
            </c:numRef>
          </c:xVal>
          <c:yVal>
            <c:numRef>
              <c:f>Sheet1!$B$163:$B$164</c:f>
              <c:numCache>
                <c:formatCode>General</c:formatCode>
                <c:ptCount val="2"/>
                <c:pt idx="0">
                  <c:v>0.6952319130195098</c:v>
                </c:pt>
                <c:pt idx="1">
                  <c:v>0.695231913019509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20.3281700485021</c:v>
                </c:pt>
                <c:pt idx="1">
                  <c:v>620.3281700485021</c:v>
                </c:pt>
              </c:numCache>
            </c:numRef>
          </c:xVal>
          <c:yVal>
            <c:numRef>
              <c:f>Sheet1!$B$167:$B$168</c:f>
              <c:numCache>
                <c:formatCode>General</c:formatCode>
                <c:ptCount val="2"/>
                <c:pt idx="0">
                  <c:v>0.695231913019509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826.3861384348739</c:v>
                </c:pt>
              </c:numCache>
            </c:numRef>
          </c:xVal>
          <c:yVal>
            <c:numRef>
              <c:f>Sheet1!$B$171:$B$172</c:f>
              <c:numCache>
                <c:formatCode>General</c:formatCode>
                <c:ptCount val="2"/>
                <c:pt idx="0">
                  <c:v>0.6291355719744458</c:v>
                </c:pt>
                <c:pt idx="1">
                  <c:v>0.629135571974445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826.3861384348739</c:v>
                </c:pt>
                <c:pt idx="1">
                  <c:v>826.3861384348739</c:v>
                </c:pt>
              </c:numCache>
            </c:numRef>
          </c:xVal>
          <c:yVal>
            <c:numRef>
              <c:f>Sheet1!$B$175:$B$176</c:f>
              <c:numCache>
                <c:formatCode>General</c:formatCode>
                <c:ptCount val="2"/>
                <c:pt idx="0">
                  <c:v>0.629135571974445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28.813604824582</c:v>
                </c:pt>
              </c:numCache>
            </c:numRef>
          </c:xVal>
          <c:yVal>
            <c:numRef>
              <c:f>Sheet1!$B$179:$B$180</c:f>
              <c:numCache>
                <c:formatCode>General</c:formatCode>
                <c:ptCount val="2"/>
                <c:pt idx="0">
                  <c:v>0.5642037716652505</c:v>
                </c:pt>
                <c:pt idx="1">
                  <c:v>0.56420377166525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28.813604824582</c:v>
                </c:pt>
                <c:pt idx="1">
                  <c:v>1028.813604824582</c:v>
                </c:pt>
              </c:numCache>
            </c:numRef>
          </c:xVal>
          <c:yVal>
            <c:numRef>
              <c:f>Sheet1!$B$183:$B$184</c:f>
              <c:numCache>
                <c:formatCode>General</c:formatCode>
                <c:ptCount val="2"/>
                <c:pt idx="0">
                  <c:v>0.56420377166525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2.1597</c:v>
                </c:pt>
                <c:pt idx="1">
                  <c:v>1179.6593</c:v>
                </c:pt>
                <c:pt idx="2">
                  <c:v>1148.2658</c:v>
                </c:pt>
                <c:pt idx="3">
                  <c:v>1156.9952</c:v>
                </c:pt>
                <c:pt idx="4">
                  <c:v>1152.9689</c:v>
                </c:pt>
                <c:pt idx="5">
                  <c:v>1127.6708</c:v>
                </c:pt>
                <c:pt idx="6">
                  <c:v>1048.056</c:v>
                </c:pt>
                <c:pt idx="7">
                  <c:v>1052.7169</c:v>
                </c:pt>
                <c:pt idx="8">
                  <c:v>1163.374</c:v>
                </c:pt>
                <c:pt idx="9">
                  <c:v>1044.6676</c:v>
                </c:pt>
                <c:pt idx="10">
                  <c:v>1093.5535</c:v>
                </c:pt>
                <c:pt idx="11">
                  <c:v>985.9739</c:v>
                </c:pt>
                <c:pt idx="12">
                  <c:v>1050.5848</c:v>
                </c:pt>
                <c:pt idx="13">
                  <c:v>1080.4218</c:v>
                </c:pt>
                <c:pt idx="14">
                  <c:v>1115.1449</c:v>
                </c:pt>
                <c:pt idx="15">
                  <c:v>1126.4784</c:v>
                </c:pt>
                <c:pt idx="16">
                  <c:v>1147.975</c:v>
                </c:pt>
                <c:pt idx="17">
                  <c:v>1132.4845</c:v>
                </c:pt>
                <c:pt idx="18">
                  <c:v>1121.6248</c:v>
                </c:pt>
                <c:pt idx="19">
                  <c:v>1039.6531</c:v>
                </c:pt>
                <c:pt idx="20">
                  <c:v>1020.9066</c:v>
                </c:pt>
                <c:pt idx="21">
                  <c:v>981.0374</c:v>
                </c:pt>
                <c:pt idx="22">
                  <c:v>994.7922</c:v>
                </c:pt>
                <c:pt idx="23">
                  <c:v>1064.4355</c:v>
                </c:pt>
                <c:pt idx="24">
                  <c:v>1155.5071</c:v>
                </c:pt>
                <c:pt idx="25">
                  <c:v>1137.4123</c:v>
                </c:pt>
                <c:pt idx="26">
                  <c:v>1191.679</c:v>
                </c:pt>
                <c:pt idx="27">
                  <c:v>1164.9462</c:v>
                </c:pt>
                <c:pt idx="28">
                  <c:v>1054.8985</c:v>
                </c:pt>
                <c:pt idx="29">
                  <c:v>1059.9647</c:v>
                </c:pt>
                <c:pt idx="30">
                  <c:v>1074.6766</c:v>
                </c:pt>
                <c:pt idx="31">
                  <c:v>1095.8293</c:v>
                </c:pt>
                <c:pt idx="32">
                  <c:v>1061.2685</c:v>
                </c:pt>
                <c:pt idx="33">
                  <c:v>1079.2008</c:v>
                </c:pt>
                <c:pt idx="34">
                  <c:v>1105.776</c:v>
                </c:pt>
                <c:pt idx="35">
                  <c:v>1155.2794</c:v>
                </c:pt>
                <c:pt idx="36">
                  <c:v>1119.554</c:v>
                </c:pt>
                <c:pt idx="37">
                  <c:v>1217.1783</c:v>
                </c:pt>
                <c:pt idx="38">
                  <c:v>1152.3588</c:v>
                </c:pt>
                <c:pt idx="39">
                  <c:v>1200.6117</c:v>
                </c:pt>
                <c:pt idx="40">
                  <c:v>1227.797</c:v>
                </c:pt>
                <c:pt idx="41">
                  <c:v>1295.1927</c:v>
                </c:pt>
                <c:pt idx="42">
                  <c:v>1279.6767</c:v>
                </c:pt>
                <c:pt idx="43">
                  <c:v>1289.7522</c:v>
                </c:pt>
                <c:pt idx="44">
                  <c:v>1133.5088</c:v>
                </c:pt>
                <c:pt idx="45">
                  <c:v>1185.3948</c:v>
                </c:pt>
                <c:pt idx="46">
                  <c:v>1176.406</c:v>
                </c:pt>
                <c:pt idx="47">
                  <c:v>1155.9944</c:v>
                </c:pt>
                <c:pt idx="48">
                  <c:v>1118.3669</c:v>
                </c:pt>
                <c:pt idx="49">
                  <c:v>1096.8013</c:v>
                </c:pt>
                <c:pt idx="50">
                  <c:v>1025.046</c:v>
                </c:pt>
                <c:pt idx="51">
                  <c:v>1016.2642</c:v>
                </c:pt>
                <c:pt idx="52">
                  <c:v>826.3861384348739</c:v>
                </c:pt>
                <c:pt idx="53">
                  <c:v>620.3281700485021</c:v>
                </c:pt>
                <c:pt idx="54">
                  <c:v>1028.813604824582</c:v>
                </c:pt>
              </c:numCache>
            </c:numRef>
          </c:xVal>
          <c:yVal>
            <c:numRef>
              <c:f>Sheet1!$B$187:$B$241</c:f>
              <c:numCache>
                <c:formatCode>General</c:formatCode>
                <c:ptCount val="55"/>
                <c:pt idx="0">
                  <c:v>0.5246385675766395</c:v>
                </c:pt>
                <c:pt idx="1">
                  <c:v>0.5158176374547104</c:v>
                </c:pt>
                <c:pt idx="2">
                  <c:v>0.5258875973735013</c:v>
                </c:pt>
                <c:pt idx="3">
                  <c:v>0.523087504739195</c:v>
                </c:pt>
                <c:pt idx="4">
                  <c:v>0.5243790039228167</c:v>
                </c:pt>
                <c:pt idx="5">
                  <c:v>0.5324937682218455</c:v>
                </c:pt>
                <c:pt idx="6">
                  <c:v>0.5580314701328316</c:v>
                </c:pt>
                <c:pt idx="7">
                  <c:v>0.5565364129972624</c:v>
                </c:pt>
                <c:pt idx="8">
                  <c:v>0.521041404102758</c:v>
                </c:pt>
                <c:pt idx="9">
                  <c:v>0.5591183528374943</c:v>
                </c:pt>
                <c:pt idx="10">
                  <c:v>0.5434374299205207</c:v>
                </c:pt>
                <c:pt idx="11">
                  <c:v>0.5779452821854654</c:v>
                </c:pt>
                <c:pt idx="12">
                  <c:v>0.5572203176763473</c:v>
                </c:pt>
                <c:pt idx="13">
                  <c:v>0.5476496296645945</c:v>
                </c:pt>
                <c:pt idx="14">
                  <c:v>0.5365116480678894</c:v>
                </c:pt>
                <c:pt idx="15">
                  <c:v>0.5328762493152936</c:v>
                </c:pt>
                <c:pt idx="16">
                  <c:v>0.5259808760568079</c:v>
                </c:pt>
                <c:pt idx="17">
                  <c:v>0.5309496980779914</c:v>
                </c:pt>
                <c:pt idx="18">
                  <c:v>0.5344331180130127</c:v>
                </c:pt>
                <c:pt idx="19">
                  <c:v>0.5607268327461625</c:v>
                </c:pt>
                <c:pt idx="20">
                  <c:v>0.566740068085249</c:v>
                </c:pt>
                <c:pt idx="21">
                  <c:v>0.5795287423647735</c:v>
                </c:pt>
                <c:pt idx="22">
                  <c:v>0.575116673475004</c:v>
                </c:pt>
                <c:pt idx="23">
                  <c:v>0.5527774873500952</c:v>
                </c:pt>
                <c:pt idx="24">
                  <c:v>0.5235648362681788</c:v>
                </c:pt>
                <c:pt idx="25">
                  <c:v>0.5293690285608041</c:v>
                </c:pt>
                <c:pt idx="26">
                  <c:v>0.5119621292368981</c:v>
                </c:pt>
                <c:pt idx="27">
                  <c:v>0.5205370961732719</c:v>
                </c:pt>
                <c:pt idx="28">
                  <c:v>0.5558366304130067</c:v>
                </c:pt>
                <c:pt idx="29">
                  <c:v>0.5542115669144934</c:v>
                </c:pt>
                <c:pt idx="30">
                  <c:v>0.549492493114845</c:v>
                </c:pt>
                <c:pt idx="31">
                  <c:v>0.5427074312015762</c:v>
                </c:pt>
                <c:pt idx="32">
                  <c:v>0.5537933525152667</c:v>
                </c:pt>
                <c:pt idx="33">
                  <c:v>0.5480412846588081</c:v>
                </c:pt>
                <c:pt idx="34">
                  <c:v>0.5395168704063722</c:v>
                </c:pt>
                <c:pt idx="35">
                  <c:v>0.5236378746319645</c:v>
                </c:pt>
                <c:pt idx="36">
                  <c:v>0.5350973597509467</c:v>
                </c:pt>
                <c:pt idx="37">
                  <c:v>0.5037828268667508</c:v>
                </c:pt>
                <c:pt idx="38">
                  <c:v>0.5245747031136191</c:v>
                </c:pt>
                <c:pt idx="39">
                  <c:v>0.5090968249233753</c:v>
                </c:pt>
                <c:pt idx="40">
                  <c:v>0.500376711480137</c:v>
                </c:pt>
                <c:pt idx="41">
                  <c:v>0.4787584784797118</c:v>
                </c:pt>
                <c:pt idx="42">
                  <c:v>0.48373548002780165</c:v>
                </c:pt>
                <c:pt idx="43">
                  <c:v>0.48050360460257746</c:v>
                </c:pt>
                <c:pt idx="44">
                  <c:v>0.5306211377089718</c:v>
                </c:pt>
                <c:pt idx="45">
                  <c:v>0.513977885432342</c:v>
                </c:pt>
                <c:pt idx="46">
                  <c:v>0.5168611847050586</c:v>
                </c:pt>
                <c:pt idx="47">
                  <c:v>0.5234085271128305</c:v>
                </c:pt>
                <c:pt idx="48">
                  <c:v>0.5354781407858615</c:v>
                </c:pt>
                <c:pt idx="49">
                  <c:v>0.5423956468818583</c:v>
                </c:pt>
                <c:pt idx="50">
                  <c:v>0.5654122902940553</c:v>
                </c:pt>
                <c:pt idx="51">
                  <c:v>0.5682291910542393</c:v>
                </c:pt>
                <c:pt idx="52">
                  <c:v>0.6291355719744458</c:v>
                </c:pt>
                <c:pt idx="53">
                  <c:v>0.6952319130195098</c:v>
                </c:pt>
                <c:pt idx="54">
                  <c:v>0.56420377166525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54.0"/>
          <c:min val="49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668571428571429"/>
          <c:min val="0.27588591184096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4.6054872340425534</c:v>
                </c:pt>
                <c:pt idx="2">
                  <c:v>0.0</c:v>
                </c:pt>
                <c:pt idx="3">
                  <c:v>0.0</c:v>
                </c:pt>
                <c:pt idx="4">
                  <c:v>0.0</c:v>
                </c:pt>
                <c:pt idx="5">
                  <c:v>4.664661881188119</c:v>
                </c:pt>
                <c:pt idx="6">
                  <c:v>0.0</c:v>
                </c:pt>
                <c:pt idx="7">
                  <c:v>1.6022686507936508</c:v>
                </c:pt>
                <c:pt idx="8">
                  <c:v>10.201604000000001</c:v>
                </c:pt>
                <c:pt idx="9">
                  <c:v>0.0</c:v>
                </c:pt>
                <c:pt idx="10">
                  <c:v>0.0</c:v>
                </c:pt>
                <c:pt idx="11">
                  <c:v>0.0</c:v>
                </c:pt>
                <c:pt idx="12">
                  <c:v>1.0365014052838672</c:v>
                </c:pt>
                <c:pt idx="13">
                  <c:v>5.387311797752809</c:v>
                </c:pt>
                <c:pt idx="14">
                  <c:v>20.120782</c:v>
                </c:pt>
                <c:pt idx="15">
                  <c:v>1.1736915640147694</c:v>
                </c:pt>
                <c:pt idx="16">
                  <c:v>0.0</c:v>
                </c:pt>
                <c:pt idx="17">
                  <c:v>0.0</c:v>
                </c:pt>
                <c:pt idx="18">
                  <c:v>0.0</c:v>
                </c:pt>
                <c:pt idx="19">
                  <c:v>0.0</c:v>
                </c:pt>
                <c:pt idx="20">
                  <c:v>1.018239460370995</c:v>
                </c:pt>
                <c:pt idx="21">
                  <c:v>0.0</c:v>
                </c:pt>
                <c:pt idx="22">
                  <c:v>0.0</c:v>
                </c:pt>
                <c:pt idx="23">
                  <c:v>0.0</c:v>
                </c:pt>
                <c:pt idx="24">
                  <c:v>1.2962934232715009</c:v>
                </c:pt>
                <c:pt idx="25">
                  <c:v>1.167145137717819</c:v>
                </c:pt>
                <c:pt idx="26">
                  <c:v>3.9022046875</c:v>
                </c:pt>
                <c:pt idx="27">
                  <c:v>0.0</c:v>
                </c:pt>
                <c:pt idx="28">
                  <c:v>1.1528195759225393</c:v>
                </c:pt>
                <c:pt idx="29">
                  <c:v>1.0472395727937043</c:v>
                </c:pt>
                <c:pt idx="30">
                  <c:v>1.1177353761077864</c:v>
                </c:pt>
                <c:pt idx="31">
                  <c:v>0.0</c:v>
                </c:pt>
                <c:pt idx="32">
                  <c:v>98.96153000000001</c:v>
                </c:pt>
                <c:pt idx="33">
                  <c:v>0.0</c:v>
                </c:pt>
                <c:pt idx="34">
                  <c:v>15.343964556962025</c:v>
                </c:pt>
                <c:pt idx="35">
                  <c:v>116.20926</c:v>
                </c:pt>
                <c:pt idx="36">
                  <c:v>40.636282431143336</c:v>
                </c:pt>
                <c:pt idx="37">
                  <c:v>2.1327804617968034</c:v>
                </c:pt>
                <c:pt idx="38">
                  <c:v>1.3032174962930698</c:v>
                </c:pt>
                <c:pt idx="39">
                  <c:v>1.3373408686906934</c:v>
                </c:pt>
                <c:pt idx="40">
                  <c:v>1.6356521127938677</c:v>
                </c:pt>
                <c:pt idx="41">
                  <c:v>1.5710625626112658</c:v>
                </c:pt>
                <c:pt idx="42">
                  <c:v>1.2501588634959853</c:v>
                </c:pt>
                <c:pt idx="43">
                  <c:v>1.338540704138357</c:v>
                </c:pt>
                <c:pt idx="44">
                  <c:v>1.3379844348363188</c:v>
                </c:pt>
                <c:pt idx="45">
                  <c:v>1.283817788758493</c:v>
                </c:pt>
                <c:pt idx="46">
                  <c:v>1.3433730600311216</c:v>
                </c:pt>
                <c:pt idx="47">
                  <c:v>0.0</c:v>
                </c:pt>
                <c:pt idx="48">
                  <c:v>0.0</c:v>
                </c:pt>
                <c:pt idx="49">
                  <c:v>0.0</c:v>
                </c:pt>
                <c:pt idx="50">
                  <c:v>0.0</c:v>
                </c:pt>
                <c:pt idx="51">
                  <c:v>0.0</c:v>
                </c:pt>
                <c:pt idx="52">
                  <c:v>0.0</c:v>
                </c:pt>
                <c:pt idx="53">
                  <c:v>0.0</c:v>
                </c:pt>
              </c:numCache>
            </c:numRef>
          </c:xVal>
          <c:yVal>
            <c:numRef>
              <c:f>Sheet1!$B$2:$B$55</c:f>
              <c:numCache>
                <c:formatCode>General</c:formatCode>
                <c:ptCount val="54"/>
                <c:pt idx="0">
                  <c:v>0.7477628635346756</c:v>
                </c:pt>
                <c:pt idx="1">
                  <c:v>0.7167684358853922</c:v>
                </c:pt>
                <c:pt idx="2">
                  <c:v>0.6016161616161616</c:v>
                </c:pt>
                <c:pt idx="3">
                  <c:v>0.5613295880149812</c:v>
                </c:pt>
                <c:pt idx="4">
                  <c:v>0.4391727493917275</c:v>
                </c:pt>
                <c:pt idx="5">
                  <c:v>0.3745427944403804</c:v>
                </c:pt>
                <c:pt idx="6">
                  <c:v>0.37393767705382436</c:v>
                </c:pt>
                <c:pt idx="7">
                  <c:v>0.6287042417199302</c:v>
                </c:pt>
                <c:pt idx="8">
                  <c:v>0.6635044642857143</c:v>
                </c:pt>
                <c:pt idx="9">
                  <c:v>0.6827033218785796</c:v>
                </c:pt>
                <c:pt idx="10">
                  <c:v>0.7683881064162754</c:v>
                </c:pt>
                <c:pt idx="11">
                  <c:v>0.770949720670391</c:v>
                </c:pt>
                <c:pt idx="12">
                  <c:v>0.7401263823064771</c:v>
                </c:pt>
                <c:pt idx="13">
                  <c:v>0.5820170109356014</c:v>
                </c:pt>
                <c:pt idx="14">
                  <c:v>0.6005639097744361</c:v>
                </c:pt>
                <c:pt idx="15">
                  <c:v>0.5565302144249513</c:v>
                </c:pt>
                <c:pt idx="16">
                  <c:v>0.6269230769230769</c:v>
                </c:pt>
                <c:pt idx="17">
                  <c:v>0.6493506493506493</c:v>
                </c:pt>
                <c:pt idx="18">
                  <c:v>0.5409429280397022</c:v>
                </c:pt>
                <c:pt idx="19">
                  <c:v>0.5248618784530387</c:v>
                </c:pt>
                <c:pt idx="20">
                  <c:v>0.4967741935483871</c:v>
                </c:pt>
                <c:pt idx="21">
                  <c:v>0.47670492910195816</c:v>
                </c:pt>
                <c:pt idx="22">
                  <c:v>0.5784190715181933</c:v>
                </c:pt>
                <c:pt idx="23">
                  <c:v>0.6409214092140921</c:v>
                </c:pt>
                <c:pt idx="24">
                  <c:v>0.51875</c:v>
                </c:pt>
                <c:pt idx="25">
                  <c:v>0.6189821182943603</c:v>
                </c:pt>
                <c:pt idx="26">
                  <c:v>0.6272838002436053</c:v>
                </c:pt>
                <c:pt idx="27">
                  <c:v>0.6074436294485194</c:v>
                </c:pt>
                <c:pt idx="28">
                  <c:v>0.6360913515537252</c:v>
                </c:pt>
                <c:pt idx="29">
                  <c:v>0.5873458018304815</c:v>
                </c:pt>
                <c:pt idx="30">
                  <c:v>0.5740601503759398</c:v>
                </c:pt>
                <c:pt idx="31">
                  <c:v>0.5493939393939394</c:v>
                </c:pt>
                <c:pt idx="32">
                  <c:v>0.5830479452054794</c:v>
                </c:pt>
                <c:pt idx="33">
                  <c:v>0.5796752856283824</c:v>
                </c:pt>
                <c:pt idx="34">
                  <c:v>0.48070412999322953</c:v>
                </c:pt>
                <c:pt idx="35">
                  <c:v>0.44936708860759494</c:v>
                </c:pt>
                <c:pt idx="36">
                  <c:v>0.3627858627858628</c:v>
                </c:pt>
                <c:pt idx="37">
                  <c:v>0.44254937163375224</c:v>
                </c:pt>
                <c:pt idx="38">
                  <c:v>0.48845208845208843</c:v>
                </c:pt>
                <c:pt idx="39">
                  <c:v>0.5218360071301248</c:v>
                </c:pt>
                <c:pt idx="40">
                  <c:v>0.543447792571829</c:v>
                </c:pt>
                <c:pt idx="41">
                  <c:v>0.5894245723172629</c:v>
                </c:pt>
                <c:pt idx="42">
                  <c:v>0.6122696902206924</c:v>
                </c:pt>
                <c:pt idx="43">
                  <c:v>0.552901023890785</c:v>
                </c:pt>
                <c:pt idx="44">
                  <c:v>0.5050774986638161</c:v>
                </c:pt>
                <c:pt idx="45">
                  <c:v>0.4964221824686941</c:v>
                </c:pt>
                <c:pt idx="46">
                  <c:v>0.4683421942967617</c:v>
                </c:pt>
                <c:pt idx="47">
                  <c:v>0.5731424148606811</c:v>
                </c:pt>
                <c:pt idx="48">
                  <c:v>0.570958904109589</c:v>
                </c:pt>
                <c:pt idx="49">
                  <c:v>0.6227164416203336</c:v>
                </c:pt>
                <c:pt idx="50">
                  <c:v>0.5021994134897361</c:v>
                </c:pt>
                <c:pt idx="51">
                  <c:v>0.5973724884080371</c:v>
                </c:pt>
                <c:pt idx="52">
                  <c:v>0.5274043433298863</c:v>
                </c:pt>
                <c:pt idx="53">
                  <c:v>0.5058922558922558</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64</c:f>
              <c:numCache>
                <c:formatCode>General</c:formatCode>
                <c:ptCount val="7"/>
                <c:pt idx="0">
                  <c:v>1.4187287612680644</c:v>
                </c:pt>
                <c:pt idx="1">
                  <c:v>1.4516330604746561</c:v>
                </c:pt>
                <c:pt idx="2">
                  <c:v>1.4139339503373385</c:v>
                </c:pt>
                <c:pt idx="3">
                  <c:v>4.705995510204082</c:v>
                </c:pt>
                <c:pt idx="4">
                  <c:v>11.692876623376623</c:v>
                </c:pt>
                <c:pt idx="5">
                  <c:v>1.9197289887443612</c:v>
                </c:pt>
                <c:pt idx="6">
                  <c:v>15.57430985915493</c:v>
                </c:pt>
              </c:numCache>
            </c:numRef>
          </c:xVal>
          <c:yVal>
            <c:numRef>
              <c:f>Sheet1!$B$58:$B$64</c:f>
              <c:numCache>
                <c:formatCode>General</c:formatCode>
                <c:ptCount val="7"/>
                <c:pt idx="0">
                  <c:v>0.48958742632612967</c:v>
                </c:pt>
                <c:pt idx="1">
                  <c:v>0.4875791524598149</c:v>
                </c:pt>
                <c:pt idx="2">
                  <c:v>0.519578947368421</c:v>
                </c:pt>
                <c:pt idx="3">
                  <c:v>0.44204322200392926</c:v>
                </c:pt>
                <c:pt idx="4">
                  <c:v>0.555921052631579</c:v>
                </c:pt>
                <c:pt idx="5">
                  <c:v>0.49352051835853133</c:v>
                </c:pt>
                <c:pt idx="6">
                  <c:v>0.6038300418910831</c:v>
                </c:pt>
              </c:numCache>
            </c:numRef>
          </c:yVal>
          <c:smooth val="0"/>
          <c:extLst>
            <c:ext xmlns:c16="http://schemas.microsoft.com/office/drawing/2014/chart" uri="{C3380CC4-5D6E-409C-BE32-E72D297353CC}">
              <c16:uniqueId val="{00000002-096C-4121-9522-6AB7243CCAAE}"/>
            </c:ext>
          </c:extLst>
        </c:ser>
        <c:ser>
          <c:idx val="2"/>
          <c:order val="2"/>
          <c:tx>
            <c:strRef>
              <c:f>Sheet1!$B$6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67:$A$68</c:f>
              <c:numCache>
                <c:formatCode>General</c:formatCode>
                <c:ptCount val="2"/>
                <c:pt idx="0">
                  <c:v>0</c:v>
                </c:pt>
                <c:pt idx="1">
                  <c:v>28.311287158495354</c:v>
                </c:pt>
              </c:numCache>
            </c:numRef>
          </c:xVal>
          <c:yVal>
            <c:numRef>
              <c:f>Sheet1!$B$67:$B$68</c:f>
              <c:numCache>
                <c:formatCode>General</c:formatCode>
                <c:ptCount val="2"/>
                <c:pt idx="0">
                  <c:v>0.6796196447484256</c:v>
                </c:pt>
                <c:pt idx="1">
                  <c:v>0.6796196447484256</c:v>
                </c:pt>
              </c:numCache>
            </c:numRef>
          </c:yVal>
          <c:smooth val="0"/>
          <c:extLst>
            <c:ext xmlns:c16="http://schemas.microsoft.com/office/drawing/2014/chart" uri="{C3380CC4-5D6E-409C-BE32-E72D297353CC}">
              <c16:uniqueId val="{00000005-096C-4121-9522-6AB7243CCAAE}"/>
            </c:ext>
          </c:extLst>
        </c:ser>
        <c:ser>
          <c:idx val="3"/>
          <c:order val="3"/>
          <c:tx>
            <c:strRef>
              <c:f>Sheet1!$B$7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1:$A$72</c:f>
              <c:numCache>
                <c:formatCode>General</c:formatCode>
                <c:ptCount val="2"/>
                <c:pt idx="0">
                  <c:v>28.311287158495354</c:v>
                </c:pt>
                <c:pt idx="1">
                  <c:v>28.311287158495354</c:v>
                </c:pt>
              </c:numCache>
            </c:numRef>
          </c:xVal>
          <c:yVal>
            <c:numRef>
              <c:f>Sheet1!$B$71:$B$72</c:f>
              <c:numCache>
                <c:formatCode>General</c:formatCode>
                <c:ptCount val="2"/>
                <c:pt idx="0">
                  <c:v>0.67961964474842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7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75:$A$76</c:f>
              <c:numCache>
                <c:formatCode>General</c:formatCode>
                <c:ptCount val="2"/>
                <c:pt idx="0">
                  <c:v>0</c:v>
                </c:pt>
                <c:pt idx="1">
                  <c:v>11.92486504607011</c:v>
                </c:pt>
              </c:numCache>
            </c:numRef>
          </c:xVal>
          <c:yVal>
            <c:numRef>
              <c:f>Sheet1!$B$75:$B$76</c:f>
              <c:numCache>
                <c:formatCode>General</c:formatCode>
                <c:ptCount val="2"/>
                <c:pt idx="0">
                  <c:v>0.5602789692472162</c:v>
                </c:pt>
                <c:pt idx="1">
                  <c:v>0.5602789692472162</c:v>
                </c:pt>
              </c:numCache>
            </c:numRef>
          </c:yVal>
          <c:smooth val="0"/>
          <c:extLst>
            <c:ext xmlns:c16="http://schemas.microsoft.com/office/drawing/2014/chart" uri="{C3380CC4-5D6E-409C-BE32-E72D297353CC}">
              <c16:uniqueId val="{0000000D-096C-4121-9522-6AB7243CCAAE}"/>
            </c:ext>
          </c:extLst>
        </c:ser>
        <c:ser>
          <c:idx val="5"/>
          <c:order val="5"/>
          <c:tx>
            <c:strRef>
              <c:f>Sheet1!$B$7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9:$A$80</c:f>
              <c:numCache>
                <c:formatCode>General</c:formatCode>
                <c:ptCount val="2"/>
                <c:pt idx="0">
                  <c:v>11.92486504607011</c:v>
                </c:pt>
                <c:pt idx="1">
                  <c:v>11.92486504607011</c:v>
                </c:pt>
              </c:numCache>
            </c:numRef>
          </c:xVal>
          <c:yVal>
            <c:numRef>
              <c:f>Sheet1!$B$79:$B$80</c:f>
              <c:numCache>
                <c:formatCode>General</c:formatCode>
                <c:ptCount val="2"/>
                <c:pt idx="0">
                  <c:v>0.56027896924721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82</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83:$A$84</c:f>
              <c:numCache>
                <c:formatCode>General</c:formatCode>
                <c:ptCount val="2"/>
                <c:pt idx="0">
                  <c:v>0</c:v>
                </c:pt>
                <c:pt idx="1">
                  <c:v>4.457137562553189</c:v>
                </c:pt>
              </c:numCache>
            </c:numRef>
          </c:xVal>
          <c:yVal>
            <c:numRef>
              <c:f>Sheet1!$B$83:$B$84</c:f>
              <c:numCache>
                <c:formatCode>General</c:formatCode>
                <c:ptCount val="2"/>
                <c:pt idx="0">
                  <c:v>0.5058922558922558</c:v>
                </c:pt>
                <c:pt idx="1">
                  <c:v>0.5058922558922558</c:v>
                </c:pt>
              </c:numCache>
            </c:numRef>
          </c:yVal>
          <c:smooth val="0"/>
          <c:extLst>
            <c:ext xmlns:c16="http://schemas.microsoft.com/office/drawing/2014/chart" uri="{C3380CC4-5D6E-409C-BE32-E72D297353CC}">
              <c16:uniqueId val="{00000015-096C-4121-9522-6AB7243CCAAE}"/>
            </c:ext>
          </c:extLst>
        </c:ser>
        <c:ser>
          <c:idx val="7"/>
          <c:order val="7"/>
          <c:tx>
            <c:strRef>
              <c:f>Sheet1!$B$86</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7:$A$88</c:f>
              <c:numCache>
                <c:formatCode>General</c:formatCode>
                <c:ptCount val="2"/>
                <c:pt idx="0">
                  <c:v>4.457137562553189</c:v>
                </c:pt>
                <c:pt idx="1">
                  <c:v>4.457137562553189</c:v>
                </c:pt>
              </c:numCache>
            </c:numRef>
          </c:xVal>
          <c:yVal>
            <c:numRef>
              <c:f>Sheet1!$B$87:$B$88</c:f>
              <c:numCache>
                <c:formatCode>General</c:formatCode>
                <c:ptCount val="2"/>
                <c:pt idx="0">
                  <c:v>0.505892255892255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90</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91:$A$100</c:f>
              <c:numCache>
                <c:formatCode>General</c:formatCode>
                <c:ptCount val="10"/>
                <c:pt idx="0">
                  <c:v>1.4187287612680644</c:v>
                </c:pt>
                <c:pt idx="1">
                  <c:v>1.4516330604746561</c:v>
                </c:pt>
                <c:pt idx="2">
                  <c:v>1.4139339503373385</c:v>
                </c:pt>
                <c:pt idx="3">
                  <c:v>4.705995510204082</c:v>
                </c:pt>
                <c:pt idx="4">
                  <c:v>11.692876623376623</c:v>
                </c:pt>
                <c:pt idx="5">
                  <c:v>1.9197289887443612</c:v>
                </c:pt>
                <c:pt idx="6">
                  <c:v>15.57430985915493</c:v>
                </c:pt>
                <c:pt idx="7">
                  <c:v>11.92486504607011</c:v>
                </c:pt>
                <c:pt idx="8">
                  <c:v>28.311287158495354</c:v>
                </c:pt>
                <c:pt idx="9">
                  <c:v>4.457137562553189</c:v>
                </c:pt>
              </c:numCache>
            </c:numRef>
          </c:xVal>
          <c:yVal>
            <c:numRef>
              <c:f>Sheet1!$B$91:$B$100</c:f>
              <c:numCache>
                <c:formatCode>General</c:formatCode>
                <c:ptCount val="10"/>
                <c:pt idx="0">
                  <c:v>0.4837638280813284</c:v>
                </c:pt>
                <c:pt idx="1">
                  <c:v>0.4840034668058326</c:v>
                </c:pt>
                <c:pt idx="2">
                  <c:v>0.4837289079522455</c:v>
                </c:pt>
                <c:pt idx="3">
                  <c:v>0.5077046634680367</c:v>
                </c:pt>
                <c:pt idx="4">
                  <c:v>0.5585894207367023</c:v>
                </c:pt>
                <c:pt idx="5">
                  <c:v>0.48741256269606437</c:v>
                </c:pt>
                <c:pt idx="6">
                  <c:v>0.5868575112992779</c:v>
                </c:pt>
                <c:pt idx="7">
                  <c:v>0.5602789692472162</c:v>
                </c:pt>
                <c:pt idx="8">
                  <c:v>0.6796196447484256</c:v>
                </c:pt>
                <c:pt idx="9">
                  <c:v>0.505892255892255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3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opperto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51396648044692"/>
          <c:min val="0.2902286902286902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8</c:f>
              <c:numCache>
                <c:formatCode>General</c:formatCode>
                <c:ptCount val="47"/>
                <c:pt idx="0">
                  <c:v>724.2117</c:v>
                </c:pt>
                <c:pt idx="1">
                  <c:v>865.8316</c:v>
                </c:pt>
                <c:pt idx="2">
                  <c:v>892.7576</c:v>
                </c:pt>
                <c:pt idx="3">
                  <c:v>912.5655</c:v>
                </c:pt>
                <c:pt idx="4">
                  <c:v>893.8947</c:v>
                </c:pt>
                <c:pt idx="5">
                  <c:v>942.2617</c:v>
                </c:pt>
                <c:pt idx="6">
                  <c:v>928.9268</c:v>
                </c:pt>
                <c:pt idx="7">
                  <c:v>807.5434</c:v>
                </c:pt>
                <c:pt idx="8">
                  <c:v>765.1203</c:v>
                </c:pt>
                <c:pt idx="9">
                  <c:v>789.5252</c:v>
                </c:pt>
                <c:pt idx="10">
                  <c:v>807.1881</c:v>
                </c:pt>
                <c:pt idx="11">
                  <c:v>911.548</c:v>
                </c:pt>
                <c:pt idx="12">
                  <c:v>921.968</c:v>
                </c:pt>
                <c:pt idx="13">
                  <c:v>958.9415</c:v>
                </c:pt>
                <c:pt idx="14">
                  <c:v>1006.0391</c:v>
                </c:pt>
                <c:pt idx="15">
                  <c:v>966.4816</c:v>
                </c:pt>
                <c:pt idx="16">
                  <c:v>958.1125</c:v>
                </c:pt>
                <c:pt idx="17">
                  <c:v>981.42</c:v>
                </c:pt>
                <c:pt idx="18">
                  <c:v>1002.7271</c:v>
                </c:pt>
                <c:pt idx="19">
                  <c:v>886.3516</c:v>
                </c:pt>
                <c:pt idx="20">
                  <c:v>905.724</c:v>
                </c:pt>
                <c:pt idx="21">
                  <c:v>887.3612</c:v>
                </c:pt>
                <c:pt idx="22">
                  <c:v>1071.5141</c:v>
                </c:pt>
                <c:pt idx="23">
                  <c:v>1067.8076</c:v>
                </c:pt>
                <c:pt idx="24">
                  <c:v>1153.053</c:v>
                </c:pt>
                <c:pt idx="25">
                  <c:v>1038.1756</c:v>
                </c:pt>
                <c:pt idx="26">
                  <c:v>998.9644</c:v>
                </c:pt>
                <c:pt idx="27">
                  <c:v>953.5572</c:v>
                </c:pt>
                <c:pt idx="28">
                  <c:v>933.2599</c:v>
                </c:pt>
                <c:pt idx="29">
                  <c:v>931.5196</c:v>
                </c:pt>
                <c:pt idx="30">
                  <c:v>925.8913</c:v>
                </c:pt>
                <c:pt idx="31">
                  <c:v>1082.513</c:v>
                </c:pt>
                <c:pt idx="32">
                  <c:v>989.6153</c:v>
                </c:pt>
                <c:pt idx="33">
                  <c:v>1081.6992</c:v>
                </c:pt>
                <c:pt idx="34">
                  <c:v>1212.1732</c:v>
                </c:pt>
                <c:pt idx="35">
                  <c:v>1162.0926</c:v>
                </c:pt>
                <c:pt idx="36">
                  <c:v>1205.5444</c:v>
                </c:pt>
                <c:pt idx="37">
                  <c:v>1198.4665</c:v>
                </c:pt>
                <c:pt idx="38">
                  <c:v>1060.9276</c:v>
                </c:pt>
                <c:pt idx="39">
                  <c:v>1088.5397</c:v>
                </c:pt>
                <c:pt idx="40">
                  <c:v>1077.4487</c:v>
                </c:pt>
                <c:pt idx="41">
                  <c:v>1034.9018</c:v>
                </c:pt>
                <c:pt idx="42">
                  <c:v>1012.0036</c:v>
                </c:pt>
                <c:pt idx="43">
                  <c:v>1083.5487</c:v>
                </c:pt>
                <c:pt idx="44">
                  <c:v>1083.0984</c:v>
                </c:pt>
                <c:pt idx="45">
                  <c:v>1039.2505</c:v>
                </c:pt>
                <c:pt idx="46">
                  <c:v>1090.9628</c:v>
                </c:pt>
              </c:numCache>
            </c:numRef>
          </c:xVal>
          <c:yVal>
            <c:numRef>
              <c:f>Sheet1!$B$2:$B$48</c:f>
              <c:numCache>
                <c:formatCode>General</c:formatCode>
                <c:ptCount val="47"/>
                <c:pt idx="0">
                  <c:v>0.7477628635346756</c:v>
                </c:pt>
                <c:pt idx="1">
                  <c:v>0.7167684358853922</c:v>
                </c:pt>
                <c:pt idx="2">
                  <c:v>0.6016161616161616</c:v>
                </c:pt>
                <c:pt idx="3">
                  <c:v>0.5613295880149812</c:v>
                </c:pt>
                <c:pt idx="4">
                  <c:v>0.4391727493917275</c:v>
                </c:pt>
                <c:pt idx="5">
                  <c:v>0.3745427944403804</c:v>
                </c:pt>
                <c:pt idx="6">
                  <c:v>0.37393767705382436</c:v>
                </c:pt>
                <c:pt idx="7">
                  <c:v>0.6287042417199302</c:v>
                </c:pt>
                <c:pt idx="8">
                  <c:v>0.6635044642857143</c:v>
                </c:pt>
                <c:pt idx="9">
                  <c:v>0.6827033218785796</c:v>
                </c:pt>
                <c:pt idx="10">
                  <c:v>0.7683881064162754</c:v>
                </c:pt>
                <c:pt idx="11">
                  <c:v>0.770949720670391</c:v>
                </c:pt>
                <c:pt idx="12">
                  <c:v>0.7401263823064771</c:v>
                </c:pt>
                <c:pt idx="13">
                  <c:v>0.5820170109356014</c:v>
                </c:pt>
                <c:pt idx="14">
                  <c:v>0.6005639097744361</c:v>
                </c:pt>
                <c:pt idx="15">
                  <c:v>0.5565302144249513</c:v>
                </c:pt>
                <c:pt idx="16">
                  <c:v>0.6269230769230769</c:v>
                </c:pt>
                <c:pt idx="17">
                  <c:v>0.6493506493506493</c:v>
                </c:pt>
                <c:pt idx="18">
                  <c:v>0.5409429280397022</c:v>
                </c:pt>
                <c:pt idx="19">
                  <c:v>0.5248618784530387</c:v>
                </c:pt>
                <c:pt idx="20">
                  <c:v>0.4967741935483871</c:v>
                </c:pt>
                <c:pt idx="21">
                  <c:v>0.47670492910195816</c:v>
                </c:pt>
                <c:pt idx="22">
                  <c:v>0.5784190715181933</c:v>
                </c:pt>
                <c:pt idx="23">
                  <c:v>0.6409214092140921</c:v>
                </c:pt>
                <c:pt idx="24">
                  <c:v>0.51875</c:v>
                </c:pt>
                <c:pt idx="25">
                  <c:v>0.6189821182943603</c:v>
                </c:pt>
                <c:pt idx="26">
                  <c:v>0.6272838002436053</c:v>
                </c:pt>
                <c:pt idx="27">
                  <c:v>0.6074436294485194</c:v>
                </c:pt>
                <c:pt idx="28">
                  <c:v>0.6360913515537252</c:v>
                </c:pt>
                <c:pt idx="29">
                  <c:v>0.5873458018304815</c:v>
                </c:pt>
                <c:pt idx="30">
                  <c:v>0.5740601503759398</c:v>
                </c:pt>
                <c:pt idx="31">
                  <c:v>0.5493939393939394</c:v>
                </c:pt>
                <c:pt idx="32">
                  <c:v>0.5830479452054794</c:v>
                </c:pt>
                <c:pt idx="33">
                  <c:v>0.5796752856283824</c:v>
                </c:pt>
                <c:pt idx="34">
                  <c:v>0.48070412999322953</c:v>
                </c:pt>
                <c:pt idx="35">
                  <c:v>0.44936708860759494</c:v>
                </c:pt>
                <c:pt idx="36">
                  <c:v>0.3627858627858628</c:v>
                </c:pt>
                <c:pt idx="37">
                  <c:v>0.44254937163375224</c:v>
                </c:pt>
                <c:pt idx="38">
                  <c:v>0.48845208845208843</c:v>
                </c:pt>
                <c:pt idx="39">
                  <c:v>0.5218360071301248</c:v>
                </c:pt>
                <c:pt idx="40">
                  <c:v>0.543447792571829</c:v>
                </c:pt>
                <c:pt idx="41">
                  <c:v>0.5894245723172629</c:v>
                </c:pt>
                <c:pt idx="42">
                  <c:v>0.6122696902206924</c:v>
                </c:pt>
                <c:pt idx="43">
                  <c:v>0.552901023890785</c:v>
                </c:pt>
                <c:pt idx="44">
                  <c:v>0.5050774986638161</c:v>
                </c:pt>
                <c:pt idx="45">
                  <c:v>0.4964221824686941</c:v>
                </c:pt>
                <c:pt idx="46">
                  <c:v>0.4683421942967617</c:v>
                </c:pt>
              </c:numCache>
            </c:numRef>
          </c:yVal>
          <c:smooth val="0"/>
          <c:extLst>
            <c:ext xmlns:c16="http://schemas.microsoft.com/office/drawing/2014/chart" uri="{C3380CC4-5D6E-409C-BE32-E72D297353CC}">
              <c16:uniqueId val="{00000000-F32D-48B7-BC20-E66FC6253BAD}"/>
            </c:ext>
          </c:extLst>
        </c:ser>
        <c:ser>
          <c:idx val="1"/>
          <c:order val="1"/>
          <c:tx>
            <c:strRef>
              <c:f>Sheet1!$B$50</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1:$A$64</c:f>
              <c:numCache>
                <c:formatCode>General</c:formatCode>
                <c:ptCount val="14"/>
                <c:pt idx="0">
                  <c:v>1152.1597</c:v>
                </c:pt>
                <c:pt idx="1">
                  <c:v>1179.6593</c:v>
                </c:pt>
                <c:pt idx="2">
                  <c:v>1148.2658</c:v>
                </c:pt>
                <c:pt idx="3">
                  <c:v>1152.9689</c:v>
                </c:pt>
                <c:pt idx="4">
                  <c:v>1048.056</c:v>
                </c:pt>
                <c:pt idx="5">
                  <c:v>1052.7169</c:v>
                </c:pt>
                <c:pt idx="6">
                  <c:v>985.9739</c:v>
                </c:pt>
                <c:pt idx="7">
                  <c:v>1080.4218</c:v>
                </c:pt>
                <c:pt idx="8">
                  <c:v>1020.9066</c:v>
                </c:pt>
                <c:pt idx="9">
                  <c:v>1095.8293</c:v>
                </c:pt>
                <c:pt idx="10">
                  <c:v>1105.776</c:v>
                </c:pt>
                <c:pt idx="11">
                  <c:v>1155.2794</c:v>
                </c:pt>
                <c:pt idx="12">
                  <c:v>1152.3588</c:v>
                </c:pt>
                <c:pt idx="13">
                  <c:v>1227.797</c:v>
                </c:pt>
              </c:numCache>
            </c:numRef>
          </c:xVal>
          <c:yVal>
            <c:numRef>
              <c:f>Sheet1!$B$51:$B$64</c:f>
              <c:numCache>
                <c:formatCode>General</c:formatCode>
                <c:ptCount val="14"/>
                <c:pt idx="0">
                  <c:v>0.48958742632612967</c:v>
                </c:pt>
                <c:pt idx="1">
                  <c:v>0.4875791524598149</c:v>
                </c:pt>
                <c:pt idx="2">
                  <c:v>0.519578947368421</c:v>
                </c:pt>
                <c:pt idx="3">
                  <c:v>0.44204322200392926</c:v>
                </c:pt>
                <c:pt idx="4">
                  <c:v>0.5731424148606811</c:v>
                </c:pt>
                <c:pt idx="5">
                  <c:v>0.570958904109589</c:v>
                </c:pt>
                <c:pt idx="6">
                  <c:v>0.6227164416203336</c:v>
                </c:pt>
                <c:pt idx="7">
                  <c:v>0.555921052631579</c:v>
                </c:pt>
                <c:pt idx="8">
                  <c:v>0.5021994134897361</c:v>
                </c:pt>
                <c:pt idx="9">
                  <c:v>0.49352051835853133</c:v>
                </c:pt>
                <c:pt idx="10">
                  <c:v>0.6038300418910831</c:v>
                </c:pt>
                <c:pt idx="11">
                  <c:v>0.5973724884080371</c:v>
                </c:pt>
                <c:pt idx="12">
                  <c:v>0.5274043433298863</c:v>
                </c:pt>
                <c:pt idx="13">
                  <c:v>0.5058922558922558</c:v>
                </c:pt>
              </c:numCache>
            </c:numRef>
          </c:yVal>
          <c:smooth val="0"/>
          <c:extLst>
            <c:ext xmlns:c16="http://schemas.microsoft.com/office/drawing/2014/chart" uri="{C3380CC4-5D6E-409C-BE32-E72D297353CC}">
              <c16:uniqueId val="{00000002-F32D-48B7-BC20-E66FC6253BAD}"/>
            </c:ext>
          </c:extLst>
        </c:ser>
        <c:ser>
          <c:idx val="2"/>
          <c:order val="2"/>
          <c:tx>
            <c:strRef>
              <c:f>Sheet1!$B$66</c:f>
              <c:strCache>
                <c:ptCount val="1"/>
                <c:pt idx="0">
                  <c:v>Custom Linep3yQ</c:v>
                </c:pt>
              </c:strCache>
            </c:strRef>
          </c:tx>
          <c:spPr>
            <a:ln w="19050" cap="rnd">
              <a:solidFill>
                <a:srgbClr val="C00000"/>
              </a:solidFill>
              <a:prstDash val="sysDot"/>
              <a:round/>
            </a:ln>
            <a:effectLst/>
          </c:spPr>
          <c:marker>
            <c:symbol val="none"/>
          </c:marker>
          <c:xVal>
            <c:numRef>
              <c:f>Sheet1!$A$67:$A$68</c:f>
              <c:numCache>
                <c:formatCode>General</c:formatCode>
                <c:ptCount val="2"/>
                <c:pt idx="0">
                  <c:v>0</c:v>
                </c:pt>
                <c:pt idx="1">
                  <c:v>746.4244403750841</c:v>
                </c:pt>
              </c:numCache>
            </c:numRef>
          </c:xVal>
          <c:yVal>
            <c:numRef>
              <c:f>Sheet1!$B$67:$B$68</c:f>
              <c:numCache>
                <c:formatCode>General</c:formatCode>
                <c:ptCount val="2"/>
                <c:pt idx="0">
                  <c:v>0.6796196447484256</c:v>
                </c:pt>
                <c:pt idx="1">
                  <c:v>0.6796196447484256</c:v>
                </c:pt>
              </c:numCache>
            </c:numRef>
          </c:yVal>
          <c:smooth val="0"/>
          <c:extLst>
            <c:ext xmlns:c16="http://schemas.microsoft.com/office/drawing/2014/chart" uri="{C3380CC4-5D6E-409C-BE32-E72D297353CC}">
              <c16:uniqueId val="{00000003-F32D-48B7-BC20-E66FC6253BAD}"/>
            </c:ext>
          </c:extLst>
        </c:ser>
        <c:ser>
          <c:idx val="3"/>
          <c:order val="3"/>
          <c:tx>
            <c:strRef>
              <c:f>Sheet1!$B$7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1:$A$72</c:f>
              <c:numCache>
                <c:formatCode>General</c:formatCode>
                <c:ptCount val="2"/>
                <c:pt idx="0">
                  <c:v>746.4244403750841</c:v>
                </c:pt>
                <c:pt idx="1">
                  <c:v>746.4244403750841</c:v>
                </c:pt>
              </c:numCache>
            </c:numRef>
          </c:xVal>
          <c:yVal>
            <c:numRef>
              <c:f>Sheet1!$B$71:$B$72</c:f>
              <c:numCache>
                <c:formatCode>General</c:formatCode>
                <c:ptCount val="2"/>
                <c:pt idx="0">
                  <c:v>0.67961964474842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7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75:$A$76</c:f>
              <c:numCache>
                <c:formatCode>General</c:formatCode>
                <c:ptCount val="2"/>
                <c:pt idx="0">
                  <c:v>0</c:v>
                </c:pt>
                <c:pt idx="1">
                  <c:v>1047.779291928487</c:v>
                </c:pt>
              </c:numCache>
            </c:numRef>
          </c:xVal>
          <c:yVal>
            <c:numRef>
              <c:f>Sheet1!$B$75:$B$76</c:f>
              <c:numCache>
                <c:formatCode>General</c:formatCode>
                <c:ptCount val="2"/>
                <c:pt idx="0">
                  <c:v>0.5602789692472162</c:v>
                </c:pt>
                <c:pt idx="1">
                  <c:v>0.5602789692472162</c:v>
                </c:pt>
              </c:numCache>
            </c:numRef>
          </c:yVal>
          <c:smooth val="0"/>
          <c:extLst>
            <c:ext xmlns:c16="http://schemas.microsoft.com/office/drawing/2014/chart" uri="{C3380CC4-5D6E-409C-BE32-E72D297353CC}">
              <c16:uniqueId val="{0000000A-F32D-48B7-BC20-E66FC6253BAD}"/>
            </c:ext>
          </c:extLst>
        </c:ser>
        <c:ser>
          <c:idx val="5"/>
          <c:order val="5"/>
          <c:tx>
            <c:strRef>
              <c:f>Sheet1!$B$7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9:$A$80</c:f>
              <c:numCache>
                <c:formatCode>General</c:formatCode>
                <c:ptCount val="2"/>
                <c:pt idx="0">
                  <c:v>1047.779291928487</c:v>
                </c:pt>
                <c:pt idx="1">
                  <c:v>1047.779291928487</c:v>
                </c:pt>
              </c:numCache>
            </c:numRef>
          </c:xVal>
          <c:yVal>
            <c:numRef>
              <c:f>Sheet1!$B$79:$B$80</c:f>
              <c:numCache>
                <c:formatCode>General</c:formatCode>
                <c:ptCount val="2"/>
                <c:pt idx="0">
                  <c:v>0.56027896924721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82</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83:$A$84</c:f>
              <c:numCache>
                <c:formatCode>General</c:formatCode>
                <c:ptCount val="2"/>
                <c:pt idx="0">
                  <c:v>0</c:v>
                </c:pt>
                <c:pt idx="1">
                  <c:v>1185.1146963136873</c:v>
                </c:pt>
              </c:numCache>
            </c:numRef>
          </c:xVal>
          <c:yVal>
            <c:numRef>
              <c:f>Sheet1!$B$83:$B$84</c:f>
              <c:numCache>
                <c:formatCode>General</c:formatCode>
                <c:ptCount val="2"/>
                <c:pt idx="0">
                  <c:v>0.5058922558922558</c:v>
                </c:pt>
                <c:pt idx="1">
                  <c:v>0.5058922558922558</c:v>
                </c:pt>
              </c:numCache>
            </c:numRef>
          </c:yVal>
          <c:smooth val="0"/>
          <c:extLst>
            <c:ext xmlns:c16="http://schemas.microsoft.com/office/drawing/2014/chart" uri="{C3380CC4-5D6E-409C-BE32-E72D297353CC}">
              <c16:uniqueId val="{00000011-F32D-48B7-BC20-E66FC6253BAD}"/>
            </c:ext>
          </c:extLst>
        </c:ser>
        <c:ser>
          <c:idx val="7"/>
          <c:order val="7"/>
          <c:tx>
            <c:strRef>
              <c:f>Sheet1!$B$86</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7:$A$88</c:f>
              <c:numCache>
                <c:formatCode>General</c:formatCode>
                <c:ptCount val="2"/>
                <c:pt idx="0">
                  <c:v>1185.1146963136873</c:v>
                </c:pt>
                <c:pt idx="1">
                  <c:v>1185.1146963136873</c:v>
                </c:pt>
              </c:numCache>
            </c:numRef>
          </c:xVal>
          <c:yVal>
            <c:numRef>
              <c:f>Sheet1!$B$87:$B$88</c:f>
              <c:numCache>
                <c:formatCode>General</c:formatCode>
                <c:ptCount val="2"/>
                <c:pt idx="0">
                  <c:v>0.505892255892255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90</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91:$A$107</c:f>
              <c:numCache>
                <c:formatCode>General</c:formatCode>
                <c:ptCount val="17"/>
                <c:pt idx="0">
                  <c:v>1152.1597</c:v>
                </c:pt>
                <c:pt idx="1">
                  <c:v>1179.6593</c:v>
                </c:pt>
                <c:pt idx="2">
                  <c:v>1148.2658</c:v>
                </c:pt>
                <c:pt idx="3">
                  <c:v>1152.9689</c:v>
                </c:pt>
                <c:pt idx="4">
                  <c:v>1048.056</c:v>
                </c:pt>
                <c:pt idx="5">
                  <c:v>1052.7169</c:v>
                </c:pt>
                <c:pt idx="6">
                  <c:v>985.9739</c:v>
                </c:pt>
                <c:pt idx="7">
                  <c:v>1080.4218</c:v>
                </c:pt>
                <c:pt idx="8">
                  <c:v>1020.9066</c:v>
                </c:pt>
                <c:pt idx="9">
                  <c:v>1095.8293</c:v>
                </c:pt>
                <c:pt idx="10">
                  <c:v>1105.776</c:v>
                </c:pt>
                <c:pt idx="11">
                  <c:v>1155.2794</c:v>
                </c:pt>
                <c:pt idx="12">
                  <c:v>1152.3588</c:v>
                </c:pt>
                <c:pt idx="13">
                  <c:v>1227.797</c:v>
                </c:pt>
                <c:pt idx="14">
                  <c:v>1047.779291928487</c:v>
                </c:pt>
                <c:pt idx="15">
                  <c:v>746.4244403750841</c:v>
                </c:pt>
                <c:pt idx="16">
                  <c:v>1185.1146963136873</c:v>
                </c:pt>
              </c:numCache>
            </c:numRef>
          </c:xVal>
          <c:yVal>
            <c:numRef>
              <c:f>Sheet1!$B$91:$B$107</c:f>
              <c:numCache>
                <c:formatCode>General</c:formatCode>
                <c:ptCount val="17"/>
                <c:pt idx="0">
                  <c:v>0.5189428887290675</c:v>
                </c:pt>
                <c:pt idx="1">
                  <c:v>0.5080526680370953</c:v>
                </c:pt>
                <c:pt idx="2">
                  <c:v>0.520484926807893</c:v>
                </c:pt>
                <c:pt idx="3">
                  <c:v>0.5186224343739516</c:v>
                </c:pt>
                <c:pt idx="4">
                  <c:v>0.5601693890363759</c:v>
                </c:pt>
                <c:pt idx="5">
                  <c:v>0.5583236083841768</c:v>
                </c:pt>
                <c:pt idx="6">
                  <c:v>0.5847547564606688</c:v>
                </c:pt>
                <c:pt idx="7">
                  <c:v>0.5473520860620695</c:v>
                </c:pt>
                <c:pt idx="8">
                  <c:v>0.5709209257007137</c:v>
                </c:pt>
                <c:pt idx="9">
                  <c:v>0.5412505036640871</c:v>
                </c:pt>
                <c:pt idx="10">
                  <c:v>0.5373114733452156</c:v>
                </c:pt>
                <c:pt idx="11">
                  <c:v>0.5177074445228701</c:v>
                </c:pt>
                <c:pt idx="12">
                  <c:v>0.5188640423844016</c:v>
                </c:pt>
                <c:pt idx="13">
                  <c:v>0.48898947524142017</c:v>
                </c:pt>
                <c:pt idx="14">
                  <c:v>0.5602789692472162</c:v>
                </c:pt>
                <c:pt idx="15">
                  <c:v>0.6796196447484256</c:v>
                </c:pt>
                <c:pt idx="16">
                  <c:v>0.505892255892255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73.0"/>
          <c:min val="57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51396648044692"/>
          <c:min val="0.2902286902286902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836789110429448</c:v>
                </c:pt>
                <c:pt idx="1">
                  <c:v>0.6836198333408926</c:v>
                </c:pt>
                <c:pt idx="2">
                  <c:v>0.6706706497386109</c:v>
                </c:pt>
                <c:pt idx="3">
                  <c:v>0.7488482705611069</c:v>
                </c:pt>
                <c:pt idx="4">
                  <c:v>0.8297212524743566</c:v>
                </c:pt>
                <c:pt idx="5">
                  <c:v>0.7053353103993673</c:v>
                </c:pt>
                <c:pt idx="6">
                  <c:v>0.7007428336079078</c:v>
                </c:pt>
                <c:pt idx="7">
                  <c:v>0.747135690930993</c:v>
                </c:pt>
                <c:pt idx="8">
                  <c:v>0.718491658292638</c:v>
                </c:pt>
                <c:pt idx="9">
                  <c:v>0.6570614192483958</c:v>
                </c:pt>
                <c:pt idx="10">
                  <c:v>0.6930334682293317</c:v>
                </c:pt>
                <c:pt idx="11">
                  <c:v>0.6951920563000097</c:v>
                </c:pt>
                <c:pt idx="12">
                  <c:v>0.7467347716976266</c:v>
                </c:pt>
                <c:pt idx="13">
                  <c:v>0.7428114519427402</c:v>
                </c:pt>
                <c:pt idx="14">
                  <c:v>0.7697284201571567</c:v>
                </c:pt>
                <c:pt idx="15">
                  <c:v>0.8097345078176613</c:v>
                </c:pt>
                <c:pt idx="16">
                  <c:v>0.8592882058219844</c:v>
                </c:pt>
                <c:pt idx="17">
                  <c:v>0.8739730279448178</c:v>
                </c:pt>
                <c:pt idx="18">
                  <c:v>0.8682205150214592</c:v>
                </c:pt>
                <c:pt idx="19">
                  <c:v>0.9258488845609065</c:v>
                </c:pt>
                <c:pt idx="20">
                  <c:v>0.9800573277854832</c:v>
                </c:pt>
                <c:pt idx="21">
                  <c:v>0.844754121581743</c:v>
                </c:pt>
                <c:pt idx="22">
                  <c:v>0.9767716446124765</c:v>
                </c:pt>
                <c:pt idx="23">
                  <c:v>1.3017087175703923</c:v>
                </c:pt>
                <c:pt idx="24">
                  <c:v>1.2105955075348307</c:v>
                </c:pt>
                <c:pt idx="25">
                  <c:v>1.0885866652926628</c:v>
                </c:pt>
                <c:pt idx="26">
                  <c:v>1.3453183173236172</c:v>
                </c:pt>
                <c:pt idx="27">
                  <c:v>0.7574289422420791</c:v>
                </c:pt>
                <c:pt idx="28">
                  <c:v>0.8441073178871147</c:v>
                </c:pt>
                <c:pt idx="29">
                  <c:v>0.8364058244462674</c:v>
                </c:pt>
                <c:pt idx="30">
                  <c:v>0.9327046013667426</c:v>
                </c:pt>
                <c:pt idx="31">
                  <c:v>0.8527586846543002</c:v>
                </c:pt>
                <c:pt idx="32">
                  <c:v>0.8598009089422819</c:v>
                </c:pt>
                <c:pt idx="33">
                  <c:v>0.9035197073616826</c:v>
                </c:pt>
                <c:pt idx="34">
                  <c:v>0.9104939240803854</c:v>
                </c:pt>
                <c:pt idx="35">
                  <c:v>0.7738043912009357</c:v>
                </c:pt>
                <c:pt idx="36">
                  <c:v>0.8593491801927988</c:v>
                </c:pt>
                <c:pt idx="37">
                  <c:v>0.8197284700315458</c:v>
                </c:pt>
                <c:pt idx="38">
                  <c:v>0.902013896485364</c:v>
                </c:pt>
                <c:pt idx="39">
                  <c:v>0.9575212250651104</c:v>
                </c:pt>
                <c:pt idx="40">
                  <c:v>0.9485299051298514</c:v>
                </c:pt>
                <c:pt idx="41">
                  <c:v>0.8692867411091301</c:v>
                </c:pt>
                <c:pt idx="42">
                  <c:v>0.9939637134378975</c:v>
                </c:pt>
                <c:pt idx="43">
                  <c:v>0.979967156020541</c:v>
                </c:pt>
                <c:pt idx="44">
                  <c:v>0.8625021743193727</c:v>
                </c:pt>
                <c:pt idx="45">
                  <c:v>0.9120840379637618</c:v>
                </c:pt>
                <c:pt idx="46">
                  <c:v>0.8829368312332163</c:v>
                </c:pt>
                <c:pt idx="47">
                  <c:v>0.8671197941554801</c:v>
                </c:pt>
                <c:pt idx="48">
                  <c:v>0.9315540133744702</c:v>
                </c:pt>
                <c:pt idx="49">
                  <c:v>0.8181056796636716</c:v>
                </c:pt>
                <c:pt idx="50">
                  <c:v>0.7610497192827175</c:v>
                </c:pt>
                <c:pt idx="51">
                  <c:v>0.7892490685691637</c:v>
                </c:pt>
                <c:pt idx="52">
                  <c:v>0.7387607547169811</c:v>
                </c:pt>
                <c:pt idx="53">
                  <c:v>0.9227317617866004</c:v>
                </c:pt>
                <c:pt idx="54">
                  <c:v>0.8526938221320165</c:v>
                </c:pt>
                <c:pt idx="55">
                  <c:v>0.8845181149333864</c:v>
                </c:pt>
                <c:pt idx="56">
                  <c:v>0.8817820370447595</c:v>
                </c:pt>
                <c:pt idx="57">
                  <c:v>1.0181751074580057</c:v>
                </c:pt>
                <c:pt idx="58">
                  <c:v>0.9195008659351305</c:v>
                </c:pt>
                <c:pt idx="59">
                  <c:v>0.788877595307389</c:v>
                </c:pt>
                <c:pt idx="60">
                  <c:v>1.003549310264204</c:v>
                </c:pt>
                <c:pt idx="61">
                  <c:v>0.9427698840008754</c:v>
                </c:pt>
                <c:pt idx="62">
                  <c:v>0.7592780680924703</c:v>
                </c:pt>
                <c:pt idx="63">
                  <c:v>0.804403364624097</c:v>
                </c:pt>
                <c:pt idx="64">
                  <c:v>0.9155953496253023</c:v>
                </c:pt>
                <c:pt idx="65">
                  <c:v>0.9062403630077787</c:v>
                </c:pt>
                <c:pt idx="66">
                  <c:v>0.9346406866004902</c:v>
                </c:pt>
                <c:pt idx="67">
                  <c:v>0.9976330583985981</c:v>
                </c:pt>
                <c:pt idx="68">
                  <c:v>0.9441282965665949</c:v>
                </c:pt>
                <c:pt idx="69">
                  <c:v>1.060193220338983</c:v>
                </c:pt>
                <c:pt idx="70">
                  <c:v>1.2782910220214567</c:v>
                </c:pt>
                <c:pt idx="71">
                  <c:v>1.2354651702297008</c:v>
                </c:pt>
                <c:pt idx="72">
                  <c:v>0.9993984104014197</c:v>
                </c:pt>
                <c:pt idx="73">
                  <c:v>1.2267336972704714</c:v>
                </c:pt>
                <c:pt idx="74">
                  <c:v>2.000824932794614</c:v>
                </c:pt>
                <c:pt idx="75">
                  <c:v>1.8999305687956785</c:v>
                </c:pt>
                <c:pt idx="76">
                  <c:v>1.1568335311572702</c:v>
                </c:pt>
                <c:pt idx="77">
                  <c:v>1.1639278679336547</c:v>
                </c:pt>
                <c:pt idx="78">
                  <c:v>1.1034071043165468</c:v>
                </c:pt>
                <c:pt idx="79">
                  <c:v>1.3873229458450047</c:v>
                </c:pt>
                <c:pt idx="80">
                  <c:v>1.0120523849372385</c:v>
                </c:pt>
                <c:pt idx="81">
                  <c:v>1.1798691245712216</c:v>
                </c:pt>
                <c:pt idx="82">
                  <c:v>1.3315381296019293</c:v>
                </c:pt>
                <c:pt idx="83">
                  <c:v>1.103001047194086</c:v>
                </c:pt>
                <c:pt idx="84">
                  <c:v>1.3527312392918331</c:v>
                </c:pt>
                <c:pt idx="85">
                  <c:v>1.2303886411889597</c:v>
                </c:pt>
                <c:pt idx="86">
                  <c:v>0.9361750992568463</c:v>
                </c:pt>
                <c:pt idx="87">
                  <c:v>0.9994648948143019</c:v>
                </c:pt>
                <c:pt idx="88">
                  <c:v>0.9983771308900523</c:v>
                </c:pt>
                <c:pt idx="89">
                  <c:v>0.9895595649268104</c:v>
                </c:pt>
                <c:pt idx="90">
                  <c:v>1.0150733828699448</c:v>
                </c:pt>
                <c:pt idx="91">
                  <c:v>1.0564110772357724</c:v>
                </c:pt>
                <c:pt idx="92">
                  <c:v>1.0648373241093447</c:v>
                </c:pt>
                <c:pt idx="93">
                  <c:v>1.0380747161990016</c:v>
                </c:pt>
                <c:pt idx="94">
                  <c:v>0.9834714709667547</c:v>
                </c:pt>
                <c:pt idx="95">
                  <c:v>0.9401532072699654</c:v>
                </c:pt>
                <c:pt idx="96">
                  <c:v>0.8681189519870101</c:v>
                </c:pt>
                <c:pt idx="97">
                  <c:v>0.9152301396244583</c:v>
                </c:pt>
                <c:pt idx="98">
                  <c:v>0.9355183691252519</c:v>
                </c:pt>
                <c:pt idx="99">
                  <c:v>0.9252215972044661</c:v>
                </c:pt>
                <c:pt idx="100">
                  <c:v>0.9017768430498873</c:v>
                </c:pt>
                <c:pt idx="101">
                  <c:v>0.972401515117121</c:v>
                </c:pt>
                <c:pt idx="102">
                  <c:v>1.0063416160040886</c:v>
                </c:pt>
                <c:pt idx="103">
                  <c:v>0.9130581177198228</c:v>
                </c:pt>
                <c:pt idx="104">
                  <c:v>1.0471258258678624</c:v>
                </c:pt>
              </c:numCache>
            </c:numRef>
          </c:xVal>
          <c:yVal>
            <c:numRef>
              <c:f>Sheet1!$B$2:$B$106</c:f>
              <c:numCache>
                <c:formatCode>General</c:formatCode>
                <c:ptCount val="105"/>
                <c:pt idx="0">
                  <c:v>0.7388663967611336</c:v>
                </c:pt>
                <c:pt idx="1">
                  <c:v>0.7332178432221741</c:v>
                </c:pt>
                <c:pt idx="2">
                  <c:v>0.7306052855924978</c:v>
                </c:pt>
                <c:pt idx="3">
                  <c:v>0.7538522323192414</c:v>
                </c:pt>
                <c:pt idx="4">
                  <c:v>0.7212325469427058</c:v>
                </c:pt>
                <c:pt idx="5">
                  <c:v>0.7315926892950392</c:v>
                </c:pt>
                <c:pt idx="6">
                  <c:v>0.7261446298673513</c:v>
                </c:pt>
                <c:pt idx="7">
                  <c:v>0.7238842569887199</c:v>
                </c:pt>
                <c:pt idx="8">
                  <c:v>0.7350291467938527</c:v>
                </c:pt>
                <c:pt idx="9">
                  <c:v>0.7779232111692844</c:v>
                </c:pt>
                <c:pt idx="10">
                  <c:v>0.764249886000912</c:v>
                </c:pt>
                <c:pt idx="11">
                  <c:v>0.7534537725823592</c:v>
                </c:pt>
                <c:pt idx="12">
                  <c:v>0.743128435782109</c:v>
                </c:pt>
                <c:pt idx="13">
                  <c:v>0.7188854489164087</c:v>
                </c:pt>
                <c:pt idx="14">
                  <c:v>0.7435897435897436</c:v>
                </c:pt>
                <c:pt idx="15">
                  <c:v>0.7640056022408963</c:v>
                </c:pt>
                <c:pt idx="16">
                  <c:v>0.7468879668049793</c:v>
                </c:pt>
                <c:pt idx="17">
                  <c:v>0.7445759368836292</c:v>
                </c:pt>
                <c:pt idx="18">
                  <c:v>0.7780061664953751</c:v>
                </c:pt>
                <c:pt idx="19">
                  <c:v>0.783256880733945</c:v>
                </c:pt>
                <c:pt idx="20">
                  <c:v>0.7854640980735552</c:v>
                </c:pt>
                <c:pt idx="21">
                  <c:v>0.6683375104427736</c:v>
                </c:pt>
                <c:pt idx="22">
                  <c:v>0.7785527462946817</c:v>
                </c:pt>
                <c:pt idx="23">
                  <c:v>0.7422577422577422</c:v>
                </c:pt>
                <c:pt idx="24">
                  <c:v>0.6966993755575379</c:v>
                </c:pt>
                <c:pt idx="25">
                  <c:v>0.6558139534883721</c:v>
                </c:pt>
                <c:pt idx="26">
                  <c:v>0.6865008880994672</c:v>
                </c:pt>
                <c:pt idx="27">
                  <c:v>0.6941074523396881</c:v>
                </c:pt>
                <c:pt idx="28">
                  <c:v>0.7124887690925427</c:v>
                </c:pt>
                <c:pt idx="29">
                  <c:v>0.6793557833089312</c:v>
                </c:pt>
                <c:pt idx="30">
                  <c:v>0.7103250478011472</c:v>
                </c:pt>
                <c:pt idx="31">
                  <c:v>0.6926829268292682</c:v>
                </c:pt>
                <c:pt idx="32">
                  <c:v>0.6728452270620945</c:v>
                </c:pt>
                <c:pt idx="33">
                  <c:v>0.6557998483699773</c:v>
                </c:pt>
                <c:pt idx="34">
                  <c:v>0.6730523627075351</c:v>
                </c:pt>
                <c:pt idx="35">
                  <c:v>0.699641209636084</c:v>
                </c:pt>
                <c:pt idx="36">
                  <c:v>0.6188725490196079</c:v>
                </c:pt>
                <c:pt idx="37">
                  <c:v>0.6967015285599356</c:v>
                </c:pt>
                <c:pt idx="38">
                  <c:v>0.7246653919694073</c:v>
                </c:pt>
                <c:pt idx="39">
                  <c:v>0.719</c:v>
                </c:pt>
                <c:pt idx="40">
                  <c:v>0.7068676716917923</c:v>
                </c:pt>
                <c:pt idx="41">
                  <c:v>0.7012487992315082</c:v>
                </c:pt>
                <c:pt idx="42">
                  <c:v>0.6717373899119295</c:v>
                </c:pt>
                <c:pt idx="43">
                  <c:v>0.7066942719116632</c:v>
                </c:pt>
                <c:pt idx="44">
                  <c:v>0.718369259606373</c:v>
                </c:pt>
                <c:pt idx="45">
                  <c:v>0.7273431448489543</c:v>
                </c:pt>
                <c:pt idx="46">
                  <c:v>0.7064846416382252</c:v>
                </c:pt>
                <c:pt idx="47">
                  <c:v>0.7036753445635529</c:v>
                </c:pt>
                <c:pt idx="48">
                  <c:v>0.7064825930372148</c:v>
                </c:pt>
                <c:pt idx="49">
                  <c:v>0.731850353892821</c:v>
                </c:pt>
                <c:pt idx="50">
                  <c:v>0.7190839694656489</c:v>
                </c:pt>
                <c:pt idx="51">
                  <c:v>0.7288732394366197</c:v>
                </c:pt>
                <c:pt idx="52">
                  <c:v>0.7297524129248846</c:v>
                </c:pt>
                <c:pt idx="53">
                  <c:v>0.7183173588924388</c:v>
                </c:pt>
                <c:pt idx="54">
                  <c:v>0.7418617932609937</c:v>
                </c:pt>
                <c:pt idx="55">
                  <c:v>0.7417707150964813</c:v>
                </c:pt>
                <c:pt idx="56">
                  <c:v>0.7054794520547946</c:v>
                </c:pt>
                <c:pt idx="57">
                  <c:v>0.6957142857142857</c:v>
                </c:pt>
                <c:pt idx="58">
                  <c:v>0.7003338898163606</c:v>
                </c:pt>
                <c:pt idx="59">
                  <c:v>0.7200538358008075</c:v>
                </c:pt>
                <c:pt idx="60">
                  <c:v>0.7185420885160544</c:v>
                </c:pt>
                <c:pt idx="61">
                  <c:v>0.7042657916324856</c:v>
                </c:pt>
                <c:pt idx="62">
                  <c:v>0.7098646034816247</c:v>
                </c:pt>
                <c:pt idx="63">
                  <c:v>0.6990756590208833</c:v>
                </c:pt>
                <c:pt idx="64">
                  <c:v>0.6909286482610254</c:v>
                </c:pt>
                <c:pt idx="65">
                  <c:v>0.7095418242959226</c:v>
                </c:pt>
                <c:pt idx="66">
                  <c:v>0.7407094594594594</c:v>
                </c:pt>
                <c:pt idx="67">
                  <c:v>0.6703672075149445</c:v>
                </c:pt>
                <c:pt idx="68">
                  <c:v>0.7193195625759417</c:v>
                </c:pt>
                <c:pt idx="69">
                  <c:v>0.7346938775510204</c:v>
                </c:pt>
                <c:pt idx="70">
                  <c:v>0.7445034116755117</c:v>
                </c:pt>
                <c:pt idx="71">
                  <c:v>0.7516233766233766</c:v>
                </c:pt>
                <c:pt idx="72">
                  <c:v>0.7498121712997746</c:v>
                </c:pt>
                <c:pt idx="73">
                  <c:v>0.7576687116564417</c:v>
                </c:pt>
                <c:pt idx="74">
                  <c:v>0.7602474864655839</c:v>
                </c:pt>
                <c:pt idx="75">
                  <c:v>0.7729591836734694</c:v>
                </c:pt>
                <c:pt idx="76">
                  <c:v>0.7644521138912856</c:v>
                </c:pt>
                <c:pt idx="77">
                  <c:v>0.7742248062015504</c:v>
                </c:pt>
                <c:pt idx="78">
                  <c:v>0.7227319062181448</c:v>
                </c:pt>
                <c:pt idx="79">
                  <c:v>0.7395529640427599</c:v>
                </c:pt>
                <c:pt idx="80">
                  <c:v>0.7421875</c:v>
                </c:pt>
                <c:pt idx="81">
                  <c:v>0.7648026315789473</c:v>
                </c:pt>
                <c:pt idx="82">
                  <c:v>0.7436676798378926</c:v>
                </c:pt>
                <c:pt idx="83">
                  <c:v>0.7456445993031359</c:v>
                </c:pt>
                <c:pt idx="84">
                  <c:v>0.7439165701042874</c:v>
                </c:pt>
                <c:pt idx="85">
                  <c:v>0.7633507853403141</c:v>
                </c:pt>
                <c:pt idx="86">
                  <c:v>0.756797583081571</c:v>
                </c:pt>
                <c:pt idx="87">
                  <c:v>0.7222605099931082</c:v>
                </c:pt>
                <c:pt idx="88">
                  <c:v>0.7378210806023029</c:v>
                </c:pt>
                <c:pt idx="89">
                  <c:v>0.7546583850931677</c:v>
                </c:pt>
                <c:pt idx="90">
                  <c:v>0.7424593967517401</c:v>
                </c:pt>
                <c:pt idx="91">
                  <c:v>0.7324561403508771</c:v>
                </c:pt>
                <c:pt idx="92">
                  <c:v>0.7304582210242587</c:v>
                </c:pt>
                <c:pt idx="93">
                  <c:v>0.7317731773177317</c:v>
                </c:pt>
                <c:pt idx="94">
                  <c:v>0.7111534795042898</c:v>
                </c:pt>
                <c:pt idx="95">
                  <c:v>0.7176391683433937</c:v>
                </c:pt>
                <c:pt idx="96">
                  <c:v>0.7353702744691869</c:v>
                </c:pt>
                <c:pt idx="97">
                  <c:v>0.7316775244299675</c:v>
                </c:pt>
                <c:pt idx="98">
                  <c:v>0.7306532663316583</c:v>
                </c:pt>
                <c:pt idx="99">
                  <c:v>0.7319676860934795</c:v>
                </c:pt>
                <c:pt idx="100">
                  <c:v>0.7406526907283337</c:v>
                </c:pt>
                <c:pt idx="101">
                  <c:v>0.7412312097351468</c:v>
                </c:pt>
                <c:pt idx="102">
                  <c:v>0.7318026380068393</c:v>
                </c:pt>
                <c:pt idx="103">
                  <c:v>0.7335581787521079</c:v>
                </c:pt>
                <c:pt idx="104">
                  <c:v>0.698122291766971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578854851643944</c:v>
                </c:pt>
                <c:pt idx="1">
                  <c:v>0.9179666666666667</c:v>
                </c:pt>
                <c:pt idx="2">
                  <c:v>0.9876583514099784</c:v>
                </c:pt>
                <c:pt idx="3">
                  <c:v>0.9251508489437668</c:v>
                </c:pt>
                <c:pt idx="4">
                  <c:v>1.1286448022079116</c:v>
                </c:pt>
                <c:pt idx="5">
                  <c:v>0.9447857926924886</c:v>
                </c:pt>
                <c:pt idx="6">
                  <c:v>0.8272261307294756</c:v>
                </c:pt>
                <c:pt idx="7">
                  <c:v>1.0001545614035088</c:v>
                </c:pt>
                <c:pt idx="8">
                  <c:v>0.8508550549840368</c:v>
                </c:pt>
                <c:pt idx="9">
                  <c:v>1.2027959702612572</c:v>
                </c:pt>
                <c:pt idx="10">
                  <c:v>0.9723330550918197</c:v>
                </c:pt>
                <c:pt idx="11">
                  <c:v>0.9858496849684969</c:v>
                </c:pt>
                <c:pt idx="12">
                  <c:v>0.8717761606607788</c:v>
                </c:pt>
                <c:pt idx="13">
                  <c:v>0.9636003346382087</c:v>
                </c:pt>
                <c:pt idx="14">
                  <c:v>1.04365771632471</c:v>
                </c:pt>
                <c:pt idx="15">
                  <c:v>0.9368310563939635</c:v>
                </c:pt>
                <c:pt idx="16">
                  <c:v>1.144716936699322</c:v>
                </c:pt>
                <c:pt idx="17">
                  <c:v>0.8637203947368421</c:v>
                </c:pt>
                <c:pt idx="18">
                  <c:v>0.86460819112628</c:v>
                </c:pt>
                <c:pt idx="19">
                  <c:v>1.0351159193875958</c:v>
                </c:pt>
                <c:pt idx="20">
                  <c:v>0.9679042824943652</c:v>
                </c:pt>
                <c:pt idx="21">
                  <c:v>1.1242545287356323</c:v>
                </c:pt>
                <c:pt idx="22">
                  <c:v>1.2016610084872692</c:v>
                </c:pt>
                <c:pt idx="23">
                  <c:v>0.9453299337072923</c:v>
                </c:pt>
                <c:pt idx="24">
                  <c:v>0.841523795369294</c:v>
                </c:pt>
                <c:pt idx="25">
                  <c:v>0.936105838617975</c:v>
                </c:pt>
                <c:pt idx="26">
                  <c:v>0.9649779912663755</c:v>
                </c:pt>
                <c:pt idx="27">
                  <c:v>0.9468068497629556</c:v>
                </c:pt>
                <c:pt idx="28">
                  <c:v>1.001604200099591</c:v>
                </c:pt>
                <c:pt idx="29">
                  <c:v>1.0517237205691325</c:v>
                </c:pt>
                <c:pt idx="30">
                  <c:v>1.0693706983917162</c:v>
                </c:pt>
                <c:pt idx="31">
                  <c:v>1.0145005983928876</c:v>
                </c:pt>
                <c:pt idx="32">
                  <c:v>1.0294150370869857</c:v>
                </c:pt>
                <c:pt idx="33">
                  <c:v>1.0441289252843258</c:v>
                </c:pt>
                <c:pt idx="34">
                  <c:v>1.3428629385964912</c:v>
                </c:pt>
                <c:pt idx="35">
                  <c:v>1.032158762014141</c:v>
                </c:pt>
                <c:pt idx="36">
                  <c:v>1.0482075521930219</c:v>
                </c:pt>
                <c:pt idx="37">
                  <c:v>1.038253548193374</c:v>
                </c:pt>
                <c:pt idx="38">
                  <c:v>1.006341409778127</c:v>
                </c:pt>
                <c:pt idx="39">
                  <c:v>1.0676610309961878</c:v>
                </c:pt>
                <c:pt idx="40">
                  <c:v>1.0390410302847368</c:v>
                </c:pt>
                <c:pt idx="41">
                  <c:v>1.1093554331550015</c:v>
                </c:pt>
                <c:pt idx="42">
                  <c:v>1.0712970011995202</c:v>
                </c:pt>
                <c:pt idx="43">
                  <c:v>1.1041782705109244</c:v>
                </c:pt>
                <c:pt idx="44">
                  <c:v>1.0077980243192917</c:v>
                </c:pt>
                <c:pt idx="45">
                  <c:v>0.9868855259830133</c:v>
                </c:pt>
                <c:pt idx="46">
                  <c:v>0.982502817465728</c:v>
                </c:pt>
                <c:pt idx="47">
                  <c:v>1.0306806942361262</c:v>
                </c:pt>
                <c:pt idx="48">
                  <c:v>0.9338490198029654</c:v>
                </c:pt>
                <c:pt idx="49">
                  <c:v>1.0646982584476714</c:v>
                </c:pt>
                <c:pt idx="50">
                  <c:v>0.9653517540801868</c:v>
                </c:pt>
                <c:pt idx="51">
                  <c:v>0.8440739167905559</c:v>
                </c:pt>
              </c:numCache>
            </c:numRef>
          </c:xVal>
          <c:yVal>
            <c:numRef>
              <c:f>Sheet1!$B$109:$B$160</c:f>
              <c:numCache>
                <c:formatCode>General</c:formatCode>
                <c:ptCount val="52"/>
                <c:pt idx="0">
                  <c:v>0.7593582887700535</c:v>
                </c:pt>
                <c:pt idx="1">
                  <c:v>0.7642822851656265</c:v>
                </c:pt>
                <c:pt idx="2">
                  <c:v>0.7757793764988009</c:v>
                </c:pt>
                <c:pt idx="3">
                  <c:v>0.7538880248833593</c:v>
                </c:pt>
                <c:pt idx="4">
                  <c:v>0.7630646589902569</c:v>
                </c:pt>
                <c:pt idx="5">
                  <c:v>0.7573368374945247</c:v>
                </c:pt>
                <c:pt idx="6">
                  <c:v>0.7630795406210124</c:v>
                </c:pt>
                <c:pt idx="7">
                  <c:v>0.741900054914882</c:v>
                </c:pt>
                <c:pt idx="8">
                  <c:v>0.7042606516290727</c:v>
                </c:pt>
                <c:pt idx="9">
                  <c:v>0.7099069512862616</c:v>
                </c:pt>
                <c:pt idx="10">
                  <c:v>0.7352625937834941</c:v>
                </c:pt>
                <c:pt idx="11">
                  <c:v>0.7179186228482003</c:v>
                </c:pt>
                <c:pt idx="12">
                  <c:v>0.7128486511202561</c:v>
                </c:pt>
                <c:pt idx="13">
                  <c:v>0.6940681924334423</c:v>
                </c:pt>
                <c:pt idx="14">
                  <c:v>0.735978835978836</c:v>
                </c:pt>
                <c:pt idx="15">
                  <c:v>0.7482435597189696</c:v>
                </c:pt>
                <c:pt idx="16">
                  <c:v>0.7643400138217</c:v>
                </c:pt>
                <c:pt idx="17">
                  <c:v>0.7531319086219602</c:v>
                </c:pt>
                <c:pt idx="18">
                  <c:v>0.7629839471199245</c:v>
                </c:pt>
                <c:pt idx="19">
                  <c:v>0.7573051948051948</c:v>
                </c:pt>
                <c:pt idx="20">
                  <c:v>0.7653736991485336</c:v>
                </c:pt>
                <c:pt idx="21">
                  <c:v>0.7605633802816901</c:v>
                </c:pt>
                <c:pt idx="22">
                  <c:v>0.7373417721518988</c:v>
                </c:pt>
                <c:pt idx="23">
                  <c:v>0.7603686635944701</c:v>
                </c:pt>
                <c:pt idx="24">
                  <c:v>0.7781402936378466</c:v>
                </c:pt>
                <c:pt idx="25">
                  <c:v>0.7612847222222222</c:v>
                </c:pt>
                <c:pt idx="26">
                  <c:v>0.7468805704099821</c:v>
                </c:pt>
                <c:pt idx="27">
                  <c:v>0.7647534357316087</c:v>
                </c:pt>
                <c:pt idx="28">
                  <c:v>0.7298387096774194</c:v>
                </c:pt>
                <c:pt idx="29">
                  <c:v>0.7191235059760956</c:v>
                </c:pt>
                <c:pt idx="30">
                  <c:v>0.7212435233160622</c:v>
                </c:pt>
                <c:pt idx="31">
                  <c:v>0.7332549941245593</c:v>
                </c:pt>
                <c:pt idx="32">
                  <c:v>0.735593220338983</c:v>
                </c:pt>
                <c:pt idx="33">
                  <c:v>0.7165419783873649</c:v>
                </c:pt>
                <c:pt idx="34">
                  <c:v>0.7065095398428731</c:v>
                </c:pt>
                <c:pt idx="35">
                  <c:v>0.6845593108018555</c:v>
                </c:pt>
                <c:pt idx="36">
                  <c:v>0.7320328542094456</c:v>
                </c:pt>
                <c:pt idx="37">
                  <c:v>0.7077393075356415</c:v>
                </c:pt>
                <c:pt idx="38">
                  <c:v>0.7621247113163973</c:v>
                </c:pt>
                <c:pt idx="39">
                  <c:v>0.6793760831889082</c:v>
                </c:pt>
                <c:pt idx="40">
                  <c:v>0.6988973706530959</c:v>
                </c:pt>
                <c:pt idx="41">
                  <c:v>0.6842936069455406</c:v>
                </c:pt>
                <c:pt idx="42">
                  <c:v>0.7004484304932735</c:v>
                </c:pt>
                <c:pt idx="43">
                  <c:v>0.7175301632363378</c:v>
                </c:pt>
                <c:pt idx="44">
                  <c:v>0.7336532693461307</c:v>
                </c:pt>
                <c:pt idx="45">
                  <c:v>0.7452681388012619</c:v>
                </c:pt>
                <c:pt idx="46">
                  <c:v>0.7230113636363636</c:v>
                </c:pt>
                <c:pt idx="47">
                  <c:v>0.7117940199335548</c:v>
                </c:pt>
                <c:pt idx="48">
                  <c:v>0.7282850779510023</c:v>
                </c:pt>
                <c:pt idx="49">
                  <c:v>0.7233972240581625</c:v>
                </c:pt>
                <c:pt idx="50">
                  <c:v>0.7319177173191772</c:v>
                </c:pt>
                <c:pt idx="51">
                  <c:v>0.741272304111714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8240801070725645</c:v>
                </c:pt>
              </c:numCache>
            </c:numRef>
          </c:xVal>
          <c:yVal>
            <c:numRef>
              <c:f>Sheet1!$B$163:$B$164</c:f>
              <c:numCache>
                <c:formatCode>General</c:formatCode>
                <c:ptCount val="2"/>
                <c:pt idx="0">
                  <c:v>0.7516742045935362</c:v>
                </c:pt>
                <c:pt idx="1">
                  <c:v>0.751674204593536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8240801070725645</c:v>
                </c:pt>
                <c:pt idx="1">
                  <c:v>0.8240801070725645</c:v>
                </c:pt>
              </c:numCache>
            </c:numRef>
          </c:xVal>
          <c:yVal>
            <c:numRef>
              <c:f>Sheet1!$B$167:$B$168</c:f>
              <c:numCache>
                <c:formatCode>General</c:formatCode>
                <c:ptCount val="2"/>
                <c:pt idx="0">
                  <c:v>0.751674204593536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02633662455971</c:v>
                </c:pt>
              </c:numCache>
            </c:numRef>
          </c:xVal>
          <c:yVal>
            <c:numRef>
              <c:f>Sheet1!$B$171:$B$172</c:f>
              <c:numCache>
                <c:formatCode>General</c:formatCode>
                <c:ptCount val="2"/>
                <c:pt idx="0">
                  <c:v>0.7536610798852876</c:v>
                </c:pt>
                <c:pt idx="1">
                  <c:v>0.753661079885287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02633662455971</c:v>
                </c:pt>
                <c:pt idx="1">
                  <c:v>0.802633662455971</c:v>
                </c:pt>
              </c:numCache>
            </c:numRef>
          </c:xVal>
          <c:yVal>
            <c:numRef>
              <c:f>Sheet1!$B$175:$B$176</c:f>
              <c:numCache>
                <c:formatCode>General</c:formatCode>
                <c:ptCount val="2"/>
                <c:pt idx="0">
                  <c:v>0.75366107988528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1998958586639303</c:v>
                </c:pt>
              </c:numCache>
            </c:numRef>
          </c:xVal>
          <c:yVal>
            <c:numRef>
              <c:f>Sheet1!$B$179:$B$180</c:f>
              <c:numCache>
                <c:formatCode>General</c:formatCode>
                <c:ptCount val="2"/>
                <c:pt idx="0">
                  <c:v>0.7168572899749633</c:v>
                </c:pt>
                <c:pt idx="1">
                  <c:v>0.716857289974963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1998958586639303</c:v>
                </c:pt>
                <c:pt idx="1">
                  <c:v>1.1998958586639303</c:v>
                </c:pt>
              </c:numCache>
            </c:numRef>
          </c:xVal>
          <c:yVal>
            <c:numRef>
              <c:f>Sheet1!$B$183:$B$184</c:f>
              <c:numCache>
                <c:formatCode>General</c:formatCode>
                <c:ptCount val="2"/>
                <c:pt idx="0">
                  <c:v>0.716857289974963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578854851643944</c:v>
                </c:pt>
                <c:pt idx="1">
                  <c:v>0.9179666666666667</c:v>
                </c:pt>
                <c:pt idx="2">
                  <c:v>0.9876583514099784</c:v>
                </c:pt>
                <c:pt idx="3">
                  <c:v>0.9251508489437668</c:v>
                </c:pt>
                <c:pt idx="4">
                  <c:v>1.1286448022079116</c:v>
                </c:pt>
                <c:pt idx="5">
                  <c:v>0.9447857926924886</c:v>
                </c:pt>
                <c:pt idx="6">
                  <c:v>0.8272261307294756</c:v>
                </c:pt>
                <c:pt idx="7">
                  <c:v>1.0001545614035088</c:v>
                </c:pt>
                <c:pt idx="8">
                  <c:v>0.8508550549840368</c:v>
                </c:pt>
                <c:pt idx="9">
                  <c:v>1.2027959702612572</c:v>
                </c:pt>
                <c:pt idx="10">
                  <c:v>0.9723330550918197</c:v>
                </c:pt>
                <c:pt idx="11">
                  <c:v>0.9858496849684969</c:v>
                </c:pt>
                <c:pt idx="12">
                  <c:v>0.8717761606607788</c:v>
                </c:pt>
                <c:pt idx="13">
                  <c:v>0.9636003346382087</c:v>
                </c:pt>
                <c:pt idx="14">
                  <c:v>1.04365771632471</c:v>
                </c:pt>
                <c:pt idx="15">
                  <c:v>0.9368310563939635</c:v>
                </c:pt>
                <c:pt idx="16">
                  <c:v>1.144716936699322</c:v>
                </c:pt>
                <c:pt idx="17">
                  <c:v>0.8637203947368421</c:v>
                </c:pt>
                <c:pt idx="18">
                  <c:v>0.86460819112628</c:v>
                </c:pt>
                <c:pt idx="19">
                  <c:v>1.0351159193875958</c:v>
                </c:pt>
                <c:pt idx="20">
                  <c:v>0.9679042824943652</c:v>
                </c:pt>
                <c:pt idx="21">
                  <c:v>1.1242545287356323</c:v>
                </c:pt>
                <c:pt idx="22">
                  <c:v>1.2016610084872692</c:v>
                </c:pt>
                <c:pt idx="23">
                  <c:v>0.9453299337072923</c:v>
                </c:pt>
                <c:pt idx="24">
                  <c:v>0.841523795369294</c:v>
                </c:pt>
                <c:pt idx="25">
                  <c:v>0.936105838617975</c:v>
                </c:pt>
                <c:pt idx="26">
                  <c:v>0.9649779912663755</c:v>
                </c:pt>
                <c:pt idx="27">
                  <c:v>0.9468068497629556</c:v>
                </c:pt>
                <c:pt idx="28">
                  <c:v>1.001604200099591</c:v>
                </c:pt>
                <c:pt idx="29">
                  <c:v>1.0517237205691325</c:v>
                </c:pt>
                <c:pt idx="30">
                  <c:v>1.0693706983917162</c:v>
                </c:pt>
                <c:pt idx="31">
                  <c:v>1.0145005983928876</c:v>
                </c:pt>
                <c:pt idx="32">
                  <c:v>1.0294150370869857</c:v>
                </c:pt>
                <c:pt idx="33">
                  <c:v>1.0441289252843258</c:v>
                </c:pt>
                <c:pt idx="34">
                  <c:v>1.3428629385964912</c:v>
                </c:pt>
                <c:pt idx="35">
                  <c:v>1.032158762014141</c:v>
                </c:pt>
                <c:pt idx="36">
                  <c:v>1.0482075521930219</c:v>
                </c:pt>
                <c:pt idx="37">
                  <c:v>1.038253548193374</c:v>
                </c:pt>
                <c:pt idx="38">
                  <c:v>1.006341409778127</c:v>
                </c:pt>
                <c:pt idx="39">
                  <c:v>1.0676610309961878</c:v>
                </c:pt>
                <c:pt idx="40">
                  <c:v>1.0390410302847368</c:v>
                </c:pt>
                <c:pt idx="41">
                  <c:v>1.1093554331550015</c:v>
                </c:pt>
                <c:pt idx="42">
                  <c:v>1.0712970011995202</c:v>
                </c:pt>
                <c:pt idx="43">
                  <c:v>1.1041782705109244</c:v>
                </c:pt>
                <c:pt idx="44">
                  <c:v>1.0077980243192917</c:v>
                </c:pt>
                <c:pt idx="45">
                  <c:v>0.9868855259830133</c:v>
                </c:pt>
                <c:pt idx="46">
                  <c:v>0.982502817465728</c:v>
                </c:pt>
                <c:pt idx="47">
                  <c:v>1.0306806942361262</c:v>
                </c:pt>
                <c:pt idx="48">
                  <c:v>0.9338490198029654</c:v>
                </c:pt>
                <c:pt idx="49">
                  <c:v>1.0646982584476714</c:v>
                </c:pt>
                <c:pt idx="50">
                  <c:v>0.9653517540801868</c:v>
                </c:pt>
                <c:pt idx="51">
                  <c:v>0.8440739167905559</c:v>
                </c:pt>
                <c:pt idx="52">
                  <c:v>0.802633662455971</c:v>
                </c:pt>
                <c:pt idx="53">
                  <c:v>0.8240801070725645</c:v>
                </c:pt>
                <c:pt idx="54">
                  <c:v>1.1998958586639303</c:v>
                </c:pt>
              </c:numCache>
            </c:numRef>
          </c:xVal>
          <c:yVal>
            <c:numRef>
              <c:f>Sheet1!$B$187:$B$241</c:f>
              <c:numCache>
                <c:formatCode>General</c:formatCode>
                <c:ptCount val="55"/>
                <c:pt idx="0">
                  <c:v>0.7392779960663465</c:v>
                </c:pt>
                <c:pt idx="1">
                  <c:v>0.7429762181058019</c:v>
                </c:pt>
                <c:pt idx="2">
                  <c:v>0.736519731311255</c:v>
                </c:pt>
                <c:pt idx="3">
                  <c:v>0.7423106497790702</c:v>
                </c:pt>
                <c:pt idx="4">
                  <c:v>0.7234582425391063</c:v>
                </c:pt>
                <c:pt idx="5">
                  <c:v>0.7404915984031102</c:v>
                </c:pt>
                <c:pt idx="6">
                  <c:v>0.7513827457161824</c:v>
                </c:pt>
                <c:pt idx="7">
                  <c:v>0.7353620377484966</c:v>
                </c:pt>
                <c:pt idx="8">
                  <c:v>0.7491936777092769</c:v>
                </c:pt>
                <c:pt idx="9">
                  <c:v>0.7165886132698468</c:v>
                </c:pt>
                <c:pt idx="10">
                  <c:v>0.7379395215439801</c:v>
                </c:pt>
                <c:pt idx="11">
                  <c:v>0.7366872926356537</c:v>
                </c:pt>
                <c:pt idx="12">
                  <c:v>0.7472554716947901</c:v>
                </c:pt>
                <c:pt idx="13">
                  <c:v>0.7387485519827889</c:v>
                </c:pt>
                <c:pt idx="14">
                  <c:v>0.7313317499702001</c:v>
                </c:pt>
                <c:pt idx="15">
                  <c:v>0.7412285536088095</c:v>
                </c:pt>
                <c:pt idx="16">
                  <c:v>0.721969262548363</c:v>
                </c:pt>
                <c:pt idx="17">
                  <c:v>0.748001786646128</c:v>
                </c:pt>
                <c:pt idx="18">
                  <c:v>0.7479195380150931</c:v>
                </c:pt>
                <c:pt idx="19">
                  <c:v>0.7321230925719654</c:v>
                </c:pt>
                <c:pt idx="20">
                  <c:v>0.7383498188685007</c:v>
                </c:pt>
                <c:pt idx="21">
                  <c:v>0.7238649731670517</c:v>
                </c:pt>
                <c:pt idx="22">
                  <c:v>0.7166937601856239</c:v>
                </c:pt>
                <c:pt idx="23">
                  <c:v>0.7404411872344121</c:v>
                </c:pt>
                <c:pt idx="24">
                  <c:v>0.7500581589555114</c:v>
                </c:pt>
                <c:pt idx="25">
                  <c:v>0.7412957403759408</c:v>
                </c:pt>
                <c:pt idx="26">
                  <c:v>0.7386209209481835</c:v>
                </c:pt>
                <c:pt idx="27">
                  <c:v>0.7403043604516307</c:v>
                </c:pt>
                <c:pt idx="28">
                  <c:v>0.7352277380378125</c:v>
                </c:pt>
                <c:pt idx="29">
                  <c:v>0.7305844865042546</c:v>
                </c:pt>
                <c:pt idx="30">
                  <c:v>0.7289496073978758</c:v>
                </c:pt>
                <c:pt idx="31">
                  <c:v>0.7340329696004505</c:v>
                </c:pt>
                <c:pt idx="32">
                  <c:v>0.7326512426866703</c:v>
                </c:pt>
                <c:pt idx="33">
                  <c:v>0.7312880954877976</c:v>
                </c:pt>
                <c:pt idx="34">
                  <c:v>0.7036123086398249</c:v>
                </c:pt>
                <c:pt idx="35">
                  <c:v>0.7323970542016983</c:v>
                </c:pt>
                <c:pt idx="36">
                  <c:v>0.7309102369115145</c:v>
                </c:pt>
                <c:pt idx="37">
                  <c:v>0.7318324114236289</c:v>
                </c:pt>
                <c:pt idx="38">
                  <c:v>0.7347888659995612</c:v>
                </c:pt>
                <c:pt idx="39">
                  <c:v>0.7291079970967753</c:v>
                </c:pt>
                <c:pt idx="40">
                  <c:v>0.7317594562677512</c:v>
                </c:pt>
                <c:pt idx="41">
                  <c:v>0.7252452786399548</c:v>
                </c:pt>
                <c:pt idx="42">
                  <c:v>0.728771147819998</c:v>
                </c:pt>
                <c:pt idx="43">
                  <c:v>0.7257249094935899</c:v>
                </c:pt>
                <c:pt idx="44">
                  <c:v>0.7346539200216526</c:v>
                </c:pt>
                <c:pt idx="45">
                  <c:v>0.7365913286213511</c:v>
                </c:pt>
                <c:pt idx="46">
                  <c:v>0.7369973584048242</c:v>
                </c:pt>
                <c:pt idx="47">
                  <c:v>0.7325339876841553</c:v>
                </c:pt>
                <c:pt idx="48">
                  <c:v>0.7415048201381887</c:v>
                </c:pt>
                <c:pt idx="49">
                  <c:v>0.729382478936398</c:v>
                </c:pt>
                <c:pt idx="50">
                  <c:v>0.7385862942250594</c:v>
                </c:pt>
                <c:pt idx="51">
                  <c:v>0.7498219065913806</c:v>
                </c:pt>
                <c:pt idx="52">
                  <c:v>0.7536610798852876</c:v>
                </c:pt>
                <c:pt idx="53">
                  <c:v>0.7516742045935362</c:v>
                </c:pt>
                <c:pt idx="54">
                  <c:v>0.716857289974963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425569176882662"/>
          <c:min val="0.49509803921568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1.1173</c:v>
                </c:pt>
                <c:pt idx="1">
                  <c:v>863.6397</c:v>
                </c:pt>
                <c:pt idx="2">
                  <c:v>898.028</c:v>
                </c:pt>
                <c:pt idx="3">
                  <c:v>974.2516</c:v>
                </c:pt>
                <c:pt idx="4">
                  <c:v>922.1522</c:v>
                </c:pt>
                <c:pt idx="5">
                  <c:v>891.8965</c:v>
                </c:pt>
                <c:pt idx="6">
                  <c:v>850.7018</c:v>
                </c:pt>
                <c:pt idx="7">
                  <c:v>868.3211</c:v>
                </c:pt>
                <c:pt idx="8">
                  <c:v>880.6655</c:v>
                </c:pt>
                <c:pt idx="9">
                  <c:v>855.6035</c:v>
                </c:pt>
                <c:pt idx="10">
                  <c:v>850.4511</c:v>
                </c:pt>
                <c:pt idx="11">
                  <c:v>901.4034</c:v>
                </c:pt>
                <c:pt idx="12">
                  <c:v>910.0208</c:v>
                </c:pt>
                <c:pt idx="13">
                  <c:v>908.087</c:v>
                </c:pt>
                <c:pt idx="14">
                  <c:v>942.2759</c:v>
                </c:pt>
                <c:pt idx="15">
                  <c:v>919.2511</c:v>
                </c:pt>
                <c:pt idx="16">
                  <c:v>965.6967</c:v>
                </c:pt>
                <c:pt idx="17">
                  <c:v>988.2887</c:v>
                </c:pt>
                <c:pt idx="18">
                  <c:v>1011.4769</c:v>
                </c:pt>
                <c:pt idx="19">
                  <c:v>1045.8389</c:v>
                </c:pt>
                <c:pt idx="20">
                  <c:v>1059.932</c:v>
                </c:pt>
                <c:pt idx="21">
                  <c:v>1073.4713</c:v>
                </c:pt>
                <c:pt idx="22">
                  <c:v>1033.4244</c:v>
                </c:pt>
                <c:pt idx="23">
                  <c:v>1058.6797</c:v>
                </c:pt>
                <c:pt idx="24">
                  <c:v>1064.4161</c:v>
                </c:pt>
                <c:pt idx="25">
                  <c:v>1056.3645</c:v>
                </c:pt>
                <c:pt idx="26">
                  <c:v>1015.379</c:v>
                </c:pt>
                <c:pt idx="27">
                  <c:v>1008.6429</c:v>
                </c:pt>
                <c:pt idx="28">
                  <c:v>1005.6936</c:v>
                </c:pt>
                <c:pt idx="29">
                  <c:v>1019.5787</c:v>
                </c:pt>
                <c:pt idx="30">
                  <c:v>1023.6433</c:v>
                </c:pt>
                <c:pt idx="31">
                  <c:v>1011.3718</c:v>
                </c:pt>
                <c:pt idx="32">
                  <c:v>1013.4187</c:v>
                </c:pt>
                <c:pt idx="33">
                  <c:v>987.9988</c:v>
                </c:pt>
                <c:pt idx="34">
                  <c:v>968.4241</c:v>
                </c:pt>
                <c:pt idx="35">
                  <c:v>1003.1084</c:v>
                </c:pt>
                <c:pt idx="36">
                  <c:v>1042.9921</c:v>
                </c:pt>
                <c:pt idx="37">
                  <c:v>1039.4157</c:v>
                </c:pt>
                <c:pt idx="38">
                  <c:v>1113.1979</c:v>
                </c:pt>
                <c:pt idx="39">
                  <c:v>1146.5633</c:v>
                </c:pt>
                <c:pt idx="40">
                  <c:v>1149.3021</c:v>
                </c:pt>
                <c:pt idx="41">
                  <c:v>1157.9986</c:v>
                </c:pt>
                <c:pt idx="42">
                  <c:v>1172.3802</c:v>
                </c:pt>
                <c:pt idx="43">
                  <c:v>1195.6299</c:v>
                </c:pt>
                <c:pt idx="44">
                  <c:v>1104.2492</c:v>
                </c:pt>
                <c:pt idx="45">
                  <c:v>1057.1054</c:v>
                </c:pt>
                <c:pt idx="46">
                  <c:v>1068.5743</c:v>
                </c:pt>
                <c:pt idx="47">
                  <c:v>1057.7416</c:v>
                </c:pt>
                <c:pt idx="48">
                  <c:v>1041.1669</c:v>
                </c:pt>
                <c:pt idx="49">
                  <c:v>992.444</c:v>
                </c:pt>
                <c:pt idx="50">
                  <c:v>986.7553</c:v>
                </c:pt>
                <c:pt idx="51">
                  <c:v>995.6377</c:v>
                </c:pt>
                <c:pt idx="52">
                  <c:v>978.858</c:v>
                </c:pt>
                <c:pt idx="53">
                  <c:v>1115.5827</c:v>
                </c:pt>
                <c:pt idx="54">
                  <c:v>1111.7706</c:v>
                </c:pt>
                <c:pt idx="55">
                  <c:v>1112.0604</c:v>
                </c:pt>
                <c:pt idx="56">
                  <c:v>1143.9652</c:v>
                </c:pt>
                <c:pt idx="57">
                  <c:v>1111.1684</c:v>
                </c:pt>
                <c:pt idx="58">
                  <c:v>1082.4058</c:v>
                </c:pt>
                <c:pt idx="59">
                  <c:v>1058.4108</c:v>
                </c:pt>
                <c:pt idx="60">
                  <c:v>1073.0451</c:v>
                </c:pt>
                <c:pt idx="61">
                  <c:v>1076.8789</c:v>
                </c:pt>
                <c:pt idx="62">
                  <c:v>1018.6981</c:v>
                </c:pt>
                <c:pt idx="63">
                  <c:v>1043.7708</c:v>
                </c:pt>
                <c:pt idx="64">
                  <c:v>1058.0358</c:v>
                </c:pt>
                <c:pt idx="65">
                  <c:v>1048.5201</c:v>
                </c:pt>
                <c:pt idx="66">
                  <c:v>1070.8312</c:v>
                </c:pt>
                <c:pt idx="67">
                  <c:v>1106.2325</c:v>
                </c:pt>
                <c:pt idx="68">
                  <c:v>1138.4299</c:v>
                </c:pt>
                <c:pt idx="69">
                  <c:v>1157.2009</c:v>
                </c:pt>
                <c:pt idx="70">
                  <c:v>1131.9267</c:v>
                </c:pt>
                <c:pt idx="71">
                  <c:v>1178.2808</c:v>
                </c:pt>
                <c:pt idx="72">
                  <c:v>1257.4098</c:v>
                </c:pt>
                <c:pt idx="73">
                  <c:v>1235.9342</c:v>
                </c:pt>
                <c:pt idx="74">
                  <c:v>1239.3998</c:v>
                </c:pt>
                <c:pt idx="75">
                  <c:v>1195.8163</c:v>
                </c:pt>
                <c:pt idx="76">
                  <c:v>1169.5587</c:v>
                </c:pt>
                <c:pt idx="77">
                  <c:v>1187.0401</c:v>
                </c:pt>
                <c:pt idx="78">
                  <c:v>1226.9887</c:v>
                </c:pt>
                <c:pt idx="79">
                  <c:v>1188.6583</c:v>
                </c:pt>
                <c:pt idx="80">
                  <c:v>1209.4026</c:v>
                </c:pt>
                <c:pt idx="81">
                  <c:v>1191.8645</c:v>
                </c:pt>
                <c:pt idx="82">
                  <c:v>1171.0272</c:v>
                </c:pt>
                <c:pt idx="83">
                  <c:v>1172.7352</c:v>
                </c:pt>
                <c:pt idx="84">
                  <c:v>1184.3162</c:v>
                </c:pt>
                <c:pt idx="85">
                  <c:v>1159.0261</c:v>
                </c:pt>
                <c:pt idx="86">
                  <c:v>1149.506</c:v>
                </c:pt>
                <c:pt idx="87">
                  <c:v>1154.4819</c:v>
                </c:pt>
                <c:pt idx="88">
                  <c:v>1191.8127</c:v>
                </c:pt>
                <c:pt idx="89">
                  <c:v>1159.1866</c:v>
                </c:pt>
                <c:pt idx="90">
                  <c:v>1251.1625</c:v>
                </c:pt>
                <c:pt idx="91">
                  <c:v>1247.4102</c:v>
                </c:pt>
                <c:pt idx="92">
                  <c:v>1237.417</c:v>
                </c:pt>
                <c:pt idx="93">
                  <c:v>1258.524</c:v>
                </c:pt>
                <c:pt idx="94">
                  <c:v>1268.6126</c:v>
                </c:pt>
                <c:pt idx="95">
                  <c:v>1245.2757</c:v>
                </c:pt>
                <c:pt idx="96">
                  <c:v>1156.0451</c:v>
                </c:pt>
                <c:pt idx="97">
                  <c:v>1140.5598</c:v>
                </c:pt>
                <c:pt idx="98">
                  <c:v>1130.7299</c:v>
                </c:pt>
                <c:pt idx="99">
                  <c:v>1085.5625</c:v>
                </c:pt>
                <c:pt idx="100">
                  <c:v>1065.9822</c:v>
                </c:pt>
                <c:pt idx="101">
                  <c:v>1113.7533</c:v>
                </c:pt>
                <c:pt idx="102">
                  <c:v>1135.3211</c:v>
                </c:pt>
                <c:pt idx="103">
                  <c:v>1107.1971</c:v>
                </c:pt>
                <c:pt idx="104">
                  <c:v>1152.7359</c:v>
                </c:pt>
              </c:numCache>
            </c:numRef>
          </c:xVal>
          <c:yVal>
            <c:numRef>
              <c:f>Sheet1!$B$2:$B$106</c:f>
              <c:numCache>
                <c:formatCode>General</c:formatCode>
                <c:ptCount val="105"/>
                <c:pt idx="0">
                  <c:v>0.7388663967611336</c:v>
                </c:pt>
                <c:pt idx="1">
                  <c:v>0.7332178432221741</c:v>
                </c:pt>
                <c:pt idx="2">
                  <c:v>0.7306052855924978</c:v>
                </c:pt>
                <c:pt idx="3">
                  <c:v>0.7538522323192414</c:v>
                </c:pt>
                <c:pt idx="4">
                  <c:v>0.7212325469427058</c:v>
                </c:pt>
                <c:pt idx="5">
                  <c:v>0.7315926892950392</c:v>
                </c:pt>
                <c:pt idx="6">
                  <c:v>0.7261446298673513</c:v>
                </c:pt>
                <c:pt idx="7">
                  <c:v>0.7238842569887199</c:v>
                </c:pt>
                <c:pt idx="8">
                  <c:v>0.7350291467938527</c:v>
                </c:pt>
                <c:pt idx="9">
                  <c:v>0.7779232111692844</c:v>
                </c:pt>
                <c:pt idx="10">
                  <c:v>0.764249886000912</c:v>
                </c:pt>
                <c:pt idx="11">
                  <c:v>0.7534537725823592</c:v>
                </c:pt>
                <c:pt idx="12">
                  <c:v>0.743128435782109</c:v>
                </c:pt>
                <c:pt idx="13">
                  <c:v>0.7188854489164087</c:v>
                </c:pt>
                <c:pt idx="14">
                  <c:v>0.7435897435897436</c:v>
                </c:pt>
                <c:pt idx="15">
                  <c:v>0.7640056022408963</c:v>
                </c:pt>
                <c:pt idx="16">
                  <c:v>0.7468879668049793</c:v>
                </c:pt>
                <c:pt idx="17">
                  <c:v>0.7445759368836292</c:v>
                </c:pt>
                <c:pt idx="18">
                  <c:v>0.7780061664953751</c:v>
                </c:pt>
                <c:pt idx="19">
                  <c:v>0.783256880733945</c:v>
                </c:pt>
                <c:pt idx="20">
                  <c:v>0.7854640980735552</c:v>
                </c:pt>
                <c:pt idx="21">
                  <c:v>0.6683375104427736</c:v>
                </c:pt>
                <c:pt idx="22">
                  <c:v>0.7785527462946817</c:v>
                </c:pt>
                <c:pt idx="23">
                  <c:v>0.7422577422577422</c:v>
                </c:pt>
                <c:pt idx="24">
                  <c:v>0.6966993755575379</c:v>
                </c:pt>
                <c:pt idx="25">
                  <c:v>0.6558139534883721</c:v>
                </c:pt>
                <c:pt idx="26">
                  <c:v>0.6865008880994672</c:v>
                </c:pt>
                <c:pt idx="27">
                  <c:v>0.6941074523396881</c:v>
                </c:pt>
                <c:pt idx="28">
                  <c:v>0.7124887690925427</c:v>
                </c:pt>
                <c:pt idx="29">
                  <c:v>0.6793557833089312</c:v>
                </c:pt>
                <c:pt idx="30">
                  <c:v>0.7103250478011472</c:v>
                </c:pt>
                <c:pt idx="31">
                  <c:v>0.6926829268292682</c:v>
                </c:pt>
                <c:pt idx="32">
                  <c:v>0.6728452270620945</c:v>
                </c:pt>
                <c:pt idx="33">
                  <c:v>0.6557998483699773</c:v>
                </c:pt>
                <c:pt idx="34">
                  <c:v>0.6730523627075351</c:v>
                </c:pt>
                <c:pt idx="35">
                  <c:v>0.699641209636084</c:v>
                </c:pt>
                <c:pt idx="36">
                  <c:v>0.6188725490196079</c:v>
                </c:pt>
                <c:pt idx="37">
                  <c:v>0.6967015285599356</c:v>
                </c:pt>
                <c:pt idx="38">
                  <c:v>0.7246653919694073</c:v>
                </c:pt>
                <c:pt idx="39">
                  <c:v>0.719</c:v>
                </c:pt>
                <c:pt idx="40">
                  <c:v>0.7068676716917923</c:v>
                </c:pt>
                <c:pt idx="41">
                  <c:v>0.7012487992315082</c:v>
                </c:pt>
                <c:pt idx="42">
                  <c:v>0.6717373899119295</c:v>
                </c:pt>
                <c:pt idx="43">
                  <c:v>0.7066942719116632</c:v>
                </c:pt>
                <c:pt idx="44">
                  <c:v>0.718369259606373</c:v>
                </c:pt>
                <c:pt idx="45">
                  <c:v>0.7273431448489543</c:v>
                </c:pt>
                <c:pt idx="46">
                  <c:v>0.7064846416382252</c:v>
                </c:pt>
                <c:pt idx="47">
                  <c:v>0.7036753445635529</c:v>
                </c:pt>
                <c:pt idx="48">
                  <c:v>0.7064825930372148</c:v>
                </c:pt>
                <c:pt idx="49">
                  <c:v>0.731850353892821</c:v>
                </c:pt>
                <c:pt idx="50">
                  <c:v>0.7190839694656489</c:v>
                </c:pt>
                <c:pt idx="51">
                  <c:v>0.7288732394366197</c:v>
                </c:pt>
                <c:pt idx="52">
                  <c:v>0.7297524129248846</c:v>
                </c:pt>
                <c:pt idx="53">
                  <c:v>0.7183173588924388</c:v>
                </c:pt>
                <c:pt idx="54">
                  <c:v>0.7418617932609937</c:v>
                </c:pt>
                <c:pt idx="55">
                  <c:v>0.7417707150964813</c:v>
                </c:pt>
                <c:pt idx="56">
                  <c:v>0.7054794520547946</c:v>
                </c:pt>
                <c:pt idx="57">
                  <c:v>0.6957142857142857</c:v>
                </c:pt>
                <c:pt idx="58">
                  <c:v>0.7003338898163606</c:v>
                </c:pt>
                <c:pt idx="59">
                  <c:v>0.7200538358008075</c:v>
                </c:pt>
                <c:pt idx="60">
                  <c:v>0.7185420885160544</c:v>
                </c:pt>
                <c:pt idx="61">
                  <c:v>0.7042657916324856</c:v>
                </c:pt>
                <c:pt idx="62">
                  <c:v>0.7098646034816247</c:v>
                </c:pt>
                <c:pt idx="63">
                  <c:v>0.6990756590208833</c:v>
                </c:pt>
                <c:pt idx="64">
                  <c:v>0.6909286482610254</c:v>
                </c:pt>
                <c:pt idx="65">
                  <c:v>0.7095418242959226</c:v>
                </c:pt>
                <c:pt idx="66">
                  <c:v>0.7407094594594594</c:v>
                </c:pt>
                <c:pt idx="67">
                  <c:v>0.6703672075149445</c:v>
                </c:pt>
                <c:pt idx="68">
                  <c:v>0.7193195625759417</c:v>
                </c:pt>
                <c:pt idx="69">
                  <c:v>0.7346938775510204</c:v>
                </c:pt>
                <c:pt idx="70">
                  <c:v>0.7445034116755117</c:v>
                </c:pt>
                <c:pt idx="71">
                  <c:v>0.7516233766233766</c:v>
                </c:pt>
                <c:pt idx="72">
                  <c:v>0.7498121712997746</c:v>
                </c:pt>
                <c:pt idx="73">
                  <c:v>0.7576687116564417</c:v>
                </c:pt>
                <c:pt idx="74">
                  <c:v>0.7602474864655839</c:v>
                </c:pt>
                <c:pt idx="75">
                  <c:v>0.7729591836734694</c:v>
                </c:pt>
                <c:pt idx="76">
                  <c:v>0.7644521138912856</c:v>
                </c:pt>
                <c:pt idx="77">
                  <c:v>0.7742248062015504</c:v>
                </c:pt>
                <c:pt idx="78">
                  <c:v>0.7227319062181448</c:v>
                </c:pt>
                <c:pt idx="79">
                  <c:v>0.7395529640427599</c:v>
                </c:pt>
                <c:pt idx="80">
                  <c:v>0.7421875</c:v>
                </c:pt>
                <c:pt idx="81">
                  <c:v>0.7648026315789473</c:v>
                </c:pt>
                <c:pt idx="82">
                  <c:v>0.7436676798378926</c:v>
                </c:pt>
                <c:pt idx="83">
                  <c:v>0.7456445993031359</c:v>
                </c:pt>
                <c:pt idx="84">
                  <c:v>0.7439165701042874</c:v>
                </c:pt>
                <c:pt idx="85">
                  <c:v>0.7633507853403141</c:v>
                </c:pt>
                <c:pt idx="86">
                  <c:v>0.756797583081571</c:v>
                </c:pt>
                <c:pt idx="87">
                  <c:v>0.7222605099931082</c:v>
                </c:pt>
                <c:pt idx="88">
                  <c:v>0.7378210806023029</c:v>
                </c:pt>
                <c:pt idx="89">
                  <c:v>0.7546583850931677</c:v>
                </c:pt>
                <c:pt idx="90">
                  <c:v>0.7424593967517401</c:v>
                </c:pt>
                <c:pt idx="91">
                  <c:v>0.7324561403508771</c:v>
                </c:pt>
                <c:pt idx="92">
                  <c:v>0.7304582210242587</c:v>
                </c:pt>
                <c:pt idx="93">
                  <c:v>0.7317731773177317</c:v>
                </c:pt>
                <c:pt idx="94">
                  <c:v>0.7111534795042898</c:v>
                </c:pt>
                <c:pt idx="95">
                  <c:v>0.7176391683433937</c:v>
                </c:pt>
                <c:pt idx="96">
                  <c:v>0.7353702744691869</c:v>
                </c:pt>
                <c:pt idx="97">
                  <c:v>0.7316775244299675</c:v>
                </c:pt>
                <c:pt idx="98">
                  <c:v>0.7306532663316583</c:v>
                </c:pt>
                <c:pt idx="99">
                  <c:v>0.7319676860934795</c:v>
                </c:pt>
                <c:pt idx="100">
                  <c:v>0.7406526907283337</c:v>
                </c:pt>
                <c:pt idx="101">
                  <c:v>0.7412312097351468</c:v>
                </c:pt>
                <c:pt idx="102">
                  <c:v>0.7318026380068393</c:v>
                </c:pt>
                <c:pt idx="103">
                  <c:v>0.7335581787521079</c:v>
                </c:pt>
                <c:pt idx="104">
                  <c:v>0.698122291766971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94.4832</c:v>
                </c:pt>
                <c:pt idx="1">
                  <c:v>1186.9309</c:v>
                </c:pt>
                <c:pt idx="2">
                  <c:v>1183.8073</c:v>
                </c:pt>
                <c:pt idx="3">
                  <c:v>1201.4626</c:v>
                </c:pt>
                <c:pt idx="4">
                  <c:v>1226.8369</c:v>
                </c:pt>
                <c:pt idx="5">
                  <c:v>1204.9798</c:v>
                </c:pt>
                <c:pt idx="6">
                  <c:v>1123.6488</c:v>
                </c:pt>
                <c:pt idx="7">
                  <c:v>1140.1762</c:v>
                </c:pt>
                <c:pt idx="8">
                  <c:v>1199.2802</c:v>
                </c:pt>
                <c:pt idx="9">
                  <c:v>1136.2413</c:v>
                </c:pt>
                <c:pt idx="10">
                  <c:v>1164.855</c:v>
                </c:pt>
                <c:pt idx="11">
                  <c:v>1095.279</c:v>
                </c:pt>
                <c:pt idx="12">
                  <c:v>1119.9833</c:v>
                </c:pt>
                <c:pt idx="13">
                  <c:v>1154.8062</c:v>
                </c:pt>
                <c:pt idx="14">
                  <c:v>1169.9403</c:v>
                </c:pt>
                <c:pt idx="15">
                  <c:v>1179.4703</c:v>
                </c:pt>
                <c:pt idx="16">
                  <c:v>1215.2315</c:v>
                </c:pt>
                <c:pt idx="17">
                  <c:v>1181.5695</c:v>
                </c:pt>
                <c:pt idx="18">
                  <c:v>1266.651</c:v>
                </c:pt>
                <c:pt idx="19">
                  <c:v>1325.1554</c:v>
                </c:pt>
                <c:pt idx="20">
                  <c:v>1288.2806</c:v>
                </c:pt>
                <c:pt idx="21">
                  <c:v>1222.6268</c:v>
                </c:pt>
                <c:pt idx="22">
                  <c:v>1203.4635</c:v>
                </c:pt>
                <c:pt idx="23">
                  <c:v>1112.2752</c:v>
                </c:pt>
                <c:pt idx="24">
                  <c:v>1069.0157</c:v>
                </c:pt>
                <c:pt idx="25">
                  <c:v>1070.203</c:v>
                </c:pt>
                <c:pt idx="26">
                  <c:v>1104.8998</c:v>
                </c:pt>
                <c:pt idx="27">
                  <c:v>1158.3235</c:v>
                </c:pt>
                <c:pt idx="28">
                  <c:v>1208.2685</c:v>
                </c:pt>
                <c:pt idx="29">
                  <c:v>1207.8296</c:v>
                </c:pt>
                <c:pt idx="30">
                  <c:v>1213.4684</c:v>
                </c:pt>
                <c:pt idx="31">
                  <c:v>1186.7628</c:v>
                </c:pt>
                <c:pt idx="32">
                  <c:v>1221.298</c:v>
                </c:pt>
                <c:pt idx="33">
                  <c:v>1220.1392</c:v>
                </c:pt>
                <c:pt idx="34">
                  <c:v>1224.691</c:v>
                </c:pt>
                <c:pt idx="35">
                  <c:v>1268.1791</c:v>
                </c:pt>
                <c:pt idx="36">
                  <c:v>1254.0056</c:v>
                </c:pt>
                <c:pt idx="37">
                  <c:v>1296.6489</c:v>
                </c:pt>
                <c:pt idx="38">
                  <c:v>1281.3242</c:v>
                </c:pt>
                <c:pt idx="39">
                  <c:v>1288.2398</c:v>
                </c:pt>
                <c:pt idx="40">
                  <c:v>1290.8786</c:v>
                </c:pt>
                <c:pt idx="41">
                  <c:v>1343.2445</c:v>
                </c:pt>
                <c:pt idx="42">
                  <c:v>1339.6569</c:v>
                </c:pt>
                <c:pt idx="43">
                  <c:v>1345.0732</c:v>
                </c:pt>
                <c:pt idx="44">
                  <c:v>1275.4072</c:v>
                </c:pt>
                <c:pt idx="45">
                  <c:v>1202.6339</c:v>
                </c:pt>
                <c:pt idx="46">
                  <c:v>1220.6896</c:v>
                </c:pt>
                <c:pt idx="47">
                  <c:v>1202.5467</c:v>
                </c:pt>
                <c:pt idx="48">
                  <c:v>1173.0311</c:v>
                </c:pt>
                <c:pt idx="49">
                  <c:v>1170.8639</c:v>
                </c:pt>
                <c:pt idx="50">
                  <c:v>1127.3929</c:v>
                </c:pt>
                <c:pt idx="51">
                  <c:v>1114.4589</c:v>
                </c:pt>
              </c:numCache>
            </c:numRef>
          </c:xVal>
          <c:yVal>
            <c:numRef>
              <c:f>Sheet1!$B$109:$B$160</c:f>
              <c:numCache>
                <c:formatCode>General</c:formatCode>
                <c:ptCount val="52"/>
                <c:pt idx="0">
                  <c:v>0.7593582887700535</c:v>
                </c:pt>
                <c:pt idx="1">
                  <c:v>0.7642822851656265</c:v>
                </c:pt>
                <c:pt idx="2">
                  <c:v>0.7757793764988009</c:v>
                </c:pt>
                <c:pt idx="3">
                  <c:v>0.7538880248833593</c:v>
                </c:pt>
                <c:pt idx="4">
                  <c:v>0.7630646589902569</c:v>
                </c:pt>
                <c:pt idx="5">
                  <c:v>0.7573368374945247</c:v>
                </c:pt>
                <c:pt idx="6">
                  <c:v>0.7630795406210124</c:v>
                </c:pt>
                <c:pt idx="7">
                  <c:v>0.741900054914882</c:v>
                </c:pt>
                <c:pt idx="8">
                  <c:v>0.7042606516290727</c:v>
                </c:pt>
                <c:pt idx="9">
                  <c:v>0.7099069512862616</c:v>
                </c:pt>
                <c:pt idx="10">
                  <c:v>0.7352625937834941</c:v>
                </c:pt>
                <c:pt idx="11">
                  <c:v>0.7179186228482003</c:v>
                </c:pt>
                <c:pt idx="12">
                  <c:v>0.7128486511202561</c:v>
                </c:pt>
                <c:pt idx="13">
                  <c:v>0.6940681924334423</c:v>
                </c:pt>
                <c:pt idx="14">
                  <c:v>0.735978835978836</c:v>
                </c:pt>
                <c:pt idx="15">
                  <c:v>0.7482435597189696</c:v>
                </c:pt>
                <c:pt idx="16">
                  <c:v>0.7643400138217</c:v>
                </c:pt>
                <c:pt idx="17">
                  <c:v>0.7531319086219602</c:v>
                </c:pt>
                <c:pt idx="18">
                  <c:v>0.7629839471199245</c:v>
                </c:pt>
                <c:pt idx="19">
                  <c:v>0.7573051948051948</c:v>
                </c:pt>
                <c:pt idx="20">
                  <c:v>0.7653736991485336</c:v>
                </c:pt>
                <c:pt idx="21">
                  <c:v>0.7605633802816901</c:v>
                </c:pt>
                <c:pt idx="22">
                  <c:v>0.7373417721518988</c:v>
                </c:pt>
                <c:pt idx="23">
                  <c:v>0.7603686635944701</c:v>
                </c:pt>
                <c:pt idx="24">
                  <c:v>0.7781402936378466</c:v>
                </c:pt>
                <c:pt idx="25">
                  <c:v>0.7612847222222222</c:v>
                </c:pt>
                <c:pt idx="26">
                  <c:v>0.7468805704099821</c:v>
                </c:pt>
                <c:pt idx="27">
                  <c:v>0.7647534357316087</c:v>
                </c:pt>
                <c:pt idx="28">
                  <c:v>0.7298387096774194</c:v>
                </c:pt>
                <c:pt idx="29">
                  <c:v>0.7191235059760956</c:v>
                </c:pt>
                <c:pt idx="30">
                  <c:v>0.7212435233160622</c:v>
                </c:pt>
                <c:pt idx="31">
                  <c:v>0.7332549941245593</c:v>
                </c:pt>
                <c:pt idx="32">
                  <c:v>0.735593220338983</c:v>
                </c:pt>
                <c:pt idx="33">
                  <c:v>0.7165419783873649</c:v>
                </c:pt>
                <c:pt idx="34">
                  <c:v>0.7065095398428731</c:v>
                </c:pt>
                <c:pt idx="35">
                  <c:v>0.6845593108018555</c:v>
                </c:pt>
                <c:pt idx="36">
                  <c:v>0.7320328542094456</c:v>
                </c:pt>
                <c:pt idx="37">
                  <c:v>0.7077393075356415</c:v>
                </c:pt>
                <c:pt idx="38">
                  <c:v>0.7621247113163973</c:v>
                </c:pt>
                <c:pt idx="39">
                  <c:v>0.6793760831889082</c:v>
                </c:pt>
                <c:pt idx="40">
                  <c:v>0.6988973706530959</c:v>
                </c:pt>
                <c:pt idx="41">
                  <c:v>0.6842936069455406</c:v>
                </c:pt>
                <c:pt idx="42">
                  <c:v>0.7004484304932735</c:v>
                </c:pt>
                <c:pt idx="43">
                  <c:v>0.7175301632363378</c:v>
                </c:pt>
                <c:pt idx="44">
                  <c:v>0.7336532693461307</c:v>
                </c:pt>
                <c:pt idx="45">
                  <c:v>0.7452681388012619</c:v>
                </c:pt>
                <c:pt idx="46">
                  <c:v>0.7230113636363636</c:v>
                </c:pt>
                <c:pt idx="47">
                  <c:v>0.7117940199335548</c:v>
                </c:pt>
                <c:pt idx="48">
                  <c:v>0.7282850779510023</c:v>
                </c:pt>
                <c:pt idx="49">
                  <c:v>0.7233972240581625</c:v>
                </c:pt>
                <c:pt idx="50">
                  <c:v>0.7319177173191772</c:v>
                </c:pt>
                <c:pt idx="51">
                  <c:v>0.741272304111714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69.9781311011652</c:v>
                </c:pt>
              </c:numCache>
            </c:numRef>
          </c:xVal>
          <c:yVal>
            <c:numRef>
              <c:f>Sheet1!$B$163:$B$164</c:f>
              <c:numCache>
                <c:formatCode>General</c:formatCode>
                <c:ptCount val="2"/>
                <c:pt idx="0">
                  <c:v>0.7516742045935362</c:v>
                </c:pt>
                <c:pt idx="1">
                  <c:v>0.751674204593536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69.9781311011652</c:v>
                </c:pt>
                <c:pt idx="1">
                  <c:v>1069.9781311011652</c:v>
                </c:pt>
              </c:numCache>
            </c:numRef>
          </c:xVal>
          <c:yVal>
            <c:numRef>
              <c:f>Sheet1!$B$167:$B$168</c:f>
              <c:numCache>
                <c:formatCode>General</c:formatCode>
                <c:ptCount val="2"/>
                <c:pt idx="0">
                  <c:v>0.751674204593536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54.1286215945515</c:v>
                </c:pt>
              </c:numCache>
            </c:numRef>
          </c:xVal>
          <c:yVal>
            <c:numRef>
              <c:f>Sheet1!$B$171:$B$172</c:f>
              <c:numCache>
                <c:formatCode>General</c:formatCode>
                <c:ptCount val="2"/>
                <c:pt idx="0">
                  <c:v>0.7536610798852876</c:v>
                </c:pt>
                <c:pt idx="1">
                  <c:v>0.753661079885287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54.1286215945515</c:v>
                </c:pt>
                <c:pt idx="1">
                  <c:v>1054.1286215945515</c:v>
                </c:pt>
              </c:numCache>
            </c:numRef>
          </c:xVal>
          <c:yVal>
            <c:numRef>
              <c:f>Sheet1!$B$175:$B$176</c:f>
              <c:numCache>
                <c:formatCode>General</c:formatCode>
                <c:ptCount val="2"/>
                <c:pt idx="0">
                  <c:v>0.75366107988528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47.7162566538675</c:v>
                </c:pt>
              </c:numCache>
            </c:numRef>
          </c:xVal>
          <c:yVal>
            <c:numRef>
              <c:f>Sheet1!$B$179:$B$180</c:f>
              <c:numCache>
                <c:formatCode>General</c:formatCode>
                <c:ptCount val="2"/>
                <c:pt idx="0">
                  <c:v>0.7168572899749633</c:v>
                </c:pt>
                <c:pt idx="1">
                  <c:v>0.716857289974963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47.7162566538675</c:v>
                </c:pt>
                <c:pt idx="1">
                  <c:v>1347.7162566538675</c:v>
                </c:pt>
              </c:numCache>
            </c:numRef>
          </c:xVal>
          <c:yVal>
            <c:numRef>
              <c:f>Sheet1!$B$183:$B$184</c:f>
              <c:numCache>
                <c:formatCode>General</c:formatCode>
                <c:ptCount val="2"/>
                <c:pt idx="0">
                  <c:v>0.716857289974963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94.4832</c:v>
                </c:pt>
                <c:pt idx="1">
                  <c:v>1186.9309</c:v>
                </c:pt>
                <c:pt idx="2">
                  <c:v>1183.8073</c:v>
                </c:pt>
                <c:pt idx="3">
                  <c:v>1201.4626</c:v>
                </c:pt>
                <c:pt idx="4">
                  <c:v>1226.8369</c:v>
                </c:pt>
                <c:pt idx="5">
                  <c:v>1204.9798</c:v>
                </c:pt>
                <c:pt idx="6">
                  <c:v>1123.6488</c:v>
                </c:pt>
                <c:pt idx="7">
                  <c:v>1140.1762</c:v>
                </c:pt>
                <c:pt idx="8">
                  <c:v>1199.2802</c:v>
                </c:pt>
                <c:pt idx="9">
                  <c:v>1136.2413</c:v>
                </c:pt>
                <c:pt idx="10">
                  <c:v>1164.855</c:v>
                </c:pt>
                <c:pt idx="11">
                  <c:v>1095.279</c:v>
                </c:pt>
                <c:pt idx="12">
                  <c:v>1119.9833</c:v>
                </c:pt>
                <c:pt idx="13">
                  <c:v>1154.8062</c:v>
                </c:pt>
                <c:pt idx="14">
                  <c:v>1169.9403</c:v>
                </c:pt>
                <c:pt idx="15">
                  <c:v>1179.4703</c:v>
                </c:pt>
                <c:pt idx="16">
                  <c:v>1215.2315</c:v>
                </c:pt>
                <c:pt idx="17">
                  <c:v>1181.5695</c:v>
                </c:pt>
                <c:pt idx="18">
                  <c:v>1266.651</c:v>
                </c:pt>
                <c:pt idx="19">
                  <c:v>1325.1554</c:v>
                </c:pt>
                <c:pt idx="20">
                  <c:v>1288.2806</c:v>
                </c:pt>
                <c:pt idx="21">
                  <c:v>1222.6268</c:v>
                </c:pt>
                <c:pt idx="22">
                  <c:v>1203.4635</c:v>
                </c:pt>
                <c:pt idx="23">
                  <c:v>1112.2752</c:v>
                </c:pt>
                <c:pt idx="24">
                  <c:v>1069.0157</c:v>
                </c:pt>
                <c:pt idx="25">
                  <c:v>1070.203</c:v>
                </c:pt>
                <c:pt idx="26">
                  <c:v>1104.8998</c:v>
                </c:pt>
                <c:pt idx="27">
                  <c:v>1158.3235</c:v>
                </c:pt>
                <c:pt idx="28">
                  <c:v>1208.2685</c:v>
                </c:pt>
                <c:pt idx="29">
                  <c:v>1207.8296</c:v>
                </c:pt>
                <c:pt idx="30">
                  <c:v>1213.4684</c:v>
                </c:pt>
                <c:pt idx="31">
                  <c:v>1186.7628</c:v>
                </c:pt>
                <c:pt idx="32">
                  <c:v>1221.298</c:v>
                </c:pt>
                <c:pt idx="33">
                  <c:v>1220.1392</c:v>
                </c:pt>
                <c:pt idx="34">
                  <c:v>1224.691</c:v>
                </c:pt>
                <c:pt idx="35">
                  <c:v>1268.1791</c:v>
                </c:pt>
                <c:pt idx="36">
                  <c:v>1254.0056</c:v>
                </c:pt>
                <c:pt idx="37">
                  <c:v>1296.6489</c:v>
                </c:pt>
                <c:pt idx="38">
                  <c:v>1281.3242</c:v>
                </c:pt>
                <c:pt idx="39">
                  <c:v>1288.2398</c:v>
                </c:pt>
                <c:pt idx="40">
                  <c:v>1290.8786</c:v>
                </c:pt>
                <c:pt idx="41">
                  <c:v>1343.2445</c:v>
                </c:pt>
                <c:pt idx="42">
                  <c:v>1339.6569</c:v>
                </c:pt>
                <c:pt idx="43">
                  <c:v>1345.0732</c:v>
                </c:pt>
                <c:pt idx="44">
                  <c:v>1275.4072</c:v>
                </c:pt>
                <c:pt idx="45">
                  <c:v>1202.6339</c:v>
                </c:pt>
                <c:pt idx="46">
                  <c:v>1220.6896</c:v>
                </c:pt>
                <c:pt idx="47">
                  <c:v>1202.5467</c:v>
                </c:pt>
                <c:pt idx="48">
                  <c:v>1173.0311</c:v>
                </c:pt>
                <c:pt idx="49">
                  <c:v>1170.8639</c:v>
                </c:pt>
                <c:pt idx="50">
                  <c:v>1127.3929</c:v>
                </c:pt>
                <c:pt idx="51">
                  <c:v>1114.4589</c:v>
                </c:pt>
                <c:pt idx="52">
                  <c:v>1054.1286215945515</c:v>
                </c:pt>
                <c:pt idx="53">
                  <c:v>1069.9781311011652</c:v>
                </c:pt>
                <c:pt idx="54">
                  <c:v>1347.7162566538675</c:v>
                </c:pt>
              </c:numCache>
            </c:numRef>
          </c:xVal>
          <c:yVal>
            <c:numRef>
              <c:f>Sheet1!$B$187:$B$241</c:f>
              <c:numCache>
                <c:formatCode>General</c:formatCode>
                <c:ptCount val="55"/>
                <c:pt idx="0">
                  <c:v>0.7360664001381565</c:v>
                </c:pt>
                <c:pt idx="1">
                  <c:v>0.7370131473078171</c:v>
                </c:pt>
                <c:pt idx="2">
                  <c:v>0.7374047180159659</c:v>
                </c:pt>
                <c:pt idx="3">
                  <c:v>0.7351914710177655</c:v>
                </c:pt>
                <c:pt idx="4">
                  <c:v>0.7320105795400544</c:v>
                </c:pt>
                <c:pt idx="5">
                  <c:v>0.734750559090918</c:v>
                </c:pt>
                <c:pt idx="6">
                  <c:v>0.7449461146244194</c:v>
                </c:pt>
                <c:pt idx="7">
                  <c:v>0.7428742598024648</c:v>
                </c:pt>
                <c:pt idx="8">
                  <c:v>0.7354650540352659</c:v>
                </c:pt>
                <c:pt idx="9">
                  <c:v>0.7433675340947861</c:v>
                </c:pt>
                <c:pt idx="10">
                  <c:v>0.7397805553613517</c:v>
                </c:pt>
                <c:pt idx="11">
                  <c:v>0.7485025183496204</c:v>
                </c:pt>
                <c:pt idx="12">
                  <c:v>0.74540561725943</c:v>
                </c:pt>
                <c:pt idx="13">
                  <c:v>0.7410402607436173</c:v>
                </c:pt>
                <c:pt idx="14">
                  <c:v>0.7391430683200696</c:v>
                </c:pt>
                <c:pt idx="15">
                  <c:v>0.7379483990766782</c:v>
                </c:pt>
                <c:pt idx="16">
                  <c:v>0.7334654184107002</c:v>
                </c:pt>
                <c:pt idx="17">
                  <c:v>0.737685245910285</c:v>
                </c:pt>
                <c:pt idx="18">
                  <c:v>0.7270195322448487</c:v>
                </c:pt>
                <c:pt idx="19">
                  <c:v>0.7196854916065414</c:v>
                </c:pt>
                <c:pt idx="20">
                  <c:v>0.7243080718181059</c:v>
                </c:pt>
                <c:pt idx="21">
                  <c:v>0.7325383525706528</c:v>
                </c:pt>
                <c:pt idx="22">
                  <c:v>0.7349406406201683</c:v>
                </c:pt>
                <c:pt idx="23">
                  <c:v>0.7463718953281588</c:v>
                </c:pt>
                <c:pt idx="24">
                  <c:v>0.7517948537892807</c:v>
                </c:pt>
                <c:pt idx="25">
                  <c:v>0.7516460153010668</c:v>
                </c:pt>
                <c:pt idx="26">
                  <c:v>0.7472964665283381</c:v>
                </c:pt>
                <c:pt idx="27">
                  <c:v>0.7405993362808911</c:v>
                </c:pt>
                <c:pt idx="28">
                  <c:v>0.7343382916469788</c:v>
                </c:pt>
                <c:pt idx="29">
                  <c:v>0.7343933116187442</c:v>
                </c:pt>
                <c:pt idx="30">
                  <c:v>0.733686438488667</c:v>
                </c:pt>
                <c:pt idx="31">
                  <c:v>0.7370342201199697</c:v>
                </c:pt>
                <c:pt idx="32">
                  <c:v>0.7327049293272759</c:v>
                </c:pt>
                <c:pt idx="33">
                  <c:v>0.7328501950900506</c:v>
                </c:pt>
                <c:pt idx="34">
                  <c:v>0.7322795869618166</c:v>
                </c:pt>
                <c:pt idx="35">
                  <c:v>0.7268279714819078</c:v>
                </c:pt>
                <c:pt idx="36">
                  <c:v>0.7286047442543326</c:v>
                </c:pt>
                <c:pt idx="37">
                  <c:v>0.7232590318779724</c:v>
                </c:pt>
                <c:pt idx="38">
                  <c:v>0.7251801176863879</c:v>
                </c:pt>
                <c:pt idx="39">
                  <c:v>0.7243131864566295</c:v>
                </c:pt>
                <c:pt idx="40">
                  <c:v>0.7239823896885853</c:v>
                </c:pt>
                <c:pt idx="41">
                  <c:v>0.7174178639663911</c:v>
                </c:pt>
                <c:pt idx="42">
                  <c:v>0.7178676011518677</c:v>
                </c:pt>
                <c:pt idx="43">
                  <c:v>0.7171886203519745</c:v>
                </c:pt>
                <c:pt idx="44">
                  <c:v>0.7259218656311043</c:v>
                </c:pt>
                <c:pt idx="45">
                  <c:v>0.7350446382701491</c:v>
                </c:pt>
                <c:pt idx="46">
                  <c:v>0.7327811976134961</c:v>
                </c:pt>
                <c:pt idx="47">
                  <c:v>0.7350555695564056</c:v>
                </c:pt>
                <c:pt idx="48">
                  <c:v>0.7387556093801457</c:v>
                </c:pt>
                <c:pt idx="49">
                  <c:v>0.7390272869440784</c:v>
                </c:pt>
                <c:pt idx="50">
                  <c:v>0.7444767587887235</c:v>
                </c:pt>
                <c:pt idx="51">
                  <c:v>0.746098149344235</c:v>
                </c:pt>
                <c:pt idx="52">
                  <c:v>0.7536610798852876</c:v>
                </c:pt>
                <c:pt idx="53">
                  <c:v>0.7516742045935362</c:v>
                </c:pt>
                <c:pt idx="54">
                  <c:v>0.716857289974963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17.0"/>
          <c:min val="60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425569176882662"/>
          <c:min val="0.49509803921568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7602474864655839</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7602474864655839</c:v>
                </c:pt>
              </c:numCache>
            </c:numRef>
          </c:xVal>
          <c:yVal>
            <c:numRef>
              <c:f>Sheet1!$B$7:$B$8</c:f>
              <c:numCache>
                <c:formatCode>General</c:formatCode>
                <c:ptCount val="2"/>
                <c:pt idx="0">
                  <c:v>0.7602474864655839</c:v>
                </c:pt>
                <c:pt idx="1">
                  <c:v>0.7602474864655839</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7602474864655839</c:v>
                </c:pt>
                <c:pt idx="1">
                  <c:v>0.7602474864655839</c:v>
                </c:pt>
              </c:numCache>
            </c:numRef>
          </c:xVal>
          <c:yVal>
            <c:numRef>
              <c:f>Sheet1!$B$11:$B$12</c:f>
              <c:numCache>
                <c:formatCode>General</c:formatCode>
                <c:ptCount val="2"/>
                <c:pt idx="0">
                  <c:v>0.760247486465583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7602474864655839</c:v>
                </c:pt>
                <c:pt idx="2">
                  <c:v>0</c:v>
                </c:pt>
              </c:numCache>
            </c:numRef>
          </c:xVal>
          <c:yVal>
            <c:numRef>
              <c:f>Sheet1!$B$15:$B$17</c:f>
              <c:numCache>
                <c:formatCode>General</c:formatCode>
                <c:ptCount val="3"/>
                <c:pt idx="0">
                  <c:v>0</c:v>
                </c:pt>
                <c:pt idx="1">
                  <c:v>0.7602474864655839</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opperto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122969837587007"/>
          <c:min val="0.608197989172467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1239.3998</c:v>
                </c:pt>
              </c:numCache>
            </c:numRef>
          </c:xVal>
          <c:yVal>
            <c:numRef>
              <c:f>Sheet1!$B$2:$B$2</c:f>
              <c:numCache>
                <c:formatCode>General</c:formatCode>
                <c:ptCount val="1"/>
                <c:pt idx="0">
                  <c:v>0.7602474864655839</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7602474864655839</c:v>
                </c:pt>
              </c:numCache>
            </c:numRef>
          </c:xVal>
          <c:yVal>
            <c:numRef>
              <c:f>Sheet1!$B$7:$B$8</c:f>
              <c:numCache>
                <c:formatCode>General</c:formatCode>
                <c:ptCount val="2"/>
                <c:pt idx="0">
                  <c:v>0.7602474864655839</c:v>
                </c:pt>
                <c:pt idx="1">
                  <c:v>0.7602474864655839</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7602474864655839</c:v>
                </c:pt>
                <c:pt idx="1">
                  <c:v>0.7602474864655839</c:v>
                </c:pt>
              </c:numCache>
            </c:numRef>
          </c:xVal>
          <c:yVal>
            <c:numRef>
              <c:f>Sheet1!$B$11:$B$12</c:f>
              <c:numCache>
                <c:formatCode>General</c:formatCode>
                <c:ptCount val="2"/>
                <c:pt idx="0">
                  <c:v>0.760247486465583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7602474864655839</c:v>
                </c:pt>
                <c:pt idx="2">
                  <c:v>0</c:v>
                </c:pt>
              </c:numCache>
            </c:numRef>
          </c:xVal>
          <c:yVal>
            <c:numRef>
              <c:f>Sheet1!$B$15:$B$17</c:f>
              <c:numCache>
                <c:formatCode>General</c:formatCode>
                <c:ptCount val="3"/>
                <c:pt idx="0">
                  <c:v>0</c:v>
                </c:pt>
                <c:pt idx="1">
                  <c:v>0.7602474864655839</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8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122969837587007"/>
          <c:min val="0.608197989172467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979307515337424</c:v>
                </c:pt>
                <c:pt idx="1">
                  <c:v>0.7915762214136206</c:v>
                </c:pt>
                <c:pt idx="2">
                  <c:v>0.7806088125466767</c:v>
                </c:pt>
                <c:pt idx="3">
                  <c:v>0.8109867025365103</c:v>
                </c:pt>
                <c:pt idx="4">
                  <c:v>0.9306747345690118</c:v>
                </c:pt>
                <c:pt idx="5">
                  <c:v>0.820239936733887</c:v>
                </c:pt>
                <c:pt idx="6">
                  <c:v>0.7930755354200988</c:v>
                </c:pt>
                <c:pt idx="7">
                  <c:v>0.8498204267768026</c:v>
                </c:pt>
                <c:pt idx="8">
                  <c:v>0.8328628457708293</c:v>
                </c:pt>
                <c:pt idx="9">
                  <c:v>0.7930932345298034</c:v>
                </c:pt>
                <c:pt idx="10">
                  <c:v>0.8268321480733825</c:v>
                </c:pt>
                <c:pt idx="11">
                  <c:v>0.8128254506892895</c:v>
                </c:pt>
                <c:pt idx="12">
                  <c:v>0.869917755199186</c:v>
                </c:pt>
                <c:pt idx="13">
                  <c:v>0.8648900613496933</c:v>
                </c:pt>
                <c:pt idx="14">
                  <c:v>0.8644736864677008</c:v>
                </c:pt>
                <c:pt idx="15">
                  <c:v>0.9195948029068487</c:v>
                </c:pt>
                <c:pt idx="16">
                  <c:v>0.9476523786935305</c:v>
                </c:pt>
                <c:pt idx="17">
                  <c:v>0.9836009020162718</c:v>
                </c:pt>
                <c:pt idx="18">
                  <c:v>0.9667452360515021</c:v>
                </c:pt>
                <c:pt idx="19">
                  <c:v>0.9348586225212465</c:v>
                </c:pt>
                <c:pt idx="20">
                  <c:v>1.0597045769764217</c:v>
                </c:pt>
                <c:pt idx="21">
                  <c:v>0.8761610859728506</c:v>
                </c:pt>
                <c:pt idx="22">
                  <c:v>1.0893815689981097</c:v>
                </c:pt>
                <c:pt idx="23">
                  <c:v>1.3867537194147301</c:v>
                </c:pt>
                <c:pt idx="24">
                  <c:v>1.213933693488769</c:v>
                </c:pt>
                <c:pt idx="25">
                  <c:v>1.0028373866446827</c:v>
                </c:pt>
                <c:pt idx="26">
                  <c:v>1.4270624710168929</c:v>
                </c:pt>
                <c:pt idx="27">
                  <c:v>0.8156652862161381</c:v>
                </c:pt>
                <c:pt idx="28">
                  <c:v>0.9148546543200322</c:v>
                </c:pt>
                <c:pt idx="29">
                  <c:v>0.8603358490566038</c:v>
                </c:pt>
                <c:pt idx="30">
                  <c:v>0.9829983599088838</c:v>
                </c:pt>
                <c:pt idx="31">
                  <c:v>0.9159685497470489</c:v>
                </c:pt>
                <c:pt idx="32">
                  <c:v>0.9102088826298393</c:v>
                </c:pt>
                <c:pt idx="33">
                  <c:v>0.9141329675354367</c:v>
                </c:pt>
                <c:pt idx="34">
                  <c:v>0.9878149723821836</c:v>
                </c:pt>
                <c:pt idx="35">
                  <c:v>0.8442409833952426</c:v>
                </c:pt>
                <c:pt idx="36">
                  <c:v>1.001271731070281</c:v>
                </c:pt>
                <c:pt idx="37">
                  <c:v>0.886265141955836</c:v>
                </c:pt>
                <c:pt idx="38">
                  <c:v>0.9872986934062595</c:v>
                </c:pt>
                <c:pt idx="39">
                  <c:v>1.021114494843367</c:v>
                </c:pt>
                <c:pt idx="40">
                  <c:v>1.0687806308450996</c:v>
                </c:pt>
                <c:pt idx="41">
                  <c:v>0.9905487097682274</c:v>
                </c:pt>
                <c:pt idx="42">
                  <c:v>1.1312399321746502</c:v>
                </c:pt>
                <c:pt idx="43">
                  <c:v>1.1088378106396068</c:v>
                </c:pt>
                <c:pt idx="44">
                  <c:v>0.9814965519024387</c:v>
                </c:pt>
                <c:pt idx="45">
                  <c:v>1.0416599654874892</c:v>
                </c:pt>
                <c:pt idx="46">
                  <c:v>1.019468704813055</c:v>
                </c:pt>
                <c:pt idx="47">
                  <c:v>0.9996847929958953</c:v>
                </c:pt>
                <c:pt idx="48">
                  <c:v>1.08118064177809</c:v>
                </c:pt>
                <c:pt idx="49">
                  <c:v>0.9963201714615448</c:v>
                </c:pt>
                <c:pt idx="50">
                  <c:v>0.8931734110439271</c:v>
                </c:pt>
                <c:pt idx="51">
                  <c:v>0.9847629805786761</c:v>
                </c:pt>
                <c:pt idx="52">
                  <c:v>0.9417559245283019</c:v>
                </c:pt>
                <c:pt idx="53">
                  <c:v>1.0717424317617865</c:v>
                </c:pt>
                <c:pt idx="54">
                  <c:v>0.9850739354486497</c:v>
                </c:pt>
                <c:pt idx="55">
                  <c:v>1.0131463909325908</c:v>
                </c:pt>
                <c:pt idx="56">
                  <c:v>1.0012635149348283</c:v>
                </c:pt>
                <c:pt idx="57">
                  <c:v>1.158005899755831</c:v>
                </c:pt>
                <c:pt idx="58">
                  <c:v>1.050465494819043</c:v>
                </c:pt>
                <c:pt idx="59">
                  <c:v>0.9166242256739323</c:v>
                </c:pt>
                <c:pt idx="60">
                  <c:v>1.170892962356792</c:v>
                </c:pt>
                <c:pt idx="61">
                  <c:v>1.1121496169840228</c:v>
                </c:pt>
                <c:pt idx="62">
                  <c:v>0.9234004242633436</c:v>
                </c:pt>
                <c:pt idx="63">
                  <c:v>0.9369355705589688</c:v>
                </c:pt>
                <c:pt idx="64">
                  <c:v>1.0378116834667248</c:v>
                </c:pt>
                <c:pt idx="65">
                  <c:v>1.0211905790838374</c:v>
                </c:pt>
                <c:pt idx="66">
                  <c:v>1.0161412840880137</c:v>
                </c:pt>
                <c:pt idx="67">
                  <c:v>1.0577269153978452</c:v>
                </c:pt>
                <c:pt idx="68">
                  <c:v>0.9417138828993201</c:v>
                </c:pt>
                <c:pt idx="69">
                  <c:v>1.0788894182317912</c:v>
                </c:pt>
                <c:pt idx="70">
                  <c:v>1.3218266516092603</c:v>
                </c:pt>
                <c:pt idx="71">
                  <c:v>1.3360191831033674</c:v>
                </c:pt>
                <c:pt idx="72">
                  <c:v>0.972700676309427</c:v>
                </c:pt>
                <c:pt idx="73">
                  <c:v>1.2636708684863525</c:v>
                </c:pt>
                <c:pt idx="74">
                  <c:v>2.2440964838813624</c:v>
                </c:pt>
                <c:pt idx="75">
                  <c:v>2.1395832538925963</c:v>
                </c:pt>
                <c:pt idx="76">
                  <c:v>1.3643530168150346</c:v>
                </c:pt>
                <c:pt idx="77">
                  <c:v>1.3507314897351796</c:v>
                </c:pt>
                <c:pt idx="78">
                  <c:v>1.2579598021582734</c:v>
                </c:pt>
                <c:pt idx="79">
                  <c:v>1.5953250466853408</c:v>
                </c:pt>
                <c:pt idx="80">
                  <c:v>1.0937303765690378</c:v>
                </c:pt>
                <c:pt idx="81">
                  <c:v>1.3658778298670904</c:v>
                </c:pt>
                <c:pt idx="82">
                  <c:v>1.5543913869336048</c:v>
                </c:pt>
                <c:pt idx="83">
                  <c:v>1.2153308123175006</c:v>
                </c:pt>
                <c:pt idx="84">
                  <c:v>1.4801200456881782</c:v>
                </c:pt>
                <c:pt idx="85">
                  <c:v>1.361450636942675</c:v>
                </c:pt>
                <c:pt idx="86">
                  <c:v>1.0818364247174996</c:v>
                </c:pt>
                <c:pt idx="87">
                  <c:v>1.165240671803307</c:v>
                </c:pt>
                <c:pt idx="88">
                  <c:v>1.146281214659686</c:v>
                </c:pt>
                <c:pt idx="89">
                  <c:v>1.1805989277769389</c:v>
                </c:pt>
                <c:pt idx="90">
                  <c:v>1.1595236605915398</c:v>
                </c:pt>
                <c:pt idx="91">
                  <c:v>1.2528808434959349</c:v>
                </c:pt>
                <c:pt idx="92">
                  <c:v>1.2398947259178739</c:v>
                </c:pt>
                <c:pt idx="93">
                  <c:v>1.199686628664866</c:v>
                </c:pt>
                <c:pt idx="94">
                  <c:v>1.1206274774052272</c:v>
                </c:pt>
                <c:pt idx="95">
                  <c:v>1.014229182764956</c:v>
                </c:pt>
                <c:pt idx="96">
                  <c:v>0.9817642808069017</c:v>
                </c:pt>
                <c:pt idx="97">
                  <c:v>1.0541779008184882</c:v>
                </c:pt>
                <c:pt idx="98">
                  <c:v>1.0741510459417805</c:v>
                </c:pt>
                <c:pt idx="99">
                  <c:v>1.089365294468593</c:v>
                </c:pt>
                <c:pt idx="100">
                  <c:v>1.0901383303094543</c:v>
                </c:pt>
                <c:pt idx="101">
                  <c:v>1.1370119497424225</c:v>
                </c:pt>
                <c:pt idx="102">
                  <c:v>1.1675553798919966</c:v>
                </c:pt>
                <c:pt idx="103">
                  <c:v>0.9896494794351097</c:v>
                </c:pt>
                <c:pt idx="104">
                  <c:v>1.130934069462785</c:v>
                </c:pt>
              </c:numCache>
            </c:numRef>
          </c:xVal>
          <c:yVal>
            <c:numRef>
              <c:f>Sheet1!$B$2:$B$106</c:f>
              <c:numCache>
                <c:formatCode>General</c:formatCode>
                <c:ptCount val="105"/>
                <c:pt idx="0">
                  <c:v>0.25870445344129556</c:v>
                </c:pt>
                <c:pt idx="1">
                  <c:v>0.26418362927674316</c:v>
                </c:pt>
                <c:pt idx="2">
                  <c:v>0.26641091219096336</c:v>
                </c:pt>
                <c:pt idx="3">
                  <c:v>0.2445673646779929</c:v>
                </c:pt>
                <c:pt idx="4">
                  <c:v>0.27636013480982186</c:v>
                </c:pt>
                <c:pt idx="5">
                  <c:v>0.2673629242819843</c:v>
                </c:pt>
                <c:pt idx="6">
                  <c:v>0.2717158750534874</c:v>
                </c:pt>
                <c:pt idx="7">
                  <c:v>0.27366356056890634</c:v>
                </c:pt>
                <c:pt idx="8">
                  <c:v>0.26126126126126126</c:v>
                </c:pt>
                <c:pt idx="9">
                  <c:v>0.2194589877835951</c:v>
                </c:pt>
                <c:pt idx="10">
                  <c:v>0.23255813953488372</c:v>
                </c:pt>
                <c:pt idx="11">
                  <c:v>0.24229543039319873</c:v>
                </c:pt>
                <c:pt idx="12">
                  <c:v>0.2538730634682659</c:v>
                </c:pt>
                <c:pt idx="13">
                  <c:v>0.2773993808049536</c:v>
                </c:pt>
                <c:pt idx="14">
                  <c:v>0.25213675213675213</c:v>
                </c:pt>
                <c:pt idx="15">
                  <c:v>0.23319327731092437</c:v>
                </c:pt>
                <c:pt idx="16">
                  <c:v>0.24813278008298756</c:v>
                </c:pt>
                <c:pt idx="17">
                  <c:v>0.2504930966469428</c:v>
                </c:pt>
                <c:pt idx="18">
                  <c:v>0.21891058581706063</c:v>
                </c:pt>
                <c:pt idx="19">
                  <c:v>0.21100917431192662</c:v>
                </c:pt>
                <c:pt idx="20">
                  <c:v>0.21103327495621715</c:v>
                </c:pt>
                <c:pt idx="21">
                  <c:v>0.3283208020050125</c:v>
                </c:pt>
                <c:pt idx="22">
                  <c:v>0.21883173496076722</c:v>
                </c:pt>
                <c:pt idx="23">
                  <c:v>0.24775224775224775</c:v>
                </c:pt>
                <c:pt idx="24">
                  <c:v>0.29973238180196254</c:v>
                </c:pt>
                <c:pt idx="25">
                  <c:v>0.3395348837209302</c:v>
                </c:pt>
                <c:pt idx="26">
                  <c:v>0.3063943161634103</c:v>
                </c:pt>
                <c:pt idx="27">
                  <c:v>0.30329289428076256</c:v>
                </c:pt>
                <c:pt idx="28">
                  <c:v>0.2812219227313567</c:v>
                </c:pt>
                <c:pt idx="29">
                  <c:v>0.31551976573938506</c:v>
                </c:pt>
                <c:pt idx="30">
                  <c:v>0.2820267686424474</c:v>
                </c:pt>
                <c:pt idx="31">
                  <c:v>0.3024390243902439</c:v>
                </c:pt>
                <c:pt idx="32">
                  <c:v>0.3215940685820204</c:v>
                </c:pt>
                <c:pt idx="33">
                  <c:v>0.3411675511751327</c:v>
                </c:pt>
                <c:pt idx="34">
                  <c:v>0.3218390804597701</c:v>
                </c:pt>
                <c:pt idx="35">
                  <c:v>0.29574577139928243</c:v>
                </c:pt>
                <c:pt idx="36">
                  <c:v>0.375</c:v>
                </c:pt>
                <c:pt idx="37">
                  <c:v>0.2944489139179405</c:v>
                </c:pt>
                <c:pt idx="38">
                  <c:v>0.2676864244741874</c:v>
                </c:pt>
                <c:pt idx="39">
                  <c:v>0.274</c:v>
                </c:pt>
                <c:pt idx="40">
                  <c:v>0.28559463986599665</c:v>
                </c:pt>
                <c:pt idx="41">
                  <c:v>0.2910662824207493</c:v>
                </c:pt>
                <c:pt idx="42">
                  <c:v>0.32025620496397117</c:v>
                </c:pt>
                <c:pt idx="43">
                  <c:v>0.2836438923395445</c:v>
                </c:pt>
                <c:pt idx="44">
                  <c:v>0.27835051546391754</c:v>
                </c:pt>
                <c:pt idx="45">
                  <c:v>0.2687838884585593</c:v>
                </c:pt>
                <c:pt idx="46">
                  <c:v>0.29048160788775124</c:v>
                </c:pt>
                <c:pt idx="47">
                  <c:v>0.29173047473200614</c:v>
                </c:pt>
                <c:pt idx="48">
                  <c:v>0.28991596638655465</c:v>
                </c:pt>
                <c:pt idx="49">
                  <c:v>0.2661274014155713</c:v>
                </c:pt>
                <c:pt idx="50">
                  <c:v>0.2782442748091603</c:v>
                </c:pt>
                <c:pt idx="51">
                  <c:v>0.26911468812877265</c:v>
                </c:pt>
                <c:pt idx="52">
                  <c:v>0.26856903063365506</c:v>
                </c:pt>
                <c:pt idx="53">
                  <c:v>0.2790202342917998</c:v>
                </c:pt>
                <c:pt idx="54">
                  <c:v>0.25471159337521415</c:v>
                </c:pt>
                <c:pt idx="55">
                  <c:v>0.25595913734392733</c:v>
                </c:pt>
                <c:pt idx="56">
                  <c:v>0.2910958904109589</c:v>
                </c:pt>
                <c:pt idx="57">
                  <c:v>0.3028571428571429</c:v>
                </c:pt>
                <c:pt idx="58">
                  <c:v>0.29716193656093487</c:v>
                </c:pt>
                <c:pt idx="59">
                  <c:v>0.27913862718707944</c:v>
                </c:pt>
                <c:pt idx="60">
                  <c:v>0.28030083887763957</c:v>
                </c:pt>
                <c:pt idx="61">
                  <c:v>0.2940935192780968</c:v>
                </c:pt>
                <c:pt idx="62">
                  <c:v>0.28897485493230174</c:v>
                </c:pt>
                <c:pt idx="63">
                  <c:v>0.2985279014036289</c:v>
                </c:pt>
                <c:pt idx="64">
                  <c:v>0.3065614915740409</c:v>
                </c:pt>
                <c:pt idx="65">
                  <c:v>0.28835645229087853</c:v>
                </c:pt>
                <c:pt idx="66">
                  <c:v>0.2563344594594595</c:v>
                </c:pt>
                <c:pt idx="67">
                  <c:v>0.32664389410760036</c:v>
                </c:pt>
                <c:pt idx="68">
                  <c:v>0.2776427703523694</c:v>
                </c:pt>
                <c:pt idx="69">
                  <c:v>0.2621664050235479</c:v>
                </c:pt>
                <c:pt idx="70">
                  <c:v>0.25246398786959817</c:v>
                </c:pt>
                <c:pt idx="71">
                  <c:v>0.24269480519480519</c:v>
                </c:pt>
                <c:pt idx="72">
                  <c:v>0.24567993989481593</c:v>
                </c:pt>
                <c:pt idx="73">
                  <c:v>0.23773006134969324</c:v>
                </c:pt>
                <c:pt idx="74">
                  <c:v>0.23279195668986852</c:v>
                </c:pt>
                <c:pt idx="75">
                  <c:v>0.2185374149659864</c:v>
                </c:pt>
                <c:pt idx="76">
                  <c:v>0.22950819672131148</c:v>
                </c:pt>
                <c:pt idx="77">
                  <c:v>0.2189922480620155</c:v>
                </c:pt>
                <c:pt idx="78">
                  <c:v>0.2742099898063201</c:v>
                </c:pt>
                <c:pt idx="79">
                  <c:v>0.2555879494655005</c:v>
                </c:pt>
                <c:pt idx="80">
                  <c:v>0.25</c:v>
                </c:pt>
                <c:pt idx="81">
                  <c:v>0.23026315789473684</c:v>
                </c:pt>
                <c:pt idx="82">
                  <c:v>0.24518743667679838</c:v>
                </c:pt>
                <c:pt idx="83">
                  <c:v>0.24390243902439024</c:v>
                </c:pt>
                <c:pt idx="84">
                  <c:v>0.24681344148319814</c:v>
                </c:pt>
                <c:pt idx="85">
                  <c:v>0.2324607329842932</c:v>
                </c:pt>
                <c:pt idx="86">
                  <c:v>0.23716012084592145</c:v>
                </c:pt>
                <c:pt idx="87">
                  <c:v>0.2708476912474156</c:v>
                </c:pt>
                <c:pt idx="88">
                  <c:v>0.25155004428697963</c:v>
                </c:pt>
                <c:pt idx="89">
                  <c:v>0.2329192546583851</c:v>
                </c:pt>
                <c:pt idx="90">
                  <c:v>0.24361948955916474</c:v>
                </c:pt>
                <c:pt idx="91">
                  <c:v>0.2565789473684211</c:v>
                </c:pt>
                <c:pt idx="92">
                  <c:v>0.25696316262353996</c:v>
                </c:pt>
                <c:pt idx="93">
                  <c:v>0.2583258325832583</c:v>
                </c:pt>
                <c:pt idx="94">
                  <c:v>0.27454718779790277</c:v>
                </c:pt>
                <c:pt idx="95">
                  <c:v>0.2749832327297116</c:v>
                </c:pt>
                <c:pt idx="96">
                  <c:v>0.25841532884515794</c:v>
                </c:pt>
                <c:pt idx="97">
                  <c:v>0.26425081433224756</c:v>
                </c:pt>
                <c:pt idx="98">
                  <c:v>0.2663316582914573</c:v>
                </c:pt>
                <c:pt idx="99">
                  <c:v>0.2651471436814772</c:v>
                </c:pt>
                <c:pt idx="100">
                  <c:v>0.256969958936676</c:v>
                </c:pt>
                <c:pt idx="101">
                  <c:v>0.25483178239083754</c:v>
                </c:pt>
                <c:pt idx="102">
                  <c:v>0.265266243282853</c:v>
                </c:pt>
                <c:pt idx="103">
                  <c:v>0.2630691399662732</c:v>
                </c:pt>
                <c:pt idx="104">
                  <c:v>0.2985074626865671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0702233360064155</c:v>
                </c:pt>
                <c:pt idx="1">
                  <c:v>1.0765836813611755</c:v>
                </c:pt>
                <c:pt idx="2">
                  <c:v>1.1455765893542467</c:v>
                </c:pt>
                <c:pt idx="3">
                  <c:v>1.1163209929075721</c:v>
                </c:pt>
                <c:pt idx="4">
                  <c:v>1.3194028518859247</c:v>
                </c:pt>
                <c:pt idx="5">
                  <c:v>1.1231534420573936</c:v>
                </c:pt>
                <c:pt idx="6">
                  <c:v>1.0254843196437868</c:v>
                </c:pt>
                <c:pt idx="7">
                  <c:v>1.1807111403508772</c:v>
                </c:pt>
                <c:pt idx="8">
                  <c:v>0.9700527846754168</c:v>
                </c:pt>
                <c:pt idx="9">
                  <c:v>1.4561604637910917</c:v>
                </c:pt>
                <c:pt idx="10">
                  <c:v>1.146950834724541</c:v>
                </c:pt>
                <c:pt idx="11">
                  <c:v>1.1400193519351935</c:v>
                </c:pt>
                <c:pt idx="12">
                  <c:v>1.0057801178051804</c:v>
                </c:pt>
                <c:pt idx="13">
                  <c:v>1.0956940613733686</c:v>
                </c:pt>
                <c:pt idx="14">
                  <c:v>1.1501876003568243</c:v>
                </c:pt>
                <c:pt idx="15">
                  <c:v>1.048208181096108</c:v>
                </c:pt>
                <c:pt idx="16">
                  <c:v>1.2889573285606633</c:v>
                </c:pt>
                <c:pt idx="17">
                  <c:v>0.987537865497076</c:v>
                </c:pt>
                <c:pt idx="18">
                  <c:v>0.9688885324232083</c:v>
                </c:pt>
                <c:pt idx="19">
                  <c:v>1.168057256678644</c:v>
                </c:pt>
                <c:pt idx="20">
                  <c:v>1.0965927873779113</c:v>
                </c:pt>
                <c:pt idx="21">
                  <c:v>1.283959448275862</c:v>
                </c:pt>
                <c:pt idx="22">
                  <c:v>1.324143384922616</c:v>
                </c:pt>
                <c:pt idx="23">
                  <c:v>1.1474704232534423</c:v>
                </c:pt>
                <c:pt idx="24">
                  <c:v>1.0083704016890684</c:v>
                </c:pt>
                <c:pt idx="25">
                  <c:v>1.0704027990378309</c:v>
                </c:pt>
                <c:pt idx="26">
                  <c:v>1.123970655021834</c:v>
                </c:pt>
                <c:pt idx="27">
                  <c:v>1.074570377636096</c:v>
                </c:pt>
                <c:pt idx="28">
                  <c:v>1.067975409449445</c:v>
                </c:pt>
                <c:pt idx="29">
                  <c:v>1.1321050346534387</c:v>
                </c:pt>
                <c:pt idx="30">
                  <c:v>1.170004670632298</c:v>
                </c:pt>
                <c:pt idx="31">
                  <c:v>1.0699257137972302</c:v>
                </c:pt>
                <c:pt idx="32">
                  <c:v>1.0800020229265002</c:v>
                </c:pt>
                <c:pt idx="33">
                  <c:v>1.1629558964047897</c:v>
                </c:pt>
                <c:pt idx="34">
                  <c:v>1.5656214912280702</c:v>
                </c:pt>
                <c:pt idx="35">
                  <c:v>1.088887083860904</c:v>
                </c:pt>
                <c:pt idx="36">
                  <c:v>1.1388203437954958</c:v>
                </c:pt>
                <c:pt idx="37">
                  <c:v>1.0707156440796717</c:v>
                </c:pt>
                <c:pt idx="38">
                  <c:v>1.0653488317298252</c:v>
                </c:pt>
                <c:pt idx="39">
                  <c:v>1.1291024365987072</c:v>
                </c:pt>
                <c:pt idx="40">
                  <c:v>1.0854013482241673</c:v>
                </c:pt>
                <c:pt idx="41">
                  <c:v>1.1181296384894601</c:v>
                </c:pt>
                <c:pt idx="42">
                  <c:v>1.1118080767692924</c:v>
                </c:pt>
                <c:pt idx="43">
                  <c:v>1.1058812394067248</c:v>
                </c:pt>
                <c:pt idx="44">
                  <c:v>1.0495903522492598</c:v>
                </c:pt>
                <c:pt idx="45">
                  <c:v>1.0593887127965067</c:v>
                </c:pt>
                <c:pt idx="46">
                  <c:v>1.0317247204386635</c:v>
                </c:pt>
                <c:pt idx="47">
                  <c:v>1.0347211484893937</c:v>
                </c:pt>
                <c:pt idx="48">
                  <c:v>0.9152171161309582</c:v>
                </c:pt>
                <c:pt idx="49">
                  <c:v>1.067683670204161</c:v>
                </c:pt>
                <c:pt idx="50">
                  <c:v>0.9608782615612818</c:v>
                </c:pt>
                <c:pt idx="51">
                  <c:v>0.8658750029253977</c:v>
                </c:pt>
              </c:numCache>
            </c:numRef>
          </c:xVal>
          <c:yVal>
            <c:numRef>
              <c:f>Sheet1!$B$109:$B$160</c:f>
              <c:numCache>
                <c:formatCode>General</c:formatCode>
                <c:ptCount val="52"/>
                <c:pt idx="0">
                  <c:v>0.23735088440970795</c:v>
                </c:pt>
                <c:pt idx="1">
                  <c:v>0.2328372539606337</c:v>
                </c:pt>
                <c:pt idx="2">
                  <c:v>0.2222222222222222</c:v>
                </c:pt>
                <c:pt idx="3">
                  <c:v>0.24377916018662518</c:v>
                </c:pt>
                <c:pt idx="4">
                  <c:v>0.23427812223206376</c:v>
                </c:pt>
                <c:pt idx="5">
                  <c:v>0.240473061760841</c:v>
                </c:pt>
                <c:pt idx="6">
                  <c:v>0.23564440663547426</c:v>
                </c:pt>
                <c:pt idx="7">
                  <c:v>0.257001647446458</c:v>
                </c:pt>
                <c:pt idx="8">
                  <c:v>0.29448621553884713</c:v>
                </c:pt>
                <c:pt idx="9">
                  <c:v>0.2884510125889436</c:v>
                </c:pt>
                <c:pt idx="10">
                  <c:v>0.2615219721329046</c:v>
                </c:pt>
                <c:pt idx="11">
                  <c:v>0.28012519561815336</c:v>
                </c:pt>
                <c:pt idx="12">
                  <c:v>0.2839506172839506</c:v>
                </c:pt>
                <c:pt idx="13">
                  <c:v>0.30266230733302196</c:v>
                </c:pt>
                <c:pt idx="14">
                  <c:v>0.2613756613756614</c:v>
                </c:pt>
                <c:pt idx="15">
                  <c:v>0.24882903981264637</c:v>
                </c:pt>
                <c:pt idx="16">
                  <c:v>0.2322045611610228</c:v>
                </c:pt>
                <c:pt idx="17">
                  <c:v>0.24465733235077378</c:v>
                </c:pt>
                <c:pt idx="18">
                  <c:v>0.23512747875354106</c:v>
                </c:pt>
                <c:pt idx="19">
                  <c:v>0.23863636363636365</c:v>
                </c:pt>
                <c:pt idx="20">
                  <c:v>0.23273415326395458</c:v>
                </c:pt>
                <c:pt idx="21">
                  <c:v>0.2372697724810401</c:v>
                </c:pt>
                <c:pt idx="22">
                  <c:v>0.26054852320675104</c:v>
                </c:pt>
                <c:pt idx="23">
                  <c:v>0.2350230414746544</c:v>
                </c:pt>
                <c:pt idx="24">
                  <c:v>0.21941272430668843</c:v>
                </c:pt>
                <c:pt idx="25">
                  <c:v>0.23524305555555555</c:v>
                </c:pt>
                <c:pt idx="26">
                  <c:v>0.24955436720142601</c:v>
                </c:pt>
                <c:pt idx="27">
                  <c:v>0.23120452708164915</c:v>
                </c:pt>
                <c:pt idx="28">
                  <c:v>0.2653225806451613</c:v>
                </c:pt>
                <c:pt idx="29">
                  <c:v>0.2739043824701195</c:v>
                </c:pt>
                <c:pt idx="30">
                  <c:v>0.2704663212435233</c:v>
                </c:pt>
                <c:pt idx="31">
                  <c:v>0.2608695652173913</c:v>
                </c:pt>
                <c:pt idx="32">
                  <c:v>0.25875706214689265</c:v>
                </c:pt>
                <c:pt idx="33">
                  <c:v>0.2776392352452203</c:v>
                </c:pt>
                <c:pt idx="34">
                  <c:v>0.2856341189674523</c:v>
                </c:pt>
                <c:pt idx="35">
                  <c:v>0.3074884029158383</c:v>
                </c:pt>
                <c:pt idx="36">
                  <c:v>0.2587268993839836</c:v>
                </c:pt>
                <c:pt idx="37">
                  <c:v>0.28411405295315684</c:v>
                </c:pt>
                <c:pt idx="38">
                  <c:v>0.23325635103926096</c:v>
                </c:pt>
                <c:pt idx="39">
                  <c:v>0.3119584055459272</c:v>
                </c:pt>
                <c:pt idx="40">
                  <c:v>0.29431721798134014</c:v>
                </c:pt>
                <c:pt idx="41">
                  <c:v>0.30623520126282555</c:v>
                </c:pt>
                <c:pt idx="42">
                  <c:v>0.29237668161434976</c:v>
                </c:pt>
                <c:pt idx="43">
                  <c:v>0.2739531582682754</c:v>
                </c:pt>
                <c:pt idx="44">
                  <c:v>0.2585482903419316</c:v>
                </c:pt>
                <c:pt idx="45">
                  <c:v>0.2496056782334385</c:v>
                </c:pt>
                <c:pt idx="46">
                  <c:v>0.27367424242424243</c:v>
                </c:pt>
                <c:pt idx="47">
                  <c:v>0.28488372093023256</c:v>
                </c:pt>
                <c:pt idx="48">
                  <c:v>0.26874536005939126</c:v>
                </c:pt>
                <c:pt idx="49">
                  <c:v>0.2742894910773298</c:v>
                </c:pt>
                <c:pt idx="50">
                  <c:v>0.2665339526653395</c:v>
                </c:pt>
                <c:pt idx="51">
                  <c:v>0.2564003103180760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4.253770986121821</c:v>
                </c:pt>
              </c:numCache>
            </c:numRef>
          </c:xVal>
          <c:yVal>
            <c:numRef>
              <c:f>Sheet1!$B$163:$B$164</c:f>
              <c:numCache>
                <c:formatCode>General</c:formatCode>
                <c:ptCount val="2"/>
                <c:pt idx="0">
                  <c:v>0.298565126184649</c:v>
                </c:pt>
                <c:pt idx="1">
                  <c:v>0.29856512618464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4.253770986121821</c:v>
                </c:pt>
                <c:pt idx="1">
                  <c:v>4.253770986121821</c:v>
                </c:pt>
              </c:numCache>
            </c:numRef>
          </c:xVal>
          <c:yVal>
            <c:numRef>
              <c:f>Sheet1!$B$167:$B$168</c:f>
              <c:numCache>
                <c:formatCode>General</c:formatCode>
                <c:ptCount val="2"/>
                <c:pt idx="0">
                  <c:v>0.29856512618464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6369374697817496</c:v>
                </c:pt>
              </c:numCache>
            </c:numRef>
          </c:xVal>
          <c:yVal>
            <c:numRef>
              <c:f>Sheet1!$B$171:$B$172</c:f>
              <c:numCache>
                <c:formatCode>General</c:formatCode>
                <c:ptCount val="2"/>
                <c:pt idx="0">
                  <c:v>0.2791644848380618</c:v>
                </c:pt>
                <c:pt idx="1">
                  <c:v>0.279164484838061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6369374697817496</c:v>
                </c:pt>
                <c:pt idx="1">
                  <c:v>2.6369374697817496</c:v>
                </c:pt>
              </c:numCache>
            </c:numRef>
          </c:xVal>
          <c:yVal>
            <c:numRef>
              <c:f>Sheet1!$B$175:$B$176</c:f>
              <c:numCache>
                <c:formatCode>General</c:formatCode>
                <c:ptCount val="2"/>
                <c:pt idx="0">
                  <c:v>0.27916448483806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5240026756775893</c:v>
                </c:pt>
              </c:numCache>
            </c:numRef>
          </c:xVal>
          <c:yVal>
            <c:numRef>
              <c:f>Sheet1!$B$179:$B$180</c:f>
              <c:numCache>
                <c:formatCode>General</c:formatCode>
                <c:ptCount val="2"/>
                <c:pt idx="0">
                  <c:v>0.2778093623632846</c:v>
                </c:pt>
                <c:pt idx="1">
                  <c:v>0.277809362363284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5240026756775893</c:v>
                </c:pt>
                <c:pt idx="1">
                  <c:v>2.5240026756775893</c:v>
                </c:pt>
              </c:numCache>
            </c:numRef>
          </c:xVal>
          <c:yVal>
            <c:numRef>
              <c:f>Sheet1!$B$183:$B$184</c:f>
              <c:numCache>
                <c:formatCode>General</c:formatCode>
                <c:ptCount val="2"/>
                <c:pt idx="0">
                  <c:v>0.277809362363284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0702233360064155</c:v>
                </c:pt>
                <c:pt idx="1">
                  <c:v>1.0765836813611755</c:v>
                </c:pt>
                <c:pt idx="2">
                  <c:v>1.1455765893542467</c:v>
                </c:pt>
                <c:pt idx="3">
                  <c:v>1.1163209929075721</c:v>
                </c:pt>
                <c:pt idx="4">
                  <c:v>1.3194028518859247</c:v>
                </c:pt>
                <c:pt idx="5">
                  <c:v>1.1231534420573936</c:v>
                </c:pt>
                <c:pt idx="6">
                  <c:v>1.0254843196437868</c:v>
                </c:pt>
                <c:pt idx="7">
                  <c:v>1.1807111403508772</c:v>
                </c:pt>
                <c:pt idx="8">
                  <c:v>0.9700527846754168</c:v>
                </c:pt>
                <c:pt idx="9">
                  <c:v>1.4561604637910917</c:v>
                </c:pt>
                <c:pt idx="10">
                  <c:v>1.146950834724541</c:v>
                </c:pt>
                <c:pt idx="11">
                  <c:v>1.1400193519351935</c:v>
                </c:pt>
                <c:pt idx="12">
                  <c:v>1.0057801178051804</c:v>
                </c:pt>
                <c:pt idx="13">
                  <c:v>1.0956940613733686</c:v>
                </c:pt>
                <c:pt idx="14">
                  <c:v>1.1501876003568243</c:v>
                </c:pt>
                <c:pt idx="15">
                  <c:v>1.048208181096108</c:v>
                </c:pt>
                <c:pt idx="16">
                  <c:v>1.2889573285606633</c:v>
                </c:pt>
                <c:pt idx="17">
                  <c:v>0.987537865497076</c:v>
                </c:pt>
                <c:pt idx="18">
                  <c:v>0.9688885324232083</c:v>
                </c:pt>
                <c:pt idx="19">
                  <c:v>1.168057256678644</c:v>
                </c:pt>
                <c:pt idx="20">
                  <c:v>1.0965927873779113</c:v>
                </c:pt>
                <c:pt idx="21">
                  <c:v>1.283959448275862</c:v>
                </c:pt>
                <c:pt idx="22">
                  <c:v>1.324143384922616</c:v>
                </c:pt>
                <c:pt idx="23">
                  <c:v>1.1474704232534423</c:v>
                </c:pt>
                <c:pt idx="24">
                  <c:v>1.0083704016890684</c:v>
                </c:pt>
                <c:pt idx="25">
                  <c:v>1.0704027990378309</c:v>
                </c:pt>
                <c:pt idx="26">
                  <c:v>1.123970655021834</c:v>
                </c:pt>
                <c:pt idx="27">
                  <c:v>1.074570377636096</c:v>
                </c:pt>
                <c:pt idx="28">
                  <c:v>1.067975409449445</c:v>
                </c:pt>
                <c:pt idx="29">
                  <c:v>1.1321050346534387</c:v>
                </c:pt>
                <c:pt idx="30">
                  <c:v>1.170004670632298</c:v>
                </c:pt>
                <c:pt idx="31">
                  <c:v>1.0699257137972302</c:v>
                </c:pt>
                <c:pt idx="32">
                  <c:v>1.0800020229265002</c:v>
                </c:pt>
                <c:pt idx="33">
                  <c:v>1.1629558964047897</c:v>
                </c:pt>
                <c:pt idx="34">
                  <c:v>1.5656214912280702</c:v>
                </c:pt>
                <c:pt idx="35">
                  <c:v>1.088887083860904</c:v>
                </c:pt>
                <c:pt idx="36">
                  <c:v>1.1388203437954958</c:v>
                </c:pt>
                <c:pt idx="37">
                  <c:v>1.0707156440796717</c:v>
                </c:pt>
                <c:pt idx="38">
                  <c:v>1.0653488317298252</c:v>
                </c:pt>
                <c:pt idx="39">
                  <c:v>1.1291024365987072</c:v>
                </c:pt>
                <c:pt idx="40">
                  <c:v>1.0854013482241673</c:v>
                </c:pt>
                <c:pt idx="41">
                  <c:v>1.1181296384894601</c:v>
                </c:pt>
                <c:pt idx="42">
                  <c:v>1.1118080767692924</c:v>
                </c:pt>
                <c:pt idx="43">
                  <c:v>1.1058812394067248</c:v>
                </c:pt>
                <c:pt idx="44">
                  <c:v>1.0495903522492598</c:v>
                </c:pt>
                <c:pt idx="45">
                  <c:v>1.0593887127965067</c:v>
                </c:pt>
                <c:pt idx="46">
                  <c:v>1.0317247204386635</c:v>
                </c:pt>
                <c:pt idx="47">
                  <c:v>1.0347211484893937</c:v>
                </c:pt>
                <c:pt idx="48">
                  <c:v>0.9152171161309582</c:v>
                </c:pt>
                <c:pt idx="49">
                  <c:v>1.067683670204161</c:v>
                </c:pt>
                <c:pt idx="50">
                  <c:v>0.9608782615612818</c:v>
                </c:pt>
                <c:pt idx="51">
                  <c:v>0.8658750029253977</c:v>
                </c:pt>
                <c:pt idx="52">
                  <c:v>2.6369374697817496</c:v>
                </c:pt>
                <c:pt idx="53">
                  <c:v>4.253770986121821</c:v>
                </c:pt>
                <c:pt idx="54">
                  <c:v>2.5240026756775893</c:v>
                </c:pt>
              </c:numCache>
            </c:numRef>
          </c:xVal>
          <c:yVal>
            <c:numRef>
              <c:f>Sheet1!$B$187:$B$241</c:f>
              <c:numCache>
                <c:formatCode>General</c:formatCode>
                <c:ptCount val="55"/>
                <c:pt idx="0">
                  <c:v>0.26036523389798466</c:v>
                </c:pt>
                <c:pt idx="1">
                  <c:v>0.2604415526888936</c:v>
                </c:pt>
                <c:pt idx="2">
                  <c:v>0.2612694095151558</c:v>
                </c:pt>
                <c:pt idx="3">
                  <c:v>0.26091836698152054</c:v>
                </c:pt>
                <c:pt idx="4">
                  <c:v>0.26335517836019345</c:v>
                </c:pt>
                <c:pt idx="5">
                  <c:v>0.26100035062061194</c:v>
                </c:pt>
                <c:pt idx="6">
                  <c:v>0.25982840335737634</c:v>
                </c:pt>
                <c:pt idx="7">
                  <c:v>0.2616909945552173</c:v>
                </c:pt>
                <c:pt idx="8">
                  <c:v>0.2591632715931323</c:v>
                </c:pt>
                <c:pt idx="9">
                  <c:v>0.2649961545974957</c:v>
                </c:pt>
                <c:pt idx="10">
                  <c:v>0.2612858993029304</c:v>
                </c:pt>
                <c:pt idx="11">
                  <c:v>0.2612027273435189</c:v>
                </c:pt>
                <c:pt idx="12">
                  <c:v>0.2595919695198611</c:v>
                </c:pt>
                <c:pt idx="13">
                  <c:v>0.2606708611642973</c:v>
                </c:pt>
                <c:pt idx="14">
                  <c:v>0.2613247377662108</c:v>
                </c:pt>
                <c:pt idx="15">
                  <c:v>0.26010107056868204</c:v>
                </c:pt>
                <c:pt idx="16">
                  <c:v>0.2629898577055477</c:v>
                </c:pt>
                <c:pt idx="17">
                  <c:v>0.25937307784622443</c:v>
                </c:pt>
                <c:pt idx="18">
                  <c:v>0.25914930154602867</c:v>
                </c:pt>
                <c:pt idx="19">
                  <c:v>0.261539158601617</c:v>
                </c:pt>
                <c:pt idx="20">
                  <c:v>0.260681645119916</c:v>
                </c:pt>
                <c:pt idx="21">
                  <c:v>0.2629298873487245</c:v>
                </c:pt>
                <c:pt idx="22">
                  <c:v>0.26341206076664225</c:v>
                </c:pt>
                <c:pt idx="23">
                  <c:v>0.26129213392795214</c:v>
                </c:pt>
                <c:pt idx="24">
                  <c:v>0.2596230507462887</c:v>
                </c:pt>
                <c:pt idx="25">
                  <c:v>0.26036738730331194</c:v>
                </c:pt>
                <c:pt idx="26">
                  <c:v>0.2610101564883569</c:v>
                </c:pt>
                <c:pt idx="27">
                  <c:v>0.2604173947387415</c:v>
                </c:pt>
                <c:pt idx="28">
                  <c:v>0.26033826067132615</c:v>
                </c:pt>
                <c:pt idx="29">
                  <c:v>0.26110776219742643</c:v>
                </c:pt>
                <c:pt idx="30">
                  <c:v>0.2615625259299698</c:v>
                </c:pt>
                <c:pt idx="31">
                  <c:v>0.2603616626819758</c:v>
                </c:pt>
                <c:pt idx="32">
                  <c:v>0.2604825699105424</c:v>
                </c:pt>
                <c:pt idx="33">
                  <c:v>0.2614779465720218</c:v>
                </c:pt>
                <c:pt idx="34">
                  <c:v>0.26630959479605176</c:v>
                </c:pt>
                <c:pt idx="35">
                  <c:v>0.26058918316341534</c:v>
                </c:pt>
                <c:pt idx="36">
                  <c:v>0.2611883402550186</c:v>
                </c:pt>
                <c:pt idx="37">
                  <c:v>0.2603711411805</c:v>
                </c:pt>
                <c:pt idx="38">
                  <c:v>0.2603067439494174</c:v>
                </c:pt>
                <c:pt idx="39">
                  <c:v>0.2610717335479835</c:v>
                </c:pt>
                <c:pt idx="40">
                  <c:v>0.2605473572696335</c:v>
                </c:pt>
                <c:pt idx="41">
                  <c:v>0.26094006920621016</c:v>
                </c:pt>
                <c:pt idx="42">
                  <c:v>0.26086421578627306</c:v>
                </c:pt>
                <c:pt idx="43">
                  <c:v>0.2607930987263973</c:v>
                </c:pt>
                <c:pt idx="44">
                  <c:v>0.26011765545918</c:v>
                </c:pt>
                <c:pt idx="45">
                  <c:v>0.26023522753870487</c:v>
                </c:pt>
                <c:pt idx="46">
                  <c:v>0.25990328291452114</c:v>
                </c:pt>
                <c:pt idx="47">
                  <c:v>0.2599392375291092</c:v>
                </c:pt>
                <c:pt idx="48">
                  <c:v>0.2585052897244489</c:v>
                </c:pt>
                <c:pt idx="49">
                  <c:v>0.2603347600459326</c:v>
                </c:pt>
                <c:pt idx="50">
                  <c:v>0.25905318503773594</c:v>
                </c:pt>
                <c:pt idx="51">
                  <c:v>0.25791322589604027</c:v>
                </c:pt>
                <c:pt idx="52">
                  <c:v>0.2791644848380618</c:v>
                </c:pt>
                <c:pt idx="53">
                  <c:v>0.298565126184649</c:v>
                </c:pt>
                <c:pt idx="54">
                  <c:v>0.277809362363284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4999999999999996"/>
          <c:min val="0.168807339449541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10.1017</c:v>
                </c:pt>
                <c:pt idx="1">
                  <c:v>1000.0246</c:v>
                </c:pt>
                <c:pt idx="2">
                  <c:v>1045.2352</c:v>
                </c:pt>
                <c:pt idx="3">
                  <c:v>1055.0937</c:v>
                </c:pt>
                <c:pt idx="4">
                  <c:v>1034.3519</c:v>
                </c:pt>
                <c:pt idx="5">
                  <c:v>1037.1934</c:v>
                </c:pt>
                <c:pt idx="6">
                  <c:v>962.7937</c:v>
                </c:pt>
                <c:pt idx="7">
                  <c:v>987.6613</c:v>
                </c:pt>
                <c:pt idx="8">
                  <c:v>1020.8519</c:v>
                </c:pt>
                <c:pt idx="9">
                  <c:v>1032.7396</c:v>
                </c:pt>
                <c:pt idx="10">
                  <c:v>1014.6412</c:v>
                </c:pt>
                <c:pt idx="11">
                  <c:v>1053.9298</c:v>
                </c:pt>
                <c:pt idx="12">
                  <c:v>1060.1398</c:v>
                </c:pt>
                <c:pt idx="13">
                  <c:v>1057.3281</c:v>
                </c:pt>
                <c:pt idx="14">
                  <c:v>1058.2599</c:v>
                </c:pt>
                <c:pt idx="15">
                  <c:v>1043.97</c:v>
                </c:pt>
                <c:pt idx="16">
                  <c:v>1065.0033</c:v>
                </c:pt>
                <c:pt idx="17">
                  <c:v>1112.2559</c:v>
                </c:pt>
                <c:pt idx="18">
                  <c:v>1126.2582</c:v>
                </c:pt>
                <c:pt idx="19">
                  <c:v>1056.0163</c:v>
                </c:pt>
                <c:pt idx="20">
                  <c:v>1146.0705</c:v>
                </c:pt>
                <c:pt idx="21">
                  <c:v>1113.3817</c:v>
                </c:pt>
                <c:pt idx="22">
                  <c:v>1152.5657</c:v>
                </c:pt>
                <c:pt idx="23">
                  <c:v>1127.8468</c:v>
                </c:pt>
                <c:pt idx="24">
                  <c:v>1067.3512</c:v>
                </c:pt>
                <c:pt idx="25">
                  <c:v>973.1534</c:v>
                </c:pt>
                <c:pt idx="26">
                  <c:v>1077.0754</c:v>
                </c:pt>
                <c:pt idx="27">
                  <c:v>1086.1943</c:v>
                </c:pt>
                <c:pt idx="28">
                  <c:v>1089.984</c:v>
                </c:pt>
                <c:pt idx="29">
                  <c:v>1048.7494</c:v>
                </c:pt>
                <c:pt idx="30">
                  <c:v>1078.8407</c:v>
                </c:pt>
                <c:pt idx="31">
                  <c:v>1086.3387</c:v>
                </c:pt>
                <c:pt idx="32">
                  <c:v>1072.8329</c:v>
                </c:pt>
                <c:pt idx="33">
                  <c:v>999.6044</c:v>
                </c:pt>
                <c:pt idx="34">
                  <c:v>1050.6647</c:v>
                </c:pt>
                <c:pt idx="35">
                  <c:v>1094.4177</c:v>
                </c:pt>
                <c:pt idx="36">
                  <c:v>1215.2435</c:v>
                </c:pt>
                <c:pt idx="37">
                  <c:v>1123.7842</c:v>
                </c:pt>
                <c:pt idx="38">
                  <c:v>1218.45</c:v>
                </c:pt>
                <c:pt idx="39">
                  <c:v>1222.7117</c:v>
                </c:pt>
                <c:pt idx="40">
                  <c:v>1295.0059</c:v>
                </c:pt>
                <c:pt idx="41">
                  <c:v>1319.5347</c:v>
                </c:pt>
                <c:pt idx="42">
                  <c:v>1334.2975</c:v>
                </c:pt>
                <c:pt idx="43">
                  <c:v>1352.8613</c:v>
                </c:pt>
                <c:pt idx="44">
                  <c:v>1256.596</c:v>
                </c:pt>
                <c:pt idx="45">
                  <c:v>1207.2839</c:v>
                </c:pt>
                <c:pt idx="46">
                  <c:v>1233.812</c:v>
                </c:pt>
                <c:pt idx="47">
                  <c:v>1219.4488</c:v>
                </c:pt>
                <c:pt idx="48">
                  <c:v>1208.3996</c:v>
                </c:pt>
                <c:pt idx="49">
                  <c:v>1208.636</c:v>
                </c:pt>
                <c:pt idx="50">
                  <c:v>1158.0631</c:v>
                </c:pt>
                <c:pt idx="51">
                  <c:v>1242.2785</c:v>
                </c:pt>
                <c:pt idx="52">
                  <c:v>1247.8266</c:v>
                </c:pt>
                <c:pt idx="53">
                  <c:v>1295.7366</c:v>
                </c:pt>
                <c:pt idx="54">
                  <c:v>1284.3722</c:v>
                </c:pt>
                <c:pt idx="55">
                  <c:v>1273.7783</c:v>
                </c:pt>
                <c:pt idx="56">
                  <c:v>1298.9725</c:v>
                </c:pt>
                <c:pt idx="57">
                  <c:v>1263.7704</c:v>
                </c:pt>
                <c:pt idx="58">
                  <c:v>1236.573</c:v>
                </c:pt>
                <c:pt idx="59">
                  <c:v>1229.8042</c:v>
                </c:pt>
                <c:pt idx="60">
                  <c:v>1251.9773</c:v>
                </c:pt>
                <c:pt idx="61">
                  <c:v>1270.3529</c:v>
                </c:pt>
                <c:pt idx="62">
                  <c:v>1238.8956</c:v>
                </c:pt>
                <c:pt idx="63">
                  <c:v>1215.7408</c:v>
                </c:pt>
                <c:pt idx="64">
                  <c:v>1199.2655</c:v>
                </c:pt>
                <c:pt idx="65">
                  <c:v>1181.5175</c:v>
                </c:pt>
                <c:pt idx="66">
                  <c:v>1164.2076</c:v>
                </c:pt>
                <c:pt idx="67">
                  <c:v>1172.868</c:v>
                </c:pt>
                <c:pt idx="68">
                  <c:v>1135.5186</c:v>
                </c:pt>
                <c:pt idx="69">
                  <c:v>1177.6078</c:v>
                </c:pt>
                <c:pt idx="70">
                  <c:v>1170.4775</c:v>
                </c:pt>
                <c:pt idx="71">
                  <c:v>1274.1806</c:v>
                </c:pt>
                <c:pt idx="72">
                  <c:v>1223.8196</c:v>
                </c:pt>
                <c:pt idx="73">
                  <c:v>1273.1484</c:v>
                </c:pt>
                <c:pt idx="74">
                  <c:v>1390.093</c:v>
                </c:pt>
                <c:pt idx="75">
                  <c:v>1346.6537</c:v>
                </c:pt>
                <c:pt idx="76">
                  <c:v>1379.3609</c:v>
                </c:pt>
                <c:pt idx="77">
                  <c:v>1377.5531</c:v>
                </c:pt>
                <c:pt idx="78">
                  <c:v>1398.8513</c:v>
                </c:pt>
                <c:pt idx="79">
                  <c:v>1366.8745</c:v>
                </c:pt>
                <c:pt idx="80">
                  <c:v>1307.0078</c:v>
                </c:pt>
                <c:pt idx="81">
                  <c:v>1379.7643</c:v>
                </c:pt>
                <c:pt idx="82">
                  <c:v>1367.0165</c:v>
                </c:pt>
                <c:pt idx="83">
                  <c:v>1292.1667</c:v>
                </c:pt>
                <c:pt idx="84">
                  <c:v>1295.8451</c:v>
                </c:pt>
                <c:pt idx="85">
                  <c:v>1282.4865</c:v>
                </c:pt>
                <c:pt idx="86">
                  <c:v>1328.3599</c:v>
                </c:pt>
                <c:pt idx="87">
                  <c:v>1345.9695</c:v>
                </c:pt>
                <c:pt idx="88">
                  <c:v>1368.3732</c:v>
                </c:pt>
                <c:pt idx="89">
                  <c:v>1382.9733</c:v>
                </c:pt>
                <c:pt idx="90">
                  <c:v>1429.2095</c:v>
                </c:pt>
                <c:pt idx="91">
                  <c:v>1479.4017</c:v>
                </c:pt>
                <c:pt idx="92">
                  <c:v>1440.8462</c:v>
                </c:pt>
                <c:pt idx="93">
                  <c:v>1454.4564</c:v>
                </c:pt>
                <c:pt idx="94">
                  <c:v>1445.5347</c:v>
                </c:pt>
                <c:pt idx="95">
                  <c:v>1343.3927</c:v>
                </c:pt>
                <c:pt idx="96">
                  <c:v>1307.3828</c:v>
                </c:pt>
                <c:pt idx="97">
                  <c:v>1313.7165</c:v>
                </c:pt>
                <c:pt idx="98">
                  <c:v>1298.2906</c:v>
                </c:pt>
                <c:pt idx="99">
                  <c:v>1278.1523</c:v>
                </c:pt>
                <c:pt idx="100">
                  <c:v>1288.6426</c:v>
                </c:pt>
                <c:pt idx="101">
                  <c:v>1302.2921</c:v>
                </c:pt>
                <c:pt idx="102">
                  <c:v>1317.1971</c:v>
                </c:pt>
                <c:pt idx="103">
                  <c:v>1200.0737</c:v>
                </c:pt>
                <c:pt idx="104">
                  <c:v>1244.9968</c:v>
                </c:pt>
              </c:numCache>
            </c:numRef>
          </c:xVal>
          <c:yVal>
            <c:numRef>
              <c:f>Sheet1!$B$2:$B$106</c:f>
              <c:numCache>
                <c:formatCode>General</c:formatCode>
                <c:ptCount val="105"/>
                <c:pt idx="0">
                  <c:v>0.25870445344129556</c:v>
                </c:pt>
                <c:pt idx="1">
                  <c:v>0.26418362927674316</c:v>
                </c:pt>
                <c:pt idx="2">
                  <c:v>0.26641091219096336</c:v>
                </c:pt>
                <c:pt idx="3">
                  <c:v>0.2445673646779929</c:v>
                </c:pt>
                <c:pt idx="4">
                  <c:v>0.27636013480982186</c:v>
                </c:pt>
                <c:pt idx="5">
                  <c:v>0.2673629242819843</c:v>
                </c:pt>
                <c:pt idx="6">
                  <c:v>0.2717158750534874</c:v>
                </c:pt>
                <c:pt idx="7">
                  <c:v>0.27366356056890634</c:v>
                </c:pt>
                <c:pt idx="8">
                  <c:v>0.26126126126126126</c:v>
                </c:pt>
                <c:pt idx="9">
                  <c:v>0.2194589877835951</c:v>
                </c:pt>
                <c:pt idx="10">
                  <c:v>0.23255813953488372</c:v>
                </c:pt>
                <c:pt idx="11">
                  <c:v>0.24229543039319873</c:v>
                </c:pt>
                <c:pt idx="12">
                  <c:v>0.2538730634682659</c:v>
                </c:pt>
                <c:pt idx="13">
                  <c:v>0.2773993808049536</c:v>
                </c:pt>
                <c:pt idx="14">
                  <c:v>0.25213675213675213</c:v>
                </c:pt>
                <c:pt idx="15">
                  <c:v>0.23319327731092437</c:v>
                </c:pt>
                <c:pt idx="16">
                  <c:v>0.24813278008298756</c:v>
                </c:pt>
                <c:pt idx="17">
                  <c:v>0.2504930966469428</c:v>
                </c:pt>
                <c:pt idx="18">
                  <c:v>0.21891058581706063</c:v>
                </c:pt>
                <c:pt idx="19">
                  <c:v>0.21100917431192662</c:v>
                </c:pt>
                <c:pt idx="20">
                  <c:v>0.21103327495621715</c:v>
                </c:pt>
                <c:pt idx="21">
                  <c:v>0.3283208020050125</c:v>
                </c:pt>
                <c:pt idx="22">
                  <c:v>0.21883173496076722</c:v>
                </c:pt>
                <c:pt idx="23">
                  <c:v>0.24775224775224775</c:v>
                </c:pt>
                <c:pt idx="24">
                  <c:v>0.29973238180196254</c:v>
                </c:pt>
                <c:pt idx="25">
                  <c:v>0.3395348837209302</c:v>
                </c:pt>
                <c:pt idx="26">
                  <c:v>0.3063943161634103</c:v>
                </c:pt>
                <c:pt idx="27">
                  <c:v>0.30329289428076256</c:v>
                </c:pt>
                <c:pt idx="28">
                  <c:v>0.2812219227313567</c:v>
                </c:pt>
                <c:pt idx="29">
                  <c:v>0.31551976573938506</c:v>
                </c:pt>
                <c:pt idx="30">
                  <c:v>0.2820267686424474</c:v>
                </c:pt>
                <c:pt idx="31">
                  <c:v>0.3024390243902439</c:v>
                </c:pt>
                <c:pt idx="32">
                  <c:v>0.3215940685820204</c:v>
                </c:pt>
                <c:pt idx="33">
                  <c:v>0.3411675511751327</c:v>
                </c:pt>
                <c:pt idx="34">
                  <c:v>0.3218390804597701</c:v>
                </c:pt>
                <c:pt idx="35">
                  <c:v>0.29574577139928243</c:v>
                </c:pt>
                <c:pt idx="36">
                  <c:v>0.375</c:v>
                </c:pt>
                <c:pt idx="37">
                  <c:v>0.2944489139179405</c:v>
                </c:pt>
                <c:pt idx="38">
                  <c:v>0.2676864244741874</c:v>
                </c:pt>
                <c:pt idx="39">
                  <c:v>0.274</c:v>
                </c:pt>
                <c:pt idx="40">
                  <c:v>0.28559463986599665</c:v>
                </c:pt>
                <c:pt idx="41">
                  <c:v>0.2910662824207493</c:v>
                </c:pt>
                <c:pt idx="42">
                  <c:v>0.32025620496397117</c:v>
                </c:pt>
                <c:pt idx="43">
                  <c:v>0.2836438923395445</c:v>
                </c:pt>
                <c:pt idx="44">
                  <c:v>0.27835051546391754</c:v>
                </c:pt>
                <c:pt idx="45">
                  <c:v>0.2687838884585593</c:v>
                </c:pt>
                <c:pt idx="46">
                  <c:v>0.29048160788775124</c:v>
                </c:pt>
                <c:pt idx="47">
                  <c:v>0.29173047473200614</c:v>
                </c:pt>
                <c:pt idx="48">
                  <c:v>0.28991596638655465</c:v>
                </c:pt>
                <c:pt idx="49">
                  <c:v>0.2661274014155713</c:v>
                </c:pt>
                <c:pt idx="50">
                  <c:v>0.2782442748091603</c:v>
                </c:pt>
                <c:pt idx="51">
                  <c:v>0.26911468812877265</c:v>
                </c:pt>
                <c:pt idx="52">
                  <c:v>0.26856903063365506</c:v>
                </c:pt>
                <c:pt idx="53">
                  <c:v>0.2790202342917998</c:v>
                </c:pt>
                <c:pt idx="54">
                  <c:v>0.25471159337521415</c:v>
                </c:pt>
                <c:pt idx="55">
                  <c:v>0.25595913734392733</c:v>
                </c:pt>
                <c:pt idx="56">
                  <c:v>0.2910958904109589</c:v>
                </c:pt>
                <c:pt idx="57">
                  <c:v>0.3028571428571429</c:v>
                </c:pt>
                <c:pt idx="58">
                  <c:v>0.29716193656093487</c:v>
                </c:pt>
                <c:pt idx="59">
                  <c:v>0.27913862718707944</c:v>
                </c:pt>
                <c:pt idx="60">
                  <c:v>0.28030083887763957</c:v>
                </c:pt>
                <c:pt idx="61">
                  <c:v>0.2940935192780968</c:v>
                </c:pt>
                <c:pt idx="62">
                  <c:v>0.28897485493230174</c:v>
                </c:pt>
                <c:pt idx="63">
                  <c:v>0.2985279014036289</c:v>
                </c:pt>
                <c:pt idx="64">
                  <c:v>0.3065614915740409</c:v>
                </c:pt>
                <c:pt idx="65">
                  <c:v>0.28835645229087853</c:v>
                </c:pt>
                <c:pt idx="66">
                  <c:v>0.2563344594594595</c:v>
                </c:pt>
                <c:pt idx="67">
                  <c:v>0.32664389410760036</c:v>
                </c:pt>
                <c:pt idx="68">
                  <c:v>0.2776427703523694</c:v>
                </c:pt>
                <c:pt idx="69">
                  <c:v>0.2621664050235479</c:v>
                </c:pt>
                <c:pt idx="70">
                  <c:v>0.25246398786959817</c:v>
                </c:pt>
                <c:pt idx="71">
                  <c:v>0.24269480519480519</c:v>
                </c:pt>
                <c:pt idx="72">
                  <c:v>0.24567993989481593</c:v>
                </c:pt>
                <c:pt idx="73">
                  <c:v>0.23773006134969324</c:v>
                </c:pt>
                <c:pt idx="74">
                  <c:v>0.23279195668986852</c:v>
                </c:pt>
                <c:pt idx="75">
                  <c:v>0.2185374149659864</c:v>
                </c:pt>
                <c:pt idx="76">
                  <c:v>0.22950819672131148</c:v>
                </c:pt>
                <c:pt idx="77">
                  <c:v>0.2189922480620155</c:v>
                </c:pt>
                <c:pt idx="78">
                  <c:v>0.2742099898063201</c:v>
                </c:pt>
                <c:pt idx="79">
                  <c:v>0.2555879494655005</c:v>
                </c:pt>
                <c:pt idx="80">
                  <c:v>0.25</c:v>
                </c:pt>
                <c:pt idx="81">
                  <c:v>0.23026315789473684</c:v>
                </c:pt>
                <c:pt idx="82">
                  <c:v>0.24518743667679838</c:v>
                </c:pt>
                <c:pt idx="83">
                  <c:v>0.24390243902439024</c:v>
                </c:pt>
                <c:pt idx="84">
                  <c:v>0.24681344148319814</c:v>
                </c:pt>
                <c:pt idx="85">
                  <c:v>0.2324607329842932</c:v>
                </c:pt>
                <c:pt idx="86">
                  <c:v>0.23716012084592145</c:v>
                </c:pt>
                <c:pt idx="87">
                  <c:v>0.2708476912474156</c:v>
                </c:pt>
                <c:pt idx="88">
                  <c:v>0.25155004428697963</c:v>
                </c:pt>
                <c:pt idx="89">
                  <c:v>0.2329192546583851</c:v>
                </c:pt>
                <c:pt idx="90">
                  <c:v>0.24361948955916474</c:v>
                </c:pt>
                <c:pt idx="91">
                  <c:v>0.2565789473684211</c:v>
                </c:pt>
                <c:pt idx="92">
                  <c:v>0.25696316262353996</c:v>
                </c:pt>
                <c:pt idx="93">
                  <c:v>0.2583258325832583</c:v>
                </c:pt>
                <c:pt idx="94">
                  <c:v>0.27454718779790277</c:v>
                </c:pt>
                <c:pt idx="95">
                  <c:v>0.2749832327297116</c:v>
                </c:pt>
                <c:pt idx="96">
                  <c:v>0.25841532884515794</c:v>
                </c:pt>
                <c:pt idx="97">
                  <c:v>0.26425081433224756</c:v>
                </c:pt>
                <c:pt idx="98">
                  <c:v>0.2663316582914573</c:v>
                </c:pt>
                <c:pt idx="99">
                  <c:v>0.2651471436814772</c:v>
                </c:pt>
                <c:pt idx="100">
                  <c:v>0.256969958936676</c:v>
                </c:pt>
                <c:pt idx="101">
                  <c:v>0.25483178239083754</c:v>
                </c:pt>
                <c:pt idx="102">
                  <c:v>0.265266243282853</c:v>
                </c:pt>
                <c:pt idx="103">
                  <c:v>0.2630691399662732</c:v>
                </c:pt>
                <c:pt idx="104">
                  <c:v>0.2985074626865671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34.5685</c:v>
                </c:pt>
                <c:pt idx="1">
                  <c:v>1392.0227</c:v>
                </c:pt>
                <c:pt idx="2">
                  <c:v>1373.0881</c:v>
                </c:pt>
                <c:pt idx="3">
                  <c:v>1449.7289</c:v>
                </c:pt>
                <c:pt idx="4">
                  <c:v>1434.1909</c:v>
                </c:pt>
                <c:pt idx="5">
                  <c:v>1432.4699</c:v>
                </c:pt>
                <c:pt idx="6">
                  <c:v>1392.9495</c:v>
                </c:pt>
                <c:pt idx="7">
                  <c:v>1346.0107</c:v>
                </c:pt>
                <c:pt idx="8">
                  <c:v>1367.2894</c:v>
                </c:pt>
                <c:pt idx="9">
                  <c:v>1375.5863</c:v>
                </c:pt>
                <c:pt idx="10">
                  <c:v>1374.0471</c:v>
                </c:pt>
                <c:pt idx="11">
                  <c:v>1266.5615</c:v>
                </c:pt>
                <c:pt idx="12">
                  <c:v>1292.1401</c:v>
                </c:pt>
                <c:pt idx="13">
                  <c:v>1313.1111</c:v>
                </c:pt>
                <c:pt idx="14">
                  <c:v>1289.3603</c:v>
                </c:pt>
                <c:pt idx="15">
                  <c:v>1319.6941</c:v>
                </c:pt>
                <c:pt idx="16">
                  <c:v>1368.3571</c:v>
                </c:pt>
                <c:pt idx="17">
                  <c:v>1350.9518</c:v>
                </c:pt>
                <c:pt idx="18">
                  <c:v>1419.4217</c:v>
                </c:pt>
                <c:pt idx="19">
                  <c:v>1495.3469</c:v>
                </c:pt>
                <c:pt idx="20">
                  <c:v>1459.565</c:v>
                </c:pt>
                <c:pt idx="21">
                  <c:v>1396.3059</c:v>
                </c:pt>
                <c:pt idx="22">
                  <c:v>1326.1296</c:v>
                </c:pt>
                <c:pt idx="23">
                  <c:v>1350.1137</c:v>
                </c:pt>
                <c:pt idx="24">
                  <c:v>1280.9665</c:v>
                </c:pt>
                <c:pt idx="25">
                  <c:v>1223.738</c:v>
                </c:pt>
                <c:pt idx="26">
                  <c:v>1286.9464</c:v>
                </c:pt>
                <c:pt idx="27">
                  <c:v>1314.6294</c:v>
                </c:pt>
                <c:pt idx="28">
                  <c:v>1288.3343</c:v>
                </c:pt>
                <c:pt idx="29">
                  <c:v>1300.1418</c:v>
                </c:pt>
                <c:pt idx="30">
                  <c:v>1327.6628</c:v>
                </c:pt>
                <c:pt idx="31">
                  <c:v>1251.5991</c:v>
                </c:pt>
                <c:pt idx="32">
                  <c:v>1281.3144</c:v>
                </c:pt>
                <c:pt idx="33">
                  <c:v>1358.997</c:v>
                </c:pt>
                <c:pt idx="34">
                  <c:v>1427.8468</c:v>
                </c:pt>
                <c:pt idx="35">
                  <c:v>1337.8793</c:v>
                </c:pt>
                <c:pt idx="36">
                  <c:v>1362.4087</c:v>
                </c:pt>
                <c:pt idx="37">
                  <c:v>1337.19</c:v>
                </c:pt>
                <c:pt idx="38">
                  <c:v>1356.4554</c:v>
                </c:pt>
                <c:pt idx="39">
                  <c:v>1362.375</c:v>
                </c:pt>
                <c:pt idx="40">
                  <c:v>1348.4755</c:v>
                </c:pt>
                <c:pt idx="41">
                  <c:v>1353.8686</c:v>
                </c:pt>
                <c:pt idx="42">
                  <c:v>1390.316</c:v>
                </c:pt>
                <c:pt idx="43">
                  <c:v>1347.1477</c:v>
                </c:pt>
                <c:pt idx="44">
                  <c:v>1328.297</c:v>
                </c:pt>
                <c:pt idx="45">
                  <c:v>1290.9874</c:v>
                </c:pt>
                <c:pt idx="46">
                  <c:v>1281.8443</c:v>
                </c:pt>
                <c:pt idx="47">
                  <c:v>1207.2609</c:v>
                </c:pt>
                <c:pt idx="48">
                  <c:v>1149.6271</c:v>
                </c:pt>
                <c:pt idx="49">
                  <c:v>1174.147</c:v>
                </c:pt>
                <c:pt idx="50">
                  <c:v>1122.1685</c:v>
                </c:pt>
                <c:pt idx="51">
                  <c:v>1143.2436</c:v>
                </c:pt>
              </c:numCache>
            </c:numRef>
          </c:xVal>
          <c:yVal>
            <c:numRef>
              <c:f>Sheet1!$B$109:$B$160</c:f>
              <c:numCache>
                <c:formatCode>General</c:formatCode>
                <c:ptCount val="52"/>
                <c:pt idx="0">
                  <c:v>0.23735088440970795</c:v>
                </c:pt>
                <c:pt idx="1">
                  <c:v>0.2328372539606337</c:v>
                </c:pt>
                <c:pt idx="2">
                  <c:v>0.2222222222222222</c:v>
                </c:pt>
                <c:pt idx="3">
                  <c:v>0.24377916018662518</c:v>
                </c:pt>
                <c:pt idx="4">
                  <c:v>0.23427812223206376</c:v>
                </c:pt>
                <c:pt idx="5">
                  <c:v>0.240473061760841</c:v>
                </c:pt>
                <c:pt idx="6">
                  <c:v>0.23564440663547426</c:v>
                </c:pt>
                <c:pt idx="7">
                  <c:v>0.257001647446458</c:v>
                </c:pt>
                <c:pt idx="8">
                  <c:v>0.29448621553884713</c:v>
                </c:pt>
                <c:pt idx="9">
                  <c:v>0.2884510125889436</c:v>
                </c:pt>
                <c:pt idx="10">
                  <c:v>0.2615219721329046</c:v>
                </c:pt>
                <c:pt idx="11">
                  <c:v>0.28012519561815336</c:v>
                </c:pt>
                <c:pt idx="12">
                  <c:v>0.2839506172839506</c:v>
                </c:pt>
                <c:pt idx="13">
                  <c:v>0.30266230733302196</c:v>
                </c:pt>
                <c:pt idx="14">
                  <c:v>0.2613756613756614</c:v>
                </c:pt>
                <c:pt idx="15">
                  <c:v>0.24882903981264637</c:v>
                </c:pt>
                <c:pt idx="16">
                  <c:v>0.2322045611610228</c:v>
                </c:pt>
                <c:pt idx="17">
                  <c:v>0.24465733235077378</c:v>
                </c:pt>
                <c:pt idx="18">
                  <c:v>0.23512747875354106</c:v>
                </c:pt>
                <c:pt idx="19">
                  <c:v>0.23863636363636365</c:v>
                </c:pt>
                <c:pt idx="20">
                  <c:v>0.23273415326395458</c:v>
                </c:pt>
                <c:pt idx="21">
                  <c:v>0.2372697724810401</c:v>
                </c:pt>
                <c:pt idx="22">
                  <c:v>0.26054852320675104</c:v>
                </c:pt>
                <c:pt idx="23">
                  <c:v>0.2350230414746544</c:v>
                </c:pt>
                <c:pt idx="24">
                  <c:v>0.21941272430668843</c:v>
                </c:pt>
                <c:pt idx="25">
                  <c:v>0.23524305555555555</c:v>
                </c:pt>
                <c:pt idx="26">
                  <c:v>0.24955436720142601</c:v>
                </c:pt>
                <c:pt idx="27">
                  <c:v>0.23120452708164915</c:v>
                </c:pt>
                <c:pt idx="28">
                  <c:v>0.2653225806451613</c:v>
                </c:pt>
                <c:pt idx="29">
                  <c:v>0.2739043824701195</c:v>
                </c:pt>
                <c:pt idx="30">
                  <c:v>0.2704663212435233</c:v>
                </c:pt>
                <c:pt idx="31">
                  <c:v>0.2608695652173913</c:v>
                </c:pt>
                <c:pt idx="32">
                  <c:v>0.25875706214689265</c:v>
                </c:pt>
                <c:pt idx="33">
                  <c:v>0.2776392352452203</c:v>
                </c:pt>
                <c:pt idx="34">
                  <c:v>0.2856341189674523</c:v>
                </c:pt>
                <c:pt idx="35">
                  <c:v>0.3074884029158383</c:v>
                </c:pt>
                <c:pt idx="36">
                  <c:v>0.2587268993839836</c:v>
                </c:pt>
                <c:pt idx="37">
                  <c:v>0.28411405295315684</c:v>
                </c:pt>
                <c:pt idx="38">
                  <c:v>0.23325635103926096</c:v>
                </c:pt>
                <c:pt idx="39">
                  <c:v>0.3119584055459272</c:v>
                </c:pt>
                <c:pt idx="40">
                  <c:v>0.29431721798134014</c:v>
                </c:pt>
                <c:pt idx="41">
                  <c:v>0.30623520126282555</c:v>
                </c:pt>
                <c:pt idx="42">
                  <c:v>0.29237668161434976</c:v>
                </c:pt>
                <c:pt idx="43">
                  <c:v>0.2739531582682754</c:v>
                </c:pt>
                <c:pt idx="44">
                  <c:v>0.2585482903419316</c:v>
                </c:pt>
                <c:pt idx="45">
                  <c:v>0.2496056782334385</c:v>
                </c:pt>
                <c:pt idx="46">
                  <c:v>0.27367424242424243</c:v>
                </c:pt>
                <c:pt idx="47">
                  <c:v>0.28488372093023256</c:v>
                </c:pt>
                <c:pt idx="48">
                  <c:v>0.26874536005939126</c:v>
                </c:pt>
                <c:pt idx="49">
                  <c:v>0.2742894910773298</c:v>
                </c:pt>
                <c:pt idx="50">
                  <c:v>0.2665339526653395</c:v>
                </c:pt>
                <c:pt idx="51">
                  <c:v>0.2564003103180760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02.7153964157975</c:v>
                </c:pt>
              </c:numCache>
            </c:numRef>
          </c:xVal>
          <c:yVal>
            <c:numRef>
              <c:f>Sheet1!$B$163:$B$164</c:f>
              <c:numCache>
                <c:formatCode>General</c:formatCode>
                <c:ptCount val="2"/>
                <c:pt idx="0">
                  <c:v>0.298565126184649</c:v>
                </c:pt>
                <c:pt idx="1">
                  <c:v>0.29856512618464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02.7153964157975</c:v>
                </c:pt>
                <c:pt idx="1">
                  <c:v>702.7153964157975</c:v>
                </c:pt>
              </c:numCache>
            </c:numRef>
          </c:xVal>
          <c:yVal>
            <c:numRef>
              <c:f>Sheet1!$B$167:$B$168</c:f>
              <c:numCache>
                <c:formatCode>General</c:formatCode>
                <c:ptCount val="2"/>
                <c:pt idx="0">
                  <c:v>0.29856512618464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25.356949426896</c:v>
                </c:pt>
              </c:numCache>
            </c:numRef>
          </c:xVal>
          <c:yVal>
            <c:numRef>
              <c:f>Sheet1!$B$171:$B$172</c:f>
              <c:numCache>
                <c:formatCode>General</c:formatCode>
                <c:ptCount val="2"/>
                <c:pt idx="0">
                  <c:v>0.2791644848380618</c:v>
                </c:pt>
                <c:pt idx="1">
                  <c:v>0.279164484838061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25.356949426896</c:v>
                </c:pt>
                <c:pt idx="1">
                  <c:v>1025.356949426896</c:v>
                </c:pt>
              </c:numCache>
            </c:numRef>
          </c:xVal>
          <c:yVal>
            <c:numRef>
              <c:f>Sheet1!$B$175:$B$176</c:f>
              <c:numCache>
                <c:formatCode>General</c:formatCode>
                <c:ptCount val="2"/>
                <c:pt idx="0">
                  <c:v>0.27916448483806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47.8932569628978</c:v>
                </c:pt>
              </c:numCache>
            </c:numRef>
          </c:xVal>
          <c:yVal>
            <c:numRef>
              <c:f>Sheet1!$B$179:$B$180</c:f>
              <c:numCache>
                <c:formatCode>General</c:formatCode>
                <c:ptCount val="2"/>
                <c:pt idx="0">
                  <c:v>0.2778093623632846</c:v>
                </c:pt>
                <c:pt idx="1">
                  <c:v>0.277809362363284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47.8932569628978</c:v>
                </c:pt>
                <c:pt idx="1">
                  <c:v>1047.8932569628978</c:v>
                </c:pt>
              </c:numCache>
            </c:numRef>
          </c:xVal>
          <c:yVal>
            <c:numRef>
              <c:f>Sheet1!$B$183:$B$184</c:f>
              <c:numCache>
                <c:formatCode>General</c:formatCode>
                <c:ptCount val="2"/>
                <c:pt idx="0">
                  <c:v>0.277809362363284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34.5685</c:v>
                </c:pt>
                <c:pt idx="1">
                  <c:v>1392.0227</c:v>
                </c:pt>
                <c:pt idx="2">
                  <c:v>1373.0881</c:v>
                </c:pt>
                <c:pt idx="3">
                  <c:v>1449.7289</c:v>
                </c:pt>
                <c:pt idx="4">
                  <c:v>1434.1909</c:v>
                </c:pt>
                <c:pt idx="5">
                  <c:v>1432.4699</c:v>
                </c:pt>
                <c:pt idx="6">
                  <c:v>1392.9495</c:v>
                </c:pt>
                <c:pt idx="7">
                  <c:v>1346.0107</c:v>
                </c:pt>
                <c:pt idx="8">
                  <c:v>1367.2894</c:v>
                </c:pt>
                <c:pt idx="9">
                  <c:v>1375.5863</c:v>
                </c:pt>
                <c:pt idx="10">
                  <c:v>1374.0471</c:v>
                </c:pt>
                <c:pt idx="11">
                  <c:v>1266.5615</c:v>
                </c:pt>
                <c:pt idx="12">
                  <c:v>1292.1401</c:v>
                </c:pt>
                <c:pt idx="13">
                  <c:v>1313.1111</c:v>
                </c:pt>
                <c:pt idx="14">
                  <c:v>1289.3603</c:v>
                </c:pt>
                <c:pt idx="15">
                  <c:v>1319.6941</c:v>
                </c:pt>
                <c:pt idx="16">
                  <c:v>1368.3571</c:v>
                </c:pt>
                <c:pt idx="17">
                  <c:v>1350.9518</c:v>
                </c:pt>
                <c:pt idx="18">
                  <c:v>1419.4217</c:v>
                </c:pt>
                <c:pt idx="19">
                  <c:v>1495.3469</c:v>
                </c:pt>
                <c:pt idx="20">
                  <c:v>1459.565</c:v>
                </c:pt>
                <c:pt idx="21">
                  <c:v>1396.3059</c:v>
                </c:pt>
                <c:pt idx="22">
                  <c:v>1326.1296</c:v>
                </c:pt>
                <c:pt idx="23">
                  <c:v>1350.1137</c:v>
                </c:pt>
                <c:pt idx="24">
                  <c:v>1280.9665</c:v>
                </c:pt>
                <c:pt idx="25">
                  <c:v>1223.738</c:v>
                </c:pt>
                <c:pt idx="26">
                  <c:v>1286.9464</c:v>
                </c:pt>
                <c:pt idx="27">
                  <c:v>1314.6294</c:v>
                </c:pt>
                <c:pt idx="28">
                  <c:v>1288.3343</c:v>
                </c:pt>
                <c:pt idx="29">
                  <c:v>1300.1418</c:v>
                </c:pt>
                <c:pt idx="30">
                  <c:v>1327.6628</c:v>
                </c:pt>
                <c:pt idx="31">
                  <c:v>1251.5991</c:v>
                </c:pt>
                <c:pt idx="32">
                  <c:v>1281.3144</c:v>
                </c:pt>
                <c:pt idx="33">
                  <c:v>1358.997</c:v>
                </c:pt>
                <c:pt idx="34">
                  <c:v>1427.8468</c:v>
                </c:pt>
                <c:pt idx="35">
                  <c:v>1337.8793</c:v>
                </c:pt>
                <c:pt idx="36">
                  <c:v>1362.4087</c:v>
                </c:pt>
                <c:pt idx="37">
                  <c:v>1337.19</c:v>
                </c:pt>
                <c:pt idx="38">
                  <c:v>1356.4554</c:v>
                </c:pt>
                <c:pt idx="39">
                  <c:v>1362.375</c:v>
                </c:pt>
                <c:pt idx="40">
                  <c:v>1348.4755</c:v>
                </c:pt>
                <c:pt idx="41">
                  <c:v>1353.8686</c:v>
                </c:pt>
                <c:pt idx="42">
                  <c:v>1390.316</c:v>
                </c:pt>
                <c:pt idx="43">
                  <c:v>1347.1477</c:v>
                </c:pt>
                <c:pt idx="44">
                  <c:v>1328.297</c:v>
                </c:pt>
                <c:pt idx="45">
                  <c:v>1290.9874</c:v>
                </c:pt>
                <c:pt idx="46">
                  <c:v>1281.8443</c:v>
                </c:pt>
                <c:pt idx="47">
                  <c:v>1207.2609</c:v>
                </c:pt>
                <c:pt idx="48">
                  <c:v>1149.6271</c:v>
                </c:pt>
                <c:pt idx="49">
                  <c:v>1174.147</c:v>
                </c:pt>
                <c:pt idx="50">
                  <c:v>1122.1685</c:v>
                </c:pt>
                <c:pt idx="51">
                  <c:v>1143.2436</c:v>
                </c:pt>
                <c:pt idx="52">
                  <c:v>1025.356949426896</c:v>
                </c:pt>
                <c:pt idx="53">
                  <c:v>702.7153964157975</c:v>
                </c:pt>
                <c:pt idx="54">
                  <c:v>1047.8932569628978</c:v>
                </c:pt>
              </c:numCache>
            </c:numRef>
          </c:xVal>
          <c:yVal>
            <c:numRef>
              <c:f>Sheet1!$B$187:$B$241</c:f>
              <c:numCache>
                <c:formatCode>General</c:formatCode>
                <c:ptCount val="55"/>
                <c:pt idx="0">
                  <c:v>0.2605713980614043</c:v>
                </c:pt>
                <c:pt idx="1">
                  <c:v>0.25711664055217315</c:v>
                </c:pt>
                <c:pt idx="2">
                  <c:v>0.2582551900669917</c:v>
                </c:pt>
                <c:pt idx="3">
                  <c:v>0.25364673012301053</c:v>
                </c:pt>
                <c:pt idx="4">
                  <c:v>0.25458103992418146</c:v>
                </c:pt>
                <c:pt idx="5">
                  <c:v>0.2546845247464118</c:v>
                </c:pt>
                <c:pt idx="6">
                  <c:v>0.2570609114799808</c:v>
                </c:pt>
                <c:pt idx="7">
                  <c:v>0.2598833713136274</c:v>
                </c:pt>
                <c:pt idx="8">
                  <c:v>0.25860386957812886</c:v>
                </c:pt>
                <c:pt idx="9">
                  <c:v>0.2581049717155124</c:v>
                </c:pt>
                <c:pt idx="10">
                  <c:v>0.2581975247883636</c:v>
                </c:pt>
                <c:pt idx="11">
                  <c:v>0.2646607021319558</c:v>
                </c:pt>
                <c:pt idx="12">
                  <c:v>0.26312264468053154</c:v>
                </c:pt>
                <c:pt idx="13">
                  <c:v>0.2618616451413145</c:v>
                </c:pt>
                <c:pt idx="14">
                  <c:v>0.2632897958187279</c:v>
                </c:pt>
                <c:pt idx="15">
                  <c:v>0.2614658051734223</c:v>
                </c:pt>
                <c:pt idx="16">
                  <c:v>0.2585396680995145</c:v>
                </c:pt>
                <c:pt idx="17">
                  <c:v>0.25958625983476485</c:v>
                </c:pt>
                <c:pt idx="18">
                  <c:v>0.25546912129343446</c:v>
                </c:pt>
                <c:pt idx="19">
                  <c:v>0.2509036908316079</c:v>
                </c:pt>
                <c:pt idx="20">
                  <c:v>0.25305527918754284</c:v>
                </c:pt>
                <c:pt idx="21">
                  <c:v>0.256859089017846</c:v>
                </c:pt>
                <c:pt idx="22">
                  <c:v>0.2610788344741409</c:v>
                </c:pt>
                <c:pt idx="23">
                  <c:v>0.2596366553196639</c:v>
                </c:pt>
                <c:pt idx="24">
                  <c:v>0.26379452033984185</c:v>
                </c:pt>
                <c:pt idx="25">
                  <c:v>0.2672357063648328</c:v>
                </c:pt>
                <c:pt idx="26">
                  <c:v>0.26343494515770627</c:v>
                </c:pt>
                <c:pt idx="27">
                  <c:v>0.2617703487987274</c:v>
                </c:pt>
                <c:pt idx="28">
                  <c:v>0.26335148984987744</c:v>
                </c:pt>
                <c:pt idx="29">
                  <c:v>0.26264149738126336</c:v>
                </c:pt>
                <c:pt idx="30">
                  <c:v>0.26098664218509754</c:v>
                </c:pt>
                <c:pt idx="31">
                  <c:v>0.26556040073982295</c:v>
                </c:pt>
                <c:pt idx="32">
                  <c:v>0.2637736008920476</c:v>
                </c:pt>
                <c:pt idx="33">
                  <c:v>0.25910249685288944</c:v>
                </c:pt>
                <c:pt idx="34">
                  <c:v>0.254962514683456</c:v>
                </c:pt>
                <c:pt idx="35">
                  <c:v>0.2603723175562095</c:v>
                </c:pt>
                <c:pt idx="36">
                  <c:v>0.25889734916665863</c:v>
                </c:pt>
                <c:pt idx="37">
                  <c:v>0.2604137656026728</c:v>
                </c:pt>
                <c:pt idx="38">
                  <c:v>0.25925532487391245</c:v>
                </c:pt>
                <c:pt idx="39">
                  <c:v>0.25889937556904624</c:v>
                </c:pt>
                <c:pt idx="40">
                  <c:v>0.25973516132534535</c:v>
                </c:pt>
                <c:pt idx="41">
                  <c:v>0.25941087079962166</c:v>
                </c:pt>
                <c:pt idx="42">
                  <c:v>0.257219265506328</c:v>
                </c:pt>
                <c:pt idx="43">
                  <c:v>0.25981500278203185</c:v>
                </c:pt>
                <c:pt idx="44">
                  <c:v>0.26094850733660335</c:v>
                </c:pt>
                <c:pt idx="45">
                  <c:v>0.2631919572630911</c:v>
                </c:pt>
                <c:pt idx="46">
                  <c:v>0.26374173766874726</c:v>
                </c:pt>
                <c:pt idx="47">
                  <c:v>0.2682264848450022</c:v>
                </c:pt>
                <c:pt idx="48">
                  <c:v>0.2716920418162163</c:v>
                </c:pt>
                <c:pt idx="49">
                  <c:v>0.27021764466769455</c:v>
                </c:pt>
                <c:pt idx="50">
                  <c:v>0.27334314486078004</c:v>
                </c:pt>
                <c:pt idx="51">
                  <c:v>0.272075885722496</c:v>
                </c:pt>
                <c:pt idx="52">
                  <c:v>0.2791644848380618</c:v>
                </c:pt>
                <c:pt idx="53">
                  <c:v>0.298565126184649</c:v>
                </c:pt>
                <c:pt idx="54">
                  <c:v>0.277809362363284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94.0"/>
          <c:min val="56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4999999999999996"/>
          <c:min val="0.168807339449541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23279195668986852</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23279195668986852</c:v>
                </c:pt>
              </c:numCache>
            </c:numRef>
          </c:xVal>
          <c:yVal>
            <c:numRef>
              <c:f>Sheet1!$B$7:$B$8</c:f>
              <c:numCache>
                <c:formatCode>General</c:formatCode>
                <c:ptCount val="2"/>
                <c:pt idx="0">
                  <c:v>0.23279195668986852</c:v>
                </c:pt>
                <c:pt idx="1">
                  <c:v>0.23279195668986852</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23279195668986852</c:v>
                </c:pt>
                <c:pt idx="1">
                  <c:v>0.23279195668986852</c:v>
                </c:pt>
              </c:numCache>
            </c:numRef>
          </c:xVal>
          <c:yVal>
            <c:numRef>
              <c:f>Sheet1!$B$11:$B$12</c:f>
              <c:numCache>
                <c:formatCode>General</c:formatCode>
                <c:ptCount val="2"/>
                <c:pt idx="0">
                  <c:v>0.232791956689868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23279195668986852</c:v>
                </c:pt>
                <c:pt idx="2">
                  <c:v>0</c:v>
                </c:pt>
              </c:numCache>
            </c:numRef>
          </c:xVal>
          <c:yVal>
            <c:numRef>
              <c:f>Sheet1!$B$15:$B$17</c:f>
              <c:numCache>
                <c:formatCode>General</c:formatCode>
                <c:ptCount val="3"/>
                <c:pt idx="0">
                  <c:v>0</c:v>
                </c:pt>
                <c:pt idx="1">
                  <c:v>0.23279195668986852</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opperto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93503480278422"/>
          <c:min val="0.186233565351894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2.0793</c:v>
                </c:pt>
                <c:pt idx="1">
                  <c:v>898.0923</c:v>
                </c:pt>
                <c:pt idx="2">
                  <c:v>933.1302</c:v>
                </c:pt>
                <c:pt idx="3">
                  <c:v>950.5945</c:v>
                </c:pt>
                <c:pt idx="4">
                  <c:v>945.88</c:v>
                </c:pt>
                <c:pt idx="5">
                  <c:v>940.4877</c:v>
                </c:pt>
                <c:pt idx="6">
                  <c:v>912.8367</c:v>
                </c:pt>
                <c:pt idx="7">
                  <c:v>928.7985</c:v>
                </c:pt>
                <c:pt idx="8">
                  <c:v>926.0689</c:v>
                </c:pt>
                <c:pt idx="9">
                  <c:v>895.5168</c:v>
                </c:pt>
                <c:pt idx="10">
                  <c:v>877.4496</c:v>
                </c:pt>
                <c:pt idx="11">
                  <c:v>892.3339</c:v>
                </c:pt>
                <c:pt idx="12">
                  <c:v>883.8966</c:v>
                </c:pt>
                <c:pt idx="13">
                  <c:v>867.6505</c:v>
                </c:pt>
                <c:pt idx="14">
                  <c:v>916.5349</c:v>
                </c:pt>
                <c:pt idx="15">
                  <c:v>927.2595</c:v>
                </c:pt>
                <c:pt idx="16">
                  <c:v>935.8397</c:v>
                </c:pt>
                <c:pt idx="17">
                  <c:v>952.7421</c:v>
                </c:pt>
                <c:pt idx="18">
                  <c:v>983.7015</c:v>
                </c:pt>
                <c:pt idx="19">
                  <c:v>1011.8266</c:v>
                </c:pt>
                <c:pt idx="20">
                  <c:v>1022.6555</c:v>
                </c:pt>
                <c:pt idx="21">
                  <c:v>1032.3699</c:v>
                </c:pt>
                <c:pt idx="22">
                  <c:v>1019.3834</c:v>
                </c:pt>
                <c:pt idx="23">
                  <c:v>1006.6252</c:v>
                </c:pt>
                <c:pt idx="24">
                  <c:v>999.2128</c:v>
                </c:pt>
                <c:pt idx="25">
                  <c:v>992.7928</c:v>
                </c:pt>
                <c:pt idx="26">
                  <c:v>996.5822</c:v>
                </c:pt>
                <c:pt idx="27">
                  <c:v>1017.7953</c:v>
                </c:pt>
                <c:pt idx="28">
                  <c:v>1017.9128</c:v>
                </c:pt>
                <c:pt idx="29">
                  <c:v>949.6234</c:v>
                </c:pt>
                <c:pt idx="30">
                  <c:v>975.2913</c:v>
                </c:pt>
                <c:pt idx="31">
                  <c:v>984.7113</c:v>
                </c:pt>
                <c:pt idx="32">
                  <c:v>965.6392</c:v>
                </c:pt>
                <c:pt idx="33">
                  <c:v>913.9941</c:v>
                </c:pt>
                <c:pt idx="34">
                  <c:v>975.6922</c:v>
                </c:pt>
                <c:pt idx="35">
                  <c:v>1029.8247</c:v>
                </c:pt>
                <c:pt idx="36">
                  <c:v>1079.3761</c:v>
                </c:pt>
                <c:pt idx="37">
                  <c:v>1095.4522</c:v>
                </c:pt>
                <c:pt idx="38">
                  <c:v>1123.0701</c:v>
                </c:pt>
                <c:pt idx="39">
                  <c:v>1140.4306</c:v>
                </c:pt>
                <c:pt idx="40">
                  <c:v>1168.4861</c:v>
                </c:pt>
                <c:pt idx="41">
                  <c:v>1173.1724</c:v>
                </c:pt>
                <c:pt idx="42">
                  <c:v>1196.5161</c:v>
                </c:pt>
                <c:pt idx="43">
                  <c:v>1194.1835</c:v>
                </c:pt>
                <c:pt idx="44">
                  <c:v>1077.0994</c:v>
                </c:pt>
                <c:pt idx="45">
                  <c:v>1030.341</c:v>
                </c:pt>
                <c:pt idx="46">
                  <c:v>1016.2726</c:v>
                </c:pt>
                <c:pt idx="47">
                  <c:v>996.3513</c:v>
                </c:pt>
                <c:pt idx="48">
                  <c:v>991.7153</c:v>
                </c:pt>
                <c:pt idx="49">
                  <c:v>960.2496</c:v>
                </c:pt>
                <c:pt idx="50">
                  <c:v>969.312</c:v>
                </c:pt>
                <c:pt idx="51">
                  <c:v>991.035</c:v>
                </c:pt>
                <c:pt idx="52">
                  <c:v>1003.8741</c:v>
                </c:pt>
                <c:pt idx="53">
                  <c:v>1076.7501</c:v>
                </c:pt>
                <c:pt idx="54">
                  <c:v>1090.5007</c:v>
                </c:pt>
                <c:pt idx="55">
                  <c:v>1091.1888</c:v>
                </c:pt>
                <c:pt idx="56">
                  <c:v>1108.0917</c:v>
                </c:pt>
                <c:pt idx="57">
                  <c:v>1087.2018</c:v>
                </c:pt>
                <c:pt idx="58">
                  <c:v>1071.9741</c:v>
                </c:pt>
                <c:pt idx="59">
                  <c:v>1078.1859</c:v>
                </c:pt>
                <c:pt idx="60">
                  <c:v>1098.0564</c:v>
                </c:pt>
                <c:pt idx="61">
                  <c:v>1082.2921</c:v>
                </c:pt>
                <c:pt idx="62">
                  <c:v>1035.29</c:v>
                </c:pt>
                <c:pt idx="63">
                  <c:v>1060.3345</c:v>
                </c:pt>
                <c:pt idx="64">
                  <c:v>1050.5276</c:v>
                </c:pt>
                <c:pt idx="65">
                  <c:v>1036.2601</c:v>
                </c:pt>
                <c:pt idx="66">
                  <c:v>1033.8859</c:v>
                </c:pt>
                <c:pt idx="67">
                  <c:v>1031.3079</c:v>
                </c:pt>
                <c:pt idx="68">
                  <c:v>1021.1138</c:v>
                </c:pt>
                <c:pt idx="69">
                  <c:v>1031.6969</c:v>
                </c:pt>
                <c:pt idx="70">
                  <c:v>1030.9094</c:v>
                </c:pt>
                <c:pt idx="71">
                  <c:v>1058.6699</c:v>
                </c:pt>
                <c:pt idx="72">
                  <c:v>1071.7634</c:v>
                </c:pt>
                <c:pt idx="73">
                  <c:v>1087.9704</c:v>
                </c:pt>
                <c:pt idx="74">
                  <c:v>1071.8278</c:v>
                </c:pt>
                <c:pt idx="75">
                  <c:v>1067.6917</c:v>
                </c:pt>
                <c:pt idx="76">
                  <c:v>1064.3747</c:v>
                </c:pt>
                <c:pt idx="77">
                  <c:v>1049.3514</c:v>
                </c:pt>
                <c:pt idx="78">
                  <c:v>1110.6592</c:v>
                </c:pt>
                <c:pt idx="79">
                  <c:v>811.7668</c:v>
                </c:pt>
                <c:pt idx="80">
                  <c:v>820.9709</c:v>
                </c:pt>
                <c:pt idx="81">
                  <c:v>1003.2159</c:v>
                </c:pt>
                <c:pt idx="82">
                  <c:v>1006.7705</c:v>
                </c:pt>
                <c:pt idx="83">
                  <c:v>1011.4731</c:v>
                </c:pt>
                <c:pt idx="84">
                  <c:v>1022.8312</c:v>
                </c:pt>
                <c:pt idx="85">
                  <c:v>1047.4643</c:v>
                </c:pt>
                <c:pt idx="86">
                  <c:v>1143.1328</c:v>
                </c:pt>
                <c:pt idx="87">
                  <c:v>1172.5488</c:v>
                </c:pt>
                <c:pt idx="88">
                  <c:v>1166.9299</c:v>
                </c:pt>
                <c:pt idx="89">
                  <c:v>1117.5828</c:v>
                </c:pt>
                <c:pt idx="90">
                  <c:v>1153.5831</c:v>
                </c:pt>
                <c:pt idx="91">
                  <c:v>1176.1614</c:v>
                </c:pt>
                <c:pt idx="92">
                  <c:v>1169.5088</c:v>
                </c:pt>
                <c:pt idx="93">
                  <c:v>1198.366</c:v>
                </c:pt>
                <c:pt idx="94">
                  <c:v>1188.7466</c:v>
                </c:pt>
                <c:pt idx="95">
                  <c:v>1187.3917</c:v>
                </c:pt>
                <c:pt idx="96">
                  <c:v>1134.213</c:v>
                </c:pt>
                <c:pt idx="97">
                  <c:v>1150.1076</c:v>
                </c:pt>
                <c:pt idx="98">
                  <c:v>1132.3011</c:v>
                </c:pt>
                <c:pt idx="99">
                  <c:v>1088.5472</c:v>
                </c:pt>
                <c:pt idx="100">
                  <c:v>1080.571</c:v>
                </c:pt>
                <c:pt idx="101">
                  <c:v>1123.449</c:v>
                </c:pt>
                <c:pt idx="102">
                  <c:v>1158.3854</c:v>
                </c:pt>
                <c:pt idx="103">
                  <c:v>1029.2894</c:v>
                </c:pt>
                <c:pt idx="104">
                  <c:v>1098.1199</c:v>
                </c:pt>
              </c:numCache>
            </c:numRef>
          </c:xVal>
          <c:yVal>
            <c:numRef>
              <c:f>Sheet1!$B$2:$B$106</c:f>
              <c:numCache>
                <c:formatCode>General</c:formatCode>
                <c:ptCount val="105"/>
                <c:pt idx="0">
                  <c:v>0.22760837033584377</c:v>
                </c:pt>
                <c:pt idx="1">
                  <c:v>0.2325046891924022</c:v>
                </c:pt>
                <c:pt idx="2">
                  <c:v>0.21503914608665006</c:v>
                </c:pt>
                <c:pt idx="3">
                  <c:v>0.21465353931534992</c:v>
                </c:pt>
                <c:pt idx="4">
                  <c:v>0.20793685458459427</c:v>
                </c:pt>
                <c:pt idx="5">
                  <c:v>0.19700700284590542</c:v>
                </c:pt>
                <c:pt idx="6">
                  <c:v>0.21223065621939274</c:v>
                </c:pt>
                <c:pt idx="7">
                  <c:v>0.2064143863499593</c:v>
                </c:pt>
                <c:pt idx="8">
                  <c:v>0.21617841896069484</c:v>
                </c:pt>
                <c:pt idx="9">
                  <c:v>0.2153190066059035</c:v>
                </c:pt>
                <c:pt idx="10">
                  <c:v>0.22748662238834064</c:v>
                </c:pt>
                <c:pt idx="11">
                  <c:v>0.2233351380617217</c:v>
                </c:pt>
                <c:pt idx="12">
                  <c:v>0.23061462494727178</c:v>
                </c:pt>
                <c:pt idx="13">
                  <c:v>0.23896447860407147</c:v>
                </c:pt>
                <c:pt idx="14">
                  <c:v>0.2310797703620206</c:v>
                </c:pt>
                <c:pt idx="15">
                  <c:v>0.22597676874340022</c:v>
                </c:pt>
                <c:pt idx="16">
                  <c:v>0.2103988603988604</c:v>
                </c:pt>
                <c:pt idx="17">
                  <c:v>0.2051552431165788</c:v>
                </c:pt>
                <c:pt idx="18">
                  <c:v>0.1855248858943708</c:v>
                </c:pt>
                <c:pt idx="19">
                  <c:v>0.17197875166002657</c:v>
                </c:pt>
                <c:pt idx="20">
                  <c:v>0.18437369082530372</c:v>
                </c:pt>
                <c:pt idx="21">
                  <c:v>0.1804080344936376</c:v>
                </c:pt>
                <c:pt idx="22">
                  <c:v>0.17943632567849688</c:v>
                </c:pt>
                <c:pt idx="23">
                  <c:v>0.179156462585034</c:v>
                </c:pt>
                <c:pt idx="24">
                  <c:v>0.18617021276595744</c:v>
                </c:pt>
                <c:pt idx="25">
                  <c:v>0.18273523102788566</c:v>
                </c:pt>
                <c:pt idx="26">
                  <c:v>0.18625585103646933</c:v>
                </c:pt>
                <c:pt idx="27">
                  <c:v>0.18023079259034316</c:v>
                </c:pt>
                <c:pt idx="28">
                  <c:v>0.17629820051413883</c:v>
                </c:pt>
                <c:pt idx="29">
                  <c:v>0.18736804276537442</c:v>
                </c:pt>
                <c:pt idx="30">
                  <c:v>0.17649434571890146</c:v>
                </c:pt>
                <c:pt idx="31">
                  <c:v>0.16942195231668916</c:v>
                </c:pt>
                <c:pt idx="32">
                  <c:v>0.1783959816746702</c:v>
                </c:pt>
                <c:pt idx="33">
                  <c:v>0.19256418079588544</c:v>
                </c:pt>
                <c:pt idx="34">
                  <c:v>0.1910329127599645</c:v>
                </c:pt>
                <c:pt idx="35">
                  <c:v>0.19439806453811292</c:v>
                </c:pt>
                <c:pt idx="36">
                  <c:v>0.1634170522141441</c:v>
                </c:pt>
                <c:pt idx="37">
                  <c:v>0.14788562611504893</c:v>
                </c:pt>
                <c:pt idx="38">
                  <c:v>0.1440997390547985</c:v>
                </c:pt>
                <c:pt idx="39">
                  <c:v>0.14272555140473875</c:v>
                </c:pt>
                <c:pt idx="40">
                  <c:v>0.14606043022340118</c:v>
                </c:pt>
                <c:pt idx="41">
                  <c:v>0.1362635345935034</c:v>
                </c:pt>
                <c:pt idx="42">
                  <c:v>0.14438356164383562</c:v>
                </c:pt>
                <c:pt idx="43">
                  <c:v>0.15096437880104258</c:v>
                </c:pt>
                <c:pt idx="44">
                  <c:v>0.16644399128050066</c:v>
                </c:pt>
                <c:pt idx="45">
                  <c:v>0.18401017919626764</c:v>
                </c:pt>
                <c:pt idx="46">
                  <c:v>0.191180093619118</c:v>
                </c:pt>
                <c:pt idx="47">
                  <c:v>0.19401514039465684</c:v>
                </c:pt>
                <c:pt idx="48">
                  <c:v>0.20776936606255259</c:v>
                </c:pt>
                <c:pt idx="49">
                  <c:v>0.24055718692688513</c:v>
                </c:pt>
                <c:pt idx="50">
                  <c:v>0.20537331455021132</c:v>
                </c:pt>
                <c:pt idx="51">
                  <c:v>0.18708201775103797</c:v>
                </c:pt>
                <c:pt idx="52">
                  <c:v>0.20016477944904512</c:v>
                </c:pt>
                <c:pt idx="53">
                  <c:v>0.19037838691839798</c:v>
                </c:pt>
                <c:pt idx="54">
                  <c:v>0.18361277154104097</c:v>
                </c:pt>
                <c:pt idx="55">
                  <c:v>0.180431336184978</c:v>
                </c:pt>
                <c:pt idx="56">
                  <c:v>0.1921937356391341</c:v>
                </c:pt>
                <c:pt idx="57">
                  <c:v>0.1869673664518811</c:v>
                </c:pt>
                <c:pt idx="58">
                  <c:v>0.20230027679679297</c:v>
                </c:pt>
                <c:pt idx="59">
                  <c:v>0.20680500793289244</c:v>
                </c:pt>
                <c:pt idx="60">
                  <c:v>0.21535680468279245</c:v>
                </c:pt>
                <c:pt idx="61">
                  <c:v>0.21254020047418953</c:v>
                </c:pt>
                <c:pt idx="62">
                  <c:v>0.21977724058468698</c:v>
                </c:pt>
                <c:pt idx="63">
                  <c:v>0.23405083253118153</c:v>
                </c:pt>
                <c:pt idx="64">
                  <c:v>0.22663326653306612</c:v>
                </c:pt>
                <c:pt idx="65">
                  <c:v>0.21906008068912877</c:v>
                </c:pt>
                <c:pt idx="66">
                  <c:v>0.21964273616223662</c:v>
                </c:pt>
                <c:pt idx="67">
                  <c:v>0.2167344705350558</c:v>
                </c:pt>
                <c:pt idx="68">
                  <c:v>0.19713190401817407</c:v>
                </c:pt>
                <c:pt idx="69">
                  <c:v>0.18215920174056568</c:v>
                </c:pt>
                <c:pt idx="70">
                  <c:v>0.17000035910511008</c:v>
                </c:pt>
                <c:pt idx="71">
                  <c:v>0.17906644531099186</c:v>
                </c:pt>
                <c:pt idx="72">
                  <c:v>0.18262489044697633</c:v>
                </c:pt>
                <c:pt idx="73">
                  <c:v>0.18369408930167488</c:v>
                </c:pt>
                <c:pt idx="74">
                  <c:v>0.17798172038966412</c:v>
                </c:pt>
                <c:pt idx="75">
                  <c:v>0.17587279337684525</c:v>
                </c:pt>
                <c:pt idx="76">
                  <c:v>0.17318383555244102</c:v>
                </c:pt>
                <c:pt idx="77">
                  <c:v>0.16938785339305495</c:v>
                </c:pt>
                <c:pt idx="78">
                  <c:v>0.16006449879064769</c:v>
                </c:pt>
                <c:pt idx="79">
                  <c:v>0.20537501191270371</c:v>
                </c:pt>
                <c:pt idx="80">
                  <c:v>0.1914609739826551</c:v>
                </c:pt>
                <c:pt idx="81">
                  <c:v>0.16176890156918688</c:v>
                </c:pt>
                <c:pt idx="82">
                  <c:v>0.1631413612565445</c:v>
                </c:pt>
                <c:pt idx="83">
                  <c:v>0.1470696419813634</c:v>
                </c:pt>
                <c:pt idx="84">
                  <c:v>0.14775611265861963</c:v>
                </c:pt>
                <c:pt idx="85">
                  <c:v>0.14966431963320778</c:v>
                </c:pt>
                <c:pt idx="86">
                  <c:v>0.1466328451026921</c:v>
                </c:pt>
                <c:pt idx="87">
                  <c:v>0.1682031189982331</c:v>
                </c:pt>
                <c:pt idx="88">
                  <c:v>0.15206499002772778</c:v>
                </c:pt>
                <c:pt idx="89">
                  <c:v>0.14356117420184272</c:v>
                </c:pt>
                <c:pt idx="90">
                  <c:v>0.13762376237623763</c:v>
                </c:pt>
                <c:pt idx="91">
                  <c:v>0.14078597981943708</c:v>
                </c:pt>
                <c:pt idx="92">
                  <c:v>0.14561866643958102</c:v>
                </c:pt>
                <c:pt idx="93">
                  <c:v>0.1377233240452385</c:v>
                </c:pt>
                <c:pt idx="94">
                  <c:v>0.13904559326736335</c:v>
                </c:pt>
                <c:pt idx="95">
                  <c:v>0.14864864864864866</c:v>
                </c:pt>
                <c:pt idx="96">
                  <c:v>0.145429833503228</c:v>
                </c:pt>
                <c:pt idx="97">
                  <c:v>0.15325840794124496</c:v>
                </c:pt>
                <c:pt idx="98">
                  <c:v>0.1700043933513949</c:v>
                </c:pt>
                <c:pt idx="99">
                  <c:v>0.17778411250475104</c:v>
                </c:pt>
                <c:pt idx="100">
                  <c:v>0.20069152307958277</c:v>
                </c:pt>
                <c:pt idx="101">
                  <c:v>0.18210413864050012</c:v>
                </c:pt>
                <c:pt idx="102">
                  <c:v>0.1514782002787179</c:v>
                </c:pt>
                <c:pt idx="103">
                  <c:v>0.17233793587643342</c:v>
                </c:pt>
                <c:pt idx="104">
                  <c:v>0.176800976800976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8.7574</c:v>
                </c:pt>
                <c:pt idx="1">
                  <c:v>1177.625</c:v>
                </c:pt>
                <c:pt idx="2">
                  <c:v>1172.3587</c:v>
                </c:pt>
                <c:pt idx="3">
                  <c:v>1185.1032</c:v>
                </c:pt>
                <c:pt idx="4">
                  <c:v>1176.6827</c:v>
                </c:pt>
                <c:pt idx="5">
                  <c:v>1196.7495</c:v>
                </c:pt>
                <c:pt idx="6">
                  <c:v>1124.6922</c:v>
                </c:pt>
                <c:pt idx="7">
                  <c:v>1148.3225</c:v>
                </c:pt>
                <c:pt idx="8">
                  <c:v>1215.8</c:v>
                </c:pt>
                <c:pt idx="9">
                  <c:v>1157.5194</c:v>
                </c:pt>
                <c:pt idx="10">
                  <c:v>1170.3049</c:v>
                </c:pt>
                <c:pt idx="11">
                  <c:v>1107.5445</c:v>
                </c:pt>
                <c:pt idx="12">
                  <c:v>1119.2117</c:v>
                </c:pt>
                <c:pt idx="13">
                  <c:v>1135.6077</c:v>
                </c:pt>
                <c:pt idx="14">
                  <c:v>1167.3303</c:v>
                </c:pt>
                <c:pt idx="15">
                  <c:v>1172.847</c:v>
                </c:pt>
                <c:pt idx="16">
                  <c:v>1208.7712</c:v>
                </c:pt>
                <c:pt idx="17">
                  <c:v>1169.8965</c:v>
                </c:pt>
                <c:pt idx="18">
                  <c:v>1144.1</c:v>
                </c:pt>
                <c:pt idx="19">
                  <c:v>1206.3775</c:v>
                </c:pt>
                <c:pt idx="20">
                  <c:v>1172.4313</c:v>
                </c:pt>
                <c:pt idx="21">
                  <c:v>1176.9614</c:v>
                </c:pt>
                <c:pt idx="22">
                  <c:v>1163.8238</c:v>
                </c:pt>
                <c:pt idx="23">
                  <c:v>1128.0798</c:v>
                </c:pt>
                <c:pt idx="24">
                  <c:v>1133.5848</c:v>
                </c:pt>
                <c:pt idx="25">
                  <c:v>1094.192</c:v>
                </c:pt>
                <c:pt idx="26">
                  <c:v>1155.4398</c:v>
                </c:pt>
                <c:pt idx="27">
                  <c:v>1199.0302</c:v>
                </c:pt>
                <c:pt idx="28">
                  <c:v>1215.877</c:v>
                </c:pt>
                <c:pt idx="29">
                  <c:v>1220.687</c:v>
                </c:pt>
                <c:pt idx="30">
                  <c:v>1218.6003</c:v>
                </c:pt>
                <c:pt idx="31">
                  <c:v>1137.6262</c:v>
                </c:pt>
                <c:pt idx="32">
                  <c:v>1162.0061</c:v>
                </c:pt>
                <c:pt idx="33">
                  <c:v>1208.5462</c:v>
                </c:pt>
                <c:pt idx="34">
                  <c:v>1257.7587</c:v>
                </c:pt>
                <c:pt idx="35">
                  <c:v>1244.7087</c:v>
                </c:pt>
                <c:pt idx="36">
                  <c:v>1226.9634</c:v>
                </c:pt>
                <c:pt idx="37">
                  <c:v>1277.8377</c:v>
                </c:pt>
                <c:pt idx="38">
                  <c:v>1252.4698</c:v>
                </c:pt>
                <c:pt idx="39">
                  <c:v>1245.7003</c:v>
                </c:pt>
                <c:pt idx="40">
                  <c:v>1264.5686</c:v>
                </c:pt>
                <c:pt idx="41">
                  <c:v>1309.5568</c:v>
                </c:pt>
                <c:pt idx="42">
                  <c:v>1291.1142</c:v>
                </c:pt>
                <c:pt idx="43">
                  <c:v>1290.0166</c:v>
                </c:pt>
                <c:pt idx="44">
                  <c:v>1219.665</c:v>
                </c:pt>
                <c:pt idx="45">
                  <c:v>1179.9205</c:v>
                </c:pt>
                <c:pt idx="46">
                  <c:v>1154.8166</c:v>
                </c:pt>
                <c:pt idx="47">
                  <c:v>1148.3691</c:v>
                </c:pt>
                <c:pt idx="48">
                  <c:v>1118.9358</c:v>
                </c:pt>
                <c:pt idx="49">
                  <c:v>1130.8266</c:v>
                </c:pt>
                <c:pt idx="50">
                  <c:v>1043.1016</c:v>
                </c:pt>
                <c:pt idx="51">
                  <c:v>1018.2941</c:v>
                </c:pt>
              </c:numCache>
            </c:numRef>
          </c:xVal>
          <c:yVal>
            <c:numRef>
              <c:f>Sheet1!$B$109:$B$160</c:f>
              <c:numCache>
                <c:formatCode>General</c:formatCode>
                <c:ptCount val="52"/>
                <c:pt idx="0">
                  <c:v>0.1756422924901186</c:v>
                </c:pt>
                <c:pt idx="1">
                  <c:v>0.17338159689434476</c:v>
                </c:pt>
                <c:pt idx="2">
                  <c:v>0.18069202200178647</c:v>
                </c:pt>
                <c:pt idx="3">
                  <c:v>0.1907962771458118</c:v>
                </c:pt>
                <c:pt idx="4">
                  <c:v>0.1789468549547572</c:v>
                </c:pt>
                <c:pt idx="5">
                  <c:v>0.17145237161897295</c:v>
                </c:pt>
                <c:pt idx="6">
                  <c:v>0.17660455486542442</c:v>
                </c:pt>
                <c:pt idx="7">
                  <c:v>0.1757968597589755</c:v>
                </c:pt>
                <c:pt idx="8">
                  <c:v>0.1740185341196293</c:v>
                </c:pt>
                <c:pt idx="9">
                  <c:v>0.18755431409062695</c:v>
                </c:pt>
                <c:pt idx="10">
                  <c:v>0.1889908801948727</c:v>
                </c:pt>
                <c:pt idx="11">
                  <c:v>0.19810960687905524</c:v>
                </c:pt>
                <c:pt idx="12">
                  <c:v>0.19908599707115082</c:v>
                </c:pt>
                <c:pt idx="13">
                  <c:v>0.1935764346313959</c:v>
                </c:pt>
                <c:pt idx="14">
                  <c:v>0.19270878721859114</c:v>
                </c:pt>
                <c:pt idx="15">
                  <c:v>0.18215705765407555</c:v>
                </c:pt>
                <c:pt idx="16">
                  <c:v>0.16933333333333334</c:v>
                </c:pt>
                <c:pt idx="17">
                  <c:v>0.15995926526609588</c:v>
                </c:pt>
                <c:pt idx="18">
                  <c:v>0.15850539009683903</c:v>
                </c:pt>
                <c:pt idx="19">
                  <c:v>0.16571620261657163</c:v>
                </c:pt>
                <c:pt idx="20">
                  <c:v>0.16150946908008004</c:v>
                </c:pt>
                <c:pt idx="21">
                  <c:v>0.15918625366358255</c:v>
                </c:pt>
                <c:pt idx="22">
                  <c:v>0.1599478369337189</c:v>
                </c:pt>
                <c:pt idx="23">
                  <c:v>0.16913998597803226</c:v>
                </c:pt>
                <c:pt idx="24">
                  <c:v>0.16763256242214158</c:v>
                </c:pt>
                <c:pt idx="25">
                  <c:v>0.1772223800056802</c:v>
                </c:pt>
                <c:pt idx="26">
                  <c:v>0.15735930735930737</c:v>
                </c:pt>
                <c:pt idx="27">
                  <c:v>0.14624699710741776</c:v>
                </c:pt>
                <c:pt idx="28">
                  <c:v>0.1447596217871887</c:v>
                </c:pt>
                <c:pt idx="29">
                  <c:v>0.14361219368960546</c:v>
                </c:pt>
                <c:pt idx="30">
                  <c:v>0.1505394283172061</c:v>
                </c:pt>
                <c:pt idx="31">
                  <c:v>0.1473225102980373</c:v>
                </c:pt>
                <c:pt idx="32">
                  <c:v>0.14749231258615206</c:v>
                </c:pt>
                <c:pt idx="33">
                  <c:v>0.17016471838469713</c:v>
                </c:pt>
                <c:pt idx="34">
                  <c:v>0.18908991039857187</c:v>
                </c:pt>
                <c:pt idx="35">
                  <c:v>0.1857666790291342</c:v>
                </c:pt>
                <c:pt idx="36">
                  <c:v>0.15440077947385514</c:v>
                </c:pt>
                <c:pt idx="37">
                  <c:v>0.14483357452966714</c:v>
                </c:pt>
                <c:pt idx="38">
                  <c:v>0.1463097713097713</c:v>
                </c:pt>
                <c:pt idx="39">
                  <c:v>0.16379760041731872</c:v>
                </c:pt>
                <c:pt idx="40">
                  <c:v>0.14710644400240552</c:v>
                </c:pt>
                <c:pt idx="41">
                  <c:v>0.1488095238095238</c:v>
                </c:pt>
                <c:pt idx="42">
                  <c:v>0.14745059770675775</c:v>
                </c:pt>
                <c:pt idx="43">
                  <c:v>0.14470626095040584</c:v>
                </c:pt>
                <c:pt idx="44">
                  <c:v>0.14358073488508272</c:v>
                </c:pt>
                <c:pt idx="45">
                  <c:v>0.16175077648302752</c:v>
                </c:pt>
                <c:pt idx="46">
                  <c:v>0.1573514269873538</c:v>
                </c:pt>
                <c:pt idx="47">
                  <c:v>0.15974718056760442</c:v>
                </c:pt>
                <c:pt idx="48">
                  <c:v>0.15152081775118426</c:v>
                </c:pt>
                <c:pt idx="49">
                  <c:v>0.16450183947743824</c:v>
                </c:pt>
                <c:pt idx="50">
                  <c:v>0.2032294470006077</c:v>
                </c:pt>
                <c:pt idx="51">
                  <c:v>0.1885073279752439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71.7260715720208</c:v>
                </c:pt>
              </c:numCache>
            </c:numRef>
          </c:xVal>
          <c:yVal>
            <c:numRef>
              <c:f>Sheet1!$B$163:$B$164</c:f>
              <c:numCache>
                <c:formatCode>General</c:formatCode>
                <c:ptCount val="2"/>
                <c:pt idx="0">
                  <c:v>0.21439700709897694</c:v>
                </c:pt>
                <c:pt idx="1">
                  <c:v>0.2143970070989769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71.7260715720208</c:v>
                </c:pt>
                <c:pt idx="1">
                  <c:v>871.7260715720208</c:v>
                </c:pt>
              </c:numCache>
            </c:numRef>
          </c:xVal>
          <c:yVal>
            <c:numRef>
              <c:f>Sheet1!$B$167:$B$168</c:f>
              <c:numCache>
                <c:formatCode>General</c:formatCode>
                <c:ptCount val="2"/>
                <c:pt idx="0">
                  <c:v>0.2143970070989769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9.1154785654794</c:v>
                </c:pt>
              </c:numCache>
            </c:numRef>
          </c:xVal>
          <c:yVal>
            <c:numRef>
              <c:f>Sheet1!$B$171:$B$172</c:f>
              <c:numCache>
                <c:formatCode>General</c:formatCode>
                <c:ptCount val="2"/>
                <c:pt idx="0">
                  <c:v>0.17818407629202085</c:v>
                </c:pt>
                <c:pt idx="1">
                  <c:v>0.1781840762920208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9.1154785654794</c:v>
                </c:pt>
                <c:pt idx="1">
                  <c:v>1109.1154785654794</c:v>
                </c:pt>
              </c:numCache>
            </c:numRef>
          </c:xVal>
          <c:yVal>
            <c:numRef>
              <c:f>Sheet1!$B$175:$B$176</c:f>
              <c:numCache>
                <c:formatCode>General</c:formatCode>
                <c:ptCount val="2"/>
                <c:pt idx="0">
                  <c:v>0.1781840762920208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27.28018667298</c:v>
                </c:pt>
              </c:numCache>
            </c:numRef>
          </c:xVal>
          <c:yVal>
            <c:numRef>
              <c:f>Sheet1!$B$179:$B$180</c:f>
              <c:numCache>
                <c:formatCode>General</c:formatCode>
                <c:ptCount val="2"/>
                <c:pt idx="0">
                  <c:v>0.16015845984722726</c:v>
                </c:pt>
                <c:pt idx="1">
                  <c:v>0.1601584598472272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27.28018667298</c:v>
                </c:pt>
                <c:pt idx="1">
                  <c:v>1227.28018667298</c:v>
                </c:pt>
              </c:numCache>
            </c:numRef>
          </c:xVal>
          <c:yVal>
            <c:numRef>
              <c:f>Sheet1!$B$183:$B$184</c:f>
              <c:numCache>
                <c:formatCode>General</c:formatCode>
                <c:ptCount val="2"/>
                <c:pt idx="0">
                  <c:v>0.1601584598472272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8.7574</c:v>
                </c:pt>
                <c:pt idx="1">
                  <c:v>1177.625</c:v>
                </c:pt>
                <c:pt idx="2">
                  <c:v>1172.3587</c:v>
                </c:pt>
                <c:pt idx="3">
                  <c:v>1185.1032</c:v>
                </c:pt>
                <c:pt idx="4">
                  <c:v>1176.6827</c:v>
                </c:pt>
                <c:pt idx="5">
                  <c:v>1196.7495</c:v>
                </c:pt>
                <c:pt idx="6">
                  <c:v>1124.6922</c:v>
                </c:pt>
                <c:pt idx="7">
                  <c:v>1148.3225</c:v>
                </c:pt>
                <c:pt idx="8">
                  <c:v>1215.8</c:v>
                </c:pt>
                <c:pt idx="9">
                  <c:v>1157.5194</c:v>
                </c:pt>
                <c:pt idx="10">
                  <c:v>1170.3049</c:v>
                </c:pt>
                <c:pt idx="11">
                  <c:v>1107.5445</c:v>
                </c:pt>
                <c:pt idx="12">
                  <c:v>1119.2117</c:v>
                </c:pt>
                <c:pt idx="13">
                  <c:v>1135.6077</c:v>
                </c:pt>
                <c:pt idx="14">
                  <c:v>1167.3303</c:v>
                </c:pt>
                <c:pt idx="15">
                  <c:v>1172.847</c:v>
                </c:pt>
                <c:pt idx="16">
                  <c:v>1208.7712</c:v>
                </c:pt>
                <c:pt idx="17">
                  <c:v>1169.8965</c:v>
                </c:pt>
                <c:pt idx="18">
                  <c:v>1144.1</c:v>
                </c:pt>
                <c:pt idx="19">
                  <c:v>1206.3775</c:v>
                </c:pt>
                <c:pt idx="20">
                  <c:v>1172.4313</c:v>
                </c:pt>
                <c:pt idx="21">
                  <c:v>1176.9614</c:v>
                </c:pt>
                <c:pt idx="22">
                  <c:v>1163.8238</c:v>
                </c:pt>
                <c:pt idx="23">
                  <c:v>1128.0798</c:v>
                </c:pt>
                <c:pt idx="24">
                  <c:v>1133.5848</c:v>
                </c:pt>
                <c:pt idx="25">
                  <c:v>1094.192</c:v>
                </c:pt>
                <c:pt idx="26">
                  <c:v>1155.4398</c:v>
                </c:pt>
                <c:pt idx="27">
                  <c:v>1199.0302</c:v>
                </c:pt>
                <c:pt idx="28">
                  <c:v>1215.877</c:v>
                </c:pt>
                <c:pt idx="29">
                  <c:v>1220.687</c:v>
                </c:pt>
                <c:pt idx="30">
                  <c:v>1218.6003</c:v>
                </c:pt>
                <c:pt idx="31">
                  <c:v>1137.6262</c:v>
                </c:pt>
                <c:pt idx="32">
                  <c:v>1162.0061</c:v>
                </c:pt>
                <c:pt idx="33">
                  <c:v>1208.5462</c:v>
                </c:pt>
                <c:pt idx="34">
                  <c:v>1257.7587</c:v>
                </c:pt>
                <c:pt idx="35">
                  <c:v>1244.7087</c:v>
                </c:pt>
                <c:pt idx="36">
                  <c:v>1226.9634</c:v>
                </c:pt>
                <c:pt idx="37">
                  <c:v>1277.8377</c:v>
                </c:pt>
                <c:pt idx="38">
                  <c:v>1252.4698</c:v>
                </c:pt>
                <c:pt idx="39">
                  <c:v>1245.7003</c:v>
                </c:pt>
                <c:pt idx="40">
                  <c:v>1264.5686</c:v>
                </c:pt>
                <c:pt idx="41">
                  <c:v>1309.5568</c:v>
                </c:pt>
                <c:pt idx="42">
                  <c:v>1291.1142</c:v>
                </c:pt>
                <c:pt idx="43">
                  <c:v>1290.0166</c:v>
                </c:pt>
                <c:pt idx="44">
                  <c:v>1219.665</c:v>
                </c:pt>
                <c:pt idx="45">
                  <c:v>1179.9205</c:v>
                </c:pt>
                <c:pt idx="46">
                  <c:v>1154.8166</c:v>
                </c:pt>
                <c:pt idx="47">
                  <c:v>1148.3691</c:v>
                </c:pt>
                <c:pt idx="48">
                  <c:v>1118.9358</c:v>
                </c:pt>
                <c:pt idx="49">
                  <c:v>1130.8266</c:v>
                </c:pt>
                <c:pt idx="50">
                  <c:v>1043.1016</c:v>
                </c:pt>
                <c:pt idx="51">
                  <c:v>1018.2941</c:v>
                </c:pt>
                <c:pt idx="52">
                  <c:v>1109.1154785654794</c:v>
                </c:pt>
                <c:pt idx="53">
                  <c:v>871.7260715720208</c:v>
                </c:pt>
                <c:pt idx="54">
                  <c:v>1227.28018667298</c:v>
                </c:pt>
              </c:numCache>
            </c:numRef>
          </c:xVal>
          <c:yVal>
            <c:numRef>
              <c:f>Sheet1!$B$187:$B$241</c:f>
              <c:numCache>
                <c:formatCode>General</c:formatCode>
                <c:ptCount val="55"/>
                <c:pt idx="0">
                  <c:v>0.16756044268464063</c:v>
                </c:pt>
                <c:pt idx="1">
                  <c:v>0.16773318637765186</c:v>
                </c:pt>
                <c:pt idx="2">
                  <c:v>0.1685365421799347</c:v>
                </c:pt>
                <c:pt idx="3">
                  <c:v>0.16659241290089752</c:v>
                </c:pt>
                <c:pt idx="4">
                  <c:v>0.1678769309749006</c:v>
                </c:pt>
                <c:pt idx="5">
                  <c:v>0.16481581022347194</c:v>
                </c:pt>
                <c:pt idx="6">
                  <c:v>0.17580790145485523</c:v>
                </c:pt>
                <c:pt idx="7">
                  <c:v>0.17220318113609562</c:v>
                </c:pt>
                <c:pt idx="8">
                  <c:v>0.1619097225126714</c:v>
                </c:pt>
                <c:pt idx="9">
                  <c:v>0.17080022593452815</c:v>
                </c:pt>
                <c:pt idx="10">
                  <c:v>0.16884984224767263</c:v>
                </c:pt>
                <c:pt idx="11">
                  <c:v>0.17842372362427306</c:v>
                </c:pt>
                <c:pt idx="12">
                  <c:v>0.17664393272432544</c:v>
                </c:pt>
                <c:pt idx="13">
                  <c:v>0.1741427797831278</c:v>
                </c:pt>
                <c:pt idx="14">
                  <c:v>0.16930360716221804</c:v>
                </c:pt>
                <c:pt idx="15">
                  <c:v>0.16846205370828388</c:v>
                </c:pt>
                <c:pt idx="16">
                  <c:v>0.1629819415778757</c:v>
                </c:pt>
                <c:pt idx="17">
                  <c:v>0.16891214225140436</c:v>
                </c:pt>
                <c:pt idx="18">
                  <c:v>0.17284730886811606</c:v>
                </c:pt>
                <c:pt idx="19">
                  <c:v>0.16334709221189284</c:v>
                </c:pt>
                <c:pt idx="20">
                  <c:v>0.16852546730170032</c:v>
                </c:pt>
                <c:pt idx="21">
                  <c:v>0.1678344162563893</c:v>
                </c:pt>
                <c:pt idx="22">
                  <c:v>0.16983851157721622</c:v>
                </c:pt>
                <c:pt idx="23">
                  <c:v>0.1752911348225302</c:v>
                </c:pt>
                <c:pt idx="24">
                  <c:v>0.1744513661630222</c:v>
                </c:pt>
                <c:pt idx="25">
                  <c:v>0.18046060119485988</c:v>
                </c:pt>
                <c:pt idx="26">
                  <c:v>0.17111746170279565</c:v>
                </c:pt>
                <c:pt idx="27">
                  <c:v>0.1644678973475882</c:v>
                </c:pt>
                <c:pt idx="28">
                  <c:v>0.16189797642969553</c:v>
                </c:pt>
                <c:pt idx="29">
                  <c:v>0.16116422761003463</c:v>
                </c:pt>
                <c:pt idx="30">
                  <c:v>0.16148254645868043</c:v>
                </c:pt>
                <c:pt idx="31">
                  <c:v>0.1738348646079749</c:v>
                </c:pt>
                <c:pt idx="32">
                  <c:v>0.17011579540871258</c:v>
                </c:pt>
                <c:pt idx="33">
                  <c:v>0.16301626454761037</c:v>
                </c:pt>
                <c:pt idx="34">
                  <c:v>0.15550906833397968</c:v>
                </c:pt>
                <c:pt idx="35">
                  <c:v>0.15749980057858992</c:v>
                </c:pt>
                <c:pt idx="36">
                  <c:v>0.16020678455562298</c:v>
                </c:pt>
                <c:pt idx="37">
                  <c:v>0.1524460865148587</c:v>
                </c:pt>
                <c:pt idx="38">
                  <c:v>0.15631587168788916</c:v>
                </c:pt>
                <c:pt idx="39">
                  <c:v>0.15734853543730595</c:v>
                </c:pt>
                <c:pt idx="40">
                  <c:v>0.15447024170466386</c:v>
                </c:pt>
                <c:pt idx="41">
                  <c:v>0.14760744780681148</c:v>
                </c:pt>
                <c:pt idx="42">
                  <c:v>0.1504208024807156</c:v>
                </c:pt>
                <c:pt idx="43">
                  <c:v>0.1505882375544079</c:v>
                </c:pt>
                <c:pt idx="44">
                  <c:v>0.16132013016589603</c:v>
                </c:pt>
                <c:pt idx="45">
                  <c:v>0.16738301581309228</c:v>
                </c:pt>
                <c:pt idx="46">
                  <c:v>0.17121252870163406</c:v>
                </c:pt>
                <c:pt idx="47">
                  <c:v>0.17219607246769725</c:v>
                </c:pt>
                <c:pt idx="48">
                  <c:v>0.17668602031254674</c:v>
                </c:pt>
                <c:pt idx="49">
                  <c:v>0.17487212000800947</c:v>
                </c:pt>
                <c:pt idx="50">
                  <c:v>0.18825426454122265</c:v>
                </c:pt>
                <c:pt idx="51">
                  <c:v>0.192038562637634</c:v>
                </c:pt>
                <c:pt idx="52">
                  <c:v>0.17818407629202085</c:v>
                </c:pt>
                <c:pt idx="53">
                  <c:v>0.21439700709897694</c:v>
                </c:pt>
                <c:pt idx="54">
                  <c:v>0.1601584598472272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1.0"/>
          <c:min val="64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866862431226215"/>
          <c:min val="0.1090108276748027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1390.093</c:v>
                </c:pt>
              </c:numCache>
            </c:numRef>
          </c:xVal>
          <c:yVal>
            <c:numRef>
              <c:f>Sheet1!$B$2:$B$2</c:f>
              <c:numCache>
                <c:formatCode>General</c:formatCode>
                <c:ptCount val="1"/>
                <c:pt idx="0">
                  <c:v>0.23279195668986852</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23279195668986852</c:v>
                </c:pt>
              </c:numCache>
            </c:numRef>
          </c:xVal>
          <c:yVal>
            <c:numRef>
              <c:f>Sheet1!$B$7:$B$8</c:f>
              <c:numCache>
                <c:formatCode>General</c:formatCode>
                <c:ptCount val="2"/>
                <c:pt idx="0">
                  <c:v>0.23279195668986852</c:v>
                </c:pt>
                <c:pt idx="1">
                  <c:v>0.23279195668986852</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23279195668986852</c:v>
                </c:pt>
                <c:pt idx="1">
                  <c:v>0.23279195668986852</c:v>
                </c:pt>
              </c:numCache>
            </c:numRef>
          </c:xVal>
          <c:yVal>
            <c:numRef>
              <c:f>Sheet1!$B$11:$B$12</c:f>
              <c:numCache>
                <c:formatCode>General</c:formatCode>
                <c:ptCount val="2"/>
                <c:pt idx="0">
                  <c:v>0.232791956689868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23279195668986852</c:v>
                </c:pt>
                <c:pt idx="2">
                  <c:v>0</c:v>
                </c:pt>
              </c:numCache>
            </c:numRef>
          </c:xVal>
          <c:yVal>
            <c:numRef>
              <c:f>Sheet1!$B$15:$B$17</c:f>
              <c:numCache>
                <c:formatCode>General</c:formatCode>
                <c:ptCount val="3"/>
                <c:pt idx="0">
                  <c:v>0</c:v>
                </c:pt>
                <c:pt idx="1">
                  <c:v>0.23279195668986852</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6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793503480278422"/>
          <c:min val="0.186233565351894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96</c:f>
              <c:numCache>
                <c:formatCode>General</c:formatCode>
                <c:ptCount val="95"/>
                <c:pt idx="0">
                  <c:v>0.49748091985776705</c:v>
                </c:pt>
                <c:pt idx="1">
                  <c:v>0.6236537015726888</c:v>
                </c:pt>
                <c:pt idx="2">
                  <c:v>0.5590594806797151</c:v>
                </c:pt>
                <c:pt idx="3">
                  <c:v>0.6060618047570053</c:v>
                </c:pt>
                <c:pt idx="4">
                  <c:v>0.6500447848844632</c:v>
                </c:pt>
                <c:pt idx="5">
                  <c:v>0.6656037941787941</c:v>
                </c:pt>
                <c:pt idx="6">
                  <c:v>1.1806236399604353</c:v>
                </c:pt>
                <c:pt idx="7">
                  <c:v>0.6937257079400334</c:v>
                </c:pt>
                <c:pt idx="8">
                  <c:v>0.7691631546518792</c:v>
                </c:pt>
                <c:pt idx="9">
                  <c:v>0.7244701012507444</c:v>
                </c:pt>
                <c:pt idx="10">
                  <c:v>0.8083288343558283</c:v>
                </c:pt>
                <c:pt idx="11">
                  <c:v>1.1469394670917785</c:v>
                </c:pt>
                <c:pt idx="12">
                  <c:v>1.3712311040339702</c:v>
                </c:pt>
                <c:pt idx="13">
                  <c:v>0.8753447721179625</c:v>
                </c:pt>
                <c:pt idx="14">
                  <c:v>0.4749875753699982</c:v>
                </c:pt>
                <c:pt idx="15">
                  <c:v>0.5548595744680851</c:v>
                </c:pt>
                <c:pt idx="16">
                  <c:v>0.6822923374114617</c:v>
                </c:pt>
                <c:pt idx="17">
                  <c:v>0.6132174399694419</c:v>
                </c:pt>
                <c:pt idx="18">
                  <c:v>0.0</c:v>
                </c:pt>
                <c:pt idx="19">
                  <c:v>1.1343694625407166</c:v>
                </c:pt>
                <c:pt idx="20">
                  <c:v>0.44940754414125206</c:v>
                </c:pt>
                <c:pt idx="21">
                  <c:v>1.2398443161634103</c:v>
                </c:pt>
                <c:pt idx="22">
                  <c:v>1.2734247978436657</c:v>
                </c:pt>
                <c:pt idx="23">
                  <c:v>0.0</c:v>
                </c:pt>
                <c:pt idx="24">
                  <c:v>0.4781748716193085</c:v>
                </c:pt>
                <c:pt idx="25">
                  <c:v>0.0</c:v>
                </c:pt>
                <c:pt idx="26">
                  <c:v>0.0</c:v>
                </c:pt>
                <c:pt idx="27">
                  <c:v>0.0</c:v>
                </c:pt>
                <c:pt idx="28">
                  <c:v>0.0</c:v>
                </c:pt>
                <c:pt idx="29">
                  <c:v>0.0</c:v>
                </c:pt>
                <c:pt idx="30">
                  <c:v>0.0</c:v>
                </c:pt>
                <c:pt idx="31">
                  <c:v>0.0</c:v>
                </c:pt>
                <c:pt idx="32">
                  <c:v>0.0</c:v>
                </c:pt>
                <c:pt idx="33">
                  <c:v>0.0</c:v>
                </c:pt>
                <c:pt idx="34">
                  <c:v>0.47722159010600707</c:v>
                </c:pt>
                <c:pt idx="35">
                  <c:v>0.43348409294012513</c:v>
                </c:pt>
                <c:pt idx="36">
                  <c:v>0.38208359538784065</c:v>
                </c:pt>
                <c:pt idx="37">
                  <c:v>0.3770121379673512</c:v>
                </c:pt>
                <c:pt idx="38">
                  <c:v>0.4107924610213816</c:v>
                </c:pt>
                <c:pt idx="39">
                  <c:v>0.38337231915058023</c:v>
                </c:pt>
                <c:pt idx="40">
                  <c:v>0.3382333649064646</c:v>
                </c:pt>
                <c:pt idx="41">
                  <c:v>0.4822178088881654</c:v>
                </c:pt>
                <c:pt idx="42">
                  <c:v>0.4292552303680093</c:v>
                </c:pt>
                <c:pt idx="43">
                  <c:v>0.5077501546475663</c:v>
                </c:pt>
                <c:pt idx="44">
                  <c:v>0.31003249849729514</c:v>
                </c:pt>
                <c:pt idx="45">
                  <c:v>0.40263063297733787</c:v>
                </c:pt>
                <c:pt idx="46">
                  <c:v>0.5723249255952381</c:v>
                </c:pt>
                <c:pt idx="47">
                  <c:v>0.38022753317623714</c:v>
                </c:pt>
                <c:pt idx="48">
                  <c:v>0.5754785387274596</c:v>
                </c:pt>
                <c:pt idx="49">
                  <c:v>0.3605350231481481</c:v>
                </c:pt>
                <c:pt idx="50">
                  <c:v>0.41332728462356466</c:v>
                </c:pt>
                <c:pt idx="51">
                  <c:v>0.4095048389307745</c:v>
                </c:pt>
                <c:pt idx="52">
                  <c:v>0.3846310572106512</c:v>
                </c:pt>
                <c:pt idx="53">
                  <c:v>0.37979449904359874</c:v>
                </c:pt>
                <c:pt idx="54">
                  <c:v>0.31064303852414543</c:v>
                </c:pt>
                <c:pt idx="55">
                  <c:v>0.31384865397242284</c:v>
                </c:pt>
                <c:pt idx="56">
                  <c:v>0.5270578947281493</c:v>
                </c:pt>
                <c:pt idx="57">
                  <c:v>0.5269475477542592</c:v>
                </c:pt>
                <c:pt idx="58">
                  <c:v>0.4518169030390738</c:v>
                </c:pt>
                <c:pt idx="59">
                  <c:v>0.40830111979166667</c:v>
                </c:pt>
                <c:pt idx="60">
                  <c:v>0.3219943309162821</c:v>
                </c:pt>
                <c:pt idx="61">
                  <c:v>0.6691509385113269</c:v>
                </c:pt>
                <c:pt idx="62">
                  <c:v>0.5199768608414239</c:v>
                </c:pt>
                <c:pt idx="63">
                  <c:v>0.5273333333333333</c:v>
                </c:pt>
                <c:pt idx="64">
                  <c:v>0.6488981391585761</c:v>
                </c:pt>
                <c:pt idx="65">
                  <c:v>0.40632935535428877</c:v>
                </c:pt>
                <c:pt idx="66">
                  <c:v>0.3830290179734306</c:v>
                </c:pt>
                <c:pt idx="67">
                  <c:v>0.4185617548746518</c:v>
                </c:pt>
                <c:pt idx="68">
                  <c:v>0.5961664113366526</c:v>
                </c:pt>
                <c:pt idx="69">
                  <c:v>0.323712989010989</c:v>
                </c:pt>
                <c:pt idx="70">
                  <c:v>0.4062307892680386</c:v>
                </c:pt>
                <c:pt idx="71">
                  <c:v>0.3440578476365305</c:v>
                </c:pt>
                <c:pt idx="72">
                  <c:v>0.5360020641831962</c:v>
                </c:pt>
                <c:pt idx="73">
                  <c:v>0.0</c:v>
                </c:pt>
                <c:pt idx="74">
                  <c:v>0.0</c:v>
                </c:pt>
                <c:pt idx="75">
                  <c:v>0.5784180966113914</c:v>
                </c:pt>
                <c:pt idx="76">
                  <c:v>0.45486280496504494</c:v>
                </c:pt>
                <c:pt idx="77">
                  <c:v>0.5557910519125683</c:v>
                </c:pt>
                <c:pt idx="78">
                  <c:v>0.0</c:v>
                </c:pt>
                <c:pt idx="79">
                  <c:v>0.0</c:v>
                </c:pt>
                <c:pt idx="80">
                  <c:v>0.31053949032738093</c:v>
                </c:pt>
                <c:pt idx="81">
                  <c:v>0.54737870400521</c:v>
                </c:pt>
                <c:pt idx="82">
                  <c:v>0.30062395600298286</c:v>
                </c:pt>
                <c:pt idx="83">
                  <c:v>0.5035673493975903</c:v>
                </c:pt>
                <c:pt idx="84">
                  <c:v>0.5638944578313253</c:v>
                </c:pt>
                <c:pt idx="85">
                  <c:v>0.4735727710843374</c:v>
                </c:pt>
                <c:pt idx="86">
                  <c:v>0.33116720481927714</c:v>
                </c:pt>
                <c:pt idx="87">
                  <c:v>0.30922214708368556</c:v>
                </c:pt>
                <c:pt idx="88">
                  <c:v>0.3154177139180785</c:v>
                </c:pt>
                <c:pt idx="89">
                  <c:v>0.5250171903881701</c:v>
                </c:pt>
                <c:pt idx="90">
                  <c:v>0.35440186233798915</c:v>
                </c:pt>
                <c:pt idx="91">
                  <c:v>0.5055567986230637</c:v>
                </c:pt>
                <c:pt idx="92">
                  <c:v>0.25640268502581753</c:v>
                </c:pt>
                <c:pt idx="93">
                  <c:v>0.3274499236641221</c:v>
                </c:pt>
                <c:pt idx="94">
                  <c:v>0.5880686448686449</c:v>
                </c:pt>
              </c:numCache>
            </c:numRef>
          </c:xVal>
          <c:yVal>
            <c:numRef>
              <c:f>Sheet1!$B$2:$B$96</c:f>
              <c:numCache>
                <c:formatCode>General</c:formatCode>
                <c:ptCount val="95"/>
                <c:pt idx="0">
                  <c:v>0.9909638554216867</c:v>
                </c:pt>
                <c:pt idx="1">
                  <c:v>0.989041095890411</c:v>
                </c:pt>
                <c:pt idx="2">
                  <c:v>0.9769452449567724</c:v>
                </c:pt>
                <c:pt idx="3">
                  <c:v>0.9770773638968482</c:v>
                </c:pt>
                <c:pt idx="4">
                  <c:v>0.9868852459016394</c:v>
                </c:pt>
                <c:pt idx="5">
                  <c:v>0.9967213114754099</c:v>
                </c:pt>
                <c:pt idx="6">
                  <c:v>0.9973753280839895</c:v>
                </c:pt>
                <c:pt idx="7">
                  <c:v>0.9966777408637874</c:v>
                </c:pt>
                <c:pt idx="8">
                  <c:v>0.9967532467532467</c:v>
                </c:pt>
                <c:pt idx="9">
                  <c:v>0.9976415094339622</c:v>
                </c:pt>
                <c:pt idx="10">
                  <c:v>0.9978165938864629</c:v>
                </c:pt>
                <c:pt idx="11">
                  <c:v>0.9895561357702349</c:v>
                </c:pt>
                <c:pt idx="12">
                  <c:v>0.9971751412429378</c:v>
                </c:pt>
                <c:pt idx="13">
                  <c:v>0.997134670487106</c:v>
                </c:pt>
                <c:pt idx="14">
                  <c:v>0.9942528735632183</c:v>
                </c:pt>
                <c:pt idx="15">
                  <c:v>0.9942196531791907</c:v>
                </c:pt>
                <c:pt idx="16">
                  <c:v>0.9846153846153847</c:v>
                </c:pt>
                <c:pt idx="17">
                  <c:v>0.9873417721518988</c:v>
                </c:pt>
                <c:pt idx="18">
                  <c:v>1.0</c:v>
                </c:pt>
                <c:pt idx="19">
                  <c:v>0.9886363636363636</c:v>
                </c:pt>
                <c:pt idx="20">
                  <c:v>0.995</c:v>
                </c:pt>
                <c:pt idx="21">
                  <c:v>0.995049504950495</c:v>
                </c:pt>
                <c:pt idx="22">
                  <c:v>0.9942857142857143</c:v>
                </c:pt>
                <c:pt idx="23">
                  <c:v>1.0</c:v>
                </c:pt>
                <c:pt idx="24">
                  <c:v>0.9951923076923077</c:v>
                </c:pt>
                <c:pt idx="25">
                  <c:v>1.0</c:v>
                </c:pt>
                <c:pt idx="26">
                  <c:v>1.0</c:v>
                </c:pt>
                <c:pt idx="27">
                  <c:v>1.0</c:v>
                </c:pt>
                <c:pt idx="28">
                  <c:v>1.0</c:v>
                </c:pt>
                <c:pt idx="29">
                  <c:v>1.0</c:v>
                </c:pt>
                <c:pt idx="30">
                  <c:v>1.0</c:v>
                </c:pt>
                <c:pt idx="31">
                  <c:v>1.0</c:v>
                </c:pt>
                <c:pt idx="32">
                  <c:v>1.0</c:v>
                </c:pt>
                <c:pt idx="33">
                  <c:v>1.0</c:v>
                </c:pt>
                <c:pt idx="34">
                  <c:v>0.9955257270693513</c:v>
                </c:pt>
                <c:pt idx="35">
                  <c:v>0.9956331877729258</c:v>
                </c:pt>
                <c:pt idx="36">
                  <c:v>0.9955947136563876</c:v>
                </c:pt>
                <c:pt idx="37">
                  <c:v>0.9955257270693513</c:v>
                </c:pt>
                <c:pt idx="38">
                  <c:v>0.9955621301775148</c:v>
                </c:pt>
                <c:pt idx="39">
                  <c:v>0.997020854021847</c:v>
                </c:pt>
                <c:pt idx="40">
                  <c:v>0.9979381443298969</c:v>
                </c:pt>
                <c:pt idx="41">
                  <c:v>0.994413407821229</c:v>
                </c:pt>
                <c:pt idx="42">
                  <c:v>0.9977973568281938</c:v>
                </c:pt>
                <c:pt idx="43">
                  <c:v>0.9942857142857143</c:v>
                </c:pt>
                <c:pt idx="44">
                  <c:v>0.997229916897507</c:v>
                </c:pt>
                <c:pt idx="45">
                  <c:v>0.9974554707379135</c:v>
                </c:pt>
                <c:pt idx="46">
                  <c:v>0.9973821989528796</c:v>
                </c:pt>
                <c:pt idx="47">
                  <c:v>0.9953271028037384</c:v>
                </c:pt>
                <c:pt idx="48">
                  <c:v>0.992</c:v>
                </c:pt>
                <c:pt idx="49">
                  <c:v>0.9977477477477478</c:v>
                </c:pt>
                <c:pt idx="50">
                  <c:v>0.9961685823754789</c:v>
                </c:pt>
                <c:pt idx="51">
                  <c:v>0.9304897314375987</c:v>
                </c:pt>
                <c:pt idx="52">
                  <c:v>0.9306625577812019</c:v>
                </c:pt>
                <c:pt idx="53">
                  <c:v>0.9479048697621744</c:v>
                </c:pt>
                <c:pt idx="54">
                  <c:v>0.9438775510204082</c:v>
                </c:pt>
                <c:pt idx="55">
                  <c:v>0.9952456418383518</c:v>
                </c:pt>
                <c:pt idx="56">
                  <c:v>0.9951060358890701</c:v>
                </c:pt>
                <c:pt idx="57">
                  <c:v>0.9963235294117647</c:v>
                </c:pt>
                <c:pt idx="58">
                  <c:v>0.995049504950495</c:v>
                </c:pt>
                <c:pt idx="59">
                  <c:v>0.9964788732394366</c:v>
                </c:pt>
                <c:pt idx="60">
                  <c:v>0.6413934426229508</c:v>
                </c:pt>
                <c:pt idx="61">
                  <c:v>0.9935691318327974</c:v>
                </c:pt>
                <c:pt idx="62">
                  <c:v>0.9966996699669967</c:v>
                </c:pt>
                <c:pt idx="63">
                  <c:v>0.9194029850746268</c:v>
                </c:pt>
                <c:pt idx="64">
                  <c:v>0.9966996699669967</c:v>
                </c:pt>
                <c:pt idx="65">
                  <c:v>0.9964788732394366</c:v>
                </c:pt>
                <c:pt idx="66">
                  <c:v>0.9960474308300395</c:v>
                </c:pt>
                <c:pt idx="67">
                  <c:v>0.42168674698795183</c:v>
                </c:pt>
                <c:pt idx="68">
                  <c:v>0.995260663507109</c:v>
                </c:pt>
                <c:pt idx="69">
                  <c:v>0.6692913385826772</c:v>
                </c:pt>
                <c:pt idx="70">
                  <c:v>0.5725190839694656</c:v>
                </c:pt>
                <c:pt idx="71">
                  <c:v>0.9974160206718347</c:v>
                </c:pt>
                <c:pt idx="72">
                  <c:v>0.9911111111111112</c:v>
                </c:pt>
                <c:pt idx="73">
                  <c:v>0.9608433734939759</c:v>
                </c:pt>
                <c:pt idx="74">
                  <c:v>1.0</c:v>
                </c:pt>
                <c:pt idx="75">
                  <c:v>0.9942528735632183</c:v>
                </c:pt>
                <c:pt idx="76">
                  <c:v>0.9917355371900827</c:v>
                </c:pt>
                <c:pt idx="77">
                  <c:v>0.9965870307167235</c:v>
                </c:pt>
                <c:pt idx="78">
                  <c:v>1.0</c:v>
                </c:pt>
                <c:pt idx="79">
                  <c:v>1.0</c:v>
                </c:pt>
                <c:pt idx="80">
                  <c:v>0.9947368421052631</c:v>
                </c:pt>
                <c:pt idx="81">
                  <c:v>0.9947916666666666</c:v>
                </c:pt>
                <c:pt idx="82">
                  <c:v>0.9961089494163424</c:v>
                </c:pt>
                <c:pt idx="83">
                  <c:v>0.9959016393442623</c:v>
                </c:pt>
                <c:pt idx="84">
                  <c:v>0.99581589958159</c:v>
                </c:pt>
                <c:pt idx="85">
                  <c:v>0.9971014492753624</c:v>
                </c:pt>
                <c:pt idx="86">
                  <c:v>0.9980276134122288</c:v>
                </c:pt>
                <c:pt idx="87">
                  <c:v>0.9980430528375733</c:v>
                </c:pt>
                <c:pt idx="88">
                  <c:v>0.9982905982905983</c:v>
                </c:pt>
                <c:pt idx="89">
                  <c:v>0.9972183588317107</c:v>
                </c:pt>
                <c:pt idx="90">
                  <c:v>0.9982486865148862</c:v>
                </c:pt>
                <c:pt idx="91">
                  <c:v>0.9984615384615385</c:v>
                </c:pt>
                <c:pt idx="92">
                  <c:v>0.9978586723768736</c:v>
                </c:pt>
                <c:pt idx="93">
                  <c:v>0.9979591836734694</c:v>
                </c:pt>
                <c:pt idx="94">
                  <c:v>0.9795918367346939</c:v>
                </c:pt>
              </c:numCache>
            </c:numRef>
          </c:yVal>
          <c:smooth val="0"/>
          <c:extLst>
            <c:ext xmlns:c16="http://schemas.microsoft.com/office/drawing/2014/chart" uri="{C3380CC4-5D6E-409C-BE32-E72D297353CC}">
              <c16:uniqueId val="{00000000-096C-4121-9522-6AB7243CCAAE}"/>
            </c:ext>
          </c:extLst>
        </c:ser>
        <c:ser>
          <c:idx val="1"/>
          <c:order val="1"/>
          <c:tx>
            <c:strRef>
              <c:f>Sheet1!$B$9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9:$A$150</c:f>
              <c:numCache>
                <c:formatCode>General</c:formatCode>
                <c:ptCount val="52"/>
                <c:pt idx="0">
                  <c:v>0.4603627284183995</c:v>
                </c:pt>
                <c:pt idx="1">
                  <c:v>0.868664495875009</c:v>
                </c:pt>
                <c:pt idx="2">
                  <c:v>0.9416131368937999</c:v>
                </c:pt>
                <c:pt idx="3">
                  <c:v>0.9738791917973463</c:v>
                </c:pt>
                <c:pt idx="4">
                  <c:v>0.964916167801316</c:v>
                </c:pt>
                <c:pt idx="5">
                  <c:v>1.076060956117933</c:v>
                </c:pt>
                <c:pt idx="6">
                  <c:v>0.9624069651741294</c:v>
                </c:pt>
                <c:pt idx="7">
                  <c:v>0.9156662137835827</c:v>
                </c:pt>
                <c:pt idx="8">
                  <c:v>1.004551114445972</c:v>
                </c:pt>
                <c:pt idx="9">
                  <c:v>0.9856990047437447</c:v>
                </c:pt>
                <c:pt idx="10">
                  <c:v>1.031611436907912</c:v>
                </c:pt>
                <c:pt idx="11">
                  <c:v>0.9629777779065822</c:v>
                </c:pt>
                <c:pt idx="12">
                  <c:v>0.9697209890548912</c:v>
                </c:pt>
                <c:pt idx="13">
                  <c:v>0.990266435537347</c:v>
                </c:pt>
                <c:pt idx="14">
                  <c:v>1.0469690240405456</c:v>
                </c:pt>
                <c:pt idx="15">
                  <c:v>1.0452463731663788</c:v>
                </c:pt>
                <c:pt idx="16">
                  <c:v>1.082016602000529</c:v>
                </c:pt>
                <c:pt idx="17">
                  <c:v>1.0178248510648378</c:v>
                </c:pt>
                <c:pt idx="18">
                  <c:v>1.0169211528583437</c:v>
                </c:pt>
                <c:pt idx="19">
                  <c:v>1.1708242613810218</c:v>
                </c:pt>
                <c:pt idx="20">
                  <c:v>1.1335906044678055</c:v>
                </c:pt>
                <c:pt idx="21">
                  <c:v>1.1264010912656124</c:v>
                </c:pt>
                <c:pt idx="22">
                  <c:v>0.9972955173917457</c:v>
                </c:pt>
                <c:pt idx="23">
                  <c:v>0.7418292005027451</c:v>
                </c:pt>
                <c:pt idx="24">
                  <c:v>0.6253435594275046</c:v>
                </c:pt>
                <c:pt idx="25">
                  <c:v>0.6416308422779727</c:v>
                </c:pt>
                <c:pt idx="26">
                  <c:v>0.653931219821147</c:v>
                </c:pt>
                <c:pt idx="27">
                  <c:v>0.8480089935193758</c:v>
                </c:pt>
                <c:pt idx="28">
                  <c:v>0.9761662983444426</c:v>
                </c:pt>
                <c:pt idx="29">
                  <c:v>0.9380377322229341</c:v>
                </c:pt>
                <c:pt idx="30">
                  <c:v>0.8630462896421189</c:v>
                </c:pt>
                <c:pt idx="31">
                  <c:v>0.8755037408149633</c:v>
                </c:pt>
                <c:pt idx="32">
                  <c:v>0.9150803931045595</c:v>
                </c:pt>
                <c:pt idx="33">
                  <c:v>0.8558494724233515</c:v>
                </c:pt>
                <c:pt idx="34">
                  <c:v>0.9958368561945633</c:v>
                </c:pt>
                <c:pt idx="35">
                  <c:v>0.9921992908377711</c:v>
                </c:pt>
                <c:pt idx="36">
                  <c:v>0.9105590062111801</c:v>
                </c:pt>
                <c:pt idx="37">
                  <c:v>1.0265949204533942</c:v>
                </c:pt>
                <c:pt idx="38">
                  <c:v>1.0143761925980135</c:v>
                </c:pt>
                <c:pt idx="39">
                  <c:v>1.0430493984900024</c:v>
                </c:pt>
                <c:pt idx="40">
                  <c:v>1.0003939917411857</c:v>
                </c:pt>
                <c:pt idx="41">
                  <c:v>1.1304469919687223</c:v>
                </c:pt>
                <c:pt idx="42">
                  <c:v>1.1018924680709838</c:v>
                </c:pt>
                <c:pt idx="43">
                  <c:v>1.0559710464176375</c:v>
                </c:pt>
                <c:pt idx="44">
                  <c:v>1.0427824811874824</c:v>
                </c:pt>
                <c:pt idx="45">
                  <c:v>1.035540649612706</c:v>
                </c:pt>
                <c:pt idx="46">
                  <c:v>0.9863139267578839</c:v>
                </c:pt>
                <c:pt idx="47">
                  <c:v>0.9819610976488309</c:v>
                </c:pt>
                <c:pt idx="48">
                  <c:v>0.9806079833732362</c:v>
                </c:pt>
                <c:pt idx="49">
                  <c:v>0.9683055741403297</c:v>
                </c:pt>
                <c:pt idx="50">
                  <c:v>0.9261368513457512</c:v>
                </c:pt>
                <c:pt idx="51">
                  <c:v>0.9126589525993524</c:v>
                </c:pt>
              </c:numCache>
            </c:numRef>
          </c:xVal>
          <c:yVal>
            <c:numRef>
              <c:f>Sheet1!$B$99:$B$150</c:f>
              <c:numCache>
                <c:formatCode>General</c:formatCode>
                <c:ptCount val="52"/>
                <c:pt idx="0">
                  <c:v>0.9895678092399404</c:v>
                </c:pt>
                <c:pt idx="1">
                  <c:v>0.9361702127659575</c:v>
                </c:pt>
                <c:pt idx="2">
                  <c:v>0.9634340222575517</c:v>
                </c:pt>
                <c:pt idx="3">
                  <c:v>0.9667170953101362</c:v>
                </c:pt>
                <c:pt idx="4">
                  <c:v>0.9717813051146384</c:v>
                </c:pt>
                <c:pt idx="5">
                  <c:v>0.9527145359019265</c:v>
                </c:pt>
                <c:pt idx="6">
                  <c:v>0.9641638225255973</c:v>
                </c:pt>
                <c:pt idx="7">
                  <c:v>0.9631449631449631</c:v>
                </c:pt>
                <c:pt idx="8">
                  <c:v>0.9484029484029484</c:v>
                </c:pt>
                <c:pt idx="9">
                  <c:v>0.954233409610984</c:v>
                </c:pt>
                <c:pt idx="10">
                  <c:v>0.934322033898305</c:v>
                </c:pt>
                <c:pt idx="11">
                  <c:v>0.9437037037037037</c:v>
                </c:pt>
                <c:pt idx="12">
                  <c:v>0.8928571428571429</c:v>
                </c:pt>
                <c:pt idx="13">
                  <c:v>0.9449715370018975</c:v>
                </c:pt>
                <c:pt idx="14">
                  <c:v>0.9623352165725048</c:v>
                </c:pt>
                <c:pt idx="15">
                  <c:v>0.9568181818181818</c:v>
                </c:pt>
                <c:pt idx="16">
                  <c:v>0.9605633802816902</c:v>
                </c:pt>
                <c:pt idx="17">
                  <c:v>0.9565217391304348</c:v>
                </c:pt>
                <c:pt idx="18">
                  <c:v>0.9372822299651568</c:v>
                </c:pt>
                <c:pt idx="19">
                  <c:v>0.9322033898305084</c:v>
                </c:pt>
                <c:pt idx="20">
                  <c:v>0.9221789883268483</c:v>
                </c:pt>
                <c:pt idx="21">
                  <c:v>0.9252336448598131</c:v>
                </c:pt>
                <c:pt idx="22">
                  <c:v>0.9244444444444444</c:v>
                </c:pt>
                <c:pt idx="23">
                  <c:v>0.9558823529411765</c:v>
                </c:pt>
                <c:pt idx="24">
                  <c:v>0.9648351648351648</c:v>
                </c:pt>
                <c:pt idx="25">
                  <c:v>0.9266802443991853</c:v>
                </c:pt>
                <c:pt idx="26">
                  <c:v>0.9308641975308642</c:v>
                </c:pt>
                <c:pt idx="27">
                  <c:v>0.8982558139534884</c:v>
                </c:pt>
                <c:pt idx="28">
                  <c:v>0.8892215568862275</c:v>
                </c:pt>
                <c:pt idx="29">
                  <c:v>0.937984496124031</c:v>
                </c:pt>
                <c:pt idx="30">
                  <c:v>0.95662100456621</c:v>
                </c:pt>
                <c:pt idx="31">
                  <c:v>0.9508928571428571</c:v>
                </c:pt>
                <c:pt idx="32">
                  <c:v>0.9203539823008849</c:v>
                </c:pt>
                <c:pt idx="33">
                  <c:v>0.8769230769230769</c:v>
                </c:pt>
                <c:pt idx="34">
                  <c:v>0.9036885245901639</c:v>
                </c:pt>
                <c:pt idx="35">
                  <c:v>0.8691099476439791</c:v>
                </c:pt>
                <c:pt idx="36">
                  <c:v>0.804</c:v>
                </c:pt>
                <c:pt idx="37">
                  <c:v>0.8701298701298701</c:v>
                </c:pt>
                <c:pt idx="38">
                  <c:v>0.8530805687203792</c:v>
                </c:pt>
                <c:pt idx="39">
                  <c:v>0.8523489932885906</c:v>
                </c:pt>
                <c:pt idx="40">
                  <c:v>0.8388157894736842</c:v>
                </c:pt>
                <c:pt idx="41">
                  <c:v>0.843558282208589</c:v>
                </c:pt>
                <c:pt idx="42">
                  <c:v>0.858085808580858</c:v>
                </c:pt>
                <c:pt idx="43">
                  <c:v>0.8523316062176166</c:v>
                </c:pt>
                <c:pt idx="44">
                  <c:v>0.8880407124681934</c:v>
                </c:pt>
                <c:pt idx="45">
                  <c:v>0.92894280762565</c:v>
                </c:pt>
                <c:pt idx="46">
                  <c:v>0.9478079331941545</c:v>
                </c:pt>
                <c:pt idx="47">
                  <c:v>0.9298245614035088</c:v>
                </c:pt>
                <c:pt idx="48">
                  <c:v>0.9244663382594417</c:v>
                </c:pt>
                <c:pt idx="49">
                  <c:v>0.9396551724137931</c:v>
                </c:pt>
                <c:pt idx="50">
                  <c:v>0.9178910976663786</c:v>
                </c:pt>
                <c:pt idx="51">
                  <c:v>0.893719806763285</c:v>
                </c:pt>
              </c:numCache>
            </c:numRef>
          </c:yVal>
          <c:smooth val="0"/>
          <c:extLst>
            <c:ext xmlns:c16="http://schemas.microsoft.com/office/drawing/2014/chart" uri="{C3380CC4-5D6E-409C-BE32-E72D297353CC}">
              <c16:uniqueId val="{00000002-096C-4121-9522-6AB7243CCAAE}"/>
            </c:ext>
          </c:extLst>
        </c:ser>
        <c:ser>
          <c:idx val="2"/>
          <c:order val="2"/>
          <c:tx>
            <c:strRef>
              <c:f>Sheet1!$B$15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53:$A$154</c:f>
              <c:numCache>
                <c:formatCode>General</c:formatCode>
                <c:ptCount val="2"/>
                <c:pt idx="0">
                  <c:v>0</c:v>
                </c:pt>
                <c:pt idx="1">
                  <c:v>0.07225819243180377</c:v>
                </c:pt>
              </c:numCache>
            </c:numRef>
          </c:xVal>
          <c:yVal>
            <c:numRef>
              <c:f>Sheet1!$B$153:$B$154</c:f>
              <c:numCache>
                <c:formatCode>General</c:formatCode>
                <c:ptCount val="2"/>
                <c:pt idx="0">
                  <c:v>0.9988308913308912</c:v>
                </c:pt>
                <c:pt idx="1">
                  <c:v>0.9988308913308912</c:v>
                </c:pt>
              </c:numCache>
            </c:numRef>
          </c:yVal>
          <c:smooth val="0"/>
          <c:extLst>
            <c:ext xmlns:c16="http://schemas.microsoft.com/office/drawing/2014/chart" uri="{C3380CC4-5D6E-409C-BE32-E72D297353CC}">
              <c16:uniqueId val="{00000005-096C-4121-9522-6AB7243CCAAE}"/>
            </c:ext>
          </c:extLst>
        </c:ser>
        <c:ser>
          <c:idx val="3"/>
          <c:order val="3"/>
          <c:tx>
            <c:strRef>
              <c:f>Sheet1!$B$15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7:$A$158</c:f>
              <c:numCache>
                <c:formatCode>General</c:formatCode>
                <c:ptCount val="2"/>
                <c:pt idx="0">
                  <c:v>0.07225819243180377</c:v>
                </c:pt>
                <c:pt idx="1">
                  <c:v>0.07225819243180377</c:v>
                </c:pt>
              </c:numCache>
            </c:numRef>
          </c:xVal>
          <c:yVal>
            <c:numRef>
              <c:f>Sheet1!$B$157:$B$158</c:f>
              <c:numCache>
                <c:formatCode>General</c:formatCode>
                <c:ptCount val="2"/>
                <c:pt idx="0">
                  <c:v>0.998830891330891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1:$A$162</c:f>
              <c:numCache>
                <c:formatCode>General</c:formatCode>
                <c:ptCount val="2"/>
                <c:pt idx="0">
                  <c:v>0</c:v>
                </c:pt>
                <c:pt idx="1">
                  <c:v>0.49729146208325414</c:v>
                </c:pt>
              </c:numCache>
            </c:numRef>
          </c:xVal>
          <c:yVal>
            <c:numRef>
              <c:f>Sheet1!$B$161:$B$162</c:f>
              <c:numCache>
                <c:formatCode>General</c:formatCode>
                <c:ptCount val="2"/>
                <c:pt idx="0">
                  <c:v>0.9617885238515177</c:v>
                </c:pt>
                <c:pt idx="1">
                  <c:v>0.9617885238515177</c:v>
                </c:pt>
              </c:numCache>
            </c:numRef>
          </c:yVal>
          <c:smooth val="0"/>
          <c:extLst>
            <c:ext xmlns:c16="http://schemas.microsoft.com/office/drawing/2014/chart" uri="{C3380CC4-5D6E-409C-BE32-E72D297353CC}">
              <c16:uniqueId val="{0000000D-096C-4121-9522-6AB7243CCAAE}"/>
            </c:ext>
          </c:extLst>
        </c:ser>
        <c:ser>
          <c:idx val="5"/>
          <c:order val="5"/>
          <c:tx>
            <c:strRef>
              <c:f>Sheet1!$B$16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5:$A$166</c:f>
              <c:numCache>
                <c:formatCode>General</c:formatCode>
                <c:ptCount val="2"/>
                <c:pt idx="0">
                  <c:v>0.49729146208325414</c:v>
                </c:pt>
                <c:pt idx="1">
                  <c:v>0.49729146208325414</c:v>
                </c:pt>
              </c:numCache>
            </c:numRef>
          </c:xVal>
          <c:yVal>
            <c:numRef>
              <c:f>Sheet1!$B$165:$B$166</c:f>
              <c:numCache>
                <c:formatCode>General</c:formatCode>
                <c:ptCount val="2"/>
                <c:pt idx="0">
                  <c:v>0.961788523851517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6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69:$A$170</c:f>
              <c:numCache>
                <c:formatCode>General</c:formatCode>
                <c:ptCount val="2"/>
                <c:pt idx="0">
                  <c:v>0</c:v>
                </c:pt>
                <c:pt idx="1">
                  <c:v>1.2808606329463503</c:v>
                </c:pt>
              </c:numCache>
            </c:numRef>
          </c:xVal>
          <c:yVal>
            <c:numRef>
              <c:f>Sheet1!$B$169:$B$170</c:f>
              <c:numCache>
                <c:formatCode>General</c:formatCode>
                <c:ptCount val="2"/>
                <c:pt idx="0">
                  <c:v>0.8934991468895188</c:v>
                </c:pt>
                <c:pt idx="1">
                  <c:v>0.8934991468895188</c:v>
                </c:pt>
              </c:numCache>
            </c:numRef>
          </c:yVal>
          <c:smooth val="0"/>
          <c:extLst>
            <c:ext xmlns:c16="http://schemas.microsoft.com/office/drawing/2014/chart" uri="{C3380CC4-5D6E-409C-BE32-E72D297353CC}">
              <c16:uniqueId val="{00000015-096C-4121-9522-6AB7243CCAAE}"/>
            </c:ext>
          </c:extLst>
        </c:ser>
        <c:ser>
          <c:idx val="7"/>
          <c:order val="7"/>
          <c:tx>
            <c:strRef>
              <c:f>Sheet1!$B$17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3:$A$174</c:f>
              <c:numCache>
                <c:formatCode>General</c:formatCode>
                <c:ptCount val="2"/>
                <c:pt idx="0">
                  <c:v>1.2808606329463503</c:v>
                </c:pt>
                <c:pt idx="1">
                  <c:v>1.2808606329463503</c:v>
                </c:pt>
              </c:numCache>
            </c:numRef>
          </c:xVal>
          <c:yVal>
            <c:numRef>
              <c:f>Sheet1!$B$173:$B$174</c:f>
              <c:numCache>
                <c:formatCode>General</c:formatCode>
                <c:ptCount val="2"/>
                <c:pt idx="0">
                  <c:v>0.89349914688951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7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77:$A$231</c:f>
              <c:numCache>
                <c:formatCode>General</c:formatCode>
                <c:ptCount val="55"/>
                <c:pt idx="0">
                  <c:v>0.4603627284183995</c:v>
                </c:pt>
                <c:pt idx="1">
                  <c:v>0.868664495875009</c:v>
                </c:pt>
                <c:pt idx="2">
                  <c:v>0.9416131368937999</c:v>
                </c:pt>
                <c:pt idx="3">
                  <c:v>0.9738791917973463</c:v>
                </c:pt>
                <c:pt idx="4">
                  <c:v>0.964916167801316</c:v>
                </c:pt>
                <c:pt idx="5">
                  <c:v>1.076060956117933</c:v>
                </c:pt>
                <c:pt idx="6">
                  <c:v>0.9624069651741294</c:v>
                </c:pt>
                <c:pt idx="7">
                  <c:v>0.9156662137835827</c:v>
                </c:pt>
                <c:pt idx="8">
                  <c:v>1.004551114445972</c:v>
                </c:pt>
                <c:pt idx="9">
                  <c:v>0.9856990047437447</c:v>
                </c:pt>
                <c:pt idx="10">
                  <c:v>1.031611436907912</c:v>
                </c:pt>
                <c:pt idx="11">
                  <c:v>0.9629777779065822</c:v>
                </c:pt>
                <c:pt idx="12">
                  <c:v>0.9697209890548912</c:v>
                </c:pt>
                <c:pt idx="13">
                  <c:v>0.990266435537347</c:v>
                </c:pt>
                <c:pt idx="14">
                  <c:v>1.0469690240405456</c:v>
                </c:pt>
                <c:pt idx="15">
                  <c:v>1.0452463731663788</c:v>
                </c:pt>
                <c:pt idx="16">
                  <c:v>1.082016602000529</c:v>
                </c:pt>
                <c:pt idx="17">
                  <c:v>1.0178248510648378</c:v>
                </c:pt>
                <c:pt idx="18">
                  <c:v>1.0169211528583437</c:v>
                </c:pt>
                <c:pt idx="19">
                  <c:v>1.1708242613810218</c:v>
                </c:pt>
                <c:pt idx="20">
                  <c:v>1.1335906044678055</c:v>
                </c:pt>
                <c:pt idx="21">
                  <c:v>1.1264010912656124</c:v>
                </c:pt>
                <c:pt idx="22">
                  <c:v>0.9972955173917457</c:v>
                </c:pt>
                <c:pt idx="23">
                  <c:v>0.7418292005027451</c:v>
                </c:pt>
                <c:pt idx="24">
                  <c:v>0.6253435594275046</c:v>
                </c:pt>
                <c:pt idx="25">
                  <c:v>0.6416308422779727</c:v>
                </c:pt>
                <c:pt idx="26">
                  <c:v>0.653931219821147</c:v>
                </c:pt>
                <c:pt idx="27">
                  <c:v>0.8480089935193758</c:v>
                </c:pt>
                <c:pt idx="28">
                  <c:v>0.9761662983444426</c:v>
                </c:pt>
                <c:pt idx="29">
                  <c:v>0.9380377322229341</c:v>
                </c:pt>
                <c:pt idx="30">
                  <c:v>0.8630462896421189</c:v>
                </c:pt>
                <c:pt idx="31">
                  <c:v>0.8755037408149633</c:v>
                </c:pt>
                <c:pt idx="32">
                  <c:v>0.9150803931045595</c:v>
                </c:pt>
                <c:pt idx="33">
                  <c:v>0.8558494724233515</c:v>
                </c:pt>
                <c:pt idx="34">
                  <c:v>0.9958368561945633</c:v>
                </c:pt>
                <c:pt idx="35">
                  <c:v>0.9921992908377711</c:v>
                </c:pt>
                <c:pt idx="36">
                  <c:v>0.9105590062111801</c:v>
                </c:pt>
                <c:pt idx="37">
                  <c:v>1.0265949204533942</c:v>
                </c:pt>
                <c:pt idx="38">
                  <c:v>1.0143761925980135</c:v>
                </c:pt>
                <c:pt idx="39">
                  <c:v>1.0430493984900024</c:v>
                </c:pt>
                <c:pt idx="40">
                  <c:v>1.0003939917411857</c:v>
                </c:pt>
                <c:pt idx="41">
                  <c:v>1.1304469919687223</c:v>
                </c:pt>
                <c:pt idx="42">
                  <c:v>1.1018924680709838</c:v>
                </c:pt>
                <c:pt idx="43">
                  <c:v>1.0559710464176375</c:v>
                </c:pt>
                <c:pt idx="44">
                  <c:v>1.0427824811874824</c:v>
                </c:pt>
                <c:pt idx="45">
                  <c:v>1.035540649612706</c:v>
                </c:pt>
                <c:pt idx="46">
                  <c:v>0.9863139267578839</c:v>
                </c:pt>
                <c:pt idx="47">
                  <c:v>0.9819610976488309</c:v>
                </c:pt>
                <c:pt idx="48">
                  <c:v>0.9806079833732362</c:v>
                </c:pt>
                <c:pt idx="49">
                  <c:v>0.9683055741403297</c:v>
                </c:pt>
                <c:pt idx="50">
                  <c:v>0.9261368513457512</c:v>
                </c:pt>
                <c:pt idx="51">
                  <c:v>0.9126589525993524</c:v>
                </c:pt>
                <c:pt idx="52">
                  <c:v>0.49729146208325414</c:v>
                </c:pt>
                <c:pt idx="53">
                  <c:v>0.07225819243180377</c:v>
                </c:pt>
                <c:pt idx="54">
                  <c:v>1.2808606329463503</c:v>
                </c:pt>
              </c:numCache>
            </c:numRef>
          </c:xVal>
          <c:yVal>
            <c:numRef>
              <c:f>Sheet1!$B$177:$B$231</c:f>
              <c:numCache>
                <c:formatCode>General</c:formatCode>
                <c:ptCount val="55"/>
                <c:pt idx="0">
                  <c:v>0.9650069253759048</c:v>
                </c:pt>
                <c:pt idx="1">
                  <c:v>0.9294227365781471</c:v>
                </c:pt>
                <c:pt idx="2">
                  <c:v>0.9230651392776937</c:v>
                </c:pt>
                <c:pt idx="3">
                  <c:v>0.9202530980842433</c:v>
                </c:pt>
                <c:pt idx="4">
                  <c:v>0.9210342407671671</c:v>
                </c:pt>
                <c:pt idx="5">
                  <c:v>0.91134778470311</c:v>
                </c:pt>
                <c:pt idx="6">
                  <c:v>0.9212529220150437</c:v>
                </c:pt>
                <c:pt idx="7">
                  <c:v>0.9253264574601407</c:v>
                </c:pt>
                <c:pt idx="8">
                  <c:v>0.9175799882098539</c:v>
                </c:pt>
                <c:pt idx="9">
                  <c:v>0.9192229814181833</c:v>
                </c:pt>
                <c:pt idx="10">
                  <c:v>0.915221635392985</c:v>
                </c:pt>
                <c:pt idx="11">
                  <c:v>0.9212031747211089</c:v>
                </c:pt>
                <c:pt idx="12">
                  <c:v>0.9206154924779012</c:v>
                </c:pt>
                <c:pt idx="13">
                  <c:v>0.9188249221085392</c:v>
                </c:pt>
                <c:pt idx="14">
                  <c:v>0.9138831957300615</c:v>
                </c:pt>
                <c:pt idx="15">
                  <c:v>0.9140333276639026</c:v>
                </c:pt>
                <c:pt idx="16">
                  <c:v>0.9108287401032813</c:v>
                </c:pt>
                <c:pt idx="17">
                  <c:v>0.9164231596395548</c:v>
                </c:pt>
                <c:pt idx="18">
                  <c:v>0.9165019184649118</c:v>
                </c:pt>
                <c:pt idx="19">
                  <c:v>0.9030890025611991</c:v>
                </c:pt>
                <c:pt idx="20">
                  <c:v>0.9063339786618025</c:v>
                </c:pt>
                <c:pt idx="21">
                  <c:v>0.9069605568829658</c:v>
                </c:pt>
                <c:pt idx="22">
                  <c:v>0.9182123257503606</c:v>
                </c:pt>
                <c:pt idx="23">
                  <c:v>0.9404766468388359</c:v>
                </c:pt>
                <c:pt idx="24">
                  <c:v>0.9506285672433679</c:v>
                </c:pt>
                <c:pt idx="25">
                  <c:v>0.9492091030280553</c:v>
                </c:pt>
                <c:pt idx="26">
                  <c:v>0.9481371043455452</c:v>
                </c:pt>
                <c:pt idx="27">
                  <c:v>0.9312228985027793</c:v>
                </c:pt>
                <c:pt idx="28">
                  <c:v>0.9200537728849442</c:v>
                </c:pt>
                <c:pt idx="29">
                  <c:v>0.9233767418348636</c:v>
                </c:pt>
                <c:pt idx="30">
                  <c:v>0.929912372742451</c:v>
                </c:pt>
                <c:pt idx="31">
                  <c:v>0.9288266848277631</c:v>
                </c:pt>
                <c:pt idx="32">
                  <c:v>0.9253775127219728</c:v>
                </c:pt>
                <c:pt idx="33">
                  <c:v>0.9305395875209977</c:v>
                </c:pt>
                <c:pt idx="34">
                  <c:v>0.9183394505378819</c:v>
                </c:pt>
                <c:pt idx="35">
                  <c:v>0.9186564705038414</c:v>
                </c:pt>
                <c:pt idx="36">
                  <c:v>0.9257715592279283</c:v>
                </c:pt>
                <c:pt idx="37">
                  <c:v>0.9156588332766399</c:v>
                </c:pt>
                <c:pt idx="38">
                  <c:v>0.916723716050924</c:v>
                </c:pt>
                <c:pt idx="39">
                  <c:v>0.9142247977184043</c:v>
                </c:pt>
                <c:pt idx="40">
                  <c:v>0.9179422884764044</c:v>
                </c:pt>
                <c:pt idx="41">
                  <c:v>0.9066079498017542</c:v>
                </c:pt>
                <c:pt idx="42">
                  <c:v>0.9090965247979796</c:v>
                </c:pt>
                <c:pt idx="43">
                  <c:v>0.9130986542723464</c:v>
                </c:pt>
                <c:pt idx="44">
                  <c:v>0.9142480600122352</c:v>
                </c:pt>
                <c:pt idx="45">
                  <c:v>0.9148791978679531</c:v>
                </c:pt>
                <c:pt idx="46">
                  <c:v>0.9191693899258335</c:v>
                </c:pt>
                <c:pt idx="47">
                  <c:v>0.9195487463361322</c:v>
                </c:pt>
                <c:pt idx="48">
                  <c:v>0.9196666725311315</c:v>
                </c:pt>
                <c:pt idx="49">
                  <c:v>0.920738848278834</c:v>
                </c:pt>
                <c:pt idx="50">
                  <c:v>0.9244139237080435</c:v>
                </c:pt>
                <c:pt idx="51">
                  <c:v>0.9255885453526581</c:v>
                </c:pt>
                <c:pt idx="52">
                  <c:v>0.9617885238515177</c:v>
                </c:pt>
                <c:pt idx="53">
                  <c:v>0.9988308913308912</c:v>
                </c:pt>
                <c:pt idx="54">
                  <c:v>0.893499146889518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337349397590361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6</c:f>
              <c:numCache>
                <c:formatCode>General</c:formatCode>
                <c:ptCount val="95"/>
                <c:pt idx="0">
                  <c:v>1152.0</c:v>
                </c:pt>
                <c:pt idx="1">
                  <c:v>1219.3989</c:v>
                </c:pt>
                <c:pt idx="2">
                  <c:v>1246.0737</c:v>
                </c:pt>
                <c:pt idx="3">
                  <c:v>1251.7449</c:v>
                </c:pt>
                <c:pt idx="4">
                  <c:v>1272.9502</c:v>
                </c:pt>
                <c:pt idx="5">
                  <c:v>1280.6217</c:v>
                </c:pt>
                <c:pt idx="6">
                  <c:v>1193.6105</c:v>
                </c:pt>
                <c:pt idx="7">
                  <c:v>1249.4</c:v>
                </c:pt>
                <c:pt idx="8">
                  <c:v>1248.3518</c:v>
                </c:pt>
                <c:pt idx="9">
                  <c:v>1216.3853</c:v>
                </c:pt>
                <c:pt idx="10">
                  <c:v>1185.8184</c:v>
                </c:pt>
                <c:pt idx="11">
                  <c:v>1259.0528</c:v>
                </c:pt>
                <c:pt idx="12">
                  <c:v>1291.6997</c:v>
                </c:pt>
                <c:pt idx="13">
                  <c:v>1306.0144</c:v>
                </c:pt>
                <c:pt idx="14">
                  <c:v>1299.8035</c:v>
                </c:pt>
                <c:pt idx="15">
                  <c:v>1290.8808</c:v>
                </c:pt>
                <c:pt idx="16">
                  <c:v>1324.5</c:v>
                </c:pt>
                <c:pt idx="17">
                  <c:v>1349.4872</c:v>
                </c:pt>
                <c:pt idx="18">
                  <c:v>1388.3725</c:v>
                </c:pt>
                <c:pt idx="19">
                  <c:v>1393.0057</c:v>
                </c:pt>
                <c:pt idx="20">
                  <c:v>1399.9045</c:v>
                </c:pt>
                <c:pt idx="21">
                  <c:v>1396.0647</c:v>
                </c:pt>
                <c:pt idx="22">
                  <c:v>1417.3218</c:v>
                </c:pt>
                <c:pt idx="23">
                  <c:v>1381.0051</c:v>
                </c:pt>
                <c:pt idx="24">
                  <c:v>1396.7488</c:v>
                </c:pt>
                <c:pt idx="25">
                  <c:v>1335.7458</c:v>
                </c:pt>
                <c:pt idx="26">
                  <c:v>1338.4121</c:v>
                </c:pt>
                <c:pt idx="27">
                  <c:v>1352.44</c:v>
                </c:pt>
                <c:pt idx="28">
                  <c:v>1368.9954</c:v>
                </c:pt>
                <c:pt idx="29">
                  <c:v>1302.7</c:v>
                </c:pt>
                <c:pt idx="30">
                  <c:v>1273.6809</c:v>
                </c:pt>
                <c:pt idx="31">
                  <c:v>1372.1677</c:v>
                </c:pt>
                <c:pt idx="32">
                  <c:v>1433.4646</c:v>
                </c:pt>
                <c:pt idx="33">
                  <c:v>1518.3607</c:v>
                </c:pt>
                <c:pt idx="34">
                  <c:v>1350.5371</c:v>
                </c:pt>
                <c:pt idx="35">
                  <c:v>1455.2061</c:v>
                </c:pt>
                <c:pt idx="36">
                  <c:v>1458.031</c:v>
                </c:pt>
                <c:pt idx="37">
                  <c:v>1431.8921</c:v>
                </c:pt>
                <c:pt idx="38">
                  <c:v>1426.5453</c:v>
                </c:pt>
                <c:pt idx="39">
                  <c:v>1405.5707</c:v>
                </c:pt>
                <c:pt idx="40">
                  <c:v>1428.3595</c:v>
                </c:pt>
                <c:pt idx="41">
                  <c:v>1481.132</c:v>
                </c:pt>
                <c:pt idx="42">
                  <c:v>1481.3598</c:v>
                </c:pt>
                <c:pt idx="43">
                  <c:v>1559.5546</c:v>
                </c:pt>
                <c:pt idx="44">
                  <c:v>1547.3722</c:v>
                </c:pt>
                <c:pt idx="45">
                  <c:v>1545.699</c:v>
                </c:pt>
                <c:pt idx="46">
                  <c:v>1538.4094</c:v>
                </c:pt>
                <c:pt idx="47">
                  <c:v>1532.8873</c:v>
                </c:pt>
                <c:pt idx="48">
                  <c:v>1539.8367</c:v>
                </c:pt>
                <c:pt idx="49">
                  <c:v>1557.5113</c:v>
                </c:pt>
                <c:pt idx="50">
                  <c:v>1521.7333</c:v>
                </c:pt>
                <c:pt idx="51">
                  <c:v>1493.6689</c:v>
                </c:pt>
                <c:pt idx="52">
                  <c:v>1458.9056</c:v>
                </c:pt>
                <c:pt idx="53">
                  <c:v>1439.5161</c:v>
                </c:pt>
                <c:pt idx="54">
                  <c:v>1431.2878</c:v>
                </c:pt>
                <c:pt idx="55">
                  <c:v>1433.9745</c:v>
                </c:pt>
                <c:pt idx="56">
                  <c:v>1499.8311</c:v>
                </c:pt>
                <c:pt idx="57">
                  <c:v>1531.0461</c:v>
                </c:pt>
                <c:pt idx="58">
                  <c:v>1561.0274</c:v>
                </c:pt>
                <c:pt idx="59">
                  <c:v>1567.8763</c:v>
                </c:pt>
                <c:pt idx="60">
                  <c:v>1465.3962</c:v>
                </c:pt>
                <c:pt idx="61">
                  <c:v>1550.7573</c:v>
                </c:pt>
                <c:pt idx="62">
                  <c:v>1606.7285</c:v>
                </c:pt>
                <c:pt idx="63">
                  <c:v>1547.987</c:v>
                </c:pt>
                <c:pt idx="64">
                  <c:v>1604.0762</c:v>
                </c:pt>
                <c:pt idx="65">
                  <c:v>1525.3604</c:v>
                </c:pt>
                <c:pt idx="66">
                  <c:v>1470.4484</c:v>
                </c:pt>
                <c:pt idx="67">
                  <c:v>1502.6367</c:v>
                </c:pt>
                <c:pt idx="68">
                  <c:v>1556.5905</c:v>
                </c:pt>
                <c:pt idx="69">
                  <c:v>1472.8941</c:v>
                </c:pt>
                <c:pt idx="70">
                  <c:v>1559.52</c:v>
                </c:pt>
                <c:pt idx="71">
                  <c:v>1499.4041</c:v>
                </c:pt>
                <c:pt idx="72">
                  <c:v>1661.8744</c:v>
                </c:pt>
                <c:pt idx="73">
                  <c:v>1389.7179</c:v>
                </c:pt>
                <c:pt idx="74">
                  <c:v>1593.2597</c:v>
                </c:pt>
                <c:pt idx="75">
                  <c:v>1604.5318</c:v>
                </c:pt>
                <c:pt idx="76">
                  <c:v>1594.0667</c:v>
                </c:pt>
                <c:pt idx="77">
                  <c:v>1627.3562</c:v>
                </c:pt>
                <c:pt idx="78">
                  <c:v>1656.6296</c:v>
                </c:pt>
                <c:pt idx="79">
                  <c:v>1630.2129</c:v>
                </c:pt>
                <c:pt idx="80">
                  <c:v>1669.4603</c:v>
                </c:pt>
                <c:pt idx="81">
                  <c:v>1681.0</c:v>
                </c:pt>
                <c:pt idx="82">
                  <c:v>1612.5469</c:v>
                </c:pt>
                <c:pt idx="83">
                  <c:v>1671.8436</c:v>
                </c:pt>
                <c:pt idx="84">
                  <c:v>1638.1134</c:v>
                </c:pt>
                <c:pt idx="85">
                  <c:v>1572.2616</c:v>
                </c:pt>
                <c:pt idx="86">
                  <c:v>1374.3439</c:v>
                </c:pt>
                <c:pt idx="87">
                  <c:v>1463.2392</c:v>
                </c:pt>
                <c:pt idx="88">
                  <c:v>1470.7928</c:v>
                </c:pt>
                <c:pt idx="89">
                  <c:v>1420.1715</c:v>
                </c:pt>
                <c:pt idx="90">
                  <c:v>1408.2158</c:v>
                </c:pt>
                <c:pt idx="91">
                  <c:v>1468.6425</c:v>
                </c:pt>
                <c:pt idx="92">
                  <c:v>1489.6996</c:v>
                </c:pt>
                <c:pt idx="93">
                  <c:v>1501.3579</c:v>
                </c:pt>
                <c:pt idx="94">
                  <c:v>1555.7356</c:v>
                </c:pt>
              </c:numCache>
            </c:numRef>
          </c:xVal>
          <c:yVal>
            <c:numRef>
              <c:f>Sheet1!$B$2:$B$96</c:f>
              <c:numCache>
                <c:formatCode>General</c:formatCode>
                <c:ptCount val="95"/>
                <c:pt idx="0">
                  <c:v>0.9909638554216867</c:v>
                </c:pt>
                <c:pt idx="1">
                  <c:v>0.989041095890411</c:v>
                </c:pt>
                <c:pt idx="2">
                  <c:v>0.9769452449567724</c:v>
                </c:pt>
                <c:pt idx="3">
                  <c:v>0.9770773638968482</c:v>
                </c:pt>
                <c:pt idx="4">
                  <c:v>0.9868852459016394</c:v>
                </c:pt>
                <c:pt idx="5">
                  <c:v>0.9967213114754099</c:v>
                </c:pt>
                <c:pt idx="6">
                  <c:v>0.9973753280839895</c:v>
                </c:pt>
                <c:pt idx="7">
                  <c:v>0.9966777408637874</c:v>
                </c:pt>
                <c:pt idx="8">
                  <c:v>0.9967532467532467</c:v>
                </c:pt>
                <c:pt idx="9">
                  <c:v>0.9976415094339622</c:v>
                </c:pt>
                <c:pt idx="10">
                  <c:v>0.9978165938864629</c:v>
                </c:pt>
                <c:pt idx="11">
                  <c:v>0.9895561357702349</c:v>
                </c:pt>
                <c:pt idx="12">
                  <c:v>0.9971751412429378</c:v>
                </c:pt>
                <c:pt idx="13">
                  <c:v>0.997134670487106</c:v>
                </c:pt>
                <c:pt idx="14">
                  <c:v>0.9942528735632183</c:v>
                </c:pt>
                <c:pt idx="15">
                  <c:v>0.9942196531791907</c:v>
                </c:pt>
                <c:pt idx="16">
                  <c:v>0.9846153846153847</c:v>
                </c:pt>
                <c:pt idx="17">
                  <c:v>0.9873417721518988</c:v>
                </c:pt>
                <c:pt idx="18">
                  <c:v>1.0</c:v>
                </c:pt>
                <c:pt idx="19">
                  <c:v>0.9886363636363636</c:v>
                </c:pt>
                <c:pt idx="20">
                  <c:v>0.995</c:v>
                </c:pt>
                <c:pt idx="21">
                  <c:v>0.995049504950495</c:v>
                </c:pt>
                <c:pt idx="22">
                  <c:v>0.9942857142857143</c:v>
                </c:pt>
                <c:pt idx="23">
                  <c:v>1.0</c:v>
                </c:pt>
                <c:pt idx="24">
                  <c:v>0.9951923076923077</c:v>
                </c:pt>
                <c:pt idx="25">
                  <c:v>1.0</c:v>
                </c:pt>
                <c:pt idx="26">
                  <c:v>1.0</c:v>
                </c:pt>
                <c:pt idx="27">
                  <c:v>1.0</c:v>
                </c:pt>
                <c:pt idx="28">
                  <c:v>1.0</c:v>
                </c:pt>
                <c:pt idx="29">
                  <c:v>1.0</c:v>
                </c:pt>
                <c:pt idx="30">
                  <c:v>1.0</c:v>
                </c:pt>
                <c:pt idx="31">
                  <c:v>1.0</c:v>
                </c:pt>
                <c:pt idx="32">
                  <c:v>1.0</c:v>
                </c:pt>
                <c:pt idx="33">
                  <c:v>1.0</c:v>
                </c:pt>
                <c:pt idx="34">
                  <c:v>0.9955257270693513</c:v>
                </c:pt>
                <c:pt idx="35">
                  <c:v>0.9956331877729258</c:v>
                </c:pt>
                <c:pt idx="36">
                  <c:v>0.9955947136563876</c:v>
                </c:pt>
                <c:pt idx="37">
                  <c:v>0.9955257270693513</c:v>
                </c:pt>
                <c:pt idx="38">
                  <c:v>0.9955621301775148</c:v>
                </c:pt>
                <c:pt idx="39">
                  <c:v>0.997020854021847</c:v>
                </c:pt>
                <c:pt idx="40">
                  <c:v>0.9979381443298969</c:v>
                </c:pt>
                <c:pt idx="41">
                  <c:v>0.994413407821229</c:v>
                </c:pt>
                <c:pt idx="42">
                  <c:v>0.9977973568281938</c:v>
                </c:pt>
                <c:pt idx="43">
                  <c:v>0.9942857142857143</c:v>
                </c:pt>
                <c:pt idx="44">
                  <c:v>0.997229916897507</c:v>
                </c:pt>
                <c:pt idx="45">
                  <c:v>0.9974554707379135</c:v>
                </c:pt>
                <c:pt idx="46">
                  <c:v>0.9973821989528796</c:v>
                </c:pt>
                <c:pt idx="47">
                  <c:v>0.9953271028037384</c:v>
                </c:pt>
                <c:pt idx="48">
                  <c:v>0.992</c:v>
                </c:pt>
                <c:pt idx="49">
                  <c:v>0.9977477477477478</c:v>
                </c:pt>
                <c:pt idx="50">
                  <c:v>0.9961685823754789</c:v>
                </c:pt>
                <c:pt idx="51">
                  <c:v>0.9304897314375987</c:v>
                </c:pt>
                <c:pt idx="52">
                  <c:v>0.9306625577812019</c:v>
                </c:pt>
                <c:pt idx="53">
                  <c:v>0.9479048697621744</c:v>
                </c:pt>
                <c:pt idx="54">
                  <c:v>0.9438775510204082</c:v>
                </c:pt>
                <c:pt idx="55">
                  <c:v>0.9952456418383518</c:v>
                </c:pt>
                <c:pt idx="56">
                  <c:v>0.9951060358890701</c:v>
                </c:pt>
                <c:pt idx="57">
                  <c:v>0.9963235294117647</c:v>
                </c:pt>
                <c:pt idx="58">
                  <c:v>0.995049504950495</c:v>
                </c:pt>
                <c:pt idx="59">
                  <c:v>0.9964788732394366</c:v>
                </c:pt>
                <c:pt idx="60">
                  <c:v>0.6413934426229508</c:v>
                </c:pt>
                <c:pt idx="61">
                  <c:v>0.9935691318327974</c:v>
                </c:pt>
                <c:pt idx="62">
                  <c:v>0.9966996699669967</c:v>
                </c:pt>
                <c:pt idx="63">
                  <c:v>0.9194029850746268</c:v>
                </c:pt>
                <c:pt idx="64">
                  <c:v>0.9966996699669967</c:v>
                </c:pt>
                <c:pt idx="65">
                  <c:v>0.9964788732394366</c:v>
                </c:pt>
                <c:pt idx="66">
                  <c:v>0.9960474308300395</c:v>
                </c:pt>
                <c:pt idx="67">
                  <c:v>0.42168674698795183</c:v>
                </c:pt>
                <c:pt idx="68">
                  <c:v>0.995260663507109</c:v>
                </c:pt>
                <c:pt idx="69">
                  <c:v>0.6692913385826772</c:v>
                </c:pt>
                <c:pt idx="70">
                  <c:v>0.5725190839694656</c:v>
                </c:pt>
                <c:pt idx="71">
                  <c:v>0.9974160206718347</c:v>
                </c:pt>
                <c:pt idx="72">
                  <c:v>0.9911111111111112</c:v>
                </c:pt>
                <c:pt idx="73">
                  <c:v>0.9608433734939759</c:v>
                </c:pt>
                <c:pt idx="74">
                  <c:v>1.0</c:v>
                </c:pt>
                <c:pt idx="75">
                  <c:v>0.9942528735632183</c:v>
                </c:pt>
                <c:pt idx="76">
                  <c:v>0.9917355371900827</c:v>
                </c:pt>
                <c:pt idx="77">
                  <c:v>0.9965870307167235</c:v>
                </c:pt>
                <c:pt idx="78">
                  <c:v>1.0</c:v>
                </c:pt>
                <c:pt idx="79">
                  <c:v>1.0</c:v>
                </c:pt>
                <c:pt idx="80">
                  <c:v>0.9947368421052631</c:v>
                </c:pt>
                <c:pt idx="81">
                  <c:v>0.9947916666666666</c:v>
                </c:pt>
                <c:pt idx="82">
                  <c:v>0.9961089494163424</c:v>
                </c:pt>
                <c:pt idx="83">
                  <c:v>0.9959016393442623</c:v>
                </c:pt>
                <c:pt idx="84">
                  <c:v>0.99581589958159</c:v>
                </c:pt>
                <c:pt idx="85">
                  <c:v>0.9971014492753624</c:v>
                </c:pt>
                <c:pt idx="86">
                  <c:v>0.9980276134122288</c:v>
                </c:pt>
                <c:pt idx="87">
                  <c:v>0.9980430528375733</c:v>
                </c:pt>
                <c:pt idx="88">
                  <c:v>0.9982905982905983</c:v>
                </c:pt>
                <c:pt idx="89">
                  <c:v>0.9972183588317107</c:v>
                </c:pt>
                <c:pt idx="90">
                  <c:v>0.9982486865148862</c:v>
                </c:pt>
                <c:pt idx="91">
                  <c:v>0.9984615384615385</c:v>
                </c:pt>
                <c:pt idx="92">
                  <c:v>0.9978586723768736</c:v>
                </c:pt>
                <c:pt idx="93">
                  <c:v>0.9979591836734694</c:v>
                </c:pt>
                <c:pt idx="94">
                  <c:v>0.9795918367346939</c:v>
                </c:pt>
              </c:numCache>
            </c:numRef>
          </c:yVal>
          <c:smooth val="0"/>
          <c:extLst>
            <c:ext xmlns:c16="http://schemas.microsoft.com/office/drawing/2014/chart" uri="{C3380CC4-5D6E-409C-BE32-E72D297353CC}">
              <c16:uniqueId val="{00000000-F32D-48B7-BC20-E66FC6253BAD}"/>
            </c:ext>
          </c:extLst>
        </c:ser>
        <c:ser>
          <c:idx val="1"/>
          <c:order val="1"/>
          <c:tx>
            <c:strRef>
              <c:f>Sheet1!$B$9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9:$A$150</c:f>
              <c:numCache>
                <c:formatCode>General</c:formatCode>
                <c:ptCount val="52"/>
                <c:pt idx="0">
                  <c:v>1461.1913</c:v>
                </c:pt>
                <c:pt idx="1">
                  <c:v>1487.2622</c:v>
                </c:pt>
                <c:pt idx="2">
                  <c:v>1533.8878</c:v>
                </c:pt>
                <c:pt idx="3">
                  <c:v>1614.6917</c:v>
                </c:pt>
                <c:pt idx="4">
                  <c:v>1585.6588</c:v>
                </c:pt>
                <c:pt idx="5">
                  <c:v>1636.6489</c:v>
                </c:pt>
                <c:pt idx="6">
                  <c:v>1547.5504</c:v>
                </c:pt>
                <c:pt idx="7">
                  <c:v>1600.7066</c:v>
                </c:pt>
                <c:pt idx="8">
                  <c:v>1607.6166</c:v>
                </c:pt>
                <c:pt idx="9">
                  <c:v>1589.5875</c:v>
                </c:pt>
                <c:pt idx="10">
                  <c:v>1590.1791</c:v>
                </c:pt>
                <c:pt idx="11">
                  <c:v>1462.0283</c:v>
                </c:pt>
                <c:pt idx="12">
                  <c:v>1489.3774</c:v>
                </c:pt>
                <c:pt idx="13">
                  <c:v>1549.8353</c:v>
                </c:pt>
                <c:pt idx="14">
                  <c:v>1569.9824</c:v>
                </c:pt>
                <c:pt idx="15">
                  <c:v>1590.81</c:v>
                </c:pt>
                <c:pt idx="16">
                  <c:v>1653.6305</c:v>
                </c:pt>
                <c:pt idx="17">
                  <c:v>1598.6636</c:v>
                </c:pt>
                <c:pt idx="18">
                  <c:v>1535.4944</c:v>
                </c:pt>
                <c:pt idx="19">
                  <c:v>1721.8727</c:v>
                </c:pt>
                <c:pt idx="20">
                  <c:v>1725.3249</c:v>
                </c:pt>
                <c:pt idx="21">
                  <c:v>1651.5152</c:v>
                </c:pt>
                <c:pt idx="22">
                  <c:v>1516.7692</c:v>
                </c:pt>
                <c:pt idx="23">
                  <c:v>1169.1723</c:v>
                </c:pt>
                <c:pt idx="24">
                  <c:v>1004.9271</c:v>
                </c:pt>
                <c:pt idx="25">
                  <c:v>945.0</c:v>
                </c:pt>
                <c:pt idx="26">
                  <c:v>1036.9337</c:v>
                </c:pt>
                <c:pt idx="27">
                  <c:v>1282.3592</c:v>
                </c:pt>
                <c:pt idx="28">
                  <c:v>1503.5623</c:v>
                </c:pt>
                <c:pt idx="29">
                  <c:v>1464.2769</c:v>
                </c:pt>
                <c:pt idx="30">
                  <c:v>1332.9069</c:v>
                </c:pt>
                <c:pt idx="31">
                  <c:v>1310.6291</c:v>
                </c:pt>
                <c:pt idx="32">
                  <c:v>1419.976</c:v>
                </c:pt>
                <c:pt idx="33">
                  <c:v>1539.5509</c:v>
                </c:pt>
                <c:pt idx="34">
                  <c:v>1669.805</c:v>
                </c:pt>
                <c:pt idx="35">
                  <c:v>1580.0482</c:v>
                </c:pt>
                <c:pt idx="36">
                  <c:v>1466.0</c:v>
                </c:pt>
                <c:pt idx="37">
                  <c:v>1569.4925</c:v>
                </c:pt>
                <c:pt idx="38">
                  <c:v>1543.0222</c:v>
                </c:pt>
                <c:pt idx="39">
                  <c:v>1571.4843</c:v>
                </c:pt>
                <c:pt idx="40">
                  <c:v>1605.9961</c:v>
                </c:pt>
                <c:pt idx="41">
                  <c:v>1717.3164</c:v>
                </c:pt>
                <c:pt idx="42">
                  <c:v>1649.7923</c:v>
                </c:pt>
                <c:pt idx="43">
                  <c:v>1592.4772</c:v>
                </c:pt>
                <c:pt idx="44">
                  <c:v>1627.6676</c:v>
                </c:pt>
                <c:pt idx="45">
                  <c:v>1590.9011</c:v>
                </c:pt>
                <c:pt idx="46">
                  <c:v>1522.9626</c:v>
                </c:pt>
                <c:pt idx="47">
                  <c:v>1499.3564</c:v>
                </c:pt>
                <c:pt idx="48">
                  <c:v>1485.6714</c:v>
                </c:pt>
                <c:pt idx="49">
                  <c:v>1466.5291</c:v>
                </c:pt>
                <c:pt idx="50">
                  <c:v>1378.8983</c:v>
                </c:pt>
                <c:pt idx="51">
                  <c:v>1375.4757</c:v>
                </c:pt>
              </c:numCache>
            </c:numRef>
          </c:xVal>
          <c:yVal>
            <c:numRef>
              <c:f>Sheet1!$B$99:$B$150</c:f>
              <c:numCache>
                <c:formatCode>General</c:formatCode>
                <c:ptCount val="52"/>
                <c:pt idx="0">
                  <c:v>0.9895678092399404</c:v>
                </c:pt>
                <c:pt idx="1">
                  <c:v>0.9361702127659575</c:v>
                </c:pt>
                <c:pt idx="2">
                  <c:v>0.9634340222575517</c:v>
                </c:pt>
                <c:pt idx="3">
                  <c:v>0.9667170953101362</c:v>
                </c:pt>
                <c:pt idx="4">
                  <c:v>0.9717813051146384</c:v>
                </c:pt>
                <c:pt idx="5">
                  <c:v>0.9527145359019265</c:v>
                </c:pt>
                <c:pt idx="6">
                  <c:v>0.9641638225255973</c:v>
                </c:pt>
                <c:pt idx="7">
                  <c:v>0.9631449631449631</c:v>
                </c:pt>
                <c:pt idx="8">
                  <c:v>0.9484029484029484</c:v>
                </c:pt>
                <c:pt idx="9">
                  <c:v>0.954233409610984</c:v>
                </c:pt>
                <c:pt idx="10">
                  <c:v>0.934322033898305</c:v>
                </c:pt>
                <c:pt idx="11">
                  <c:v>0.9437037037037037</c:v>
                </c:pt>
                <c:pt idx="12">
                  <c:v>0.8928571428571429</c:v>
                </c:pt>
                <c:pt idx="13">
                  <c:v>0.9449715370018975</c:v>
                </c:pt>
                <c:pt idx="14">
                  <c:v>0.9623352165725048</c:v>
                </c:pt>
                <c:pt idx="15">
                  <c:v>0.9568181818181818</c:v>
                </c:pt>
                <c:pt idx="16">
                  <c:v>0.9605633802816902</c:v>
                </c:pt>
                <c:pt idx="17">
                  <c:v>0.9565217391304348</c:v>
                </c:pt>
                <c:pt idx="18">
                  <c:v>0.9372822299651568</c:v>
                </c:pt>
                <c:pt idx="19">
                  <c:v>0.9322033898305084</c:v>
                </c:pt>
                <c:pt idx="20">
                  <c:v>0.9221789883268483</c:v>
                </c:pt>
                <c:pt idx="21">
                  <c:v>0.9252336448598131</c:v>
                </c:pt>
                <c:pt idx="22">
                  <c:v>0.9244444444444444</c:v>
                </c:pt>
                <c:pt idx="23">
                  <c:v>0.9558823529411765</c:v>
                </c:pt>
                <c:pt idx="24">
                  <c:v>0.9648351648351648</c:v>
                </c:pt>
                <c:pt idx="25">
                  <c:v>0.9266802443991853</c:v>
                </c:pt>
                <c:pt idx="26">
                  <c:v>0.9308641975308642</c:v>
                </c:pt>
                <c:pt idx="27">
                  <c:v>0.8982558139534884</c:v>
                </c:pt>
                <c:pt idx="28">
                  <c:v>0.8892215568862275</c:v>
                </c:pt>
                <c:pt idx="29">
                  <c:v>0.937984496124031</c:v>
                </c:pt>
                <c:pt idx="30">
                  <c:v>0.95662100456621</c:v>
                </c:pt>
                <c:pt idx="31">
                  <c:v>0.9508928571428571</c:v>
                </c:pt>
                <c:pt idx="32">
                  <c:v>0.9203539823008849</c:v>
                </c:pt>
                <c:pt idx="33">
                  <c:v>0.8769230769230769</c:v>
                </c:pt>
                <c:pt idx="34">
                  <c:v>0.9036885245901639</c:v>
                </c:pt>
                <c:pt idx="35">
                  <c:v>0.8691099476439791</c:v>
                </c:pt>
                <c:pt idx="36">
                  <c:v>0.804</c:v>
                </c:pt>
                <c:pt idx="37">
                  <c:v>0.8701298701298701</c:v>
                </c:pt>
                <c:pt idx="38">
                  <c:v>0.8530805687203792</c:v>
                </c:pt>
                <c:pt idx="39">
                  <c:v>0.8523489932885906</c:v>
                </c:pt>
                <c:pt idx="40">
                  <c:v>0.8388157894736842</c:v>
                </c:pt>
                <c:pt idx="41">
                  <c:v>0.843558282208589</c:v>
                </c:pt>
                <c:pt idx="42">
                  <c:v>0.858085808580858</c:v>
                </c:pt>
                <c:pt idx="43">
                  <c:v>0.8523316062176166</c:v>
                </c:pt>
                <c:pt idx="44">
                  <c:v>0.8880407124681934</c:v>
                </c:pt>
                <c:pt idx="45">
                  <c:v>0.92894280762565</c:v>
                </c:pt>
                <c:pt idx="46">
                  <c:v>0.9478079331941545</c:v>
                </c:pt>
                <c:pt idx="47">
                  <c:v>0.9298245614035088</c:v>
                </c:pt>
                <c:pt idx="48">
                  <c:v>0.9244663382594417</c:v>
                </c:pt>
                <c:pt idx="49">
                  <c:v>0.9396551724137931</c:v>
                </c:pt>
                <c:pt idx="50">
                  <c:v>0.9178910976663786</c:v>
                </c:pt>
                <c:pt idx="51">
                  <c:v>0.893719806763285</c:v>
                </c:pt>
              </c:numCache>
            </c:numRef>
          </c:yVal>
          <c:smooth val="0"/>
          <c:extLst>
            <c:ext xmlns:c16="http://schemas.microsoft.com/office/drawing/2014/chart" uri="{C3380CC4-5D6E-409C-BE32-E72D297353CC}">
              <c16:uniqueId val="{00000002-F32D-48B7-BC20-E66FC6253BAD}"/>
            </c:ext>
          </c:extLst>
        </c:ser>
        <c:ser>
          <c:idx val="2"/>
          <c:order val="2"/>
          <c:tx>
            <c:strRef>
              <c:f>Sheet1!$B$152</c:f>
              <c:strCache>
                <c:ptCount val="1"/>
                <c:pt idx="0">
                  <c:v>Custom Linep3yQ</c:v>
                </c:pt>
              </c:strCache>
            </c:strRef>
          </c:tx>
          <c:spPr>
            <a:ln w="19050" cap="rnd">
              <a:solidFill>
                <a:srgbClr val="C00000"/>
              </a:solidFill>
              <a:prstDash val="sysDot"/>
              <a:round/>
            </a:ln>
            <a:effectLst/>
          </c:spPr>
          <c:marker>
            <c:symbol val="none"/>
          </c:marker>
          <c:xVal>
            <c:numRef>
              <c:f>Sheet1!$A$153:$A$154</c:f>
              <c:numCache>
                <c:formatCode>General</c:formatCode>
                <c:ptCount val="2"/>
                <c:pt idx="0">
                  <c:v>0</c:v>
                </c:pt>
                <c:pt idx="1">
                  <c:v>-373.7775249149425</c:v>
                </c:pt>
              </c:numCache>
            </c:numRef>
          </c:xVal>
          <c:yVal>
            <c:numRef>
              <c:f>Sheet1!$B$153:$B$154</c:f>
              <c:numCache>
                <c:formatCode>General</c:formatCode>
                <c:ptCount val="2"/>
                <c:pt idx="0">
                  <c:v>0.9988308913308912</c:v>
                </c:pt>
                <c:pt idx="1">
                  <c:v>0.9988308913308912</c:v>
                </c:pt>
              </c:numCache>
            </c:numRef>
          </c:yVal>
          <c:smooth val="0"/>
          <c:extLst>
            <c:ext xmlns:c16="http://schemas.microsoft.com/office/drawing/2014/chart" uri="{C3380CC4-5D6E-409C-BE32-E72D297353CC}">
              <c16:uniqueId val="{00000003-F32D-48B7-BC20-E66FC6253BAD}"/>
            </c:ext>
          </c:extLst>
        </c:ser>
        <c:ser>
          <c:idx val="3"/>
          <c:order val="3"/>
          <c:tx>
            <c:strRef>
              <c:f>Sheet1!$B$15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7:$A$158</c:f>
              <c:numCache>
                <c:formatCode>General</c:formatCode>
                <c:ptCount val="2"/>
                <c:pt idx="0">
                  <c:v>-373.7775249149425</c:v>
                </c:pt>
                <c:pt idx="1">
                  <c:v>-373.7775249149425</c:v>
                </c:pt>
              </c:numCache>
            </c:numRef>
          </c:xVal>
          <c:yVal>
            <c:numRef>
              <c:f>Sheet1!$B$157:$B$158</c:f>
              <c:numCache>
                <c:formatCode>General</c:formatCode>
                <c:ptCount val="2"/>
                <c:pt idx="0">
                  <c:v>0.998830891330891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1:$A$162</c:f>
              <c:numCache>
                <c:formatCode>General</c:formatCode>
                <c:ptCount val="2"/>
                <c:pt idx="0">
                  <c:v>0</c:v>
                </c:pt>
                <c:pt idx="1">
                  <c:v>528.2099824193556</c:v>
                </c:pt>
              </c:numCache>
            </c:numRef>
          </c:xVal>
          <c:yVal>
            <c:numRef>
              <c:f>Sheet1!$B$161:$B$162</c:f>
              <c:numCache>
                <c:formatCode>General</c:formatCode>
                <c:ptCount val="2"/>
                <c:pt idx="0">
                  <c:v>0.9617885238515177</c:v>
                </c:pt>
                <c:pt idx="1">
                  <c:v>0.9617885238515177</c:v>
                </c:pt>
              </c:numCache>
            </c:numRef>
          </c:yVal>
          <c:smooth val="0"/>
          <c:extLst>
            <c:ext xmlns:c16="http://schemas.microsoft.com/office/drawing/2014/chart" uri="{C3380CC4-5D6E-409C-BE32-E72D297353CC}">
              <c16:uniqueId val="{0000000A-F32D-48B7-BC20-E66FC6253BAD}"/>
            </c:ext>
          </c:extLst>
        </c:ser>
        <c:ser>
          <c:idx val="5"/>
          <c:order val="5"/>
          <c:tx>
            <c:strRef>
              <c:f>Sheet1!$B$16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5:$A$166</c:f>
              <c:numCache>
                <c:formatCode>General</c:formatCode>
                <c:ptCount val="2"/>
                <c:pt idx="0">
                  <c:v>528.2099824193556</c:v>
                </c:pt>
                <c:pt idx="1">
                  <c:v>528.2099824193556</c:v>
                </c:pt>
              </c:numCache>
            </c:numRef>
          </c:xVal>
          <c:yVal>
            <c:numRef>
              <c:f>Sheet1!$B$165:$B$166</c:f>
              <c:numCache>
                <c:formatCode>General</c:formatCode>
                <c:ptCount val="2"/>
                <c:pt idx="0">
                  <c:v>0.961788523851517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6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69:$A$170</c:f>
              <c:numCache>
                <c:formatCode>General</c:formatCode>
                <c:ptCount val="2"/>
                <c:pt idx="0">
                  <c:v>0</c:v>
                </c:pt>
                <c:pt idx="1">
                  <c:v>2191.067113180896</c:v>
                </c:pt>
              </c:numCache>
            </c:numRef>
          </c:xVal>
          <c:yVal>
            <c:numRef>
              <c:f>Sheet1!$B$169:$B$170</c:f>
              <c:numCache>
                <c:formatCode>General</c:formatCode>
                <c:ptCount val="2"/>
                <c:pt idx="0">
                  <c:v>0.8934991468895188</c:v>
                </c:pt>
                <c:pt idx="1">
                  <c:v>0.8934991468895188</c:v>
                </c:pt>
              </c:numCache>
            </c:numRef>
          </c:yVal>
          <c:smooth val="0"/>
          <c:extLst>
            <c:ext xmlns:c16="http://schemas.microsoft.com/office/drawing/2014/chart" uri="{C3380CC4-5D6E-409C-BE32-E72D297353CC}">
              <c16:uniqueId val="{00000011-F32D-48B7-BC20-E66FC6253BAD}"/>
            </c:ext>
          </c:extLst>
        </c:ser>
        <c:ser>
          <c:idx val="7"/>
          <c:order val="7"/>
          <c:tx>
            <c:strRef>
              <c:f>Sheet1!$B$17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3:$A$174</c:f>
              <c:numCache>
                <c:formatCode>General</c:formatCode>
                <c:ptCount val="2"/>
                <c:pt idx="0">
                  <c:v>2191.067113180896</c:v>
                </c:pt>
                <c:pt idx="1">
                  <c:v>2191.067113180896</c:v>
                </c:pt>
              </c:numCache>
            </c:numRef>
          </c:xVal>
          <c:yVal>
            <c:numRef>
              <c:f>Sheet1!$B$173:$B$174</c:f>
              <c:numCache>
                <c:formatCode>General</c:formatCode>
                <c:ptCount val="2"/>
                <c:pt idx="0">
                  <c:v>0.89349914688951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7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77:$A$231</c:f>
              <c:numCache>
                <c:formatCode>General</c:formatCode>
                <c:ptCount val="55"/>
                <c:pt idx="0">
                  <c:v>1461.1913</c:v>
                </c:pt>
                <c:pt idx="1">
                  <c:v>1487.2622</c:v>
                </c:pt>
                <c:pt idx="2">
                  <c:v>1533.8878</c:v>
                </c:pt>
                <c:pt idx="3">
                  <c:v>1614.6917</c:v>
                </c:pt>
                <c:pt idx="4">
                  <c:v>1585.6588</c:v>
                </c:pt>
                <c:pt idx="5">
                  <c:v>1636.6489</c:v>
                </c:pt>
                <c:pt idx="6">
                  <c:v>1547.5504</c:v>
                </c:pt>
                <c:pt idx="7">
                  <c:v>1600.7066</c:v>
                </c:pt>
                <c:pt idx="8">
                  <c:v>1607.6166</c:v>
                </c:pt>
                <c:pt idx="9">
                  <c:v>1589.5875</c:v>
                </c:pt>
                <c:pt idx="10">
                  <c:v>1590.1791</c:v>
                </c:pt>
                <c:pt idx="11">
                  <c:v>1462.0283</c:v>
                </c:pt>
                <c:pt idx="12">
                  <c:v>1489.3774</c:v>
                </c:pt>
                <c:pt idx="13">
                  <c:v>1549.8353</c:v>
                </c:pt>
                <c:pt idx="14">
                  <c:v>1569.9824</c:v>
                </c:pt>
                <c:pt idx="15">
                  <c:v>1590.81</c:v>
                </c:pt>
                <c:pt idx="16">
                  <c:v>1653.6305</c:v>
                </c:pt>
                <c:pt idx="17">
                  <c:v>1598.6636</c:v>
                </c:pt>
                <c:pt idx="18">
                  <c:v>1535.4944</c:v>
                </c:pt>
                <c:pt idx="19">
                  <c:v>1721.8727</c:v>
                </c:pt>
                <c:pt idx="20">
                  <c:v>1725.3249</c:v>
                </c:pt>
                <c:pt idx="21">
                  <c:v>1651.5152</c:v>
                </c:pt>
                <c:pt idx="22">
                  <c:v>1516.7692</c:v>
                </c:pt>
                <c:pt idx="23">
                  <c:v>1169.1723</c:v>
                </c:pt>
                <c:pt idx="24">
                  <c:v>1004.9271</c:v>
                </c:pt>
                <c:pt idx="25">
                  <c:v>945.0</c:v>
                </c:pt>
                <c:pt idx="26">
                  <c:v>1036.9337</c:v>
                </c:pt>
                <c:pt idx="27">
                  <c:v>1282.3592</c:v>
                </c:pt>
                <c:pt idx="28">
                  <c:v>1503.5623</c:v>
                </c:pt>
                <c:pt idx="29">
                  <c:v>1464.2769</c:v>
                </c:pt>
                <c:pt idx="30">
                  <c:v>1332.9069</c:v>
                </c:pt>
                <c:pt idx="31">
                  <c:v>1310.6291</c:v>
                </c:pt>
                <c:pt idx="32">
                  <c:v>1419.976</c:v>
                </c:pt>
                <c:pt idx="33">
                  <c:v>1539.5509</c:v>
                </c:pt>
                <c:pt idx="34">
                  <c:v>1669.805</c:v>
                </c:pt>
                <c:pt idx="35">
                  <c:v>1580.0482</c:v>
                </c:pt>
                <c:pt idx="36">
                  <c:v>1466.0</c:v>
                </c:pt>
                <c:pt idx="37">
                  <c:v>1569.4925</c:v>
                </c:pt>
                <c:pt idx="38">
                  <c:v>1543.0222</c:v>
                </c:pt>
                <c:pt idx="39">
                  <c:v>1571.4843</c:v>
                </c:pt>
                <c:pt idx="40">
                  <c:v>1605.9961</c:v>
                </c:pt>
                <c:pt idx="41">
                  <c:v>1717.3164</c:v>
                </c:pt>
                <c:pt idx="42">
                  <c:v>1649.7923</c:v>
                </c:pt>
                <c:pt idx="43">
                  <c:v>1592.4772</c:v>
                </c:pt>
                <c:pt idx="44">
                  <c:v>1627.6676</c:v>
                </c:pt>
                <c:pt idx="45">
                  <c:v>1590.9011</c:v>
                </c:pt>
                <c:pt idx="46">
                  <c:v>1522.9626</c:v>
                </c:pt>
                <c:pt idx="47">
                  <c:v>1499.3564</c:v>
                </c:pt>
                <c:pt idx="48">
                  <c:v>1485.6714</c:v>
                </c:pt>
                <c:pt idx="49">
                  <c:v>1466.5291</c:v>
                </c:pt>
                <c:pt idx="50">
                  <c:v>1378.8983</c:v>
                </c:pt>
                <c:pt idx="51">
                  <c:v>1375.4757</c:v>
                </c:pt>
                <c:pt idx="52">
                  <c:v>528.2099824193556</c:v>
                </c:pt>
                <c:pt idx="53">
                  <c:v>-373.7775249149425</c:v>
                </c:pt>
                <c:pt idx="54">
                  <c:v>2191.067113180896</c:v>
                </c:pt>
              </c:numCache>
            </c:numRef>
          </c:xVal>
          <c:yVal>
            <c:numRef>
              <c:f>Sheet1!$B$177:$B$231</c:f>
              <c:numCache>
                <c:formatCode>General</c:formatCode>
                <c:ptCount val="55"/>
                <c:pt idx="0">
                  <c:v>0.9234733182237267</c:v>
                </c:pt>
                <c:pt idx="1">
                  <c:v>0.9224026516674103</c:v>
                </c:pt>
                <c:pt idx="2">
                  <c:v>0.9204878550708914</c:v>
                </c:pt>
                <c:pt idx="3">
                  <c:v>0.9171694413088067</c:v>
                </c:pt>
                <c:pt idx="4">
                  <c:v>0.9183617497854177</c:v>
                </c:pt>
                <c:pt idx="5">
                  <c:v>0.9162677141068172</c:v>
                </c:pt>
                <c:pt idx="6">
                  <c:v>0.9199267663132218</c:v>
                </c:pt>
                <c:pt idx="7">
                  <c:v>0.9177437743336252</c:v>
                </c:pt>
                <c:pt idx="8">
                  <c:v>0.9174599979429312</c:v>
                </c:pt>
                <c:pt idx="9">
                  <c:v>0.9182004079176724</c:v>
                </c:pt>
                <c:pt idx="10">
                  <c:v>0.9181761123876095</c:v>
                </c:pt>
                <c:pt idx="11">
                  <c:v>0.9234389447303821</c:v>
                </c:pt>
                <c:pt idx="12">
                  <c:v>0.9223157857019115</c:v>
                </c:pt>
                <c:pt idx="13">
                  <c:v>0.9198329311938156</c:v>
                </c:pt>
                <c:pt idx="14">
                  <c:v>0.9190055402645895</c:v>
                </c:pt>
                <c:pt idx="15">
                  <c:v>0.9181502029049918</c:v>
                </c:pt>
                <c:pt idx="16">
                  <c:v>0.9155703223331254</c:v>
                </c:pt>
                <c:pt idx="17">
                  <c:v>0.9178276752259824</c:v>
                </c:pt>
                <c:pt idx="18">
                  <c:v>0.9204218760333677</c:v>
                </c:pt>
                <c:pt idx="19">
                  <c:v>0.9127677861234259</c:v>
                </c:pt>
                <c:pt idx="20">
                  <c:v>0.912626012917065</c:v>
                </c:pt>
                <c:pt idx="21">
                  <c:v>0.9156571924053736</c:v>
                </c:pt>
                <c:pt idx="22">
                  <c:v>0.921190873091403</c:v>
                </c:pt>
                <c:pt idx="23">
                  <c:v>0.9354658070564463</c:v>
                </c:pt>
                <c:pt idx="24">
                  <c:v>0.9422109459920217</c:v>
                </c:pt>
                <c:pt idx="25">
                  <c:v>0.9446720018737529</c:v>
                </c:pt>
                <c:pt idx="26">
                  <c:v>0.9408965151054242</c:v>
                </c:pt>
                <c:pt idx="27">
                  <c:v>0.9308175046026328</c:v>
                </c:pt>
                <c:pt idx="28">
                  <c:v>0.921733247391585</c:v>
                </c:pt>
                <c:pt idx="29">
                  <c:v>0.9233466003610457</c:v>
                </c:pt>
                <c:pt idx="30">
                  <c:v>0.9287416371838358</c:v>
                </c:pt>
                <c:pt idx="31">
                  <c:v>0.9296565306247337</c:v>
                </c:pt>
                <c:pt idx="32">
                  <c:v>0.925165927351856</c:v>
                </c:pt>
                <c:pt idx="33">
                  <c:v>0.9202552857397569</c:v>
                </c:pt>
                <c:pt idx="34">
                  <c:v>0.9149060761346766</c:v>
                </c:pt>
                <c:pt idx="35">
                  <c:v>0.9185921630730629</c:v>
                </c:pt>
                <c:pt idx="36">
                  <c:v>0.9232758369603503</c:v>
                </c:pt>
                <c:pt idx="37">
                  <c:v>0.9190256592304072</c:v>
                </c:pt>
                <c:pt idx="38">
                  <c:v>0.9201127281442407</c:v>
                </c:pt>
                <c:pt idx="39">
                  <c:v>0.9189438609937959</c:v>
                </c:pt>
                <c:pt idx="40">
                  <c:v>0.9175265478186359</c:v>
                </c:pt>
                <c:pt idx="41">
                  <c:v>0.9129549019510554</c:v>
                </c:pt>
                <c:pt idx="42">
                  <c:v>0.9157279475925699</c:v>
                </c:pt>
                <c:pt idx="43">
                  <c:v>0.9180817351772689</c:v>
                </c:pt>
                <c:pt idx="44">
                  <c:v>0.916636553599978</c:v>
                </c:pt>
                <c:pt idx="45">
                  <c:v>0.9181464616561941</c:v>
                </c:pt>
                <c:pt idx="46">
                  <c:v>0.9209365256676513</c:v>
                </c:pt>
                <c:pt idx="47">
                  <c:v>0.9219059731689541</c:v>
                </c:pt>
                <c:pt idx="48">
                  <c:v>0.9224679818385125</c:v>
                </c:pt>
                <c:pt idx="49">
                  <c:v>0.9232541081487271</c:v>
                </c:pt>
                <c:pt idx="50">
                  <c:v>0.9268528855926684</c:v>
                </c:pt>
                <c:pt idx="51">
                  <c:v>0.9269934432011763</c:v>
                </c:pt>
                <c:pt idx="52">
                  <c:v>0.9617885238515177</c:v>
                </c:pt>
                <c:pt idx="53">
                  <c:v>0.9988308913308912</c:v>
                </c:pt>
                <c:pt idx="54">
                  <c:v>0.893499146889518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62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337349397590361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1</c:f>
              <c:numCache>
                <c:formatCode>General</c:formatCode>
                <c:ptCount val="50"/>
                <c:pt idx="0">
                  <c:v>0.0</c:v>
                </c:pt>
                <c:pt idx="1">
                  <c:v>0.0</c:v>
                </c:pt>
                <c:pt idx="2">
                  <c:v>0.0</c:v>
                </c:pt>
                <c:pt idx="3">
                  <c:v>0.0</c:v>
                </c:pt>
                <c:pt idx="4">
                  <c:v>0.0</c:v>
                </c:pt>
                <c:pt idx="5">
                  <c:v>0.0</c:v>
                </c:pt>
                <c:pt idx="6">
                  <c:v>15.000983214055442</c:v>
                </c:pt>
                <c:pt idx="7">
                  <c:v>15.422617638104258</c:v>
                </c:pt>
                <c:pt idx="8">
                  <c:v>15.21764423564832</c:v>
                </c:pt>
                <c:pt idx="9">
                  <c:v>15.13065990663374</c:v>
                </c:pt>
                <c:pt idx="10">
                  <c:v>4.286919282511211</c:v>
                </c:pt>
                <c:pt idx="11">
                  <c:v>13.117877310924369</c:v>
                </c:pt>
                <c:pt idx="12">
                  <c:v>1.3171964514524117</c:v>
                </c:pt>
                <c:pt idx="13">
                  <c:v>0.0</c:v>
                </c:pt>
                <c:pt idx="14">
                  <c:v>2.1233224514429936</c:v>
                </c:pt>
                <c:pt idx="15">
                  <c:v>0.0</c:v>
                </c:pt>
                <c:pt idx="16">
                  <c:v>0.0</c:v>
                </c:pt>
                <c:pt idx="17">
                  <c:v>1.3534938582640283</c:v>
                </c:pt>
                <c:pt idx="18">
                  <c:v>1.3227429356587022</c:v>
                </c:pt>
                <c:pt idx="19">
                  <c:v>1.4005379361750852</c:v>
                </c:pt>
                <c:pt idx="20">
                  <c:v>0.0</c:v>
                </c:pt>
                <c:pt idx="21">
                  <c:v>1.3264561551134815</c:v>
                </c:pt>
                <c:pt idx="22">
                  <c:v>0.0</c:v>
                </c:pt>
                <c:pt idx="23">
                  <c:v>1.5962215242525315</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0</c:v>
                </c:pt>
                <c:pt idx="44">
                  <c:v>0.0</c:v>
                </c:pt>
                <c:pt idx="45">
                  <c:v>0.0</c:v>
                </c:pt>
                <c:pt idx="46">
                  <c:v>0.0</c:v>
                </c:pt>
                <c:pt idx="47">
                  <c:v>0.0</c:v>
                </c:pt>
                <c:pt idx="48">
                  <c:v>0.0</c:v>
                </c:pt>
                <c:pt idx="49">
                  <c:v>0.0</c:v>
                </c:pt>
              </c:numCache>
            </c:numRef>
          </c:xVal>
          <c:yVal>
            <c:numRef>
              <c:f>Sheet1!$B$2:$B$51</c:f>
              <c:numCache>
                <c:formatCode>General</c:formatCode>
                <c:ptCount val="50"/>
                <c:pt idx="0">
                  <c:v>0.9942528735632183</c:v>
                </c:pt>
                <c:pt idx="1">
                  <c:v>0.9886363636363636</c:v>
                </c:pt>
                <c:pt idx="2">
                  <c:v>0.9955257270693513</c:v>
                </c:pt>
                <c:pt idx="3">
                  <c:v>0.997020854021847</c:v>
                </c:pt>
                <c:pt idx="4">
                  <c:v>0.9953271028037384</c:v>
                </c:pt>
                <c:pt idx="5">
                  <c:v>0.992</c:v>
                </c:pt>
                <c:pt idx="6">
                  <c:v>0.9304897314375987</c:v>
                </c:pt>
                <c:pt idx="7">
                  <c:v>0.9306625577812019</c:v>
                </c:pt>
                <c:pt idx="8">
                  <c:v>0.9479048697621744</c:v>
                </c:pt>
                <c:pt idx="9">
                  <c:v>0.9438775510204082</c:v>
                </c:pt>
                <c:pt idx="10">
                  <c:v>0.9952456418383518</c:v>
                </c:pt>
                <c:pt idx="11">
                  <c:v>0.995049504950495</c:v>
                </c:pt>
                <c:pt idx="12">
                  <c:v>0.6413934426229508</c:v>
                </c:pt>
                <c:pt idx="13">
                  <c:v>0.9966996699669967</c:v>
                </c:pt>
                <c:pt idx="14">
                  <c:v>0.9194029850746268</c:v>
                </c:pt>
                <c:pt idx="15">
                  <c:v>0.9964788732394366</c:v>
                </c:pt>
                <c:pt idx="16">
                  <c:v>0.9960474308300395</c:v>
                </c:pt>
                <c:pt idx="17">
                  <c:v>0.42168674698795183</c:v>
                </c:pt>
                <c:pt idx="18">
                  <c:v>0.6692913385826772</c:v>
                </c:pt>
                <c:pt idx="19">
                  <c:v>0.5725190839694656</c:v>
                </c:pt>
                <c:pt idx="20">
                  <c:v>0.9974160206718347</c:v>
                </c:pt>
                <c:pt idx="21">
                  <c:v>0.9608433734939759</c:v>
                </c:pt>
                <c:pt idx="22">
                  <c:v>0.9980276134122288</c:v>
                </c:pt>
                <c:pt idx="23">
                  <c:v>0.9795918367346939</c:v>
                </c:pt>
                <c:pt idx="24">
                  <c:v>0.9221789883268483</c:v>
                </c:pt>
                <c:pt idx="25">
                  <c:v>0.9252336448598131</c:v>
                </c:pt>
                <c:pt idx="26">
                  <c:v>0.9244444444444444</c:v>
                </c:pt>
                <c:pt idx="27">
                  <c:v>0.9558823529411765</c:v>
                </c:pt>
                <c:pt idx="28">
                  <c:v>0.9648351648351648</c:v>
                </c:pt>
                <c:pt idx="29">
                  <c:v>0.9266802443991853</c:v>
                </c:pt>
                <c:pt idx="30">
                  <c:v>0.9308641975308642</c:v>
                </c:pt>
                <c:pt idx="31">
                  <c:v>0.8982558139534884</c:v>
                </c:pt>
                <c:pt idx="32">
                  <c:v>0.8892215568862275</c:v>
                </c:pt>
                <c:pt idx="33">
                  <c:v>0.937984496124031</c:v>
                </c:pt>
                <c:pt idx="34">
                  <c:v>0.95662100456621</c:v>
                </c:pt>
                <c:pt idx="35">
                  <c:v>0.9508928571428571</c:v>
                </c:pt>
                <c:pt idx="36">
                  <c:v>0.9203539823008849</c:v>
                </c:pt>
                <c:pt idx="37">
                  <c:v>0.8769230769230769</c:v>
                </c:pt>
                <c:pt idx="38">
                  <c:v>0.9036885245901639</c:v>
                </c:pt>
                <c:pt idx="39">
                  <c:v>0.8691099476439791</c:v>
                </c:pt>
                <c:pt idx="40">
                  <c:v>0.804</c:v>
                </c:pt>
                <c:pt idx="41">
                  <c:v>0.8701298701298701</c:v>
                </c:pt>
                <c:pt idx="42">
                  <c:v>0.8530805687203792</c:v>
                </c:pt>
                <c:pt idx="43">
                  <c:v>0.8523489932885906</c:v>
                </c:pt>
                <c:pt idx="44">
                  <c:v>0.8388157894736842</c:v>
                </c:pt>
                <c:pt idx="45">
                  <c:v>0.843558282208589</c:v>
                </c:pt>
                <c:pt idx="46">
                  <c:v>0.858085808580858</c:v>
                </c:pt>
                <c:pt idx="47">
                  <c:v>0.8523316062176166</c:v>
                </c:pt>
                <c:pt idx="48">
                  <c:v>0.9244663382594417</c:v>
                </c:pt>
                <c:pt idx="49">
                  <c:v>0.9396551724137931</c:v>
                </c:pt>
              </c:numCache>
            </c:numRef>
          </c:yVal>
          <c:smooth val="0"/>
          <c:extLst>
            <c:ext xmlns:c16="http://schemas.microsoft.com/office/drawing/2014/chart" uri="{C3380CC4-5D6E-409C-BE32-E72D297353CC}">
              <c16:uniqueId val="{00000000-096C-4121-9522-6AB7243CCAAE}"/>
            </c:ext>
          </c:extLst>
        </c:ser>
        <c:ser>
          <c:idx val="1"/>
          <c:order val="1"/>
          <c:tx>
            <c:strRef>
              <c:f>Sheet1!$B$5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4:$A$58</c:f>
              <c:numCache>
                <c:formatCode>General</c:formatCode>
                <c:ptCount val="5"/>
                <c:pt idx="0">
                  <c:v>1.5119574546947658</c:v>
                </c:pt>
                <c:pt idx="1">
                  <c:v>1.6801460555733607</c:v>
                </c:pt>
                <c:pt idx="2">
                  <c:v>18.064534939759035</c:v>
                </c:pt>
                <c:pt idx="3">
                  <c:v>1.2381144146990735</c:v>
                </c:pt>
                <c:pt idx="4">
                  <c:v>1.213918878250302</c:v>
                </c:pt>
              </c:numCache>
            </c:numRef>
          </c:xVal>
          <c:yVal>
            <c:numRef>
              <c:f>Sheet1!$B$54:$B$58</c:f>
              <c:numCache>
                <c:formatCode>General</c:formatCode>
                <c:ptCount val="5"/>
                <c:pt idx="0">
                  <c:v>0.9361702127659575</c:v>
                </c:pt>
                <c:pt idx="1">
                  <c:v>0.8928571428571429</c:v>
                </c:pt>
                <c:pt idx="2">
                  <c:v>0.9298245614035088</c:v>
                </c:pt>
                <c:pt idx="3">
                  <c:v>0.9178910976663786</c:v>
                </c:pt>
                <c:pt idx="4">
                  <c:v>0.893719806763285</c:v>
                </c:pt>
              </c:numCache>
            </c:numRef>
          </c:yVal>
          <c:smooth val="0"/>
          <c:extLst>
            <c:ext xmlns:c16="http://schemas.microsoft.com/office/drawing/2014/chart" uri="{C3380CC4-5D6E-409C-BE32-E72D297353CC}">
              <c16:uniqueId val="{00000002-096C-4121-9522-6AB7243CCAAE}"/>
            </c:ext>
          </c:extLst>
        </c:ser>
        <c:ser>
          <c:idx val="2"/>
          <c:order val="2"/>
          <c:tx>
            <c:strRef>
              <c:f>Sheet1!$B$6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61:$A$62</c:f>
              <c:numCache>
                <c:formatCode>General</c:formatCode>
                <c:ptCount val="2"/>
                <c:pt idx="0">
                  <c:v>0</c:v>
                </c:pt>
                <c:pt idx="1">
                  <c:v>75.90613390760205</c:v>
                </c:pt>
              </c:numCache>
            </c:numRef>
          </c:xVal>
          <c:yVal>
            <c:numRef>
              <c:f>Sheet1!$B$61:$B$62</c:f>
              <c:numCache>
                <c:formatCode>General</c:formatCode>
                <c:ptCount val="2"/>
                <c:pt idx="0">
                  <c:v>0.9980276134122288</c:v>
                </c:pt>
                <c:pt idx="1">
                  <c:v>0.9980276134122288</c:v>
                </c:pt>
              </c:numCache>
            </c:numRef>
          </c:yVal>
          <c:smooth val="0"/>
          <c:extLst>
            <c:ext xmlns:c16="http://schemas.microsoft.com/office/drawing/2014/chart" uri="{C3380CC4-5D6E-409C-BE32-E72D297353CC}">
              <c16:uniqueId val="{00000005-096C-4121-9522-6AB7243CCAAE}"/>
            </c:ext>
          </c:extLst>
        </c:ser>
        <c:ser>
          <c:idx val="3"/>
          <c:order val="3"/>
          <c:tx>
            <c:strRef>
              <c:f>Sheet1!$B$6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5:$A$66</c:f>
              <c:numCache>
                <c:formatCode>General</c:formatCode>
                <c:ptCount val="2"/>
                <c:pt idx="0">
                  <c:v>75.90613390760205</c:v>
                </c:pt>
                <c:pt idx="1">
                  <c:v>75.90613390760205</c:v>
                </c:pt>
              </c:numCache>
            </c:numRef>
          </c:xVal>
          <c:yVal>
            <c:numRef>
              <c:f>Sheet1!$B$65:$B$66</c:f>
              <c:numCache>
                <c:formatCode>General</c:formatCode>
                <c:ptCount val="2"/>
                <c:pt idx="0">
                  <c:v>0.998027613412228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9:$A$70</c:f>
              <c:numCache>
                <c:formatCode>General</c:formatCode>
                <c:ptCount val="2"/>
                <c:pt idx="0">
                  <c:v>0</c:v>
                </c:pt>
                <c:pt idx="1">
                  <c:v>23.460286536640197</c:v>
                </c:pt>
              </c:numCache>
            </c:numRef>
          </c:xVal>
          <c:yVal>
            <c:numRef>
              <c:f>Sheet1!$B$69:$B$70</c:f>
              <c:numCache>
                <c:formatCode>General</c:formatCode>
                <c:ptCount val="2"/>
                <c:pt idx="0">
                  <c:v>0.9361702127659575</c:v>
                </c:pt>
                <c:pt idx="1">
                  <c:v>0.9361702127659575</c:v>
                </c:pt>
              </c:numCache>
            </c:numRef>
          </c:yVal>
          <c:smooth val="0"/>
          <c:extLst>
            <c:ext xmlns:c16="http://schemas.microsoft.com/office/drawing/2014/chart" uri="{C3380CC4-5D6E-409C-BE32-E72D297353CC}">
              <c16:uniqueId val="{0000000D-096C-4121-9522-6AB7243CCAAE}"/>
            </c:ext>
          </c:extLst>
        </c:ser>
        <c:ser>
          <c:idx val="5"/>
          <c:order val="5"/>
          <c:tx>
            <c:strRef>
              <c:f>Sheet1!$B$7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3:$A$74</c:f>
              <c:numCache>
                <c:formatCode>General</c:formatCode>
                <c:ptCount val="2"/>
                <c:pt idx="0">
                  <c:v>23.460286536640197</c:v>
                </c:pt>
                <c:pt idx="1">
                  <c:v>23.460286536640197</c:v>
                </c:pt>
              </c:numCache>
            </c:numRef>
          </c:xVal>
          <c:yVal>
            <c:numRef>
              <c:f>Sheet1!$B$73:$B$74</c:f>
              <c:numCache>
                <c:formatCode>General</c:formatCode>
                <c:ptCount val="2"/>
                <c:pt idx="0">
                  <c:v>0.936170212765957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7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77:$A$78</c:f>
              <c:numCache>
                <c:formatCode>General</c:formatCode>
                <c:ptCount val="2"/>
                <c:pt idx="0">
                  <c:v>0</c:v>
                </c:pt>
                <c:pt idx="1">
                  <c:v>-19.865286024191857</c:v>
                </c:pt>
              </c:numCache>
            </c:numRef>
          </c:xVal>
          <c:yVal>
            <c:numRef>
              <c:f>Sheet1!$B$77:$B$78</c:f>
              <c:numCache>
                <c:formatCode>General</c:formatCode>
                <c:ptCount val="2"/>
                <c:pt idx="0">
                  <c:v>0.8850697456275745</c:v>
                </c:pt>
                <c:pt idx="1">
                  <c:v>0.8850697456275745</c:v>
                </c:pt>
              </c:numCache>
            </c:numRef>
          </c:yVal>
          <c:smooth val="0"/>
          <c:extLst>
            <c:ext xmlns:c16="http://schemas.microsoft.com/office/drawing/2014/chart" uri="{C3380CC4-5D6E-409C-BE32-E72D297353CC}">
              <c16:uniqueId val="{00000015-096C-4121-9522-6AB7243CCAAE}"/>
            </c:ext>
          </c:extLst>
        </c:ser>
        <c:ser>
          <c:idx val="7"/>
          <c:order val="7"/>
          <c:tx>
            <c:strRef>
              <c:f>Sheet1!$B$8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1:$A$82</c:f>
              <c:numCache>
                <c:formatCode>General</c:formatCode>
                <c:ptCount val="2"/>
                <c:pt idx="0">
                  <c:v>-19.865286024191857</c:v>
                </c:pt>
                <c:pt idx="1">
                  <c:v>-19.865286024191857</c:v>
                </c:pt>
              </c:numCache>
            </c:numRef>
          </c:xVal>
          <c:yVal>
            <c:numRef>
              <c:f>Sheet1!$B$81:$B$82</c:f>
              <c:numCache>
                <c:formatCode>General</c:formatCode>
                <c:ptCount val="2"/>
                <c:pt idx="0">
                  <c:v>0.88506974562757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8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85:$A$92</c:f>
              <c:numCache>
                <c:formatCode>General</c:formatCode>
                <c:ptCount val="8"/>
                <c:pt idx="0">
                  <c:v>1.5119574546947658</c:v>
                </c:pt>
                <c:pt idx="1">
                  <c:v>1.6801460555733607</c:v>
                </c:pt>
                <c:pt idx="2">
                  <c:v>18.064534939759035</c:v>
                </c:pt>
                <c:pt idx="3">
                  <c:v>1.2381144146990735</c:v>
                </c:pt>
                <c:pt idx="4">
                  <c:v>1.213918878250302</c:v>
                </c:pt>
                <c:pt idx="5">
                  <c:v>23.460286536640197</c:v>
                </c:pt>
                <c:pt idx="6">
                  <c:v>75.90613390760205</c:v>
                </c:pt>
                <c:pt idx="7">
                  <c:v>-19.865286024191857</c:v>
                </c:pt>
              </c:numCache>
            </c:numRef>
          </c:xVal>
          <c:yVal>
            <c:numRef>
              <c:f>Sheet1!$B$85:$B$92</c:f>
              <c:numCache>
                <c:formatCode>General</c:formatCode>
                <c:ptCount val="8"/>
                <c:pt idx="0">
                  <c:v>0.910283194944794</c:v>
                </c:pt>
                <c:pt idx="1">
                  <c:v>0.9104815654581941</c:v>
                </c:pt>
                <c:pt idx="2">
                  <c:v>0.9298061785278371</c:v>
                </c:pt>
                <c:pt idx="3">
                  <c:v>0.9099602100091252</c:v>
                </c:pt>
                <c:pt idx="4">
                  <c:v>0.9099316725163209</c:v>
                </c:pt>
                <c:pt idx="5">
                  <c:v>0.9361702127659575</c:v>
                </c:pt>
                <c:pt idx="6">
                  <c:v>0.9980276134122288</c:v>
                </c:pt>
                <c:pt idx="7">
                  <c:v>0.885069745627574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9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opperto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76331360946746"/>
          <c:min val="0.337349397590361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5</c:f>
              <c:numCache>
                <c:formatCode>General</c:formatCode>
                <c:ptCount val="24"/>
                <c:pt idx="0">
                  <c:v>1299.8035</c:v>
                </c:pt>
                <c:pt idx="1">
                  <c:v>1393.0057</c:v>
                </c:pt>
                <c:pt idx="2">
                  <c:v>1350.5371</c:v>
                </c:pt>
                <c:pt idx="3">
                  <c:v>1405.5707</c:v>
                </c:pt>
                <c:pt idx="4">
                  <c:v>1532.8873</c:v>
                </c:pt>
                <c:pt idx="5">
                  <c:v>1539.8367</c:v>
                </c:pt>
                <c:pt idx="6">
                  <c:v>1493.6689</c:v>
                </c:pt>
                <c:pt idx="7">
                  <c:v>1458.9056</c:v>
                </c:pt>
                <c:pt idx="8">
                  <c:v>1439.5161</c:v>
                </c:pt>
                <c:pt idx="9">
                  <c:v>1431.2878</c:v>
                </c:pt>
                <c:pt idx="10">
                  <c:v>1433.9745</c:v>
                </c:pt>
                <c:pt idx="11">
                  <c:v>1561.0274</c:v>
                </c:pt>
                <c:pt idx="12">
                  <c:v>1465.3962</c:v>
                </c:pt>
                <c:pt idx="13">
                  <c:v>1606.7285</c:v>
                </c:pt>
                <c:pt idx="14">
                  <c:v>1547.987</c:v>
                </c:pt>
                <c:pt idx="15">
                  <c:v>1525.3604</c:v>
                </c:pt>
                <c:pt idx="16">
                  <c:v>1470.4484</c:v>
                </c:pt>
                <c:pt idx="17">
                  <c:v>1502.6367</c:v>
                </c:pt>
                <c:pt idx="18">
                  <c:v>1472.8941</c:v>
                </c:pt>
                <c:pt idx="19">
                  <c:v>1559.52</c:v>
                </c:pt>
                <c:pt idx="20">
                  <c:v>1499.4041</c:v>
                </c:pt>
                <c:pt idx="21">
                  <c:v>1389.7179</c:v>
                </c:pt>
                <c:pt idx="22">
                  <c:v>1374.3439</c:v>
                </c:pt>
                <c:pt idx="23">
                  <c:v>1555.7356</c:v>
                </c:pt>
              </c:numCache>
            </c:numRef>
          </c:xVal>
          <c:yVal>
            <c:numRef>
              <c:f>Sheet1!$B$2:$B$25</c:f>
              <c:numCache>
                <c:formatCode>General</c:formatCode>
                <c:ptCount val="24"/>
                <c:pt idx="0">
                  <c:v>0.9942528735632183</c:v>
                </c:pt>
                <c:pt idx="1">
                  <c:v>0.9886363636363636</c:v>
                </c:pt>
                <c:pt idx="2">
                  <c:v>0.9955257270693513</c:v>
                </c:pt>
                <c:pt idx="3">
                  <c:v>0.997020854021847</c:v>
                </c:pt>
                <c:pt idx="4">
                  <c:v>0.9953271028037384</c:v>
                </c:pt>
                <c:pt idx="5">
                  <c:v>0.992</c:v>
                </c:pt>
                <c:pt idx="6">
                  <c:v>0.9304897314375987</c:v>
                </c:pt>
                <c:pt idx="7">
                  <c:v>0.9306625577812019</c:v>
                </c:pt>
                <c:pt idx="8">
                  <c:v>0.9479048697621744</c:v>
                </c:pt>
                <c:pt idx="9">
                  <c:v>0.9438775510204082</c:v>
                </c:pt>
                <c:pt idx="10">
                  <c:v>0.9952456418383518</c:v>
                </c:pt>
                <c:pt idx="11">
                  <c:v>0.995049504950495</c:v>
                </c:pt>
                <c:pt idx="12">
                  <c:v>0.6413934426229508</c:v>
                </c:pt>
                <c:pt idx="13">
                  <c:v>0.9966996699669967</c:v>
                </c:pt>
                <c:pt idx="14">
                  <c:v>0.9194029850746268</c:v>
                </c:pt>
                <c:pt idx="15">
                  <c:v>0.9964788732394366</c:v>
                </c:pt>
                <c:pt idx="16">
                  <c:v>0.9960474308300395</c:v>
                </c:pt>
                <c:pt idx="17">
                  <c:v>0.42168674698795183</c:v>
                </c:pt>
                <c:pt idx="18">
                  <c:v>0.6692913385826772</c:v>
                </c:pt>
                <c:pt idx="19">
                  <c:v>0.5725190839694656</c:v>
                </c:pt>
                <c:pt idx="20">
                  <c:v>0.9974160206718347</c:v>
                </c:pt>
                <c:pt idx="21">
                  <c:v>0.9608433734939759</c:v>
                </c:pt>
                <c:pt idx="22">
                  <c:v>0.9980276134122288</c:v>
                </c:pt>
                <c:pt idx="23">
                  <c:v>0.9795918367346939</c:v>
                </c:pt>
              </c:numCache>
            </c:numRef>
          </c:yVal>
          <c:smooth val="0"/>
          <c:extLst>
            <c:ext xmlns:c16="http://schemas.microsoft.com/office/drawing/2014/chart" uri="{C3380CC4-5D6E-409C-BE32-E72D297353CC}">
              <c16:uniqueId val="{00000000-F32D-48B7-BC20-E66FC6253BAD}"/>
            </c:ext>
          </c:extLst>
        </c:ser>
        <c:ser>
          <c:idx val="1"/>
          <c:order val="1"/>
          <c:tx>
            <c:strRef>
              <c:f>Sheet1!$B$2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8:$A$58</c:f>
              <c:numCache>
                <c:formatCode>General</c:formatCode>
                <c:ptCount val="31"/>
                <c:pt idx="0">
                  <c:v>1487.2622</c:v>
                </c:pt>
                <c:pt idx="1">
                  <c:v>1489.3774</c:v>
                </c:pt>
                <c:pt idx="2">
                  <c:v>1725.3249</c:v>
                </c:pt>
                <c:pt idx="3">
                  <c:v>1651.5152</c:v>
                </c:pt>
                <c:pt idx="4">
                  <c:v>1516.7692</c:v>
                </c:pt>
                <c:pt idx="5">
                  <c:v>1169.1723</c:v>
                </c:pt>
                <c:pt idx="6">
                  <c:v>1004.9271</c:v>
                </c:pt>
                <c:pt idx="7">
                  <c:v>945.0</c:v>
                </c:pt>
                <c:pt idx="8">
                  <c:v>1036.9337</c:v>
                </c:pt>
                <c:pt idx="9">
                  <c:v>1282.3592</c:v>
                </c:pt>
                <c:pt idx="10">
                  <c:v>1503.5623</c:v>
                </c:pt>
                <c:pt idx="11">
                  <c:v>1464.2769</c:v>
                </c:pt>
                <c:pt idx="12">
                  <c:v>1332.9069</c:v>
                </c:pt>
                <c:pt idx="13">
                  <c:v>1310.6291</c:v>
                </c:pt>
                <c:pt idx="14">
                  <c:v>1419.976</c:v>
                </c:pt>
                <c:pt idx="15">
                  <c:v>1539.5509</c:v>
                </c:pt>
                <c:pt idx="16">
                  <c:v>1669.805</c:v>
                </c:pt>
                <c:pt idx="17">
                  <c:v>1580.0482</c:v>
                </c:pt>
                <c:pt idx="18">
                  <c:v>1466.0</c:v>
                </c:pt>
                <c:pt idx="19">
                  <c:v>1569.4925</c:v>
                </c:pt>
                <c:pt idx="20">
                  <c:v>1543.0222</c:v>
                </c:pt>
                <c:pt idx="21">
                  <c:v>1571.4843</c:v>
                </c:pt>
                <c:pt idx="22">
                  <c:v>1605.9961</c:v>
                </c:pt>
                <c:pt idx="23">
                  <c:v>1717.3164</c:v>
                </c:pt>
                <c:pt idx="24">
                  <c:v>1649.7923</c:v>
                </c:pt>
                <c:pt idx="25">
                  <c:v>1592.4772</c:v>
                </c:pt>
                <c:pt idx="26">
                  <c:v>1499.3564</c:v>
                </c:pt>
                <c:pt idx="27">
                  <c:v>1485.6714</c:v>
                </c:pt>
                <c:pt idx="28">
                  <c:v>1466.5291</c:v>
                </c:pt>
                <c:pt idx="29">
                  <c:v>1378.8983</c:v>
                </c:pt>
                <c:pt idx="30">
                  <c:v>1375.4757</c:v>
                </c:pt>
              </c:numCache>
            </c:numRef>
          </c:xVal>
          <c:yVal>
            <c:numRef>
              <c:f>Sheet1!$B$28:$B$58</c:f>
              <c:numCache>
                <c:formatCode>General</c:formatCode>
                <c:ptCount val="31"/>
                <c:pt idx="0">
                  <c:v>0.9361702127659575</c:v>
                </c:pt>
                <c:pt idx="1">
                  <c:v>0.8928571428571429</c:v>
                </c:pt>
                <c:pt idx="2">
                  <c:v>0.9221789883268483</c:v>
                </c:pt>
                <c:pt idx="3">
                  <c:v>0.9252336448598131</c:v>
                </c:pt>
                <c:pt idx="4">
                  <c:v>0.9244444444444444</c:v>
                </c:pt>
                <c:pt idx="5">
                  <c:v>0.9558823529411765</c:v>
                </c:pt>
                <c:pt idx="6">
                  <c:v>0.9648351648351648</c:v>
                </c:pt>
                <c:pt idx="7">
                  <c:v>0.9266802443991853</c:v>
                </c:pt>
                <c:pt idx="8">
                  <c:v>0.9308641975308642</c:v>
                </c:pt>
                <c:pt idx="9">
                  <c:v>0.8982558139534884</c:v>
                </c:pt>
                <c:pt idx="10">
                  <c:v>0.8892215568862275</c:v>
                </c:pt>
                <c:pt idx="11">
                  <c:v>0.937984496124031</c:v>
                </c:pt>
                <c:pt idx="12">
                  <c:v>0.95662100456621</c:v>
                </c:pt>
                <c:pt idx="13">
                  <c:v>0.9508928571428571</c:v>
                </c:pt>
                <c:pt idx="14">
                  <c:v>0.9203539823008849</c:v>
                </c:pt>
                <c:pt idx="15">
                  <c:v>0.8769230769230769</c:v>
                </c:pt>
                <c:pt idx="16">
                  <c:v>0.9036885245901639</c:v>
                </c:pt>
                <c:pt idx="17">
                  <c:v>0.8691099476439791</c:v>
                </c:pt>
                <c:pt idx="18">
                  <c:v>0.804</c:v>
                </c:pt>
                <c:pt idx="19">
                  <c:v>0.8701298701298701</c:v>
                </c:pt>
                <c:pt idx="20">
                  <c:v>0.8530805687203792</c:v>
                </c:pt>
                <c:pt idx="21">
                  <c:v>0.8523489932885906</c:v>
                </c:pt>
                <c:pt idx="22">
                  <c:v>0.8388157894736842</c:v>
                </c:pt>
                <c:pt idx="23">
                  <c:v>0.843558282208589</c:v>
                </c:pt>
                <c:pt idx="24">
                  <c:v>0.858085808580858</c:v>
                </c:pt>
                <c:pt idx="25">
                  <c:v>0.8523316062176166</c:v>
                </c:pt>
                <c:pt idx="26">
                  <c:v>0.9298245614035088</c:v>
                </c:pt>
                <c:pt idx="27">
                  <c:v>0.9244663382594417</c:v>
                </c:pt>
                <c:pt idx="28">
                  <c:v>0.9396551724137931</c:v>
                </c:pt>
                <c:pt idx="29">
                  <c:v>0.9178910976663786</c:v>
                </c:pt>
                <c:pt idx="30">
                  <c:v>0.893719806763285</c:v>
                </c:pt>
              </c:numCache>
            </c:numRef>
          </c:yVal>
          <c:smooth val="0"/>
          <c:extLst>
            <c:ext xmlns:c16="http://schemas.microsoft.com/office/drawing/2014/chart" uri="{C3380CC4-5D6E-409C-BE32-E72D297353CC}">
              <c16:uniqueId val="{00000002-F32D-48B7-BC20-E66FC6253BAD}"/>
            </c:ext>
          </c:extLst>
        </c:ser>
        <c:ser>
          <c:idx val="2"/>
          <c:order val="2"/>
          <c:tx>
            <c:strRef>
              <c:f>Sheet1!$B$60</c:f>
              <c:strCache>
                <c:ptCount val="1"/>
                <c:pt idx="0">
                  <c:v>Custom Linep3yQ</c:v>
                </c:pt>
              </c:strCache>
            </c:strRef>
          </c:tx>
          <c:spPr>
            <a:ln w="19050" cap="rnd">
              <a:solidFill>
                <a:srgbClr val="C00000"/>
              </a:solidFill>
              <a:prstDash val="sysDot"/>
              <a:round/>
            </a:ln>
            <a:effectLst/>
          </c:spPr>
          <c:marker>
            <c:symbol val="none"/>
          </c:marker>
          <c:xVal>
            <c:numRef>
              <c:f>Sheet1!$A$61:$A$62</c:f>
              <c:numCache>
                <c:formatCode>General</c:formatCode>
                <c:ptCount val="2"/>
                <c:pt idx="0">
                  <c:v>0</c:v>
                </c:pt>
                <c:pt idx="1">
                  <c:v>581.3979929091137</c:v>
                </c:pt>
              </c:numCache>
            </c:numRef>
          </c:xVal>
          <c:yVal>
            <c:numRef>
              <c:f>Sheet1!$B$61:$B$62</c:f>
              <c:numCache>
                <c:formatCode>General</c:formatCode>
                <c:ptCount val="2"/>
                <c:pt idx="0">
                  <c:v>0.9980276134122288</c:v>
                </c:pt>
                <c:pt idx="1">
                  <c:v>0.9980276134122288</c:v>
                </c:pt>
              </c:numCache>
            </c:numRef>
          </c:yVal>
          <c:smooth val="0"/>
          <c:extLst>
            <c:ext xmlns:c16="http://schemas.microsoft.com/office/drawing/2014/chart" uri="{C3380CC4-5D6E-409C-BE32-E72D297353CC}">
              <c16:uniqueId val="{00000003-F32D-48B7-BC20-E66FC6253BAD}"/>
            </c:ext>
          </c:extLst>
        </c:ser>
        <c:ser>
          <c:idx val="3"/>
          <c:order val="3"/>
          <c:tx>
            <c:strRef>
              <c:f>Sheet1!$B$6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5:$A$66</c:f>
              <c:numCache>
                <c:formatCode>General</c:formatCode>
                <c:ptCount val="2"/>
                <c:pt idx="0">
                  <c:v>581.3979929091137</c:v>
                </c:pt>
                <c:pt idx="1">
                  <c:v>581.3979929091137</c:v>
                </c:pt>
              </c:numCache>
            </c:numRef>
          </c:xVal>
          <c:yVal>
            <c:numRef>
              <c:f>Sheet1!$B$65:$B$66</c:f>
              <c:numCache>
                <c:formatCode>General</c:formatCode>
                <c:ptCount val="2"/>
                <c:pt idx="0">
                  <c:v>0.998027613412228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9:$A$70</c:f>
              <c:numCache>
                <c:formatCode>General</c:formatCode>
                <c:ptCount val="2"/>
                <c:pt idx="0">
                  <c:v>0</c:v>
                </c:pt>
                <c:pt idx="1">
                  <c:v>1142.6585894350237</c:v>
                </c:pt>
              </c:numCache>
            </c:numRef>
          </c:xVal>
          <c:yVal>
            <c:numRef>
              <c:f>Sheet1!$B$69:$B$70</c:f>
              <c:numCache>
                <c:formatCode>General</c:formatCode>
                <c:ptCount val="2"/>
                <c:pt idx="0">
                  <c:v>0.9361702127659575</c:v>
                </c:pt>
                <c:pt idx="1">
                  <c:v>0.9361702127659575</c:v>
                </c:pt>
              </c:numCache>
            </c:numRef>
          </c:yVal>
          <c:smooth val="0"/>
          <c:extLst>
            <c:ext xmlns:c16="http://schemas.microsoft.com/office/drawing/2014/chart" uri="{C3380CC4-5D6E-409C-BE32-E72D297353CC}">
              <c16:uniqueId val="{0000000A-F32D-48B7-BC20-E66FC6253BAD}"/>
            </c:ext>
          </c:extLst>
        </c:ser>
        <c:ser>
          <c:idx val="5"/>
          <c:order val="5"/>
          <c:tx>
            <c:strRef>
              <c:f>Sheet1!$B$7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3:$A$74</c:f>
              <c:numCache>
                <c:formatCode>General</c:formatCode>
                <c:ptCount val="2"/>
                <c:pt idx="0">
                  <c:v>1142.6585894350237</c:v>
                </c:pt>
                <c:pt idx="1">
                  <c:v>1142.6585894350237</c:v>
                </c:pt>
              </c:numCache>
            </c:numRef>
          </c:xVal>
          <c:yVal>
            <c:numRef>
              <c:f>Sheet1!$B$73:$B$74</c:f>
              <c:numCache>
                <c:formatCode>General</c:formatCode>
                <c:ptCount val="2"/>
                <c:pt idx="0">
                  <c:v>0.936170212765957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7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77:$A$78</c:f>
              <c:numCache>
                <c:formatCode>General</c:formatCode>
                <c:ptCount val="2"/>
                <c:pt idx="0">
                  <c:v>0</c:v>
                </c:pt>
                <c:pt idx="1">
                  <c:v>1606.316589434905</c:v>
                </c:pt>
              </c:numCache>
            </c:numRef>
          </c:xVal>
          <c:yVal>
            <c:numRef>
              <c:f>Sheet1!$B$77:$B$78</c:f>
              <c:numCache>
                <c:formatCode>General</c:formatCode>
                <c:ptCount val="2"/>
                <c:pt idx="0">
                  <c:v>0.8850697456275745</c:v>
                </c:pt>
                <c:pt idx="1">
                  <c:v>0.8850697456275745</c:v>
                </c:pt>
              </c:numCache>
            </c:numRef>
          </c:yVal>
          <c:smooth val="0"/>
          <c:extLst>
            <c:ext xmlns:c16="http://schemas.microsoft.com/office/drawing/2014/chart" uri="{C3380CC4-5D6E-409C-BE32-E72D297353CC}">
              <c16:uniqueId val="{00000011-F32D-48B7-BC20-E66FC6253BAD}"/>
            </c:ext>
          </c:extLst>
        </c:ser>
        <c:ser>
          <c:idx val="7"/>
          <c:order val="7"/>
          <c:tx>
            <c:strRef>
              <c:f>Sheet1!$B$8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1:$A$82</c:f>
              <c:numCache>
                <c:formatCode>General</c:formatCode>
                <c:ptCount val="2"/>
                <c:pt idx="0">
                  <c:v>1606.316589434905</c:v>
                </c:pt>
                <c:pt idx="1">
                  <c:v>1606.316589434905</c:v>
                </c:pt>
              </c:numCache>
            </c:numRef>
          </c:xVal>
          <c:yVal>
            <c:numRef>
              <c:f>Sheet1!$B$81:$B$82</c:f>
              <c:numCache>
                <c:formatCode>General</c:formatCode>
                <c:ptCount val="2"/>
                <c:pt idx="0">
                  <c:v>0.88506974562757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8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85:$A$118</c:f>
              <c:numCache>
                <c:formatCode>General</c:formatCode>
                <c:ptCount val="34"/>
                <c:pt idx="0">
                  <c:v>1487.2622</c:v>
                </c:pt>
                <c:pt idx="1">
                  <c:v>1489.3774</c:v>
                </c:pt>
                <c:pt idx="2">
                  <c:v>1725.3249</c:v>
                </c:pt>
                <c:pt idx="3">
                  <c:v>1651.5152</c:v>
                </c:pt>
                <c:pt idx="4">
                  <c:v>1516.7692</c:v>
                </c:pt>
                <c:pt idx="5">
                  <c:v>1169.1723</c:v>
                </c:pt>
                <c:pt idx="6">
                  <c:v>1004.9271</c:v>
                </c:pt>
                <c:pt idx="7">
                  <c:v>945.0</c:v>
                </c:pt>
                <c:pt idx="8">
                  <c:v>1036.9337</c:v>
                </c:pt>
                <c:pt idx="9">
                  <c:v>1282.3592</c:v>
                </c:pt>
                <c:pt idx="10">
                  <c:v>1503.5623</c:v>
                </c:pt>
                <c:pt idx="11">
                  <c:v>1464.2769</c:v>
                </c:pt>
                <c:pt idx="12">
                  <c:v>1332.9069</c:v>
                </c:pt>
                <c:pt idx="13">
                  <c:v>1310.6291</c:v>
                </c:pt>
                <c:pt idx="14">
                  <c:v>1419.976</c:v>
                </c:pt>
                <c:pt idx="15">
                  <c:v>1539.5509</c:v>
                </c:pt>
                <c:pt idx="16">
                  <c:v>1669.805</c:v>
                </c:pt>
                <c:pt idx="17">
                  <c:v>1580.0482</c:v>
                </c:pt>
                <c:pt idx="18">
                  <c:v>1466.0</c:v>
                </c:pt>
                <c:pt idx="19">
                  <c:v>1569.4925</c:v>
                </c:pt>
                <c:pt idx="20">
                  <c:v>1543.0222</c:v>
                </c:pt>
                <c:pt idx="21">
                  <c:v>1571.4843</c:v>
                </c:pt>
                <c:pt idx="22">
                  <c:v>1605.9961</c:v>
                </c:pt>
                <c:pt idx="23">
                  <c:v>1717.3164</c:v>
                </c:pt>
                <c:pt idx="24">
                  <c:v>1649.7923</c:v>
                </c:pt>
                <c:pt idx="25">
                  <c:v>1592.4772</c:v>
                </c:pt>
                <c:pt idx="26">
                  <c:v>1499.3564</c:v>
                </c:pt>
                <c:pt idx="27">
                  <c:v>1485.6714</c:v>
                </c:pt>
                <c:pt idx="28">
                  <c:v>1466.5291</c:v>
                </c:pt>
                <c:pt idx="29">
                  <c:v>1378.8983</c:v>
                </c:pt>
                <c:pt idx="30">
                  <c:v>1375.4757</c:v>
                </c:pt>
                <c:pt idx="31">
                  <c:v>1142.6585894350237</c:v>
                </c:pt>
                <c:pt idx="32">
                  <c:v>581.3979929091137</c:v>
                </c:pt>
                <c:pt idx="33">
                  <c:v>1606.316589434905</c:v>
                </c:pt>
              </c:numCache>
            </c:numRef>
          </c:xVal>
          <c:yVal>
            <c:numRef>
              <c:f>Sheet1!$B$85:$B$118</c:f>
              <c:numCache>
                <c:formatCode>General</c:formatCode>
                <c:ptCount val="34"/>
                <c:pt idx="0">
                  <c:v>0.8981909144955766</c:v>
                </c:pt>
                <c:pt idx="1">
                  <c:v>0.8979577950237005</c:v>
                </c:pt>
                <c:pt idx="2">
                  <c:v>0.871953655183265</c:v>
                </c:pt>
                <c:pt idx="3">
                  <c:v>0.8800883366712255</c:v>
                </c:pt>
                <c:pt idx="4">
                  <c:v>0.894938902271367</c:v>
                </c:pt>
                <c:pt idx="5">
                  <c:v>0.9332480956118427</c:v>
                </c:pt>
                <c:pt idx="6">
                  <c:v>0.951349813786099</c:v>
                </c:pt>
                <c:pt idx="7">
                  <c:v>0.9579544724013916</c:v>
                </c:pt>
                <c:pt idx="8">
                  <c:v>0.947822316769954</c:v>
                </c:pt>
                <c:pt idx="9">
                  <c:v>0.9207735918527209</c:v>
                </c:pt>
                <c:pt idx="10">
                  <c:v>0.8963944551992795</c:v>
                </c:pt>
                <c:pt idx="11">
                  <c:v>0.9007241600500935</c:v>
                </c:pt>
                <c:pt idx="12">
                  <c:v>0.9152026514553342</c:v>
                </c:pt>
                <c:pt idx="13">
                  <c:v>0.9176579223377859</c:v>
                </c:pt>
                <c:pt idx="14">
                  <c:v>0.9056066309330533</c:v>
                </c:pt>
                <c:pt idx="15">
                  <c:v>0.8924280957885568</c:v>
                </c:pt>
                <c:pt idx="16">
                  <c:v>0.8780725894526553</c:v>
                </c:pt>
                <c:pt idx="17">
                  <c:v>0.8879648255595436</c:v>
                </c:pt>
                <c:pt idx="18">
                  <c:v>0.9005342545272164</c:v>
                </c:pt>
                <c:pt idx="19">
                  <c:v>0.8891281856244465</c:v>
                </c:pt>
                <c:pt idx="20">
                  <c:v>0.8920455184328818</c:v>
                </c:pt>
                <c:pt idx="21">
                  <c:v>0.8889086662579172</c:v>
                </c:pt>
                <c:pt idx="22">
                  <c:v>0.8851050672651534</c:v>
                </c:pt>
                <c:pt idx="23">
                  <c:v>0.8728362843864229</c:v>
                </c:pt>
                <c:pt idx="24">
                  <c:v>0.8802782201517926</c:v>
                </c:pt>
                <c:pt idx="25">
                  <c:v>0.88659500619686</c:v>
                </c:pt>
                <c:pt idx="26">
                  <c:v>0.8968579939600414</c:v>
                </c:pt>
                <c:pt idx="27">
                  <c:v>0.8983662390303064</c:v>
                </c:pt>
                <c:pt idx="28">
                  <c:v>0.9004759415957821</c:v>
                </c:pt>
                <c:pt idx="29">
                  <c:v>0.9101338679460476</c:v>
                </c:pt>
                <c:pt idx="30">
                  <c:v>0.9105110779992072</c:v>
                </c:pt>
                <c:pt idx="31">
                  <c:v>0.9361702127659575</c:v>
                </c:pt>
                <c:pt idx="32">
                  <c:v>0.9980276134122288</c:v>
                </c:pt>
                <c:pt idx="33">
                  <c:v>0.885069745627574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70.0"/>
          <c:min val="46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76331360946746"/>
          <c:min val="0.337349397590361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19</c:f>
              <c:numCache>
                <c:formatCode>General</c:formatCode>
                <c:ptCount val="16"/>
                <c:pt idx="0">
                  <c:v>1.4009686400953072</c:v>
                </c:pt>
                <c:pt idx="1">
                  <c:v>1.5372609476804184</c:v>
                </c:pt>
                <c:pt idx="2">
                  <c:v>1.9011058460716468</c:v>
                </c:pt>
                <c:pt idx="3">
                  <c:v>2.2290408790789127</c:v>
                </c:pt>
                <c:pt idx="4">
                  <c:v>2.342764035386056</c:v>
                </c:pt>
                <c:pt idx="5">
                  <c:v>2.5409741893612052</c:v>
                </c:pt>
                <c:pt idx="6">
                  <c:v>2.404389550963514</c:v>
                </c:pt>
                <c:pt idx="7">
                  <c:v>2.230840224818782</c:v>
                </c:pt>
                <c:pt idx="8">
                  <c:v>2.41977434552076</c:v>
                </c:pt>
                <c:pt idx="9">
                  <c:v>2.3789636039222892</c:v>
                </c:pt>
                <c:pt idx="10">
                  <c:v>2.422845214952381</c:v>
                </c:pt>
                <c:pt idx="11">
                  <c:v>2.4760539867418245</c:v>
                </c:pt>
                <c:pt idx="12">
                  <c:v>2.534083039749147</c:v>
                </c:pt>
                <c:pt idx="13">
                  <c:v>2.4344440468505026</c:v>
                </c:pt>
                <c:pt idx="14">
                  <c:v>2.349869519505672</c:v>
                </c:pt>
                <c:pt idx="15">
                  <c:v>2.4017966983307204</c:v>
                </c:pt>
              </c:numCache>
            </c:numRef>
          </c:xVal>
          <c:yVal>
            <c:numRef>
              <c:f>Sheet1!$B$4:$B$19</c:f>
              <c:numCache>
                <c:formatCode>General</c:formatCode>
                <c:ptCount val="16"/>
                <c:pt idx="0">
                  <c:v>0.9266802443991853</c:v>
                </c:pt>
                <c:pt idx="1">
                  <c:v>0.9308641975308642</c:v>
                </c:pt>
                <c:pt idx="2">
                  <c:v>0.8982558139534884</c:v>
                </c:pt>
                <c:pt idx="3">
                  <c:v>0.8892215568862275</c:v>
                </c:pt>
                <c:pt idx="4">
                  <c:v>0.8769230769230769</c:v>
                </c:pt>
                <c:pt idx="5">
                  <c:v>0.9036885245901639</c:v>
                </c:pt>
                <c:pt idx="6">
                  <c:v>0.8691099476439791</c:v>
                </c:pt>
                <c:pt idx="7">
                  <c:v>0.804</c:v>
                </c:pt>
                <c:pt idx="8">
                  <c:v>0.8701298701298701</c:v>
                </c:pt>
                <c:pt idx="9">
                  <c:v>0.8530805687203792</c:v>
                </c:pt>
                <c:pt idx="10">
                  <c:v>0.8523489932885906</c:v>
                </c:pt>
                <c:pt idx="11">
                  <c:v>0.8388157894736842</c:v>
                </c:pt>
                <c:pt idx="12">
                  <c:v>0.843558282208589</c:v>
                </c:pt>
                <c:pt idx="13">
                  <c:v>0.858085808580858</c:v>
                </c:pt>
                <c:pt idx="14">
                  <c:v>0.8523316062176166</c:v>
                </c:pt>
                <c:pt idx="15">
                  <c:v>0.8880407124681934</c:v>
                </c:pt>
              </c:numCache>
            </c:numRef>
          </c:yVal>
          <c:smooth val="0"/>
          <c:extLst>
            <c:ext xmlns:c16="http://schemas.microsoft.com/office/drawing/2014/chart" uri="{C3380CC4-5D6E-409C-BE32-E72D297353CC}">
              <c16:uniqueId val="{00000002-096C-4121-9522-6AB7243CCAAE}"/>
            </c:ext>
          </c:extLst>
        </c:ser>
        <c:ser>
          <c:idx val="2"/>
          <c:order val="2"/>
          <c:tx>
            <c:strRef>
              <c:f>Sheet1!$B$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2:$A$23</c:f>
              <c:numCache>
                <c:formatCode>General</c:formatCode>
                <c:ptCount val="2"/>
                <c:pt idx="0">
                  <c:v>0</c:v>
                </c:pt>
                <c:pt idx="1">
                  <c:v>1.7476409404677857</c:v>
                </c:pt>
              </c:numCache>
            </c:numRef>
          </c:xVal>
          <c:yVal>
            <c:numRef>
              <c:f>Sheet1!$B$22:$B$23</c:f>
              <c:numCache>
                <c:formatCode>General</c:formatCode>
                <c:ptCount val="2"/>
                <c:pt idx="0">
                  <c:v>0.9042722357138344</c:v>
                </c:pt>
                <c:pt idx="1">
                  <c:v>0.9042722357138344</c:v>
                </c:pt>
              </c:numCache>
            </c:numRef>
          </c:yVal>
          <c:smooth val="0"/>
          <c:extLst>
            <c:ext xmlns:c16="http://schemas.microsoft.com/office/drawing/2014/chart" uri="{C3380CC4-5D6E-409C-BE32-E72D297353CC}">
              <c16:uniqueId val="{00000005-096C-4121-9522-6AB7243CCAAE}"/>
            </c:ext>
          </c:extLst>
        </c:ser>
        <c:ser>
          <c:idx val="3"/>
          <c:order val="3"/>
          <c:tx>
            <c:strRef>
              <c:f>Sheet1!$B$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6:$A$27</c:f>
              <c:numCache>
                <c:formatCode>General</c:formatCode>
                <c:ptCount val="2"/>
                <c:pt idx="0">
                  <c:v>1.7476409404677857</c:v>
                </c:pt>
                <c:pt idx="1">
                  <c:v>1.7476409404677857</c:v>
                </c:pt>
              </c:numCache>
            </c:numRef>
          </c:xVal>
          <c:yVal>
            <c:numRef>
              <c:f>Sheet1!$B$26:$B$27</c:f>
              <c:numCache>
                <c:formatCode>General</c:formatCode>
                <c:ptCount val="2"/>
                <c:pt idx="0">
                  <c:v>0.904272235713834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0:$A$31</c:f>
              <c:numCache>
                <c:formatCode>General</c:formatCode>
                <c:ptCount val="2"/>
                <c:pt idx="0">
                  <c:v>0</c:v>
                </c:pt>
                <c:pt idx="1">
                  <c:v>1.7476409404677857</c:v>
                </c:pt>
              </c:numCache>
            </c:numRef>
          </c:xVal>
          <c:yVal>
            <c:numRef>
              <c:f>Sheet1!$B$30:$B$31</c:f>
              <c:numCache>
                <c:formatCode>General</c:formatCode>
                <c:ptCount val="2"/>
                <c:pt idx="0">
                  <c:v>0.9042722357138344</c:v>
                </c:pt>
                <c:pt idx="1">
                  <c:v>0.9042722357138344</c:v>
                </c:pt>
              </c:numCache>
            </c:numRef>
          </c:yVal>
          <c:smooth val="0"/>
          <c:extLst>
            <c:ext xmlns:c16="http://schemas.microsoft.com/office/drawing/2014/chart" uri="{C3380CC4-5D6E-409C-BE32-E72D297353CC}">
              <c16:uniqueId val="{0000000D-096C-4121-9522-6AB7243CCAAE}"/>
            </c:ext>
          </c:extLst>
        </c:ser>
        <c:ser>
          <c:idx val="5"/>
          <c:order val="5"/>
          <c:tx>
            <c:strRef>
              <c:f>Sheet1!$B$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4:$A$35</c:f>
              <c:numCache>
                <c:formatCode>General</c:formatCode>
                <c:ptCount val="2"/>
                <c:pt idx="0">
                  <c:v>1.7476409404677857</c:v>
                </c:pt>
                <c:pt idx="1">
                  <c:v>1.7476409404677857</c:v>
                </c:pt>
              </c:numCache>
            </c:numRef>
          </c:xVal>
          <c:yVal>
            <c:numRef>
              <c:f>Sheet1!$B$34:$B$35</c:f>
              <c:numCache>
                <c:formatCode>General</c:formatCode>
                <c:ptCount val="2"/>
                <c:pt idx="0">
                  <c:v>0.904272235713834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8:$A$39</c:f>
              <c:numCache>
                <c:formatCode>General</c:formatCode>
                <c:ptCount val="2"/>
                <c:pt idx="0">
                  <c:v>0</c:v>
                </c:pt>
                <c:pt idx="1">
                  <c:v>2.5114999017780737</c:v>
                </c:pt>
              </c:numCache>
            </c:numRef>
          </c:xVal>
          <c:yVal>
            <c:numRef>
              <c:f>Sheet1!$B$38:$B$39</c:f>
              <c:numCache>
                <c:formatCode>General</c:formatCode>
                <c:ptCount val="2"/>
                <c:pt idx="0">
                  <c:v>0.8555301987062554</c:v>
                </c:pt>
                <c:pt idx="1">
                  <c:v>0.8555301987062554</c:v>
                </c:pt>
              </c:numCache>
            </c:numRef>
          </c:yVal>
          <c:smooth val="0"/>
          <c:extLst>
            <c:ext xmlns:c16="http://schemas.microsoft.com/office/drawing/2014/chart" uri="{C3380CC4-5D6E-409C-BE32-E72D297353CC}">
              <c16:uniqueId val="{00000015-096C-4121-9522-6AB7243CCAAE}"/>
            </c:ext>
          </c:extLst>
        </c:ser>
        <c:ser>
          <c:idx val="7"/>
          <c:order val="7"/>
          <c:tx>
            <c:strRef>
              <c:f>Sheet1!$B$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2:$A$43</c:f>
              <c:numCache>
                <c:formatCode>General</c:formatCode>
                <c:ptCount val="2"/>
                <c:pt idx="0">
                  <c:v>2.5114999017780737</c:v>
                </c:pt>
                <c:pt idx="1">
                  <c:v>2.5114999017780737</c:v>
                </c:pt>
              </c:numCache>
            </c:numRef>
          </c:xVal>
          <c:yVal>
            <c:numRef>
              <c:f>Sheet1!$B$42:$B$43</c:f>
              <c:numCache>
                <c:formatCode>General</c:formatCode>
                <c:ptCount val="2"/>
                <c:pt idx="0">
                  <c:v>0.85553019870625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6:$A$64</c:f>
              <c:numCache>
                <c:formatCode>General</c:formatCode>
                <c:ptCount val="19"/>
                <c:pt idx="0">
                  <c:v>1.4009686400953072</c:v>
                </c:pt>
                <c:pt idx="1">
                  <c:v>1.5372609476804184</c:v>
                </c:pt>
                <c:pt idx="2">
                  <c:v>1.9011058460716468</c:v>
                </c:pt>
                <c:pt idx="3">
                  <c:v>2.2290408790789127</c:v>
                </c:pt>
                <c:pt idx="4">
                  <c:v>2.342764035386056</c:v>
                </c:pt>
                <c:pt idx="5">
                  <c:v>2.5409741893612052</c:v>
                </c:pt>
                <c:pt idx="6">
                  <c:v>2.404389550963514</c:v>
                </c:pt>
                <c:pt idx="7">
                  <c:v>2.230840224818782</c:v>
                </c:pt>
                <c:pt idx="8">
                  <c:v>2.41977434552076</c:v>
                </c:pt>
                <c:pt idx="9">
                  <c:v>2.3789636039222892</c:v>
                </c:pt>
                <c:pt idx="10">
                  <c:v>2.422845214952381</c:v>
                </c:pt>
                <c:pt idx="11">
                  <c:v>2.4760539867418245</c:v>
                </c:pt>
                <c:pt idx="12">
                  <c:v>2.534083039749147</c:v>
                </c:pt>
                <c:pt idx="13">
                  <c:v>2.4344440468505026</c:v>
                </c:pt>
                <c:pt idx="14">
                  <c:v>2.349869519505672</c:v>
                </c:pt>
                <c:pt idx="15">
                  <c:v>2.4017966983307204</c:v>
                </c:pt>
                <c:pt idx="16">
                  <c:v>1.7476409404677857</c:v>
                </c:pt>
                <c:pt idx="17">
                  <c:v>1.7476409404677857</c:v>
                </c:pt>
                <c:pt idx="18">
                  <c:v>2.5114999017780737</c:v>
                </c:pt>
              </c:numCache>
            </c:numRef>
          </c:xVal>
          <c:yVal>
            <c:numRef>
              <c:f>Sheet1!$B$46:$B$64</c:f>
              <c:numCache>
                <c:formatCode>General</c:formatCode>
                <c:ptCount val="19"/>
                <c:pt idx="0">
                  <c:v>0.9263934844654007</c:v>
                </c:pt>
                <c:pt idx="1">
                  <c:v>0.9176966372244304</c:v>
                </c:pt>
                <c:pt idx="2">
                  <c:v>0.8944796005715081</c:v>
                </c:pt>
                <c:pt idx="3">
                  <c:v>0.873553981675183</c:v>
                </c:pt>
                <c:pt idx="4">
                  <c:v>0.8662972777886002</c:v>
                </c:pt>
                <c:pt idx="5">
                  <c:v>0.8536494368262288</c:v>
                </c:pt>
                <c:pt idx="6">
                  <c:v>0.8623649377716223</c:v>
                </c:pt>
                <c:pt idx="7">
                  <c:v>0.8734391649602076</c:v>
                </c:pt>
                <c:pt idx="8">
                  <c:v>0.8613832300694871</c:v>
                </c:pt>
                <c:pt idx="9">
                  <c:v>0.8639873739992607</c:v>
                </c:pt>
                <c:pt idx="10">
                  <c:v>0.8611872771003359</c:v>
                </c:pt>
                <c:pt idx="11">
                  <c:v>0.8577920116717022</c:v>
                </c:pt>
                <c:pt idx="12">
                  <c:v>0.8540891628573793</c:v>
                </c:pt>
                <c:pt idx="13">
                  <c:v>0.8604471526503286</c:v>
                </c:pt>
                <c:pt idx="14">
                  <c:v>0.8658438750173334</c:v>
                </c:pt>
                <c:pt idx="15">
                  <c:v>0.8625303883657556</c:v>
                </c:pt>
                <c:pt idx="16">
                  <c:v>0.9042722357138344</c:v>
                </c:pt>
                <c:pt idx="17">
                  <c:v>0.9042722357138344</c:v>
                </c:pt>
                <c:pt idx="18">
                  <c:v>0.85553019870625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17037037037037"/>
          <c:min val="0.643200000000000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19</c:f>
              <c:numCache>
                <c:formatCode>General</c:formatCode>
                <c:ptCount val="16"/>
                <c:pt idx="0">
                  <c:v>945.0</c:v>
                </c:pt>
                <c:pt idx="1">
                  <c:v>1036.9337</c:v>
                </c:pt>
                <c:pt idx="2">
                  <c:v>1282.3592</c:v>
                </c:pt>
                <c:pt idx="3">
                  <c:v>1503.5623</c:v>
                </c:pt>
                <c:pt idx="4">
                  <c:v>1539.5509</c:v>
                </c:pt>
                <c:pt idx="5">
                  <c:v>1669.805</c:v>
                </c:pt>
                <c:pt idx="6">
                  <c:v>1580.0482</c:v>
                </c:pt>
                <c:pt idx="7">
                  <c:v>1466.0</c:v>
                </c:pt>
                <c:pt idx="8">
                  <c:v>1569.4925</c:v>
                </c:pt>
                <c:pt idx="9">
                  <c:v>1543.0222</c:v>
                </c:pt>
                <c:pt idx="10">
                  <c:v>1571.4843</c:v>
                </c:pt>
                <c:pt idx="11">
                  <c:v>1605.9961</c:v>
                </c:pt>
                <c:pt idx="12">
                  <c:v>1717.3164</c:v>
                </c:pt>
                <c:pt idx="13">
                  <c:v>1649.7923</c:v>
                </c:pt>
                <c:pt idx="14">
                  <c:v>1592.4772</c:v>
                </c:pt>
                <c:pt idx="15">
                  <c:v>1627.6676</c:v>
                </c:pt>
              </c:numCache>
            </c:numRef>
          </c:xVal>
          <c:yVal>
            <c:numRef>
              <c:f>Sheet1!$B$4:$B$19</c:f>
              <c:numCache>
                <c:formatCode>General</c:formatCode>
                <c:ptCount val="16"/>
                <c:pt idx="0">
                  <c:v>0.9266802443991853</c:v>
                </c:pt>
                <c:pt idx="1">
                  <c:v>0.9308641975308642</c:v>
                </c:pt>
                <c:pt idx="2">
                  <c:v>0.8982558139534884</c:v>
                </c:pt>
                <c:pt idx="3">
                  <c:v>0.8892215568862275</c:v>
                </c:pt>
                <c:pt idx="4">
                  <c:v>0.8769230769230769</c:v>
                </c:pt>
                <c:pt idx="5">
                  <c:v>0.9036885245901639</c:v>
                </c:pt>
                <c:pt idx="6">
                  <c:v>0.8691099476439791</c:v>
                </c:pt>
                <c:pt idx="7">
                  <c:v>0.804</c:v>
                </c:pt>
                <c:pt idx="8">
                  <c:v>0.8701298701298701</c:v>
                </c:pt>
                <c:pt idx="9">
                  <c:v>0.8530805687203792</c:v>
                </c:pt>
                <c:pt idx="10">
                  <c:v>0.8523489932885906</c:v>
                </c:pt>
                <c:pt idx="11">
                  <c:v>0.8388157894736842</c:v>
                </c:pt>
                <c:pt idx="12">
                  <c:v>0.843558282208589</c:v>
                </c:pt>
                <c:pt idx="13">
                  <c:v>0.858085808580858</c:v>
                </c:pt>
                <c:pt idx="14">
                  <c:v>0.8523316062176166</c:v>
                </c:pt>
                <c:pt idx="15">
                  <c:v>0.8880407124681934</c:v>
                </c:pt>
              </c:numCache>
            </c:numRef>
          </c:yVal>
          <c:smooth val="0"/>
          <c:extLst>
            <c:ext xmlns:c16="http://schemas.microsoft.com/office/drawing/2014/chart" uri="{C3380CC4-5D6E-409C-BE32-E72D297353CC}">
              <c16:uniqueId val="{00000002-F32D-48B7-BC20-E66FC6253BAD}"/>
            </c:ext>
          </c:extLst>
        </c:ser>
        <c:ser>
          <c:idx val="2"/>
          <c:order val="2"/>
          <c:tx>
            <c:strRef>
              <c:f>Sheet1!$B$21</c:f>
              <c:strCache>
                <c:ptCount val="1"/>
                <c:pt idx="0">
                  <c:v>Custom Linep3yQ</c:v>
                </c:pt>
              </c:strCache>
            </c:strRef>
          </c:tx>
          <c:spPr>
            <a:ln w="19050" cap="rnd">
              <a:solidFill>
                <a:srgbClr val="C00000"/>
              </a:solidFill>
              <a:prstDash val="sysDot"/>
              <a:round/>
            </a:ln>
            <a:effectLst/>
          </c:spPr>
          <c:marker>
            <c:symbol val="none"/>
          </c:marker>
          <c:xVal>
            <c:numRef>
              <c:f>Sheet1!$A$22:$A$23</c:f>
              <c:numCache>
                <c:formatCode>General</c:formatCode>
                <c:ptCount val="2"/>
                <c:pt idx="0">
                  <c:v>0</c:v>
                </c:pt>
                <c:pt idx="1">
                  <c:v>1159.2300773087443</c:v>
                </c:pt>
              </c:numCache>
            </c:numRef>
          </c:xVal>
          <c:yVal>
            <c:numRef>
              <c:f>Sheet1!$B$22:$B$23</c:f>
              <c:numCache>
                <c:formatCode>General</c:formatCode>
                <c:ptCount val="2"/>
                <c:pt idx="0">
                  <c:v>0.9042722357138344</c:v>
                </c:pt>
                <c:pt idx="1">
                  <c:v>0.9042722357138344</c:v>
                </c:pt>
              </c:numCache>
            </c:numRef>
          </c:yVal>
          <c:smooth val="0"/>
          <c:extLst>
            <c:ext xmlns:c16="http://schemas.microsoft.com/office/drawing/2014/chart" uri="{C3380CC4-5D6E-409C-BE32-E72D297353CC}">
              <c16:uniqueId val="{00000003-F32D-48B7-BC20-E66FC6253BAD}"/>
            </c:ext>
          </c:extLst>
        </c:ser>
        <c:ser>
          <c:idx val="3"/>
          <c:order val="3"/>
          <c:tx>
            <c:strRef>
              <c:f>Sheet1!$B$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6:$A$27</c:f>
              <c:numCache>
                <c:formatCode>General</c:formatCode>
                <c:ptCount val="2"/>
                <c:pt idx="0">
                  <c:v>1159.2300773087443</c:v>
                </c:pt>
                <c:pt idx="1">
                  <c:v>1159.2300773087443</c:v>
                </c:pt>
              </c:numCache>
            </c:numRef>
          </c:xVal>
          <c:yVal>
            <c:numRef>
              <c:f>Sheet1!$B$26:$B$27</c:f>
              <c:numCache>
                <c:formatCode>General</c:formatCode>
                <c:ptCount val="2"/>
                <c:pt idx="0">
                  <c:v>0.904272235713834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0:$A$31</c:f>
              <c:numCache>
                <c:formatCode>General</c:formatCode>
                <c:ptCount val="2"/>
                <c:pt idx="0">
                  <c:v>0</c:v>
                </c:pt>
                <c:pt idx="1">
                  <c:v>1159.2300773087443</c:v>
                </c:pt>
              </c:numCache>
            </c:numRef>
          </c:xVal>
          <c:yVal>
            <c:numRef>
              <c:f>Sheet1!$B$30:$B$31</c:f>
              <c:numCache>
                <c:formatCode>General</c:formatCode>
                <c:ptCount val="2"/>
                <c:pt idx="0">
                  <c:v>0.9042722357138344</c:v>
                </c:pt>
                <c:pt idx="1">
                  <c:v>0.9042722357138344</c:v>
                </c:pt>
              </c:numCache>
            </c:numRef>
          </c:yVal>
          <c:smooth val="0"/>
          <c:extLst>
            <c:ext xmlns:c16="http://schemas.microsoft.com/office/drawing/2014/chart" uri="{C3380CC4-5D6E-409C-BE32-E72D297353CC}">
              <c16:uniqueId val="{0000000A-F32D-48B7-BC20-E66FC6253BAD}"/>
            </c:ext>
          </c:extLst>
        </c:ser>
        <c:ser>
          <c:idx val="5"/>
          <c:order val="5"/>
          <c:tx>
            <c:strRef>
              <c:f>Sheet1!$B$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4:$A$35</c:f>
              <c:numCache>
                <c:formatCode>General</c:formatCode>
                <c:ptCount val="2"/>
                <c:pt idx="0">
                  <c:v>1159.2300773087443</c:v>
                </c:pt>
                <c:pt idx="1">
                  <c:v>1159.2300773087443</c:v>
                </c:pt>
              </c:numCache>
            </c:numRef>
          </c:xVal>
          <c:yVal>
            <c:numRef>
              <c:f>Sheet1!$B$34:$B$35</c:f>
              <c:numCache>
                <c:formatCode>General</c:formatCode>
                <c:ptCount val="2"/>
                <c:pt idx="0">
                  <c:v>0.904272235713834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8:$A$39</c:f>
              <c:numCache>
                <c:formatCode>General</c:formatCode>
                <c:ptCount val="2"/>
                <c:pt idx="0">
                  <c:v>0</c:v>
                </c:pt>
                <c:pt idx="1">
                  <c:v>1667.6032497981394</c:v>
                </c:pt>
              </c:numCache>
            </c:numRef>
          </c:xVal>
          <c:yVal>
            <c:numRef>
              <c:f>Sheet1!$B$38:$B$39</c:f>
              <c:numCache>
                <c:formatCode>General</c:formatCode>
                <c:ptCount val="2"/>
                <c:pt idx="0">
                  <c:v>0.8555301987062554</c:v>
                </c:pt>
                <c:pt idx="1">
                  <c:v>0.8555301987062554</c:v>
                </c:pt>
              </c:numCache>
            </c:numRef>
          </c:yVal>
          <c:smooth val="0"/>
          <c:extLst>
            <c:ext xmlns:c16="http://schemas.microsoft.com/office/drawing/2014/chart" uri="{C3380CC4-5D6E-409C-BE32-E72D297353CC}">
              <c16:uniqueId val="{00000011-F32D-48B7-BC20-E66FC6253BAD}"/>
            </c:ext>
          </c:extLst>
        </c:ser>
        <c:ser>
          <c:idx val="7"/>
          <c:order val="7"/>
          <c:tx>
            <c:strRef>
              <c:f>Sheet1!$B$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2:$A$43</c:f>
              <c:numCache>
                <c:formatCode>General</c:formatCode>
                <c:ptCount val="2"/>
                <c:pt idx="0">
                  <c:v>1667.6032497981394</c:v>
                </c:pt>
                <c:pt idx="1">
                  <c:v>1667.6032497981394</c:v>
                </c:pt>
              </c:numCache>
            </c:numRef>
          </c:xVal>
          <c:yVal>
            <c:numRef>
              <c:f>Sheet1!$B$42:$B$43</c:f>
              <c:numCache>
                <c:formatCode>General</c:formatCode>
                <c:ptCount val="2"/>
                <c:pt idx="0">
                  <c:v>0.85553019870625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6:$A$64</c:f>
              <c:numCache>
                <c:formatCode>General</c:formatCode>
                <c:ptCount val="19"/>
                <c:pt idx="0">
                  <c:v>945.0</c:v>
                </c:pt>
                <c:pt idx="1">
                  <c:v>1036.9337</c:v>
                </c:pt>
                <c:pt idx="2">
                  <c:v>1282.3592</c:v>
                </c:pt>
                <c:pt idx="3">
                  <c:v>1503.5623</c:v>
                </c:pt>
                <c:pt idx="4">
                  <c:v>1539.5509</c:v>
                </c:pt>
                <c:pt idx="5">
                  <c:v>1669.805</c:v>
                </c:pt>
                <c:pt idx="6">
                  <c:v>1580.0482</c:v>
                </c:pt>
                <c:pt idx="7">
                  <c:v>1466.0</c:v>
                </c:pt>
                <c:pt idx="8">
                  <c:v>1569.4925</c:v>
                </c:pt>
                <c:pt idx="9">
                  <c:v>1543.0222</c:v>
                </c:pt>
                <c:pt idx="10">
                  <c:v>1571.4843</c:v>
                </c:pt>
                <c:pt idx="11">
                  <c:v>1605.9961</c:v>
                </c:pt>
                <c:pt idx="12">
                  <c:v>1717.3164</c:v>
                </c:pt>
                <c:pt idx="13">
                  <c:v>1649.7923</c:v>
                </c:pt>
                <c:pt idx="14">
                  <c:v>1592.4772</c:v>
                </c:pt>
                <c:pt idx="15">
                  <c:v>1627.6676</c:v>
                </c:pt>
                <c:pt idx="16">
                  <c:v>1159.2300773087443</c:v>
                </c:pt>
                <c:pt idx="17">
                  <c:v>1159.2300773087443</c:v>
                </c:pt>
                <c:pt idx="18">
                  <c:v>1667.6032497981394</c:v>
                </c:pt>
              </c:numCache>
            </c:numRef>
          </c:xVal>
          <c:yVal>
            <c:numRef>
              <c:f>Sheet1!$B$46:$B$64</c:f>
              <c:numCache>
                <c:formatCode>General</c:formatCode>
                <c:ptCount val="19"/>
                <c:pt idx="0">
                  <c:v>0.924812285664124</c:v>
                </c:pt>
                <c:pt idx="1">
                  <c:v>0.9159978240636013</c:v>
                </c:pt>
                <c:pt idx="2">
                  <c:v>0.8924668050190172</c:v>
                </c:pt>
                <c:pt idx="3">
                  <c:v>0.8712581923898444</c:v>
                </c:pt>
                <c:pt idx="4">
                  <c:v>0.8678076608355115</c:v>
                </c:pt>
                <c:pt idx="5">
                  <c:v>0.8553190982870593</c:v>
                </c:pt>
                <c:pt idx="6">
                  <c:v>0.8639248420674771</c:v>
                </c:pt>
                <c:pt idx="7">
                  <c:v>0.8748596078770631</c:v>
                </c:pt>
                <c:pt idx="8">
                  <c:v>0.8649369063302734</c:v>
                </c:pt>
                <c:pt idx="9">
                  <c:v>0.867474837936467</c:v>
                </c:pt>
                <c:pt idx="10">
                  <c:v>0.8647459356131596</c:v>
                </c:pt>
                <c:pt idx="11">
                  <c:v>0.8614369973689149</c:v>
                </c:pt>
                <c:pt idx="12">
                  <c:v>0.8507637784110282</c:v>
                </c:pt>
                <c:pt idx="13">
                  <c:v>0.857237885148382</c:v>
                </c:pt>
                <c:pt idx="14">
                  <c:v>0.8627331686851059</c:v>
                </c:pt>
                <c:pt idx="15">
                  <c:v>0.8593591673177398</c:v>
                </c:pt>
                <c:pt idx="16">
                  <c:v>0.9042722357138344</c:v>
                </c:pt>
                <c:pt idx="17">
                  <c:v>0.9042722357138344</c:v>
                </c:pt>
                <c:pt idx="18">
                  <c:v>0.85553019870625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61.0"/>
          <c:min val="75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17037037037037"/>
          <c:min val="0.643200000000000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6</c:f>
              <c:numCache>
                <c:formatCode>General</c:formatCode>
                <c:ptCount val="55"/>
                <c:pt idx="0">
                  <c:v>0.4471492146596858</c:v>
                </c:pt>
                <c:pt idx="1">
                  <c:v>0.35980139652523285</c:v>
                </c:pt>
                <c:pt idx="2">
                  <c:v>0.381148647469459</c:v>
                </c:pt>
                <c:pt idx="3">
                  <c:v>0.32669936424831714</c:v>
                </c:pt>
                <c:pt idx="4">
                  <c:v>0.42236991855971723</c:v>
                </c:pt>
                <c:pt idx="5">
                  <c:v>0.32329356768885564</c:v>
                </c:pt>
                <c:pt idx="6">
                  <c:v>0.36738411867364745</c:v>
                </c:pt>
                <c:pt idx="7">
                  <c:v>0.301234966342558</c:v>
                </c:pt>
                <c:pt idx="8">
                  <c:v>0.3314859444220701</c:v>
                </c:pt>
                <c:pt idx="9">
                  <c:v>0.37231104993964415</c:v>
                </c:pt>
                <c:pt idx="10">
                  <c:v>0.3910168062827225</c:v>
                </c:pt>
                <c:pt idx="11">
                  <c:v>0.3990606498450777</c:v>
                </c:pt>
                <c:pt idx="12">
                  <c:v>0.42275110312092773</c:v>
                </c:pt>
                <c:pt idx="13">
                  <c:v>0.3632644823509542</c:v>
                </c:pt>
                <c:pt idx="14">
                  <c:v>0.3783808027923211</c:v>
                </c:pt>
                <c:pt idx="15">
                  <c:v>0.3234554973821989</c:v>
                </c:pt>
                <c:pt idx="16">
                  <c:v>0.4020674406826695</c:v>
                </c:pt>
                <c:pt idx="17">
                  <c:v>0.4302370162015219</c:v>
                </c:pt>
                <c:pt idx="18">
                  <c:v>0.4382659187235104</c:v>
                </c:pt>
                <c:pt idx="19">
                  <c:v>0.4589142931937173</c:v>
                </c:pt>
                <c:pt idx="20">
                  <c:v>0.36732434554973825</c:v>
                </c:pt>
                <c:pt idx="21">
                  <c:v>0.3562103952259554</c:v>
                </c:pt>
                <c:pt idx="22">
                  <c:v>0.3078703752181501</c:v>
                </c:pt>
                <c:pt idx="23">
                  <c:v>0.23483648167539267</c:v>
                </c:pt>
                <c:pt idx="24">
                  <c:v>0.13734838568935429</c:v>
                </c:pt>
                <c:pt idx="25">
                  <c:v>0.24434108318925282</c:v>
                </c:pt>
                <c:pt idx="26">
                  <c:v>0.3053307903266019</c:v>
                </c:pt>
                <c:pt idx="27">
                  <c:v>0.2923856750122028</c:v>
                </c:pt>
                <c:pt idx="28">
                  <c:v>0.4066830704237285</c:v>
                </c:pt>
                <c:pt idx="29">
                  <c:v>0.43880890770302533</c:v>
                </c:pt>
                <c:pt idx="30">
                  <c:v>0.38086095113438045</c:v>
                </c:pt>
                <c:pt idx="31">
                  <c:v>0.3931709537901207</c:v>
                </c:pt>
                <c:pt idx="32">
                  <c:v>0.38664920972226774</c:v>
                </c:pt>
                <c:pt idx="33">
                  <c:v>0.44960736606706336</c:v>
                </c:pt>
                <c:pt idx="34">
                  <c:v>0.40344857304004517</c:v>
                </c:pt>
                <c:pt idx="35">
                  <c:v>0.3699825479930192</c:v>
                </c:pt>
                <c:pt idx="36">
                  <c:v>0.41586274695150766</c:v>
                </c:pt>
                <c:pt idx="37">
                  <c:v>0.4092801965647102</c:v>
                </c:pt>
                <c:pt idx="38">
                  <c:v>0.40355387910518803</c:v>
                </c:pt>
                <c:pt idx="39">
                  <c:v>0.3345876963350785</c:v>
                </c:pt>
                <c:pt idx="40">
                  <c:v>0.3648560209424084</c:v>
                </c:pt>
                <c:pt idx="41">
                  <c:v>0.3854458722574137</c:v>
                </c:pt>
                <c:pt idx="42">
                  <c:v>0.3882371433010513</c:v>
                </c:pt>
                <c:pt idx="43">
                  <c:v>0.3110122164048866</c:v>
                </c:pt>
                <c:pt idx="44">
                  <c:v>0.371142259931246</c:v>
                </c:pt>
                <c:pt idx="45">
                  <c:v>0.3340272868462969</c:v>
                </c:pt>
                <c:pt idx="46">
                  <c:v>0.3354043415669041</c:v>
                </c:pt>
                <c:pt idx="47">
                  <c:v>0.3450597872551944</c:v>
                </c:pt>
                <c:pt idx="48">
                  <c:v>0.3301878870578356</c:v>
                </c:pt>
                <c:pt idx="49">
                  <c:v>0.24603133306484093</c:v>
                </c:pt>
                <c:pt idx="50">
                  <c:v>0.32325775991024686</c:v>
                </c:pt>
                <c:pt idx="51">
                  <c:v>0.29375929319371724</c:v>
                </c:pt>
                <c:pt idx="52">
                  <c:v>0.37045519197207677</c:v>
                </c:pt>
                <c:pt idx="53">
                  <c:v>0.4069278234854151</c:v>
                </c:pt>
                <c:pt idx="54">
                  <c:v>0.42027605901951454</c:v>
                </c:pt>
              </c:numCache>
            </c:numRef>
          </c:xVal>
          <c:yVal>
            <c:numRef>
              <c:f>Sheet1!$B$2:$B$56</c:f>
              <c:numCache>
                <c:formatCode>General</c:formatCode>
                <c:ptCount val="55"/>
                <c:pt idx="0">
                  <c:v>0.9935691318327974</c:v>
                </c:pt>
                <c:pt idx="1">
                  <c:v>0.9864864864864865</c:v>
                </c:pt>
                <c:pt idx="2">
                  <c:v>0.9927797833935018</c:v>
                </c:pt>
                <c:pt idx="3">
                  <c:v>0.991701244813278</c:v>
                </c:pt>
                <c:pt idx="4">
                  <c:v>0.9836956521739131</c:v>
                </c:pt>
                <c:pt idx="5">
                  <c:v>0.9871794871794872</c:v>
                </c:pt>
                <c:pt idx="6">
                  <c:v>0.9782608695652174</c:v>
                </c:pt>
                <c:pt idx="7">
                  <c:v>0.9906976744186047</c:v>
                </c:pt>
                <c:pt idx="8">
                  <c:v>0.9826086956521739</c:v>
                </c:pt>
                <c:pt idx="9">
                  <c:v>0.9931818181818182</c:v>
                </c:pt>
                <c:pt idx="10">
                  <c:v>0.9921671018276762</c:v>
                </c:pt>
                <c:pt idx="11">
                  <c:v>0.9859154929577465</c:v>
                </c:pt>
                <c:pt idx="12">
                  <c:v>0.9841269841269841</c:v>
                </c:pt>
                <c:pt idx="13">
                  <c:v>0.9782608695652174</c:v>
                </c:pt>
                <c:pt idx="14">
                  <c:v>0.9757281553398058</c:v>
                </c:pt>
                <c:pt idx="15">
                  <c:v>0.9887005649717514</c:v>
                </c:pt>
                <c:pt idx="16">
                  <c:v>0.9846938775510204</c:v>
                </c:pt>
                <c:pt idx="17">
                  <c:v>0.9787234042553191</c:v>
                </c:pt>
                <c:pt idx="18">
                  <c:v>0.9629629629629629</c:v>
                </c:pt>
                <c:pt idx="19">
                  <c:v>0.987012987012987</c:v>
                </c:pt>
                <c:pt idx="20">
                  <c:v>0.9818181818181818</c:v>
                </c:pt>
                <c:pt idx="21">
                  <c:v>0.95</c:v>
                </c:pt>
                <c:pt idx="22">
                  <c:v>0.96</c:v>
                </c:pt>
                <c:pt idx="23">
                  <c:v>0.9384615384615385</c:v>
                </c:pt>
                <c:pt idx="24">
                  <c:v>0.9818181818181818</c:v>
                </c:pt>
                <c:pt idx="25">
                  <c:v>0.94</c:v>
                </c:pt>
                <c:pt idx="26">
                  <c:v>0.9166666666666666</c:v>
                </c:pt>
                <c:pt idx="27">
                  <c:v>0.925</c:v>
                </c:pt>
                <c:pt idx="28">
                  <c:v>0.8333333333333334</c:v>
                </c:pt>
                <c:pt idx="29">
                  <c:v>0.8235294117647058</c:v>
                </c:pt>
                <c:pt idx="30">
                  <c:v>0.8333333333333334</c:v>
                </c:pt>
                <c:pt idx="31">
                  <c:v>0.7894736842105263</c:v>
                </c:pt>
                <c:pt idx="32">
                  <c:v>0.5882352941176471</c:v>
                </c:pt>
                <c:pt idx="33">
                  <c:v>0.46153846153846156</c:v>
                </c:pt>
                <c:pt idx="34">
                  <c:v>0.6363636363636364</c:v>
                </c:pt>
                <c:pt idx="35">
                  <c:v>0.7647058823529411</c:v>
                </c:pt>
                <c:pt idx="36">
                  <c:v>0.7727272727272727</c:v>
                </c:pt>
                <c:pt idx="37">
                  <c:v>0.6428571428571429</c:v>
                </c:pt>
                <c:pt idx="38">
                  <c:v>0.7142857142857143</c:v>
                </c:pt>
                <c:pt idx="39">
                  <c:v>0.6666666666666666</c:v>
                </c:pt>
                <c:pt idx="40">
                  <c:v>0.7619047619047619</c:v>
                </c:pt>
                <c:pt idx="41">
                  <c:v>0.47619047619047616</c:v>
                </c:pt>
                <c:pt idx="42">
                  <c:v>0.6296296296296297</c:v>
                </c:pt>
                <c:pt idx="43">
                  <c:v>0.78125</c:v>
                </c:pt>
                <c:pt idx="44">
                  <c:v>0.5909090909090909</c:v>
                </c:pt>
                <c:pt idx="45">
                  <c:v>0.6666666666666666</c:v>
                </c:pt>
                <c:pt idx="46">
                  <c:v>0.75</c:v>
                </c:pt>
                <c:pt idx="47">
                  <c:v>0.8518518518518519</c:v>
                </c:pt>
                <c:pt idx="48">
                  <c:v>0.9090909090909091</c:v>
                </c:pt>
                <c:pt idx="49">
                  <c:v>0.96</c:v>
                </c:pt>
                <c:pt idx="50">
                  <c:v>0.9583333333333334</c:v>
                </c:pt>
                <c:pt idx="51">
                  <c:v>0.9310344827586207</c:v>
                </c:pt>
                <c:pt idx="52">
                  <c:v>0.9230769230769231</c:v>
                </c:pt>
                <c:pt idx="53">
                  <c:v>0.8148148148148148</c:v>
                </c:pt>
                <c:pt idx="54">
                  <c:v>0.7894736842105263</c:v>
                </c:pt>
              </c:numCache>
            </c:numRef>
          </c:yVal>
          <c:smooth val="0"/>
          <c:extLst>
            <c:ext xmlns:c16="http://schemas.microsoft.com/office/drawing/2014/chart" uri="{C3380CC4-5D6E-409C-BE32-E72D297353CC}">
              <c16:uniqueId val="{00000000-096C-4121-9522-6AB7243CCAAE}"/>
            </c:ext>
          </c:extLst>
        </c:ser>
        <c:ser>
          <c:idx val="1"/>
          <c:order val="1"/>
          <c:tx>
            <c:strRef>
              <c:f>Sheet1!$B$5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9:$A$108</c:f>
              <c:numCache>
                <c:formatCode>General</c:formatCode>
                <c:ptCount val="50"/>
                <c:pt idx="0">
                  <c:v>0.4186786468330134</c:v>
                </c:pt>
                <c:pt idx="1">
                  <c:v>0.3727367958115183</c:v>
                </c:pt>
                <c:pt idx="2">
                  <c:v>0.35488810078379857</c:v>
                </c:pt>
                <c:pt idx="3">
                  <c:v>0.4134274772154353</c:v>
                </c:pt>
                <c:pt idx="4">
                  <c:v>0.3466544099879178</c:v>
                </c:pt>
                <c:pt idx="5">
                  <c:v>0.4173469071165406</c:v>
                </c:pt>
                <c:pt idx="6">
                  <c:v>0.3806681327887737</c:v>
                </c:pt>
                <c:pt idx="7">
                  <c:v>0.28893979057591623</c:v>
                </c:pt>
                <c:pt idx="8">
                  <c:v>0.41964712041884816</c:v>
                </c:pt>
                <c:pt idx="9">
                  <c:v>0.3362420157068063</c:v>
                </c:pt>
                <c:pt idx="10">
                  <c:v>0.38576972076788835</c:v>
                </c:pt>
                <c:pt idx="11">
                  <c:v>0.2357488521949255</c:v>
                </c:pt>
                <c:pt idx="12">
                  <c:v>0.2995060084766891</c:v>
                </c:pt>
                <c:pt idx="13">
                  <c:v>0.39076883157470205</c:v>
                </c:pt>
                <c:pt idx="14">
                  <c:v>0.32776177581463645</c:v>
                </c:pt>
                <c:pt idx="15">
                  <c:v>0.3952174823582973</c:v>
                </c:pt>
                <c:pt idx="16">
                  <c:v>0.34443628674989935</c:v>
                </c:pt>
                <c:pt idx="17">
                  <c:v>0.34435106564275375</c:v>
                </c:pt>
                <c:pt idx="18">
                  <c:v>0.6041884816753926</c:v>
                </c:pt>
                <c:pt idx="19">
                  <c:v>0.58642611482217</c:v>
                </c:pt>
                <c:pt idx="20">
                  <c:v>0.6201570680628272</c:v>
                </c:pt>
                <c:pt idx="21">
                  <c:v>0.7108336689488522</c:v>
                </c:pt>
                <c:pt idx="22">
                  <c:v>0.14106013462976813</c:v>
                </c:pt>
                <c:pt idx="23">
                  <c:v>0.16340894415357765</c:v>
                </c:pt>
                <c:pt idx="24">
                  <c:v>0.19682994764397907</c:v>
                </c:pt>
                <c:pt idx="25">
                  <c:v>0.24763089005235603</c:v>
                </c:pt>
                <c:pt idx="26">
                  <c:v>0.0</c:v>
                </c:pt>
                <c:pt idx="27">
                  <c:v>0.7046247818499127</c:v>
                </c:pt>
                <c:pt idx="28">
                  <c:v>0.0</c:v>
                </c:pt>
                <c:pt idx="29">
                  <c:v>0.0</c:v>
                </c:pt>
                <c:pt idx="30">
                  <c:v>0.31699190861494525</c:v>
                </c:pt>
                <c:pt idx="31">
                  <c:v>0.0</c:v>
                </c:pt>
                <c:pt idx="32">
                  <c:v>0.4142778333203165</c:v>
                </c:pt>
                <c:pt idx="33">
                  <c:v>0.3152579168436453</c:v>
                </c:pt>
                <c:pt idx="34">
                  <c:v>0.0</c:v>
                </c:pt>
                <c:pt idx="35">
                  <c:v>0.2083107163051463</c:v>
                </c:pt>
                <c:pt idx="36">
                  <c:v>0.18779092996555682</c:v>
                </c:pt>
                <c:pt idx="37">
                  <c:v>0.17853943773180467</c:v>
                </c:pt>
                <c:pt idx="38">
                  <c:v>0.20349723043240286</c:v>
                </c:pt>
                <c:pt idx="39">
                  <c:v>0.2273169807806959</c:v>
                </c:pt>
                <c:pt idx="40">
                  <c:v>0.21621891367490917</c:v>
                </c:pt>
                <c:pt idx="41">
                  <c:v>0.20301057320068266</c:v>
                </c:pt>
                <c:pt idx="42">
                  <c:v>0.19049220182437906</c:v>
                </c:pt>
                <c:pt idx="43">
                  <c:v>0.18081146963096062</c:v>
                </c:pt>
                <c:pt idx="44">
                  <c:v>0.18721087218733104</c:v>
                </c:pt>
                <c:pt idx="45">
                  <c:v>0.18598970737709303</c:v>
                </c:pt>
                <c:pt idx="46">
                  <c:v>0.18948125033794808</c:v>
                </c:pt>
                <c:pt idx="47">
                  <c:v>0.203420931106696</c:v>
                </c:pt>
                <c:pt idx="48">
                  <c:v>0.21344487010127697</c:v>
                </c:pt>
                <c:pt idx="49">
                  <c:v>0.16991930520689932</c:v>
                </c:pt>
              </c:numCache>
            </c:numRef>
          </c:xVal>
          <c:yVal>
            <c:numRef>
              <c:f>Sheet1!$B$59:$B$108</c:f>
              <c:numCache>
                <c:formatCode>General</c:formatCode>
                <c:ptCount val="50"/>
                <c:pt idx="0">
                  <c:v>0.76</c:v>
                </c:pt>
                <c:pt idx="1">
                  <c:v>0.8461538461538461</c:v>
                </c:pt>
                <c:pt idx="2">
                  <c:v>0.9</c:v>
                </c:pt>
                <c:pt idx="3">
                  <c:v>0.8148148148148148</c:v>
                </c:pt>
                <c:pt idx="4">
                  <c:v>0.8536585365853658</c:v>
                </c:pt>
                <c:pt idx="5">
                  <c:v>0.8378378378378378</c:v>
                </c:pt>
                <c:pt idx="6">
                  <c:v>0.8571428571428571</c:v>
                </c:pt>
                <c:pt idx="7">
                  <c:v>0.967741935483871</c:v>
                </c:pt>
                <c:pt idx="8">
                  <c:v>0.9032258064516129</c:v>
                </c:pt>
                <c:pt idx="9">
                  <c:v>0.9</c:v>
                </c:pt>
                <c:pt idx="10">
                  <c:v>0.8636363636363636</c:v>
                </c:pt>
                <c:pt idx="11">
                  <c:v>0.9516129032258065</c:v>
                </c:pt>
                <c:pt idx="12">
                  <c:v>0.9381443298969072</c:v>
                </c:pt>
                <c:pt idx="13">
                  <c:v>0.8260869565217391</c:v>
                </c:pt>
                <c:pt idx="14">
                  <c:v>0.8571428571428571</c:v>
                </c:pt>
                <c:pt idx="15">
                  <c:v>0.7777777777777778</c:v>
                </c:pt>
                <c:pt idx="16">
                  <c:v>0.85</c:v>
                </c:pt>
                <c:pt idx="17">
                  <c:v>0.6666666666666666</c:v>
                </c:pt>
                <c:pt idx="18">
                  <c:v>0.6363636363636364</c:v>
                </c:pt>
                <c:pt idx="19">
                  <c:v>0.4375</c:v>
                </c:pt>
                <c:pt idx="20">
                  <c:v>0.45454545454545453</c:v>
                </c:pt>
                <c:pt idx="21">
                  <c:v>0.3333333333333333</c:v>
                </c:pt>
                <c:pt idx="22">
                  <c:v>0.9506172839506173</c:v>
                </c:pt>
                <c:pt idx="23">
                  <c:v>0.9574468085106383</c:v>
                </c:pt>
                <c:pt idx="24">
                  <c:v>0.73</c:v>
                </c:pt>
                <c:pt idx="25">
                  <c:v>0.9259259259259259</c:v>
                </c:pt>
                <c:pt idx="26">
                  <c:v>0.0</c:v>
                </c:pt>
                <c:pt idx="27">
                  <c:v>0.125</c:v>
                </c:pt>
                <c:pt idx="28">
                  <c:v>0.0</c:v>
                </c:pt>
                <c:pt idx="29">
                  <c:v>0.0</c:v>
                </c:pt>
                <c:pt idx="30">
                  <c:v>0.05555555555555555</c:v>
                </c:pt>
                <c:pt idx="31">
                  <c:v>0.0</c:v>
                </c:pt>
                <c:pt idx="32">
                  <c:v>0.05555555555555555</c:v>
                </c:pt>
                <c:pt idx="33">
                  <c:v>0.045454545454545456</c:v>
                </c:pt>
                <c:pt idx="34">
                  <c:v>0.0</c:v>
                </c:pt>
                <c:pt idx="35">
                  <c:v>0.23529411764705882</c:v>
                </c:pt>
                <c:pt idx="36">
                  <c:v>0.3359375</c:v>
                </c:pt>
                <c:pt idx="37">
                  <c:v>0.7692307692307693</c:v>
                </c:pt>
                <c:pt idx="38">
                  <c:v>0.6909090909090909</c:v>
                </c:pt>
                <c:pt idx="39">
                  <c:v>0.5609756097560976</c:v>
                </c:pt>
                <c:pt idx="40">
                  <c:v>0.1651376146788991</c:v>
                </c:pt>
                <c:pt idx="41">
                  <c:v>0.35135135135135137</c:v>
                </c:pt>
                <c:pt idx="42">
                  <c:v>0.37209302325581395</c:v>
                </c:pt>
                <c:pt idx="43">
                  <c:v>0.48214285714285715</c:v>
                </c:pt>
                <c:pt idx="44">
                  <c:v>0.43902439024390244</c:v>
                </c:pt>
                <c:pt idx="45">
                  <c:v>0.6071428571428571</c:v>
                </c:pt>
                <c:pt idx="46">
                  <c:v>0.4838709677419355</c:v>
                </c:pt>
                <c:pt idx="47">
                  <c:v>0.3939393939393939</c:v>
                </c:pt>
                <c:pt idx="48">
                  <c:v>0.22727272727272727</c:v>
                </c:pt>
                <c:pt idx="49">
                  <c:v>0.24</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1.0781238254346137</c:v>
                </c:pt>
              </c:numCache>
            </c:numRef>
          </c:xVal>
          <c:yVal>
            <c:numRef>
              <c:f>Sheet1!$B$111:$B$112</c:f>
              <c:numCache>
                <c:formatCode>General</c:formatCode>
                <c:ptCount val="2"/>
                <c:pt idx="0">
                  <c:v>0.9883934495931777</c:v>
                </c:pt>
                <c:pt idx="1">
                  <c:v>0.9883934495931777</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1.0781238254346137</c:v>
                </c:pt>
                <c:pt idx="1">
                  <c:v>1.0781238254346137</c:v>
                </c:pt>
              </c:numCache>
            </c:numRef>
          </c:xVal>
          <c:yVal>
            <c:numRef>
              <c:f>Sheet1!$B$115:$B$116</c:f>
              <c:numCache>
                <c:formatCode>General</c:formatCode>
                <c:ptCount val="2"/>
                <c:pt idx="0">
                  <c:v>0.988393449593177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0.847768565703095</c:v>
                </c:pt>
              </c:numCache>
            </c:numRef>
          </c:xVal>
          <c:yVal>
            <c:numRef>
              <c:f>Sheet1!$B$119:$B$120</c:f>
              <c:numCache>
                <c:formatCode>General</c:formatCode>
                <c:ptCount val="2"/>
                <c:pt idx="0">
                  <c:v>0.8600639593855784</c:v>
                </c:pt>
                <c:pt idx="1">
                  <c:v>0.8600639593855784</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0.847768565703095</c:v>
                </c:pt>
                <c:pt idx="1">
                  <c:v>0.847768565703095</c:v>
                </c:pt>
              </c:numCache>
            </c:numRef>
          </c:xVal>
          <c:yVal>
            <c:numRef>
              <c:f>Sheet1!$B$123:$B$124</c:f>
              <c:numCache>
                <c:formatCode>General</c:formatCode>
                <c:ptCount val="2"/>
                <c:pt idx="0">
                  <c:v>0.86006395938557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0.10245274660899954</c:v>
                </c:pt>
              </c:numCache>
            </c:numRef>
          </c:xVal>
          <c:yVal>
            <c:numRef>
              <c:f>Sheet1!$B$127:$B$128</c:f>
              <c:numCache>
                <c:formatCode>General</c:formatCode>
                <c:ptCount val="2"/>
                <c:pt idx="0">
                  <c:v>0.4448531271281304</c:v>
                </c:pt>
                <c:pt idx="1">
                  <c:v>0.4448531271281304</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0.10245274660899954</c:v>
                </c:pt>
                <c:pt idx="1">
                  <c:v>0.10245274660899954</c:v>
                </c:pt>
              </c:numCache>
            </c:numRef>
          </c:xVal>
          <c:yVal>
            <c:numRef>
              <c:f>Sheet1!$B$131:$B$132</c:f>
              <c:numCache>
                <c:formatCode>General</c:formatCode>
                <c:ptCount val="2"/>
                <c:pt idx="0">
                  <c:v>0.444853127128130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7</c:f>
              <c:numCache>
                <c:formatCode>General</c:formatCode>
                <c:ptCount val="53"/>
                <c:pt idx="0">
                  <c:v>0.4186786468330134</c:v>
                </c:pt>
                <c:pt idx="1">
                  <c:v>0.3727367958115183</c:v>
                </c:pt>
                <c:pt idx="2">
                  <c:v>0.35488810078379857</c:v>
                </c:pt>
                <c:pt idx="3">
                  <c:v>0.4134274772154353</c:v>
                </c:pt>
                <c:pt idx="4">
                  <c:v>0.3466544099879178</c:v>
                </c:pt>
                <c:pt idx="5">
                  <c:v>0.4173469071165406</c:v>
                </c:pt>
                <c:pt idx="6">
                  <c:v>0.3806681327887737</c:v>
                </c:pt>
                <c:pt idx="7">
                  <c:v>0.28893979057591623</c:v>
                </c:pt>
                <c:pt idx="8">
                  <c:v>0.41964712041884816</c:v>
                </c:pt>
                <c:pt idx="9">
                  <c:v>0.3362420157068063</c:v>
                </c:pt>
                <c:pt idx="10">
                  <c:v>0.38576972076788835</c:v>
                </c:pt>
                <c:pt idx="11">
                  <c:v>0.2357488521949255</c:v>
                </c:pt>
                <c:pt idx="12">
                  <c:v>0.2995060084766891</c:v>
                </c:pt>
                <c:pt idx="13">
                  <c:v>0.39076883157470205</c:v>
                </c:pt>
                <c:pt idx="14">
                  <c:v>0.32776177581463645</c:v>
                </c:pt>
                <c:pt idx="15">
                  <c:v>0.3952174823582973</c:v>
                </c:pt>
                <c:pt idx="16">
                  <c:v>0.34443628674989935</c:v>
                </c:pt>
                <c:pt idx="17">
                  <c:v>0.34435106564275375</c:v>
                </c:pt>
                <c:pt idx="18">
                  <c:v>0.6041884816753926</c:v>
                </c:pt>
                <c:pt idx="19">
                  <c:v>0.58642611482217</c:v>
                </c:pt>
                <c:pt idx="20">
                  <c:v>0.6201570680628272</c:v>
                </c:pt>
                <c:pt idx="21">
                  <c:v>0.7108336689488522</c:v>
                </c:pt>
                <c:pt idx="22">
                  <c:v>0.14106013462976813</c:v>
                </c:pt>
                <c:pt idx="23">
                  <c:v>0.16340894415357765</c:v>
                </c:pt>
                <c:pt idx="24">
                  <c:v>0.19682994764397907</c:v>
                </c:pt>
                <c:pt idx="25">
                  <c:v>0.24763089005235603</c:v>
                </c:pt>
                <c:pt idx="26">
                  <c:v>0.0</c:v>
                </c:pt>
                <c:pt idx="27">
                  <c:v>0.7046247818499127</c:v>
                </c:pt>
                <c:pt idx="28">
                  <c:v>0.0</c:v>
                </c:pt>
                <c:pt idx="29">
                  <c:v>0.0</c:v>
                </c:pt>
                <c:pt idx="30">
                  <c:v>0.31699190861494525</c:v>
                </c:pt>
                <c:pt idx="31">
                  <c:v>0.0</c:v>
                </c:pt>
                <c:pt idx="32">
                  <c:v>0.4142778333203165</c:v>
                </c:pt>
                <c:pt idx="33">
                  <c:v>0.3152579168436453</c:v>
                </c:pt>
                <c:pt idx="34">
                  <c:v>0.0</c:v>
                </c:pt>
                <c:pt idx="35">
                  <c:v>0.2083107163051463</c:v>
                </c:pt>
                <c:pt idx="36">
                  <c:v>0.18779092996555682</c:v>
                </c:pt>
                <c:pt idx="37">
                  <c:v>0.17853943773180467</c:v>
                </c:pt>
                <c:pt idx="38">
                  <c:v>0.20349723043240286</c:v>
                </c:pt>
                <c:pt idx="39">
                  <c:v>0.2273169807806959</c:v>
                </c:pt>
                <c:pt idx="40">
                  <c:v>0.21621891367490917</c:v>
                </c:pt>
                <c:pt idx="41">
                  <c:v>0.20301057320068266</c:v>
                </c:pt>
                <c:pt idx="42">
                  <c:v>0.19049220182437906</c:v>
                </c:pt>
                <c:pt idx="43">
                  <c:v>0.18081146963096062</c:v>
                </c:pt>
                <c:pt idx="44">
                  <c:v>0.18721087218733104</c:v>
                </c:pt>
                <c:pt idx="45">
                  <c:v>0.18598970737709303</c:v>
                </c:pt>
                <c:pt idx="46">
                  <c:v>0.18948125033794808</c:v>
                </c:pt>
                <c:pt idx="47">
                  <c:v>0.203420931106696</c:v>
                </c:pt>
                <c:pt idx="48">
                  <c:v>0.21344487010127697</c:v>
                </c:pt>
                <c:pt idx="49">
                  <c:v>0.16991930520689932</c:v>
                </c:pt>
                <c:pt idx="50">
                  <c:v>0.847768565703095</c:v>
                </c:pt>
                <c:pt idx="51">
                  <c:v>1.0781238254346137</c:v>
                </c:pt>
                <c:pt idx="52">
                  <c:v>0.10245274660899954</c:v>
                </c:pt>
              </c:numCache>
            </c:numRef>
          </c:xVal>
          <c:yVal>
            <c:numRef>
              <c:f>Sheet1!$B$135:$B$187</c:f>
              <c:numCache>
                <c:formatCode>General</c:formatCode>
                <c:ptCount val="53"/>
                <c:pt idx="0">
                  <c:v>0.621020619954144</c:v>
                </c:pt>
                <c:pt idx="1">
                  <c:v>0.5954266989485919</c:v>
                </c:pt>
                <c:pt idx="2">
                  <c:v>0.5854833013615439</c:v>
                </c:pt>
                <c:pt idx="3">
                  <c:v>0.6180952258441816</c:v>
                </c:pt>
                <c:pt idx="4">
                  <c:v>0.5808963631531701</c:v>
                </c:pt>
                <c:pt idx="5">
                  <c:v>0.6202787159963036</c:v>
                </c:pt>
                <c:pt idx="6">
                  <c:v>0.5998451977149849</c:v>
                </c:pt>
                <c:pt idx="7">
                  <c:v>0.5487439057041841</c:v>
                </c:pt>
                <c:pt idx="8">
                  <c:v>0.6215601505977879</c:v>
                </c:pt>
                <c:pt idx="9">
                  <c:v>0.5750956827107399</c:v>
                </c:pt>
                <c:pt idx="10">
                  <c:v>0.6026872608194785</c:v>
                </c:pt>
                <c:pt idx="11">
                  <c:v>0.5191115629738636</c:v>
                </c:pt>
                <c:pt idx="12">
                  <c:v>0.5546302803335673</c:v>
                </c:pt>
                <c:pt idx="13">
                  <c:v>0.6054722345252121</c:v>
                </c:pt>
                <c:pt idx="14">
                  <c:v>0.5703713935259881</c:v>
                </c:pt>
                <c:pt idx="15">
                  <c:v>0.6079505503571832</c:v>
                </c:pt>
                <c:pt idx="16">
                  <c:v>0.5796606604186881</c:v>
                </c:pt>
                <c:pt idx="17">
                  <c:v>0.5796131842670793</c:v>
                </c:pt>
                <c:pt idx="18">
                  <c:v>0.724367001371981</c:v>
                </c:pt>
                <c:pt idx="19">
                  <c:v>0.7144716966769151</c:v>
                </c:pt>
                <c:pt idx="20">
                  <c:v>0.7332630020659695</c:v>
                </c:pt>
                <c:pt idx="21">
                  <c:v>0.783778375489715</c:v>
                </c:pt>
                <c:pt idx="22">
                  <c:v>0.4663610641673223</c:v>
                </c:pt>
                <c:pt idx="23">
                  <c:v>0.47881144770221495</c:v>
                </c:pt>
                <c:pt idx="24">
                  <c:v>0.497430082002766</c:v>
                </c:pt>
                <c:pt idx="25">
                  <c:v>0.5257309727613746</c:v>
                </c:pt>
                <c:pt idx="26">
                  <c:v>0.38777733576992557</c:v>
                </c:pt>
                <c:pt idx="27">
                  <c:v>0.780319442895373</c:v>
                </c:pt>
                <c:pt idx="28">
                  <c:v>0.38777733576992557</c:v>
                </c:pt>
                <c:pt idx="29">
                  <c:v>0.38777733576992557</c:v>
                </c:pt>
                <c:pt idx="30">
                  <c:v>0.5643715671319619</c:v>
                </c:pt>
                <c:pt idx="31">
                  <c:v>0.38777733576992557</c:v>
                </c:pt>
                <c:pt idx="32">
                  <c:v>0.6185689539698668</c:v>
                </c:pt>
                <c:pt idx="33">
                  <c:v>0.563405571042728</c:v>
                </c:pt>
                <c:pt idx="34">
                  <c:v>0.38777733576992557</c:v>
                </c:pt>
                <c:pt idx="35">
                  <c:v>0.5038259472033095</c:v>
                </c:pt>
                <c:pt idx="36">
                  <c:v>0.49239450116991956</c:v>
                </c:pt>
                <c:pt idx="37">
                  <c:v>0.4872405520766767</c:v>
                </c:pt>
                <c:pt idx="38">
                  <c:v>0.5011443840000616</c:v>
                </c:pt>
                <c:pt idx="39">
                  <c:v>0.5144142195689626</c:v>
                </c:pt>
                <c:pt idx="40">
                  <c:v>0.5082315550375112</c:v>
                </c:pt>
                <c:pt idx="41">
                  <c:v>0.5008732702667555</c:v>
                </c:pt>
                <c:pt idx="42">
                  <c:v>0.49389936301227044</c:v>
                </c:pt>
                <c:pt idx="43">
                  <c:v>0.4885062869927968</c:v>
                </c:pt>
                <c:pt idx="44">
                  <c:v>0.49207135456993556</c:v>
                </c:pt>
                <c:pt idx="45">
                  <c:v>0.4913910512083368</c:v>
                </c:pt>
                <c:pt idx="46">
                  <c:v>0.49333616819297477</c:v>
                </c:pt>
                <c:pt idx="47">
                  <c:v>0.5011018781177017</c:v>
                </c:pt>
                <c:pt idx="48">
                  <c:v>0.5066861525230091</c:v>
                </c:pt>
                <c:pt idx="49">
                  <c:v>0.4824383295716106</c:v>
                </c:pt>
                <c:pt idx="50">
                  <c:v>0.8600639593855784</c:v>
                </c:pt>
                <c:pt idx="51">
                  <c:v>0.9883934495931777</c:v>
                </c:pt>
                <c:pt idx="52">
                  <c:v>0.444853127128130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2282958199356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6</c:f>
              <c:numCache>
                <c:formatCode>General</c:formatCode>
                <c:ptCount val="55"/>
                <c:pt idx="0">
                  <c:v>854.055</c:v>
                </c:pt>
                <c:pt idx="1">
                  <c:v>870.4795</c:v>
                </c:pt>
                <c:pt idx="2">
                  <c:v>873.5927</c:v>
                </c:pt>
                <c:pt idx="3">
                  <c:v>873.5941</c:v>
                </c:pt>
                <c:pt idx="4">
                  <c:v>860.5083</c:v>
                </c:pt>
                <c:pt idx="5">
                  <c:v>864.487</c:v>
                </c:pt>
                <c:pt idx="6">
                  <c:v>842.0444</c:v>
                </c:pt>
                <c:pt idx="7">
                  <c:v>805.5023</c:v>
                </c:pt>
                <c:pt idx="8">
                  <c:v>823.0796</c:v>
                </c:pt>
                <c:pt idx="9">
                  <c:v>758.5217</c:v>
                </c:pt>
                <c:pt idx="10">
                  <c:v>746.8421</c:v>
                </c:pt>
                <c:pt idx="11">
                  <c:v>863.8333</c:v>
                </c:pt>
                <c:pt idx="12">
                  <c:v>861.2849</c:v>
                </c:pt>
                <c:pt idx="13">
                  <c:v>860.3556</c:v>
                </c:pt>
                <c:pt idx="14">
                  <c:v>867.2488</c:v>
                </c:pt>
                <c:pt idx="15">
                  <c:v>864.92</c:v>
                </c:pt>
                <c:pt idx="16">
                  <c:v>870.342</c:v>
                </c:pt>
                <c:pt idx="17">
                  <c:v>876.5362</c:v>
                </c:pt>
                <c:pt idx="18">
                  <c:v>878.9423</c:v>
                </c:pt>
                <c:pt idx="19">
                  <c:v>876.5263</c:v>
                </c:pt>
                <c:pt idx="20">
                  <c:v>841.9074</c:v>
                </c:pt>
                <c:pt idx="21">
                  <c:v>725.7193</c:v>
                </c:pt>
                <c:pt idx="22">
                  <c:v>705.6389</c:v>
                </c:pt>
                <c:pt idx="23">
                  <c:v>560.6721</c:v>
                </c:pt>
                <c:pt idx="24">
                  <c:v>314.8025</c:v>
                </c:pt>
                <c:pt idx="25">
                  <c:v>622.2553</c:v>
                </c:pt>
                <c:pt idx="26">
                  <c:v>612.3409</c:v>
                </c:pt>
                <c:pt idx="27">
                  <c:v>707.3784</c:v>
                </c:pt>
                <c:pt idx="28">
                  <c:v>880.3333</c:v>
                </c:pt>
                <c:pt idx="29">
                  <c:v>894.0</c:v>
                </c:pt>
                <c:pt idx="30">
                  <c:v>872.9333</c:v>
                </c:pt>
                <c:pt idx="31">
                  <c:v>863.6</c:v>
                </c:pt>
                <c:pt idx="32">
                  <c:v>865.1</c:v>
                </c:pt>
                <c:pt idx="33">
                  <c:v>894.3333</c:v>
                </c:pt>
                <c:pt idx="34">
                  <c:v>894.1429</c:v>
                </c:pt>
                <c:pt idx="35">
                  <c:v>848.0</c:v>
                </c:pt>
                <c:pt idx="36">
                  <c:v>879.8824</c:v>
                </c:pt>
                <c:pt idx="37">
                  <c:v>891.1667</c:v>
                </c:pt>
                <c:pt idx="38">
                  <c:v>847.8667</c:v>
                </c:pt>
                <c:pt idx="39">
                  <c:v>818.0</c:v>
                </c:pt>
                <c:pt idx="40">
                  <c:v>892.0</c:v>
                </c:pt>
                <c:pt idx="41">
                  <c:v>829.9</c:v>
                </c:pt>
                <c:pt idx="42">
                  <c:v>749.6471</c:v>
                </c:pt>
                <c:pt idx="43">
                  <c:v>712.84</c:v>
                </c:pt>
                <c:pt idx="44">
                  <c:v>891.1538</c:v>
                </c:pt>
                <c:pt idx="45">
                  <c:v>871.0</c:v>
                </c:pt>
                <c:pt idx="46">
                  <c:v>885.3333</c:v>
                </c:pt>
                <c:pt idx="47">
                  <c:v>867.7391</c:v>
                </c:pt>
                <c:pt idx="48">
                  <c:v>786.425</c:v>
                </c:pt>
                <c:pt idx="49">
                  <c:v>610.8958</c:v>
                </c:pt>
                <c:pt idx="50">
                  <c:v>691.513</c:v>
                </c:pt>
                <c:pt idx="51">
                  <c:v>673.2963</c:v>
                </c:pt>
                <c:pt idx="52">
                  <c:v>849.0833</c:v>
                </c:pt>
                <c:pt idx="53">
                  <c:v>870.5</c:v>
                </c:pt>
                <c:pt idx="54">
                  <c:v>883.0</c:v>
                </c:pt>
              </c:numCache>
            </c:numRef>
          </c:xVal>
          <c:yVal>
            <c:numRef>
              <c:f>Sheet1!$B$2:$B$56</c:f>
              <c:numCache>
                <c:formatCode>General</c:formatCode>
                <c:ptCount val="55"/>
                <c:pt idx="0">
                  <c:v>0.9935691318327974</c:v>
                </c:pt>
                <c:pt idx="1">
                  <c:v>0.9864864864864865</c:v>
                </c:pt>
                <c:pt idx="2">
                  <c:v>0.9927797833935018</c:v>
                </c:pt>
                <c:pt idx="3">
                  <c:v>0.991701244813278</c:v>
                </c:pt>
                <c:pt idx="4">
                  <c:v>0.9836956521739131</c:v>
                </c:pt>
                <c:pt idx="5">
                  <c:v>0.9871794871794872</c:v>
                </c:pt>
                <c:pt idx="6">
                  <c:v>0.9782608695652174</c:v>
                </c:pt>
                <c:pt idx="7">
                  <c:v>0.9906976744186047</c:v>
                </c:pt>
                <c:pt idx="8">
                  <c:v>0.9826086956521739</c:v>
                </c:pt>
                <c:pt idx="9">
                  <c:v>0.9931818181818182</c:v>
                </c:pt>
                <c:pt idx="10">
                  <c:v>0.9921671018276762</c:v>
                </c:pt>
                <c:pt idx="11">
                  <c:v>0.9859154929577465</c:v>
                </c:pt>
                <c:pt idx="12">
                  <c:v>0.9841269841269841</c:v>
                </c:pt>
                <c:pt idx="13">
                  <c:v>0.9782608695652174</c:v>
                </c:pt>
                <c:pt idx="14">
                  <c:v>0.9757281553398058</c:v>
                </c:pt>
                <c:pt idx="15">
                  <c:v>0.9887005649717514</c:v>
                </c:pt>
                <c:pt idx="16">
                  <c:v>0.9846938775510204</c:v>
                </c:pt>
                <c:pt idx="17">
                  <c:v>0.9787234042553191</c:v>
                </c:pt>
                <c:pt idx="18">
                  <c:v>0.9629629629629629</c:v>
                </c:pt>
                <c:pt idx="19">
                  <c:v>0.987012987012987</c:v>
                </c:pt>
                <c:pt idx="20">
                  <c:v>0.9818181818181818</c:v>
                </c:pt>
                <c:pt idx="21">
                  <c:v>0.95</c:v>
                </c:pt>
                <c:pt idx="22">
                  <c:v>0.96</c:v>
                </c:pt>
                <c:pt idx="23">
                  <c:v>0.9384615384615385</c:v>
                </c:pt>
                <c:pt idx="24">
                  <c:v>0.9818181818181818</c:v>
                </c:pt>
                <c:pt idx="25">
                  <c:v>0.94</c:v>
                </c:pt>
                <c:pt idx="26">
                  <c:v>0.9166666666666666</c:v>
                </c:pt>
                <c:pt idx="27">
                  <c:v>0.925</c:v>
                </c:pt>
                <c:pt idx="28">
                  <c:v>0.8333333333333334</c:v>
                </c:pt>
                <c:pt idx="29">
                  <c:v>0.8235294117647058</c:v>
                </c:pt>
                <c:pt idx="30">
                  <c:v>0.8333333333333334</c:v>
                </c:pt>
                <c:pt idx="31">
                  <c:v>0.7894736842105263</c:v>
                </c:pt>
                <c:pt idx="32">
                  <c:v>0.5882352941176471</c:v>
                </c:pt>
                <c:pt idx="33">
                  <c:v>0.46153846153846156</c:v>
                </c:pt>
                <c:pt idx="34">
                  <c:v>0.6363636363636364</c:v>
                </c:pt>
                <c:pt idx="35">
                  <c:v>0.7647058823529411</c:v>
                </c:pt>
                <c:pt idx="36">
                  <c:v>0.7727272727272727</c:v>
                </c:pt>
                <c:pt idx="37">
                  <c:v>0.6428571428571429</c:v>
                </c:pt>
                <c:pt idx="38">
                  <c:v>0.7142857142857143</c:v>
                </c:pt>
                <c:pt idx="39">
                  <c:v>0.6666666666666666</c:v>
                </c:pt>
                <c:pt idx="40">
                  <c:v>0.7619047619047619</c:v>
                </c:pt>
                <c:pt idx="41">
                  <c:v>0.47619047619047616</c:v>
                </c:pt>
                <c:pt idx="42">
                  <c:v>0.6296296296296297</c:v>
                </c:pt>
                <c:pt idx="43">
                  <c:v>0.78125</c:v>
                </c:pt>
                <c:pt idx="44">
                  <c:v>0.5909090909090909</c:v>
                </c:pt>
                <c:pt idx="45">
                  <c:v>0.6666666666666666</c:v>
                </c:pt>
                <c:pt idx="46">
                  <c:v>0.75</c:v>
                </c:pt>
                <c:pt idx="47">
                  <c:v>0.8518518518518519</c:v>
                </c:pt>
                <c:pt idx="48">
                  <c:v>0.9090909090909091</c:v>
                </c:pt>
                <c:pt idx="49">
                  <c:v>0.96</c:v>
                </c:pt>
                <c:pt idx="50">
                  <c:v>0.9583333333333334</c:v>
                </c:pt>
                <c:pt idx="51">
                  <c:v>0.9310344827586207</c:v>
                </c:pt>
                <c:pt idx="52">
                  <c:v>0.9230769230769231</c:v>
                </c:pt>
                <c:pt idx="53">
                  <c:v>0.8148148148148148</c:v>
                </c:pt>
                <c:pt idx="54">
                  <c:v>0.7894736842105263</c:v>
                </c:pt>
              </c:numCache>
            </c:numRef>
          </c:yVal>
          <c:smooth val="0"/>
          <c:extLst>
            <c:ext xmlns:c16="http://schemas.microsoft.com/office/drawing/2014/chart" uri="{C3380CC4-5D6E-409C-BE32-E72D297353CC}">
              <c16:uniqueId val="{00000000-F32D-48B7-BC20-E66FC6253BAD}"/>
            </c:ext>
          </c:extLst>
        </c:ser>
        <c:ser>
          <c:idx val="1"/>
          <c:order val="1"/>
          <c:tx>
            <c:strRef>
              <c:f>Sheet1!$B$5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9:$A$108</c:f>
              <c:numCache>
                <c:formatCode>General</c:formatCode>
                <c:ptCount val="50"/>
                <c:pt idx="0">
                  <c:v>872.5263</c:v>
                </c:pt>
                <c:pt idx="1">
                  <c:v>889.9091</c:v>
                </c:pt>
                <c:pt idx="2">
                  <c:v>858.5926</c:v>
                </c:pt>
                <c:pt idx="3">
                  <c:v>852.8182</c:v>
                </c:pt>
                <c:pt idx="4">
                  <c:v>860.7429</c:v>
                </c:pt>
                <c:pt idx="5">
                  <c:v>860.9032</c:v>
                </c:pt>
                <c:pt idx="6">
                  <c:v>727.0</c:v>
                </c:pt>
                <c:pt idx="7">
                  <c:v>883.0</c:v>
                </c:pt>
                <c:pt idx="8">
                  <c:v>881.6786</c:v>
                </c:pt>
                <c:pt idx="9">
                  <c:v>770.6667</c:v>
                </c:pt>
                <c:pt idx="10">
                  <c:v>884.1842</c:v>
                </c:pt>
                <c:pt idx="11">
                  <c:v>585.3644</c:v>
                </c:pt>
                <c:pt idx="12">
                  <c:v>600.6593</c:v>
                </c:pt>
                <c:pt idx="13">
                  <c:v>870.7632</c:v>
                </c:pt>
                <c:pt idx="14">
                  <c:v>834.7</c:v>
                </c:pt>
                <c:pt idx="15">
                  <c:v>868.0952</c:v>
                </c:pt>
                <c:pt idx="16">
                  <c:v>855.2353</c:v>
                </c:pt>
                <c:pt idx="17">
                  <c:v>833.1</c:v>
                </c:pt>
                <c:pt idx="18">
                  <c:v>1154.0</c:v>
                </c:pt>
                <c:pt idx="19">
                  <c:v>1299.2857</c:v>
                </c:pt>
                <c:pt idx="20">
                  <c:v>1421.4</c:v>
                </c:pt>
                <c:pt idx="21">
                  <c:v>1765.0</c:v>
                </c:pt>
                <c:pt idx="22">
                  <c:v>377.1948</c:v>
                </c:pt>
                <c:pt idx="23">
                  <c:v>374.5333</c:v>
                </c:pt>
                <c:pt idx="24">
                  <c:v>375.9452</c:v>
                </c:pt>
                <c:pt idx="25">
                  <c:v>378.38</c:v>
                </c:pt>
                <c:pt idx="26">
                  <c:v>0.0</c:v>
                </c:pt>
                <c:pt idx="27">
                  <c:v>1615.0</c:v>
                </c:pt>
                <c:pt idx="28">
                  <c:v>0.0</c:v>
                </c:pt>
                <c:pt idx="29">
                  <c:v>0.0</c:v>
                </c:pt>
                <c:pt idx="30">
                  <c:v>666.0</c:v>
                </c:pt>
                <c:pt idx="31">
                  <c:v>0.0</c:v>
                </c:pt>
                <c:pt idx="32">
                  <c:v>1002.0</c:v>
                </c:pt>
                <c:pt idx="33">
                  <c:v>668.0</c:v>
                </c:pt>
                <c:pt idx="34">
                  <c:v>0.0</c:v>
                </c:pt>
                <c:pt idx="35">
                  <c:v>511.75</c:v>
                </c:pt>
                <c:pt idx="36">
                  <c:v>490.6977</c:v>
                </c:pt>
                <c:pt idx="37">
                  <c:v>427.84</c:v>
                </c:pt>
                <c:pt idx="38">
                  <c:v>464.7368</c:v>
                </c:pt>
                <c:pt idx="39">
                  <c:v>516.5652</c:v>
                </c:pt>
                <c:pt idx="40">
                  <c:v>482.8889</c:v>
                </c:pt>
                <c:pt idx="41">
                  <c:v>487.6923</c:v>
                </c:pt>
                <c:pt idx="42">
                  <c:v>440.9375</c:v>
                </c:pt>
                <c:pt idx="43">
                  <c:v>424.7778</c:v>
                </c:pt>
                <c:pt idx="44">
                  <c:v>450.1111</c:v>
                </c:pt>
                <c:pt idx="45">
                  <c:v>434.5882</c:v>
                </c:pt>
                <c:pt idx="46">
                  <c:v>438.7333</c:v>
                </c:pt>
                <c:pt idx="47">
                  <c:v>473.5385</c:v>
                </c:pt>
                <c:pt idx="48">
                  <c:v>484.7333</c:v>
                </c:pt>
                <c:pt idx="49">
                  <c:v>419.6667</c:v>
                </c:pt>
              </c:numCache>
            </c:numRef>
          </c:xVal>
          <c:yVal>
            <c:numRef>
              <c:f>Sheet1!$B$59:$B$108</c:f>
              <c:numCache>
                <c:formatCode>General</c:formatCode>
                <c:ptCount val="50"/>
                <c:pt idx="0">
                  <c:v>0.76</c:v>
                </c:pt>
                <c:pt idx="1">
                  <c:v>0.8461538461538461</c:v>
                </c:pt>
                <c:pt idx="2">
                  <c:v>0.9</c:v>
                </c:pt>
                <c:pt idx="3">
                  <c:v>0.8148148148148148</c:v>
                </c:pt>
                <c:pt idx="4">
                  <c:v>0.8536585365853658</c:v>
                </c:pt>
                <c:pt idx="5">
                  <c:v>0.8378378378378378</c:v>
                </c:pt>
                <c:pt idx="6">
                  <c:v>0.8571428571428571</c:v>
                </c:pt>
                <c:pt idx="7">
                  <c:v>0.967741935483871</c:v>
                </c:pt>
                <c:pt idx="8">
                  <c:v>0.9032258064516129</c:v>
                </c:pt>
                <c:pt idx="9">
                  <c:v>0.9</c:v>
                </c:pt>
                <c:pt idx="10">
                  <c:v>0.8636363636363636</c:v>
                </c:pt>
                <c:pt idx="11">
                  <c:v>0.9516129032258065</c:v>
                </c:pt>
                <c:pt idx="12">
                  <c:v>0.9381443298969072</c:v>
                </c:pt>
                <c:pt idx="13">
                  <c:v>0.8260869565217391</c:v>
                </c:pt>
                <c:pt idx="14">
                  <c:v>0.8571428571428571</c:v>
                </c:pt>
                <c:pt idx="15">
                  <c:v>0.7777777777777778</c:v>
                </c:pt>
                <c:pt idx="16">
                  <c:v>0.85</c:v>
                </c:pt>
                <c:pt idx="17">
                  <c:v>0.6666666666666666</c:v>
                </c:pt>
                <c:pt idx="18">
                  <c:v>0.6363636363636364</c:v>
                </c:pt>
                <c:pt idx="19">
                  <c:v>0.4375</c:v>
                </c:pt>
                <c:pt idx="20">
                  <c:v>0.45454545454545453</c:v>
                </c:pt>
                <c:pt idx="21">
                  <c:v>0.3333333333333333</c:v>
                </c:pt>
                <c:pt idx="22">
                  <c:v>0.9506172839506173</c:v>
                </c:pt>
                <c:pt idx="23">
                  <c:v>0.9574468085106383</c:v>
                </c:pt>
                <c:pt idx="24">
                  <c:v>0.73</c:v>
                </c:pt>
                <c:pt idx="25">
                  <c:v>0.9259259259259259</c:v>
                </c:pt>
                <c:pt idx="26">
                  <c:v>0.0</c:v>
                </c:pt>
                <c:pt idx="27">
                  <c:v>0.125</c:v>
                </c:pt>
                <c:pt idx="28">
                  <c:v>0.0</c:v>
                </c:pt>
                <c:pt idx="29">
                  <c:v>0.0</c:v>
                </c:pt>
                <c:pt idx="30">
                  <c:v>0.05555555555555555</c:v>
                </c:pt>
                <c:pt idx="31">
                  <c:v>0.0</c:v>
                </c:pt>
                <c:pt idx="32">
                  <c:v>0.05555555555555555</c:v>
                </c:pt>
                <c:pt idx="33">
                  <c:v>0.045454545454545456</c:v>
                </c:pt>
                <c:pt idx="34">
                  <c:v>0.0</c:v>
                </c:pt>
                <c:pt idx="35">
                  <c:v>0.23529411764705882</c:v>
                </c:pt>
                <c:pt idx="36">
                  <c:v>0.3359375</c:v>
                </c:pt>
                <c:pt idx="37">
                  <c:v>0.7692307692307693</c:v>
                </c:pt>
                <c:pt idx="38">
                  <c:v>0.6909090909090909</c:v>
                </c:pt>
                <c:pt idx="39">
                  <c:v>0.5609756097560976</c:v>
                </c:pt>
                <c:pt idx="40">
                  <c:v>0.1651376146788991</c:v>
                </c:pt>
                <c:pt idx="41">
                  <c:v>0.35135135135135137</c:v>
                </c:pt>
                <c:pt idx="42">
                  <c:v>0.37209302325581395</c:v>
                </c:pt>
                <c:pt idx="43">
                  <c:v>0.48214285714285715</c:v>
                </c:pt>
                <c:pt idx="44">
                  <c:v>0.43902439024390244</c:v>
                </c:pt>
                <c:pt idx="45">
                  <c:v>0.6071428571428571</c:v>
                </c:pt>
                <c:pt idx="46">
                  <c:v>0.4838709677419355</c:v>
                </c:pt>
                <c:pt idx="47">
                  <c:v>0.3939393939393939</c:v>
                </c:pt>
                <c:pt idx="48">
                  <c:v>0.22727272727272727</c:v>
                </c:pt>
                <c:pt idx="49">
                  <c:v>0.24</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2529.95099200301</c:v>
                </c:pt>
              </c:numCache>
            </c:numRef>
          </c:xVal>
          <c:yVal>
            <c:numRef>
              <c:f>Sheet1!$B$111:$B$112</c:f>
              <c:numCache>
                <c:formatCode>General</c:formatCode>
                <c:ptCount val="2"/>
                <c:pt idx="0">
                  <c:v>0.9883934495931777</c:v>
                </c:pt>
                <c:pt idx="1">
                  <c:v>0.9883934495931777</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2529.95099200301</c:v>
                </c:pt>
                <c:pt idx="1">
                  <c:v>2529.95099200301</c:v>
                </c:pt>
              </c:numCache>
            </c:numRef>
          </c:xVal>
          <c:yVal>
            <c:numRef>
              <c:f>Sheet1!$B$115:$B$116</c:f>
              <c:numCache>
                <c:formatCode>General</c:formatCode>
                <c:ptCount val="2"/>
                <c:pt idx="0">
                  <c:v>0.988393449593177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1983.2702040313275</c:v>
                </c:pt>
              </c:numCache>
            </c:numRef>
          </c:xVal>
          <c:yVal>
            <c:numRef>
              <c:f>Sheet1!$B$119:$B$120</c:f>
              <c:numCache>
                <c:formatCode>General</c:formatCode>
                <c:ptCount val="2"/>
                <c:pt idx="0">
                  <c:v>0.8600639593855784</c:v>
                </c:pt>
                <c:pt idx="1">
                  <c:v>0.8600639593855784</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1983.2702040313275</c:v>
                </c:pt>
                <c:pt idx="1">
                  <c:v>1983.2702040313275</c:v>
                </c:pt>
              </c:numCache>
            </c:numRef>
          </c:xVal>
          <c:yVal>
            <c:numRef>
              <c:f>Sheet1!$B$123:$B$124</c:f>
              <c:numCache>
                <c:formatCode>General</c:formatCode>
                <c:ptCount val="2"/>
                <c:pt idx="0">
                  <c:v>0.86006395938557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214.48124846327718</c:v>
                </c:pt>
              </c:numCache>
            </c:numRef>
          </c:xVal>
          <c:yVal>
            <c:numRef>
              <c:f>Sheet1!$B$127:$B$128</c:f>
              <c:numCache>
                <c:formatCode>General</c:formatCode>
                <c:ptCount val="2"/>
                <c:pt idx="0">
                  <c:v>0.4448531271281304</c:v>
                </c:pt>
                <c:pt idx="1">
                  <c:v>0.4448531271281304</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214.48124846327718</c:v>
                </c:pt>
                <c:pt idx="1">
                  <c:v>214.48124846327718</c:v>
                </c:pt>
              </c:numCache>
            </c:numRef>
          </c:xVal>
          <c:yVal>
            <c:numRef>
              <c:f>Sheet1!$B$131:$B$132</c:f>
              <c:numCache>
                <c:formatCode>General</c:formatCode>
                <c:ptCount val="2"/>
                <c:pt idx="0">
                  <c:v>0.444853127128130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7</c:f>
              <c:numCache>
                <c:formatCode>General</c:formatCode>
                <c:ptCount val="53"/>
                <c:pt idx="0">
                  <c:v>872.5263</c:v>
                </c:pt>
                <c:pt idx="1">
                  <c:v>889.9091</c:v>
                </c:pt>
                <c:pt idx="2">
                  <c:v>858.5926</c:v>
                </c:pt>
                <c:pt idx="3">
                  <c:v>852.8182</c:v>
                </c:pt>
                <c:pt idx="4">
                  <c:v>860.7429</c:v>
                </c:pt>
                <c:pt idx="5">
                  <c:v>860.9032</c:v>
                </c:pt>
                <c:pt idx="6">
                  <c:v>727.0</c:v>
                </c:pt>
                <c:pt idx="7">
                  <c:v>883.0</c:v>
                </c:pt>
                <c:pt idx="8">
                  <c:v>881.6786</c:v>
                </c:pt>
                <c:pt idx="9">
                  <c:v>770.6667</c:v>
                </c:pt>
                <c:pt idx="10">
                  <c:v>884.1842</c:v>
                </c:pt>
                <c:pt idx="11">
                  <c:v>585.3644</c:v>
                </c:pt>
                <c:pt idx="12">
                  <c:v>600.6593</c:v>
                </c:pt>
                <c:pt idx="13">
                  <c:v>870.7632</c:v>
                </c:pt>
                <c:pt idx="14">
                  <c:v>834.7</c:v>
                </c:pt>
                <c:pt idx="15">
                  <c:v>868.0952</c:v>
                </c:pt>
                <c:pt idx="16">
                  <c:v>855.2353</c:v>
                </c:pt>
                <c:pt idx="17">
                  <c:v>833.1</c:v>
                </c:pt>
                <c:pt idx="18">
                  <c:v>1154.0</c:v>
                </c:pt>
                <c:pt idx="19">
                  <c:v>1299.2857</c:v>
                </c:pt>
                <c:pt idx="20">
                  <c:v>1421.4</c:v>
                </c:pt>
                <c:pt idx="21">
                  <c:v>1765.0</c:v>
                </c:pt>
                <c:pt idx="22">
                  <c:v>377.1948</c:v>
                </c:pt>
                <c:pt idx="23">
                  <c:v>374.5333</c:v>
                </c:pt>
                <c:pt idx="24">
                  <c:v>375.9452</c:v>
                </c:pt>
                <c:pt idx="25">
                  <c:v>378.38</c:v>
                </c:pt>
                <c:pt idx="26">
                  <c:v>0.0</c:v>
                </c:pt>
                <c:pt idx="27">
                  <c:v>1615.0</c:v>
                </c:pt>
                <c:pt idx="28">
                  <c:v>0.0</c:v>
                </c:pt>
                <c:pt idx="29">
                  <c:v>0.0</c:v>
                </c:pt>
                <c:pt idx="30">
                  <c:v>666.0</c:v>
                </c:pt>
                <c:pt idx="31">
                  <c:v>0.0</c:v>
                </c:pt>
                <c:pt idx="32">
                  <c:v>1002.0</c:v>
                </c:pt>
                <c:pt idx="33">
                  <c:v>668.0</c:v>
                </c:pt>
                <c:pt idx="34">
                  <c:v>0.0</c:v>
                </c:pt>
                <c:pt idx="35">
                  <c:v>511.75</c:v>
                </c:pt>
                <c:pt idx="36">
                  <c:v>490.6977</c:v>
                </c:pt>
                <c:pt idx="37">
                  <c:v>427.84</c:v>
                </c:pt>
                <c:pt idx="38">
                  <c:v>464.7368</c:v>
                </c:pt>
                <c:pt idx="39">
                  <c:v>516.5652</c:v>
                </c:pt>
                <c:pt idx="40">
                  <c:v>482.8889</c:v>
                </c:pt>
                <c:pt idx="41">
                  <c:v>487.6923</c:v>
                </c:pt>
                <c:pt idx="42">
                  <c:v>440.9375</c:v>
                </c:pt>
                <c:pt idx="43">
                  <c:v>424.7778</c:v>
                </c:pt>
                <c:pt idx="44">
                  <c:v>450.1111</c:v>
                </c:pt>
                <c:pt idx="45">
                  <c:v>434.5882</c:v>
                </c:pt>
                <c:pt idx="46">
                  <c:v>438.7333</c:v>
                </c:pt>
                <c:pt idx="47">
                  <c:v>473.5385</c:v>
                </c:pt>
                <c:pt idx="48">
                  <c:v>484.7333</c:v>
                </c:pt>
                <c:pt idx="49">
                  <c:v>419.6667</c:v>
                </c:pt>
                <c:pt idx="50">
                  <c:v>1983.2702040313275</c:v>
                </c:pt>
                <c:pt idx="51">
                  <c:v>2529.95099200301</c:v>
                </c:pt>
                <c:pt idx="52">
                  <c:v>214.48124846327718</c:v>
                </c:pt>
              </c:numCache>
            </c:numRef>
          </c:xVal>
          <c:yVal>
            <c:numRef>
              <c:f>Sheet1!$B$135:$B$187</c:f>
              <c:numCache>
                <c:formatCode>General</c:formatCode>
                <c:ptCount val="53"/>
                <c:pt idx="0">
                  <c:v>0.5993245990645382</c:v>
                </c:pt>
                <c:pt idx="1">
                  <c:v>0.6034050897484291</c:v>
                </c:pt>
                <c:pt idx="2">
                  <c:v>0.596053760474545</c:v>
                </c:pt>
                <c:pt idx="3">
                  <c:v>0.5946982604742539</c:v>
                </c:pt>
                <c:pt idx="4">
                  <c:v>0.596558528355299</c:v>
                </c:pt>
                <c:pt idx="5">
                  <c:v>0.5965961576587845</c:v>
                </c:pt>
                <c:pt idx="6">
                  <c:v>0.5651633182921003</c:v>
                </c:pt>
                <c:pt idx="7">
                  <c:v>0.6017832268618934</c:v>
                </c:pt>
                <c:pt idx="8">
                  <c:v>0.6014730374568671</c:v>
                </c:pt>
                <c:pt idx="9">
                  <c:v>0.5754137706096939</c:v>
                </c:pt>
                <c:pt idx="10">
                  <c:v>0.6020612095268189</c:v>
                </c:pt>
                <c:pt idx="11">
                  <c:v>0.5319153521239735</c:v>
                </c:pt>
                <c:pt idx="12">
                  <c:v>0.5355057228905384</c:v>
                </c:pt>
                <c:pt idx="13">
                  <c:v>0.5989107236747984</c:v>
                </c:pt>
                <c:pt idx="14">
                  <c:v>0.5904451397854769</c:v>
                </c:pt>
                <c:pt idx="15">
                  <c:v>0.5982844293410534</c:v>
                </c:pt>
                <c:pt idx="16">
                  <c:v>0.5952656577883824</c:v>
                </c:pt>
                <c:pt idx="17">
                  <c:v>0.5900695509796328</c:v>
                </c:pt>
                <c:pt idx="18">
                  <c:v>0.6653985808517264</c:v>
                </c:pt>
                <c:pt idx="19">
                  <c:v>0.6995033824574854</c:v>
                </c:pt>
                <c:pt idx="20">
                  <c:v>0.7281688600284104</c:v>
                </c:pt>
                <c:pt idx="21">
                  <c:v>0.8088265560834162</c:v>
                </c:pt>
                <c:pt idx="22">
                  <c:v>0.48304899495082987</c:v>
                </c:pt>
                <c:pt idx="23">
                  <c:v>0.48242422644660865</c:v>
                </c:pt>
                <c:pt idx="24">
                  <c:v>0.48275566009346565</c:v>
                </c:pt>
                <c:pt idx="25">
                  <c:v>0.4833272123587588</c:v>
                </c:pt>
                <c:pt idx="26">
                  <c:v>0.39450515463671826</c:v>
                </c:pt>
                <c:pt idx="27">
                  <c:v>0.7736151055355382</c:v>
                </c:pt>
                <c:pt idx="28">
                  <c:v>0.39450515463671826</c:v>
                </c:pt>
                <c:pt idx="29">
                  <c:v>0.39450515463671826</c:v>
                </c:pt>
                <c:pt idx="30">
                  <c:v>0.5508439950692967</c:v>
                </c:pt>
                <c:pt idx="31">
                  <c:v>0.39450515463671826</c:v>
                </c:pt>
                <c:pt idx="32">
                  <c:v>0.6297176442965434</c:v>
                </c:pt>
                <c:pt idx="33">
                  <c:v>0.5513134810766017</c:v>
                </c:pt>
                <c:pt idx="34">
                  <c:v>0.39450515463671826</c:v>
                </c:pt>
                <c:pt idx="35">
                  <c:v>0.5146348867558954</c:v>
                </c:pt>
                <c:pt idx="36">
                  <c:v>0.5096930066201015</c:v>
                </c:pt>
                <c:pt idx="37">
                  <c:v>0.49493760131941245</c:v>
                </c:pt>
                <c:pt idx="38">
                  <c:v>0.5035988669765787</c:v>
                </c:pt>
                <c:pt idx="39">
                  <c:v>0.515765221267083</c:v>
                </c:pt>
                <c:pt idx="40">
                  <c:v>0.5078599454531797</c:v>
                </c:pt>
                <c:pt idx="41">
                  <c:v>0.5089875099969242</c:v>
                </c:pt>
                <c:pt idx="42">
                  <c:v>0.49801214780975134</c:v>
                </c:pt>
                <c:pt idx="43">
                  <c:v>0.49421877129362773</c:v>
                </c:pt>
                <c:pt idx="44">
                  <c:v>0.5001655862280581</c:v>
                </c:pt>
                <c:pt idx="45">
                  <c:v>0.4965216940566604</c:v>
                </c:pt>
                <c:pt idx="46">
                  <c:v>0.49749472728110045</c:v>
                </c:pt>
                <c:pt idx="47">
                  <c:v>0.5056650044718272</c:v>
                </c:pt>
                <c:pt idx="48">
                  <c:v>0.5082929054491164</c:v>
                </c:pt>
                <c:pt idx="49">
                  <c:v>0.49301897632765934</c:v>
                </c:pt>
                <c:pt idx="50">
                  <c:v>0.8600639593855784</c:v>
                </c:pt>
                <c:pt idx="51">
                  <c:v>0.9883934495931777</c:v>
                </c:pt>
                <c:pt idx="52">
                  <c:v>0.444853127128130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3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2282958199356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6071428571428571</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35</c:f>
              <c:numCache>
                <c:formatCode>General</c:formatCode>
                <c:ptCount val="31"/>
                <c:pt idx="0">
                  <c:v>1.166835187057634</c:v>
                </c:pt>
                <c:pt idx="1">
                  <c:v>1.1593863724156344</c:v>
                </c:pt>
                <c:pt idx="2">
                  <c:v>0.8984829329962074</c:v>
                </c:pt>
                <c:pt idx="3">
                  <c:v>1.115676359039191</c:v>
                </c:pt>
                <c:pt idx="4">
                  <c:v>0.3179054361567636</c:v>
                </c:pt>
                <c:pt idx="5">
                  <c:v>0.2706165462427746</c:v>
                </c:pt>
                <c:pt idx="6">
                  <c:v>0.37609236494240195</c:v>
                </c:pt>
                <c:pt idx="7">
                  <c:v>0.21257303370786518</c:v>
                </c:pt>
                <c:pt idx="8">
                  <c:v>0.0</c:v>
                </c:pt>
                <c:pt idx="9">
                  <c:v>1.0886417256488035</c:v>
                </c:pt>
                <c:pt idx="10">
                  <c:v>0.0</c:v>
                </c:pt>
                <c:pt idx="11">
                  <c:v>0.0</c:v>
                </c:pt>
                <c:pt idx="12">
                  <c:v>0.7110709475842485</c:v>
                </c:pt>
                <c:pt idx="13">
                  <c:v>0.0</c:v>
                </c:pt>
                <c:pt idx="14">
                  <c:v>1.075620177689877</c:v>
                </c:pt>
                <c:pt idx="15">
                  <c:v>0.7127233929047746</c:v>
                </c:pt>
                <c:pt idx="16">
                  <c:v>0.0</c:v>
                </c:pt>
                <c:pt idx="17">
                  <c:v>0.3101515151515152</c:v>
                </c:pt>
                <c:pt idx="18">
                  <c:v>0.5534616952407034</c:v>
                </c:pt>
                <c:pt idx="19">
                  <c:v>0.2475925925925926</c:v>
                </c:pt>
                <c:pt idx="20">
                  <c:v>0.433657964738477</c:v>
                </c:pt>
                <c:pt idx="21">
                  <c:v>0.3180820197044335</c:v>
                </c:pt>
                <c:pt idx="22">
                  <c:v>0.5446381180555352</c:v>
                </c:pt>
                <c:pt idx="23">
                  <c:v>0.5176415382422348</c:v>
                </c:pt>
                <c:pt idx="24">
                  <c:v>0.4559064119970218</c:v>
                </c:pt>
                <c:pt idx="25">
                  <c:v>0.42470700134287614</c:v>
                </c:pt>
                <c:pt idx="26">
                  <c:v>0.4653914366571968</c:v>
                </c:pt>
                <c:pt idx="27">
                  <c:v>0.44361304347826086</c:v>
                </c:pt>
                <c:pt idx="28">
                  <c:v>0.3889433264887064</c:v>
                </c:pt>
                <c:pt idx="29">
                  <c:v>0.48277107695770544</c:v>
                </c:pt>
                <c:pt idx="30">
                  <c:v>0.40210797182663777</c:v>
                </c:pt>
              </c:numCache>
            </c:numRef>
          </c:xVal>
          <c:yVal>
            <c:numRef>
              <c:f>Sheet1!$B$5:$B$35</c:f>
              <c:numCache>
                <c:formatCode>General</c:formatCode>
                <c:ptCount val="31"/>
                <c:pt idx="0">
                  <c:v>0.6363636363636364</c:v>
                </c:pt>
                <c:pt idx="1">
                  <c:v>0.4375</c:v>
                </c:pt>
                <c:pt idx="2">
                  <c:v>0.45454545454545453</c:v>
                </c:pt>
                <c:pt idx="3">
                  <c:v>0.3333333333333333</c:v>
                </c:pt>
                <c:pt idx="4">
                  <c:v>0.9506172839506173</c:v>
                </c:pt>
                <c:pt idx="5">
                  <c:v>0.9574468085106383</c:v>
                </c:pt>
                <c:pt idx="6">
                  <c:v>0.73</c:v>
                </c:pt>
                <c:pt idx="7">
                  <c:v>0.9259259259259259</c:v>
                </c:pt>
                <c:pt idx="8">
                  <c:v>0.0</c:v>
                </c:pt>
                <c:pt idx="9">
                  <c:v>0.125</c:v>
                </c:pt>
                <c:pt idx="10">
                  <c:v>0.0</c:v>
                </c:pt>
                <c:pt idx="11">
                  <c:v>0.0</c:v>
                </c:pt>
                <c:pt idx="12">
                  <c:v>0.05555555555555555</c:v>
                </c:pt>
                <c:pt idx="13">
                  <c:v>0.0</c:v>
                </c:pt>
                <c:pt idx="14">
                  <c:v>0.05555555555555555</c:v>
                </c:pt>
                <c:pt idx="15">
                  <c:v>0.045454545454545456</c:v>
                </c:pt>
                <c:pt idx="16">
                  <c:v>0.0</c:v>
                </c:pt>
                <c:pt idx="17">
                  <c:v>0.23529411764705882</c:v>
                </c:pt>
                <c:pt idx="18">
                  <c:v>0.3359375</c:v>
                </c:pt>
                <c:pt idx="19">
                  <c:v>0.7692307692307693</c:v>
                </c:pt>
                <c:pt idx="20">
                  <c:v>0.6909090909090909</c:v>
                </c:pt>
                <c:pt idx="21">
                  <c:v>0.5609756097560976</c:v>
                </c:pt>
                <c:pt idx="22">
                  <c:v>0.1651376146788991</c:v>
                </c:pt>
                <c:pt idx="23">
                  <c:v>0.35135135135135137</c:v>
                </c:pt>
                <c:pt idx="24">
                  <c:v>0.37209302325581395</c:v>
                </c:pt>
                <c:pt idx="25">
                  <c:v>0.48214285714285715</c:v>
                </c:pt>
                <c:pt idx="26">
                  <c:v>0.43902439024390244</c:v>
                </c:pt>
                <c:pt idx="27">
                  <c:v>0.4838709677419355</c:v>
                </c:pt>
                <c:pt idx="28">
                  <c:v>0.3939393939393939</c:v>
                </c:pt>
                <c:pt idx="29">
                  <c:v>0.22727272727272727</c:v>
                </c:pt>
                <c:pt idx="30">
                  <c:v>0.24</c:v>
                </c:pt>
              </c:numCache>
            </c:numRef>
          </c:yVal>
          <c:smooth val="0"/>
          <c:extLst>
            <c:ext xmlns:c16="http://schemas.microsoft.com/office/drawing/2014/chart" uri="{C3380CC4-5D6E-409C-BE32-E72D297353CC}">
              <c16:uniqueId val="{00000002-096C-4121-9522-6AB7243CCAAE}"/>
            </c:ext>
          </c:extLst>
        </c:ser>
        <c:ser>
          <c:idx val="2"/>
          <c:order val="2"/>
          <c:tx>
            <c:strRef>
              <c:f>Sheet1!$B$3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38:$A$39</c:f>
              <c:numCache>
                <c:formatCode>General</c:formatCode>
                <c:ptCount val="2"/>
                <c:pt idx="0">
                  <c:v>0</c:v>
                </c:pt>
                <c:pt idx="1">
                  <c:v>3.943113152543384</c:v>
                </c:pt>
              </c:numCache>
            </c:numRef>
          </c:xVal>
          <c:yVal>
            <c:numRef>
              <c:f>Sheet1!$B$38:$B$39</c:f>
              <c:numCache>
                <c:formatCode>General</c:formatCode>
                <c:ptCount val="2"/>
                <c:pt idx="0">
                  <c:v>0.4654356060606061</c:v>
                </c:pt>
                <c:pt idx="1">
                  <c:v>0.4654356060606061</c:v>
                </c:pt>
              </c:numCache>
            </c:numRef>
          </c:yVal>
          <c:smooth val="0"/>
          <c:extLst>
            <c:ext xmlns:c16="http://schemas.microsoft.com/office/drawing/2014/chart" uri="{C3380CC4-5D6E-409C-BE32-E72D297353CC}">
              <c16:uniqueId val="{00000005-096C-4121-9522-6AB7243CCAAE}"/>
            </c:ext>
          </c:extLst>
        </c:ser>
        <c:ser>
          <c:idx val="3"/>
          <c:order val="3"/>
          <c:tx>
            <c:strRef>
              <c:f>Sheet1!$B$4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2:$A$43</c:f>
              <c:numCache>
                <c:formatCode>General</c:formatCode>
                <c:ptCount val="2"/>
                <c:pt idx="0">
                  <c:v>3.943113152543384</c:v>
                </c:pt>
                <c:pt idx="1">
                  <c:v>3.943113152543384</c:v>
                </c:pt>
              </c:numCache>
            </c:numRef>
          </c:xVal>
          <c:yVal>
            <c:numRef>
              <c:f>Sheet1!$B$42:$B$43</c:f>
              <c:numCache>
                <c:formatCode>General</c:formatCode>
                <c:ptCount val="2"/>
                <c:pt idx="0">
                  <c:v>0.465435606060606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4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46:$A$47</c:f>
              <c:numCache>
                <c:formatCode>General</c:formatCode>
                <c:ptCount val="2"/>
                <c:pt idx="0">
                  <c:v>0</c:v>
                </c:pt>
                <c:pt idx="1">
                  <c:v>3.943113152543384</c:v>
                </c:pt>
              </c:numCache>
            </c:numRef>
          </c:xVal>
          <c:yVal>
            <c:numRef>
              <c:f>Sheet1!$B$46:$B$47</c:f>
              <c:numCache>
                <c:formatCode>General</c:formatCode>
                <c:ptCount val="2"/>
                <c:pt idx="0">
                  <c:v>0.4654356060606061</c:v>
                </c:pt>
                <c:pt idx="1">
                  <c:v>0.4654356060606061</c:v>
                </c:pt>
              </c:numCache>
            </c:numRef>
          </c:yVal>
          <c:smooth val="0"/>
          <c:extLst>
            <c:ext xmlns:c16="http://schemas.microsoft.com/office/drawing/2014/chart" uri="{C3380CC4-5D6E-409C-BE32-E72D297353CC}">
              <c16:uniqueId val="{0000000D-096C-4121-9522-6AB7243CCAAE}"/>
            </c:ext>
          </c:extLst>
        </c:ser>
        <c:ser>
          <c:idx val="5"/>
          <c:order val="5"/>
          <c:tx>
            <c:strRef>
              <c:f>Sheet1!$B$4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0:$A$51</c:f>
              <c:numCache>
                <c:formatCode>General</c:formatCode>
                <c:ptCount val="2"/>
                <c:pt idx="0">
                  <c:v>3.943113152543384</c:v>
                </c:pt>
                <c:pt idx="1">
                  <c:v>3.943113152543384</c:v>
                </c:pt>
              </c:numCache>
            </c:numRef>
          </c:xVal>
          <c:yVal>
            <c:numRef>
              <c:f>Sheet1!$B$50:$B$51</c:f>
              <c:numCache>
                <c:formatCode>General</c:formatCode>
                <c:ptCount val="2"/>
                <c:pt idx="0">
                  <c:v>0.465435606060606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5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54:$A$55</c:f>
              <c:numCache>
                <c:formatCode>General</c:formatCode>
                <c:ptCount val="2"/>
                <c:pt idx="0">
                  <c:v>0</c:v>
                </c:pt>
                <c:pt idx="1">
                  <c:v>3.201609133748324</c:v>
                </c:pt>
              </c:numCache>
            </c:numRef>
          </c:xVal>
          <c:yVal>
            <c:numRef>
              <c:f>Sheet1!$B$54:$B$55</c:f>
              <c:numCache>
                <c:formatCode>General</c:formatCode>
                <c:ptCount val="2"/>
                <c:pt idx="0">
                  <c:v>0.4448531271281304</c:v>
                </c:pt>
                <c:pt idx="1">
                  <c:v>0.4448531271281304</c:v>
                </c:pt>
              </c:numCache>
            </c:numRef>
          </c:yVal>
          <c:smooth val="0"/>
          <c:extLst>
            <c:ext xmlns:c16="http://schemas.microsoft.com/office/drawing/2014/chart" uri="{C3380CC4-5D6E-409C-BE32-E72D297353CC}">
              <c16:uniqueId val="{00000015-096C-4121-9522-6AB7243CCAAE}"/>
            </c:ext>
          </c:extLst>
        </c:ser>
        <c:ser>
          <c:idx val="7"/>
          <c:order val="7"/>
          <c:tx>
            <c:strRef>
              <c:f>Sheet1!$B$5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8:$A$59</c:f>
              <c:numCache>
                <c:formatCode>General</c:formatCode>
                <c:ptCount val="2"/>
                <c:pt idx="0">
                  <c:v>3.201609133748324</c:v>
                </c:pt>
                <c:pt idx="1">
                  <c:v>3.201609133748324</c:v>
                </c:pt>
              </c:numCache>
            </c:numRef>
          </c:xVal>
          <c:yVal>
            <c:numRef>
              <c:f>Sheet1!$B$58:$B$59</c:f>
              <c:numCache>
                <c:formatCode>General</c:formatCode>
                <c:ptCount val="2"/>
                <c:pt idx="0">
                  <c:v>0.444853127128130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6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62:$A$95</c:f>
              <c:numCache>
                <c:formatCode>General</c:formatCode>
                <c:ptCount val="34"/>
                <c:pt idx="0">
                  <c:v>1.166835187057634</c:v>
                </c:pt>
                <c:pt idx="1">
                  <c:v>1.1593863724156344</c:v>
                </c:pt>
                <c:pt idx="2">
                  <c:v>0.8984829329962074</c:v>
                </c:pt>
                <c:pt idx="3">
                  <c:v>1.115676359039191</c:v>
                </c:pt>
                <c:pt idx="4">
                  <c:v>0.3179054361567636</c:v>
                </c:pt>
                <c:pt idx="5">
                  <c:v>0.2706165462427746</c:v>
                </c:pt>
                <c:pt idx="6">
                  <c:v>0.37609236494240195</c:v>
                </c:pt>
                <c:pt idx="7">
                  <c:v>0.21257303370786518</c:v>
                </c:pt>
                <c:pt idx="8">
                  <c:v>0.0</c:v>
                </c:pt>
                <c:pt idx="9">
                  <c:v>1.0886417256488035</c:v>
                </c:pt>
                <c:pt idx="10">
                  <c:v>0.0</c:v>
                </c:pt>
                <c:pt idx="11">
                  <c:v>0.0</c:v>
                </c:pt>
                <c:pt idx="12">
                  <c:v>0.7110709475842485</c:v>
                </c:pt>
                <c:pt idx="13">
                  <c:v>0.0</c:v>
                </c:pt>
                <c:pt idx="14">
                  <c:v>1.075620177689877</c:v>
                </c:pt>
                <c:pt idx="15">
                  <c:v>0.7127233929047746</c:v>
                </c:pt>
                <c:pt idx="16">
                  <c:v>0.0</c:v>
                </c:pt>
                <c:pt idx="17">
                  <c:v>0.3101515151515152</c:v>
                </c:pt>
                <c:pt idx="18">
                  <c:v>0.5534616952407034</c:v>
                </c:pt>
                <c:pt idx="19">
                  <c:v>0.2475925925925926</c:v>
                </c:pt>
                <c:pt idx="20">
                  <c:v>0.433657964738477</c:v>
                </c:pt>
                <c:pt idx="21">
                  <c:v>0.3180820197044335</c:v>
                </c:pt>
                <c:pt idx="22">
                  <c:v>0.5446381180555352</c:v>
                </c:pt>
                <c:pt idx="23">
                  <c:v>0.5176415382422348</c:v>
                </c:pt>
                <c:pt idx="24">
                  <c:v>0.4559064119970218</c:v>
                </c:pt>
                <c:pt idx="25">
                  <c:v>0.42470700134287614</c:v>
                </c:pt>
                <c:pt idx="26">
                  <c:v>0.4653914366571968</c:v>
                </c:pt>
                <c:pt idx="27">
                  <c:v>0.44361304347826086</c:v>
                </c:pt>
                <c:pt idx="28">
                  <c:v>0.3889433264887064</c:v>
                </c:pt>
                <c:pt idx="29">
                  <c:v>0.48277107695770544</c:v>
                </c:pt>
                <c:pt idx="30">
                  <c:v>0.40210797182663777</c:v>
                </c:pt>
                <c:pt idx="31">
                  <c:v>3.943113152543384</c:v>
                </c:pt>
                <c:pt idx="32">
                  <c:v>3.943113152543384</c:v>
                </c:pt>
                <c:pt idx="33">
                  <c:v>3.201609133748324</c:v>
                </c:pt>
              </c:numCache>
            </c:numRef>
          </c:xVal>
          <c:yVal>
            <c:numRef>
              <c:f>Sheet1!$B$62:$B$95</c:f>
              <c:numCache>
                <c:formatCode>General</c:formatCode>
                <c:ptCount val="34"/>
                <c:pt idx="0">
                  <c:v>0.38837239225879366</c:v>
                </c:pt>
                <c:pt idx="1">
                  <c:v>0.38816562996681037</c:v>
                </c:pt>
                <c:pt idx="2">
                  <c:v>0.38092353901498105</c:v>
                </c:pt>
                <c:pt idx="3">
                  <c:v>0.38695233859325745</c:v>
                </c:pt>
                <c:pt idx="4">
                  <c:v>0.364808017325988</c:v>
                </c:pt>
                <c:pt idx="5">
                  <c:v>0.3634953844127147</c:v>
                </c:pt>
                <c:pt idx="6">
                  <c:v>0.3664231552153578</c:v>
                </c:pt>
                <c:pt idx="7">
                  <c:v>0.36188422743495746</c:v>
                </c:pt>
                <c:pt idx="8">
                  <c:v>0.3559836795255687</c:v>
                </c:pt>
                <c:pt idx="9">
                  <c:v>0.38620191815304317</c:v>
                </c:pt>
                <c:pt idx="10">
                  <c:v>0.3559836795255687</c:v>
                </c:pt>
                <c:pt idx="11">
                  <c:v>0.3559836795255687</c:v>
                </c:pt>
                <c:pt idx="12">
                  <c:v>0.37572140504987683</c:v>
                </c:pt>
                <c:pt idx="13">
                  <c:v>0.3559836795255687</c:v>
                </c:pt>
                <c:pt idx="14">
                  <c:v>0.3858404693547368</c:v>
                </c:pt>
                <c:pt idx="15">
                  <c:v>0.37576727320451214</c:v>
                </c:pt>
                <c:pt idx="16">
                  <c:v>0.3559836795255687</c:v>
                </c:pt>
                <c:pt idx="17">
                  <c:v>0.36459278596959704</c:v>
                </c:pt>
                <c:pt idx="18">
                  <c:v>0.37134652772797677</c:v>
                </c:pt>
                <c:pt idx="19">
                  <c:v>0.3628562913950973</c:v>
                </c:pt>
                <c:pt idx="20">
                  <c:v>0.36802104641352473</c:v>
                </c:pt>
                <c:pt idx="21">
                  <c:v>0.36481291888694733</c:v>
                </c:pt>
                <c:pt idx="22">
                  <c:v>0.3711016051288816</c:v>
                </c:pt>
                <c:pt idx="23">
                  <c:v>0.3703522409701288</c:v>
                </c:pt>
                <c:pt idx="24">
                  <c:v>0.3686386131230396</c:v>
                </c:pt>
                <c:pt idx="25">
                  <c:v>0.3677725878605762</c:v>
                </c:pt>
                <c:pt idx="26">
                  <c:v>0.3689018960119972</c:v>
                </c:pt>
                <c:pt idx="27">
                  <c:v>0.36829737694341946</c:v>
                </c:pt>
                <c:pt idx="28">
                  <c:v>0.3667798689196458</c:v>
                </c:pt>
                <c:pt idx="29">
                  <c:v>0.36938431562304735</c:v>
                </c:pt>
                <c:pt idx="30">
                  <c:v>0.36714528977840505</c:v>
                </c:pt>
                <c:pt idx="31">
                  <c:v>0.4654356060606061</c:v>
                </c:pt>
                <c:pt idx="32">
                  <c:v>0.4654356060606061</c:v>
                </c:pt>
                <c:pt idx="33">
                  <c:v>0.444853127128130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4893617021276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5677793978721144</c:v>
                </c:pt>
                <c:pt idx="1">
                  <c:v>0.17499509654897982</c:v>
                </c:pt>
                <c:pt idx="2">
                  <c:v>0.178392982643695</c:v>
                </c:pt>
                <c:pt idx="3">
                  <c:v>0.18111153513395492</c:v>
                </c:pt>
                <c:pt idx="4">
                  <c:v>0.1745183600093396</c:v>
                </c:pt>
                <c:pt idx="5">
                  <c:v>0.17209385127800708</c:v>
                </c:pt>
                <c:pt idx="6">
                  <c:v>0.1741355736299369</c:v>
                </c:pt>
                <c:pt idx="7">
                  <c:v>0.17100629283184762</c:v>
                </c:pt>
                <c:pt idx="8">
                  <c:v>0.17018236789712843</c:v>
                </c:pt>
                <c:pt idx="9">
                  <c:v>0.16799833096648667</c:v>
                </c:pt>
                <c:pt idx="10">
                  <c:v>0.17133630644447215</c:v>
                </c:pt>
                <c:pt idx="11">
                  <c:v>0.1789936837067275</c:v>
                </c:pt>
                <c:pt idx="12">
                  <c:v>0.1805095019248056</c:v>
                </c:pt>
                <c:pt idx="13">
                  <c:v>0.1730517710606467</c:v>
                </c:pt>
                <c:pt idx="14">
                  <c:v>0.1802898438857593</c:v>
                </c:pt>
                <c:pt idx="15">
                  <c:v>0.18055483049857526</c:v>
                </c:pt>
                <c:pt idx="16">
                  <c:v>0.17149726114476</c:v>
                </c:pt>
                <c:pt idx="17">
                  <c:v>0.1705998212317504</c:v>
                </c:pt>
                <c:pt idx="18">
                  <c:v>0.16257369517001014</c:v>
                </c:pt>
                <c:pt idx="19">
                  <c:v>0.16598941931396397</c:v>
                </c:pt>
                <c:pt idx="20">
                  <c:v>0.17413945957646595</c:v>
                </c:pt>
                <c:pt idx="21">
                  <c:v>0.16633630717830244</c:v>
                </c:pt>
                <c:pt idx="22">
                  <c:v>0.15707447916958792</c:v>
                </c:pt>
                <c:pt idx="23">
                  <c:v>0.15298651968089022</c:v>
                </c:pt>
                <c:pt idx="24">
                  <c:v>0.15537394618177927</c:v>
                </c:pt>
                <c:pt idx="25">
                  <c:v>0.14720188799355582</c:v>
                </c:pt>
                <c:pt idx="26">
                  <c:v>0.15239295232243377</c:v>
                </c:pt>
                <c:pt idx="27">
                  <c:v>0.1528845977925333</c:v>
                </c:pt>
                <c:pt idx="28">
                  <c:v>0.15019288306863085</c:v>
                </c:pt>
                <c:pt idx="29">
                  <c:v>0.14465772063376678</c:v>
                </c:pt>
                <c:pt idx="30">
                  <c:v>0.13971838436144088</c:v>
                </c:pt>
                <c:pt idx="31">
                  <c:v>0.13420401990601522</c:v>
                </c:pt>
                <c:pt idx="32">
                  <c:v>0.13450806181932345</c:v>
                </c:pt>
                <c:pt idx="33">
                  <c:v>0.13270489753925202</c:v>
                </c:pt>
                <c:pt idx="34">
                  <c:v>0.15046581857159375</c:v>
                </c:pt>
                <c:pt idx="35">
                  <c:v>0.16323638859834644</c:v>
                </c:pt>
                <c:pt idx="36">
                  <c:v>0.1541394594286292</c:v>
                </c:pt>
                <c:pt idx="37">
                  <c:v>0.1441934685603717</c:v>
                </c:pt>
                <c:pt idx="38">
                  <c:v>0.1519943650557668</c:v>
                </c:pt>
                <c:pt idx="39">
                  <c:v>0.15340631712523306</c:v>
                </c:pt>
                <c:pt idx="40">
                  <c:v>0.1709213947363425</c:v>
                </c:pt>
                <c:pt idx="41">
                  <c:v>0.16380061209981364</c:v>
                </c:pt>
                <c:pt idx="42">
                  <c:v>0.16475725469169403</c:v>
                </c:pt>
                <c:pt idx="43">
                  <c:v>0.17338450400537242</c:v>
                </c:pt>
                <c:pt idx="44">
                  <c:v>0.1709316092109892</c:v>
                </c:pt>
                <c:pt idx="45">
                  <c:v>0.17266681622819816</c:v>
                </c:pt>
                <c:pt idx="46">
                  <c:v>0.17105955221080948</c:v>
                </c:pt>
                <c:pt idx="47">
                  <c:v>0.16401563683385229</c:v>
                </c:pt>
                <c:pt idx="48">
                  <c:v>0.18661390575618148</c:v>
                </c:pt>
                <c:pt idx="49">
                  <c:v>0.19729878587176966</c:v>
                </c:pt>
                <c:pt idx="50">
                  <c:v>0.17206209168820272</c:v>
                </c:pt>
                <c:pt idx="51">
                  <c:v>0.1642192483183242</c:v>
                </c:pt>
                <c:pt idx="52">
                  <c:v>0.181194431514472</c:v>
                </c:pt>
                <c:pt idx="53">
                  <c:v>0.17913998242323742</c:v>
                </c:pt>
                <c:pt idx="54">
                  <c:v>0.17613717105051696</c:v>
                </c:pt>
                <c:pt idx="55">
                  <c:v>0.17205132776440735</c:v>
                </c:pt>
                <c:pt idx="56">
                  <c:v>0.177279720937455</c:v>
                </c:pt>
                <c:pt idx="57">
                  <c:v>0.17283936839334055</c:v>
                </c:pt>
                <c:pt idx="58">
                  <c:v>0.18331012004555022</c:v>
                </c:pt>
                <c:pt idx="59">
                  <c:v>0.2083560245390256</c:v>
                </c:pt>
                <c:pt idx="60">
                  <c:v>0.2107396911409565</c:v>
                </c:pt>
                <c:pt idx="61">
                  <c:v>0.19592714758892624</c:v>
                </c:pt>
                <c:pt idx="62">
                  <c:v>0.19466730532249396</c:v>
                </c:pt>
                <c:pt idx="63">
                  <c:v>0.1994920352626023</c:v>
                </c:pt>
                <c:pt idx="64">
                  <c:v>0.2032235102744244</c:v>
                </c:pt>
                <c:pt idx="65">
                  <c:v>0.19210912218286189</c:v>
                </c:pt>
                <c:pt idx="66">
                  <c:v>0.18786758605230505</c:v>
                </c:pt>
                <c:pt idx="67">
                  <c:v>0.1902543653523277</c:v>
                </c:pt>
                <c:pt idx="68">
                  <c:v>0.1749482645173101</c:v>
                </c:pt>
                <c:pt idx="69">
                  <c:v>0.16497914207709954</c:v>
                </c:pt>
                <c:pt idx="70">
                  <c:v>0.16114928829923178</c:v>
                </c:pt>
                <c:pt idx="71">
                  <c:v>0.16475342152801903</c:v>
                </c:pt>
                <c:pt idx="72">
                  <c:v>0.17435313193931634</c:v>
                </c:pt>
                <c:pt idx="73">
                  <c:v>0.17472183262493854</c:v>
                </c:pt>
                <c:pt idx="74">
                  <c:v>0.17124576094654304</c:v>
                </c:pt>
                <c:pt idx="75">
                  <c:v>0.16576602399500873</c:v>
                </c:pt>
                <c:pt idx="76">
                  <c:v>0.16063827431877015</c:v>
                </c:pt>
                <c:pt idx="77">
                  <c:v>0.16096443854149403</c:v>
                </c:pt>
                <c:pt idx="78">
                  <c:v>0.16284677230224634</c:v>
                </c:pt>
                <c:pt idx="79">
                  <c:v>0.11299295173810743</c:v>
                </c:pt>
                <c:pt idx="80">
                  <c:v>0.11283815657040223</c:v>
                </c:pt>
                <c:pt idx="81">
                  <c:v>0.1459535520948229</c:v>
                </c:pt>
                <c:pt idx="82">
                  <c:v>0.1401214535641252</c:v>
                </c:pt>
                <c:pt idx="83">
                  <c:v>0.13274815236627874</c:v>
                </c:pt>
                <c:pt idx="84">
                  <c:v>0.12987018989291826</c:v>
                </c:pt>
                <c:pt idx="85">
                  <c:v>0.13722176699869484</c:v>
                </c:pt>
                <c:pt idx="86">
                  <c:v>0.1575176449562385</c:v>
                </c:pt>
                <c:pt idx="87">
                  <c:v>0.17691363894278517</c:v>
                </c:pt>
                <c:pt idx="88">
                  <c:v>0.15579302015755694</c:v>
                </c:pt>
                <c:pt idx="89">
                  <c:v>0.14286457729120067</c:v>
                </c:pt>
                <c:pt idx="90">
                  <c:v>0.14980558427975138</c:v>
                </c:pt>
                <c:pt idx="91">
                  <c:v>0.15873601818346886</c:v>
                </c:pt>
                <c:pt idx="92">
                  <c:v>0.16625607624424962</c:v>
                </c:pt>
                <c:pt idx="93">
                  <c:v>0.1664400666606935</c:v>
                </c:pt>
                <c:pt idx="94">
                  <c:v>0.16175706654860553</c:v>
                </c:pt>
                <c:pt idx="95">
                  <c:v>0.17356083965327812</c:v>
                </c:pt>
                <c:pt idx="96">
                  <c:v>0.17816066505473588</c:v>
                </c:pt>
                <c:pt idx="97">
                  <c:v>0.19063811115263873</c:v>
                </c:pt>
                <c:pt idx="98">
                  <c:v>0.20006311266839283</c:v>
                </c:pt>
                <c:pt idx="99">
                  <c:v>0.2017066926065482</c:v>
                </c:pt>
                <c:pt idx="100">
                  <c:v>0.21780505110443082</c:v>
                </c:pt>
                <c:pt idx="101">
                  <c:v>0.20407159014679108</c:v>
                </c:pt>
                <c:pt idx="102">
                  <c:v>0.20756088393453673</c:v>
                </c:pt>
                <c:pt idx="103">
                  <c:v>0.18014899366069584</c:v>
                </c:pt>
                <c:pt idx="104">
                  <c:v>0.19183524779612704</c:v>
                </c:pt>
              </c:numCache>
            </c:numRef>
          </c:xVal>
          <c:yVal>
            <c:numRef>
              <c:f>Sheet1!$B$2:$B$106</c:f>
              <c:numCache>
                <c:formatCode>General</c:formatCode>
                <c:ptCount val="105"/>
                <c:pt idx="0">
                  <c:v>0.22760837033584377</c:v>
                </c:pt>
                <c:pt idx="1">
                  <c:v>0.2325046891924022</c:v>
                </c:pt>
                <c:pt idx="2">
                  <c:v>0.21503914608665006</c:v>
                </c:pt>
                <c:pt idx="3">
                  <c:v>0.21465353931534992</c:v>
                </c:pt>
                <c:pt idx="4">
                  <c:v>0.20793685458459427</c:v>
                </c:pt>
                <c:pt idx="5">
                  <c:v>0.19700700284590542</c:v>
                </c:pt>
                <c:pt idx="6">
                  <c:v>0.21223065621939274</c:v>
                </c:pt>
                <c:pt idx="7">
                  <c:v>0.2064143863499593</c:v>
                </c:pt>
                <c:pt idx="8">
                  <c:v>0.21617841896069484</c:v>
                </c:pt>
                <c:pt idx="9">
                  <c:v>0.2153190066059035</c:v>
                </c:pt>
                <c:pt idx="10">
                  <c:v>0.22748662238834064</c:v>
                </c:pt>
                <c:pt idx="11">
                  <c:v>0.2233351380617217</c:v>
                </c:pt>
                <c:pt idx="12">
                  <c:v>0.23061462494727178</c:v>
                </c:pt>
                <c:pt idx="13">
                  <c:v>0.23896447860407147</c:v>
                </c:pt>
                <c:pt idx="14">
                  <c:v>0.2310797703620206</c:v>
                </c:pt>
                <c:pt idx="15">
                  <c:v>0.22597676874340022</c:v>
                </c:pt>
                <c:pt idx="16">
                  <c:v>0.2103988603988604</c:v>
                </c:pt>
                <c:pt idx="17">
                  <c:v>0.2051552431165788</c:v>
                </c:pt>
                <c:pt idx="18">
                  <c:v>0.1855248858943708</c:v>
                </c:pt>
                <c:pt idx="19">
                  <c:v>0.17197875166002657</c:v>
                </c:pt>
                <c:pt idx="20">
                  <c:v>0.18437369082530372</c:v>
                </c:pt>
                <c:pt idx="21">
                  <c:v>0.1804080344936376</c:v>
                </c:pt>
                <c:pt idx="22">
                  <c:v>0.17943632567849688</c:v>
                </c:pt>
                <c:pt idx="23">
                  <c:v>0.179156462585034</c:v>
                </c:pt>
                <c:pt idx="24">
                  <c:v>0.18617021276595744</c:v>
                </c:pt>
                <c:pt idx="25">
                  <c:v>0.18273523102788566</c:v>
                </c:pt>
                <c:pt idx="26">
                  <c:v>0.18625585103646933</c:v>
                </c:pt>
                <c:pt idx="27">
                  <c:v>0.18023079259034316</c:v>
                </c:pt>
                <c:pt idx="28">
                  <c:v>0.17629820051413883</c:v>
                </c:pt>
                <c:pt idx="29">
                  <c:v>0.18736804276537442</c:v>
                </c:pt>
                <c:pt idx="30">
                  <c:v>0.17649434571890146</c:v>
                </c:pt>
                <c:pt idx="31">
                  <c:v>0.16942195231668916</c:v>
                </c:pt>
                <c:pt idx="32">
                  <c:v>0.1783959816746702</c:v>
                </c:pt>
                <c:pt idx="33">
                  <c:v>0.19256418079588544</c:v>
                </c:pt>
                <c:pt idx="34">
                  <c:v>0.1910329127599645</c:v>
                </c:pt>
                <c:pt idx="35">
                  <c:v>0.19439806453811292</c:v>
                </c:pt>
                <c:pt idx="36">
                  <c:v>0.1634170522141441</c:v>
                </c:pt>
                <c:pt idx="37">
                  <c:v>0.14788562611504893</c:v>
                </c:pt>
                <c:pt idx="38">
                  <c:v>0.1440997390547985</c:v>
                </c:pt>
                <c:pt idx="39">
                  <c:v>0.14272555140473875</c:v>
                </c:pt>
                <c:pt idx="40">
                  <c:v>0.14606043022340118</c:v>
                </c:pt>
                <c:pt idx="41">
                  <c:v>0.1362635345935034</c:v>
                </c:pt>
                <c:pt idx="42">
                  <c:v>0.14438356164383562</c:v>
                </c:pt>
                <c:pt idx="43">
                  <c:v>0.15096437880104258</c:v>
                </c:pt>
                <c:pt idx="44">
                  <c:v>0.16644399128050066</c:v>
                </c:pt>
                <c:pt idx="45">
                  <c:v>0.18401017919626764</c:v>
                </c:pt>
                <c:pt idx="46">
                  <c:v>0.191180093619118</c:v>
                </c:pt>
                <c:pt idx="47">
                  <c:v>0.19401514039465684</c:v>
                </c:pt>
                <c:pt idx="48">
                  <c:v>0.20776936606255259</c:v>
                </c:pt>
                <c:pt idx="49">
                  <c:v>0.24055718692688513</c:v>
                </c:pt>
                <c:pt idx="50">
                  <c:v>0.20537331455021132</c:v>
                </c:pt>
                <c:pt idx="51">
                  <c:v>0.18708201775103797</c:v>
                </c:pt>
                <c:pt idx="52">
                  <c:v>0.20016477944904512</c:v>
                </c:pt>
                <c:pt idx="53">
                  <c:v>0.19037838691839798</c:v>
                </c:pt>
                <c:pt idx="54">
                  <c:v>0.18361277154104097</c:v>
                </c:pt>
                <c:pt idx="55">
                  <c:v>0.180431336184978</c:v>
                </c:pt>
                <c:pt idx="56">
                  <c:v>0.1921937356391341</c:v>
                </c:pt>
                <c:pt idx="57">
                  <c:v>0.1869673664518811</c:v>
                </c:pt>
                <c:pt idx="58">
                  <c:v>0.20230027679679297</c:v>
                </c:pt>
                <c:pt idx="59">
                  <c:v>0.20680500793289244</c:v>
                </c:pt>
                <c:pt idx="60">
                  <c:v>0.21535680468279245</c:v>
                </c:pt>
                <c:pt idx="61">
                  <c:v>0.21254020047418953</c:v>
                </c:pt>
                <c:pt idx="62">
                  <c:v>0.21977724058468698</c:v>
                </c:pt>
                <c:pt idx="63">
                  <c:v>0.23405083253118153</c:v>
                </c:pt>
                <c:pt idx="64">
                  <c:v>0.22663326653306612</c:v>
                </c:pt>
                <c:pt idx="65">
                  <c:v>0.21906008068912877</c:v>
                </c:pt>
                <c:pt idx="66">
                  <c:v>0.21964273616223662</c:v>
                </c:pt>
                <c:pt idx="67">
                  <c:v>0.2167344705350558</c:v>
                </c:pt>
                <c:pt idx="68">
                  <c:v>0.19713190401817407</c:v>
                </c:pt>
                <c:pt idx="69">
                  <c:v>0.18215920174056568</c:v>
                </c:pt>
                <c:pt idx="70">
                  <c:v>0.17000035910511008</c:v>
                </c:pt>
                <c:pt idx="71">
                  <c:v>0.17906644531099186</c:v>
                </c:pt>
                <c:pt idx="72">
                  <c:v>0.18262489044697633</c:v>
                </c:pt>
                <c:pt idx="73">
                  <c:v>0.18369408930167488</c:v>
                </c:pt>
                <c:pt idx="74">
                  <c:v>0.17798172038966412</c:v>
                </c:pt>
                <c:pt idx="75">
                  <c:v>0.17587279337684525</c:v>
                </c:pt>
                <c:pt idx="76">
                  <c:v>0.17318383555244102</c:v>
                </c:pt>
                <c:pt idx="77">
                  <c:v>0.16938785339305495</c:v>
                </c:pt>
                <c:pt idx="78">
                  <c:v>0.16006449879064769</c:v>
                </c:pt>
                <c:pt idx="79">
                  <c:v>0.20537501191270371</c:v>
                </c:pt>
                <c:pt idx="80">
                  <c:v>0.1914609739826551</c:v>
                </c:pt>
                <c:pt idx="81">
                  <c:v>0.16176890156918688</c:v>
                </c:pt>
                <c:pt idx="82">
                  <c:v>0.1631413612565445</c:v>
                </c:pt>
                <c:pt idx="83">
                  <c:v>0.1470696419813634</c:v>
                </c:pt>
                <c:pt idx="84">
                  <c:v>0.14775611265861963</c:v>
                </c:pt>
                <c:pt idx="85">
                  <c:v>0.14966431963320778</c:v>
                </c:pt>
                <c:pt idx="86">
                  <c:v>0.1466328451026921</c:v>
                </c:pt>
                <c:pt idx="87">
                  <c:v>0.1682031189982331</c:v>
                </c:pt>
                <c:pt idx="88">
                  <c:v>0.15206499002772778</c:v>
                </c:pt>
                <c:pt idx="89">
                  <c:v>0.14356117420184272</c:v>
                </c:pt>
                <c:pt idx="90">
                  <c:v>0.13762376237623763</c:v>
                </c:pt>
                <c:pt idx="91">
                  <c:v>0.14078597981943708</c:v>
                </c:pt>
                <c:pt idx="92">
                  <c:v>0.14561866643958102</c:v>
                </c:pt>
                <c:pt idx="93">
                  <c:v>0.1377233240452385</c:v>
                </c:pt>
                <c:pt idx="94">
                  <c:v>0.13904559326736335</c:v>
                </c:pt>
                <c:pt idx="95">
                  <c:v>0.14864864864864866</c:v>
                </c:pt>
                <c:pt idx="96">
                  <c:v>0.145429833503228</c:v>
                </c:pt>
                <c:pt idx="97">
                  <c:v>0.15325840794124496</c:v>
                </c:pt>
                <c:pt idx="98">
                  <c:v>0.1700043933513949</c:v>
                </c:pt>
                <c:pt idx="99">
                  <c:v>0.17778411250475104</c:v>
                </c:pt>
                <c:pt idx="100">
                  <c:v>0.20069152307958277</c:v>
                </c:pt>
                <c:pt idx="101">
                  <c:v>0.18210413864050012</c:v>
                </c:pt>
                <c:pt idx="102">
                  <c:v>0.1514782002787179</c:v>
                </c:pt>
                <c:pt idx="103">
                  <c:v>0.17233793587643342</c:v>
                </c:pt>
                <c:pt idx="104">
                  <c:v>0.176800976800976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1008850895342146</c:v>
                </c:pt>
                <c:pt idx="1">
                  <c:v>0.2086096970803854</c:v>
                </c:pt>
                <c:pt idx="2">
                  <c:v>0.2056676485286228</c:v>
                </c:pt>
                <c:pt idx="3">
                  <c:v>0.2100111593933258</c:v>
                </c:pt>
                <c:pt idx="4">
                  <c:v>0.19977302584778728</c:v>
                </c:pt>
                <c:pt idx="5">
                  <c:v>0.20770906327312755</c:v>
                </c:pt>
                <c:pt idx="6">
                  <c:v>0.1939746037588079</c:v>
                </c:pt>
                <c:pt idx="7">
                  <c:v>0.18665226293595283</c:v>
                </c:pt>
                <c:pt idx="8">
                  <c:v>0.20390009666722791</c:v>
                </c:pt>
                <c:pt idx="9">
                  <c:v>0.19742234021389682</c:v>
                </c:pt>
                <c:pt idx="10">
                  <c:v>0.2036954974102079</c:v>
                </c:pt>
                <c:pt idx="11">
                  <c:v>0.1976267189153468</c:v>
                </c:pt>
                <c:pt idx="12">
                  <c:v>0.19928602503730655</c:v>
                </c:pt>
                <c:pt idx="13">
                  <c:v>0.1919570994004965</c:v>
                </c:pt>
                <c:pt idx="14">
                  <c:v>0.19647634634644104</c:v>
                </c:pt>
                <c:pt idx="15">
                  <c:v>0.18811523450516182</c:v>
                </c:pt>
                <c:pt idx="16">
                  <c:v>0.1865338516468401</c:v>
                </c:pt>
                <c:pt idx="17">
                  <c:v>0.17914428983332825</c:v>
                </c:pt>
                <c:pt idx="18">
                  <c:v>0.159511489128353</c:v>
                </c:pt>
                <c:pt idx="19">
                  <c:v>0.18377010394309543</c:v>
                </c:pt>
                <c:pt idx="20">
                  <c:v>0.16666506270278622</c:v>
                </c:pt>
                <c:pt idx="21">
                  <c:v>0.16156102887304205</c:v>
                </c:pt>
                <c:pt idx="22">
                  <c:v>0.16288238545178502</c:v>
                </c:pt>
                <c:pt idx="23">
                  <c:v>0.14885231110909136</c:v>
                </c:pt>
                <c:pt idx="24">
                  <c:v>0.14845807536716168</c:v>
                </c:pt>
                <c:pt idx="25">
                  <c:v>0.14189322004546998</c:v>
                </c:pt>
                <c:pt idx="26">
                  <c:v>0.152911641620914</c:v>
                </c:pt>
                <c:pt idx="27">
                  <c:v>0.15755800028428055</c:v>
                </c:pt>
                <c:pt idx="28">
                  <c:v>0.164562019961687</c:v>
                </c:pt>
                <c:pt idx="29">
                  <c:v>0.15651238533633988</c:v>
                </c:pt>
                <c:pt idx="30">
                  <c:v>0.15189308205458965</c:v>
                </c:pt>
                <c:pt idx="31">
                  <c:v>0.14363339319687818</c:v>
                </c:pt>
                <c:pt idx="32">
                  <c:v>0.14279785590022037</c:v>
                </c:pt>
                <c:pt idx="33">
                  <c:v>0.15955923989596896</c:v>
                </c:pt>
                <c:pt idx="34">
                  <c:v>0.17970687300630697</c:v>
                </c:pt>
                <c:pt idx="35">
                  <c:v>0.1681713872118518</c:v>
                </c:pt>
                <c:pt idx="36">
                  <c:v>0.1494113692292171</c:v>
                </c:pt>
                <c:pt idx="37">
                  <c:v>0.15652509594810646</c:v>
                </c:pt>
                <c:pt idx="38">
                  <c:v>0.15507920925055613</c:v>
                </c:pt>
                <c:pt idx="39">
                  <c:v>0.1665320253493846</c:v>
                </c:pt>
                <c:pt idx="40">
                  <c:v>0.16769976005979204</c:v>
                </c:pt>
                <c:pt idx="41">
                  <c:v>0.17662516732974548</c:v>
                </c:pt>
                <c:pt idx="42">
                  <c:v>0.17124615441484933</c:v>
                </c:pt>
                <c:pt idx="43">
                  <c:v>0.17882789526781037</c:v>
                </c:pt>
                <c:pt idx="44">
                  <c:v>0.17828456790595368</c:v>
                </c:pt>
                <c:pt idx="45">
                  <c:v>0.1834078143583922</c:v>
                </c:pt>
                <c:pt idx="46">
                  <c:v>0.16774103828641426</c:v>
                </c:pt>
                <c:pt idx="47">
                  <c:v>0.1687251026805974</c:v>
                </c:pt>
                <c:pt idx="48">
                  <c:v>0.17020169556169737</c:v>
                </c:pt>
                <c:pt idx="49">
                  <c:v>0.1903541178318476</c:v>
                </c:pt>
                <c:pt idx="50">
                  <c:v>0.1934499013557236</c:v>
                </c:pt>
                <c:pt idx="51">
                  <c:v>0.16831752575274717</c:v>
                </c:pt>
              </c:numCache>
            </c:numRef>
          </c:xVal>
          <c:yVal>
            <c:numRef>
              <c:f>Sheet1!$B$109:$B$160</c:f>
              <c:numCache>
                <c:formatCode>General</c:formatCode>
                <c:ptCount val="52"/>
                <c:pt idx="0">
                  <c:v>0.1756422924901186</c:v>
                </c:pt>
                <c:pt idx="1">
                  <c:v>0.17338159689434476</c:v>
                </c:pt>
                <c:pt idx="2">
                  <c:v>0.18069202200178647</c:v>
                </c:pt>
                <c:pt idx="3">
                  <c:v>0.1907962771458118</c:v>
                </c:pt>
                <c:pt idx="4">
                  <c:v>0.1789468549547572</c:v>
                </c:pt>
                <c:pt idx="5">
                  <c:v>0.17145237161897295</c:v>
                </c:pt>
                <c:pt idx="6">
                  <c:v>0.17660455486542442</c:v>
                </c:pt>
                <c:pt idx="7">
                  <c:v>0.1757968597589755</c:v>
                </c:pt>
                <c:pt idx="8">
                  <c:v>0.1740185341196293</c:v>
                </c:pt>
                <c:pt idx="9">
                  <c:v>0.18755431409062695</c:v>
                </c:pt>
                <c:pt idx="10">
                  <c:v>0.1889908801948727</c:v>
                </c:pt>
                <c:pt idx="11">
                  <c:v>0.19810960687905524</c:v>
                </c:pt>
                <c:pt idx="12">
                  <c:v>0.19908599707115082</c:v>
                </c:pt>
                <c:pt idx="13">
                  <c:v>0.1935764346313959</c:v>
                </c:pt>
                <c:pt idx="14">
                  <c:v>0.19270878721859114</c:v>
                </c:pt>
                <c:pt idx="15">
                  <c:v>0.18215705765407555</c:v>
                </c:pt>
                <c:pt idx="16">
                  <c:v>0.16933333333333334</c:v>
                </c:pt>
                <c:pt idx="17">
                  <c:v>0.15995926526609588</c:v>
                </c:pt>
                <c:pt idx="18">
                  <c:v>0.15850539009683903</c:v>
                </c:pt>
                <c:pt idx="19">
                  <c:v>0.16571620261657163</c:v>
                </c:pt>
                <c:pt idx="20">
                  <c:v>0.16150946908008004</c:v>
                </c:pt>
                <c:pt idx="21">
                  <c:v>0.15918625366358255</c:v>
                </c:pt>
                <c:pt idx="22">
                  <c:v>0.1599478369337189</c:v>
                </c:pt>
                <c:pt idx="23">
                  <c:v>0.16913998597803226</c:v>
                </c:pt>
                <c:pt idx="24">
                  <c:v>0.16763256242214158</c:v>
                </c:pt>
                <c:pt idx="25">
                  <c:v>0.1772223800056802</c:v>
                </c:pt>
                <c:pt idx="26">
                  <c:v>0.15735930735930737</c:v>
                </c:pt>
                <c:pt idx="27">
                  <c:v>0.14624699710741776</c:v>
                </c:pt>
                <c:pt idx="28">
                  <c:v>0.1447596217871887</c:v>
                </c:pt>
                <c:pt idx="29">
                  <c:v>0.14361219368960546</c:v>
                </c:pt>
                <c:pt idx="30">
                  <c:v>0.1505394283172061</c:v>
                </c:pt>
                <c:pt idx="31">
                  <c:v>0.1473225102980373</c:v>
                </c:pt>
                <c:pt idx="32">
                  <c:v>0.14749231258615206</c:v>
                </c:pt>
                <c:pt idx="33">
                  <c:v>0.17016471838469713</c:v>
                </c:pt>
                <c:pt idx="34">
                  <c:v>0.18908991039857187</c:v>
                </c:pt>
                <c:pt idx="35">
                  <c:v>0.1857666790291342</c:v>
                </c:pt>
                <c:pt idx="36">
                  <c:v>0.15440077947385514</c:v>
                </c:pt>
                <c:pt idx="37">
                  <c:v>0.14483357452966714</c:v>
                </c:pt>
                <c:pt idx="38">
                  <c:v>0.1463097713097713</c:v>
                </c:pt>
                <c:pt idx="39">
                  <c:v>0.16379760041731872</c:v>
                </c:pt>
                <c:pt idx="40">
                  <c:v>0.14710644400240552</c:v>
                </c:pt>
                <c:pt idx="41">
                  <c:v>0.1488095238095238</c:v>
                </c:pt>
                <c:pt idx="42">
                  <c:v>0.14745059770675775</c:v>
                </c:pt>
                <c:pt idx="43">
                  <c:v>0.14470626095040584</c:v>
                </c:pt>
                <c:pt idx="44">
                  <c:v>0.14358073488508272</c:v>
                </c:pt>
                <c:pt idx="45">
                  <c:v>0.16175077648302752</c:v>
                </c:pt>
                <c:pt idx="46">
                  <c:v>0.1573514269873538</c:v>
                </c:pt>
                <c:pt idx="47">
                  <c:v>0.15974718056760442</c:v>
                </c:pt>
                <c:pt idx="48">
                  <c:v>0.15152081775118426</c:v>
                </c:pt>
                <c:pt idx="49">
                  <c:v>0.16450183947743824</c:v>
                </c:pt>
                <c:pt idx="50">
                  <c:v>0.2032294470006077</c:v>
                </c:pt>
                <c:pt idx="51">
                  <c:v>0.1885073279752439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643900784468747</c:v>
                </c:pt>
              </c:numCache>
            </c:numRef>
          </c:xVal>
          <c:yVal>
            <c:numRef>
              <c:f>Sheet1!$B$163:$B$164</c:f>
              <c:numCache>
                <c:formatCode>General</c:formatCode>
                <c:ptCount val="2"/>
                <c:pt idx="0">
                  <c:v>0.21439700709897694</c:v>
                </c:pt>
                <c:pt idx="1">
                  <c:v>0.2143970070989769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643900784468747</c:v>
                </c:pt>
                <c:pt idx="1">
                  <c:v>0.2643900784468747</c:v>
                </c:pt>
              </c:numCache>
            </c:numRef>
          </c:xVal>
          <c:yVal>
            <c:numRef>
              <c:f>Sheet1!$B$167:$B$168</c:f>
              <c:numCache>
                <c:formatCode>General</c:formatCode>
                <c:ptCount val="2"/>
                <c:pt idx="0">
                  <c:v>0.2143970070989769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9659941031139308</c:v>
                </c:pt>
              </c:numCache>
            </c:numRef>
          </c:xVal>
          <c:yVal>
            <c:numRef>
              <c:f>Sheet1!$B$171:$B$172</c:f>
              <c:numCache>
                <c:formatCode>General</c:formatCode>
                <c:ptCount val="2"/>
                <c:pt idx="0">
                  <c:v>0.17818407629202085</c:v>
                </c:pt>
                <c:pt idx="1">
                  <c:v>0.1781840762920208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9659941031139308</c:v>
                </c:pt>
                <c:pt idx="1">
                  <c:v>0.19659941031139308</c:v>
                </c:pt>
              </c:numCache>
            </c:numRef>
          </c:xVal>
          <c:yVal>
            <c:numRef>
              <c:f>Sheet1!$B$175:$B$176</c:f>
              <c:numCache>
                <c:formatCode>General</c:formatCode>
                <c:ptCount val="2"/>
                <c:pt idx="0">
                  <c:v>0.1781840762920208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6285542563198252</c:v>
                </c:pt>
              </c:numCache>
            </c:numRef>
          </c:xVal>
          <c:yVal>
            <c:numRef>
              <c:f>Sheet1!$B$179:$B$180</c:f>
              <c:numCache>
                <c:formatCode>General</c:formatCode>
                <c:ptCount val="2"/>
                <c:pt idx="0">
                  <c:v>0.16015845984722726</c:v>
                </c:pt>
                <c:pt idx="1">
                  <c:v>0.1601584598472272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6285542563198252</c:v>
                </c:pt>
                <c:pt idx="1">
                  <c:v>0.16285542563198252</c:v>
                </c:pt>
              </c:numCache>
            </c:numRef>
          </c:xVal>
          <c:yVal>
            <c:numRef>
              <c:f>Sheet1!$B$183:$B$184</c:f>
              <c:numCache>
                <c:formatCode>General</c:formatCode>
                <c:ptCount val="2"/>
                <c:pt idx="0">
                  <c:v>0.1601584598472272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1008850895342146</c:v>
                </c:pt>
                <c:pt idx="1">
                  <c:v>0.2086096970803854</c:v>
                </c:pt>
                <c:pt idx="2">
                  <c:v>0.2056676485286228</c:v>
                </c:pt>
                <c:pt idx="3">
                  <c:v>0.2100111593933258</c:v>
                </c:pt>
                <c:pt idx="4">
                  <c:v>0.19977302584778728</c:v>
                </c:pt>
                <c:pt idx="5">
                  <c:v>0.20770906327312755</c:v>
                </c:pt>
                <c:pt idx="6">
                  <c:v>0.1939746037588079</c:v>
                </c:pt>
                <c:pt idx="7">
                  <c:v>0.18665226293595283</c:v>
                </c:pt>
                <c:pt idx="8">
                  <c:v>0.20390009666722791</c:v>
                </c:pt>
                <c:pt idx="9">
                  <c:v>0.19742234021389682</c:v>
                </c:pt>
                <c:pt idx="10">
                  <c:v>0.2036954974102079</c:v>
                </c:pt>
                <c:pt idx="11">
                  <c:v>0.1976267189153468</c:v>
                </c:pt>
                <c:pt idx="12">
                  <c:v>0.19928602503730655</c:v>
                </c:pt>
                <c:pt idx="13">
                  <c:v>0.1919570994004965</c:v>
                </c:pt>
                <c:pt idx="14">
                  <c:v>0.19647634634644104</c:v>
                </c:pt>
                <c:pt idx="15">
                  <c:v>0.18811523450516182</c:v>
                </c:pt>
                <c:pt idx="16">
                  <c:v>0.1865338516468401</c:v>
                </c:pt>
                <c:pt idx="17">
                  <c:v>0.17914428983332825</c:v>
                </c:pt>
                <c:pt idx="18">
                  <c:v>0.159511489128353</c:v>
                </c:pt>
                <c:pt idx="19">
                  <c:v>0.18377010394309543</c:v>
                </c:pt>
                <c:pt idx="20">
                  <c:v>0.16666506270278622</c:v>
                </c:pt>
                <c:pt idx="21">
                  <c:v>0.16156102887304205</c:v>
                </c:pt>
                <c:pt idx="22">
                  <c:v>0.16288238545178502</c:v>
                </c:pt>
                <c:pt idx="23">
                  <c:v>0.14885231110909136</c:v>
                </c:pt>
                <c:pt idx="24">
                  <c:v>0.14845807536716168</c:v>
                </c:pt>
                <c:pt idx="25">
                  <c:v>0.14189322004546998</c:v>
                </c:pt>
                <c:pt idx="26">
                  <c:v>0.152911641620914</c:v>
                </c:pt>
                <c:pt idx="27">
                  <c:v>0.15755800028428055</c:v>
                </c:pt>
                <c:pt idx="28">
                  <c:v>0.164562019961687</c:v>
                </c:pt>
                <c:pt idx="29">
                  <c:v>0.15651238533633988</c:v>
                </c:pt>
                <c:pt idx="30">
                  <c:v>0.15189308205458965</c:v>
                </c:pt>
                <c:pt idx="31">
                  <c:v>0.14363339319687818</c:v>
                </c:pt>
                <c:pt idx="32">
                  <c:v>0.14279785590022037</c:v>
                </c:pt>
                <c:pt idx="33">
                  <c:v>0.15955923989596896</c:v>
                </c:pt>
                <c:pt idx="34">
                  <c:v>0.17970687300630697</c:v>
                </c:pt>
                <c:pt idx="35">
                  <c:v>0.1681713872118518</c:v>
                </c:pt>
                <c:pt idx="36">
                  <c:v>0.1494113692292171</c:v>
                </c:pt>
                <c:pt idx="37">
                  <c:v>0.15652509594810646</c:v>
                </c:pt>
                <c:pt idx="38">
                  <c:v>0.15507920925055613</c:v>
                </c:pt>
                <c:pt idx="39">
                  <c:v>0.1665320253493846</c:v>
                </c:pt>
                <c:pt idx="40">
                  <c:v>0.16769976005979204</c:v>
                </c:pt>
                <c:pt idx="41">
                  <c:v>0.17662516732974548</c:v>
                </c:pt>
                <c:pt idx="42">
                  <c:v>0.17124615441484933</c:v>
                </c:pt>
                <c:pt idx="43">
                  <c:v>0.17882789526781037</c:v>
                </c:pt>
                <c:pt idx="44">
                  <c:v>0.17828456790595368</c:v>
                </c:pt>
                <c:pt idx="45">
                  <c:v>0.1834078143583922</c:v>
                </c:pt>
                <c:pt idx="46">
                  <c:v>0.16774103828641426</c:v>
                </c:pt>
                <c:pt idx="47">
                  <c:v>0.1687251026805974</c:v>
                </c:pt>
                <c:pt idx="48">
                  <c:v>0.17020169556169737</c:v>
                </c:pt>
                <c:pt idx="49">
                  <c:v>0.1903541178318476</c:v>
                </c:pt>
                <c:pt idx="50">
                  <c:v>0.1934499013557236</c:v>
                </c:pt>
                <c:pt idx="51">
                  <c:v>0.16831752575274717</c:v>
                </c:pt>
                <c:pt idx="52">
                  <c:v>0.19659941031139308</c:v>
                </c:pt>
                <c:pt idx="53">
                  <c:v>0.2643900784468747</c:v>
                </c:pt>
                <c:pt idx="54">
                  <c:v>0.16285542563198252</c:v>
                </c:pt>
              </c:numCache>
            </c:numRef>
          </c:xVal>
          <c:yVal>
            <c:numRef>
              <c:f>Sheet1!$B$187:$B$241</c:f>
              <c:numCache>
                <c:formatCode>General</c:formatCode>
                <c:ptCount val="55"/>
                <c:pt idx="0">
                  <c:v>0.18538978482399368</c:v>
                </c:pt>
                <c:pt idx="1">
                  <c:v>0.1845998219351823</c:v>
                </c:pt>
                <c:pt idx="2">
                  <c:v>0.18302821623242155</c:v>
                </c:pt>
                <c:pt idx="3">
                  <c:v>0.18534846565212632</c:v>
                </c:pt>
                <c:pt idx="4">
                  <c:v>0.1798793821945625</c:v>
                </c:pt>
                <c:pt idx="5">
                  <c:v>0.18411871456979312</c:v>
                </c:pt>
                <c:pt idx="6">
                  <c:v>0.17678193731500932</c:v>
                </c:pt>
                <c:pt idx="7">
                  <c:v>0.1728704340232426</c:v>
                </c:pt>
                <c:pt idx="8">
                  <c:v>0.1820840120371409</c:v>
                </c:pt>
                <c:pt idx="9">
                  <c:v>0.17862367519903832</c:v>
                </c:pt>
                <c:pt idx="10">
                  <c:v>0.18197471766165527</c:v>
                </c:pt>
                <c:pt idx="11">
                  <c:v>0.17873285175648473</c:v>
                </c:pt>
                <c:pt idx="12">
                  <c:v>0.17961923242560573</c:v>
                </c:pt>
                <c:pt idx="13">
                  <c:v>0.1757042116082166</c:v>
                </c:pt>
                <c:pt idx="14">
                  <c:v>0.17811833705430258</c:v>
                </c:pt>
                <c:pt idx="15">
                  <c:v>0.17365193521898875</c:v>
                </c:pt>
                <c:pt idx="16">
                  <c:v>0.17280718018702385</c:v>
                </c:pt>
                <c:pt idx="17">
                  <c:v>0.16885976827906585</c:v>
                </c:pt>
                <c:pt idx="18">
                  <c:v>0.158372170604779</c:v>
                </c:pt>
                <c:pt idx="19">
                  <c:v>0.17133082057712046</c:v>
                </c:pt>
                <c:pt idx="20">
                  <c:v>0.16219352053388278</c:v>
                </c:pt>
                <c:pt idx="21">
                  <c:v>0.15946700921607873</c:v>
                </c:pt>
                <c:pt idx="22">
                  <c:v>0.1601728614472694</c:v>
                </c:pt>
                <c:pt idx="23">
                  <c:v>0.1526781704320839</c:v>
                </c:pt>
                <c:pt idx="24">
                  <c:v>0.15246757460766164</c:v>
                </c:pt>
                <c:pt idx="25">
                  <c:v>0.14896071063861233</c:v>
                </c:pt>
                <c:pt idx="26">
                  <c:v>0.1548466142458167</c:v>
                </c:pt>
                <c:pt idx="27">
                  <c:v>0.1573286411885889</c:v>
                </c:pt>
                <c:pt idx="28">
                  <c:v>0.16107010128810556</c:v>
                </c:pt>
                <c:pt idx="29">
                  <c:v>0.15677008670311282</c:v>
                </c:pt>
                <c:pt idx="30">
                  <c:v>0.15430251240831377</c:v>
                </c:pt>
                <c:pt idx="31">
                  <c:v>0.14989028946793037</c:v>
                </c:pt>
                <c:pt idx="32">
                  <c:v>0.14944395584793962</c:v>
                </c:pt>
                <c:pt idx="33">
                  <c:v>0.15839767847025985</c:v>
                </c:pt>
                <c:pt idx="34">
                  <c:v>0.16916029320493797</c:v>
                </c:pt>
                <c:pt idx="35">
                  <c:v>0.16299818033028127</c:v>
                </c:pt>
                <c:pt idx="36">
                  <c:v>0.15297681231861496</c:v>
                </c:pt>
                <c:pt idx="37">
                  <c:v>0.1567768765536494</c:v>
                </c:pt>
                <c:pt idx="38">
                  <c:v>0.15600450188360715</c:v>
                </c:pt>
                <c:pt idx="39">
                  <c:v>0.16212245363624067</c:v>
                </c:pt>
                <c:pt idx="40">
                  <c:v>0.16274624297822438</c:v>
                </c:pt>
                <c:pt idx="41">
                  <c:v>0.16751408440508228</c:v>
                </c:pt>
                <c:pt idx="42">
                  <c:v>0.16464068268395504</c:v>
                </c:pt>
                <c:pt idx="43">
                  <c:v>0.16869075424182553</c:v>
                </c:pt>
                <c:pt idx="44">
                  <c:v>0.16840051553048668</c:v>
                </c:pt>
                <c:pt idx="45">
                  <c:v>0.1711372899921037</c:v>
                </c:pt>
                <c:pt idx="46">
                  <c:v>0.16276829329290066</c:v>
                </c:pt>
                <c:pt idx="47">
                  <c:v>0.1632939682389703</c:v>
                </c:pt>
                <c:pt idx="48">
                  <c:v>0.1640827457699197</c:v>
                </c:pt>
                <c:pt idx="49">
                  <c:v>0.1748479188141362</c:v>
                </c:pt>
                <c:pt idx="50">
                  <c:v>0.17650164782473374</c:v>
                </c:pt>
                <c:pt idx="51">
                  <c:v>0.16307624571915008</c:v>
                </c:pt>
                <c:pt idx="52">
                  <c:v>0.17818407629202085</c:v>
                </c:pt>
                <c:pt idx="53">
                  <c:v>0.21439700709897694</c:v>
                </c:pt>
                <c:pt idx="54">
                  <c:v>0.1601584598472272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866862431226215"/>
          <c:min val="0.1090108276748027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35</c:f>
              <c:numCache>
                <c:formatCode>General</c:formatCode>
                <c:ptCount val="32"/>
                <c:pt idx="0">
                  <c:v>1154.0</c:v>
                </c:pt>
                <c:pt idx="1">
                  <c:v>1299.2857</c:v>
                </c:pt>
                <c:pt idx="2">
                  <c:v>1421.4</c:v>
                </c:pt>
                <c:pt idx="3">
                  <c:v>1765.0</c:v>
                </c:pt>
                <c:pt idx="4">
                  <c:v>377.1948</c:v>
                </c:pt>
                <c:pt idx="5">
                  <c:v>374.5333</c:v>
                </c:pt>
                <c:pt idx="6">
                  <c:v>375.9452</c:v>
                </c:pt>
                <c:pt idx="7">
                  <c:v>378.38</c:v>
                </c:pt>
                <c:pt idx="8">
                  <c:v>0.0</c:v>
                </c:pt>
                <c:pt idx="9">
                  <c:v>1615.0</c:v>
                </c:pt>
                <c:pt idx="10">
                  <c:v>0.0</c:v>
                </c:pt>
                <c:pt idx="11">
                  <c:v>0.0</c:v>
                </c:pt>
                <c:pt idx="12">
                  <c:v>666.0</c:v>
                </c:pt>
                <c:pt idx="13">
                  <c:v>0.0</c:v>
                </c:pt>
                <c:pt idx="14">
                  <c:v>1002.0</c:v>
                </c:pt>
                <c:pt idx="15">
                  <c:v>668.0</c:v>
                </c:pt>
                <c:pt idx="16">
                  <c:v>0.0</c:v>
                </c:pt>
                <c:pt idx="17">
                  <c:v>511.75</c:v>
                </c:pt>
                <c:pt idx="18">
                  <c:v>490.6977</c:v>
                </c:pt>
                <c:pt idx="19">
                  <c:v>427.84</c:v>
                </c:pt>
                <c:pt idx="20">
                  <c:v>464.7368</c:v>
                </c:pt>
                <c:pt idx="21">
                  <c:v>516.5652</c:v>
                </c:pt>
                <c:pt idx="22">
                  <c:v>482.8889</c:v>
                </c:pt>
                <c:pt idx="23">
                  <c:v>487.6923</c:v>
                </c:pt>
                <c:pt idx="24">
                  <c:v>440.9375</c:v>
                </c:pt>
                <c:pt idx="25">
                  <c:v>424.7778</c:v>
                </c:pt>
                <c:pt idx="26">
                  <c:v>450.1111</c:v>
                </c:pt>
                <c:pt idx="27">
                  <c:v>434.5882</c:v>
                </c:pt>
                <c:pt idx="28">
                  <c:v>438.7333</c:v>
                </c:pt>
                <c:pt idx="29">
                  <c:v>473.5385</c:v>
                </c:pt>
                <c:pt idx="30">
                  <c:v>484.7333</c:v>
                </c:pt>
                <c:pt idx="31">
                  <c:v>419.6667</c:v>
                </c:pt>
              </c:numCache>
            </c:numRef>
          </c:xVal>
          <c:yVal>
            <c:numRef>
              <c:f>Sheet1!$B$4:$B$35</c:f>
              <c:numCache>
                <c:formatCode>General</c:formatCode>
                <c:ptCount val="32"/>
                <c:pt idx="0">
                  <c:v>0.6363636363636364</c:v>
                </c:pt>
                <c:pt idx="1">
                  <c:v>0.4375</c:v>
                </c:pt>
                <c:pt idx="2">
                  <c:v>0.45454545454545453</c:v>
                </c:pt>
                <c:pt idx="3">
                  <c:v>0.3333333333333333</c:v>
                </c:pt>
                <c:pt idx="4">
                  <c:v>0.9506172839506173</c:v>
                </c:pt>
                <c:pt idx="5">
                  <c:v>0.9574468085106383</c:v>
                </c:pt>
                <c:pt idx="6">
                  <c:v>0.73</c:v>
                </c:pt>
                <c:pt idx="7">
                  <c:v>0.9259259259259259</c:v>
                </c:pt>
                <c:pt idx="8">
                  <c:v>0.0</c:v>
                </c:pt>
                <c:pt idx="9">
                  <c:v>0.125</c:v>
                </c:pt>
                <c:pt idx="10">
                  <c:v>0.0</c:v>
                </c:pt>
                <c:pt idx="11">
                  <c:v>0.0</c:v>
                </c:pt>
                <c:pt idx="12">
                  <c:v>0.05555555555555555</c:v>
                </c:pt>
                <c:pt idx="13">
                  <c:v>0.0</c:v>
                </c:pt>
                <c:pt idx="14">
                  <c:v>0.05555555555555555</c:v>
                </c:pt>
                <c:pt idx="15">
                  <c:v>0.045454545454545456</c:v>
                </c:pt>
                <c:pt idx="16">
                  <c:v>0.0</c:v>
                </c:pt>
                <c:pt idx="17">
                  <c:v>0.23529411764705882</c:v>
                </c:pt>
                <c:pt idx="18">
                  <c:v>0.3359375</c:v>
                </c:pt>
                <c:pt idx="19">
                  <c:v>0.7692307692307693</c:v>
                </c:pt>
                <c:pt idx="20">
                  <c:v>0.6909090909090909</c:v>
                </c:pt>
                <c:pt idx="21">
                  <c:v>0.5609756097560976</c:v>
                </c:pt>
                <c:pt idx="22">
                  <c:v>0.1651376146788991</c:v>
                </c:pt>
                <c:pt idx="23">
                  <c:v>0.35135135135135137</c:v>
                </c:pt>
                <c:pt idx="24">
                  <c:v>0.37209302325581395</c:v>
                </c:pt>
                <c:pt idx="25">
                  <c:v>0.48214285714285715</c:v>
                </c:pt>
                <c:pt idx="26">
                  <c:v>0.43902439024390244</c:v>
                </c:pt>
                <c:pt idx="27">
                  <c:v>0.6071428571428571</c:v>
                </c:pt>
                <c:pt idx="28">
                  <c:v>0.4838709677419355</c:v>
                </c:pt>
                <c:pt idx="29">
                  <c:v>0.3939393939393939</c:v>
                </c:pt>
                <c:pt idx="30">
                  <c:v>0.22727272727272727</c:v>
                </c:pt>
                <c:pt idx="31">
                  <c:v>0.24</c:v>
                </c:pt>
              </c:numCache>
            </c:numRef>
          </c:yVal>
          <c:smooth val="0"/>
          <c:extLst>
            <c:ext xmlns:c16="http://schemas.microsoft.com/office/drawing/2014/chart" uri="{C3380CC4-5D6E-409C-BE32-E72D297353CC}">
              <c16:uniqueId val="{00000002-F32D-48B7-BC20-E66FC6253BAD}"/>
            </c:ext>
          </c:extLst>
        </c:ser>
        <c:ser>
          <c:idx val="2"/>
          <c:order val="2"/>
          <c:tx>
            <c:strRef>
              <c:f>Sheet1!$B$37</c:f>
              <c:strCache>
                <c:ptCount val="1"/>
                <c:pt idx="0">
                  <c:v>Custom Linep3yQ</c:v>
                </c:pt>
              </c:strCache>
            </c:strRef>
          </c:tx>
          <c:spPr>
            <a:ln w="19050" cap="rnd">
              <a:solidFill>
                <a:srgbClr val="C00000"/>
              </a:solidFill>
              <a:prstDash val="sysDot"/>
              <a:round/>
            </a:ln>
            <a:effectLst/>
          </c:spPr>
          <c:marker>
            <c:symbol val="none"/>
          </c:marker>
          <c:xVal>
            <c:numRef>
              <c:f>Sheet1!$A$38:$A$39</c:f>
              <c:numCache>
                <c:formatCode>General</c:formatCode>
                <c:ptCount val="2"/>
                <c:pt idx="0">
                  <c:v>0</c:v>
                </c:pt>
                <c:pt idx="1">
                  <c:v>2309.6354240396554</c:v>
                </c:pt>
              </c:numCache>
            </c:numRef>
          </c:xVal>
          <c:yVal>
            <c:numRef>
              <c:f>Sheet1!$B$38:$B$39</c:f>
              <c:numCache>
                <c:formatCode>General</c:formatCode>
                <c:ptCount val="2"/>
                <c:pt idx="0">
                  <c:v>0.4654356060606061</c:v>
                </c:pt>
                <c:pt idx="1">
                  <c:v>0.4654356060606061</c:v>
                </c:pt>
              </c:numCache>
            </c:numRef>
          </c:yVal>
          <c:smooth val="0"/>
          <c:extLst>
            <c:ext xmlns:c16="http://schemas.microsoft.com/office/drawing/2014/chart" uri="{C3380CC4-5D6E-409C-BE32-E72D297353CC}">
              <c16:uniqueId val="{00000003-F32D-48B7-BC20-E66FC6253BAD}"/>
            </c:ext>
          </c:extLst>
        </c:ser>
        <c:ser>
          <c:idx val="3"/>
          <c:order val="3"/>
          <c:tx>
            <c:strRef>
              <c:f>Sheet1!$B$4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2:$A$43</c:f>
              <c:numCache>
                <c:formatCode>General</c:formatCode>
                <c:ptCount val="2"/>
                <c:pt idx="0">
                  <c:v>2309.6354240396554</c:v>
                </c:pt>
                <c:pt idx="1">
                  <c:v>2309.6354240396554</c:v>
                </c:pt>
              </c:numCache>
            </c:numRef>
          </c:xVal>
          <c:yVal>
            <c:numRef>
              <c:f>Sheet1!$B$42:$B$43</c:f>
              <c:numCache>
                <c:formatCode>General</c:formatCode>
                <c:ptCount val="2"/>
                <c:pt idx="0">
                  <c:v>0.465435606060606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4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46:$A$47</c:f>
              <c:numCache>
                <c:formatCode>General</c:formatCode>
                <c:ptCount val="2"/>
                <c:pt idx="0">
                  <c:v>0</c:v>
                </c:pt>
                <c:pt idx="1">
                  <c:v>2309.6354240396554</c:v>
                </c:pt>
              </c:numCache>
            </c:numRef>
          </c:xVal>
          <c:yVal>
            <c:numRef>
              <c:f>Sheet1!$B$46:$B$47</c:f>
              <c:numCache>
                <c:formatCode>General</c:formatCode>
                <c:ptCount val="2"/>
                <c:pt idx="0">
                  <c:v>0.4654356060606061</c:v>
                </c:pt>
                <c:pt idx="1">
                  <c:v>0.4654356060606061</c:v>
                </c:pt>
              </c:numCache>
            </c:numRef>
          </c:yVal>
          <c:smooth val="0"/>
          <c:extLst>
            <c:ext xmlns:c16="http://schemas.microsoft.com/office/drawing/2014/chart" uri="{C3380CC4-5D6E-409C-BE32-E72D297353CC}">
              <c16:uniqueId val="{0000000A-F32D-48B7-BC20-E66FC6253BAD}"/>
            </c:ext>
          </c:extLst>
        </c:ser>
        <c:ser>
          <c:idx val="5"/>
          <c:order val="5"/>
          <c:tx>
            <c:strRef>
              <c:f>Sheet1!$B$4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0:$A$51</c:f>
              <c:numCache>
                <c:formatCode>General</c:formatCode>
                <c:ptCount val="2"/>
                <c:pt idx="0">
                  <c:v>2309.6354240396554</c:v>
                </c:pt>
                <c:pt idx="1">
                  <c:v>2309.6354240396554</c:v>
                </c:pt>
              </c:numCache>
            </c:numRef>
          </c:xVal>
          <c:yVal>
            <c:numRef>
              <c:f>Sheet1!$B$50:$B$51</c:f>
              <c:numCache>
                <c:formatCode>General</c:formatCode>
                <c:ptCount val="2"/>
                <c:pt idx="0">
                  <c:v>0.465435606060606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5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54:$A$55</c:f>
              <c:numCache>
                <c:formatCode>General</c:formatCode>
                <c:ptCount val="2"/>
                <c:pt idx="0">
                  <c:v>0</c:v>
                </c:pt>
                <c:pt idx="1">
                  <c:v>1903.6834920554352</c:v>
                </c:pt>
              </c:numCache>
            </c:numRef>
          </c:xVal>
          <c:yVal>
            <c:numRef>
              <c:f>Sheet1!$B$54:$B$55</c:f>
              <c:numCache>
                <c:formatCode>General</c:formatCode>
                <c:ptCount val="2"/>
                <c:pt idx="0">
                  <c:v>0.4448531271281304</c:v>
                </c:pt>
                <c:pt idx="1">
                  <c:v>0.4448531271281304</c:v>
                </c:pt>
              </c:numCache>
            </c:numRef>
          </c:yVal>
          <c:smooth val="0"/>
          <c:extLst>
            <c:ext xmlns:c16="http://schemas.microsoft.com/office/drawing/2014/chart" uri="{C3380CC4-5D6E-409C-BE32-E72D297353CC}">
              <c16:uniqueId val="{00000011-F32D-48B7-BC20-E66FC6253BAD}"/>
            </c:ext>
          </c:extLst>
        </c:ser>
        <c:ser>
          <c:idx val="7"/>
          <c:order val="7"/>
          <c:tx>
            <c:strRef>
              <c:f>Sheet1!$B$5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8:$A$59</c:f>
              <c:numCache>
                <c:formatCode>General</c:formatCode>
                <c:ptCount val="2"/>
                <c:pt idx="0">
                  <c:v>1903.6834920554352</c:v>
                </c:pt>
                <c:pt idx="1">
                  <c:v>1903.6834920554352</c:v>
                </c:pt>
              </c:numCache>
            </c:numRef>
          </c:xVal>
          <c:yVal>
            <c:numRef>
              <c:f>Sheet1!$B$58:$B$59</c:f>
              <c:numCache>
                <c:formatCode>General</c:formatCode>
                <c:ptCount val="2"/>
                <c:pt idx="0">
                  <c:v>0.444853127128130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6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62:$A$96</c:f>
              <c:numCache>
                <c:formatCode>General</c:formatCode>
                <c:ptCount val="35"/>
                <c:pt idx="0">
                  <c:v>1154.0</c:v>
                </c:pt>
                <c:pt idx="1">
                  <c:v>1299.2857</c:v>
                </c:pt>
                <c:pt idx="2">
                  <c:v>1421.4</c:v>
                </c:pt>
                <c:pt idx="3">
                  <c:v>1765.0</c:v>
                </c:pt>
                <c:pt idx="4">
                  <c:v>377.1948</c:v>
                </c:pt>
                <c:pt idx="5">
                  <c:v>374.5333</c:v>
                </c:pt>
                <c:pt idx="6">
                  <c:v>375.9452</c:v>
                </c:pt>
                <c:pt idx="7">
                  <c:v>378.38</c:v>
                </c:pt>
                <c:pt idx="8">
                  <c:v>0.0</c:v>
                </c:pt>
                <c:pt idx="9">
                  <c:v>1615.0</c:v>
                </c:pt>
                <c:pt idx="10">
                  <c:v>0.0</c:v>
                </c:pt>
                <c:pt idx="11">
                  <c:v>0.0</c:v>
                </c:pt>
                <c:pt idx="12">
                  <c:v>666.0</c:v>
                </c:pt>
                <c:pt idx="13">
                  <c:v>0.0</c:v>
                </c:pt>
                <c:pt idx="14">
                  <c:v>1002.0</c:v>
                </c:pt>
                <c:pt idx="15">
                  <c:v>668.0</c:v>
                </c:pt>
                <c:pt idx="16">
                  <c:v>0.0</c:v>
                </c:pt>
                <c:pt idx="17">
                  <c:v>511.75</c:v>
                </c:pt>
                <c:pt idx="18">
                  <c:v>490.6977</c:v>
                </c:pt>
                <c:pt idx="19">
                  <c:v>427.84</c:v>
                </c:pt>
                <c:pt idx="20">
                  <c:v>464.7368</c:v>
                </c:pt>
                <c:pt idx="21">
                  <c:v>516.5652</c:v>
                </c:pt>
                <c:pt idx="22">
                  <c:v>482.8889</c:v>
                </c:pt>
                <c:pt idx="23">
                  <c:v>487.6923</c:v>
                </c:pt>
                <c:pt idx="24">
                  <c:v>440.9375</c:v>
                </c:pt>
                <c:pt idx="25">
                  <c:v>424.7778</c:v>
                </c:pt>
                <c:pt idx="26">
                  <c:v>450.1111</c:v>
                </c:pt>
                <c:pt idx="27">
                  <c:v>434.5882</c:v>
                </c:pt>
                <c:pt idx="28">
                  <c:v>438.7333</c:v>
                </c:pt>
                <c:pt idx="29">
                  <c:v>473.5385</c:v>
                </c:pt>
                <c:pt idx="30">
                  <c:v>484.7333</c:v>
                </c:pt>
                <c:pt idx="31">
                  <c:v>419.6667</c:v>
                </c:pt>
                <c:pt idx="32">
                  <c:v>2309.6354240396554</c:v>
                </c:pt>
                <c:pt idx="33">
                  <c:v>2309.6354240396554</c:v>
                </c:pt>
                <c:pt idx="34">
                  <c:v>1903.6834920554352</c:v>
                </c:pt>
              </c:numCache>
            </c:numRef>
          </c:xVal>
          <c:yVal>
            <c:numRef>
              <c:f>Sheet1!$B$62:$B$96</c:f>
              <c:numCache>
                <c:formatCode>General</c:formatCode>
                <c:ptCount val="35"/>
                <c:pt idx="0">
                  <c:v>0.4068428518577677</c:v>
                </c:pt>
                <c:pt idx="1">
                  <c:v>0.4142090930893927</c:v>
                </c:pt>
                <c:pt idx="2">
                  <c:v>0.42040050347342234</c:v>
                </c:pt>
                <c:pt idx="3">
                  <c:v>0.4378216294836652</c:v>
                </c:pt>
                <c:pt idx="4">
                  <c:v>0.3674574581598285</c:v>
                </c:pt>
                <c:pt idx="5">
                  <c:v>0.3673225154157183</c:v>
                </c:pt>
                <c:pt idx="6">
                  <c:v>0.3673941012358984</c:v>
                </c:pt>
                <c:pt idx="7">
                  <c:v>0.3675175498901758</c:v>
                </c:pt>
                <c:pt idx="8">
                  <c:v>0.34833301653815113</c:v>
                </c:pt>
                <c:pt idx="9">
                  <c:v>0.43021636492738924</c:v>
                </c:pt>
                <c:pt idx="10">
                  <c:v>0.34833301653815113</c:v>
                </c:pt>
                <c:pt idx="11">
                  <c:v>0.34833301653815113</c:v>
                </c:pt>
                <c:pt idx="12">
                  <c:v>0.3821003911680165</c:v>
                </c:pt>
                <c:pt idx="13">
                  <c:v>0.34833301653815113</c:v>
                </c:pt>
                <c:pt idx="14">
                  <c:v>0.39913618377407467</c:v>
                </c:pt>
                <c:pt idx="15">
                  <c:v>0.3822017946954335</c:v>
                </c:pt>
                <c:pt idx="16">
                  <c:v>0.34833301653815113</c:v>
                </c:pt>
                <c:pt idx="17">
                  <c:v>0.37427964411597936</c:v>
                </c:pt>
                <c:pt idx="18">
                  <c:v>0.3732122553758588</c:v>
                </c:pt>
                <c:pt idx="19">
                  <c:v>0.37002525912319856</c:v>
                </c:pt>
                <c:pt idx="20">
                  <c:v>0.3718959919583986</c:v>
                </c:pt>
                <c:pt idx="21">
                  <c:v>0.37452378324858854</c:v>
                </c:pt>
                <c:pt idx="22">
                  <c:v>0.37281633544341175</c:v>
                </c:pt>
                <c:pt idx="23">
                  <c:v>0.3730598762952092</c:v>
                </c:pt>
                <c:pt idx="24">
                  <c:v>0.37068932547337075</c:v>
                </c:pt>
                <c:pt idx="25">
                  <c:v>0.3698700001823704</c:v>
                </c:pt>
                <c:pt idx="26">
                  <c:v>0.3711544431729271</c:v>
                </c:pt>
                <c:pt idx="27">
                  <c:v>0.3703674047650563</c:v>
                </c:pt>
                <c:pt idx="28">
                  <c:v>0.37057756864580443</c:v>
                </c:pt>
                <c:pt idx="29">
                  <c:v>0.3723422536720318</c:v>
                </c:pt>
                <c:pt idx="30">
                  <c:v>0.37290984977639574</c:v>
                </c:pt>
                <c:pt idx="31">
                  <c:v>0.3696108583978798</c:v>
                </c:pt>
                <c:pt idx="32">
                  <c:v>0.4654356060606061</c:v>
                </c:pt>
                <c:pt idx="33">
                  <c:v>0.4654356060606061</c:v>
                </c:pt>
                <c:pt idx="34">
                  <c:v>0.444853127128130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7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4893617021276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967741935483871</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9</c:f>
              <c:numCache>
                <c:formatCode>General</c:formatCode>
                <c:ptCount val="45"/>
                <c:pt idx="0">
                  <c:v>0.555318</c:v>
                </c:pt>
                <c:pt idx="1">
                  <c:v>0.3085674551971326</c:v>
                </c:pt>
                <c:pt idx="2">
                  <c:v>0.39086021505376345</c:v>
                </c:pt>
                <c:pt idx="3">
                  <c:v>0.5688249032258065</c:v>
                </c:pt>
                <c:pt idx="4">
                  <c:v>0.41433693548387096</c:v>
                </c:pt>
                <c:pt idx="5">
                  <c:v>0.7130517741935484</c:v>
                </c:pt>
                <c:pt idx="6">
                  <c:v>0.343322228739003</c:v>
                </c:pt>
                <c:pt idx="7">
                  <c:v>0.2583480860215054</c:v>
                </c:pt>
                <c:pt idx="8">
                  <c:v>0.3511141935483871</c:v>
                </c:pt>
                <c:pt idx="9">
                  <c:v>0.4895601173020528</c:v>
                </c:pt>
                <c:pt idx="10">
                  <c:v>0.46671784946236555</c:v>
                </c:pt>
                <c:pt idx="11">
                  <c:v>0.3065359498207885</c:v>
                </c:pt>
                <c:pt idx="12">
                  <c:v>0.41344913151364765</c:v>
                </c:pt>
                <c:pt idx="13">
                  <c:v>0.9306451612903226</c:v>
                </c:pt>
                <c:pt idx="14">
                  <c:v>0.4656937992831541</c:v>
                </c:pt>
                <c:pt idx="15">
                  <c:v>0.5731451612903227</c:v>
                </c:pt>
                <c:pt idx="16">
                  <c:v>1.328066215199398</c:v>
                </c:pt>
                <c:pt idx="17">
                  <c:v>0.17382248847926265</c:v>
                </c:pt>
                <c:pt idx="18">
                  <c:v>0.20136198924731183</c:v>
                </c:pt>
                <c:pt idx="19">
                  <c:v>0.1347473835125448</c:v>
                </c:pt>
                <c:pt idx="20">
                  <c:v>0.22192375366568914</c:v>
                </c:pt>
                <c:pt idx="21">
                  <c:v>0.0</c:v>
                </c:pt>
                <c:pt idx="22">
                  <c:v>1.3541084026241363</c:v>
                </c:pt>
                <c:pt idx="23">
                  <c:v>0.0</c:v>
                </c:pt>
                <c:pt idx="24">
                  <c:v>0.0</c:v>
                </c:pt>
                <c:pt idx="25">
                  <c:v>0.3069124423963134</c:v>
                </c:pt>
                <c:pt idx="26">
                  <c:v>0.0</c:v>
                </c:pt>
                <c:pt idx="27">
                  <c:v>0.4309677419354839</c:v>
                </c:pt>
                <c:pt idx="28">
                  <c:v>0.30783410138248846</c:v>
                </c:pt>
                <c:pt idx="29">
                  <c:v>0.0</c:v>
                </c:pt>
                <c:pt idx="30">
                  <c:v>0.2590264845785982</c:v>
                </c:pt>
                <c:pt idx="31">
                  <c:v>0.22467843406593407</c:v>
                </c:pt>
                <c:pt idx="32">
                  <c:v>0.20606381697772425</c:v>
                </c:pt>
                <c:pt idx="33">
                  <c:v>0.23033378109476654</c:v>
                </c:pt>
                <c:pt idx="34">
                  <c:v>0.23761048758049677</c:v>
                </c:pt>
                <c:pt idx="35">
                  <c:v>0.20632750811827036</c:v>
                </c:pt>
                <c:pt idx="36">
                  <c:v>0.2249948029393634</c:v>
                </c:pt>
                <c:pt idx="37">
                  <c:v>0.19943801166945588</c:v>
                </c:pt>
                <c:pt idx="38">
                  <c:v>0.19647446808510638</c:v>
                </c:pt>
                <c:pt idx="39">
                  <c:v>0.2280198074974671</c:v>
                </c:pt>
                <c:pt idx="40">
                  <c:v>0.18780821089023336</c:v>
                </c:pt>
                <c:pt idx="41">
                  <c:v>0.21635570340027457</c:v>
                </c:pt>
                <c:pt idx="42">
                  <c:v>0.2527223482321548</c:v>
                </c:pt>
                <c:pt idx="43">
                  <c:v>0.24240127702242265</c:v>
                </c:pt>
                <c:pt idx="44">
                  <c:v>0.20238556134259258</c:v>
                </c:pt>
              </c:numCache>
            </c:numRef>
          </c:xVal>
          <c:yVal>
            <c:numRef>
              <c:f>Sheet1!$B$5:$B$49</c:f>
              <c:numCache>
                <c:formatCode>General</c:formatCode>
                <c:ptCount val="45"/>
                <c:pt idx="0">
                  <c:v>0.8536585365853658</c:v>
                </c:pt>
                <c:pt idx="1">
                  <c:v>0.8378378378378378</c:v>
                </c:pt>
                <c:pt idx="2">
                  <c:v>0.8571428571428571</c:v>
                </c:pt>
                <c:pt idx="3">
                  <c:v>0.9032258064516129</c:v>
                </c:pt>
                <c:pt idx="4">
                  <c:v>0.9</c:v>
                </c:pt>
                <c:pt idx="5">
                  <c:v>0.8636363636363636</c:v>
                </c:pt>
                <c:pt idx="6">
                  <c:v>0.9516129032258065</c:v>
                </c:pt>
                <c:pt idx="7">
                  <c:v>0.9381443298969072</c:v>
                </c:pt>
                <c:pt idx="8">
                  <c:v>0.8260869565217391</c:v>
                </c:pt>
                <c:pt idx="9">
                  <c:v>0.8571428571428571</c:v>
                </c:pt>
                <c:pt idx="10">
                  <c:v>0.7777777777777778</c:v>
                </c:pt>
                <c:pt idx="11">
                  <c:v>0.85</c:v>
                </c:pt>
                <c:pt idx="12">
                  <c:v>0.6666666666666666</c:v>
                </c:pt>
                <c:pt idx="13">
                  <c:v>0.6363636363636364</c:v>
                </c:pt>
                <c:pt idx="14">
                  <c:v>0.4375</c:v>
                </c:pt>
                <c:pt idx="15">
                  <c:v>0.45454545454545453</c:v>
                </c:pt>
                <c:pt idx="16">
                  <c:v>0.3333333333333333</c:v>
                </c:pt>
                <c:pt idx="17">
                  <c:v>0.9506172839506173</c:v>
                </c:pt>
                <c:pt idx="18">
                  <c:v>0.9574468085106383</c:v>
                </c:pt>
                <c:pt idx="19">
                  <c:v>0.73</c:v>
                </c:pt>
                <c:pt idx="20">
                  <c:v>0.9259259259259259</c:v>
                </c:pt>
                <c:pt idx="21">
                  <c:v>0.0</c:v>
                </c:pt>
                <c:pt idx="22">
                  <c:v>0.125</c:v>
                </c:pt>
                <c:pt idx="23">
                  <c:v>0.0</c:v>
                </c:pt>
                <c:pt idx="24">
                  <c:v>0.0</c:v>
                </c:pt>
                <c:pt idx="25">
                  <c:v>0.05555555555555555</c:v>
                </c:pt>
                <c:pt idx="26">
                  <c:v>0.0</c:v>
                </c:pt>
                <c:pt idx="27">
                  <c:v>0.05555555555555555</c:v>
                </c:pt>
                <c:pt idx="28">
                  <c:v>0.045454545454545456</c:v>
                </c:pt>
                <c:pt idx="29">
                  <c:v>0.0</c:v>
                </c:pt>
                <c:pt idx="30">
                  <c:v>0.23529411764705882</c:v>
                </c:pt>
                <c:pt idx="31">
                  <c:v>0.3359375</c:v>
                </c:pt>
                <c:pt idx="32">
                  <c:v>0.7692307692307693</c:v>
                </c:pt>
                <c:pt idx="33">
                  <c:v>0.6909090909090909</c:v>
                </c:pt>
                <c:pt idx="34">
                  <c:v>0.5609756097560976</c:v>
                </c:pt>
                <c:pt idx="35">
                  <c:v>0.1651376146788991</c:v>
                </c:pt>
                <c:pt idx="36">
                  <c:v>0.35135135135135137</c:v>
                </c:pt>
                <c:pt idx="37">
                  <c:v>0.37209302325581395</c:v>
                </c:pt>
                <c:pt idx="38">
                  <c:v>0.48214285714285715</c:v>
                </c:pt>
                <c:pt idx="39">
                  <c:v>0.43902439024390244</c:v>
                </c:pt>
                <c:pt idx="40">
                  <c:v>0.6071428571428571</c:v>
                </c:pt>
                <c:pt idx="41">
                  <c:v>0.4838709677419355</c:v>
                </c:pt>
                <c:pt idx="42">
                  <c:v>0.3939393939393939</c:v>
                </c:pt>
                <c:pt idx="43">
                  <c:v>0.22727272727272727</c:v>
                </c:pt>
                <c:pt idx="44">
                  <c:v>0.24</c:v>
                </c:pt>
              </c:numCache>
            </c:numRef>
          </c:yVal>
          <c:smooth val="0"/>
          <c:extLst>
            <c:ext xmlns:c16="http://schemas.microsoft.com/office/drawing/2014/chart" uri="{C3380CC4-5D6E-409C-BE32-E72D297353CC}">
              <c16:uniqueId val="{00000002-096C-4121-9522-6AB7243CCAAE}"/>
            </c:ext>
          </c:extLst>
        </c:ser>
        <c:ser>
          <c:idx val="2"/>
          <c:order val="2"/>
          <c:tx>
            <c:strRef>
              <c:f>Sheet1!$B$5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2:$A$53</c:f>
              <c:numCache>
                <c:formatCode>General</c:formatCode>
                <c:ptCount val="2"/>
                <c:pt idx="0">
                  <c:v>0</c:v>
                </c:pt>
                <c:pt idx="1">
                  <c:v>2.4272337962700745</c:v>
                </c:pt>
              </c:numCache>
            </c:numRef>
          </c:xVal>
          <c:yVal>
            <c:numRef>
              <c:f>Sheet1!$B$52:$B$53</c:f>
              <c:numCache>
                <c:formatCode>General</c:formatCode>
                <c:ptCount val="2"/>
                <c:pt idx="0">
                  <c:v>0.8839213947003088</c:v>
                </c:pt>
                <c:pt idx="1">
                  <c:v>0.8839213947003088</c:v>
                </c:pt>
              </c:numCache>
            </c:numRef>
          </c:yVal>
          <c:smooth val="0"/>
          <c:extLst>
            <c:ext xmlns:c16="http://schemas.microsoft.com/office/drawing/2014/chart" uri="{C3380CC4-5D6E-409C-BE32-E72D297353CC}">
              <c16:uniqueId val="{00000005-096C-4121-9522-6AB7243CCAAE}"/>
            </c:ext>
          </c:extLst>
        </c:ser>
        <c:ser>
          <c:idx val="3"/>
          <c:order val="3"/>
          <c:tx>
            <c:strRef>
              <c:f>Sheet1!$B$5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6:$A$57</c:f>
              <c:numCache>
                <c:formatCode>General</c:formatCode>
                <c:ptCount val="2"/>
                <c:pt idx="0">
                  <c:v>2.4272337962700745</c:v>
                </c:pt>
                <c:pt idx="1">
                  <c:v>2.4272337962700745</c:v>
                </c:pt>
              </c:numCache>
            </c:numRef>
          </c:xVal>
          <c:yVal>
            <c:numRef>
              <c:f>Sheet1!$B$56:$B$57</c:f>
              <c:numCache>
                <c:formatCode>General</c:formatCode>
                <c:ptCount val="2"/>
                <c:pt idx="0">
                  <c:v>0.883921394700308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5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0:$A$61</c:f>
              <c:numCache>
                <c:formatCode>General</c:formatCode>
                <c:ptCount val="2"/>
                <c:pt idx="0">
                  <c:v>0</c:v>
                </c:pt>
                <c:pt idx="1">
                  <c:v>2.4272337962700745</c:v>
                </c:pt>
              </c:numCache>
            </c:numRef>
          </c:xVal>
          <c:yVal>
            <c:numRef>
              <c:f>Sheet1!$B$60:$B$61</c:f>
              <c:numCache>
                <c:formatCode>General</c:formatCode>
                <c:ptCount val="2"/>
                <c:pt idx="0">
                  <c:v>0.8839213947003088</c:v>
                </c:pt>
                <c:pt idx="1">
                  <c:v>0.8839213947003088</c:v>
                </c:pt>
              </c:numCache>
            </c:numRef>
          </c:yVal>
          <c:smooth val="0"/>
          <c:extLst>
            <c:ext xmlns:c16="http://schemas.microsoft.com/office/drawing/2014/chart" uri="{C3380CC4-5D6E-409C-BE32-E72D297353CC}">
              <c16:uniqueId val="{0000000D-096C-4121-9522-6AB7243CCAAE}"/>
            </c:ext>
          </c:extLst>
        </c:ser>
        <c:ser>
          <c:idx val="5"/>
          <c:order val="5"/>
          <c:tx>
            <c:strRef>
              <c:f>Sheet1!$B$6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4:$A$65</c:f>
              <c:numCache>
                <c:formatCode>General</c:formatCode>
                <c:ptCount val="2"/>
                <c:pt idx="0">
                  <c:v>2.4272337962700745</c:v>
                </c:pt>
                <c:pt idx="1">
                  <c:v>2.4272337962700745</c:v>
                </c:pt>
              </c:numCache>
            </c:numRef>
          </c:xVal>
          <c:yVal>
            <c:numRef>
              <c:f>Sheet1!$B$64:$B$65</c:f>
              <c:numCache>
                <c:formatCode>General</c:formatCode>
                <c:ptCount val="2"/>
                <c:pt idx="0">
                  <c:v>0.883921394700308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6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68:$A$69</c:f>
              <c:numCache>
                <c:formatCode>General</c:formatCode>
                <c:ptCount val="2"/>
                <c:pt idx="0">
                  <c:v>0</c:v>
                </c:pt>
                <c:pt idx="1">
                  <c:v>-0.05168977172456107</c:v>
                </c:pt>
              </c:numCache>
            </c:numRef>
          </c:xVal>
          <c:yVal>
            <c:numRef>
              <c:f>Sheet1!$B$68:$B$69</c:f>
              <c:numCache>
                <c:formatCode>General</c:formatCode>
                <c:ptCount val="2"/>
                <c:pt idx="0">
                  <c:v>0.4448531271281304</c:v>
                </c:pt>
                <c:pt idx="1">
                  <c:v>0.4448531271281304</c:v>
                </c:pt>
              </c:numCache>
            </c:numRef>
          </c:yVal>
          <c:smooth val="0"/>
          <c:extLst>
            <c:ext xmlns:c16="http://schemas.microsoft.com/office/drawing/2014/chart" uri="{C3380CC4-5D6E-409C-BE32-E72D297353CC}">
              <c16:uniqueId val="{00000015-096C-4121-9522-6AB7243CCAAE}"/>
            </c:ext>
          </c:extLst>
        </c:ser>
        <c:ser>
          <c:idx val="7"/>
          <c:order val="7"/>
          <c:tx>
            <c:strRef>
              <c:f>Sheet1!$B$7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2:$A$73</c:f>
              <c:numCache>
                <c:formatCode>General</c:formatCode>
                <c:ptCount val="2"/>
                <c:pt idx="0">
                  <c:v>-0.05168977172456107</c:v>
                </c:pt>
                <c:pt idx="1">
                  <c:v>-0.05168977172456107</c:v>
                </c:pt>
              </c:numCache>
            </c:numRef>
          </c:xVal>
          <c:yVal>
            <c:numRef>
              <c:f>Sheet1!$B$72:$B$73</c:f>
              <c:numCache>
                <c:formatCode>General</c:formatCode>
                <c:ptCount val="2"/>
                <c:pt idx="0">
                  <c:v>0.444853127128130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7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76:$A$123</c:f>
              <c:numCache>
                <c:formatCode>General</c:formatCode>
                <c:ptCount val="48"/>
                <c:pt idx="0">
                  <c:v>0.555318</c:v>
                </c:pt>
                <c:pt idx="1">
                  <c:v>0.3085674551971326</c:v>
                </c:pt>
                <c:pt idx="2">
                  <c:v>0.39086021505376345</c:v>
                </c:pt>
                <c:pt idx="3">
                  <c:v>0.5688249032258065</c:v>
                </c:pt>
                <c:pt idx="4">
                  <c:v>0.41433693548387096</c:v>
                </c:pt>
                <c:pt idx="5">
                  <c:v>0.7130517741935484</c:v>
                </c:pt>
                <c:pt idx="6">
                  <c:v>0.343322228739003</c:v>
                </c:pt>
                <c:pt idx="7">
                  <c:v>0.2583480860215054</c:v>
                </c:pt>
                <c:pt idx="8">
                  <c:v>0.3511141935483871</c:v>
                </c:pt>
                <c:pt idx="9">
                  <c:v>0.4895601173020528</c:v>
                </c:pt>
                <c:pt idx="10">
                  <c:v>0.46671784946236555</c:v>
                </c:pt>
                <c:pt idx="11">
                  <c:v>0.3065359498207885</c:v>
                </c:pt>
                <c:pt idx="12">
                  <c:v>0.41344913151364765</c:v>
                </c:pt>
                <c:pt idx="13">
                  <c:v>0.9306451612903226</c:v>
                </c:pt>
                <c:pt idx="14">
                  <c:v>0.4656937992831541</c:v>
                </c:pt>
                <c:pt idx="15">
                  <c:v>0.5731451612903227</c:v>
                </c:pt>
                <c:pt idx="16">
                  <c:v>1.328066215199398</c:v>
                </c:pt>
                <c:pt idx="17">
                  <c:v>0.17382248847926265</c:v>
                </c:pt>
                <c:pt idx="18">
                  <c:v>0.20136198924731183</c:v>
                </c:pt>
                <c:pt idx="19">
                  <c:v>0.1347473835125448</c:v>
                </c:pt>
                <c:pt idx="20">
                  <c:v>0.22192375366568914</c:v>
                </c:pt>
                <c:pt idx="21">
                  <c:v>0.0</c:v>
                </c:pt>
                <c:pt idx="22">
                  <c:v>1.3541084026241363</c:v>
                </c:pt>
                <c:pt idx="23">
                  <c:v>0.0</c:v>
                </c:pt>
                <c:pt idx="24">
                  <c:v>0.0</c:v>
                </c:pt>
                <c:pt idx="25">
                  <c:v>0.3069124423963134</c:v>
                </c:pt>
                <c:pt idx="26">
                  <c:v>0.0</c:v>
                </c:pt>
                <c:pt idx="27">
                  <c:v>0.4309677419354839</c:v>
                </c:pt>
                <c:pt idx="28">
                  <c:v>0.30783410138248846</c:v>
                </c:pt>
                <c:pt idx="29">
                  <c:v>0.0</c:v>
                </c:pt>
                <c:pt idx="30">
                  <c:v>0.2590264845785982</c:v>
                </c:pt>
                <c:pt idx="31">
                  <c:v>0.22467843406593407</c:v>
                </c:pt>
                <c:pt idx="32">
                  <c:v>0.20606381697772425</c:v>
                </c:pt>
                <c:pt idx="33">
                  <c:v>0.23033378109476654</c:v>
                </c:pt>
                <c:pt idx="34">
                  <c:v>0.23761048758049677</c:v>
                </c:pt>
                <c:pt idx="35">
                  <c:v>0.20632750811827036</c:v>
                </c:pt>
                <c:pt idx="36">
                  <c:v>0.2249948029393634</c:v>
                </c:pt>
                <c:pt idx="37">
                  <c:v>0.19943801166945588</c:v>
                </c:pt>
                <c:pt idx="38">
                  <c:v>0.19647446808510638</c:v>
                </c:pt>
                <c:pt idx="39">
                  <c:v>0.2280198074974671</c:v>
                </c:pt>
                <c:pt idx="40">
                  <c:v>0.18780821089023336</c:v>
                </c:pt>
                <c:pt idx="41">
                  <c:v>0.21635570340027457</c:v>
                </c:pt>
                <c:pt idx="42">
                  <c:v>0.2527223482321548</c:v>
                </c:pt>
                <c:pt idx="43">
                  <c:v>0.24240127702242265</c:v>
                </c:pt>
                <c:pt idx="44">
                  <c:v>0.20238556134259258</c:v>
                </c:pt>
                <c:pt idx="45">
                  <c:v>2.4272337962700745</c:v>
                </c:pt>
                <c:pt idx="46">
                  <c:v>2.4272337962700745</c:v>
                </c:pt>
                <c:pt idx="47">
                  <c:v>-0.05168977172456107</c:v>
                </c:pt>
              </c:numCache>
            </c:numRef>
          </c:xVal>
          <c:yVal>
            <c:numRef>
              <c:f>Sheet1!$B$76:$B$123</c:f>
              <c:numCache>
                <c:formatCode>General</c:formatCode>
                <c:ptCount val="48"/>
                <c:pt idx="0">
                  <c:v>0.5523666681565677</c:v>
                </c:pt>
                <c:pt idx="1">
                  <c:v>0.5086620797505887</c:v>
                </c:pt>
                <c:pt idx="2">
                  <c:v>0.5232378173693222</c:v>
                </c:pt>
                <c:pt idx="3">
                  <c:v>0.5547590180765846</c:v>
                </c:pt>
                <c:pt idx="4">
                  <c:v>0.5273960266423343</c:v>
                </c:pt>
                <c:pt idx="5">
                  <c:v>0.5803045585647049</c:v>
                </c:pt>
                <c:pt idx="6">
                  <c:v>0.5148178638198964</c:v>
                </c:pt>
                <c:pt idx="7">
                  <c:v>0.49976719823540444</c:v>
                </c:pt>
                <c:pt idx="8">
                  <c:v>0.5161979807924447</c:v>
                </c:pt>
                <c:pt idx="9">
                  <c:v>0.5407195968195685</c:v>
                </c:pt>
                <c:pt idx="10">
                  <c:v>0.5366737621285439</c:v>
                </c:pt>
                <c:pt idx="11">
                  <c:v>0.5083022584323073</c:v>
                </c:pt>
                <c:pt idx="12">
                  <c:v>0.5272387783285168</c:v>
                </c:pt>
                <c:pt idx="13">
                  <c:v>0.6188448156106412</c:v>
                </c:pt>
                <c:pt idx="14">
                  <c:v>0.5364923818133545</c:v>
                </c:pt>
                <c:pt idx="15">
                  <c:v>0.5555242244945405</c:v>
                </c:pt>
                <c:pt idx="16">
                  <c:v>0.6892362451365333</c:v>
                </c:pt>
                <c:pt idx="17">
                  <c:v>0.4847959792121417</c:v>
                </c:pt>
                <c:pt idx="18">
                  <c:v>0.4896737903105338</c:v>
                </c:pt>
                <c:pt idx="19">
                  <c:v>0.47787497573125703</c:v>
                </c:pt>
                <c:pt idx="20">
                  <c:v>0.49331570101644057</c:v>
                </c:pt>
                <c:pt idx="21">
                  <c:v>0.45400844712884514</c:v>
                </c:pt>
                <c:pt idx="22">
                  <c:v>0.6938488512951086</c:v>
                </c:pt>
                <c:pt idx="23">
                  <c:v>0.45400844712884514</c:v>
                </c:pt>
                <c:pt idx="24">
                  <c:v>0.45400844712884514</c:v>
                </c:pt>
                <c:pt idx="25">
                  <c:v>0.5083689429985536</c:v>
                </c:pt>
                <c:pt idx="26">
                  <c:v>0.45400844712884514</c:v>
                </c:pt>
                <c:pt idx="27">
                  <c:v>0.530341683971715</c:v>
                </c:pt>
                <c:pt idx="28">
                  <c:v>0.508532187730895</c:v>
                </c:pt>
                <c:pt idx="29">
                  <c:v>0.45400844712884514</c:v>
                </c:pt>
                <c:pt idx="30">
                  <c:v>0.49988735655050215</c:v>
                </c:pt>
                <c:pt idx="31">
                  <c:v>0.4938036114815579</c:v>
                </c:pt>
                <c:pt idx="32">
                  <c:v>0.4905065805516968</c:v>
                </c:pt>
                <c:pt idx="33">
                  <c:v>0.49480528957059944</c:v>
                </c:pt>
                <c:pt idx="34">
                  <c:v>0.49609414371341004</c:v>
                </c:pt>
                <c:pt idx="35">
                  <c:v>0.49055328566747713</c:v>
                </c:pt>
                <c:pt idx="36">
                  <c:v>0.49385964690554746</c:v>
                </c:pt>
                <c:pt idx="37">
                  <c:v>0.4893330143734038</c:v>
                </c:pt>
                <c:pt idx="38">
                  <c:v>0.48880810994946167</c:v>
                </c:pt>
                <c:pt idx="39">
                  <c:v>0.49439543733001745</c:v>
                </c:pt>
                <c:pt idx="40">
                  <c:v>0.48727313784220705</c:v>
                </c:pt>
                <c:pt idx="41">
                  <c:v>0.49232948497680357</c:v>
                </c:pt>
                <c:pt idx="42">
                  <c:v>0.49877076455068875</c:v>
                </c:pt>
                <c:pt idx="43">
                  <c:v>0.49694269090047444</c:v>
                </c:pt>
                <c:pt idx="44">
                  <c:v>0.48985508594724186</c:v>
                </c:pt>
                <c:pt idx="45">
                  <c:v>0.8839213947003088</c:v>
                </c:pt>
                <c:pt idx="46">
                  <c:v>0.8839213947003088</c:v>
                </c:pt>
                <c:pt idx="47">
                  <c:v>0.444853127128130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cean Poti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612903225806452"/>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49</c:f>
              <c:numCache>
                <c:formatCode>General</c:formatCode>
                <c:ptCount val="46"/>
                <c:pt idx="0">
                  <c:v>860.7429</c:v>
                </c:pt>
                <c:pt idx="1">
                  <c:v>860.9032</c:v>
                </c:pt>
                <c:pt idx="2">
                  <c:v>727.0</c:v>
                </c:pt>
                <c:pt idx="3">
                  <c:v>883.0</c:v>
                </c:pt>
                <c:pt idx="4">
                  <c:v>881.6786</c:v>
                </c:pt>
                <c:pt idx="5">
                  <c:v>770.6667</c:v>
                </c:pt>
                <c:pt idx="6">
                  <c:v>884.1842</c:v>
                </c:pt>
                <c:pt idx="7">
                  <c:v>585.3644</c:v>
                </c:pt>
                <c:pt idx="8">
                  <c:v>600.6593</c:v>
                </c:pt>
                <c:pt idx="9">
                  <c:v>870.7632</c:v>
                </c:pt>
                <c:pt idx="10">
                  <c:v>834.7</c:v>
                </c:pt>
                <c:pt idx="11">
                  <c:v>868.0952</c:v>
                </c:pt>
                <c:pt idx="12">
                  <c:v>855.2353</c:v>
                </c:pt>
                <c:pt idx="13">
                  <c:v>833.1</c:v>
                </c:pt>
                <c:pt idx="14">
                  <c:v>1154.0</c:v>
                </c:pt>
                <c:pt idx="15">
                  <c:v>1299.2857</c:v>
                </c:pt>
                <c:pt idx="16">
                  <c:v>1421.4</c:v>
                </c:pt>
                <c:pt idx="17">
                  <c:v>1765.0</c:v>
                </c:pt>
                <c:pt idx="18">
                  <c:v>377.1948</c:v>
                </c:pt>
                <c:pt idx="19">
                  <c:v>374.5333</c:v>
                </c:pt>
                <c:pt idx="20">
                  <c:v>375.9452</c:v>
                </c:pt>
                <c:pt idx="21">
                  <c:v>378.38</c:v>
                </c:pt>
                <c:pt idx="22">
                  <c:v>0.0</c:v>
                </c:pt>
                <c:pt idx="23">
                  <c:v>1615.0</c:v>
                </c:pt>
                <c:pt idx="24">
                  <c:v>0.0</c:v>
                </c:pt>
                <c:pt idx="25">
                  <c:v>0.0</c:v>
                </c:pt>
                <c:pt idx="26">
                  <c:v>666.0</c:v>
                </c:pt>
                <c:pt idx="27">
                  <c:v>0.0</c:v>
                </c:pt>
                <c:pt idx="28">
                  <c:v>1002.0</c:v>
                </c:pt>
                <c:pt idx="29">
                  <c:v>668.0</c:v>
                </c:pt>
                <c:pt idx="30">
                  <c:v>0.0</c:v>
                </c:pt>
                <c:pt idx="31">
                  <c:v>511.75</c:v>
                </c:pt>
                <c:pt idx="32">
                  <c:v>490.6977</c:v>
                </c:pt>
                <c:pt idx="33">
                  <c:v>427.84</c:v>
                </c:pt>
                <c:pt idx="34">
                  <c:v>464.7368</c:v>
                </c:pt>
                <c:pt idx="35">
                  <c:v>516.5652</c:v>
                </c:pt>
                <c:pt idx="36">
                  <c:v>482.8889</c:v>
                </c:pt>
                <c:pt idx="37">
                  <c:v>487.6923</c:v>
                </c:pt>
                <c:pt idx="38">
                  <c:v>440.9375</c:v>
                </c:pt>
                <c:pt idx="39">
                  <c:v>424.7778</c:v>
                </c:pt>
                <c:pt idx="40">
                  <c:v>450.1111</c:v>
                </c:pt>
                <c:pt idx="41">
                  <c:v>434.5882</c:v>
                </c:pt>
                <c:pt idx="42">
                  <c:v>438.7333</c:v>
                </c:pt>
                <c:pt idx="43">
                  <c:v>473.5385</c:v>
                </c:pt>
                <c:pt idx="44">
                  <c:v>484.7333</c:v>
                </c:pt>
                <c:pt idx="45">
                  <c:v>419.6667</c:v>
                </c:pt>
              </c:numCache>
            </c:numRef>
          </c:xVal>
          <c:yVal>
            <c:numRef>
              <c:f>Sheet1!$B$4:$B$49</c:f>
              <c:numCache>
                <c:formatCode>General</c:formatCode>
                <c:ptCount val="46"/>
                <c:pt idx="0">
                  <c:v>0.8536585365853658</c:v>
                </c:pt>
                <c:pt idx="1">
                  <c:v>0.8378378378378378</c:v>
                </c:pt>
                <c:pt idx="2">
                  <c:v>0.8571428571428571</c:v>
                </c:pt>
                <c:pt idx="3">
                  <c:v>0.967741935483871</c:v>
                </c:pt>
                <c:pt idx="4">
                  <c:v>0.9032258064516129</c:v>
                </c:pt>
                <c:pt idx="5">
                  <c:v>0.9</c:v>
                </c:pt>
                <c:pt idx="6">
                  <c:v>0.8636363636363636</c:v>
                </c:pt>
                <c:pt idx="7">
                  <c:v>0.9516129032258065</c:v>
                </c:pt>
                <c:pt idx="8">
                  <c:v>0.9381443298969072</c:v>
                </c:pt>
                <c:pt idx="9">
                  <c:v>0.8260869565217391</c:v>
                </c:pt>
                <c:pt idx="10">
                  <c:v>0.8571428571428571</c:v>
                </c:pt>
                <c:pt idx="11">
                  <c:v>0.7777777777777778</c:v>
                </c:pt>
                <c:pt idx="12">
                  <c:v>0.85</c:v>
                </c:pt>
                <c:pt idx="13">
                  <c:v>0.6666666666666666</c:v>
                </c:pt>
                <c:pt idx="14">
                  <c:v>0.6363636363636364</c:v>
                </c:pt>
                <c:pt idx="15">
                  <c:v>0.4375</c:v>
                </c:pt>
                <c:pt idx="16">
                  <c:v>0.45454545454545453</c:v>
                </c:pt>
                <c:pt idx="17">
                  <c:v>0.3333333333333333</c:v>
                </c:pt>
                <c:pt idx="18">
                  <c:v>0.9506172839506173</c:v>
                </c:pt>
                <c:pt idx="19">
                  <c:v>0.9574468085106383</c:v>
                </c:pt>
                <c:pt idx="20">
                  <c:v>0.73</c:v>
                </c:pt>
                <c:pt idx="21">
                  <c:v>0.9259259259259259</c:v>
                </c:pt>
                <c:pt idx="22">
                  <c:v>0.0</c:v>
                </c:pt>
                <c:pt idx="23">
                  <c:v>0.125</c:v>
                </c:pt>
                <c:pt idx="24">
                  <c:v>0.0</c:v>
                </c:pt>
                <c:pt idx="25">
                  <c:v>0.0</c:v>
                </c:pt>
                <c:pt idx="26">
                  <c:v>0.05555555555555555</c:v>
                </c:pt>
                <c:pt idx="27">
                  <c:v>0.0</c:v>
                </c:pt>
                <c:pt idx="28">
                  <c:v>0.05555555555555555</c:v>
                </c:pt>
                <c:pt idx="29">
                  <c:v>0.045454545454545456</c:v>
                </c:pt>
                <c:pt idx="30">
                  <c:v>0.0</c:v>
                </c:pt>
                <c:pt idx="31">
                  <c:v>0.23529411764705882</c:v>
                </c:pt>
                <c:pt idx="32">
                  <c:v>0.3359375</c:v>
                </c:pt>
                <c:pt idx="33">
                  <c:v>0.7692307692307693</c:v>
                </c:pt>
                <c:pt idx="34">
                  <c:v>0.6909090909090909</c:v>
                </c:pt>
                <c:pt idx="35">
                  <c:v>0.5609756097560976</c:v>
                </c:pt>
                <c:pt idx="36">
                  <c:v>0.1651376146788991</c:v>
                </c:pt>
                <c:pt idx="37">
                  <c:v>0.35135135135135137</c:v>
                </c:pt>
                <c:pt idx="38">
                  <c:v>0.37209302325581395</c:v>
                </c:pt>
                <c:pt idx="39">
                  <c:v>0.48214285714285715</c:v>
                </c:pt>
                <c:pt idx="40">
                  <c:v>0.43902439024390244</c:v>
                </c:pt>
                <c:pt idx="41">
                  <c:v>0.6071428571428571</c:v>
                </c:pt>
                <c:pt idx="42">
                  <c:v>0.4838709677419355</c:v>
                </c:pt>
                <c:pt idx="43">
                  <c:v>0.3939393939393939</c:v>
                </c:pt>
                <c:pt idx="44">
                  <c:v>0.22727272727272727</c:v>
                </c:pt>
                <c:pt idx="45">
                  <c:v>0.24</c:v>
                </c:pt>
              </c:numCache>
            </c:numRef>
          </c:yVal>
          <c:smooth val="0"/>
          <c:extLst>
            <c:ext xmlns:c16="http://schemas.microsoft.com/office/drawing/2014/chart" uri="{C3380CC4-5D6E-409C-BE32-E72D297353CC}">
              <c16:uniqueId val="{00000002-F32D-48B7-BC20-E66FC6253BAD}"/>
            </c:ext>
          </c:extLst>
        </c:ser>
        <c:ser>
          <c:idx val="2"/>
          <c:order val="2"/>
          <c:tx>
            <c:strRef>
              <c:f>Sheet1!$B$51</c:f>
              <c:strCache>
                <c:ptCount val="1"/>
                <c:pt idx="0">
                  <c:v>Custom Linep3yQ</c:v>
                </c:pt>
              </c:strCache>
            </c:strRef>
          </c:tx>
          <c:spPr>
            <a:ln w="19050" cap="rnd">
              <a:solidFill>
                <a:srgbClr val="C00000"/>
              </a:solidFill>
              <a:prstDash val="sysDot"/>
              <a:round/>
            </a:ln>
            <a:effectLst/>
          </c:spPr>
          <c:marker>
            <c:symbol val="none"/>
          </c:marker>
          <c:xVal>
            <c:numRef>
              <c:f>Sheet1!$A$52:$A$53</c:f>
              <c:numCache>
                <c:formatCode>General</c:formatCode>
                <c:ptCount val="2"/>
                <c:pt idx="0">
                  <c:v>0</c:v>
                </c:pt>
                <c:pt idx="1">
                  <c:v>2398.9962261155133</c:v>
                </c:pt>
              </c:numCache>
            </c:numRef>
          </c:xVal>
          <c:yVal>
            <c:numRef>
              <c:f>Sheet1!$B$52:$B$53</c:f>
              <c:numCache>
                <c:formatCode>General</c:formatCode>
                <c:ptCount val="2"/>
                <c:pt idx="0">
                  <c:v>0.8839213947003088</c:v>
                </c:pt>
                <c:pt idx="1">
                  <c:v>0.8839213947003088</c:v>
                </c:pt>
              </c:numCache>
            </c:numRef>
          </c:yVal>
          <c:smooth val="0"/>
          <c:extLst>
            <c:ext xmlns:c16="http://schemas.microsoft.com/office/drawing/2014/chart" uri="{C3380CC4-5D6E-409C-BE32-E72D297353CC}">
              <c16:uniqueId val="{00000003-F32D-48B7-BC20-E66FC6253BAD}"/>
            </c:ext>
          </c:extLst>
        </c:ser>
        <c:ser>
          <c:idx val="3"/>
          <c:order val="3"/>
          <c:tx>
            <c:strRef>
              <c:f>Sheet1!$B$5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6:$A$57</c:f>
              <c:numCache>
                <c:formatCode>General</c:formatCode>
                <c:ptCount val="2"/>
                <c:pt idx="0">
                  <c:v>2398.9962261155133</c:v>
                </c:pt>
                <c:pt idx="1">
                  <c:v>2398.9962261155133</c:v>
                </c:pt>
              </c:numCache>
            </c:numRef>
          </c:xVal>
          <c:yVal>
            <c:numRef>
              <c:f>Sheet1!$B$56:$B$57</c:f>
              <c:numCache>
                <c:formatCode>General</c:formatCode>
                <c:ptCount val="2"/>
                <c:pt idx="0">
                  <c:v>0.883921394700308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5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0:$A$61</c:f>
              <c:numCache>
                <c:formatCode>General</c:formatCode>
                <c:ptCount val="2"/>
                <c:pt idx="0">
                  <c:v>0</c:v>
                </c:pt>
                <c:pt idx="1">
                  <c:v>2398.9962261155133</c:v>
                </c:pt>
              </c:numCache>
            </c:numRef>
          </c:xVal>
          <c:yVal>
            <c:numRef>
              <c:f>Sheet1!$B$60:$B$61</c:f>
              <c:numCache>
                <c:formatCode>General</c:formatCode>
                <c:ptCount val="2"/>
                <c:pt idx="0">
                  <c:v>0.8839213947003088</c:v>
                </c:pt>
                <c:pt idx="1">
                  <c:v>0.8839213947003088</c:v>
                </c:pt>
              </c:numCache>
            </c:numRef>
          </c:yVal>
          <c:smooth val="0"/>
          <c:extLst>
            <c:ext xmlns:c16="http://schemas.microsoft.com/office/drawing/2014/chart" uri="{C3380CC4-5D6E-409C-BE32-E72D297353CC}">
              <c16:uniqueId val="{0000000A-F32D-48B7-BC20-E66FC6253BAD}"/>
            </c:ext>
          </c:extLst>
        </c:ser>
        <c:ser>
          <c:idx val="5"/>
          <c:order val="5"/>
          <c:tx>
            <c:strRef>
              <c:f>Sheet1!$B$6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4:$A$65</c:f>
              <c:numCache>
                <c:formatCode>General</c:formatCode>
                <c:ptCount val="2"/>
                <c:pt idx="0">
                  <c:v>2398.9962261155133</c:v>
                </c:pt>
                <c:pt idx="1">
                  <c:v>2398.9962261155133</c:v>
                </c:pt>
              </c:numCache>
            </c:numRef>
          </c:xVal>
          <c:yVal>
            <c:numRef>
              <c:f>Sheet1!$B$64:$B$65</c:f>
              <c:numCache>
                <c:formatCode>General</c:formatCode>
                <c:ptCount val="2"/>
                <c:pt idx="0">
                  <c:v>0.883921394700308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6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68:$A$69</c:f>
              <c:numCache>
                <c:formatCode>General</c:formatCode>
                <c:ptCount val="2"/>
                <c:pt idx="0">
                  <c:v>0</c:v>
                </c:pt>
                <c:pt idx="1">
                  <c:v>250.05311937566353</c:v>
                </c:pt>
              </c:numCache>
            </c:numRef>
          </c:xVal>
          <c:yVal>
            <c:numRef>
              <c:f>Sheet1!$B$68:$B$69</c:f>
              <c:numCache>
                <c:formatCode>General</c:formatCode>
                <c:ptCount val="2"/>
                <c:pt idx="0">
                  <c:v>0.4448531271281304</c:v>
                </c:pt>
                <c:pt idx="1">
                  <c:v>0.4448531271281304</c:v>
                </c:pt>
              </c:numCache>
            </c:numRef>
          </c:yVal>
          <c:smooth val="0"/>
          <c:extLst>
            <c:ext xmlns:c16="http://schemas.microsoft.com/office/drawing/2014/chart" uri="{C3380CC4-5D6E-409C-BE32-E72D297353CC}">
              <c16:uniqueId val="{00000011-F32D-48B7-BC20-E66FC6253BAD}"/>
            </c:ext>
          </c:extLst>
        </c:ser>
        <c:ser>
          <c:idx val="7"/>
          <c:order val="7"/>
          <c:tx>
            <c:strRef>
              <c:f>Sheet1!$B$7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2:$A$73</c:f>
              <c:numCache>
                <c:formatCode>General</c:formatCode>
                <c:ptCount val="2"/>
                <c:pt idx="0">
                  <c:v>250.05311937566353</c:v>
                </c:pt>
                <c:pt idx="1">
                  <c:v>250.05311937566353</c:v>
                </c:pt>
              </c:numCache>
            </c:numRef>
          </c:xVal>
          <c:yVal>
            <c:numRef>
              <c:f>Sheet1!$B$72:$B$73</c:f>
              <c:numCache>
                <c:formatCode>General</c:formatCode>
                <c:ptCount val="2"/>
                <c:pt idx="0">
                  <c:v>0.444853127128130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7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76:$A$124</c:f>
              <c:numCache>
                <c:formatCode>General</c:formatCode>
                <c:ptCount val="49"/>
                <c:pt idx="0">
                  <c:v>860.7429</c:v>
                </c:pt>
                <c:pt idx="1">
                  <c:v>860.9032</c:v>
                </c:pt>
                <c:pt idx="2">
                  <c:v>727.0</c:v>
                </c:pt>
                <c:pt idx="3">
                  <c:v>883.0</c:v>
                </c:pt>
                <c:pt idx="4">
                  <c:v>881.6786</c:v>
                </c:pt>
                <c:pt idx="5">
                  <c:v>770.6667</c:v>
                </c:pt>
                <c:pt idx="6">
                  <c:v>884.1842</c:v>
                </c:pt>
                <c:pt idx="7">
                  <c:v>585.3644</c:v>
                </c:pt>
                <c:pt idx="8">
                  <c:v>600.6593</c:v>
                </c:pt>
                <c:pt idx="9">
                  <c:v>870.7632</c:v>
                </c:pt>
                <c:pt idx="10">
                  <c:v>834.7</c:v>
                </c:pt>
                <c:pt idx="11">
                  <c:v>868.0952</c:v>
                </c:pt>
                <c:pt idx="12">
                  <c:v>855.2353</c:v>
                </c:pt>
                <c:pt idx="13">
                  <c:v>833.1</c:v>
                </c:pt>
                <c:pt idx="14">
                  <c:v>1154.0</c:v>
                </c:pt>
                <c:pt idx="15">
                  <c:v>1299.2857</c:v>
                </c:pt>
                <c:pt idx="16">
                  <c:v>1421.4</c:v>
                </c:pt>
                <c:pt idx="17">
                  <c:v>1765.0</c:v>
                </c:pt>
                <c:pt idx="18">
                  <c:v>377.1948</c:v>
                </c:pt>
                <c:pt idx="19">
                  <c:v>374.5333</c:v>
                </c:pt>
                <c:pt idx="20">
                  <c:v>375.9452</c:v>
                </c:pt>
                <c:pt idx="21">
                  <c:v>378.38</c:v>
                </c:pt>
                <c:pt idx="22">
                  <c:v>0.0</c:v>
                </c:pt>
                <c:pt idx="23">
                  <c:v>1615.0</c:v>
                </c:pt>
                <c:pt idx="24">
                  <c:v>0.0</c:v>
                </c:pt>
                <c:pt idx="25">
                  <c:v>0.0</c:v>
                </c:pt>
                <c:pt idx="26">
                  <c:v>666.0</c:v>
                </c:pt>
                <c:pt idx="27">
                  <c:v>0.0</c:v>
                </c:pt>
                <c:pt idx="28">
                  <c:v>1002.0</c:v>
                </c:pt>
                <c:pt idx="29">
                  <c:v>668.0</c:v>
                </c:pt>
                <c:pt idx="30">
                  <c:v>0.0</c:v>
                </c:pt>
                <c:pt idx="31">
                  <c:v>511.75</c:v>
                </c:pt>
                <c:pt idx="32">
                  <c:v>490.6977</c:v>
                </c:pt>
                <c:pt idx="33">
                  <c:v>427.84</c:v>
                </c:pt>
                <c:pt idx="34">
                  <c:v>464.7368</c:v>
                </c:pt>
                <c:pt idx="35">
                  <c:v>516.5652</c:v>
                </c:pt>
                <c:pt idx="36">
                  <c:v>482.8889</c:v>
                </c:pt>
                <c:pt idx="37">
                  <c:v>487.6923</c:v>
                </c:pt>
                <c:pt idx="38">
                  <c:v>440.9375</c:v>
                </c:pt>
                <c:pt idx="39">
                  <c:v>424.7778</c:v>
                </c:pt>
                <c:pt idx="40">
                  <c:v>450.1111</c:v>
                </c:pt>
                <c:pt idx="41">
                  <c:v>434.5882</c:v>
                </c:pt>
                <c:pt idx="42">
                  <c:v>438.7333</c:v>
                </c:pt>
                <c:pt idx="43">
                  <c:v>473.5385</c:v>
                </c:pt>
                <c:pt idx="44">
                  <c:v>484.7333</c:v>
                </c:pt>
                <c:pt idx="45">
                  <c:v>419.6667</c:v>
                </c:pt>
                <c:pt idx="46">
                  <c:v>2398.9962261155133</c:v>
                </c:pt>
                <c:pt idx="47">
                  <c:v>2398.9962261155133</c:v>
                </c:pt>
                <c:pt idx="48">
                  <c:v>250.05311937566353</c:v>
                </c:pt>
              </c:numCache>
            </c:numRef>
          </c:xVal>
          <c:yVal>
            <c:numRef>
              <c:f>Sheet1!$B$76:$B$124</c:f>
              <c:numCache>
                <c:formatCode>General</c:formatCode>
                <c:ptCount val="49"/>
                <c:pt idx="0">
                  <c:v>0.5696281866268188</c:v>
                </c:pt>
                <c:pt idx="1">
                  <c:v>0.5696609388402539</c:v>
                </c:pt>
                <c:pt idx="2">
                  <c:v>0.542302073050845</c:v>
                </c:pt>
                <c:pt idx="3">
                  <c:v>0.5741757180656601</c:v>
                </c:pt>
                <c:pt idx="4">
                  <c:v>0.5739057319469256</c:v>
                </c:pt>
                <c:pt idx="5">
                  <c:v>0.5512239762224376</c:v>
                </c:pt>
                <c:pt idx="6">
                  <c:v>0.5744176717222406</c:v>
                </c:pt>
                <c:pt idx="7">
                  <c:v>0.5133633369235352</c:v>
                </c:pt>
                <c:pt idx="8">
                  <c:v>0.5164883639308242</c:v>
                </c:pt>
                <c:pt idx="9">
                  <c:v>0.57167551665978</c:v>
                </c:pt>
                <c:pt idx="10">
                  <c:v>0.564307147205304</c:v>
                </c:pt>
                <c:pt idx="11">
                  <c:v>0.5711303956027318</c:v>
                </c:pt>
                <c:pt idx="12">
                  <c:v>0.568502883503206</c:v>
                </c:pt>
                <c:pt idx="13">
                  <c:v>0.5639802380256648</c:v>
                </c:pt>
                <c:pt idx="14">
                  <c:v>0.6295459603670376</c:v>
                </c:pt>
                <c:pt idx="15">
                  <c:v>0.6592304784922229</c:v>
                </c:pt>
                <c:pt idx="16">
                  <c:v>0.684180657014227</c:v>
                </c:pt>
                <c:pt idx="17">
                  <c:v>0.75438440334173</c:v>
                </c:pt>
                <c:pt idx="18">
                  <c:v>0.4708304911974066</c:v>
                </c:pt>
                <c:pt idx="19">
                  <c:v>0.4702866982089007</c:v>
                </c:pt>
                <c:pt idx="20">
                  <c:v>0.4705751751281085</c:v>
                </c:pt>
                <c:pt idx="21">
                  <c:v>0.47107264917222436</c:v>
                </c:pt>
                <c:pt idx="22">
                  <c:v>0.3937627145523158</c:v>
                </c:pt>
                <c:pt idx="23">
                  <c:v>0.7237366677505617</c:v>
                </c:pt>
                <c:pt idx="24">
                  <c:v>0.3937627145523158</c:v>
                </c:pt>
                <c:pt idx="25">
                  <c:v>0.3937627145523158</c:v>
                </c:pt>
                <c:pt idx="26">
                  <c:v>0.5298386605771033</c:v>
                </c:pt>
                <c:pt idx="27">
                  <c:v>0.3937627145523158</c:v>
                </c:pt>
                <c:pt idx="28">
                  <c:v>0.5984895883013204</c:v>
                </c:pt>
                <c:pt idx="29">
                  <c:v>0.5302472970516522</c:v>
                </c:pt>
                <c:pt idx="30">
                  <c:v>0.3937627145523158</c:v>
                </c:pt>
                <c:pt idx="31">
                  <c:v>0.4983225724775185</c:v>
                </c:pt>
                <c:pt idx="32">
                  <c:v>0.4940212036509455</c:v>
                </c:pt>
                <c:pt idx="33">
                  <c:v>0.4811782291878189</c:v>
                </c:pt>
                <c:pt idx="34">
                  <c:v>0.48871691832488706</c:v>
                </c:pt>
                <c:pt idx="35">
                  <c:v>0.4993064056536424</c:v>
                </c:pt>
                <c:pt idx="36">
                  <c:v>0.4924257233997167</c:v>
                </c:pt>
                <c:pt idx="37">
                  <c:v>0.4934071456206408</c:v>
                </c:pt>
                <c:pt idx="38">
                  <c:v>0.4838542873005211</c:v>
                </c:pt>
                <c:pt idx="39">
                  <c:v>0.4805525658816371</c:v>
                </c:pt>
                <c:pt idx="40">
                  <c:v>0.485728621081982</c:v>
                </c:pt>
                <c:pt idx="41">
                  <c:v>0.4825570095165944</c:v>
                </c:pt>
                <c:pt idx="42">
                  <c:v>0.48340392904192075</c:v>
                </c:pt>
                <c:pt idx="43">
                  <c:v>0.4905152661539056</c:v>
                </c:pt>
                <c:pt idx="44">
                  <c:v>0.4928025679565457</c:v>
                </c:pt>
                <c:pt idx="45">
                  <c:v>0.4795082749391036</c:v>
                </c:pt>
                <c:pt idx="46">
                  <c:v>0.8839213947003088</c:v>
                </c:pt>
                <c:pt idx="47">
                  <c:v>0.8839213947003088</c:v>
                </c:pt>
                <c:pt idx="48">
                  <c:v>0.444853127128130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87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612903225806452"/>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0.37692893286009727</c:v>
                </c:pt>
                <c:pt idx="1">
                  <c:v>0.3930898622194949</c:v>
                </c:pt>
                <c:pt idx="2">
                  <c:v>0.3897255723805415</c:v>
                </c:pt>
                <c:pt idx="3">
                  <c:v>0.39225108069690773</c:v>
                </c:pt>
                <c:pt idx="4">
                  <c:v>0.35578934649357197</c:v>
                </c:pt>
                <c:pt idx="5">
                  <c:v>0.3305619895160308</c:v>
                </c:pt>
                <c:pt idx="6">
                  <c:v>0.3465476859181915</c:v>
                </c:pt>
                <c:pt idx="7">
                  <c:v>0.32894303091350513</c:v>
                </c:pt>
                <c:pt idx="8">
                  <c:v>0.31607382933053235</c:v>
                </c:pt>
                <c:pt idx="9">
                  <c:v>0.3173421344571038</c:v>
                </c:pt>
                <c:pt idx="10">
                  <c:v>0.30936097142976776</c:v>
                </c:pt>
                <c:pt idx="11">
                  <c:v>0.322231919727376</c:v>
                </c:pt>
                <c:pt idx="12">
                  <c:v>0.3091255845426447</c:v>
                </c:pt>
                <c:pt idx="13">
                  <c:v>0.3037155718864878</c:v>
                </c:pt>
                <c:pt idx="14">
                  <c:v>0.323637994472957</c:v>
                </c:pt>
                <c:pt idx="15">
                  <c:v>0.33649325779384337</c:v>
                </c:pt>
                <c:pt idx="16">
                  <c:v>0.3266425618484342</c:v>
                </c:pt>
                <c:pt idx="17">
                  <c:v>0.3206018834147217</c:v>
                </c:pt>
                <c:pt idx="18">
                  <c:v>0.3407099178710559</c:v>
                </c:pt>
                <c:pt idx="19">
                  <c:v>0.3339958071027958</c:v>
                </c:pt>
                <c:pt idx="20">
                  <c:v>0.3200222362602653</c:v>
                </c:pt>
                <c:pt idx="21">
                  <c:v>0.3188924402536428</c:v>
                </c:pt>
                <c:pt idx="22">
                  <c:v>0.29848699921207344</c:v>
                </c:pt>
                <c:pt idx="23">
                  <c:v>0.293366186698807</c:v>
                </c:pt>
                <c:pt idx="24">
                  <c:v>0.29805799943947375</c:v>
                </c:pt>
                <c:pt idx="25">
                  <c:v>0.2847347550025218</c:v>
                </c:pt>
                <c:pt idx="26">
                  <c:v>0.2926123178922381</c:v>
                </c:pt>
                <c:pt idx="27">
                  <c:v>0.3130924800803319</c:v>
                </c:pt>
                <c:pt idx="28">
                  <c:v>0.33015426724390406</c:v>
                </c:pt>
                <c:pt idx="29">
                  <c:v>0.34835908123663545</c:v>
                </c:pt>
                <c:pt idx="30">
                  <c:v>0.25755646671668864</c:v>
                </c:pt>
                <c:pt idx="31">
                  <c:v>0.3546672687111773</c:v>
                </c:pt>
                <c:pt idx="32">
                  <c:v>0.30930226553362944</c:v>
                </c:pt>
                <c:pt idx="33">
                  <c:v>0.34571161469946665</c:v>
                </c:pt>
                <c:pt idx="34">
                  <c:v>0.3455718534177836</c:v>
                </c:pt>
                <c:pt idx="35">
                  <c:v>0.3043140387083095</c:v>
                </c:pt>
                <c:pt idx="36">
                  <c:v>0.3167172778606313</c:v>
                </c:pt>
                <c:pt idx="37">
                  <c:v>0.1819147665369215</c:v>
                </c:pt>
                <c:pt idx="38">
                  <c:v>0.18583258842813646</c:v>
                </c:pt>
                <c:pt idx="39">
                  <c:v>0.15159598466123086</c:v>
                </c:pt>
                <c:pt idx="40">
                  <c:v>0.19704856029946743</c:v>
                </c:pt>
                <c:pt idx="41">
                  <c:v>0.15440367350223055</c:v>
                </c:pt>
                <c:pt idx="42">
                  <c:v>0.1428476641388128</c:v>
                </c:pt>
                <c:pt idx="43">
                  <c:v>0.1072127256039545</c:v>
                </c:pt>
                <c:pt idx="44">
                  <c:v>0.14445428269774863</c:v>
                </c:pt>
                <c:pt idx="45">
                  <c:v>0.1053451147270267</c:v>
                </c:pt>
                <c:pt idx="46">
                  <c:v>0.10060260963169385</c:v>
                </c:pt>
                <c:pt idx="47">
                  <c:v>0.05334609869053967</c:v>
                </c:pt>
                <c:pt idx="48">
                  <c:v>0.05657865209745925</c:v>
                </c:pt>
              </c:numCache>
            </c:numRef>
          </c:xVal>
          <c:yVal>
            <c:numRef>
              <c:f>Sheet1!$B$2:$B$50</c:f>
              <c:numCache>
                <c:formatCode>General</c:formatCode>
                <c:ptCount val="49"/>
                <c:pt idx="0">
                  <c:v>0.35447761194029853</c:v>
                </c:pt>
                <c:pt idx="1">
                  <c:v>0.3651877133105802</c:v>
                </c:pt>
                <c:pt idx="2">
                  <c:v>0.2961783439490446</c:v>
                </c:pt>
                <c:pt idx="3">
                  <c:v>0.28753993610223644</c:v>
                </c:pt>
                <c:pt idx="4">
                  <c:v>0.308</c:v>
                </c:pt>
                <c:pt idx="5">
                  <c:v>0.2717391304347826</c:v>
                </c:pt>
                <c:pt idx="6">
                  <c:v>0.25139664804469275</c:v>
                </c:pt>
                <c:pt idx="7">
                  <c:v>0.26785714285714285</c:v>
                </c:pt>
                <c:pt idx="8">
                  <c:v>0.25301204819277107</c:v>
                </c:pt>
                <c:pt idx="9">
                  <c:v>0.20540540540540542</c:v>
                </c:pt>
                <c:pt idx="10">
                  <c:v>0.17708333333333334</c:v>
                </c:pt>
                <c:pt idx="11">
                  <c:v>0.1411042944785276</c:v>
                </c:pt>
                <c:pt idx="12">
                  <c:v>0.12048192771084337</c:v>
                </c:pt>
                <c:pt idx="13">
                  <c:v>0.09815950920245399</c:v>
                </c:pt>
                <c:pt idx="14">
                  <c:v>0.5454545454545454</c:v>
                </c:pt>
                <c:pt idx="15">
                  <c:v>0.5891238670694864</c:v>
                </c:pt>
                <c:pt idx="16">
                  <c:v>0.49818181818181817</c:v>
                </c:pt>
                <c:pt idx="17">
                  <c:v>0.3886255924170616</c:v>
                </c:pt>
                <c:pt idx="18">
                  <c:v>0.3672316384180791</c:v>
                </c:pt>
                <c:pt idx="19">
                  <c:v>0.26490066225165565</c:v>
                </c:pt>
                <c:pt idx="20">
                  <c:v>0.23728813559322035</c:v>
                </c:pt>
                <c:pt idx="21">
                  <c:v>0.17692307692307693</c:v>
                </c:pt>
                <c:pt idx="22">
                  <c:v>0.16964285714285715</c:v>
                </c:pt>
                <c:pt idx="23">
                  <c:v>0.16822429906542055</c:v>
                </c:pt>
                <c:pt idx="24">
                  <c:v>0.1953125</c:v>
                </c:pt>
                <c:pt idx="25">
                  <c:v>0.11224489795918367</c:v>
                </c:pt>
                <c:pt idx="26">
                  <c:v>0.11764705882352941</c:v>
                </c:pt>
                <c:pt idx="27">
                  <c:v>0.13274336283185842</c:v>
                </c:pt>
                <c:pt idx="28">
                  <c:v>0.1271186440677966</c:v>
                </c:pt>
                <c:pt idx="29">
                  <c:v>0.10144927536231885</c:v>
                </c:pt>
                <c:pt idx="30">
                  <c:v>0.07207207207207207</c:v>
                </c:pt>
                <c:pt idx="31">
                  <c:v>0.058823529411764705</c:v>
                </c:pt>
                <c:pt idx="32">
                  <c:v>0.07216494845360824</c:v>
                </c:pt>
                <c:pt idx="33">
                  <c:v>0.10619469026548672</c:v>
                </c:pt>
                <c:pt idx="34">
                  <c:v>0.05714285714285714</c:v>
                </c:pt>
                <c:pt idx="35">
                  <c:v>0.015625</c:v>
                </c:pt>
                <c:pt idx="36">
                  <c:v>0.027522935779816515</c:v>
                </c:pt>
                <c:pt idx="37">
                  <c:v>0.16071428571428573</c:v>
                </c:pt>
                <c:pt idx="38">
                  <c:v>0.13</c:v>
                </c:pt>
                <c:pt idx="39">
                  <c:v>0.13636363636363635</c:v>
                </c:pt>
                <c:pt idx="40">
                  <c:v>0.009615384615384616</c:v>
                </c:pt>
                <c:pt idx="41">
                  <c:v>0.01694915254237288</c:v>
                </c:pt>
                <c:pt idx="42">
                  <c:v>0.01652892561983471</c:v>
                </c:pt>
                <c:pt idx="43">
                  <c:v>0.007874015748031496</c:v>
                </c:pt>
                <c:pt idx="44">
                  <c:v>0.022988505747126436</c:v>
                </c:pt>
                <c:pt idx="45">
                  <c:v>0.00909090909090909</c:v>
                </c:pt>
                <c:pt idx="46">
                  <c:v>0.006802721088435374</c:v>
                </c:pt>
                <c:pt idx="47">
                  <c:v>0.019230769230769232</c:v>
                </c:pt>
                <c:pt idx="48">
                  <c:v>0.015151515151515152</c:v>
                </c:pt>
              </c:numCache>
            </c:numRef>
          </c:yVal>
          <c:smooth val="0"/>
          <c:extLst>
            <c:ext xmlns:c16="http://schemas.microsoft.com/office/drawing/2014/chart" uri="{C3380CC4-5D6E-409C-BE32-E72D297353CC}">
              <c16:uniqueId val="{00000000-096C-4121-9522-6AB7243CCAAE}"/>
            </c:ext>
          </c:extLst>
        </c:ser>
        <c:ser>
          <c:idx val="1"/>
          <c:order val="1"/>
          <c:tx>
            <c:strRef>
              <c:f>Sheet1!$B$5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5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5:$A$56</c:f>
              <c:numCache>
                <c:formatCode>General</c:formatCode>
                <c:ptCount val="2"/>
                <c:pt idx="0">
                  <c:v>0</c:v>
                </c:pt>
                <c:pt idx="1">
                  <c:v>0.2950431749812832</c:v>
                </c:pt>
              </c:numCache>
            </c:numRef>
          </c:xVal>
          <c:yVal>
            <c:numRef>
              <c:f>Sheet1!$B$55:$B$56</c:f>
              <c:numCache>
                <c:formatCode>General</c:formatCode>
                <c:ptCount val="2"/>
                <c:pt idx="0">
                  <c:v>0.2950431749812832</c:v>
                </c:pt>
                <c:pt idx="1">
                  <c:v>0.2950431749812832</c:v>
                </c:pt>
              </c:numCache>
            </c:numRef>
          </c:yVal>
          <c:smooth val="0"/>
          <c:extLst>
            <c:ext xmlns:c16="http://schemas.microsoft.com/office/drawing/2014/chart" uri="{C3380CC4-5D6E-409C-BE32-E72D297353CC}">
              <c16:uniqueId val="{00000005-096C-4121-9522-6AB7243CCAAE}"/>
            </c:ext>
          </c:extLst>
        </c:ser>
        <c:ser>
          <c:idx val="3"/>
          <c:order val="3"/>
          <c:tx>
            <c:strRef>
              <c:f>Sheet1!$B$5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9:$A$60</c:f>
              <c:numCache>
                <c:formatCode>General</c:formatCode>
                <c:ptCount val="2"/>
                <c:pt idx="0">
                  <c:v>0.2950431749812832</c:v>
                </c:pt>
                <c:pt idx="1">
                  <c:v>0.2950431749812832</c:v>
                </c:pt>
              </c:numCache>
            </c:numRef>
          </c:xVal>
          <c:yVal>
            <c:numRef>
              <c:f>Sheet1!$B$59:$B$60</c:f>
              <c:numCache>
                <c:formatCode>General</c:formatCode>
                <c:ptCount val="2"/>
                <c:pt idx="0">
                  <c:v>0.29504317498128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2</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3:$A$65</c:f>
              <c:numCache>
                <c:formatCode>General</c:formatCode>
                <c:ptCount val="3"/>
                <c:pt idx="0">
                  <c:v>0</c:v>
                </c:pt>
                <c:pt idx="1">
                  <c:v>0.2950431749812832</c:v>
                </c:pt>
                <c:pt idx="2">
                  <c:v>0</c:v>
                </c:pt>
              </c:numCache>
            </c:numRef>
          </c:xVal>
          <c:yVal>
            <c:numRef>
              <c:f>Sheet1!$B$63:$B$65</c:f>
              <c:numCache>
                <c:formatCode>General</c:formatCode>
                <c:ptCount val="3"/>
                <c:pt idx="0">
                  <c:v>0</c:v>
                </c:pt>
                <c:pt idx="1">
                  <c:v>0.2950431749812832</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069486404833837"/>
          <c:min val="0.005442176870748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550.6842</c:v>
                </c:pt>
                <c:pt idx="1">
                  <c:v>549.8131</c:v>
                </c:pt>
                <c:pt idx="2">
                  <c:v>551.9785</c:v>
                </c:pt>
                <c:pt idx="3">
                  <c:v>552.8444</c:v>
                </c:pt>
                <c:pt idx="4">
                  <c:v>545.3247</c:v>
                </c:pt>
                <c:pt idx="5">
                  <c:v>542.32</c:v>
                </c:pt>
                <c:pt idx="6">
                  <c:v>530.8222</c:v>
                </c:pt>
                <c:pt idx="7">
                  <c:v>511.4</c:v>
                </c:pt>
                <c:pt idx="8">
                  <c:v>500.7857</c:v>
                </c:pt>
                <c:pt idx="9">
                  <c:v>502.0</c:v>
                </c:pt>
                <c:pt idx="10">
                  <c:v>499.4412</c:v>
                </c:pt>
                <c:pt idx="11">
                  <c:v>510.6087</c:v>
                </c:pt>
                <c:pt idx="12">
                  <c:v>482.6</c:v>
                </c:pt>
                <c:pt idx="13">
                  <c:v>483.4375</c:v>
                </c:pt>
                <c:pt idx="14">
                  <c:v>512.3594</c:v>
                </c:pt>
                <c:pt idx="15">
                  <c:v>511.2974</c:v>
                </c:pt>
                <c:pt idx="16">
                  <c:v>512.2701</c:v>
                </c:pt>
                <c:pt idx="17">
                  <c:v>502.0</c:v>
                </c:pt>
                <c:pt idx="18">
                  <c:v>505.0769</c:v>
                </c:pt>
                <c:pt idx="19">
                  <c:v>502.4</c:v>
                </c:pt>
                <c:pt idx="20">
                  <c:v>506.5952</c:v>
                </c:pt>
                <c:pt idx="21">
                  <c:v>489.0</c:v>
                </c:pt>
                <c:pt idx="22">
                  <c:v>492.4737</c:v>
                </c:pt>
                <c:pt idx="23">
                  <c:v>464.6111</c:v>
                </c:pt>
                <c:pt idx="24">
                  <c:v>460.28</c:v>
                </c:pt>
                <c:pt idx="25">
                  <c:v>456.5455</c:v>
                </c:pt>
                <c:pt idx="26">
                  <c:v>459.25</c:v>
                </c:pt>
                <c:pt idx="27">
                  <c:v>481.6667</c:v>
                </c:pt>
                <c:pt idx="28">
                  <c:v>520.8</c:v>
                </c:pt>
                <c:pt idx="29">
                  <c:v>496.0</c:v>
                </c:pt>
                <c:pt idx="30">
                  <c:v>418.5</c:v>
                </c:pt>
                <c:pt idx="31">
                  <c:v>558.0</c:v>
                </c:pt>
                <c:pt idx="32">
                  <c:v>438.4286</c:v>
                </c:pt>
                <c:pt idx="33">
                  <c:v>488.25</c:v>
                </c:pt>
                <c:pt idx="34">
                  <c:v>465.0</c:v>
                </c:pt>
                <c:pt idx="35">
                  <c:v>418.5</c:v>
                </c:pt>
                <c:pt idx="36">
                  <c:v>465.0</c:v>
                </c:pt>
                <c:pt idx="37">
                  <c:v>293.0</c:v>
                </c:pt>
                <c:pt idx="38">
                  <c:v>294.2308</c:v>
                </c:pt>
                <c:pt idx="39">
                  <c:v>234.2</c:v>
                </c:pt>
                <c:pt idx="40">
                  <c:v>306.0</c:v>
                </c:pt>
                <c:pt idx="41">
                  <c:v>229.5</c:v>
                </c:pt>
                <c:pt idx="42">
                  <c:v>229.5</c:v>
                </c:pt>
                <c:pt idx="43">
                  <c:v>153.0</c:v>
                </c:pt>
                <c:pt idx="44">
                  <c:v>221.5</c:v>
                </c:pt>
                <c:pt idx="45">
                  <c:v>153.0</c:v>
                </c:pt>
                <c:pt idx="46">
                  <c:v>153.0</c:v>
                </c:pt>
                <c:pt idx="47">
                  <c:v>83.0</c:v>
                </c:pt>
                <c:pt idx="48">
                  <c:v>83.0</c:v>
                </c:pt>
              </c:numCache>
            </c:numRef>
          </c:xVal>
          <c:yVal>
            <c:numRef>
              <c:f>Sheet1!$B$2:$B$50</c:f>
              <c:numCache>
                <c:formatCode>General</c:formatCode>
                <c:ptCount val="49"/>
                <c:pt idx="0">
                  <c:v>0.35447761194029853</c:v>
                </c:pt>
                <c:pt idx="1">
                  <c:v>0.3651877133105802</c:v>
                </c:pt>
                <c:pt idx="2">
                  <c:v>0.2961783439490446</c:v>
                </c:pt>
                <c:pt idx="3">
                  <c:v>0.28753993610223644</c:v>
                </c:pt>
                <c:pt idx="4">
                  <c:v>0.308</c:v>
                </c:pt>
                <c:pt idx="5">
                  <c:v>0.2717391304347826</c:v>
                </c:pt>
                <c:pt idx="6">
                  <c:v>0.25139664804469275</c:v>
                </c:pt>
                <c:pt idx="7">
                  <c:v>0.26785714285714285</c:v>
                </c:pt>
                <c:pt idx="8">
                  <c:v>0.25301204819277107</c:v>
                </c:pt>
                <c:pt idx="9">
                  <c:v>0.20540540540540542</c:v>
                </c:pt>
                <c:pt idx="10">
                  <c:v>0.17708333333333334</c:v>
                </c:pt>
                <c:pt idx="11">
                  <c:v>0.1411042944785276</c:v>
                </c:pt>
                <c:pt idx="12">
                  <c:v>0.12048192771084337</c:v>
                </c:pt>
                <c:pt idx="13">
                  <c:v>0.09815950920245399</c:v>
                </c:pt>
                <c:pt idx="14">
                  <c:v>0.5454545454545454</c:v>
                </c:pt>
                <c:pt idx="15">
                  <c:v>0.5891238670694864</c:v>
                </c:pt>
                <c:pt idx="16">
                  <c:v>0.49818181818181817</c:v>
                </c:pt>
                <c:pt idx="17">
                  <c:v>0.3886255924170616</c:v>
                </c:pt>
                <c:pt idx="18">
                  <c:v>0.3672316384180791</c:v>
                </c:pt>
                <c:pt idx="19">
                  <c:v>0.26490066225165565</c:v>
                </c:pt>
                <c:pt idx="20">
                  <c:v>0.23728813559322035</c:v>
                </c:pt>
                <c:pt idx="21">
                  <c:v>0.17692307692307693</c:v>
                </c:pt>
                <c:pt idx="22">
                  <c:v>0.16964285714285715</c:v>
                </c:pt>
                <c:pt idx="23">
                  <c:v>0.16822429906542055</c:v>
                </c:pt>
                <c:pt idx="24">
                  <c:v>0.1953125</c:v>
                </c:pt>
                <c:pt idx="25">
                  <c:v>0.11224489795918367</c:v>
                </c:pt>
                <c:pt idx="26">
                  <c:v>0.11764705882352941</c:v>
                </c:pt>
                <c:pt idx="27">
                  <c:v>0.13274336283185842</c:v>
                </c:pt>
                <c:pt idx="28">
                  <c:v>0.1271186440677966</c:v>
                </c:pt>
                <c:pt idx="29">
                  <c:v>0.10144927536231885</c:v>
                </c:pt>
                <c:pt idx="30">
                  <c:v>0.07207207207207207</c:v>
                </c:pt>
                <c:pt idx="31">
                  <c:v>0.058823529411764705</c:v>
                </c:pt>
                <c:pt idx="32">
                  <c:v>0.07216494845360824</c:v>
                </c:pt>
                <c:pt idx="33">
                  <c:v>0.10619469026548672</c:v>
                </c:pt>
                <c:pt idx="34">
                  <c:v>0.05714285714285714</c:v>
                </c:pt>
                <c:pt idx="35">
                  <c:v>0.015625</c:v>
                </c:pt>
                <c:pt idx="36">
                  <c:v>0.027522935779816515</c:v>
                </c:pt>
                <c:pt idx="37">
                  <c:v>0.16071428571428573</c:v>
                </c:pt>
                <c:pt idx="38">
                  <c:v>0.13</c:v>
                </c:pt>
                <c:pt idx="39">
                  <c:v>0.13636363636363635</c:v>
                </c:pt>
                <c:pt idx="40">
                  <c:v>0.009615384615384616</c:v>
                </c:pt>
                <c:pt idx="41">
                  <c:v>0.01694915254237288</c:v>
                </c:pt>
                <c:pt idx="42">
                  <c:v>0.01652892561983471</c:v>
                </c:pt>
                <c:pt idx="43">
                  <c:v>0.007874015748031496</c:v>
                </c:pt>
                <c:pt idx="44">
                  <c:v>0.022988505747126436</c:v>
                </c:pt>
                <c:pt idx="45">
                  <c:v>0.00909090909090909</c:v>
                </c:pt>
                <c:pt idx="46">
                  <c:v>0.006802721088435374</c:v>
                </c:pt>
                <c:pt idx="47">
                  <c:v>0.019230769230769232</c:v>
                </c:pt>
                <c:pt idx="48">
                  <c:v>0.015151515151515152</c:v>
                </c:pt>
              </c:numCache>
            </c:numRef>
          </c:yVal>
          <c:smooth val="0"/>
          <c:extLst>
            <c:ext xmlns:c16="http://schemas.microsoft.com/office/drawing/2014/chart" uri="{C3380CC4-5D6E-409C-BE32-E72D297353CC}">
              <c16:uniqueId val="{00000000-F32D-48B7-BC20-E66FC6253BAD}"/>
            </c:ext>
          </c:extLst>
        </c:ser>
        <c:ser>
          <c:idx val="1"/>
          <c:order val="1"/>
          <c:tx>
            <c:strRef>
              <c:f>Sheet1!$B$5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54</c:f>
              <c:strCache>
                <c:ptCount val="1"/>
                <c:pt idx="0">
                  <c:v>Custom Linep3yQ</c:v>
                </c:pt>
              </c:strCache>
            </c:strRef>
          </c:tx>
          <c:spPr>
            <a:ln w="19050" cap="rnd">
              <a:solidFill>
                <a:srgbClr val="C00000"/>
              </a:solidFill>
              <a:prstDash val="sysDot"/>
              <a:round/>
            </a:ln>
            <a:effectLst/>
          </c:spPr>
          <c:marker>
            <c:symbol val="none"/>
          </c:marker>
          <c:xVal>
            <c:numRef>
              <c:f>Sheet1!$A$55:$A$56</c:f>
              <c:numCache>
                <c:formatCode>General</c:formatCode>
                <c:ptCount val="2"/>
                <c:pt idx="0">
                  <c:v>0</c:v>
                </c:pt>
                <c:pt idx="1">
                  <c:v>0.2950431749812832</c:v>
                </c:pt>
              </c:numCache>
            </c:numRef>
          </c:xVal>
          <c:yVal>
            <c:numRef>
              <c:f>Sheet1!$B$55:$B$56</c:f>
              <c:numCache>
                <c:formatCode>General</c:formatCode>
                <c:ptCount val="2"/>
                <c:pt idx="0">
                  <c:v>0.2950431749812832</c:v>
                </c:pt>
                <c:pt idx="1">
                  <c:v>0.2950431749812832</c:v>
                </c:pt>
              </c:numCache>
            </c:numRef>
          </c:yVal>
          <c:smooth val="0"/>
          <c:extLst>
            <c:ext xmlns:c16="http://schemas.microsoft.com/office/drawing/2014/chart" uri="{C3380CC4-5D6E-409C-BE32-E72D297353CC}">
              <c16:uniqueId val="{00000003-F32D-48B7-BC20-E66FC6253BAD}"/>
            </c:ext>
          </c:extLst>
        </c:ser>
        <c:ser>
          <c:idx val="3"/>
          <c:order val="3"/>
          <c:tx>
            <c:strRef>
              <c:f>Sheet1!$B$5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9:$A$60</c:f>
              <c:numCache>
                <c:formatCode>General</c:formatCode>
                <c:ptCount val="2"/>
                <c:pt idx="0">
                  <c:v>0.2950431749812832</c:v>
                </c:pt>
                <c:pt idx="1">
                  <c:v>0.2950431749812832</c:v>
                </c:pt>
              </c:numCache>
            </c:numRef>
          </c:xVal>
          <c:yVal>
            <c:numRef>
              <c:f>Sheet1!$B$59:$B$60</c:f>
              <c:numCache>
                <c:formatCode>General</c:formatCode>
                <c:ptCount val="2"/>
                <c:pt idx="0">
                  <c:v>0.29504317498128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2</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3:$A$65</c:f>
              <c:numCache>
                <c:formatCode>General</c:formatCode>
                <c:ptCount val="3"/>
                <c:pt idx="0">
                  <c:v>0</c:v>
                </c:pt>
                <c:pt idx="1">
                  <c:v>0.2950431749812832</c:v>
                </c:pt>
                <c:pt idx="2">
                  <c:v>0</c:v>
                </c:pt>
              </c:numCache>
            </c:numRef>
          </c:xVal>
          <c:yVal>
            <c:numRef>
              <c:f>Sheet1!$B$63:$B$65</c:f>
              <c:numCache>
                <c:formatCode>General</c:formatCode>
                <c:ptCount val="3"/>
                <c:pt idx="0">
                  <c:v>0</c:v>
                </c:pt>
                <c:pt idx="1">
                  <c:v>0.2950431749812832</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069486404833837"/>
          <c:min val="0.005442176870748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1.128828970842087</c:v>
                </c:pt>
                <c:pt idx="1">
                  <c:v>1.1251440162305013</c:v>
                </c:pt>
                <c:pt idx="2">
                  <c:v>1.129389265105198</c:v>
                </c:pt>
                <c:pt idx="3">
                  <c:v>1.1400176968996607</c:v>
                </c:pt>
                <c:pt idx="4">
                  <c:v>1.0966553426495544</c:v>
                </c:pt>
                <c:pt idx="5">
                  <c:v>1.0226303541625064</c:v>
                </c:pt>
                <c:pt idx="6">
                  <c:v>0.9458847537167367</c:v>
                </c:pt>
                <c:pt idx="7">
                  <c:v>0.9210945787982544</c:v>
                </c:pt>
                <c:pt idx="8">
                  <c:v>0.8938482103159241</c:v>
                </c:pt>
                <c:pt idx="9">
                  <c:v>0.9190982949994279</c:v>
                </c:pt>
                <c:pt idx="10">
                  <c:v>0.89760120858844</c:v>
                </c:pt>
                <c:pt idx="11">
                  <c:v>0.9209930899639438</c:v>
                </c:pt>
                <c:pt idx="12">
                  <c:v>0.8703676951830216</c:v>
                </c:pt>
                <c:pt idx="13">
                  <c:v>0.869276932413297</c:v>
                </c:pt>
                <c:pt idx="14">
                  <c:v>0.9417388037425506</c:v>
                </c:pt>
                <c:pt idx="15">
                  <c:v>0.9395926855103154</c:v>
                </c:pt>
                <c:pt idx="16">
                  <c:v>0.9088398035102461</c:v>
                </c:pt>
                <c:pt idx="17">
                  <c:v>0.9184676958261864</c:v>
                </c:pt>
                <c:pt idx="18">
                  <c:v>0.9123970277366208</c:v>
                </c:pt>
                <c:pt idx="19">
                  <c:v>0.9863195282628446</c:v>
                </c:pt>
                <c:pt idx="20">
                  <c:v>0.8881025734882916</c:v>
                </c:pt>
                <c:pt idx="21">
                  <c:v>0.887155297532656</c:v>
                </c:pt>
                <c:pt idx="22">
                  <c:v>0.8836710931532378</c:v>
                </c:pt>
                <c:pt idx="23">
                  <c:v>0.8183466973471828</c:v>
                </c:pt>
                <c:pt idx="24">
                  <c:v>0.875362745506368</c:v>
                </c:pt>
                <c:pt idx="25">
                  <c:v>0.7860128449073165</c:v>
                </c:pt>
                <c:pt idx="26">
                  <c:v>0.8644434142023206</c:v>
                </c:pt>
                <c:pt idx="27">
                  <c:v>0.845650331980644</c:v>
                </c:pt>
                <c:pt idx="28">
                  <c:v>0.8977836741279707</c:v>
                </c:pt>
                <c:pt idx="29">
                  <c:v>0.9337994548945682</c:v>
                </c:pt>
                <c:pt idx="30">
                  <c:v>0.7651558449679073</c:v>
                </c:pt>
                <c:pt idx="31">
                  <c:v>1.0045004500450045</c:v>
                </c:pt>
                <c:pt idx="32">
                  <c:v>0.8019860298171541</c:v>
                </c:pt>
                <c:pt idx="33">
                  <c:v>0.8843328815522818</c:v>
                </c:pt>
                <c:pt idx="34">
                  <c:v>0.8375177702359153</c:v>
                </c:pt>
                <c:pt idx="35">
                  <c:v>0.7400331591440866</c:v>
                </c:pt>
                <c:pt idx="36">
                  <c:v>0.8825922626837525</c:v>
                </c:pt>
                <c:pt idx="37">
                  <c:v>0.5782202774549545</c:v>
                </c:pt>
                <c:pt idx="38">
                  <c:v>0.5512807973886039</c:v>
                </c:pt>
                <c:pt idx="39">
                  <c:v>0.40219520961806393</c:v>
                </c:pt>
                <c:pt idx="40">
                  <c:v>0.5282486124410835</c:v>
                </c:pt>
                <c:pt idx="41">
                  <c:v>0.41379310344827586</c:v>
                </c:pt>
                <c:pt idx="42">
                  <c:v>0.38921862707072363</c:v>
                </c:pt>
                <c:pt idx="43">
                  <c:v>0.2907955234214887</c:v>
                </c:pt>
                <c:pt idx="44">
                  <c:v>0.42213448347033805</c:v>
                </c:pt>
                <c:pt idx="45">
                  <c:v>0.25803083013071537</c:v>
                </c:pt>
                <c:pt idx="46">
                  <c:v>0.2784566802394582</c:v>
                </c:pt>
                <c:pt idx="47">
                  <c:v>0.0</c:v>
                </c:pt>
                <c:pt idx="48">
                  <c:v>0.0</c:v>
                </c:pt>
              </c:numCache>
            </c:numRef>
          </c:xVal>
          <c:yVal>
            <c:numRef>
              <c:f>Sheet1!$B$2:$B$50</c:f>
              <c:numCache>
                <c:formatCode>General</c:formatCode>
                <c:ptCount val="49"/>
                <c:pt idx="0">
                  <c:v>0.35447761194029853</c:v>
                </c:pt>
                <c:pt idx="1">
                  <c:v>0.3651877133105802</c:v>
                </c:pt>
                <c:pt idx="2">
                  <c:v>0.2961783439490446</c:v>
                </c:pt>
                <c:pt idx="3">
                  <c:v>0.28753993610223644</c:v>
                </c:pt>
                <c:pt idx="4">
                  <c:v>0.308</c:v>
                </c:pt>
                <c:pt idx="5">
                  <c:v>0.2717391304347826</c:v>
                </c:pt>
                <c:pt idx="6">
                  <c:v>0.25139664804469275</c:v>
                </c:pt>
                <c:pt idx="7">
                  <c:v>0.26785714285714285</c:v>
                </c:pt>
                <c:pt idx="8">
                  <c:v>0.25301204819277107</c:v>
                </c:pt>
                <c:pt idx="9">
                  <c:v>0.20540540540540542</c:v>
                </c:pt>
                <c:pt idx="10">
                  <c:v>0.17708333333333334</c:v>
                </c:pt>
                <c:pt idx="11">
                  <c:v>0.1411042944785276</c:v>
                </c:pt>
                <c:pt idx="12">
                  <c:v>0.12048192771084337</c:v>
                </c:pt>
                <c:pt idx="13">
                  <c:v>0.09815950920245399</c:v>
                </c:pt>
                <c:pt idx="14">
                  <c:v>0.5454545454545454</c:v>
                </c:pt>
                <c:pt idx="15">
                  <c:v>0.5891238670694864</c:v>
                </c:pt>
                <c:pt idx="16">
                  <c:v>0.49818181818181817</c:v>
                </c:pt>
                <c:pt idx="17">
                  <c:v>0.3886255924170616</c:v>
                </c:pt>
                <c:pt idx="18">
                  <c:v>0.3672316384180791</c:v>
                </c:pt>
                <c:pt idx="19">
                  <c:v>0.26490066225165565</c:v>
                </c:pt>
                <c:pt idx="20">
                  <c:v>0.23728813559322035</c:v>
                </c:pt>
                <c:pt idx="21">
                  <c:v>0.17692307692307693</c:v>
                </c:pt>
                <c:pt idx="22">
                  <c:v>0.16964285714285715</c:v>
                </c:pt>
                <c:pt idx="23">
                  <c:v>0.16822429906542055</c:v>
                </c:pt>
                <c:pt idx="24">
                  <c:v>0.1953125</c:v>
                </c:pt>
                <c:pt idx="25">
                  <c:v>0.11224489795918367</c:v>
                </c:pt>
                <c:pt idx="26">
                  <c:v>0.11764705882352941</c:v>
                </c:pt>
                <c:pt idx="27">
                  <c:v>0.13274336283185842</c:v>
                </c:pt>
                <c:pt idx="28">
                  <c:v>0.1271186440677966</c:v>
                </c:pt>
                <c:pt idx="29">
                  <c:v>0.10144927536231885</c:v>
                </c:pt>
                <c:pt idx="30">
                  <c:v>0.07207207207207207</c:v>
                </c:pt>
                <c:pt idx="31">
                  <c:v>0.058823529411764705</c:v>
                </c:pt>
                <c:pt idx="32">
                  <c:v>0.07216494845360824</c:v>
                </c:pt>
                <c:pt idx="33">
                  <c:v>0.10619469026548672</c:v>
                </c:pt>
                <c:pt idx="34">
                  <c:v>0.05714285714285714</c:v>
                </c:pt>
                <c:pt idx="35">
                  <c:v>0.015625</c:v>
                </c:pt>
                <c:pt idx="36">
                  <c:v>0.027522935779816515</c:v>
                </c:pt>
                <c:pt idx="37">
                  <c:v>0.16071428571428573</c:v>
                </c:pt>
                <c:pt idx="38">
                  <c:v>0.13</c:v>
                </c:pt>
                <c:pt idx="39">
                  <c:v>0.13636363636363635</c:v>
                </c:pt>
                <c:pt idx="40">
                  <c:v>0.009615384615384616</c:v>
                </c:pt>
                <c:pt idx="41">
                  <c:v>0.01694915254237288</c:v>
                </c:pt>
                <c:pt idx="42">
                  <c:v>0.01652892561983471</c:v>
                </c:pt>
                <c:pt idx="43">
                  <c:v>0.007874015748031496</c:v>
                </c:pt>
                <c:pt idx="44">
                  <c:v>0.022988505747126436</c:v>
                </c:pt>
                <c:pt idx="45">
                  <c:v>0.00909090909090909</c:v>
                </c:pt>
                <c:pt idx="46">
                  <c:v>0.006802721088435374</c:v>
                </c:pt>
                <c:pt idx="47">
                  <c:v>0.019230769230769232</c:v>
                </c:pt>
                <c:pt idx="48">
                  <c:v>0.015151515151515152</c:v>
                </c:pt>
              </c:numCache>
            </c:numRef>
          </c:yVal>
          <c:smooth val="0"/>
          <c:extLst>
            <c:ext xmlns:c16="http://schemas.microsoft.com/office/drawing/2014/chart" uri="{C3380CC4-5D6E-409C-BE32-E72D297353CC}">
              <c16:uniqueId val="{00000000-096C-4121-9522-6AB7243CCAAE}"/>
            </c:ext>
          </c:extLst>
        </c:ser>
        <c:ser>
          <c:idx val="1"/>
          <c:order val="1"/>
          <c:tx>
            <c:strRef>
              <c:f>Sheet1!$B$5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5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5:$A$56</c:f>
              <c:numCache>
                <c:formatCode>General</c:formatCode>
                <c:ptCount val="2"/>
                <c:pt idx="0">
                  <c:v>0</c:v>
                </c:pt>
                <c:pt idx="1">
                  <c:v>0.2950431749812832</c:v>
                </c:pt>
              </c:numCache>
            </c:numRef>
          </c:xVal>
          <c:yVal>
            <c:numRef>
              <c:f>Sheet1!$B$55:$B$56</c:f>
              <c:numCache>
                <c:formatCode>General</c:formatCode>
                <c:ptCount val="2"/>
                <c:pt idx="0">
                  <c:v>0.2950431749812832</c:v>
                </c:pt>
                <c:pt idx="1">
                  <c:v>0.2950431749812832</c:v>
                </c:pt>
              </c:numCache>
            </c:numRef>
          </c:yVal>
          <c:smooth val="0"/>
          <c:extLst>
            <c:ext xmlns:c16="http://schemas.microsoft.com/office/drawing/2014/chart" uri="{C3380CC4-5D6E-409C-BE32-E72D297353CC}">
              <c16:uniqueId val="{00000005-096C-4121-9522-6AB7243CCAAE}"/>
            </c:ext>
          </c:extLst>
        </c:ser>
        <c:ser>
          <c:idx val="3"/>
          <c:order val="3"/>
          <c:tx>
            <c:strRef>
              <c:f>Sheet1!$B$5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9:$A$60</c:f>
              <c:numCache>
                <c:formatCode>General</c:formatCode>
                <c:ptCount val="2"/>
                <c:pt idx="0">
                  <c:v>0.2950431749812832</c:v>
                </c:pt>
                <c:pt idx="1">
                  <c:v>0.2950431749812832</c:v>
                </c:pt>
              </c:numCache>
            </c:numRef>
          </c:xVal>
          <c:yVal>
            <c:numRef>
              <c:f>Sheet1!$B$59:$B$60</c:f>
              <c:numCache>
                <c:formatCode>General</c:formatCode>
                <c:ptCount val="2"/>
                <c:pt idx="0">
                  <c:v>0.29504317498128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2</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3:$A$65</c:f>
              <c:numCache>
                <c:formatCode>General</c:formatCode>
                <c:ptCount val="3"/>
                <c:pt idx="0">
                  <c:v>0</c:v>
                </c:pt>
                <c:pt idx="1">
                  <c:v>0.2950431749812832</c:v>
                </c:pt>
                <c:pt idx="2">
                  <c:v>0</c:v>
                </c:pt>
              </c:numCache>
            </c:numRef>
          </c:xVal>
          <c:yVal>
            <c:numRef>
              <c:f>Sheet1!$B$63:$B$65</c:f>
              <c:numCache>
                <c:formatCode>General</c:formatCode>
                <c:ptCount val="3"/>
                <c:pt idx="0">
                  <c:v>0</c:v>
                </c:pt>
                <c:pt idx="1">
                  <c:v>0.2950431749812832</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069486404833837"/>
          <c:min val="0.005442176870748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550.6842</c:v>
                </c:pt>
                <c:pt idx="1">
                  <c:v>549.8131</c:v>
                </c:pt>
                <c:pt idx="2">
                  <c:v>551.9785</c:v>
                </c:pt>
                <c:pt idx="3">
                  <c:v>552.8444</c:v>
                </c:pt>
                <c:pt idx="4">
                  <c:v>545.3247</c:v>
                </c:pt>
                <c:pt idx="5">
                  <c:v>542.32</c:v>
                </c:pt>
                <c:pt idx="6">
                  <c:v>530.8222</c:v>
                </c:pt>
                <c:pt idx="7">
                  <c:v>511.4</c:v>
                </c:pt>
                <c:pt idx="8">
                  <c:v>500.7857</c:v>
                </c:pt>
                <c:pt idx="9">
                  <c:v>502.0</c:v>
                </c:pt>
                <c:pt idx="10">
                  <c:v>499.4412</c:v>
                </c:pt>
                <c:pt idx="11">
                  <c:v>510.6087</c:v>
                </c:pt>
                <c:pt idx="12">
                  <c:v>482.6</c:v>
                </c:pt>
                <c:pt idx="13">
                  <c:v>483.4375</c:v>
                </c:pt>
                <c:pt idx="14">
                  <c:v>512.3594</c:v>
                </c:pt>
                <c:pt idx="15">
                  <c:v>511.2974</c:v>
                </c:pt>
                <c:pt idx="16">
                  <c:v>512.2701</c:v>
                </c:pt>
                <c:pt idx="17">
                  <c:v>502.0</c:v>
                </c:pt>
                <c:pt idx="18">
                  <c:v>505.0769</c:v>
                </c:pt>
                <c:pt idx="19">
                  <c:v>502.4</c:v>
                </c:pt>
                <c:pt idx="20">
                  <c:v>506.5952</c:v>
                </c:pt>
                <c:pt idx="21">
                  <c:v>489.0</c:v>
                </c:pt>
                <c:pt idx="22">
                  <c:v>492.4737</c:v>
                </c:pt>
                <c:pt idx="23">
                  <c:v>464.6111</c:v>
                </c:pt>
                <c:pt idx="24">
                  <c:v>460.28</c:v>
                </c:pt>
                <c:pt idx="25">
                  <c:v>456.5455</c:v>
                </c:pt>
                <c:pt idx="26">
                  <c:v>459.25</c:v>
                </c:pt>
                <c:pt idx="27">
                  <c:v>481.6667</c:v>
                </c:pt>
                <c:pt idx="28">
                  <c:v>520.8</c:v>
                </c:pt>
                <c:pt idx="29">
                  <c:v>496.0</c:v>
                </c:pt>
                <c:pt idx="30">
                  <c:v>418.5</c:v>
                </c:pt>
                <c:pt idx="31">
                  <c:v>558.0</c:v>
                </c:pt>
                <c:pt idx="32">
                  <c:v>438.4286</c:v>
                </c:pt>
                <c:pt idx="33">
                  <c:v>488.25</c:v>
                </c:pt>
                <c:pt idx="34">
                  <c:v>465.0</c:v>
                </c:pt>
                <c:pt idx="35">
                  <c:v>418.5</c:v>
                </c:pt>
                <c:pt idx="36">
                  <c:v>465.0</c:v>
                </c:pt>
                <c:pt idx="37">
                  <c:v>293.0</c:v>
                </c:pt>
                <c:pt idx="38">
                  <c:v>294.2308</c:v>
                </c:pt>
                <c:pt idx="39">
                  <c:v>234.2</c:v>
                </c:pt>
                <c:pt idx="40">
                  <c:v>306.0</c:v>
                </c:pt>
                <c:pt idx="41">
                  <c:v>229.5</c:v>
                </c:pt>
                <c:pt idx="42">
                  <c:v>229.5</c:v>
                </c:pt>
                <c:pt idx="43">
                  <c:v>153.0</c:v>
                </c:pt>
                <c:pt idx="44">
                  <c:v>221.5</c:v>
                </c:pt>
                <c:pt idx="45">
                  <c:v>153.0</c:v>
                </c:pt>
                <c:pt idx="46">
                  <c:v>153.0</c:v>
                </c:pt>
                <c:pt idx="47">
                  <c:v>83.0</c:v>
                </c:pt>
                <c:pt idx="48">
                  <c:v>83.0</c:v>
                </c:pt>
              </c:numCache>
            </c:numRef>
          </c:xVal>
          <c:yVal>
            <c:numRef>
              <c:f>Sheet1!$B$2:$B$50</c:f>
              <c:numCache>
                <c:formatCode>General</c:formatCode>
                <c:ptCount val="49"/>
                <c:pt idx="0">
                  <c:v>0.35447761194029853</c:v>
                </c:pt>
                <c:pt idx="1">
                  <c:v>0.3651877133105802</c:v>
                </c:pt>
                <c:pt idx="2">
                  <c:v>0.2961783439490446</c:v>
                </c:pt>
                <c:pt idx="3">
                  <c:v>0.28753993610223644</c:v>
                </c:pt>
                <c:pt idx="4">
                  <c:v>0.308</c:v>
                </c:pt>
                <c:pt idx="5">
                  <c:v>0.2717391304347826</c:v>
                </c:pt>
                <c:pt idx="6">
                  <c:v>0.25139664804469275</c:v>
                </c:pt>
                <c:pt idx="7">
                  <c:v>0.26785714285714285</c:v>
                </c:pt>
                <c:pt idx="8">
                  <c:v>0.25301204819277107</c:v>
                </c:pt>
                <c:pt idx="9">
                  <c:v>0.20540540540540542</c:v>
                </c:pt>
                <c:pt idx="10">
                  <c:v>0.17708333333333334</c:v>
                </c:pt>
                <c:pt idx="11">
                  <c:v>0.1411042944785276</c:v>
                </c:pt>
                <c:pt idx="12">
                  <c:v>0.12048192771084337</c:v>
                </c:pt>
                <c:pt idx="13">
                  <c:v>0.09815950920245399</c:v>
                </c:pt>
                <c:pt idx="14">
                  <c:v>0.5454545454545454</c:v>
                </c:pt>
                <c:pt idx="15">
                  <c:v>0.5891238670694864</c:v>
                </c:pt>
                <c:pt idx="16">
                  <c:v>0.49818181818181817</c:v>
                </c:pt>
                <c:pt idx="17">
                  <c:v>0.3886255924170616</c:v>
                </c:pt>
                <c:pt idx="18">
                  <c:v>0.3672316384180791</c:v>
                </c:pt>
                <c:pt idx="19">
                  <c:v>0.26490066225165565</c:v>
                </c:pt>
                <c:pt idx="20">
                  <c:v>0.23728813559322035</c:v>
                </c:pt>
                <c:pt idx="21">
                  <c:v>0.17692307692307693</c:v>
                </c:pt>
                <c:pt idx="22">
                  <c:v>0.16964285714285715</c:v>
                </c:pt>
                <c:pt idx="23">
                  <c:v>0.16822429906542055</c:v>
                </c:pt>
                <c:pt idx="24">
                  <c:v>0.1953125</c:v>
                </c:pt>
                <c:pt idx="25">
                  <c:v>0.11224489795918367</c:v>
                </c:pt>
                <c:pt idx="26">
                  <c:v>0.11764705882352941</c:v>
                </c:pt>
                <c:pt idx="27">
                  <c:v>0.13274336283185842</c:v>
                </c:pt>
                <c:pt idx="28">
                  <c:v>0.1271186440677966</c:v>
                </c:pt>
                <c:pt idx="29">
                  <c:v>0.10144927536231885</c:v>
                </c:pt>
                <c:pt idx="30">
                  <c:v>0.07207207207207207</c:v>
                </c:pt>
                <c:pt idx="31">
                  <c:v>0.058823529411764705</c:v>
                </c:pt>
                <c:pt idx="32">
                  <c:v>0.07216494845360824</c:v>
                </c:pt>
                <c:pt idx="33">
                  <c:v>0.10619469026548672</c:v>
                </c:pt>
                <c:pt idx="34">
                  <c:v>0.05714285714285714</c:v>
                </c:pt>
                <c:pt idx="35">
                  <c:v>0.015625</c:v>
                </c:pt>
                <c:pt idx="36">
                  <c:v>0.027522935779816515</c:v>
                </c:pt>
                <c:pt idx="37">
                  <c:v>0.16071428571428573</c:v>
                </c:pt>
                <c:pt idx="38">
                  <c:v>0.13</c:v>
                </c:pt>
                <c:pt idx="39">
                  <c:v>0.13636363636363635</c:v>
                </c:pt>
                <c:pt idx="40">
                  <c:v>0.009615384615384616</c:v>
                </c:pt>
                <c:pt idx="41">
                  <c:v>0.01694915254237288</c:v>
                </c:pt>
                <c:pt idx="42">
                  <c:v>0.01652892561983471</c:v>
                </c:pt>
                <c:pt idx="43">
                  <c:v>0.007874015748031496</c:v>
                </c:pt>
                <c:pt idx="44">
                  <c:v>0.022988505747126436</c:v>
                </c:pt>
                <c:pt idx="45">
                  <c:v>0.00909090909090909</c:v>
                </c:pt>
                <c:pt idx="46">
                  <c:v>0.006802721088435374</c:v>
                </c:pt>
                <c:pt idx="47">
                  <c:v>0.019230769230769232</c:v>
                </c:pt>
                <c:pt idx="48">
                  <c:v>0.015151515151515152</c:v>
                </c:pt>
              </c:numCache>
            </c:numRef>
          </c:yVal>
          <c:smooth val="0"/>
          <c:extLst>
            <c:ext xmlns:c16="http://schemas.microsoft.com/office/drawing/2014/chart" uri="{C3380CC4-5D6E-409C-BE32-E72D297353CC}">
              <c16:uniqueId val="{00000000-F32D-48B7-BC20-E66FC6253BAD}"/>
            </c:ext>
          </c:extLst>
        </c:ser>
        <c:ser>
          <c:idx val="1"/>
          <c:order val="1"/>
          <c:tx>
            <c:strRef>
              <c:f>Sheet1!$B$5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54</c:f>
              <c:strCache>
                <c:ptCount val="1"/>
                <c:pt idx="0">
                  <c:v>Custom Linep3yQ</c:v>
                </c:pt>
              </c:strCache>
            </c:strRef>
          </c:tx>
          <c:spPr>
            <a:ln w="19050" cap="rnd">
              <a:solidFill>
                <a:srgbClr val="C00000"/>
              </a:solidFill>
              <a:prstDash val="sysDot"/>
              <a:round/>
            </a:ln>
            <a:effectLst/>
          </c:spPr>
          <c:marker>
            <c:symbol val="none"/>
          </c:marker>
          <c:xVal>
            <c:numRef>
              <c:f>Sheet1!$A$55:$A$56</c:f>
              <c:numCache>
                <c:formatCode>General</c:formatCode>
                <c:ptCount val="2"/>
                <c:pt idx="0">
                  <c:v>0</c:v>
                </c:pt>
                <c:pt idx="1">
                  <c:v>0.2950431749812832</c:v>
                </c:pt>
              </c:numCache>
            </c:numRef>
          </c:xVal>
          <c:yVal>
            <c:numRef>
              <c:f>Sheet1!$B$55:$B$56</c:f>
              <c:numCache>
                <c:formatCode>General</c:formatCode>
                <c:ptCount val="2"/>
                <c:pt idx="0">
                  <c:v>0.2950431749812832</c:v>
                </c:pt>
                <c:pt idx="1">
                  <c:v>0.2950431749812832</c:v>
                </c:pt>
              </c:numCache>
            </c:numRef>
          </c:yVal>
          <c:smooth val="0"/>
          <c:extLst>
            <c:ext xmlns:c16="http://schemas.microsoft.com/office/drawing/2014/chart" uri="{C3380CC4-5D6E-409C-BE32-E72D297353CC}">
              <c16:uniqueId val="{00000003-F32D-48B7-BC20-E66FC6253BAD}"/>
            </c:ext>
          </c:extLst>
        </c:ser>
        <c:ser>
          <c:idx val="3"/>
          <c:order val="3"/>
          <c:tx>
            <c:strRef>
              <c:f>Sheet1!$B$5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9:$A$60</c:f>
              <c:numCache>
                <c:formatCode>General</c:formatCode>
                <c:ptCount val="2"/>
                <c:pt idx="0">
                  <c:v>0.2950431749812832</c:v>
                </c:pt>
                <c:pt idx="1">
                  <c:v>0.2950431749812832</c:v>
                </c:pt>
              </c:numCache>
            </c:numRef>
          </c:xVal>
          <c:yVal>
            <c:numRef>
              <c:f>Sheet1!$B$59:$B$60</c:f>
              <c:numCache>
                <c:formatCode>General</c:formatCode>
                <c:ptCount val="2"/>
                <c:pt idx="0">
                  <c:v>0.29504317498128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2</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3:$A$65</c:f>
              <c:numCache>
                <c:formatCode>General</c:formatCode>
                <c:ptCount val="3"/>
                <c:pt idx="0">
                  <c:v>0</c:v>
                </c:pt>
                <c:pt idx="1">
                  <c:v>0.2950431749812832</c:v>
                </c:pt>
                <c:pt idx="2">
                  <c:v>0</c:v>
                </c:pt>
              </c:numCache>
            </c:numRef>
          </c:xVal>
          <c:yVal>
            <c:numRef>
              <c:f>Sheet1!$B$63:$B$65</c:f>
              <c:numCache>
                <c:formatCode>General</c:formatCode>
                <c:ptCount val="3"/>
                <c:pt idx="0">
                  <c:v>0</c:v>
                </c:pt>
                <c:pt idx="1">
                  <c:v>0.2950431749812832</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069486404833837"/>
          <c:min val="0.005442176870748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8</c:f>
              <c:numCache>
                <c:formatCode>General</c:formatCode>
                <c:ptCount val="47"/>
                <c:pt idx="0">
                  <c:v>0.27561771771771776</c:v>
                </c:pt>
                <c:pt idx="1">
                  <c:v>0.273797669438773</c:v>
                </c:pt>
                <c:pt idx="2">
                  <c:v>0.2629835184382211</c:v>
                </c:pt>
                <c:pt idx="3">
                  <c:v>0.27814070626066684</c:v>
                </c:pt>
                <c:pt idx="4">
                  <c:v>0.3149352413782947</c:v>
                </c:pt>
                <c:pt idx="5">
                  <c:v>0.2680108722510502</c:v>
                </c:pt>
                <c:pt idx="6">
                  <c:v>0.266968420234173</c:v>
                </c:pt>
                <c:pt idx="7">
                  <c:v>0.2523095898859081</c:v>
                </c:pt>
                <c:pt idx="8">
                  <c:v>0.2596089683773976</c:v>
                </c:pt>
                <c:pt idx="9">
                  <c:v>0.25996892801657173</c:v>
                </c:pt>
                <c:pt idx="10">
                  <c:v>0.25988615074068205</c:v>
                </c:pt>
                <c:pt idx="11">
                  <c:v>0.25618936898462585</c:v>
                </c:pt>
                <c:pt idx="12">
                  <c:v>0.23537636539386064</c:v>
                </c:pt>
                <c:pt idx="13">
                  <c:v>0.24887387387387389</c:v>
                </c:pt>
                <c:pt idx="14">
                  <c:v>0.2532504407890474</c:v>
                </c:pt>
                <c:pt idx="15">
                  <c:v>0.2705497410318363</c:v>
                </c:pt>
                <c:pt idx="16">
                  <c:v>0.25725763226704207</c:v>
                </c:pt>
                <c:pt idx="17">
                  <c:v>0.22261640798226165</c:v>
                </c:pt>
                <c:pt idx="18">
                  <c:v>0.22536577207995084</c:v>
                </c:pt>
                <c:pt idx="19">
                  <c:v>0.23296237722525673</c:v>
                </c:pt>
                <c:pt idx="20">
                  <c:v>0.25997016318901534</c:v>
                </c:pt>
                <c:pt idx="21">
                  <c:v>0.2482233502538071</c:v>
                </c:pt>
                <c:pt idx="22">
                  <c:v>0.2760502802690583</c:v>
                </c:pt>
                <c:pt idx="23">
                  <c:v>0.30215927510561014</c:v>
                </c:pt>
                <c:pt idx="24">
                  <c:v>0.23919525047657944</c:v>
                </c:pt>
                <c:pt idx="25">
                  <c:v>0.26491361427431637</c:v>
                </c:pt>
                <c:pt idx="26">
                  <c:v>0.25017023015116435</c:v>
                </c:pt>
                <c:pt idx="27">
                  <c:v>0.33202364375818566</c:v>
                </c:pt>
                <c:pt idx="28">
                  <c:v>0.2681081081081081</c:v>
                </c:pt>
                <c:pt idx="29">
                  <c:v>0.27869641773401493</c:v>
                </c:pt>
                <c:pt idx="30">
                  <c:v>0.2147714188046259</c:v>
                </c:pt>
                <c:pt idx="31">
                  <c:v>0.2861938692657173</c:v>
                </c:pt>
                <c:pt idx="32">
                  <c:v>0.2382505162482339</c:v>
                </c:pt>
                <c:pt idx="33">
                  <c:v>0.27681187332158885</c:v>
                </c:pt>
                <c:pt idx="34">
                  <c:v>0.24226515102809515</c:v>
                </c:pt>
                <c:pt idx="35">
                  <c:v>0.21303623983146466</c:v>
                </c:pt>
                <c:pt idx="36">
                  <c:v>0.23493922122346947</c:v>
                </c:pt>
                <c:pt idx="37">
                  <c:v>0.14789361633609666</c:v>
                </c:pt>
                <c:pt idx="38">
                  <c:v>0.1503530038555734</c:v>
                </c:pt>
                <c:pt idx="39">
                  <c:v>0.11407268768159633</c:v>
                </c:pt>
                <c:pt idx="40">
                  <c:v>0.15506140178142241</c:v>
                </c:pt>
                <c:pt idx="41">
                  <c:v>0.12338709677419354</c:v>
                </c:pt>
                <c:pt idx="42">
                  <c:v>0.12726824452671684</c:v>
                </c:pt>
                <c:pt idx="43">
                  <c:v>0.07857032814666462</c:v>
                </c:pt>
                <c:pt idx="44">
                  <c:v>0.06251764041772509</c:v>
                </c:pt>
                <c:pt idx="45">
                  <c:v>0.08894056096497602</c:v>
                </c:pt>
                <c:pt idx="46">
                  <c:v>0.12789968652037617</c:v>
                </c:pt>
              </c:numCache>
            </c:numRef>
          </c:xVal>
          <c:yVal>
            <c:numRef>
              <c:f>Sheet1!$B$2:$B$48</c:f>
              <c:numCache>
                <c:formatCode>General</c:formatCode>
                <c:ptCount val="47"/>
                <c:pt idx="0">
                  <c:v>0.35447761194029853</c:v>
                </c:pt>
                <c:pt idx="1">
                  <c:v>0.3651877133105802</c:v>
                </c:pt>
                <c:pt idx="2">
                  <c:v>0.2961783439490446</c:v>
                </c:pt>
                <c:pt idx="3">
                  <c:v>0.28753993610223644</c:v>
                </c:pt>
                <c:pt idx="4">
                  <c:v>0.308</c:v>
                </c:pt>
                <c:pt idx="5">
                  <c:v>0.2717391304347826</c:v>
                </c:pt>
                <c:pt idx="6">
                  <c:v>0.25139664804469275</c:v>
                </c:pt>
                <c:pt idx="7">
                  <c:v>0.26785714285714285</c:v>
                </c:pt>
                <c:pt idx="8">
                  <c:v>0.25301204819277107</c:v>
                </c:pt>
                <c:pt idx="9">
                  <c:v>0.20540540540540542</c:v>
                </c:pt>
                <c:pt idx="10">
                  <c:v>0.17708333333333334</c:v>
                </c:pt>
                <c:pt idx="11">
                  <c:v>0.1411042944785276</c:v>
                </c:pt>
                <c:pt idx="12">
                  <c:v>0.12048192771084337</c:v>
                </c:pt>
                <c:pt idx="13">
                  <c:v>0.09815950920245399</c:v>
                </c:pt>
                <c:pt idx="14">
                  <c:v>0.5454545454545454</c:v>
                </c:pt>
                <c:pt idx="15">
                  <c:v>0.5891238670694864</c:v>
                </c:pt>
                <c:pt idx="16">
                  <c:v>0.49818181818181817</c:v>
                </c:pt>
                <c:pt idx="17">
                  <c:v>0.3886255924170616</c:v>
                </c:pt>
                <c:pt idx="18">
                  <c:v>0.3672316384180791</c:v>
                </c:pt>
                <c:pt idx="19">
                  <c:v>0.26490066225165565</c:v>
                </c:pt>
                <c:pt idx="20">
                  <c:v>0.23728813559322035</c:v>
                </c:pt>
                <c:pt idx="21">
                  <c:v>0.17692307692307693</c:v>
                </c:pt>
                <c:pt idx="22">
                  <c:v>0.16964285714285715</c:v>
                </c:pt>
                <c:pt idx="23">
                  <c:v>0.16822429906542055</c:v>
                </c:pt>
                <c:pt idx="24">
                  <c:v>0.1953125</c:v>
                </c:pt>
                <c:pt idx="25">
                  <c:v>0.11224489795918367</c:v>
                </c:pt>
                <c:pt idx="26">
                  <c:v>0.11764705882352941</c:v>
                </c:pt>
                <c:pt idx="27">
                  <c:v>0.13274336283185842</c:v>
                </c:pt>
                <c:pt idx="28">
                  <c:v>0.1271186440677966</c:v>
                </c:pt>
                <c:pt idx="29">
                  <c:v>0.10144927536231885</c:v>
                </c:pt>
                <c:pt idx="30">
                  <c:v>0.07207207207207207</c:v>
                </c:pt>
                <c:pt idx="31">
                  <c:v>0.058823529411764705</c:v>
                </c:pt>
                <c:pt idx="32">
                  <c:v>0.07216494845360824</c:v>
                </c:pt>
                <c:pt idx="33">
                  <c:v>0.10619469026548672</c:v>
                </c:pt>
                <c:pt idx="34">
                  <c:v>0.05714285714285714</c:v>
                </c:pt>
                <c:pt idx="35">
                  <c:v>0.015625</c:v>
                </c:pt>
                <c:pt idx="36">
                  <c:v>0.027522935779816515</c:v>
                </c:pt>
                <c:pt idx="37">
                  <c:v>0.16071428571428573</c:v>
                </c:pt>
                <c:pt idx="38">
                  <c:v>0.13</c:v>
                </c:pt>
                <c:pt idx="39">
                  <c:v>0.13636363636363635</c:v>
                </c:pt>
                <c:pt idx="40">
                  <c:v>0.009615384615384616</c:v>
                </c:pt>
                <c:pt idx="41">
                  <c:v>0.01694915254237288</c:v>
                </c:pt>
                <c:pt idx="42">
                  <c:v>0.01652892561983471</c:v>
                </c:pt>
                <c:pt idx="43">
                  <c:v>0.007874015748031496</c:v>
                </c:pt>
                <c:pt idx="44">
                  <c:v>0.022988505747126436</c:v>
                </c:pt>
                <c:pt idx="45">
                  <c:v>0.00909090909090909</c:v>
                </c:pt>
                <c:pt idx="46">
                  <c:v>0.006802721088435374</c:v>
                </c:pt>
              </c:numCache>
            </c:numRef>
          </c:yVal>
          <c:smooth val="0"/>
          <c:extLst>
            <c:ext xmlns:c16="http://schemas.microsoft.com/office/drawing/2014/chart" uri="{C3380CC4-5D6E-409C-BE32-E72D297353CC}">
              <c16:uniqueId val="{00000000-096C-4121-9522-6AB7243CCAAE}"/>
            </c:ext>
          </c:extLst>
        </c:ser>
        <c:ser>
          <c:idx val="1"/>
          <c:order val="1"/>
          <c:tx>
            <c:strRef>
              <c:f>Sheet1!$B$5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1:$A$50</c:f>
              <c:numCache>
                <c:formatCode>General</c:formatCode>
                <c:ptCount val="0"/>
              </c:numCache>
            </c:numRef>
          </c:xVal>
          <c:yVal>
            <c:numRef>
              <c:f>Sheet1!$B$51:$B$50</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5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3:$A$54</c:f>
              <c:numCache>
                <c:formatCode>General</c:formatCode>
                <c:ptCount val="2"/>
                <c:pt idx="0">
                  <c:v>0</c:v>
                </c:pt>
                <c:pt idx="1">
                  <c:v>0.2950431749812832</c:v>
                </c:pt>
              </c:numCache>
            </c:numRef>
          </c:xVal>
          <c:yVal>
            <c:numRef>
              <c:f>Sheet1!$B$53:$B$54</c:f>
              <c:numCache>
                <c:formatCode>General</c:formatCode>
                <c:ptCount val="2"/>
                <c:pt idx="0">
                  <c:v>0.2950431749812832</c:v>
                </c:pt>
                <c:pt idx="1">
                  <c:v>0.2950431749812832</c:v>
                </c:pt>
              </c:numCache>
            </c:numRef>
          </c:yVal>
          <c:smooth val="0"/>
          <c:extLst>
            <c:ext xmlns:c16="http://schemas.microsoft.com/office/drawing/2014/chart" uri="{C3380CC4-5D6E-409C-BE32-E72D297353CC}">
              <c16:uniqueId val="{00000005-096C-4121-9522-6AB7243CCAAE}"/>
            </c:ext>
          </c:extLst>
        </c:ser>
        <c:ser>
          <c:idx val="3"/>
          <c:order val="3"/>
          <c:tx>
            <c:strRef>
              <c:f>Sheet1!$B$5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7:$A$58</c:f>
              <c:numCache>
                <c:formatCode>General</c:formatCode>
                <c:ptCount val="2"/>
                <c:pt idx="0">
                  <c:v>0.2950431749812832</c:v>
                </c:pt>
                <c:pt idx="1">
                  <c:v>0.2950431749812832</c:v>
                </c:pt>
              </c:numCache>
            </c:numRef>
          </c:xVal>
          <c:yVal>
            <c:numRef>
              <c:f>Sheet1!$B$57:$B$58</c:f>
              <c:numCache>
                <c:formatCode>General</c:formatCode>
                <c:ptCount val="2"/>
                <c:pt idx="0">
                  <c:v>0.29504317498128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0</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1:$A$63</c:f>
              <c:numCache>
                <c:formatCode>General</c:formatCode>
                <c:ptCount val="3"/>
                <c:pt idx="0">
                  <c:v>0</c:v>
                </c:pt>
                <c:pt idx="1">
                  <c:v>0.2950431749812832</c:v>
                </c:pt>
                <c:pt idx="2">
                  <c:v>0</c:v>
                </c:pt>
              </c:numCache>
            </c:numRef>
          </c:xVal>
          <c:yVal>
            <c:numRef>
              <c:f>Sheet1!$B$61:$B$63</c:f>
              <c:numCache>
                <c:formatCode>General</c:formatCode>
                <c:ptCount val="3"/>
                <c:pt idx="0">
                  <c:v>0</c:v>
                </c:pt>
                <c:pt idx="1">
                  <c:v>0.2950431749812832</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069486404833837"/>
          <c:min val="0.005442176870748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8</c:f>
              <c:numCache>
                <c:formatCode>General</c:formatCode>
                <c:ptCount val="47"/>
                <c:pt idx="0">
                  <c:v>550.6842</c:v>
                </c:pt>
                <c:pt idx="1">
                  <c:v>549.8131</c:v>
                </c:pt>
                <c:pt idx="2">
                  <c:v>551.9785</c:v>
                </c:pt>
                <c:pt idx="3">
                  <c:v>552.8444</c:v>
                </c:pt>
                <c:pt idx="4">
                  <c:v>545.3247</c:v>
                </c:pt>
                <c:pt idx="5">
                  <c:v>542.32</c:v>
                </c:pt>
                <c:pt idx="6">
                  <c:v>530.8222</c:v>
                </c:pt>
                <c:pt idx="7">
                  <c:v>511.4</c:v>
                </c:pt>
                <c:pt idx="8">
                  <c:v>500.7857</c:v>
                </c:pt>
                <c:pt idx="9">
                  <c:v>502.0</c:v>
                </c:pt>
                <c:pt idx="10">
                  <c:v>499.4412</c:v>
                </c:pt>
                <c:pt idx="11">
                  <c:v>510.6087</c:v>
                </c:pt>
                <c:pt idx="12">
                  <c:v>482.6</c:v>
                </c:pt>
                <c:pt idx="13">
                  <c:v>483.4375</c:v>
                </c:pt>
                <c:pt idx="14">
                  <c:v>512.3594</c:v>
                </c:pt>
                <c:pt idx="15">
                  <c:v>511.2974</c:v>
                </c:pt>
                <c:pt idx="16">
                  <c:v>512.2701</c:v>
                </c:pt>
                <c:pt idx="17">
                  <c:v>502.0</c:v>
                </c:pt>
                <c:pt idx="18">
                  <c:v>505.0769</c:v>
                </c:pt>
                <c:pt idx="19">
                  <c:v>502.4</c:v>
                </c:pt>
                <c:pt idx="20">
                  <c:v>506.5952</c:v>
                </c:pt>
                <c:pt idx="21">
                  <c:v>489.0</c:v>
                </c:pt>
                <c:pt idx="22">
                  <c:v>492.4737</c:v>
                </c:pt>
                <c:pt idx="23">
                  <c:v>464.6111</c:v>
                </c:pt>
                <c:pt idx="24">
                  <c:v>460.28</c:v>
                </c:pt>
                <c:pt idx="25">
                  <c:v>456.5455</c:v>
                </c:pt>
                <c:pt idx="26">
                  <c:v>459.25</c:v>
                </c:pt>
                <c:pt idx="27">
                  <c:v>481.6667</c:v>
                </c:pt>
                <c:pt idx="28">
                  <c:v>520.8</c:v>
                </c:pt>
                <c:pt idx="29">
                  <c:v>496.0</c:v>
                </c:pt>
                <c:pt idx="30">
                  <c:v>418.5</c:v>
                </c:pt>
                <c:pt idx="31">
                  <c:v>558.0</c:v>
                </c:pt>
                <c:pt idx="32">
                  <c:v>438.4286</c:v>
                </c:pt>
                <c:pt idx="33">
                  <c:v>488.25</c:v>
                </c:pt>
                <c:pt idx="34">
                  <c:v>465.0</c:v>
                </c:pt>
                <c:pt idx="35">
                  <c:v>418.5</c:v>
                </c:pt>
                <c:pt idx="36">
                  <c:v>465.0</c:v>
                </c:pt>
                <c:pt idx="37">
                  <c:v>293.0</c:v>
                </c:pt>
                <c:pt idx="38">
                  <c:v>294.2308</c:v>
                </c:pt>
                <c:pt idx="39">
                  <c:v>234.2</c:v>
                </c:pt>
                <c:pt idx="40">
                  <c:v>306.0</c:v>
                </c:pt>
                <c:pt idx="41">
                  <c:v>229.5</c:v>
                </c:pt>
                <c:pt idx="42">
                  <c:v>229.5</c:v>
                </c:pt>
                <c:pt idx="43">
                  <c:v>153.0</c:v>
                </c:pt>
                <c:pt idx="44">
                  <c:v>221.5</c:v>
                </c:pt>
                <c:pt idx="45">
                  <c:v>153.0</c:v>
                </c:pt>
                <c:pt idx="46">
                  <c:v>153.0</c:v>
                </c:pt>
              </c:numCache>
            </c:numRef>
          </c:xVal>
          <c:yVal>
            <c:numRef>
              <c:f>Sheet1!$B$2:$B$48</c:f>
              <c:numCache>
                <c:formatCode>General</c:formatCode>
                <c:ptCount val="47"/>
                <c:pt idx="0">
                  <c:v>0.35447761194029853</c:v>
                </c:pt>
                <c:pt idx="1">
                  <c:v>0.3651877133105802</c:v>
                </c:pt>
                <c:pt idx="2">
                  <c:v>0.2961783439490446</c:v>
                </c:pt>
                <c:pt idx="3">
                  <c:v>0.28753993610223644</c:v>
                </c:pt>
                <c:pt idx="4">
                  <c:v>0.308</c:v>
                </c:pt>
                <c:pt idx="5">
                  <c:v>0.2717391304347826</c:v>
                </c:pt>
                <c:pt idx="6">
                  <c:v>0.25139664804469275</c:v>
                </c:pt>
                <c:pt idx="7">
                  <c:v>0.26785714285714285</c:v>
                </c:pt>
                <c:pt idx="8">
                  <c:v>0.25301204819277107</c:v>
                </c:pt>
                <c:pt idx="9">
                  <c:v>0.20540540540540542</c:v>
                </c:pt>
                <c:pt idx="10">
                  <c:v>0.17708333333333334</c:v>
                </c:pt>
                <c:pt idx="11">
                  <c:v>0.1411042944785276</c:v>
                </c:pt>
                <c:pt idx="12">
                  <c:v>0.12048192771084337</c:v>
                </c:pt>
                <c:pt idx="13">
                  <c:v>0.09815950920245399</c:v>
                </c:pt>
                <c:pt idx="14">
                  <c:v>0.5454545454545454</c:v>
                </c:pt>
                <c:pt idx="15">
                  <c:v>0.5891238670694864</c:v>
                </c:pt>
                <c:pt idx="16">
                  <c:v>0.49818181818181817</c:v>
                </c:pt>
                <c:pt idx="17">
                  <c:v>0.3886255924170616</c:v>
                </c:pt>
                <c:pt idx="18">
                  <c:v>0.3672316384180791</c:v>
                </c:pt>
                <c:pt idx="19">
                  <c:v>0.26490066225165565</c:v>
                </c:pt>
                <c:pt idx="20">
                  <c:v>0.23728813559322035</c:v>
                </c:pt>
                <c:pt idx="21">
                  <c:v>0.17692307692307693</c:v>
                </c:pt>
                <c:pt idx="22">
                  <c:v>0.16964285714285715</c:v>
                </c:pt>
                <c:pt idx="23">
                  <c:v>0.16822429906542055</c:v>
                </c:pt>
                <c:pt idx="24">
                  <c:v>0.1953125</c:v>
                </c:pt>
                <c:pt idx="25">
                  <c:v>0.11224489795918367</c:v>
                </c:pt>
                <c:pt idx="26">
                  <c:v>0.11764705882352941</c:v>
                </c:pt>
                <c:pt idx="27">
                  <c:v>0.13274336283185842</c:v>
                </c:pt>
                <c:pt idx="28">
                  <c:v>0.1271186440677966</c:v>
                </c:pt>
                <c:pt idx="29">
                  <c:v>0.10144927536231885</c:v>
                </c:pt>
                <c:pt idx="30">
                  <c:v>0.07207207207207207</c:v>
                </c:pt>
                <c:pt idx="31">
                  <c:v>0.058823529411764705</c:v>
                </c:pt>
                <c:pt idx="32">
                  <c:v>0.07216494845360824</c:v>
                </c:pt>
                <c:pt idx="33">
                  <c:v>0.10619469026548672</c:v>
                </c:pt>
                <c:pt idx="34">
                  <c:v>0.05714285714285714</c:v>
                </c:pt>
                <c:pt idx="35">
                  <c:v>0.015625</c:v>
                </c:pt>
                <c:pt idx="36">
                  <c:v>0.027522935779816515</c:v>
                </c:pt>
                <c:pt idx="37">
                  <c:v>0.16071428571428573</c:v>
                </c:pt>
                <c:pt idx="38">
                  <c:v>0.13</c:v>
                </c:pt>
                <c:pt idx="39">
                  <c:v>0.13636363636363635</c:v>
                </c:pt>
                <c:pt idx="40">
                  <c:v>0.009615384615384616</c:v>
                </c:pt>
                <c:pt idx="41">
                  <c:v>0.01694915254237288</c:v>
                </c:pt>
                <c:pt idx="42">
                  <c:v>0.01652892561983471</c:v>
                </c:pt>
                <c:pt idx="43">
                  <c:v>0.007874015748031496</c:v>
                </c:pt>
                <c:pt idx="44">
                  <c:v>0.022988505747126436</c:v>
                </c:pt>
                <c:pt idx="45">
                  <c:v>0.00909090909090909</c:v>
                </c:pt>
                <c:pt idx="46">
                  <c:v>0.006802721088435374</c:v>
                </c:pt>
              </c:numCache>
            </c:numRef>
          </c:yVal>
          <c:smooth val="0"/>
          <c:extLst>
            <c:ext xmlns:c16="http://schemas.microsoft.com/office/drawing/2014/chart" uri="{C3380CC4-5D6E-409C-BE32-E72D297353CC}">
              <c16:uniqueId val="{00000000-F32D-48B7-BC20-E66FC6253BAD}"/>
            </c:ext>
          </c:extLst>
        </c:ser>
        <c:ser>
          <c:idx val="1"/>
          <c:order val="1"/>
          <c:tx>
            <c:strRef>
              <c:f>Sheet1!$B$50</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1:$A$50</c:f>
              <c:numCache>
                <c:formatCode>General</c:formatCode>
                <c:ptCount val="0"/>
              </c:numCache>
            </c:numRef>
          </c:xVal>
          <c:yVal>
            <c:numRef>
              <c:f>Sheet1!$B$51:$B$50</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52</c:f>
              <c:strCache>
                <c:ptCount val="1"/>
                <c:pt idx="0">
                  <c:v>Custom Linep3yQ</c:v>
                </c:pt>
              </c:strCache>
            </c:strRef>
          </c:tx>
          <c:spPr>
            <a:ln w="19050" cap="rnd">
              <a:solidFill>
                <a:srgbClr val="C00000"/>
              </a:solidFill>
              <a:prstDash val="sysDot"/>
              <a:round/>
            </a:ln>
            <a:effectLst/>
          </c:spPr>
          <c:marker>
            <c:symbol val="none"/>
          </c:marker>
          <c:xVal>
            <c:numRef>
              <c:f>Sheet1!$A$53:$A$54</c:f>
              <c:numCache>
                <c:formatCode>General</c:formatCode>
                <c:ptCount val="2"/>
                <c:pt idx="0">
                  <c:v>0</c:v>
                </c:pt>
                <c:pt idx="1">
                  <c:v>0.2950431749812832</c:v>
                </c:pt>
              </c:numCache>
            </c:numRef>
          </c:xVal>
          <c:yVal>
            <c:numRef>
              <c:f>Sheet1!$B$53:$B$54</c:f>
              <c:numCache>
                <c:formatCode>General</c:formatCode>
                <c:ptCount val="2"/>
                <c:pt idx="0">
                  <c:v>0.2950431749812832</c:v>
                </c:pt>
                <c:pt idx="1">
                  <c:v>0.2950431749812832</c:v>
                </c:pt>
              </c:numCache>
            </c:numRef>
          </c:yVal>
          <c:smooth val="0"/>
          <c:extLst>
            <c:ext xmlns:c16="http://schemas.microsoft.com/office/drawing/2014/chart" uri="{C3380CC4-5D6E-409C-BE32-E72D297353CC}">
              <c16:uniqueId val="{00000003-F32D-48B7-BC20-E66FC6253BAD}"/>
            </c:ext>
          </c:extLst>
        </c:ser>
        <c:ser>
          <c:idx val="3"/>
          <c:order val="3"/>
          <c:tx>
            <c:strRef>
              <c:f>Sheet1!$B$5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7:$A$58</c:f>
              <c:numCache>
                <c:formatCode>General</c:formatCode>
                <c:ptCount val="2"/>
                <c:pt idx="0">
                  <c:v>0.2950431749812832</c:v>
                </c:pt>
                <c:pt idx="1">
                  <c:v>0.2950431749812832</c:v>
                </c:pt>
              </c:numCache>
            </c:numRef>
          </c:xVal>
          <c:yVal>
            <c:numRef>
              <c:f>Sheet1!$B$57:$B$58</c:f>
              <c:numCache>
                <c:formatCode>General</c:formatCode>
                <c:ptCount val="2"/>
                <c:pt idx="0">
                  <c:v>0.29504317498128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0</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1:$A$63</c:f>
              <c:numCache>
                <c:formatCode>General</c:formatCode>
                <c:ptCount val="3"/>
                <c:pt idx="0">
                  <c:v>0</c:v>
                </c:pt>
                <c:pt idx="1">
                  <c:v>0.2950431749812832</c:v>
                </c:pt>
                <c:pt idx="2">
                  <c:v>0</c:v>
                </c:pt>
              </c:numCache>
            </c:numRef>
          </c:xVal>
          <c:yVal>
            <c:numRef>
              <c:f>Sheet1!$B$61:$B$63</c:f>
              <c:numCache>
                <c:formatCode>General</c:formatCode>
                <c:ptCount val="3"/>
                <c:pt idx="0">
                  <c:v>0</c:v>
                </c:pt>
                <c:pt idx="1">
                  <c:v>0.2950431749812832</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069486404833837"/>
          <c:min val="0.005442176870748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0.8895787697066632</c:v>
                </c:pt>
                <c:pt idx="1">
                  <c:v>0.7882365508903635</c:v>
                </c:pt>
                <c:pt idx="2">
                  <c:v>0.8619417593659098</c:v>
                </c:pt>
                <c:pt idx="3">
                  <c:v>0.7219201915760232</c:v>
                </c:pt>
                <c:pt idx="4">
                  <c:v>0.6717054736072169</c:v>
                </c:pt>
                <c:pt idx="5">
                  <c:v>0.6857544565552617</c:v>
                </c:pt>
                <c:pt idx="6">
                  <c:v>0.8308266703716175</c:v>
                </c:pt>
                <c:pt idx="7">
                  <c:v>0.7571766681622957</c:v>
                </c:pt>
                <c:pt idx="8">
                  <c:v>0.8707944028180488</c:v>
                </c:pt>
                <c:pt idx="9">
                  <c:v>0.6863109337879668</c:v>
                </c:pt>
                <c:pt idx="10">
                  <c:v>0.6954436450839329</c:v>
                </c:pt>
                <c:pt idx="11">
                  <c:v>0.76459369330002</c:v>
                </c:pt>
                <c:pt idx="12">
                  <c:v>0.7873961783557936</c:v>
                </c:pt>
                <c:pt idx="13">
                  <c:v>0.6831425187524675</c:v>
                </c:pt>
                <c:pt idx="14">
                  <c:v>1.008563543583568</c:v>
                </c:pt>
                <c:pt idx="15">
                  <c:v>0.8805772148573334</c:v>
                </c:pt>
                <c:pt idx="16">
                  <c:v>0.7823452334323389</c:v>
                </c:pt>
                <c:pt idx="17">
                  <c:v>0.9427121102248006</c:v>
                </c:pt>
                <c:pt idx="18">
                  <c:v>0.7096746100362948</c:v>
                </c:pt>
                <c:pt idx="19">
                  <c:v>0.7392293114339862</c:v>
                </c:pt>
                <c:pt idx="20">
                  <c:v>0.9121693267991469</c:v>
                </c:pt>
                <c:pt idx="21">
                  <c:v>0.8214639069034486</c:v>
                </c:pt>
                <c:pt idx="22">
                  <c:v>0.8534735942958752</c:v>
                </c:pt>
                <c:pt idx="23">
                  <c:v>0.7252649677852843</c:v>
                </c:pt>
                <c:pt idx="24">
                  <c:v>0.9735523678558579</c:v>
                </c:pt>
                <c:pt idx="25">
                  <c:v>0.856120691478747</c:v>
                </c:pt>
                <c:pt idx="26">
                  <c:v>0.8006608352600436</c:v>
                </c:pt>
                <c:pt idx="27">
                  <c:v>0.7318799952632244</c:v>
                </c:pt>
                <c:pt idx="28">
                  <c:v>1.10477587658312</c:v>
                </c:pt>
                <c:pt idx="29">
                  <c:v>0.8003021011191921</c:v>
                </c:pt>
                <c:pt idx="30">
                  <c:v>0.8977912492016809</c:v>
                </c:pt>
                <c:pt idx="31">
                  <c:v>0.8695031352201892</c:v>
                </c:pt>
                <c:pt idx="32">
                  <c:v>0.909624575950098</c:v>
                </c:pt>
                <c:pt idx="33">
                  <c:v>0.9768907555218852</c:v>
                </c:pt>
                <c:pt idx="34">
                  <c:v>0.9046525580812611</c:v>
                </c:pt>
                <c:pt idx="35">
                  <c:v>0.9128852439989907</c:v>
                </c:pt>
                <c:pt idx="36">
                  <c:v>0.7694435841952451</c:v>
                </c:pt>
                <c:pt idx="37">
                  <c:v>0.8624963217904554</c:v>
                </c:pt>
                <c:pt idx="38">
                  <c:v>0.7691133602667571</c:v>
                </c:pt>
                <c:pt idx="39">
                  <c:v>0.8266472374210414</c:v>
                </c:pt>
                <c:pt idx="40">
                  <c:v>0.8331935739007602</c:v>
                </c:pt>
                <c:pt idx="41">
                  <c:v>0.7678710519426473</c:v>
                </c:pt>
                <c:pt idx="42">
                  <c:v>0.9122814209315958</c:v>
                </c:pt>
                <c:pt idx="43">
                  <c:v>0.8637224753562965</c:v>
                </c:pt>
                <c:pt idx="44">
                  <c:v>0.8151391541304258</c:v>
                </c:pt>
                <c:pt idx="45">
                  <c:v>0.7366551517858263</c:v>
                </c:pt>
                <c:pt idx="46">
                  <c:v>0.8665083299904504</c:v>
                </c:pt>
                <c:pt idx="47">
                  <c:v>0.9546470690785785</c:v>
                </c:pt>
                <c:pt idx="48">
                  <c:v>0.8480302239170804</c:v>
                </c:pt>
                <c:pt idx="49">
                  <c:v>0.8455550123947444</c:v>
                </c:pt>
                <c:pt idx="50">
                  <c:v>0.8765523553237982</c:v>
                </c:pt>
                <c:pt idx="51">
                  <c:v>0.9114682801845563</c:v>
                </c:pt>
                <c:pt idx="52">
                  <c:v>0.8063723430484758</c:v>
                </c:pt>
                <c:pt idx="53">
                  <c:v>0.8959287097156282</c:v>
                </c:pt>
                <c:pt idx="54">
                  <c:v>0.9426265052356021</c:v>
                </c:pt>
                <c:pt idx="55">
                  <c:v>0.8106868120143227</c:v>
                </c:pt>
                <c:pt idx="56">
                  <c:v>0.8454129250779102</c:v>
                </c:pt>
                <c:pt idx="57">
                  <c:v>0.759591100420926</c:v>
                </c:pt>
                <c:pt idx="58">
                  <c:v>0.8714034511002976</c:v>
                </c:pt>
                <c:pt idx="59">
                  <c:v>0.9884870568838926</c:v>
                </c:pt>
                <c:pt idx="60">
                  <c:v>0.8984419677635852</c:v>
                </c:pt>
                <c:pt idx="61">
                  <c:v>0.8629748708411851</c:v>
                </c:pt>
                <c:pt idx="62">
                  <c:v>0.7707298418007226</c:v>
                </c:pt>
                <c:pt idx="63">
                  <c:v>0.8230683407729413</c:v>
                </c:pt>
                <c:pt idx="64">
                  <c:v>0.7574947124875662</c:v>
                </c:pt>
                <c:pt idx="65">
                  <c:v>1.065598482491797</c:v>
                </c:pt>
                <c:pt idx="66">
                  <c:v>1.0268445458979254</c:v>
                </c:pt>
                <c:pt idx="67">
                  <c:v>1.3251587233659947</c:v>
                </c:pt>
                <c:pt idx="68">
                  <c:v>1.1292662096298578</c:v>
                </c:pt>
                <c:pt idx="69">
                  <c:v>1.1826983299890579</c:v>
                </c:pt>
                <c:pt idx="70">
                  <c:v>0.8142776236100018</c:v>
                </c:pt>
                <c:pt idx="71">
                  <c:v>1.124414447162677</c:v>
                </c:pt>
                <c:pt idx="72">
                  <c:v>0.8615576415137844</c:v>
                </c:pt>
                <c:pt idx="73">
                  <c:v>0.8990687928525373</c:v>
                </c:pt>
                <c:pt idx="74">
                  <c:v>0.8798943550652617</c:v>
                </c:pt>
                <c:pt idx="75">
                  <c:v>1.0939362253456406</c:v>
                </c:pt>
                <c:pt idx="76">
                  <c:v>0.7310461202912918</c:v>
                </c:pt>
                <c:pt idx="77">
                  <c:v>1.097580097214237</c:v>
                </c:pt>
                <c:pt idx="78">
                  <c:v>0.8243488269247452</c:v>
                </c:pt>
                <c:pt idx="79">
                  <c:v>0.8439685487376032</c:v>
                </c:pt>
                <c:pt idx="80">
                  <c:v>1.2164088571054306</c:v>
                </c:pt>
                <c:pt idx="81">
                  <c:v>0.839721527348493</c:v>
                </c:pt>
                <c:pt idx="82">
                  <c:v>0.5966505265516768</c:v>
                </c:pt>
                <c:pt idx="83">
                  <c:v>0.7669027688345138</c:v>
                </c:pt>
                <c:pt idx="84">
                  <c:v>1.1241639753936712</c:v>
                </c:pt>
                <c:pt idx="85">
                  <c:v>0.8576710012031455</c:v>
                </c:pt>
                <c:pt idx="86">
                  <c:v>0.7302205962521451</c:v>
                </c:pt>
                <c:pt idx="87">
                  <c:v>1.0426194769286576</c:v>
                </c:pt>
                <c:pt idx="88">
                  <c:v>0.8651388254929376</c:v>
                </c:pt>
                <c:pt idx="89">
                  <c:v>0.6271861230590372</c:v>
                </c:pt>
                <c:pt idx="90">
                  <c:v>1.2042667883446327</c:v>
                </c:pt>
                <c:pt idx="91">
                  <c:v>0.7994719385349575</c:v>
                </c:pt>
                <c:pt idx="92">
                  <c:v>0.7972445236152548</c:v>
                </c:pt>
                <c:pt idx="93">
                  <c:v>0.8057095925043165</c:v>
                </c:pt>
                <c:pt idx="94">
                  <c:v>1.0676937124364452</c:v>
                </c:pt>
                <c:pt idx="95">
                  <c:v>0.6915067448116329</c:v>
                </c:pt>
                <c:pt idx="96">
                  <c:v>0.80898016197149</c:v>
                </c:pt>
                <c:pt idx="97">
                  <c:v>0.8936342211758445</c:v>
                </c:pt>
                <c:pt idx="98">
                  <c:v>0.6294563857288749</c:v>
                </c:pt>
                <c:pt idx="99">
                  <c:v>0.6794494532920845</c:v>
                </c:pt>
              </c:numCache>
            </c:numRef>
          </c:xVal>
          <c:yVal>
            <c:numRef>
              <c:f>Sheet1!$B$2:$B$101</c:f>
              <c:numCache>
                <c:formatCode>General</c:formatCode>
                <c:ptCount val="100"/>
                <c:pt idx="0">
                  <c:v>0.013651877133105802</c:v>
                </c:pt>
                <c:pt idx="1">
                  <c:v>0.01592356687898089</c:v>
                </c:pt>
                <c:pt idx="2">
                  <c:v>0.019169329073482427</c:v>
                </c:pt>
                <c:pt idx="3">
                  <c:v>0.016</c:v>
                </c:pt>
                <c:pt idx="4">
                  <c:v>0.016304347826086956</c:v>
                </c:pt>
                <c:pt idx="5">
                  <c:v>0.027932960893854747</c:v>
                </c:pt>
                <c:pt idx="6">
                  <c:v>0.017857142857142856</c:v>
                </c:pt>
                <c:pt idx="7">
                  <c:v>0.018072289156626505</c:v>
                </c:pt>
                <c:pt idx="8">
                  <c:v>0.010810810810810811</c:v>
                </c:pt>
                <c:pt idx="9">
                  <c:v>0.015625</c:v>
                </c:pt>
                <c:pt idx="10">
                  <c:v>0.012269938650306749</c:v>
                </c:pt>
                <c:pt idx="11">
                  <c:v>0.018072289156626505</c:v>
                </c:pt>
                <c:pt idx="12">
                  <c:v>0.018404907975460124</c:v>
                </c:pt>
                <c:pt idx="13">
                  <c:v>0.005681818181818182</c:v>
                </c:pt>
                <c:pt idx="14">
                  <c:v>0.006042296072507553</c:v>
                </c:pt>
                <c:pt idx="15">
                  <c:v>0.007272727272727273</c:v>
                </c:pt>
                <c:pt idx="16">
                  <c:v>0.009478672985781991</c:v>
                </c:pt>
                <c:pt idx="17">
                  <c:v>0.011299435028248588</c:v>
                </c:pt>
                <c:pt idx="18">
                  <c:v>0.013245033112582781</c:v>
                </c:pt>
                <c:pt idx="19">
                  <c:v>0.02824858757062147</c:v>
                </c:pt>
                <c:pt idx="20">
                  <c:v>0.03076923076923077</c:v>
                </c:pt>
                <c:pt idx="21">
                  <c:v>0.026785714285714284</c:v>
                </c:pt>
                <c:pt idx="22">
                  <c:v>0.028037383177570093</c:v>
                </c:pt>
                <c:pt idx="23">
                  <c:v>0.0234375</c:v>
                </c:pt>
                <c:pt idx="24">
                  <c:v>0.01020408163265306</c:v>
                </c:pt>
                <c:pt idx="25">
                  <c:v>0.029411764705882353</c:v>
                </c:pt>
                <c:pt idx="26">
                  <c:v>0.035398230088495575</c:v>
                </c:pt>
                <c:pt idx="27">
                  <c:v>0.03389830508474576</c:v>
                </c:pt>
                <c:pt idx="28">
                  <c:v>0.014492753623188406</c:v>
                </c:pt>
                <c:pt idx="29">
                  <c:v>0.04504504504504504</c:v>
                </c:pt>
                <c:pt idx="30">
                  <c:v>0.023529411764705882</c:v>
                </c:pt>
                <c:pt idx="31">
                  <c:v>0.041237113402061855</c:v>
                </c:pt>
                <c:pt idx="32">
                  <c:v>0.05309734513274336</c:v>
                </c:pt>
                <c:pt idx="33">
                  <c:v>0.0380952380952381</c:v>
                </c:pt>
                <c:pt idx="34">
                  <c:v>0.078125</c:v>
                </c:pt>
                <c:pt idx="35">
                  <c:v>0.06422018348623854</c:v>
                </c:pt>
                <c:pt idx="36">
                  <c:v>0.08928571428571429</c:v>
                </c:pt>
                <c:pt idx="37">
                  <c:v>0.05</c:v>
                </c:pt>
                <c:pt idx="38">
                  <c:v>0.045454545454545456</c:v>
                </c:pt>
                <c:pt idx="39">
                  <c:v>0.0673076923076923</c:v>
                </c:pt>
                <c:pt idx="40">
                  <c:v>0.059322033898305086</c:v>
                </c:pt>
                <c:pt idx="41">
                  <c:v>0.049586776859504134</c:v>
                </c:pt>
                <c:pt idx="42">
                  <c:v>0.07086614173228346</c:v>
                </c:pt>
                <c:pt idx="43">
                  <c:v>0.05084745762711865</c:v>
                </c:pt>
                <c:pt idx="44">
                  <c:v>0.04950495049504951</c:v>
                </c:pt>
                <c:pt idx="45">
                  <c:v>0.06666666666666667</c:v>
                </c:pt>
                <c:pt idx="46">
                  <c:v>0.034482758620689655</c:v>
                </c:pt>
                <c:pt idx="47">
                  <c:v>0.03636363636363636</c:v>
                </c:pt>
                <c:pt idx="48">
                  <c:v>0.047619047619047616</c:v>
                </c:pt>
                <c:pt idx="49">
                  <c:v>0.1111111111111111</c:v>
                </c:pt>
                <c:pt idx="50">
                  <c:v>0.0851063829787234</c:v>
                </c:pt>
                <c:pt idx="51">
                  <c:v>0.07526881720430108</c:v>
                </c:pt>
                <c:pt idx="52">
                  <c:v>0.09090909090909091</c:v>
                </c:pt>
                <c:pt idx="53">
                  <c:v>0.0945945945945946</c:v>
                </c:pt>
                <c:pt idx="54">
                  <c:v>0.04411764705882353</c:v>
                </c:pt>
                <c:pt idx="55">
                  <c:v>0.10810810810810811</c:v>
                </c:pt>
                <c:pt idx="56">
                  <c:v>0.06060606060606061</c:v>
                </c:pt>
                <c:pt idx="57">
                  <c:v>0.06666666666666667</c:v>
                </c:pt>
                <c:pt idx="58">
                  <c:v>0.024096385542168676</c:v>
                </c:pt>
                <c:pt idx="59">
                  <c:v>0.02702702702702703</c:v>
                </c:pt>
                <c:pt idx="60">
                  <c:v>0.0547945205479452</c:v>
                </c:pt>
                <c:pt idx="61">
                  <c:v>0.043478260869565216</c:v>
                </c:pt>
                <c:pt idx="62">
                  <c:v>0.03896103896103896</c:v>
                </c:pt>
                <c:pt idx="63">
                  <c:v>0.025</c:v>
                </c:pt>
                <c:pt idx="64">
                  <c:v>0.056818181818181816</c:v>
                </c:pt>
                <c:pt idx="65">
                  <c:v>0.013888888888888888</c:v>
                </c:pt>
                <c:pt idx="66">
                  <c:v>0.025974025974025976</c:v>
                </c:pt>
                <c:pt idx="67">
                  <c:v>0.014285714285714285</c:v>
                </c:pt>
                <c:pt idx="68">
                  <c:v>0.019230769230769232</c:v>
                </c:pt>
                <c:pt idx="69">
                  <c:v>0.015151515151515152</c:v>
                </c:pt>
                <c:pt idx="70">
                  <c:v>0.03508771929824561</c:v>
                </c:pt>
                <c:pt idx="71">
                  <c:v>0.016666666666666666</c:v>
                </c:pt>
                <c:pt idx="72">
                  <c:v>0.03278688524590164</c:v>
                </c:pt>
                <c:pt idx="73">
                  <c:v>0.016666666666666666</c:v>
                </c:pt>
                <c:pt idx="74">
                  <c:v>0.03389830508474576</c:v>
                </c:pt>
                <c:pt idx="75">
                  <c:v>0.016129032258064516</c:v>
                </c:pt>
                <c:pt idx="76">
                  <c:v>0.037037037037037035</c:v>
                </c:pt>
                <c:pt idx="77">
                  <c:v>0.019230769230769232</c:v>
                </c:pt>
                <c:pt idx="78">
                  <c:v>0.016666666666666666</c:v>
                </c:pt>
                <c:pt idx="79">
                  <c:v>0.015384615384615385</c:v>
                </c:pt>
                <c:pt idx="80">
                  <c:v>0.01694915254237288</c:v>
                </c:pt>
                <c:pt idx="81">
                  <c:v>0.02</c:v>
                </c:pt>
                <c:pt idx="82">
                  <c:v>0.02</c:v>
                </c:pt>
                <c:pt idx="83">
                  <c:v>0.028169014084507043</c:v>
                </c:pt>
                <c:pt idx="84">
                  <c:v>0.013157894736842105</c:v>
                </c:pt>
                <c:pt idx="85">
                  <c:v>0.029850746268656716</c:v>
                </c:pt>
                <c:pt idx="86">
                  <c:v>0.02857142857142857</c:v>
                </c:pt>
                <c:pt idx="87">
                  <c:v>0.015873015873015872</c:v>
                </c:pt>
                <c:pt idx="88">
                  <c:v>0.015625</c:v>
                </c:pt>
                <c:pt idx="89">
                  <c:v>0.015873015873015872</c:v>
                </c:pt>
                <c:pt idx="90">
                  <c:v>0.01639344262295082</c:v>
                </c:pt>
                <c:pt idx="91">
                  <c:v>0.016129032258064516</c:v>
                </c:pt>
                <c:pt idx="92">
                  <c:v>0.015873015873015872</c:v>
                </c:pt>
                <c:pt idx="93">
                  <c:v>0.02631578947368421</c:v>
                </c:pt>
                <c:pt idx="94">
                  <c:v>0.012048192771084338</c:v>
                </c:pt>
                <c:pt idx="95">
                  <c:v>0.010752688172043012</c:v>
                </c:pt>
                <c:pt idx="96">
                  <c:v>0.022988505747126436</c:v>
                </c:pt>
                <c:pt idx="97">
                  <c:v>0.014492753623188406</c:v>
                </c:pt>
                <c:pt idx="98">
                  <c:v>0.017857142857142856</c:v>
                </c:pt>
                <c:pt idx="99">
                  <c:v>0.014285714285714285</c:v>
                </c:pt>
              </c:numCache>
            </c:numRef>
          </c:yVal>
          <c:smooth val="0"/>
          <c:extLst>
            <c:ext xmlns:c16="http://schemas.microsoft.com/office/drawing/2014/chart" uri="{C3380CC4-5D6E-409C-BE32-E72D297353CC}">
              <c16:uniqueId val="{00000000-096C-4121-9522-6AB7243CCAAE}"/>
            </c:ext>
          </c:extLst>
        </c:ser>
        <c:ser>
          <c:idx val="1"/>
          <c:order val="1"/>
          <c:tx>
            <c:strRef>
              <c:f>Sheet1!$B$10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0.6396380731812902</c:v>
                </c:pt>
                <c:pt idx="4">
                  <c:v>0.7073286951634665</c:v>
                </c:pt>
                <c:pt idx="5">
                  <c:v>1.161061058842396</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1.3557494289886547</c:v>
                </c:pt>
                <c:pt idx="23">
                  <c:v>0.0</c:v>
                </c:pt>
                <c:pt idx="24">
                  <c:v>1.098345183355109</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1639344262295082</c:v>
                </c:pt>
                <c:pt idx="4">
                  <c:v>0.015151515151515152</c:v>
                </c:pt>
                <c:pt idx="5">
                  <c:v>0.013513513513513514</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2040816326530612</c:v>
                </c:pt>
                <c:pt idx="23">
                  <c:v>0.0</c:v>
                </c:pt>
                <c:pt idx="24">
                  <c:v>0.022222222222222223</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096C-4121-9522-6AB7243CCAAE}"/>
            </c:ext>
          </c:extLst>
        </c:ser>
        <c:ser>
          <c:idx val="2"/>
          <c:order val="2"/>
          <c:tx>
            <c:strRef>
              <c:f>Sheet1!$B$13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0:$A$141</c:f>
              <c:numCache>
                <c:formatCode>General</c:formatCode>
                <c:ptCount val="2"/>
                <c:pt idx="0">
                  <c:v>0</c:v>
                </c:pt>
                <c:pt idx="1">
                  <c:v>4.020257138237632</c:v>
                </c:pt>
              </c:numCache>
            </c:numRef>
          </c:xVal>
          <c:yVal>
            <c:numRef>
              <c:f>Sheet1!$B$140:$B$141</c:f>
              <c:numCache>
                <c:formatCode>General</c:formatCode>
                <c:ptCount val="2"/>
                <c:pt idx="0">
                  <c:v>0.06704573659918152</c:v>
                </c:pt>
                <c:pt idx="1">
                  <c:v>0.06704573659918152</c:v>
                </c:pt>
              </c:numCache>
            </c:numRef>
          </c:yVal>
          <c:smooth val="0"/>
          <c:extLst>
            <c:ext xmlns:c16="http://schemas.microsoft.com/office/drawing/2014/chart" uri="{C3380CC4-5D6E-409C-BE32-E72D297353CC}">
              <c16:uniqueId val="{00000005-096C-4121-9522-6AB7243CCAAE}"/>
            </c:ext>
          </c:extLst>
        </c:ser>
        <c:ser>
          <c:idx val="3"/>
          <c:order val="3"/>
          <c:tx>
            <c:strRef>
              <c:f>Sheet1!$B$14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4:$A$145</c:f>
              <c:numCache>
                <c:formatCode>General</c:formatCode>
                <c:ptCount val="2"/>
                <c:pt idx="0">
                  <c:v>4.020257138237632</c:v>
                </c:pt>
                <c:pt idx="1">
                  <c:v>4.020257138237632</c:v>
                </c:pt>
              </c:numCache>
            </c:numRef>
          </c:xVal>
          <c:yVal>
            <c:numRef>
              <c:f>Sheet1!$B$144:$B$145</c:f>
              <c:numCache>
                <c:formatCode>General</c:formatCode>
                <c:ptCount val="2"/>
                <c:pt idx="0">
                  <c:v>0.067045736599181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8:$A$149</c:f>
              <c:numCache>
                <c:formatCode>General</c:formatCode>
                <c:ptCount val="2"/>
                <c:pt idx="0">
                  <c:v>0</c:v>
                </c:pt>
                <c:pt idx="1">
                  <c:v>0.4422673077804899</c:v>
                </c:pt>
              </c:numCache>
            </c:numRef>
          </c:xVal>
          <c:yVal>
            <c:numRef>
              <c:f>Sheet1!$B$148:$B$149</c:f>
              <c:numCache>
                <c:formatCode>General</c:formatCode>
                <c:ptCount val="2"/>
                <c:pt idx="0">
                  <c:v>0.007509745214663248</c:v>
                </c:pt>
                <c:pt idx="1">
                  <c:v>0.007509745214663248</c:v>
                </c:pt>
              </c:numCache>
            </c:numRef>
          </c:yVal>
          <c:smooth val="0"/>
          <c:extLst>
            <c:ext xmlns:c16="http://schemas.microsoft.com/office/drawing/2014/chart" uri="{C3380CC4-5D6E-409C-BE32-E72D297353CC}">
              <c16:uniqueId val="{0000000D-096C-4121-9522-6AB7243CCAAE}"/>
            </c:ext>
          </c:extLst>
        </c:ser>
        <c:ser>
          <c:idx val="5"/>
          <c:order val="5"/>
          <c:tx>
            <c:strRef>
              <c:f>Sheet1!$B$15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2:$A$153</c:f>
              <c:numCache>
                <c:formatCode>General</c:formatCode>
                <c:ptCount val="2"/>
                <c:pt idx="0">
                  <c:v>0.4422673077804899</c:v>
                </c:pt>
                <c:pt idx="1">
                  <c:v>0.4422673077804899</c:v>
                </c:pt>
              </c:numCache>
            </c:numRef>
          </c:xVal>
          <c:yVal>
            <c:numRef>
              <c:f>Sheet1!$B$152:$B$153</c:f>
              <c:numCache>
                <c:formatCode>General</c:formatCode>
                <c:ptCount val="2"/>
                <c:pt idx="0">
                  <c:v>0.00750974521466324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6:$A$157</c:f>
              <c:numCache>
                <c:formatCode>General</c:formatCode>
                <c:ptCount val="2"/>
                <c:pt idx="0">
                  <c:v>0</c:v>
                </c:pt>
                <c:pt idx="1">
                  <c:v>-0.009052832902957364</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15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0:$A$161</c:f>
              <c:numCache>
                <c:formatCode>General</c:formatCode>
                <c:ptCount val="2"/>
                <c:pt idx="0">
                  <c:v>-0.009052832902957364</c:v>
                </c:pt>
                <c:pt idx="1">
                  <c:v>-0.009052832902957364</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4:$A$200</c:f>
              <c:numCache>
                <c:formatCode>General</c:formatCode>
                <c:ptCount val="37"/>
                <c:pt idx="0">
                  <c:v>0.0</c:v>
                </c:pt>
                <c:pt idx="1">
                  <c:v>0.0</c:v>
                </c:pt>
                <c:pt idx="2">
                  <c:v>0.0</c:v>
                </c:pt>
                <c:pt idx="3">
                  <c:v>0.6396380731812902</c:v>
                </c:pt>
                <c:pt idx="4">
                  <c:v>0.7073286951634665</c:v>
                </c:pt>
                <c:pt idx="5">
                  <c:v>1.161061058842396</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1.3557494289886547</c:v>
                </c:pt>
                <c:pt idx="23">
                  <c:v>0.0</c:v>
                </c:pt>
                <c:pt idx="24">
                  <c:v>1.098345183355109</c:v>
                </c:pt>
                <c:pt idx="25">
                  <c:v>0.0</c:v>
                </c:pt>
                <c:pt idx="26">
                  <c:v>0.0</c:v>
                </c:pt>
                <c:pt idx="27">
                  <c:v>0.0</c:v>
                </c:pt>
                <c:pt idx="28">
                  <c:v>0.0</c:v>
                </c:pt>
                <c:pt idx="29">
                  <c:v>0.0</c:v>
                </c:pt>
                <c:pt idx="30">
                  <c:v>0.0</c:v>
                </c:pt>
                <c:pt idx="31">
                  <c:v>0.0</c:v>
                </c:pt>
                <c:pt idx="32">
                  <c:v>0.0</c:v>
                </c:pt>
                <c:pt idx="33">
                  <c:v>0.0</c:v>
                </c:pt>
                <c:pt idx="34">
                  <c:v>0.4422673077804899</c:v>
                </c:pt>
                <c:pt idx="35">
                  <c:v>4.020257138237632</c:v>
                </c:pt>
                <c:pt idx="36">
                  <c:v>-0.009052832902957364</c:v>
                </c:pt>
              </c:numCache>
            </c:numRef>
          </c:xVal>
          <c:yVal>
            <c:numRef>
              <c:f>Sheet1!$B$164:$B$200</c:f>
              <c:numCache>
                <c:formatCode>General</c:formatCode>
                <c:ptCount val="37"/>
                <c:pt idx="0">
                  <c:v>0.0001506346879826351</c:v>
                </c:pt>
                <c:pt idx="1">
                  <c:v>0.0001506346879826351</c:v>
                </c:pt>
                <c:pt idx="2">
                  <c:v>0.0001506346879826351</c:v>
                </c:pt>
                <c:pt idx="3">
                  <c:v>0.010793897698393616</c:v>
                </c:pt>
                <c:pt idx="4">
                  <c:v>0.01192023636286898</c:v>
                </c:pt>
                <c:pt idx="5">
                  <c:v>0.01947011978202182</c:v>
                </c:pt>
                <c:pt idx="6">
                  <c:v>0.0001506346879826351</c:v>
                </c:pt>
                <c:pt idx="7">
                  <c:v>0.0001506346879826351</c:v>
                </c:pt>
                <c:pt idx="8">
                  <c:v>0.0001506346879826351</c:v>
                </c:pt>
                <c:pt idx="9">
                  <c:v>0.0001506346879826351</c:v>
                </c:pt>
                <c:pt idx="10">
                  <c:v>0.0001506346879826351</c:v>
                </c:pt>
                <c:pt idx="11">
                  <c:v>0.0001506346879826351</c:v>
                </c:pt>
                <c:pt idx="12">
                  <c:v>0.0001506346879826351</c:v>
                </c:pt>
                <c:pt idx="13">
                  <c:v>0.0001506346879826351</c:v>
                </c:pt>
                <c:pt idx="14">
                  <c:v>0.0001506346879826351</c:v>
                </c:pt>
                <c:pt idx="15">
                  <c:v>0.0001506346879826351</c:v>
                </c:pt>
                <c:pt idx="16">
                  <c:v>0.0001506346879826351</c:v>
                </c:pt>
                <c:pt idx="17">
                  <c:v>0.0001506346879826351</c:v>
                </c:pt>
                <c:pt idx="18">
                  <c:v>0.0001506346879826351</c:v>
                </c:pt>
                <c:pt idx="19">
                  <c:v>0.0001506346879826351</c:v>
                </c:pt>
                <c:pt idx="20">
                  <c:v>0.0001506346879826351</c:v>
                </c:pt>
                <c:pt idx="21">
                  <c:v>0.0001506346879826351</c:v>
                </c:pt>
                <c:pt idx="22">
                  <c:v>0.022709638527722852</c:v>
                </c:pt>
                <c:pt idx="23">
                  <c:v>0.0001506346879826351</c:v>
                </c:pt>
                <c:pt idx="24">
                  <c:v>0.01842655845300413</c:v>
                </c:pt>
                <c:pt idx="25">
                  <c:v>0.0001506346879826351</c:v>
                </c:pt>
                <c:pt idx="26">
                  <c:v>0.0001506346879826351</c:v>
                </c:pt>
                <c:pt idx="27">
                  <c:v>0.0001506346879826351</c:v>
                </c:pt>
                <c:pt idx="28">
                  <c:v>0.0001506346879826351</c:v>
                </c:pt>
                <c:pt idx="29">
                  <c:v>0.0001506346879826351</c:v>
                </c:pt>
                <c:pt idx="30">
                  <c:v>0.0001506346879826351</c:v>
                </c:pt>
                <c:pt idx="31">
                  <c:v>0.0001506346879826351</c:v>
                </c:pt>
                <c:pt idx="32">
                  <c:v>0.0001506346879826351</c:v>
                </c:pt>
                <c:pt idx="33">
                  <c:v>0.0001506346879826351</c:v>
                </c:pt>
                <c:pt idx="34">
                  <c:v>0.007509745214663248</c:v>
                </c:pt>
                <c:pt idx="35">
                  <c:v>0.06704573659918152</c:v>
                </c:pt>
                <c:pt idx="36">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3333333333333333"/>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2.0793</c:v>
                </c:pt>
                <c:pt idx="1">
                  <c:v>898.0923</c:v>
                </c:pt>
                <c:pt idx="2">
                  <c:v>933.1302</c:v>
                </c:pt>
                <c:pt idx="3">
                  <c:v>950.5945</c:v>
                </c:pt>
                <c:pt idx="4">
                  <c:v>945.88</c:v>
                </c:pt>
                <c:pt idx="5">
                  <c:v>940.4877</c:v>
                </c:pt>
                <c:pt idx="6">
                  <c:v>912.8367</c:v>
                </c:pt>
                <c:pt idx="7">
                  <c:v>928.7985</c:v>
                </c:pt>
                <c:pt idx="8">
                  <c:v>926.0689</c:v>
                </c:pt>
                <c:pt idx="9">
                  <c:v>895.5168</c:v>
                </c:pt>
                <c:pt idx="10">
                  <c:v>877.4496</c:v>
                </c:pt>
                <c:pt idx="11">
                  <c:v>892.3339</c:v>
                </c:pt>
                <c:pt idx="12">
                  <c:v>883.8966</c:v>
                </c:pt>
                <c:pt idx="13">
                  <c:v>867.6505</c:v>
                </c:pt>
                <c:pt idx="14">
                  <c:v>916.5349</c:v>
                </c:pt>
                <c:pt idx="15">
                  <c:v>927.2595</c:v>
                </c:pt>
                <c:pt idx="16">
                  <c:v>935.8397</c:v>
                </c:pt>
                <c:pt idx="17">
                  <c:v>952.7421</c:v>
                </c:pt>
                <c:pt idx="18">
                  <c:v>983.7015</c:v>
                </c:pt>
                <c:pt idx="19">
                  <c:v>1011.8266</c:v>
                </c:pt>
                <c:pt idx="20">
                  <c:v>1022.6555</c:v>
                </c:pt>
                <c:pt idx="21">
                  <c:v>1032.3699</c:v>
                </c:pt>
                <c:pt idx="22">
                  <c:v>1019.3834</c:v>
                </c:pt>
                <c:pt idx="23">
                  <c:v>1006.6252</c:v>
                </c:pt>
                <c:pt idx="24">
                  <c:v>999.2128</c:v>
                </c:pt>
                <c:pt idx="25">
                  <c:v>992.7928</c:v>
                </c:pt>
                <c:pt idx="26">
                  <c:v>996.5822</c:v>
                </c:pt>
                <c:pt idx="27">
                  <c:v>1017.7953</c:v>
                </c:pt>
                <c:pt idx="28">
                  <c:v>1017.9128</c:v>
                </c:pt>
                <c:pt idx="29">
                  <c:v>949.6234</c:v>
                </c:pt>
                <c:pt idx="30">
                  <c:v>975.2913</c:v>
                </c:pt>
                <c:pt idx="31">
                  <c:v>984.7113</c:v>
                </c:pt>
                <c:pt idx="32">
                  <c:v>965.6392</c:v>
                </c:pt>
                <c:pt idx="33">
                  <c:v>913.9941</c:v>
                </c:pt>
                <c:pt idx="34">
                  <c:v>975.6922</c:v>
                </c:pt>
                <c:pt idx="35">
                  <c:v>1029.8247</c:v>
                </c:pt>
                <c:pt idx="36">
                  <c:v>1079.3761</c:v>
                </c:pt>
                <c:pt idx="37">
                  <c:v>1095.4522</c:v>
                </c:pt>
                <c:pt idx="38">
                  <c:v>1123.0701</c:v>
                </c:pt>
                <c:pt idx="39">
                  <c:v>1140.4306</c:v>
                </c:pt>
                <c:pt idx="40">
                  <c:v>1168.4861</c:v>
                </c:pt>
                <c:pt idx="41">
                  <c:v>1173.1724</c:v>
                </c:pt>
                <c:pt idx="42">
                  <c:v>1196.5161</c:v>
                </c:pt>
                <c:pt idx="43">
                  <c:v>1194.1835</c:v>
                </c:pt>
                <c:pt idx="44">
                  <c:v>1077.0994</c:v>
                </c:pt>
                <c:pt idx="45">
                  <c:v>1030.341</c:v>
                </c:pt>
                <c:pt idx="46">
                  <c:v>1016.2726</c:v>
                </c:pt>
                <c:pt idx="47">
                  <c:v>996.3513</c:v>
                </c:pt>
                <c:pt idx="48">
                  <c:v>991.7153</c:v>
                </c:pt>
                <c:pt idx="49">
                  <c:v>960.2496</c:v>
                </c:pt>
                <c:pt idx="50">
                  <c:v>969.312</c:v>
                </c:pt>
                <c:pt idx="51">
                  <c:v>991.035</c:v>
                </c:pt>
                <c:pt idx="52">
                  <c:v>1003.8741</c:v>
                </c:pt>
                <c:pt idx="53">
                  <c:v>1076.7501</c:v>
                </c:pt>
                <c:pt idx="54">
                  <c:v>1090.5007</c:v>
                </c:pt>
                <c:pt idx="55">
                  <c:v>1091.1888</c:v>
                </c:pt>
                <c:pt idx="56">
                  <c:v>1108.0917</c:v>
                </c:pt>
                <c:pt idx="57">
                  <c:v>1087.2018</c:v>
                </c:pt>
                <c:pt idx="58">
                  <c:v>1071.9741</c:v>
                </c:pt>
                <c:pt idx="59">
                  <c:v>1078.1859</c:v>
                </c:pt>
                <c:pt idx="60">
                  <c:v>1098.0564</c:v>
                </c:pt>
                <c:pt idx="61">
                  <c:v>1082.2921</c:v>
                </c:pt>
                <c:pt idx="62">
                  <c:v>1035.29</c:v>
                </c:pt>
                <c:pt idx="63">
                  <c:v>1060.3345</c:v>
                </c:pt>
                <c:pt idx="64">
                  <c:v>1050.5276</c:v>
                </c:pt>
                <c:pt idx="65">
                  <c:v>1036.2601</c:v>
                </c:pt>
                <c:pt idx="66">
                  <c:v>1033.8859</c:v>
                </c:pt>
                <c:pt idx="67">
                  <c:v>1031.3079</c:v>
                </c:pt>
                <c:pt idx="68">
                  <c:v>1021.1138</c:v>
                </c:pt>
                <c:pt idx="69">
                  <c:v>1031.6969</c:v>
                </c:pt>
                <c:pt idx="70">
                  <c:v>1030.9094</c:v>
                </c:pt>
                <c:pt idx="71">
                  <c:v>1058.6699</c:v>
                </c:pt>
                <c:pt idx="72">
                  <c:v>1071.7634</c:v>
                </c:pt>
                <c:pt idx="73">
                  <c:v>1087.9704</c:v>
                </c:pt>
                <c:pt idx="74">
                  <c:v>1071.8278</c:v>
                </c:pt>
                <c:pt idx="75">
                  <c:v>1067.6917</c:v>
                </c:pt>
                <c:pt idx="76">
                  <c:v>1064.3747</c:v>
                </c:pt>
                <c:pt idx="77">
                  <c:v>1049.3514</c:v>
                </c:pt>
                <c:pt idx="78">
                  <c:v>1110.6592</c:v>
                </c:pt>
                <c:pt idx="79">
                  <c:v>811.7668</c:v>
                </c:pt>
                <c:pt idx="80">
                  <c:v>820.9709</c:v>
                </c:pt>
                <c:pt idx="81">
                  <c:v>1003.2159</c:v>
                </c:pt>
                <c:pt idx="82">
                  <c:v>1006.7705</c:v>
                </c:pt>
                <c:pt idx="83">
                  <c:v>1011.4731</c:v>
                </c:pt>
                <c:pt idx="84">
                  <c:v>1022.8312</c:v>
                </c:pt>
                <c:pt idx="85">
                  <c:v>1047.4643</c:v>
                </c:pt>
                <c:pt idx="86">
                  <c:v>1143.1328</c:v>
                </c:pt>
                <c:pt idx="87">
                  <c:v>1172.5488</c:v>
                </c:pt>
                <c:pt idx="88">
                  <c:v>1166.9299</c:v>
                </c:pt>
                <c:pt idx="89">
                  <c:v>1117.5828</c:v>
                </c:pt>
                <c:pt idx="90">
                  <c:v>1153.5831</c:v>
                </c:pt>
                <c:pt idx="91">
                  <c:v>1176.1614</c:v>
                </c:pt>
                <c:pt idx="92">
                  <c:v>1169.5088</c:v>
                </c:pt>
                <c:pt idx="93">
                  <c:v>1198.366</c:v>
                </c:pt>
                <c:pt idx="94">
                  <c:v>1188.7466</c:v>
                </c:pt>
                <c:pt idx="95">
                  <c:v>1187.3917</c:v>
                </c:pt>
                <c:pt idx="96">
                  <c:v>1134.213</c:v>
                </c:pt>
                <c:pt idx="97">
                  <c:v>1150.1076</c:v>
                </c:pt>
                <c:pt idx="98">
                  <c:v>1132.3011</c:v>
                </c:pt>
                <c:pt idx="99">
                  <c:v>1088.5472</c:v>
                </c:pt>
                <c:pt idx="100">
                  <c:v>1080.571</c:v>
                </c:pt>
                <c:pt idx="101">
                  <c:v>1123.449</c:v>
                </c:pt>
                <c:pt idx="102">
                  <c:v>1158.3854</c:v>
                </c:pt>
                <c:pt idx="103">
                  <c:v>1029.2894</c:v>
                </c:pt>
                <c:pt idx="104">
                  <c:v>1098.1199</c:v>
                </c:pt>
              </c:numCache>
            </c:numRef>
          </c:xVal>
          <c:yVal>
            <c:numRef>
              <c:f>Sheet1!$B$2:$B$106</c:f>
              <c:numCache>
                <c:formatCode>General</c:formatCode>
                <c:ptCount val="105"/>
                <c:pt idx="0">
                  <c:v>0.22760837033584377</c:v>
                </c:pt>
                <c:pt idx="1">
                  <c:v>0.2325046891924022</c:v>
                </c:pt>
                <c:pt idx="2">
                  <c:v>0.21503914608665006</c:v>
                </c:pt>
                <c:pt idx="3">
                  <c:v>0.21465353931534992</c:v>
                </c:pt>
                <c:pt idx="4">
                  <c:v>0.20793685458459427</c:v>
                </c:pt>
                <c:pt idx="5">
                  <c:v>0.19700700284590542</c:v>
                </c:pt>
                <c:pt idx="6">
                  <c:v>0.21223065621939274</c:v>
                </c:pt>
                <c:pt idx="7">
                  <c:v>0.2064143863499593</c:v>
                </c:pt>
                <c:pt idx="8">
                  <c:v>0.21617841896069484</c:v>
                </c:pt>
                <c:pt idx="9">
                  <c:v>0.2153190066059035</c:v>
                </c:pt>
                <c:pt idx="10">
                  <c:v>0.22748662238834064</c:v>
                </c:pt>
                <c:pt idx="11">
                  <c:v>0.2233351380617217</c:v>
                </c:pt>
                <c:pt idx="12">
                  <c:v>0.23061462494727178</c:v>
                </c:pt>
                <c:pt idx="13">
                  <c:v>0.23896447860407147</c:v>
                </c:pt>
                <c:pt idx="14">
                  <c:v>0.2310797703620206</c:v>
                </c:pt>
                <c:pt idx="15">
                  <c:v>0.22597676874340022</c:v>
                </c:pt>
                <c:pt idx="16">
                  <c:v>0.2103988603988604</c:v>
                </c:pt>
                <c:pt idx="17">
                  <c:v>0.2051552431165788</c:v>
                </c:pt>
                <c:pt idx="18">
                  <c:v>0.1855248858943708</c:v>
                </c:pt>
                <c:pt idx="19">
                  <c:v>0.17197875166002657</c:v>
                </c:pt>
                <c:pt idx="20">
                  <c:v>0.18437369082530372</c:v>
                </c:pt>
                <c:pt idx="21">
                  <c:v>0.1804080344936376</c:v>
                </c:pt>
                <c:pt idx="22">
                  <c:v>0.17943632567849688</c:v>
                </c:pt>
                <c:pt idx="23">
                  <c:v>0.179156462585034</c:v>
                </c:pt>
                <c:pt idx="24">
                  <c:v>0.18617021276595744</c:v>
                </c:pt>
                <c:pt idx="25">
                  <c:v>0.18273523102788566</c:v>
                </c:pt>
                <c:pt idx="26">
                  <c:v>0.18625585103646933</c:v>
                </c:pt>
                <c:pt idx="27">
                  <c:v>0.18023079259034316</c:v>
                </c:pt>
                <c:pt idx="28">
                  <c:v>0.17629820051413883</c:v>
                </c:pt>
                <c:pt idx="29">
                  <c:v>0.18736804276537442</c:v>
                </c:pt>
                <c:pt idx="30">
                  <c:v>0.17649434571890146</c:v>
                </c:pt>
                <c:pt idx="31">
                  <c:v>0.16942195231668916</c:v>
                </c:pt>
                <c:pt idx="32">
                  <c:v>0.1783959816746702</c:v>
                </c:pt>
                <c:pt idx="33">
                  <c:v>0.19256418079588544</c:v>
                </c:pt>
                <c:pt idx="34">
                  <c:v>0.1910329127599645</c:v>
                </c:pt>
                <c:pt idx="35">
                  <c:v>0.19439806453811292</c:v>
                </c:pt>
                <c:pt idx="36">
                  <c:v>0.1634170522141441</c:v>
                </c:pt>
                <c:pt idx="37">
                  <c:v>0.14788562611504893</c:v>
                </c:pt>
                <c:pt idx="38">
                  <c:v>0.1440997390547985</c:v>
                </c:pt>
                <c:pt idx="39">
                  <c:v>0.14272555140473875</c:v>
                </c:pt>
                <c:pt idx="40">
                  <c:v>0.14606043022340118</c:v>
                </c:pt>
                <c:pt idx="41">
                  <c:v>0.1362635345935034</c:v>
                </c:pt>
                <c:pt idx="42">
                  <c:v>0.14438356164383562</c:v>
                </c:pt>
                <c:pt idx="43">
                  <c:v>0.15096437880104258</c:v>
                </c:pt>
                <c:pt idx="44">
                  <c:v>0.16644399128050066</c:v>
                </c:pt>
                <c:pt idx="45">
                  <c:v>0.18401017919626764</c:v>
                </c:pt>
                <c:pt idx="46">
                  <c:v>0.191180093619118</c:v>
                </c:pt>
                <c:pt idx="47">
                  <c:v>0.19401514039465684</c:v>
                </c:pt>
                <c:pt idx="48">
                  <c:v>0.20776936606255259</c:v>
                </c:pt>
                <c:pt idx="49">
                  <c:v>0.24055718692688513</c:v>
                </c:pt>
                <c:pt idx="50">
                  <c:v>0.20537331455021132</c:v>
                </c:pt>
                <c:pt idx="51">
                  <c:v>0.18708201775103797</c:v>
                </c:pt>
                <c:pt idx="52">
                  <c:v>0.20016477944904512</c:v>
                </c:pt>
                <c:pt idx="53">
                  <c:v>0.19037838691839798</c:v>
                </c:pt>
                <c:pt idx="54">
                  <c:v>0.18361277154104097</c:v>
                </c:pt>
                <c:pt idx="55">
                  <c:v>0.180431336184978</c:v>
                </c:pt>
                <c:pt idx="56">
                  <c:v>0.1921937356391341</c:v>
                </c:pt>
                <c:pt idx="57">
                  <c:v>0.1869673664518811</c:v>
                </c:pt>
                <c:pt idx="58">
                  <c:v>0.20230027679679297</c:v>
                </c:pt>
                <c:pt idx="59">
                  <c:v>0.20680500793289244</c:v>
                </c:pt>
                <c:pt idx="60">
                  <c:v>0.21535680468279245</c:v>
                </c:pt>
                <c:pt idx="61">
                  <c:v>0.21254020047418953</c:v>
                </c:pt>
                <c:pt idx="62">
                  <c:v>0.21977724058468698</c:v>
                </c:pt>
                <c:pt idx="63">
                  <c:v>0.23405083253118153</c:v>
                </c:pt>
                <c:pt idx="64">
                  <c:v>0.22663326653306612</c:v>
                </c:pt>
                <c:pt idx="65">
                  <c:v>0.21906008068912877</c:v>
                </c:pt>
                <c:pt idx="66">
                  <c:v>0.21964273616223662</c:v>
                </c:pt>
                <c:pt idx="67">
                  <c:v>0.2167344705350558</c:v>
                </c:pt>
                <c:pt idx="68">
                  <c:v>0.19713190401817407</c:v>
                </c:pt>
                <c:pt idx="69">
                  <c:v>0.18215920174056568</c:v>
                </c:pt>
                <c:pt idx="70">
                  <c:v>0.17000035910511008</c:v>
                </c:pt>
                <c:pt idx="71">
                  <c:v>0.17906644531099186</c:v>
                </c:pt>
                <c:pt idx="72">
                  <c:v>0.18262489044697633</c:v>
                </c:pt>
                <c:pt idx="73">
                  <c:v>0.18369408930167488</c:v>
                </c:pt>
                <c:pt idx="74">
                  <c:v>0.17798172038966412</c:v>
                </c:pt>
                <c:pt idx="75">
                  <c:v>0.17587279337684525</c:v>
                </c:pt>
                <c:pt idx="76">
                  <c:v>0.17318383555244102</c:v>
                </c:pt>
                <c:pt idx="77">
                  <c:v>0.16938785339305495</c:v>
                </c:pt>
                <c:pt idx="78">
                  <c:v>0.16006449879064769</c:v>
                </c:pt>
                <c:pt idx="79">
                  <c:v>0.20537501191270371</c:v>
                </c:pt>
                <c:pt idx="80">
                  <c:v>0.1914609739826551</c:v>
                </c:pt>
                <c:pt idx="81">
                  <c:v>0.16176890156918688</c:v>
                </c:pt>
                <c:pt idx="82">
                  <c:v>0.1631413612565445</c:v>
                </c:pt>
                <c:pt idx="83">
                  <c:v>0.1470696419813634</c:v>
                </c:pt>
                <c:pt idx="84">
                  <c:v>0.14775611265861963</c:v>
                </c:pt>
                <c:pt idx="85">
                  <c:v>0.14966431963320778</c:v>
                </c:pt>
                <c:pt idx="86">
                  <c:v>0.1466328451026921</c:v>
                </c:pt>
                <c:pt idx="87">
                  <c:v>0.1682031189982331</c:v>
                </c:pt>
                <c:pt idx="88">
                  <c:v>0.15206499002772778</c:v>
                </c:pt>
                <c:pt idx="89">
                  <c:v>0.14356117420184272</c:v>
                </c:pt>
                <c:pt idx="90">
                  <c:v>0.13762376237623763</c:v>
                </c:pt>
                <c:pt idx="91">
                  <c:v>0.14078597981943708</c:v>
                </c:pt>
                <c:pt idx="92">
                  <c:v>0.14561866643958102</c:v>
                </c:pt>
                <c:pt idx="93">
                  <c:v>0.1377233240452385</c:v>
                </c:pt>
                <c:pt idx="94">
                  <c:v>0.13904559326736335</c:v>
                </c:pt>
                <c:pt idx="95">
                  <c:v>0.14864864864864866</c:v>
                </c:pt>
                <c:pt idx="96">
                  <c:v>0.145429833503228</c:v>
                </c:pt>
                <c:pt idx="97">
                  <c:v>0.15325840794124496</c:v>
                </c:pt>
                <c:pt idx="98">
                  <c:v>0.1700043933513949</c:v>
                </c:pt>
                <c:pt idx="99">
                  <c:v>0.17778411250475104</c:v>
                </c:pt>
                <c:pt idx="100">
                  <c:v>0.20069152307958277</c:v>
                </c:pt>
                <c:pt idx="101">
                  <c:v>0.18210413864050012</c:v>
                </c:pt>
                <c:pt idx="102">
                  <c:v>0.1514782002787179</c:v>
                </c:pt>
                <c:pt idx="103">
                  <c:v>0.17233793587643342</c:v>
                </c:pt>
                <c:pt idx="104">
                  <c:v>0.176800976800976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8.7574</c:v>
                </c:pt>
                <c:pt idx="1">
                  <c:v>1177.625</c:v>
                </c:pt>
                <c:pt idx="2">
                  <c:v>1172.3587</c:v>
                </c:pt>
                <c:pt idx="3">
                  <c:v>1185.1032</c:v>
                </c:pt>
                <c:pt idx="4">
                  <c:v>1176.6827</c:v>
                </c:pt>
                <c:pt idx="5">
                  <c:v>1196.7495</c:v>
                </c:pt>
                <c:pt idx="6">
                  <c:v>1124.6922</c:v>
                </c:pt>
                <c:pt idx="7">
                  <c:v>1148.3225</c:v>
                </c:pt>
                <c:pt idx="8">
                  <c:v>1215.8</c:v>
                </c:pt>
                <c:pt idx="9">
                  <c:v>1157.5194</c:v>
                </c:pt>
                <c:pt idx="10">
                  <c:v>1170.3049</c:v>
                </c:pt>
                <c:pt idx="11">
                  <c:v>1107.5445</c:v>
                </c:pt>
                <c:pt idx="12">
                  <c:v>1119.2117</c:v>
                </c:pt>
                <c:pt idx="13">
                  <c:v>1135.6077</c:v>
                </c:pt>
                <c:pt idx="14">
                  <c:v>1167.3303</c:v>
                </c:pt>
                <c:pt idx="15">
                  <c:v>1172.847</c:v>
                </c:pt>
                <c:pt idx="16">
                  <c:v>1208.7712</c:v>
                </c:pt>
                <c:pt idx="17">
                  <c:v>1169.8965</c:v>
                </c:pt>
                <c:pt idx="18">
                  <c:v>1144.1</c:v>
                </c:pt>
                <c:pt idx="19">
                  <c:v>1206.3775</c:v>
                </c:pt>
                <c:pt idx="20">
                  <c:v>1172.4313</c:v>
                </c:pt>
                <c:pt idx="21">
                  <c:v>1176.9614</c:v>
                </c:pt>
                <c:pt idx="22">
                  <c:v>1163.8238</c:v>
                </c:pt>
                <c:pt idx="23">
                  <c:v>1128.0798</c:v>
                </c:pt>
                <c:pt idx="24">
                  <c:v>1133.5848</c:v>
                </c:pt>
                <c:pt idx="25">
                  <c:v>1094.192</c:v>
                </c:pt>
                <c:pt idx="26">
                  <c:v>1155.4398</c:v>
                </c:pt>
                <c:pt idx="27">
                  <c:v>1199.0302</c:v>
                </c:pt>
                <c:pt idx="28">
                  <c:v>1215.877</c:v>
                </c:pt>
                <c:pt idx="29">
                  <c:v>1220.687</c:v>
                </c:pt>
                <c:pt idx="30">
                  <c:v>1218.6003</c:v>
                </c:pt>
                <c:pt idx="31">
                  <c:v>1137.6262</c:v>
                </c:pt>
                <c:pt idx="32">
                  <c:v>1162.0061</c:v>
                </c:pt>
                <c:pt idx="33">
                  <c:v>1208.5462</c:v>
                </c:pt>
                <c:pt idx="34">
                  <c:v>1257.7587</c:v>
                </c:pt>
                <c:pt idx="35">
                  <c:v>1244.7087</c:v>
                </c:pt>
                <c:pt idx="36">
                  <c:v>1226.9634</c:v>
                </c:pt>
                <c:pt idx="37">
                  <c:v>1277.8377</c:v>
                </c:pt>
                <c:pt idx="38">
                  <c:v>1252.4698</c:v>
                </c:pt>
                <c:pt idx="39">
                  <c:v>1245.7003</c:v>
                </c:pt>
                <c:pt idx="40">
                  <c:v>1264.5686</c:v>
                </c:pt>
                <c:pt idx="41">
                  <c:v>1309.5568</c:v>
                </c:pt>
                <c:pt idx="42">
                  <c:v>1291.1142</c:v>
                </c:pt>
                <c:pt idx="43">
                  <c:v>1290.0166</c:v>
                </c:pt>
                <c:pt idx="44">
                  <c:v>1219.665</c:v>
                </c:pt>
                <c:pt idx="45">
                  <c:v>1179.9205</c:v>
                </c:pt>
                <c:pt idx="46">
                  <c:v>1154.8166</c:v>
                </c:pt>
                <c:pt idx="47">
                  <c:v>1148.3691</c:v>
                </c:pt>
                <c:pt idx="48">
                  <c:v>1118.9358</c:v>
                </c:pt>
                <c:pt idx="49">
                  <c:v>1130.8266</c:v>
                </c:pt>
                <c:pt idx="50">
                  <c:v>1043.1016</c:v>
                </c:pt>
                <c:pt idx="51">
                  <c:v>1018.2941</c:v>
                </c:pt>
              </c:numCache>
            </c:numRef>
          </c:xVal>
          <c:yVal>
            <c:numRef>
              <c:f>Sheet1!$B$109:$B$160</c:f>
              <c:numCache>
                <c:formatCode>General</c:formatCode>
                <c:ptCount val="52"/>
                <c:pt idx="0">
                  <c:v>0.1756422924901186</c:v>
                </c:pt>
                <c:pt idx="1">
                  <c:v>0.17338159689434476</c:v>
                </c:pt>
                <c:pt idx="2">
                  <c:v>0.18069202200178647</c:v>
                </c:pt>
                <c:pt idx="3">
                  <c:v>0.1907962771458118</c:v>
                </c:pt>
                <c:pt idx="4">
                  <c:v>0.1789468549547572</c:v>
                </c:pt>
                <c:pt idx="5">
                  <c:v>0.17145237161897295</c:v>
                </c:pt>
                <c:pt idx="6">
                  <c:v>0.17660455486542442</c:v>
                </c:pt>
                <c:pt idx="7">
                  <c:v>0.1757968597589755</c:v>
                </c:pt>
                <c:pt idx="8">
                  <c:v>0.1740185341196293</c:v>
                </c:pt>
                <c:pt idx="9">
                  <c:v>0.18755431409062695</c:v>
                </c:pt>
                <c:pt idx="10">
                  <c:v>0.1889908801948727</c:v>
                </c:pt>
                <c:pt idx="11">
                  <c:v>0.19810960687905524</c:v>
                </c:pt>
                <c:pt idx="12">
                  <c:v>0.19908599707115082</c:v>
                </c:pt>
                <c:pt idx="13">
                  <c:v>0.1935764346313959</c:v>
                </c:pt>
                <c:pt idx="14">
                  <c:v>0.19270878721859114</c:v>
                </c:pt>
                <c:pt idx="15">
                  <c:v>0.18215705765407555</c:v>
                </c:pt>
                <c:pt idx="16">
                  <c:v>0.16933333333333334</c:v>
                </c:pt>
                <c:pt idx="17">
                  <c:v>0.15995926526609588</c:v>
                </c:pt>
                <c:pt idx="18">
                  <c:v>0.15850539009683903</c:v>
                </c:pt>
                <c:pt idx="19">
                  <c:v>0.16571620261657163</c:v>
                </c:pt>
                <c:pt idx="20">
                  <c:v>0.16150946908008004</c:v>
                </c:pt>
                <c:pt idx="21">
                  <c:v>0.15918625366358255</c:v>
                </c:pt>
                <c:pt idx="22">
                  <c:v>0.1599478369337189</c:v>
                </c:pt>
                <c:pt idx="23">
                  <c:v>0.16913998597803226</c:v>
                </c:pt>
                <c:pt idx="24">
                  <c:v>0.16763256242214158</c:v>
                </c:pt>
                <c:pt idx="25">
                  <c:v>0.1772223800056802</c:v>
                </c:pt>
                <c:pt idx="26">
                  <c:v>0.15735930735930737</c:v>
                </c:pt>
                <c:pt idx="27">
                  <c:v>0.14624699710741776</c:v>
                </c:pt>
                <c:pt idx="28">
                  <c:v>0.1447596217871887</c:v>
                </c:pt>
                <c:pt idx="29">
                  <c:v>0.14361219368960546</c:v>
                </c:pt>
                <c:pt idx="30">
                  <c:v>0.1505394283172061</c:v>
                </c:pt>
                <c:pt idx="31">
                  <c:v>0.1473225102980373</c:v>
                </c:pt>
                <c:pt idx="32">
                  <c:v>0.14749231258615206</c:v>
                </c:pt>
                <c:pt idx="33">
                  <c:v>0.17016471838469713</c:v>
                </c:pt>
                <c:pt idx="34">
                  <c:v>0.18908991039857187</c:v>
                </c:pt>
                <c:pt idx="35">
                  <c:v>0.1857666790291342</c:v>
                </c:pt>
                <c:pt idx="36">
                  <c:v>0.15440077947385514</c:v>
                </c:pt>
                <c:pt idx="37">
                  <c:v>0.14483357452966714</c:v>
                </c:pt>
                <c:pt idx="38">
                  <c:v>0.1463097713097713</c:v>
                </c:pt>
                <c:pt idx="39">
                  <c:v>0.16379760041731872</c:v>
                </c:pt>
                <c:pt idx="40">
                  <c:v>0.14710644400240552</c:v>
                </c:pt>
                <c:pt idx="41">
                  <c:v>0.1488095238095238</c:v>
                </c:pt>
                <c:pt idx="42">
                  <c:v>0.14745059770675775</c:v>
                </c:pt>
                <c:pt idx="43">
                  <c:v>0.14470626095040584</c:v>
                </c:pt>
                <c:pt idx="44">
                  <c:v>0.14358073488508272</c:v>
                </c:pt>
                <c:pt idx="45">
                  <c:v>0.16175077648302752</c:v>
                </c:pt>
                <c:pt idx="46">
                  <c:v>0.1573514269873538</c:v>
                </c:pt>
                <c:pt idx="47">
                  <c:v>0.15974718056760442</c:v>
                </c:pt>
                <c:pt idx="48">
                  <c:v>0.15152081775118426</c:v>
                </c:pt>
                <c:pt idx="49">
                  <c:v>0.16450183947743824</c:v>
                </c:pt>
                <c:pt idx="50">
                  <c:v>0.2032294470006077</c:v>
                </c:pt>
                <c:pt idx="51">
                  <c:v>0.1885073279752439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71.7260715720208</c:v>
                </c:pt>
              </c:numCache>
            </c:numRef>
          </c:xVal>
          <c:yVal>
            <c:numRef>
              <c:f>Sheet1!$B$163:$B$164</c:f>
              <c:numCache>
                <c:formatCode>General</c:formatCode>
                <c:ptCount val="2"/>
                <c:pt idx="0">
                  <c:v>0.21439700709897694</c:v>
                </c:pt>
                <c:pt idx="1">
                  <c:v>0.2143970070989769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71.7260715720208</c:v>
                </c:pt>
                <c:pt idx="1">
                  <c:v>871.7260715720208</c:v>
                </c:pt>
              </c:numCache>
            </c:numRef>
          </c:xVal>
          <c:yVal>
            <c:numRef>
              <c:f>Sheet1!$B$167:$B$168</c:f>
              <c:numCache>
                <c:formatCode>General</c:formatCode>
                <c:ptCount val="2"/>
                <c:pt idx="0">
                  <c:v>0.2143970070989769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9.1154785654794</c:v>
                </c:pt>
              </c:numCache>
            </c:numRef>
          </c:xVal>
          <c:yVal>
            <c:numRef>
              <c:f>Sheet1!$B$171:$B$172</c:f>
              <c:numCache>
                <c:formatCode>General</c:formatCode>
                <c:ptCount val="2"/>
                <c:pt idx="0">
                  <c:v>0.17818407629202085</c:v>
                </c:pt>
                <c:pt idx="1">
                  <c:v>0.1781840762920208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9.1154785654794</c:v>
                </c:pt>
                <c:pt idx="1">
                  <c:v>1109.1154785654794</c:v>
                </c:pt>
              </c:numCache>
            </c:numRef>
          </c:xVal>
          <c:yVal>
            <c:numRef>
              <c:f>Sheet1!$B$175:$B$176</c:f>
              <c:numCache>
                <c:formatCode>General</c:formatCode>
                <c:ptCount val="2"/>
                <c:pt idx="0">
                  <c:v>0.1781840762920208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27.28018667298</c:v>
                </c:pt>
              </c:numCache>
            </c:numRef>
          </c:xVal>
          <c:yVal>
            <c:numRef>
              <c:f>Sheet1!$B$179:$B$180</c:f>
              <c:numCache>
                <c:formatCode>General</c:formatCode>
                <c:ptCount val="2"/>
                <c:pt idx="0">
                  <c:v>0.16015845984722726</c:v>
                </c:pt>
                <c:pt idx="1">
                  <c:v>0.1601584598472272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27.28018667298</c:v>
                </c:pt>
                <c:pt idx="1">
                  <c:v>1227.28018667298</c:v>
                </c:pt>
              </c:numCache>
            </c:numRef>
          </c:xVal>
          <c:yVal>
            <c:numRef>
              <c:f>Sheet1!$B$183:$B$184</c:f>
              <c:numCache>
                <c:formatCode>General</c:formatCode>
                <c:ptCount val="2"/>
                <c:pt idx="0">
                  <c:v>0.1601584598472272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8.7574</c:v>
                </c:pt>
                <c:pt idx="1">
                  <c:v>1177.625</c:v>
                </c:pt>
                <c:pt idx="2">
                  <c:v>1172.3587</c:v>
                </c:pt>
                <c:pt idx="3">
                  <c:v>1185.1032</c:v>
                </c:pt>
                <c:pt idx="4">
                  <c:v>1176.6827</c:v>
                </c:pt>
                <c:pt idx="5">
                  <c:v>1196.7495</c:v>
                </c:pt>
                <c:pt idx="6">
                  <c:v>1124.6922</c:v>
                </c:pt>
                <c:pt idx="7">
                  <c:v>1148.3225</c:v>
                </c:pt>
                <c:pt idx="8">
                  <c:v>1215.8</c:v>
                </c:pt>
                <c:pt idx="9">
                  <c:v>1157.5194</c:v>
                </c:pt>
                <c:pt idx="10">
                  <c:v>1170.3049</c:v>
                </c:pt>
                <c:pt idx="11">
                  <c:v>1107.5445</c:v>
                </c:pt>
                <c:pt idx="12">
                  <c:v>1119.2117</c:v>
                </c:pt>
                <c:pt idx="13">
                  <c:v>1135.6077</c:v>
                </c:pt>
                <c:pt idx="14">
                  <c:v>1167.3303</c:v>
                </c:pt>
                <c:pt idx="15">
                  <c:v>1172.847</c:v>
                </c:pt>
                <c:pt idx="16">
                  <c:v>1208.7712</c:v>
                </c:pt>
                <c:pt idx="17">
                  <c:v>1169.8965</c:v>
                </c:pt>
                <c:pt idx="18">
                  <c:v>1144.1</c:v>
                </c:pt>
                <c:pt idx="19">
                  <c:v>1206.3775</c:v>
                </c:pt>
                <c:pt idx="20">
                  <c:v>1172.4313</c:v>
                </c:pt>
                <c:pt idx="21">
                  <c:v>1176.9614</c:v>
                </c:pt>
                <c:pt idx="22">
                  <c:v>1163.8238</c:v>
                </c:pt>
                <c:pt idx="23">
                  <c:v>1128.0798</c:v>
                </c:pt>
                <c:pt idx="24">
                  <c:v>1133.5848</c:v>
                </c:pt>
                <c:pt idx="25">
                  <c:v>1094.192</c:v>
                </c:pt>
                <c:pt idx="26">
                  <c:v>1155.4398</c:v>
                </c:pt>
                <c:pt idx="27">
                  <c:v>1199.0302</c:v>
                </c:pt>
                <c:pt idx="28">
                  <c:v>1215.877</c:v>
                </c:pt>
                <c:pt idx="29">
                  <c:v>1220.687</c:v>
                </c:pt>
                <c:pt idx="30">
                  <c:v>1218.6003</c:v>
                </c:pt>
                <c:pt idx="31">
                  <c:v>1137.6262</c:v>
                </c:pt>
                <c:pt idx="32">
                  <c:v>1162.0061</c:v>
                </c:pt>
                <c:pt idx="33">
                  <c:v>1208.5462</c:v>
                </c:pt>
                <c:pt idx="34">
                  <c:v>1257.7587</c:v>
                </c:pt>
                <c:pt idx="35">
                  <c:v>1244.7087</c:v>
                </c:pt>
                <c:pt idx="36">
                  <c:v>1226.9634</c:v>
                </c:pt>
                <c:pt idx="37">
                  <c:v>1277.8377</c:v>
                </c:pt>
                <c:pt idx="38">
                  <c:v>1252.4698</c:v>
                </c:pt>
                <c:pt idx="39">
                  <c:v>1245.7003</c:v>
                </c:pt>
                <c:pt idx="40">
                  <c:v>1264.5686</c:v>
                </c:pt>
                <c:pt idx="41">
                  <c:v>1309.5568</c:v>
                </c:pt>
                <c:pt idx="42">
                  <c:v>1291.1142</c:v>
                </c:pt>
                <c:pt idx="43">
                  <c:v>1290.0166</c:v>
                </c:pt>
                <c:pt idx="44">
                  <c:v>1219.665</c:v>
                </c:pt>
                <c:pt idx="45">
                  <c:v>1179.9205</c:v>
                </c:pt>
                <c:pt idx="46">
                  <c:v>1154.8166</c:v>
                </c:pt>
                <c:pt idx="47">
                  <c:v>1148.3691</c:v>
                </c:pt>
                <c:pt idx="48">
                  <c:v>1118.9358</c:v>
                </c:pt>
                <c:pt idx="49">
                  <c:v>1130.8266</c:v>
                </c:pt>
                <c:pt idx="50">
                  <c:v>1043.1016</c:v>
                </c:pt>
                <c:pt idx="51">
                  <c:v>1018.2941</c:v>
                </c:pt>
                <c:pt idx="52">
                  <c:v>1109.1154785654794</c:v>
                </c:pt>
                <c:pt idx="53">
                  <c:v>871.7260715720208</c:v>
                </c:pt>
                <c:pt idx="54">
                  <c:v>1227.28018667298</c:v>
                </c:pt>
              </c:numCache>
            </c:numRef>
          </c:xVal>
          <c:yVal>
            <c:numRef>
              <c:f>Sheet1!$B$187:$B$241</c:f>
              <c:numCache>
                <c:formatCode>General</c:formatCode>
                <c:ptCount val="55"/>
                <c:pt idx="0">
                  <c:v>0.16756044268464063</c:v>
                </c:pt>
                <c:pt idx="1">
                  <c:v>0.16773318637765186</c:v>
                </c:pt>
                <c:pt idx="2">
                  <c:v>0.1685365421799347</c:v>
                </c:pt>
                <c:pt idx="3">
                  <c:v>0.16659241290089752</c:v>
                </c:pt>
                <c:pt idx="4">
                  <c:v>0.1678769309749006</c:v>
                </c:pt>
                <c:pt idx="5">
                  <c:v>0.16481581022347194</c:v>
                </c:pt>
                <c:pt idx="6">
                  <c:v>0.17580790145485523</c:v>
                </c:pt>
                <c:pt idx="7">
                  <c:v>0.17220318113609562</c:v>
                </c:pt>
                <c:pt idx="8">
                  <c:v>0.1619097225126714</c:v>
                </c:pt>
                <c:pt idx="9">
                  <c:v>0.17080022593452815</c:v>
                </c:pt>
                <c:pt idx="10">
                  <c:v>0.16884984224767263</c:v>
                </c:pt>
                <c:pt idx="11">
                  <c:v>0.17842372362427306</c:v>
                </c:pt>
                <c:pt idx="12">
                  <c:v>0.17664393272432544</c:v>
                </c:pt>
                <c:pt idx="13">
                  <c:v>0.1741427797831278</c:v>
                </c:pt>
                <c:pt idx="14">
                  <c:v>0.16930360716221804</c:v>
                </c:pt>
                <c:pt idx="15">
                  <c:v>0.16846205370828388</c:v>
                </c:pt>
                <c:pt idx="16">
                  <c:v>0.1629819415778757</c:v>
                </c:pt>
                <c:pt idx="17">
                  <c:v>0.16891214225140436</c:v>
                </c:pt>
                <c:pt idx="18">
                  <c:v>0.17284730886811606</c:v>
                </c:pt>
                <c:pt idx="19">
                  <c:v>0.16334709221189284</c:v>
                </c:pt>
                <c:pt idx="20">
                  <c:v>0.16852546730170032</c:v>
                </c:pt>
                <c:pt idx="21">
                  <c:v>0.1678344162563893</c:v>
                </c:pt>
                <c:pt idx="22">
                  <c:v>0.16983851157721622</c:v>
                </c:pt>
                <c:pt idx="23">
                  <c:v>0.1752911348225302</c:v>
                </c:pt>
                <c:pt idx="24">
                  <c:v>0.1744513661630222</c:v>
                </c:pt>
                <c:pt idx="25">
                  <c:v>0.18046060119485988</c:v>
                </c:pt>
                <c:pt idx="26">
                  <c:v>0.17111746170279565</c:v>
                </c:pt>
                <c:pt idx="27">
                  <c:v>0.1644678973475882</c:v>
                </c:pt>
                <c:pt idx="28">
                  <c:v>0.16189797642969553</c:v>
                </c:pt>
                <c:pt idx="29">
                  <c:v>0.16116422761003463</c:v>
                </c:pt>
                <c:pt idx="30">
                  <c:v>0.16148254645868043</c:v>
                </c:pt>
                <c:pt idx="31">
                  <c:v>0.1738348646079749</c:v>
                </c:pt>
                <c:pt idx="32">
                  <c:v>0.17011579540871258</c:v>
                </c:pt>
                <c:pt idx="33">
                  <c:v>0.16301626454761037</c:v>
                </c:pt>
                <c:pt idx="34">
                  <c:v>0.15550906833397968</c:v>
                </c:pt>
                <c:pt idx="35">
                  <c:v>0.15749980057858992</c:v>
                </c:pt>
                <c:pt idx="36">
                  <c:v>0.16020678455562298</c:v>
                </c:pt>
                <c:pt idx="37">
                  <c:v>0.1524460865148587</c:v>
                </c:pt>
                <c:pt idx="38">
                  <c:v>0.15631587168788916</c:v>
                </c:pt>
                <c:pt idx="39">
                  <c:v>0.15734853543730595</c:v>
                </c:pt>
                <c:pt idx="40">
                  <c:v>0.15447024170466386</c:v>
                </c:pt>
                <c:pt idx="41">
                  <c:v>0.14760744780681148</c:v>
                </c:pt>
                <c:pt idx="42">
                  <c:v>0.1504208024807156</c:v>
                </c:pt>
                <c:pt idx="43">
                  <c:v>0.1505882375544079</c:v>
                </c:pt>
                <c:pt idx="44">
                  <c:v>0.16132013016589603</c:v>
                </c:pt>
                <c:pt idx="45">
                  <c:v>0.16738301581309228</c:v>
                </c:pt>
                <c:pt idx="46">
                  <c:v>0.17121252870163406</c:v>
                </c:pt>
                <c:pt idx="47">
                  <c:v>0.17219607246769725</c:v>
                </c:pt>
                <c:pt idx="48">
                  <c:v>0.17668602031254674</c:v>
                </c:pt>
                <c:pt idx="49">
                  <c:v>0.17487212000800947</c:v>
                </c:pt>
                <c:pt idx="50">
                  <c:v>0.18825426454122265</c:v>
                </c:pt>
                <c:pt idx="51">
                  <c:v>0.192038562637634</c:v>
                </c:pt>
                <c:pt idx="52">
                  <c:v>0.17818407629202085</c:v>
                </c:pt>
                <c:pt idx="53">
                  <c:v>0.21439700709897694</c:v>
                </c:pt>
                <c:pt idx="54">
                  <c:v>0.1601584598472272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1.0"/>
          <c:min val="64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866862431226215"/>
          <c:min val="0.1090108276748027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1244.25</c:v>
                </c:pt>
                <c:pt idx="1">
                  <c:v>1116.4</c:v>
                </c:pt>
                <c:pt idx="2">
                  <c:v>1214.8333</c:v>
                </c:pt>
                <c:pt idx="3">
                  <c:v>1106.5</c:v>
                </c:pt>
                <c:pt idx="4">
                  <c:v>1102.0</c:v>
                </c:pt>
                <c:pt idx="5">
                  <c:v>1050.4</c:v>
                </c:pt>
                <c:pt idx="6">
                  <c:v>1291.6667</c:v>
                </c:pt>
                <c:pt idx="7">
                  <c:v>1199.6667</c:v>
                </c:pt>
                <c:pt idx="8">
                  <c:v>1377.5</c:v>
                </c:pt>
                <c:pt idx="9">
                  <c:v>1108.0</c:v>
                </c:pt>
                <c:pt idx="10">
                  <c:v>1102.0</c:v>
                </c:pt>
                <c:pt idx="11">
                  <c:v>1193.6667</c:v>
                </c:pt>
                <c:pt idx="12">
                  <c:v>1253.3333</c:v>
                </c:pt>
                <c:pt idx="13">
                  <c:v>1081.5</c:v>
                </c:pt>
                <c:pt idx="14">
                  <c:v>1532.5</c:v>
                </c:pt>
                <c:pt idx="15">
                  <c:v>1381.0</c:v>
                </c:pt>
                <c:pt idx="16">
                  <c:v>1225.0</c:v>
                </c:pt>
                <c:pt idx="17">
                  <c:v>1397.5</c:v>
                </c:pt>
                <c:pt idx="18">
                  <c:v>1067.5</c:v>
                </c:pt>
                <c:pt idx="19">
                  <c:v>1170.2</c:v>
                </c:pt>
                <c:pt idx="20">
                  <c:v>1398.75</c:v>
                </c:pt>
                <c:pt idx="21">
                  <c:v>1355.3333</c:v>
                </c:pt>
                <c:pt idx="22">
                  <c:v>1351.6667</c:v>
                </c:pt>
                <c:pt idx="23">
                  <c:v>1120.0</c:v>
                </c:pt>
                <c:pt idx="24">
                  <c:v>1561.0</c:v>
                </c:pt>
                <c:pt idx="25">
                  <c:v>1343.6667</c:v>
                </c:pt>
                <c:pt idx="26">
                  <c:v>1231.75</c:v>
                </c:pt>
                <c:pt idx="27">
                  <c:v>1154.5</c:v>
                </c:pt>
                <c:pt idx="28">
                  <c:v>1573.0</c:v>
                </c:pt>
                <c:pt idx="29">
                  <c:v>1300.4</c:v>
                </c:pt>
                <c:pt idx="30">
                  <c:v>1412.5</c:v>
                </c:pt>
                <c:pt idx="31">
                  <c:v>1232.5</c:v>
                </c:pt>
                <c:pt idx="32">
                  <c:v>1284.6667</c:v>
                </c:pt>
                <c:pt idx="33">
                  <c:v>1314.5</c:v>
                </c:pt>
                <c:pt idx="34">
                  <c:v>1244.1</c:v>
                </c:pt>
                <c:pt idx="35">
                  <c:v>1340.2857</c:v>
                </c:pt>
                <c:pt idx="36">
                  <c:v>1239.3</c:v>
                </c:pt>
                <c:pt idx="37">
                  <c:v>1365.6</c:v>
                </c:pt>
                <c:pt idx="38">
                  <c:v>1188.2</c:v>
                </c:pt>
                <c:pt idx="39">
                  <c:v>1283.7143</c:v>
                </c:pt>
                <c:pt idx="40">
                  <c:v>1238.4286</c:v>
                </c:pt>
                <c:pt idx="41">
                  <c:v>1233.6667</c:v>
                </c:pt>
                <c:pt idx="42">
                  <c:v>1301.8889</c:v>
                </c:pt>
                <c:pt idx="43">
                  <c:v>1376.3333</c:v>
                </c:pt>
                <c:pt idx="44">
                  <c:v>1350.2</c:v>
                </c:pt>
                <c:pt idx="45">
                  <c:v>1179.8333</c:v>
                </c:pt>
                <c:pt idx="46">
                  <c:v>1328.6667</c:v>
                </c:pt>
                <c:pt idx="47">
                  <c:v>1386.5</c:v>
                </c:pt>
                <c:pt idx="48">
                  <c:v>1289.7143</c:v>
                </c:pt>
                <c:pt idx="49">
                  <c:v>1256.4545</c:v>
                </c:pt>
                <c:pt idx="50">
                  <c:v>1356.75</c:v>
                </c:pt>
                <c:pt idx="51">
                  <c:v>1232.8571</c:v>
                </c:pt>
                <c:pt idx="52">
                  <c:v>1278.125</c:v>
                </c:pt>
                <c:pt idx="53">
                  <c:v>1385.7143</c:v>
                </c:pt>
                <c:pt idx="54">
                  <c:v>1440.3333</c:v>
                </c:pt>
                <c:pt idx="55">
                  <c:v>1268.875</c:v>
                </c:pt>
                <c:pt idx="56">
                  <c:v>1231.25</c:v>
                </c:pt>
                <c:pt idx="57">
                  <c:v>1184.25</c:v>
                </c:pt>
                <c:pt idx="58">
                  <c:v>1322.5</c:v>
                </c:pt>
                <c:pt idx="59">
                  <c:v>1467.0</c:v>
                </c:pt>
                <c:pt idx="60">
                  <c:v>1332.25</c:v>
                </c:pt>
                <c:pt idx="61">
                  <c:v>1186.0</c:v>
                </c:pt>
                <c:pt idx="62">
                  <c:v>1077.0</c:v>
                </c:pt>
                <c:pt idx="63">
                  <c:v>1192.0</c:v>
                </c:pt>
                <c:pt idx="64">
                  <c:v>1140.0</c:v>
                </c:pt>
                <c:pt idx="65">
                  <c:v>1599.0</c:v>
                </c:pt>
                <c:pt idx="66">
                  <c:v>1546.0</c:v>
                </c:pt>
                <c:pt idx="67">
                  <c:v>2084.0</c:v>
                </c:pt>
                <c:pt idx="68">
                  <c:v>1757.0</c:v>
                </c:pt>
                <c:pt idx="69">
                  <c:v>1735.0</c:v>
                </c:pt>
                <c:pt idx="70">
                  <c:v>1194.5</c:v>
                </c:pt>
                <c:pt idx="71">
                  <c:v>1705.0</c:v>
                </c:pt>
                <c:pt idx="72">
                  <c:v>1354.5</c:v>
                </c:pt>
                <c:pt idx="73">
                  <c:v>1340.0</c:v>
                </c:pt>
                <c:pt idx="74">
                  <c:v>1344.0</c:v>
                </c:pt>
                <c:pt idx="75">
                  <c:v>1676.0</c:v>
                </c:pt>
                <c:pt idx="76">
                  <c:v>1199.0</c:v>
                </c:pt>
                <c:pt idx="77">
                  <c:v>1680.0</c:v>
                </c:pt>
                <c:pt idx="78">
                  <c:v>1319.0</c:v>
                </c:pt>
                <c:pt idx="79">
                  <c:v>1335.0</c:v>
                </c:pt>
                <c:pt idx="80">
                  <c:v>1977.0</c:v>
                </c:pt>
                <c:pt idx="81">
                  <c:v>1344.0</c:v>
                </c:pt>
                <c:pt idx="82">
                  <c:v>983.0</c:v>
                </c:pt>
                <c:pt idx="83">
                  <c:v>1191.0</c:v>
                </c:pt>
                <c:pt idx="84">
                  <c:v>1748.0</c:v>
                </c:pt>
                <c:pt idx="85">
                  <c:v>1354.5</c:v>
                </c:pt>
                <c:pt idx="86">
                  <c:v>1195.5</c:v>
                </c:pt>
                <c:pt idx="87">
                  <c:v>1701.0</c:v>
                </c:pt>
                <c:pt idx="88">
                  <c:v>1344.0</c:v>
                </c:pt>
                <c:pt idx="89">
                  <c:v>1029.0</c:v>
                </c:pt>
                <c:pt idx="90">
                  <c:v>2066.0</c:v>
                </c:pt>
                <c:pt idx="91">
                  <c:v>1365.0</c:v>
                </c:pt>
                <c:pt idx="92">
                  <c:v>1344.0</c:v>
                </c:pt>
                <c:pt idx="93">
                  <c:v>1337.5</c:v>
                </c:pt>
                <c:pt idx="94">
                  <c:v>1714.0</c:v>
                </c:pt>
                <c:pt idx="95">
                  <c:v>1029.0</c:v>
                </c:pt>
                <c:pt idx="96">
                  <c:v>1208.0</c:v>
                </c:pt>
                <c:pt idx="97">
                  <c:v>1365.0</c:v>
                </c:pt>
                <c:pt idx="98">
                  <c:v>1008.0</c:v>
                </c:pt>
                <c:pt idx="99">
                  <c:v>1051.0</c:v>
                </c:pt>
              </c:numCache>
            </c:numRef>
          </c:xVal>
          <c:yVal>
            <c:numRef>
              <c:f>Sheet1!$B$2:$B$101</c:f>
              <c:numCache>
                <c:formatCode>General</c:formatCode>
                <c:ptCount val="100"/>
                <c:pt idx="0">
                  <c:v>0.013651877133105802</c:v>
                </c:pt>
                <c:pt idx="1">
                  <c:v>0.01592356687898089</c:v>
                </c:pt>
                <c:pt idx="2">
                  <c:v>0.019169329073482427</c:v>
                </c:pt>
                <c:pt idx="3">
                  <c:v>0.016</c:v>
                </c:pt>
                <c:pt idx="4">
                  <c:v>0.016304347826086956</c:v>
                </c:pt>
                <c:pt idx="5">
                  <c:v>0.027932960893854747</c:v>
                </c:pt>
                <c:pt idx="6">
                  <c:v>0.017857142857142856</c:v>
                </c:pt>
                <c:pt idx="7">
                  <c:v>0.018072289156626505</c:v>
                </c:pt>
                <c:pt idx="8">
                  <c:v>0.010810810810810811</c:v>
                </c:pt>
                <c:pt idx="9">
                  <c:v>0.015625</c:v>
                </c:pt>
                <c:pt idx="10">
                  <c:v>0.012269938650306749</c:v>
                </c:pt>
                <c:pt idx="11">
                  <c:v>0.018072289156626505</c:v>
                </c:pt>
                <c:pt idx="12">
                  <c:v>0.018404907975460124</c:v>
                </c:pt>
                <c:pt idx="13">
                  <c:v>0.005681818181818182</c:v>
                </c:pt>
                <c:pt idx="14">
                  <c:v>0.006042296072507553</c:v>
                </c:pt>
                <c:pt idx="15">
                  <c:v>0.007272727272727273</c:v>
                </c:pt>
                <c:pt idx="16">
                  <c:v>0.009478672985781991</c:v>
                </c:pt>
                <c:pt idx="17">
                  <c:v>0.011299435028248588</c:v>
                </c:pt>
                <c:pt idx="18">
                  <c:v>0.013245033112582781</c:v>
                </c:pt>
                <c:pt idx="19">
                  <c:v>0.02824858757062147</c:v>
                </c:pt>
                <c:pt idx="20">
                  <c:v>0.03076923076923077</c:v>
                </c:pt>
                <c:pt idx="21">
                  <c:v>0.026785714285714284</c:v>
                </c:pt>
                <c:pt idx="22">
                  <c:v>0.028037383177570093</c:v>
                </c:pt>
                <c:pt idx="23">
                  <c:v>0.0234375</c:v>
                </c:pt>
                <c:pt idx="24">
                  <c:v>0.01020408163265306</c:v>
                </c:pt>
                <c:pt idx="25">
                  <c:v>0.029411764705882353</c:v>
                </c:pt>
                <c:pt idx="26">
                  <c:v>0.035398230088495575</c:v>
                </c:pt>
                <c:pt idx="27">
                  <c:v>0.03389830508474576</c:v>
                </c:pt>
                <c:pt idx="28">
                  <c:v>0.014492753623188406</c:v>
                </c:pt>
                <c:pt idx="29">
                  <c:v>0.04504504504504504</c:v>
                </c:pt>
                <c:pt idx="30">
                  <c:v>0.023529411764705882</c:v>
                </c:pt>
                <c:pt idx="31">
                  <c:v>0.041237113402061855</c:v>
                </c:pt>
                <c:pt idx="32">
                  <c:v>0.05309734513274336</c:v>
                </c:pt>
                <c:pt idx="33">
                  <c:v>0.0380952380952381</c:v>
                </c:pt>
                <c:pt idx="34">
                  <c:v>0.078125</c:v>
                </c:pt>
                <c:pt idx="35">
                  <c:v>0.06422018348623854</c:v>
                </c:pt>
                <c:pt idx="36">
                  <c:v>0.08928571428571429</c:v>
                </c:pt>
                <c:pt idx="37">
                  <c:v>0.05</c:v>
                </c:pt>
                <c:pt idx="38">
                  <c:v>0.045454545454545456</c:v>
                </c:pt>
                <c:pt idx="39">
                  <c:v>0.0673076923076923</c:v>
                </c:pt>
                <c:pt idx="40">
                  <c:v>0.059322033898305086</c:v>
                </c:pt>
                <c:pt idx="41">
                  <c:v>0.049586776859504134</c:v>
                </c:pt>
                <c:pt idx="42">
                  <c:v>0.07086614173228346</c:v>
                </c:pt>
                <c:pt idx="43">
                  <c:v>0.05084745762711865</c:v>
                </c:pt>
                <c:pt idx="44">
                  <c:v>0.04950495049504951</c:v>
                </c:pt>
                <c:pt idx="45">
                  <c:v>0.06666666666666667</c:v>
                </c:pt>
                <c:pt idx="46">
                  <c:v>0.034482758620689655</c:v>
                </c:pt>
                <c:pt idx="47">
                  <c:v>0.03636363636363636</c:v>
                </c:pt>
                <c:pt idx="48">
                  <c:v>0.047619047619047616</c:v>
                </c:pt>
                <c:pt idx="49">
                  <c:v>0.1111111111111111</c:v>
                </c:pt>
                <c:pt idx="50">
                  <c:v>0.0851063829787234</c:v>
                </c:pt>
                <c:pt idx="51">
                  <c:v>0.07526881720430108</c:v>
                </c:pt>
                <c:pt idx="52">
                  <c:v>0.09090909090909091</c:v>
                </c:pt>
                <c:pt idx="53">
                  <c:v>0.0945945945945946</c:v>
                </c:pt>
                <c:pt idx="54">
                  <c:v>0.04411764705882353</c:v>
                </c:pt>
                <c:pt idx="55">
                  <c:v>0.10810810810810811</c:v>
                </c:pt>
                <c:pt idx="56">
                  <c:v>0.06060606060606061</c:v>
                </c:pt>
                <c:pt idx="57">
                  <c:v>0.06666666666666667</c:v>
                </c:pt>
                <c:pt idx="58">
                  <c:v>0.024096385542168676</c:v>
                </c:pt>
                <c:pt idx="59">
                  <c:v>0.02702702702702703</c:v>
                </c:pt>
                <c:pt idx="60">
                  <c:v>0.0547945205479452</c:v>
                </c:pt>
                <c:pt idx="61">
                  <c:v>0.043478260869565216</c:v>
                </c:pt>
                <c:pt idx="62">
                  <c:v>0.03896103896103896</c:v>
                </c:pt>
                <c:pt idx="63">
                  <c:v>0.025</c:v>
                </c:pt>
                <c:pt idx="64">
                  <c:v>0.056818181818181816</c:v>
                </c:pt>
                <c:pt idx="65">
                  <c:v>0.013888888888888888</c:v>
                </c:pt>
                <c:pt idx="66">
                  <c:v>0.025974025974025976</c:v>
                </c:pt>
                <c:pt idx="67">
                  <c:v>0.014285714285714285</c:v>
                </c:pt>
                <c:pt idx="68">
                  <c:v>0.019230769230769232</c:v>
                </c:pt>
                <c:pt idx="69">
                  <c:v>0.015151515151515152</c:v>
                </c:pt>
                <c:pt idx="70">
                  <c:v>0.03508771929824561</c:v>
                </c:pt>
                <c:pt idx="71">
                  <c:v>0.016666666666666666</c:v>
                </c:pt>
                <c:pt idx="72">
                  <c:v>0.03278688524590164</c:v>
                </c:pt>
                <c:pt idx="73">
                  <c:v>0.016666666666666666</c:v>
                </c:pt>
                <c:pt idx="74">
                  <c:v>0.03389830508474576</c:v>
                </c:pt>
                <c:pt idx="75">
                  <c:v>0.016129032258064516</c:v>
                </c:pt>
                <c:pt idx="76">
                  <c:v>0.037037037037037035</c:v>
                </c:pt>
                <c:pt idx="77">
                  <c:v>0.019230769230769232</c:v>
                </c:pt>
                <c:pt idx="78">
                  <c:v>0.016666666666666666</c:v>
                </c:pt>
                <c:pt idx="79">
                  <c:v>0.015384615384615385</c:v>
                </c:pt>
                <c:pt idx="80">
                  <c:v>0.01694915254237288</c:v>
                </c:pt>
                <c:pt idx="81">
                  <c:v>0.02</c:v>
                </c:pt>
                <c:pt idx="82">
                  <c:v>0.02</c:v>
                </c:pt>
                <c:pt idx="83">
                  <c:v>0.028169014084507043</c:v>
                </c:pt>
                <c:pt idx="84">
                  <c:v>0.013157894736842105</c:v>
                </c:pt>
                <c:pt idx="85">
                  <c:v>0.029850746268656716</c:v>
                </c:pt>
                <c:pt idx="86">
                  <c:v>0.02857142857142857</c:v>
                </c:pt>
                <c:pt idx="87">
                  <c:v>0.015873015873015872</c:v>
                </c:pt>
                <c:pt idx="88">
                  <c:v>0.015625</c:v>
                </c:pt>
                <c:pt idx="89">
                  <c:v>0.015873015873015872</c:v>
                </c:pt>
                <c:pt idx="90">
                  <c:v>0.01639344262295082</c:v>
                </c:pt>
                <c:pt idx="91">
                  <c:v>0.016129032258064516</c:v>
                </c:pt>
                <c:pt idx="92">
                  <c:v>0.015873015873015872</c:v>
                </c:pt>
                <c:pt idx="93">
                  <c:v>0.02631578947368421</c:v>
                </c:pt>
                <c:pt idx="94">
                  <c:v>0.012048192771084338</c:v>
                </c:pt>
                <c:pt idx="95">
                  <c:v>0.010752688172043012</c:v>
                </c:pt>
                <c:pt idx="96">
                  <c:v>0.022988505747126436</c:v>
                </c:pt>
                <c:pt idx="97">
                  <c:v>0.014492753623188406</c:v>
                </c:pt>
                <c:pt idx="98">
                  <c:v>0.017857142857142856</c:v>
                </c:pt>
                <c:pt idx="99">
                  <c:v>0.014285714285714285</c:v>
                </c:pt>
              </c:numCache>
            </c:numRef>
          </c:yVal>
          <c:smooth val="0"/>
          <c:extLst>
            <c:ext xmlns:c16="http://schemas.microsoft.com/office/drawing/2014/chart" uri="{C3380CC4-5D6E-409C-BE32-E72D297353CC}">
              <c16:uniqueId val="{00000000-F32D-48B7-BC20-E66FC6253BAD}"/>
            </c:ext>
          </c:extLst>
        </c:ser>
        <c:ser>
          <c:idx val="1"/>
          <c:order val="1"/>
          <c:tx>
            <c:strRef>
              <c:f>Sheet1!$B$10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01639344262295082</c:v>
                </c:pt>
                <c:pt idx="4">
                  <c:v>0.015151515151515152</c:v>
                </c:pt>
                <c:pt idx="5">
                  <c:v>0.013513513513513514</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2040816326530612</c:v>
                </c:pt>
                <c:pt idx="23">
                  <c:v>0.0</c:v>
                </c:pt>
                <c:pt idx="24">
                  <c:v>0.022222222222222223</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F32D-48B7-BC20-E66FC6253BAD}"/>
            </c:ext>
          </c:extLst>
        </c:ser>
        <c:ser>
          <c:idx val="2"/>
          <c:order val="2"/>
          <c:tx>
            <c:strRef>
              <c:f>Sheet1!$B$139</c:f>
              <c:strCache>
                <c:ptCount val="1"/>
                <c:pt idx="0">
                  <c:v>Custom Linep3yQ</c:v>
                </c:pt>
              </c:strCache>
            </c:strRef>
          </c:tx>
          <c:spPr>
            <a:ln w="19050" cap="rnd">
              <a:solidFill>
                <a:srgbClr val="C00000"/>
              </a:solidFill>
              <a:prstDash val="sysDot"/>
              <a:round/>
            </a:ln>
            <a:effectLst/>
          </c:spPr>
          <c:marker>
            <c:symbol val="none"/>
          </c:marker>
          <c:xVal>
            <c:numRef>
              <c:f>Sheet1!$A$140:$A$141</c:f>
              <c:numCache>
                <c:formatCode>General</c:formatCode>
                <c:ptCount val="2"/>
                <c:pt idx="0">
                  <c:v>0</c:v>
                </c:pt>
                <c:pt idx="1">
                  <c:v>6422.437963052187</c:v>
                </c:pt>
              </c:numCache>
            </c:numRef>
          </c:xVal>
          <c:yVal>
            <c:numRef>
              <c:f>Sheet1!$B$140:$B$141</c:f>
              <c:numCache>
                <c:formatCode>General</c:formatCode>
                <c:ptCount val="2"/>
                <c:pt idx="0">
                  <c:v>0.06704573659918152</c:v>
                </c:pt>
                <c:pt idx="1">
                  <c:v>0.06704573659918152</c:v>
                </c:pt>
              </c:numCache>
            </c:numRef>
          </c:yVal>
          <c:smooth val="0"/>
          <c:extLst>
            <c:ext xmlns:c16="http://schemas.microsoft.com/office/drawing/2014/chart" uri="{C3380CC4-5D6E-409C-BE32-E72D297353CC}">
              <c16:uniqueId val="{00000003-F32D-48B7-BC20-E66FC6253BAD}"/>
            </c:ext>
          </c:extLst>
        </c:ser>
        <c:ser>
          <c:idx val="3"/>
          <c:order val="3"/>
          <c:tx>
            <c:strRef>
              <c:f>Sheet1!$B$14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4:$A$145</c:f>
              <c:numCache>
                <c:formatCode>General</c:formatCode>
                <c:ptCount val="2"/>
                <c:pt idx="0">
                  <c:v>6422.437963052187</c:v>
                </c:pt>
                <c:pt idx="1">
                  <c:v>6422.437963052187</c:v>
                </c:pt>
              </c:numCache>
            </c:numRef>
          </c:xVal>
          <c:yVal>
            <c:numRef>
              <c:f>Sheet1!$B$144:$B$145</c:f>
              <c:numCache>
                <c:formatCode>General</c:formatCode>
                <c:ptCount val="2"/>
                <c:pt idx="0">
                  <c:v>0.067045736599181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8:$A$149</c:f>
              <c:numCache>
                <c:formatCode>General</c:formatCode>
                <c:ptCount val="2"/>
                <c:pt idx="0">
                  <c:v>0</c:v>
                </c:pt>
                <c:pt idx="1">
                  <c:v>706.0664249216237</c:v>
                </c:pt>
              </c:numCache>
            </c:numRef>
          </c:xVal>
          <c:yVal>
            <c:numRef>
              <c:f>Sheet1!$B$148:$B$149</c:f>
              <c:numCache>
                <c:formatCode>General</c:formatCode>
                <c:ptCount val="2"/>
                <c:pt idx="0">
                  <c:v>0.007509745214663248</c:v>
                </c:pt>
                <c:pt idx="1">
                  <c:v>0.007509745214663248</c:v>
                </c:pt>
              </c:numCache>
            </c:numRef>
          </c:yVal>
          <c:smooth val="0"/>
          <c:extLst>
            <c:ext xmlns:c16="http://schemas.microsoft.com/office/drawing/2014/chart" uri="{C3380CC4-5D6E-409C-BE32-E72D297353CC}">
              <c16:uniqueId val="{0000000A-F32D-48B7-BC20-E66FC6253BAD}"/>
            </c:ext>
          </c:extLst>
        </c:ser>
        <c:ser>
          <c:idx val="5"/>
          <c:order val="5"/>
          <c:tx>
            <c:strRef>
              <c:f>Sheet1!$B$15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2:$A$153</c:f>
              <c:numCache>
                <c:formatCode>General</c:formatCode>
                <c:ptCount val="2"/>
                <c:pt idx="0">
                  <c:v>706.0664249216237</c:v>
                </c:pt>
                <c:pt idx="1">
                  <c:v>706.0664249216237</c:v>
                </c:pt>
              </c:numCache>
            </c:numRef>
          </c:xVal>
          <c:yVal>
            <c:numRef>
              <c:f>Sheet1!$B$152:$B$153</c:f>
              <c:numCache>
                <c:formatCode>General</c:formatCode>
                <c:ptCount val="2"/>
                <c:pt idx="0">
                  <c:v>0.00750974521466324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6:$A$157</c:f>
              <c:numCache>
                <c:formatCode>General</c:formatCode>
                <c:ptCount val="2"/>
                <c:pt idx="0">
                  <c:v>0</c:v>
                </c:pt>
                <c:pt idx="1">
                  <c:v>-14.984704074547036</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15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0:$A$161</c:f>
              <c:numCache>
                <c:formatCode>General</c:formatCode>
                <c:ptCount val="2"/>
                <c:pt idx="0">
                  <c:v>-14.984704074547036</c:v>
                </c:pt>
                <c:pt idx="1">
                  <c:v>-14.984704074547036</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4:$A$200</c:f>
              <c:numCache>
                <c:formatCode>General</c:formatCode>
                <c:ptCount val="37"/>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pt idx="34">
                  <c:v>706.0664249216237</c:v>
                </c:pt>
                <c:pt idx="35">
                  <c:v>6422.437963052187</c:v>
                </c:pt>
                <c:pt idx="36">
                  <c:v>-14.984704074547036</c:v>
                </c:pt>
              </c:numCache>
            </c:numRef>
          </c:xVal>
          <c:yVal>
            <c:numRef>
              <c:f>Sheet1!$B$164:$B$200</c:f>
              <c:numCache>
                <c:formatCode>General</c:formatCode>
                <c:ptCount val="37"/>
                <c:pt idx="0">
                  <c:v>0.00015606564526656763</c:v>
                </c:pt>
                <c:pt idx="1">
                  <c:v>0.00015606564526656763</c:v>
                </c:pt>
                <c:pt idx="2">
                  <c:v>0.00015606564526656763</c:v>
                </c:pt>
                <c:pt idx="3">
                  <c:v>0.011102227301790358</c:v>
                </c:pt>
                <c:pt idx="4">
                  <c:v>0.01087309737177749</c:v>
                </c:pt>
                <c:pt idx="5">
                  <c:v>0.017778240262619805</c:v>
                </c:pt>
                <c:pt idx="6">
                  <c:v>0.00015606564526656763</c:v>
                </c:pt>
                <c:pt idx="7">
                  <c:v>0.00015606564526656763</c:v>
                </c:pt>
                <c:pt idx="8">
                  <c:v>0.00015606564526656763</c:v>
                </c:pt>
                <c:pt idx="9">
                  <c:v>0.00015606564526656763</c:v>
                </c:pt>
                <c:pt idx="10">
                  <c:v>0.00015606564526656763</c:v>
                </c:pt>
                <c:pt idx="11">
                  <c:v>0.00015606564526656763</c:v>
                </c:pt>
                <c:pt idx="12">
                  <c:v>0.00015606564526656763</c:v>
                </c:pt>
                <c:pt idx="13">
                  <c:v>0.00015606564526656763</c:v>
                </c:pt>
                <c:pt idx="14">
                  <c:v>0.00015606564526656763</c:v>
                </c:pt>
                <c:pt idx="15">
                  <c:v>0.00015606564526656763</c:v>
                </c:pt>
                <c:pt idx="16">
                  <c:v>0.00015606564526656763</c:v>
                </c:pt>
                <c:pt idx="17">
                  <c:v>0.00015606564526656763</c:v>
                </c:pt>
                <c:pt idx="18">
                  <c:v>0.00015606564526656763</c:v>
                </c:pt>
                <c:pt idx="19">
                  <c:v>0.00015606564526656763</c:v>
                </c:pt>
                <c:pt idx="20">
                  <c:v>0.00015606564526656763</c:v>
                </c:pt>
                <c:pt idx="21">
                  <c:v>0.00015606564526656763</c:v>
                </c:pt>
                <c:pt idx="22">
                  <c:v>0.023725203446135584</c:v>
                </c:pt>
                <c:pt idx="23">
                  <c:v>0.00015606564526656763</c:v>
                </c:pt>
                <c:pt idx="24">
                  <c:v>0.019684184680454107</c:v>
                </c:pt>
                <c:pt idx="25">
                  <c:v>0.00015606564526656763</c:v>
                </c:pt>
                <c:pt idx="26">
                  <c:v>0.00015606564526656763</c:v>
                </c:pt>
                <c:pt idx="27">
                  <c:v>0.00015606564526656763</c:v>
                </c:pt>
                <c:pt idx="28">
                  <c:v>0.00015606564526656763</c:v>
                </c:pt>
                <c:pt idx="29">
                  <c:v>0.00015606564526656763</c:v>
                </c:pt>
                <c:pt idx="30">
                  <c:v>0.00015606564526656763</c:v>
                </c:pt>
                <c:pt idx="31">
                  <c:v>0.00015606564526656763</c:v>
                </c:pt>
                <c:pt idx="32">
                  <c:v>0.00015606564526656763</c:v>
                </c:pt>
                <c:pt idx="33">
                  <c:v>0.00015606564526656763</c:v>
                </c:pt>
                <c:pt idx="34">
                  <c:v>0.007509745214663248</c:v>
                </c:pt>
                <c:pt idx="35">
                  <c:v>0.06704573659918152</c:v>
                </c:pt>
                <c:pt idx="36">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70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3333333333333333"/>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98</c:f>
              <c:numCache>
                <c:formatCode>General</c:formatCode>
                <c:ptCount val="97"/>
                <c:pt idx="0">
                  <c:v>2.546247883498595</c:v>
                </c:pt>
                <c:pt idx="1">
                  <c:v>2.284237838182906</c:v>
                </c:pt>
                <c:pt idx="2">
                  <c:v>2.5051017262416235</c:v>
                </c:pt>
                <c:pt idx="3">
                  <c:v>2.2251864561457277</c:v>
                </c:pt>
                <c:pt idx="4">
                  <c:v>2.07799574105156</c:v>
                </c:pt>
                <c:pt idx="5">
                  <c:v>1.8717328425677382</c:v>
                </c:pt>
                <c:pt idx="6">
                  <c:v>2.3264513003211404</c:v>
                </c:pt>
                <c:pt idx="7">
                  <c:v>2.1412750659026614</c:v>
                </c:pt>
                <c:pt idx="8">
                  <c:v>2.5220276919556013</c:v>
                </c:pt>
                <c:pt idx="9">
                  <c:v>1.9913097660264942</c:v>
                </c:pt>
                <c:pt idx="10">
                  <c:v>1.9876950493406518</c:v>
                </c:pt>
                <c:pt idx="11">
                  <c:v>2.1527744187644493</c:v>
                </c:pt>
                <c:pt idx="12">
                  <c:v>2.2536392528826052</c:v>
                </c:pt>
                <c:pt idx="13">
                  <c:v>1.987843916296975</c:v>
                </c:pt>
                <c:pt idx="14">
                  <c:v>2.8162196610907047</c:v>
                </c:pt>
                <c:pt idx="15">
                  <c:v>2.450089842541366</c:v>
                </c:pt>
                <c:pt idx="16">
                  <c:v>2.2412807318467696</c:v>
                </c:pt>
                <c:pt idx="17">
                  <c:v>2.524516259329871</c:v>
                </c:pt>
                <c:pt idx="18">
                  <c:v>2.095732675996391</c:v>
                </c:pt>
                <c:pt idx="19">
                  <c:v>2.0514557411834913</c:v>
                </c:pt>
                <c:pt idx="20">
                  <c:v>2.5376451378809866</c:v>
                </c:pt>
                <c:pt idx="21">
                  <c:v>2.431944810043633</c:v>
                </c:pt>
                <c:pt idx="22">
                  <c:v>2.3807695938800544</c:v>
                </c:pt>
                <c:pt idx="23">
                  <c:v>2.130021454260737</c:v>
                </c:pt>
                <c:pt idx="24">
                  <c:v>2.6875000430413203</c:v>
                </c:pt>
                <c:pt idx="25">
                  <c:v>2.529175459331443</c:v>
                </c:pt>
                <c:pt idx="26">
                  <c:v>2.1625530608970025</c:v>
                </c:pt>
                <c:pt idx="27">
                  <c:v>1.9901905756158644</c:v>
                </c:pt>
                <c:pt idx="28">
                  <c:v>2.9614244809458783</c:v>
                </c:pt>
                <c:pt idx="29">
                  <c:v>2.377559524005416</c:v>
                </c:pt>
                <c:pt idx="30">
                  <c:v>2.542754275427543</c:v>
                </c:pt>
                <c:pt idx="31">
                  <c:v>2.254523956123397</c:v>
                </c:pt>
                <c:pt idx="32">
                  <c:v>2.32682643040504</c:v>
                </c:pt>
                <c:pt idx="33">
                  <c:v>2.3675636752152918</c:v>
                </c:pt>
                <c:pt idx="34">
                  <c:v>2.199940868079231</c:v>
                </c:pt>
                <c:pt idx="35">
                  <c:v>2.5439264271089828</c:v>
                </c:pt>
                <c:pt idx="36">
                  <c:v>2.445694163310325</c:v>
                </c:pt>
                <c:pt idx="37">
                  <c:v>2.558634435667094</c:v>
                </c:pt>
                <c:pt idx="38">
                  <c:v>2.0405138687796054</c:v>
                </c:pt>
                <c:pt idx="39">
                  <c:v>2.2160794043979632</c:v>
                </c:pt>
                <c:pt idx="40">
                  <c:v>2.2329116069416273</c:v>
                </c:pt>
                <c:pt idx="41">
                  <c:v>2.0922268376334214</c:v>
                </c:pt>
                <c:pt idx="42">
                  <c:v>2.4744017262230464</c:v>
                </c:pt>
                <c:pt idx="43">
                  <c:v>2.5139715387241433</c:v>
                </c:pt>
                <c:pt idx="44">
                  <c:v>2.472327763790341</c:v>
                </c:pt>
                <c:pt idx="45">
                  <c:v>2.0678673559596996</c:v>
                </c:pt>
                <c:pt idx="46">
                  <c:v>2.5321716980078492</c:v>
                </c:pt>
                <c:pt idx="47">
                  <c:v>2.338298993308738</c:v>
                </c:pt>
                <c:pt idx="48">
                  <c:v>2.3472520420611547</c:v>
                </c:pt>
                <c:pt idx="49">
                  <c:v>2.263609940931423</c:v>
                </c:pt>
                <c:pt idx="50">
                  <c:v>2.7026892430278884</c:v>
                </c:pt>
                <c:pt idx="51">
                  <c:v>2.196301377452576</c:v>
                </c:pt>
                <c:pt idx="52">
                  <c:v>2.172942876572594</c:v>
                </c:pt>
                <c:pt idx="53">
                  <c:v>2.3804979839759115</c:v>
                </c:pt>
                <c:pt idx="54">
                  <c:v>2.2703866645649433</c:v>
                </c:pt>
                <c:pt idx="55">
                  <c:v>2.1900755124056097</c:v>
                </c:pt>
                <c:pt idx="56">
                  <c:v>2.1405598052851182</c:v>
                </c:pt>
                <c:pt idx="57">
                  <c:v>1.6476521739130434</c:v>
                </c:pt>
                <c:pt idx="58">
                  <c:v>2.089257503949447</c:v>
                </c:pt>
                <c:pt idx="59">
                  <c:v>2.2753005040713457</c:v>
                </c:pt>
                <c:pt idx="60">
                  <c:v>2.081640625</c:v>
                </c:pt>
                <c:pt idx="61">
                  <c:v>1.6529616724738676</c:v>
                </c:pt>
                <c:pt idx="62">
                  <c:v>0.9720216606498195</c:v>
                </c:pt>
                <c:pt idx="63">
                  <c:v>2.329945269741986</c:v>
                </c:pt>
                <c:pt idx="64">
                  <c:v>2.0652173913043477</c:v>
                </c:pt>
                <c:pt idx="65">
                  <c:v>0.0</c:v>
                </c:pt>
                <c:pt idx="66">
                  <c:v>1.5337301587301588</c:v>
                </c:pt>
                <c:pt idx="67">
                  <c:v>3.2511700468018723</c:v>
                </c:pt>
                <c:pt idx="68">
                  <c:v>0.0</c:v>
                </c:pt>
                <c:pt idx="69">
                  <c:v>0.0</c:v>
                </c:pt>
                <c:pt idx="70">
                  <c:v>1.7775297619047619</c:v>
                </c:pt>
                <c:pt idx="71">
                  <c:v>2.537202380952381</c:v>
                </c:pt>
                <c:pt idx="72">
                  <c:v>0.0</c:v>
                </c:pt>
                <c:pt idx="73">
                  <c:v>3.988095238095238</c:v>
                </c:pt>
                <c:pt idx="74">
                  <c:v>0.0</c:v>
                </c:pt>
                <c:pt idx="75">
                  <c:v>0.0</c:v>
                </c:pt>
                <c:pt idx="76">
                  <c:v>0.0</c:v>
                </c:pt>
                <c:pt idx="77">
                  <c:v>5.0602409638554215</c:v>
                </c:pt>
                <c:pt idx="78">
                  <c:v>0.0</c:v>
                </c:pt>
                <c:pt idx="79">
                  <c:v>0.0</c:v>
                </c:pt>
                <c:pt idx="80">
                  <c:v>0.0</c:v>
                </c:pt>
                <c:pt idx="81">
                  <c:v>0.0</c:v>
                </c:pt>
                <c:pt idx="82">
                  <c:v>0.0</c:v>
                </c:pt>
                <c:pt idx="83">
                  <c:v>0.0</c:v>
                </c:pt>
                <c:pt idx="84">
                  <c:v>0.0</c:v>
                </c:pt>
                <c:pt idx="85">
                  <c:v>0.0</c:v>
                </c:pt>
                <c:pt idx="86">
                  <c:v>0.0</c:v>
                </c:pt>
                <c:pt idx="87">
                  <c:v>2.9854910714285716</c:v>
                </c:pt>
                <c:pt idx="88">
                  <c:v>0.0</c:v>
                </c:pt>
                <c:pt idx="89">
                  <c:v>1.1484375</c:v>
                </c:pt>
                <c:pt idx="90">
                  <c:v>1.0785714285714285</c:v>
                </c:pt>
                <c:pt idx="91">
                  <c:v>0.0</c:v>
                </c:pt>
                <c:pt idx="92">
                  <c:v>0.0</c:v>
                </c:pt>
                <c:pt idx="93">
                  <c:v>0.0</c:v>
                </c:pt>
                <c:pt idx="94">
                  <c:v>0.0</c:v>
                </c:pt>
                <c:pt idx="95">
                  <c:v>0.0</c:v>
                </c:pt>
                <c:pt idx="96">
                  <c:v>0.0</c:v>
                </c:pt>
              </c:numCache>
            </c:numRef>
          </c:xVal>
          <c:yVal>
            <c:numRef>
              <c:f>Sheet1!$B$2:$B$98</c:f>
              <c:numCache>
                <c:formatCode>General</c:formatCode>
                <c:ptCount val="97"/>
                <c:pt idx="0">
                  <c:v>0.013651877133105802</c:v>
                </c:pt>
                <c:pt idx="1">
                  <c:v>0.01592356687898089</c:v>
                </c:pt>
                <c:pt idx="2">
                  <c:v>0.019169329073482427</c:v>
                </c:pt>
                <c:pt idx="3">
                  <c:v>0.016</c:v>
                </c:pt>
                <c:pt idx="4">
                  <c:v>0.016304347826086956</c:v>
                </c:pt>
                <c:pt idx="5">
                  <c:v>0.027932960893854747</c:v>
                </c:pt>
                <c:pt idx="6">
                  <c:v>0.017857142857142856</c:v>
                </c:pt>
                <c:pt idx="7">
                  <c:v>0.018072289156626505</c:v>
                </c:pt>
                <c:pt idx="8">
                  <c:v>0.010810810810810811</c:v>
                </c:pt>
                <c:pt idx="9">
                  <c:v>0.015625</c:v>
                </c:pt>
                <c:pt idx="10">
                  <c:v>0.012269938650306749</c:v>
                </c:pt>
                <c:pt idx="11">
                  <c:v>0.018072289156626505</c:v>
                </c:pt>
                <c:pt idx="12">
                  <c:v>0.018404907975460124</c:v>
                </c:pt>
                <c:pt idx="13">
                  <c:v>0.005681818181818182</c:v>
                </c:pt>
                <c:pt idx="14">
                  <c:v>0.006042296072507553</c:v>
                </c:pt>
                <c:pt idx="15">
                  <c:v>0.007272727272727273</c:v>
                </c:pt>
                <c:pt idx="16">
                  <c:v>0.009478672985781991</c:v>
                </c:pt>
                <c:pt idx="17">
                  <c:v>0.011299435028248588</c:v>
                </c:pt>
                <c:pt idx="18">
                  <c:v>0.013245033112582781</c:v>
                </c:pt>
                <c:pt idx="19">
                  <c:v>0.02824858757062147</c:v>
                </c:pt>
                <c:pt idx="20">
                  <c:v>0.03076923076923077</c:v>
                </c:pt>
                <c:pt idx="21">
                  <c:v>0.026785714285714284</c:v>
                </c:pt>
                <c:pt idx="22">
                  <c:v>0.028037383177570093</c:v>
                </c:pt>
                <c:pt idx="23">
                  <c:v>0.0234375</c:v>
                </c:pt>
                <c:pt idx="24">
                  <c:v>0.01020408163265306</c:v>
                </c:pt>
                <c:pt idx="25">
                  <c:v>0.029411764705882353</c:v>
                </c:pt>
                <c:pt idx="26">
                  <c:v>0.035398230088495575</c:v>
                </c:pt>
                <c:pt idx="27">
                  <c:v>0.03389830508474576</c:v>
                </c:pt>
                <c:pt idx="28">
                  <c:v>0.014492753623188406</c:v>
                </c:pt>
                <c:pt idx="29">
                  <c:v>0.04504504504504504</c:v>
                </c:pt>
                <c:pt idx="30">
                  <c:v>0.023529411764705882</c:v>
                </c:pt>
                <c:pt idx="31">
                  <c:v>0.041237113402061855</c:v>
                </c:pt>
                <c:pt idx="32">
                  <c:v>0.05309734513274336</c:v>
                </c:pt>
                <c:pt idx="33">
                  <c:v>0.0380952380952381</c:v>
                </c:pt>
                <c:pt idx="34">
                  <c:v>0.078125</c:v>
                </c:pt>
                <c:pt idx="35">
                  <c:v>0.06422018348623854</c:v>
                </c:pt>
                <c:pt idx="36">
                  <c:v>0.08928571428571429</c:v>
                </c:pt>
                <c:pt idx="37">
                  <c:v>0.05</c:v>
                </c:pt>
                <c:pt idx="38">
                  <c:v>0.045454545454545456</c:v>
                </c:pt>
                <c:pt idx="39">
                  <c:v>0.0673076923076923</c:v>
                </c:pt>
                <c:pt idx="40">
                  <c:v>0.059322033898305086</c:v>
                </c:pt>
                <c:pt idx="41">
                  <c:v>0.049586776859504134</c:v>
                </c:pt>
                <c:pt idx="42">
                  <c:v>0.07086614173228346</c:v>
                </c:pt>
                <c:pt idx="43">
                  <c:v>0.05084745762711865</c:v>
                </c:pt>
                <c:pt idx="44">
                  <c:v>0.04950495049504951</c:v>
                </c:pt>
                <c:pt idx="45">
                  <c:v>0.06666666666666667</c:v>
                </c:pt>
                <c:pt idx="46">
                  <c:v>0.034482758620689655</c:v>
                </c:pt>
                <c:pt idx="47">
                  <c:v>0.03636363636363636</c:v>
                </c:pt>
                <c:pt idx="48">
                  <c:v>0.047619047619047616</c:v>
                </c:pt>
                <c:pt idx="49">
                  <c:v>0.1111111111111111</c:v>
                </c:pt>
                <c:pt idx="50">
                  <c:v>0.0851063829787234</c:v>
                </c:pt>
                <c:pt idx="51">
                  <c:v>0.07526881720430108</c:v>
                </c:pt>
                <c:pt idx="52">
                  <c:v>0.09090909090909091</c:v>
                </c:pt>
                <c:pt idx="53">
                  <c:v>0.0945945945945946</c:v>
                </c:pt>
                <c:pt idx="54">
                  <c:v>0.04411764705882353</c:v>
                </c:pt>
                <c:pt idx="55">
                  <c:v>0.10810810810810811</c:v>
                </c:pt>
                <c:pt idx="56">
                  <c:v>0.06060606060606061</c:v>
                </c:pt>
                <c:pt idx="57">
                  <c:v>0.06666666666666667</c:v>
                </c:pt>
                <c:pt idx="58">
                  <c:v>0.024096385542168676</c:v>
                </c:pt>
                <c:pt idx="59">
                  <c:v>0.02702702702702703</c:v>
                </c:pt>
                <c:pt idx="60">
                  <c:v>0.0547945205479452</c:v>
                </c:pt>
                <c:pt idx="61">
                  <c:v>0.043478260869565216</c:v>
                </c:pt>
                <c:pt idx="62">
                  <c:v>0.03896103896103896</c:v>
                </c:pt>
                <c:pt idx="63">
                  <c:v>0.025</c:v>
                </c:pt>
                <c:pt idx="64">
                  <c:v>0.056818181818181816</c:v>
                </c:pt>
                <c:pt idx="65">
                  <c:v>0.013888888888888888</c:v>
                </c:pt>
                <c:pt idx="66">
                  <c:v>0.025974025974025976</c:v>
                </c:pt>
                <c:pt idx="67">
                  <c:v>0.014285714285714285</c:v>
                </c:pt>
                <c:pt idx="68">
                  <c:v>0.019230769230769232</c:v>
                </c:pt>
                <c:pt idx="69">
                  <c:v>0.015151515151515152</c:v>
                </c:pt>
                <c:pt idx="70">
                  <c:v>0.03508771929824561</c:v>
                </c:pt>
                <c:pt idx="71">
                  <c:v>0.016666666666666666</c:v>
                </c:pt>
                <c:pt idx="72">
                  <c:v>0.03278688524590164</c:v>
                </c:pt>
                <c:pt idx="73">
                  <c:v>0.016666666666666666</c:v>
                </c:pt>
                <c:pt idx="74">
                  <c:v>0.03389830508474576</c:v>
                </c:pt>
                <c:pt idx="75">
                  <c:v>0.016129032258064516</c:v>
                </c:pt>
                <c:pt idx="76">
                  <c:v>0.037037037037037035</c:v>
                </c:pt>
                <c:pt idx="77">
                  <c:v>0.019230769230769232</c:v>
                </c:pt>
                <c:pt idx="78">
                  <c:v>0.016666666666666666</c:v>
                </c:pt>
                <c:pt idx="79">
                  <c:v>0.015384615384615385</c:v>
                </c:pt>
                <c:pt idx="80">
                  <c:v>0.028169014084507043</c:v>
                </c:pt>
                <c:pt idx="81">
                  <c:v>0.013157894736842105</c:v>
                </c:pt>
                <c:pt idx="82">
                  <c:v>0.015873015873015872</c:v>
                </c:pt>
                <c:pt idx="83">
                  <c:v>0.015873015873015872</c:v>
                </c:pt>
                <c:pt idx="84">
                  <c:v>0.01639344262295082</c:v>
                </c:pt>
                <c:pt idx="85">
                  <c:v>0.016129032258064516</c:v>
                </c:pt>
                <c:pt idx="86">
                  <c:v>0.015873015873015872</c:v>
                </c:pt>
                <c:pt idx="87">
                  <c:v>0.02631578947368421</c:v>
                </c:pt>
                <c:pt idx="88">
                  <c:v>0.012048192771084338</c:v>
                </c:pt>
                <c:pt idx="89">
                  <c:v>0.010752688172043012</c:v>
                </c:pt>
                <c:pt idx="90">
                  <c:v>0.022988505747126436</c:v>
                </c:pt>
                <c:pt idx="91">
                  <c:v>0.014492753623188406</c:v>
                </c:pt>
                <c:pt idx="92">
                  <c:v>0.017857142857142856</c:v>
                </c:pt>
                <c:pt idx="93">
                  <c:v>0.014285714285714285</c:v>
                </c:pt>
                <c:pt idx="94">
                  <c:v>0.01639344262295082</c:v>
                </c:pt>
                <c:pt idx="95">
                  <c:v>0.015151515151515152</c:v>
                </c:pt>
                <c:pt idx="96">
                  <c:v>0.013513513513513514</c:v>
                </c:pt>
              </c:numCache>
            </c:numRef>
          </c:yVal>
          <c:smooth val="0"/>
          <c:extLst>
            <c:ext xmlns:c16="http://schemas.microsoft.com/office/drawing/2014/chart" uri="{C3380CC4-5D6E-409C-BE32-E72D297353CC}">
              <c16:uniqueId val="{00000000-096C-4121-9522-6AB7243CCAAE}"/>
            </c:ext>
          </c:extLst>
        </c:ser>
        <c:ser>
          <c:idx val="1"/>
          <c:order val="1"/>
          <c:tx>
            <c:strRef>
              <c:f>Sheet1!$B$10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1:$A$113</c:f>
              <c:numCache>
                <c:formatCode>General</c:formatCode>
                <c:ptCount val="13"/>
                <c:pt idx="0">
                  <c:v>0.0</c:v>
                </c:pt>
                <c:pt idx="1">
                  <c:v>0.0</c:v>
                </c:pt>
                <c:pt idx="2">
                  <c:v>0.0</c:v>
                </c:pt>
                <c:pt idx="3">
                  <c:v>0.0</c:v>
                </c:pt>
                <c:pt idx="4">
                  <c:v>0.0</c:v>
                </c:pt>
                <c:pt idx="5">
                  <c:v>0.0</c:v>
                </c:pt>
                <c:pt idx="6">
                  <c:v>0.0</c:v>
                </c:pt>
                <c:pt idx="7">
                  <c:v>0.0</c:v>
                </c:pt>
                <c:pt idx="8">
                  <c:v>0.0</c:v>
                </c:pt>
                <c:pt idx="9">
                  <c:v>0.0</c:v>
                </c:pt>
                <c:pt idx="10">
                  <c:v>0.0</c:v>
                </c:pt>
                <c:pt idx="11">
                  <c:v>0.0</c:v>
                </c:pt>
                <c:pt idx="12">
                  <c:v>0.0</c:v>
                </c:pt>
              </c:numCache>
            </c:numRef>
          </c:xVal>
          <c:yVal>
            <c:numRef>
              <c:f>Sheet1!$B$101:$B$113</c:f>
              <c:numCache>
                <c:formatCode>General</c:formatCode>
                <c:ptCount val="13"/>
                <c:pt idx="0">
                  <c:v>0.0</c:v>
                </c:pt>
                <c:pt idx="1">
                  <c:v>0.0</c:v>
                </c:pt>
                <c:pt idx="2">
                  <c:v>0.0</c:v>
                </c:pt>
                <c:pt idx="3">
                  <c:v>0.0</c:v>
                </c:pt>
                <c:pt idx="4">
                  <c:v>0.0</c:v>
                </c:pt>
                <c:pt idx="5">
                  <c:v>0.0</c:v>
                </c:pt>
                <c:pt idx="6">
                  <c:v>0.0</c:v>
                </c:pt>
                <c:pt idx="7">
                  <c:v>0.0</c:v>
                </c:pt>
                <c:pt idx="8">
                  <c:v>0.0</c:v>
                </c:pt>
                <c:pt idx="9">
                  <c:v>0.0</c:v>
                </c:pt>
                <c:pt idx="10">
                  <c:v>0.0</c:v>
                </c:pt>
                <c:pt idx="11">
                  <c:v>0.0</c:v>
                </c:pt>
                <c:pt idx="12">
                  <c:v>0.0</c:v>
                </c:pt>
              </c:numCache>
            </c:numRef>
          </c:yVal>
          <c:smooth val="0"/>
          <c:extLst>
            <c:ext xmlns:c16="http://schemas.microsoft.com/office/drawing/2014/chart" uri="{C3380CC4-5D6E-409C-BE32-E72D297353CC}">
              <c16:uniqueId val="{00000002-096C-4121-9522-6AB7243CCAAE}"/>
            </c:ext>
          </c:extLst>
        </c:ser>
        <c:ser>
          <c:idx val="2"/>
          <c:order val="2"/>
          <c:tx>
            <c:strRef>
              <c:f>Sheet1!$B$11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6:$A$117</c:f>
              <c:numCache>
                <c:formatCode>General</c:formatCode>
                <c:ptCount val="2"/>
                <c:pt idx="0">
                  <c:v>0</c:v>
                </c:pt>
                <c:pt idx="1">
                  <c:v>0.06704573659918152</c:v>
                </c:pt>
              </c:numCache>
            </c:numRef>
          </c:xVal>
          <c:yVal>
            <c:numRef>
              <c:f>Sheet1!$B$116:$B$117</c:f>
              <c:numCache>
                <c:formatCode>General</c:formatCode>
                <c:ptCount val="2"/>
                <c:pt idx="0">
                  <c:v>0.06704573659918152</c:v>
                </c:pt>
                <c:pt idx="1">
                  <c:v>0.06704573659918152</c:v>
                </c:pt>
              </c:numCache>
            </c:numRef>
          </c:yVal>
          <c:smooth val="0"/>
          <c:extLst>
            <c:ext xmlns:c16="http://schemas.microsoft.com/office/drawing/2014/chart" uri="{C3380CC4-5D6E-409C-BE32-E72D297353CC}">
              <c16:uniqueId val="{00000005-096C-4121-9522-6AB7243CCAAE}"/>
            </c:ext>
          </c:extLst>
        </c:ser>
        <c:ser>
          <c:idx val="3"/>
          <c:order val="3"/>
          <c:tx>
            <c:strRef>
              <c:f>Sheet1!$B$11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0.06704573659918152</c:v>
                </c:pt>
                <c:pt idx="1">
                  <c:v>0.06704573659918152</c:v>
                </c:pt>
              </c:numCache>
            </c:numRef>
          </c:xVal>
          <c:yVal>
            <c:numRef>
              <c:f>Sheet1!$B$120:$B$121</c:f>
              <c:numCache>
                <c:formatCode>General</c:formatCode>
                <c:ptCount val="2"/>
                <c:pt idx="0">
                  <c:v>0.067045736599181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4:$A$125</c:f>
              <c:numCache>
                <c:formatCode>General</c:formatCode>
                <c:ptCount val="2"/>
                <c:pt idx="0">
                  <c:v>0</c:v>
                </c:pt>
                <c:pt idx="1">
                  <c:v>0.007509745214663248</c:v>
                </c:pt>
              </c:numCache>
            </c:numRef>
          </c:xVal>
          <c:yVal>
            <c:numRef>
              <c:f>Sheet1!$B$124:$B$125</c:f>
              <c:numCache>
                <c:formatCode>General</c:formatCode>
                <c:ptCount val="2"/>
                <c:pt idx="0">
                  <c:v>0.007509745214663248</c:v>
                </c:pt>
                <c:pt idx="1">
                  <c:v>0.007509745214663248</c:v>
                </c:pt>
              </c:numCache>
            </c:numRef>
          </c:yVal>
          <c:smooth val="0"/>
          <c:extLst>
            <c:ext xmlns:c16="http://schemas.microsoft.com/office/drawing/2014/chart" uri="{C3380CC4-5D6E-409C-BE32-E72D297353CC}">
              <c16:uniqueId val="{0000000D-096C-4121-9522-6AB7243CCAAE}"/>
            </c:ext>
          </c:extLst>
        </c:ser>
        <c:ser>
          <c:idx val="5"/>
          <c:order val="5"/>
          <c:tx>
            <c:strRef>
              <c:f>Sheet1!$B$12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0.007509745214663248</c:v>
                </c:pt>
                <c:pt idx="1">
                  <c:v>0.007509745214663248</c:v>
                </c:pt>
              </c:numCache>
            </c:numRef>
          </c:xVal>
          <c:yVal>
            <c:numRef>
              <c:f>Sheet1!$B$128:$B$129</c:f>
              <c:numCache>
                <c:formatCode>General</c:formatCode>
                <c:ptCount val="2"/>
                <c:pt idx="0">
                  <c:v>0.00750974521466324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2:$A$133</c:f>
              <c:numCache>
                <c:formatCode>General</c:formatCode>
                <c:ptCount val="2"/>
                <c:pt idx="0">
                  <c:v>0</c:v>
                </c:pt>
                <c:pt idx="1">
                  <c:v>0.0</c:v>
                </c:pt>
              </c:numCache>
            </c:numRef>
          </c:xVal>
          <c:yVal>
            <c:numRef>
              <c:f>Sheet1!$B$132:$B$133</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13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6:$A$137</c:f>
              <c:numCache>
                <c:formatCode>General</c:formatCode>
                <c:ptCount val="2"/>
                <c:pt idx="0">
                  <c:v>0.0</c:v>
                </c:pt>
                <c:pt idx="1">
                  <c:v>0.0</c:v>
                </c:pt>
              </c:numCache>
            </c:numRef>
          </c:xVal>
          <c:yVal>
            <c:numRef>
              <c:f>Sheet1!$B$136:$B$137</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0:$A$155</c:f>
              <c:numCache>
                <c:formatCode>General</c:formatCode>
                <c:ptCount val="16"/>
                <c:pt idx="0">
                  <c:v>0.0</c:v>
                </c:pt>
                <c:pt idx="1">
                  <c:v>0.0</c:v>
                </c:pt>
                <c:pt idx="2">
                  <c:v>0.0</c:v>
                </c:pt>
                <c:pt idx="3">
                  <c:v>0.0</c:v>
                </c:pt>
                <c:pt idx="4">
                  <c:v>0.0</c:v>
                </c:pt>
                <c:pt idx="5">
                  <c:v>0.0</c:v>
                </c:pt>
                <c:pt idx="6">
                  <c:v>0.0</c:v>
                </c:pt>
                <c:pt idx="7">
                  <c:v>0.0</c:v>
                </c:pt>
                <c:pt idx="8">
                  <c:v>0.0</c:v>
                </c:pt>
                <c:pt idx="9">
                  <c:v>0.0</c:v>
                </c:pt>
                <c:pt idx="10">
                  <c:v>0.0</c:v>
                </c:pt>
                <c:pt idx="11">
                  <c:v>0.0</c:v>
                </c:pt>
                <c:pt idx="12">
                  <c:v>0.0</c:v>
                </c:pt>
                <c:pt idx="13">
                  <c:v>0.007509745214663248</c:v>
                </c:pt>
                <c:pt idx="14">
                  <c:v>0.06704573659918152</c:v>
                </c:pt>
                <c:pt idx="15">
                  <c:v>0.0</c:v>
                </c:pt>
              </c:numCache>
            </c:numRef>
          </c:xVal>
          <c:yVal>
            <c:numRef>
              <c:f>Sheet1!$B$140:$B$155</c:f>
              <c:numCache>
                <c:formatCode>General</c:formatCode>
                <c:ptCount val="16"/>
                <c:pt idx="0">
                  <c:v>0.0</c:v>
                </c:pt>
                <c:pt idx="1">
                  <c:v>0.0</c:v>
                </c:pt>
                <c:pt idx="2">
                  <c:v>0.0</c:v>
                </c:pt>
                <c:pt idx="3">
                  <c:v>0.0</c:v>
                </c:pt>
                <c:pt idx="4">
                  <c:v>0.0</c:v>
                </c:pt>
                <c:pt idx="5">
                  <c:v>0.0</c:v>
                </c:pt>
                <c:pt idx="6">
                  <c:v>0.0</c:v>
                </c:pt>
                <c:pt idx="7">
                  <c:v>0.0</c:v>
                </c:pt>
                <c:pt idx="8">
                  <c:v>0.0</c:v>
                </c:pt>
                <c:pt idx="9">
                  <c:v>0.0</c:v>
                </c:pt>
                <c:pt idx="10">
                  <c:v>0.0</c:v>
                </c:pt>
                <c:pt idx="11">
                  <c:v>0.0</c:v>
                </c:pt>
                <c:pt idx="12">
                  <c:v>0.0</c:v>
                </c:pt>
                <c:pt idx="13">
                  <c:v>0.007509745214663248</c:v>
                </c:pt>
                <c:pt idx="14">
                  <c:v>0.06704573659918152</c:v>
                </c:pt>
                <c:pt idx="15">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3333333333333333"/>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5</c:f>
              <c:numCache>
                <c:formatCode>General</c:formatCode>
                <c:ptCount val="94"/>
                <c:pt idx="0">
                  <c:v>1244.25</c:v>
                </c:pt>
                <c:pt idx="1">
                  <c:v>1116.4</c:v>
                </c:pt>
                <c:pt idx="2">
                  <c:v>1214.8333</c:v>
                </c:pt>
                <c:pt idx="3">
                  <c:v>1106.5</c:v>
                </c:pt>
                <c:pt idx="4">
                  <c:v>1102.0</c:v>
                </c:pt>
                <c:pt idx="5">
                  <c:v>1050.4</c:v>
                </c:pt>
                <c:pt idx="6">
                  <c:v>1291.6667</c:v>
                </c:pt>
                <c:pt idx="7">
                  <c:v>1199.6667</c:v>
                </c:pt>
                <c:pt idx="8">
                  <c:v>1377.5</c:v>
                </c:pt>
                <c:pt idx="9">
                  <c:v>1108.0</c:v>
                </c:pt>
                <c:pt idx="10">
                  <c:v>1102.0</c:v>
                </c:pt>
                <c:pt idx="11">
                  <c:v>1193.6667</c:v>
                </c:pt>
                <c:pt idx="12">
                  <c:v>1253.3333</c:v>
                </c:pt>
                <c:pt idx="13">
                  <c:v>1081.5</c:v>
                </c:pt>
                <c:pt idx="14">
                  <c:v>1532.5</c:v>
                </c:pt>
                <c:pt idx="15">
                  <c:v>1381.0</c:v>
                </c:pt>
                <c:pt idx="16">
                  <c:v>1225.0</c:v>
                </c:pt>
                <c:pt idx="17">
                  <c:v>1397.5</c:v>
                </c:pt>
                <c:pt idx="18">
                  <c:v>1067.5</c:v>
                </c:pt>
                <c:pt idx="19">
                  <c:v>1170.2</c:v>
                </c:pt>
                <c:pt idx="20">
                  <c:v>1398.75</c:v>
                </c:pt>
                <c:pt idx="21">
                  <c:v>1355.3333</c:v>
                </c:pt>
                <c:pt idx="22">
                  <c:v>1351.6667</c:v>
                </c:pt>
                <c:pt idx="23">
                  <c:v>1120.0</c:v>
                </c:pt>
                <c:pt idx="24">
                  <c:v>1561.0</c:v>
                </c:pt>
                <c:pt idx="25">
                  <c:v>1343.6667</c:v>
                </c:pt>
                <c:pt idx="26">
                  <c:v>1231.75</c:v>
                </c:pt>
                <c:pt idx="27">
                  <c:v>1154.5</c:v>
                </c:pt>
                <c:pt idx="28">
                  <c:v>1573.0</c:v>
                </c:pt>
                <c:pt idx="29">
                  <c:v>1300.4</c:v>
                </c:pt>
                <c:pt idx="30">
                  <c:v>1412.5</c:v>
                </c:pt>
                <c:pt idx="31">
                  <c:v>1232.5</c:v>
                </c:pt>
                <c:pt idx="32">
                  <c:v>1284.6667</c:v>
                </c:pt>
                <c:pt idx="33">
                  <c:v>1314.5</c:v>
                </c:pt>
                <c:pt idx="34">
                  <c:v>1244.1</c:v>
                </c:pt>
                <c:pt idx="35">
                  <c:v>1340.2857</c:v>
                </c:pt>
                <c:pt idx="36">
                  <c:v>1239.3</c:v>
                </c:pt>
                <c:pt idx="37">
                  <c:v>1365.6</c:v>
                </c:pt>
                <c:pt idx="38">
                  <c:v>1188.2</c:v>
                </c:pt>
                <c:pt idx="39">
                  <c:v>1283.7143</c:v>
                </c:pt>
                <c:pt idx="40">
                  <c:v>1238.4286</c:v>
                </c:pt>
                <c:pt idx="41">
                  <c:v>1233.6667</c:v>
                </c:pt>
                <c:pt idx="42">
                  <c:v>1301.8889</c:v>
                </c:pt>
                <c:pt idx="43">
                  <c:v>1376.3333</c:v>
                </c:pt>
                <c:pt idx="44">
                  <c:v>1350.2</c:v>
                </c:pt>
                <c:pt idx="45">
                  <c:v>1179.8333</c:v>
                </c:pt>
                <c:pt idx="46">
                  <c:v>1328.6667</c:v>
                </c:pt>
                <c:pt idx="47">
                  <c:v>1386.5</c:v>
                </c:pt>
                <c:pt idx="48">
                  <c:v>1289.7143</c:v>
                </c:pt>
                <c:pt idx="49">
                  <c:v>1256.4545</c:v>
                </c:pt>
                <c:pt idx="50">
                  <c:v>1356.75</c:v>
                </c:pt>
                <c:pt idx="51">
                  <c:v>1232.8571</c:v>
                </c:pt>
                <c:pt idx="52">
                  <c:v>1278.125</c:v>
                </c:pt>
                <c:pt idx="53">
                  <c:v>1385.7143</c:v>
                </c:pt>
                <c:pt idx="54">
                  <c:v>1440.3333</c:v>
                </c:pt>
                <c:pt idx="55">
                  <c:v>1268.875</c:v>
                </c:pt>
                <c:pt idx="56">
                  <c:v>1231.25</c:v>
                </c:pt>
                <c:pt idx="57">
                  <c:v>1184.25</c:v>
                </c:pt>
                <c:pt idx="58">
                  <c:v>1322.5</c:v>
                </c:pt>
                <c:pt idx="59">
                  <c:v>1467.0</c:v>
                </c:pt>
                <c:pt idx="60">
                  <c:v>1332.25</c:v>
                </c:pt>
                <c:pt idx="61">
                  <c:v>1186.0</c:v>
                </c:pt>
                <c:pt idx="62">
                  <c:v>1077.0</c:v>
                </c:pt>
                <c:pt idx="63">
                  <c:v>1192.0</c:v>
                </c:pt>
                <c:pt idx="64">
                  <c:v>1140.0</c:v>
                </c:pt>
                <c:pt idx="65">
                  <c:v>1599.0</c:v>
                </c:pt>
                <c:pt idx="66">
                  <c:v>1546.0</c:v>
                </c:pt>
                <c:pt idx="67">
                  <c:v>2084.0</c:v>
                </c:pt>
                <c:pt idx="68">
                  <c:v>1757.0</c:v>
                </c:pt>
                <c:pt idx="69">
                  <c:v>1735.0</c:v>
                </c:pt>
                <c:pt idx="70">
                  <c:v>1194.5</c:v>
                </c:pt>
                <c:pt idx="71">
                  <c:v>1705.0</c:v>
                </c:pt>
                <c:pt idx="72">
                  <c:v>1354.5</c:v>
                </c:pt>
                <c:pt idx="73">
                  <c:v>1340.0</c:v>
                </c:pt>
                <c:pt idx="74">
                  <c:v>1344.0</c:v>
                </c:pt>
                <c:pt idx="75">
                  <c:v>1676.0</c:v>
                </c:pt>
                <c:pt idx="76">
                  <c:v>1199.0</c:v>
                </c:pt>
                <c:pt idx="77">
                  <c:v>1680.0</c:v>
                </c:pt>
                <c:pt idx="78">
                  <c:v>1319.0</c:v>
                </c:pt>
                <c:pt idx="79">
                  <c:v>1335.0</c:v>
                </c:pt>
                <c:pt idx="80">
                  <c:v>1191.0</c:v>
                </c:pt>
                <c:pt idx="81">
                  <c:v>1748.0</c:v>
                </c:pt>
                <c:pt idx="82">
                  <c:v>1701.0</c:v>
                </c:pt>
                <c:pt idx="83">
                  <c:v>1029.0</c:v>
                </c:pt>
                <c:pt idx="84">
                  <c:v>2066.0</c:v>
                </c:pt>
                <c:pt idx="85">
                  <c:v>1365.0</c:v>
                </c:pt>
                <c:pt idx="86">
                  <c:v>1344.0</c:v>
                </c:pt>
                <c:pt idx="87">
                  <c:v>1337.5</c:v>
                </c:pt>
                <c:pt idx="88">
                  <c:v>1714.0</c:v>
                </c:pt>
                <c:pt idx="89">
                  <c:v>1029.0</c:v>
                </c:pt>
                <c:pt idx="90">
                  <c:v>1208.0</c:v>
                </c:pt>
                <c:pt idx="91">
                  <c:v>1365.0</c:v>
                </c:pt>
                <c:pt idx="92">
                  <c:v>1008.0</c:v>
                </c:pt>
                <c:pt idx="93">
                  <c:v>1051.0</c:v>
                </c:pt>
              </c:numCache>
            </c:numRef>
          </c:xVal>
          <c:yVal>
            <c:numRef>
              <c:f>Sheet1!$B$2:$B$95</c:f>
              <c:numCache>
                <c:formatCode>General</c:formatCode>
                <c:ptCount val="94"/>
                <c:pt idx="0">
                  <c:v>0.013651877133105802</c:v>
                </c:pt>
                <c:pt idx="1">
                  <c:v>0.01592356687898089</c:v>
                </c:pt>
                <c:pt idx="2">
                  <c:v>0.019169329073482427</c:v>
                </c:pt>
                <c:pt idx="3">
                  <c:v>0.016</c:v>
                </c:pt>
                <c:pt idx="4">
                  <c:v>0.016304347826086956</c:v>
                </c:pt>
                <c:pt idx="5">
                  <c:v>0.027932960893854747</c:v>
                </c:pt>
                <c:pt idx="6">
                  <c:v>0.017857142857142856</c:v>
                </c:pt>
                <c:pt idx="7">
                  <c:v>0.018072289156626505</c:v>
                </c:pt>
                <c:pt idx="8">
                  <c:v>0.010810810810810811</c:v>
                </c:pt>
                <c:pt idx="9">
                  <c:v>0.015625</c:v>
                </c:pt>
                <c:pt idx="10">
                  <c:v>0.012269938650306749</c:v>
                </c:pt>
                <c:pt idx="11">
                  <c:v>0.018072289156626505</c:v>
                </c:pt>
                <c:pt idx="12">
                  <c:v>0.018404907975460124</c:v>
                </c:pt>
                <c:pt idx="13">
                  <c:v>0.005681818181818182</c:v>
                </c:pt>
                <c:pt idx="14">
                  <c:v>0.006042296072507553</c:v>
                </c:pt>
                <c:pt idx="15">
                  <c:v>0.007272727272727273</c:v>
                </c:pt>
                <c:pt idx="16">
                  <c:v>0.009478672985781991</c:v>
                </c:pt>
                <c:pt idx="17">
                  <c:v>0.011299435028248588</c:v>
                </c:pt>
                <c:pt idx="18">
                  <c:v>0.013245033112582781</c:v>
                </c:pt>
                <c:pt idx="19">
                  <c:v>0.02824858757062147</c:v>
                </c:pt>
                <c:pt idx="20">
                  <c:v>0.03076923076923077</c:v>
                </c:pt>
                <c:pt idx="21">
                  <c:v>0.026785714285714284</c:v>
                </c:pt>
                <c:pt idx="22">
                  <c:v>0.028037383177570093</c:v>
                </c:pt>
                <c:pt idx="23">
                  <c:v>0.0234375</c:v>
                </c:pt>
                <c:pt idx="24">
                  <c:v>0.01020408163265306</c:v>
                </c:pt>
                <c:pt idx="25">
                  <c:v>0.029411764705882353</c:v>
                </c:pt>
                <c:pt idx="26">
                  <c:v>0.035398230088495575</c:v>
                </c:pt>
                <c:pt idx="27">
                  <c:v>0.03389830508474576</c:v>
                </c:pt>
                <c:pt idx="28">
                  <c:v>0.014492753623188406</c:v>
                </c:pt>
                <c:pt idx="29">
                  <c:v>0.04504504504504504</c:v>
                </c:pt>
                <c:pt idx="30">
                  <c:v>0.023529411764705882</c:v>
                </c:pt>
                <c:pt idx="31">
                  <c:v>0.041237113402061855</c:v>
                </c:pt>
                <c:pt idx="32">
                  <c:v>0.05309734513274336</c:v>
                </c:pt>
                <c:pt idx="33">
                  <c:v>0.0380952380952381</c:v>
                </c:pt>
                <c:pt idx="34">
                  <c:v>0.078125</c:v>
                </c:pt>
                <c:pt idx="35">
                  <c:v>0.06422018348623854</c:v>
                </c:pt>
                <c:pt idx="36">
                  <c:v>0.08928571428571429</c:v>
                </c:pt>
                <c:pt idx="37">
                  <c:v>0.05</c:v>
                </c:pt>
                <c:pt idx="38">
                  <c:v>0.045454545454545456</c:v>
                </c:pt>
                <c:pt idx="39">
                  <c:v>0.0673076923076923</c:v>
                </c:pt>
                <c:pt idx="40">
                  <c:v>0.059322033898305086</c:v>
                </c:pt>
                <c:pt idx="41">
                  <c:v>0.049586776859504134</c:v>
                </c:pt>
                <c:pt idx="42">
                  <c:v>0.07086614173228346</c:v>
                </c:pt>
                <c:pt idx="43">
                  <c:v>0.05084745762711865</c:v>
                </c:pt>
                <c:pt idx="44">
                  <c:v>0.04950495049504951</c:v>
                </c:pt>
                <c:pt idx="45">
                  <c:v>0.06666666666666667</c:v>
                </c:pt>
                <c:pt idx="46">
                  <c:v>0.034482758620689655</c:v>
                </c:pt>
                <c:pt idx="47">
                  <c:v>0.03636363636363636</c:v>
                </c:pt>
                <c:pt idx="48">
                  <c:v>0.047619047619047616</c:v>
                </c:pt>
                <c:pt idx="49">
                  <c:v>0.1111111111111111</c:v>
                </c:pt>
                <c:pt idx="50">
                  <c:v>0.0851063829787234</c:v>
                </c:pt>
                <c:pt idx="51">
                  <c:v>0.07526881720430108</c:v>
                </c:pt>
                <c:pt idx="52">
                  <c:v>0.09090909090909091</c:v>
                </c:pt>
                <c:pt idx="53">
                  <c:v>0.0945945945945946</c:v>
                </c:pt>
                <c:pt idx="54">
                  <c:v>0.04411764705882353</c:v>
                </c:pt>
                <c:pt idx="55">
                  <c:v>0.10810810810810811</c:v>
                </c:pt>
                <c:pt idx="56">
                  <c:v>0.06060606060606061</c:v>
                </c:pt>
                <c:pt idx="57">
                  <c:v>0.06666666666666667</c:v>
                </c:pt>
                <c:pt idx="58">
                  <c:v>0.024096385542168676</c:v>
                </c:pt>
                <c:pt idx="59">
                  <c:v>0.02702702702702703</c:v>
                </c:pt>
                <c:pt idx="60">
                  <c:v>0.0547945205479452</c:v>
                </c:pt>
                <c:pt idx="61">
                  <c:v>0.043478260869565216</c:v>
                </c:pt>
                <c:pt idx="62">
                  <c:v>0.03896103896103896</c:v>
                </c:pt>
                <c:pt idx="63">
                  <c:v>0.025</c:v>
                </c:pt>
                <c:pt idx="64">
                  <c:v>0.056818181818181816</c:v>
                </c:pt>
                <c:pt idx="65">
                  <c:v>0.013888888888888888</c:v>
                </c:pt>
                <c:pt idx="66">
                  <c:v>0.025974025974025976</c:v>
                </c:pt>
                <c:pt idx="67">
                  <c:v>0.014285714285714285</c:v>
                </c:pt>
                <c:pt idx="68">
                  <c:v>0.019230769230769232</c:v>
                </c:pt>
                <c:pt idx="69">
                  <c:v>0.015151515151515152</c:v>
                </c:pt>
                <c:pt idx="70">
                  <c:v>0.03508771929824561</c:v>
                </c:pt>
                <c:pt idx="71">
                  <c:v>0.016666666666666666</c:v>
                </c:pt>
                <c:pt idx="72">
                  <c:v>0.03278688524590164</c:v>
                </c:pt>
                <c:pt idx="73">
                  <c:v>0.016666666666666666</c:v>
                </c:pt>
                <c:pt idx="74">
                  <c:v>0.03389830508474576</c:v>
                </c:pt>
                <c:pt idx="75">
                  <c:v>0.016129032258064516</c:v>
                </c:pt>
                <c:pt idx="76">
                  <c:v>0.037037037037037035</c:v>
                </c:pt>
                <c:pt idx="77">
                  <c:v>0.019230769230769232</c:v>
                </c:pt>
                <c:pt idx="78">
                  <c:v>0.016666666666666666</c:v>
                </c:pt>
                <c:pt idx="79">
                  <c:v>0.015384615384615385</c:v>
                </c:pt>
                <c:pt idx="80">
                  <c:v>0.028169014084507043</c:v>
                </c:pt>
                <c:pt idx="81">
                  <c:v>0.013157894736842105</c:v>
                </c:pt>
                <c:pt idx="82">
                  <c:v>0.015873015873015872</c:v>
                </c:pt>
                <c:pt idx="83">
                  <c:v>0.015873015873015872</c:v>
                </c:pt>
                <c:pt idx="84">
                  <c:v>0.01639344262295082</c:v>
                </c:pt>
                <c:pt idx="85">
                  <c:v>0.016129032258064516</c:v>
                </c:pt>
                <c:pt idx="86">
                  <c:v>0.015873015873015872</c:v>
                </c:pt>
                <c:pt idx="87">
                  <c:v>0.02631578947368421</c:v>
                </c:pt>
                <c:pt idx="88">
                  <c:v>0.012048192771084338</c:v>
                </c:pt>
                <c:pt idx="89">
                  <c:v>0.010752688172043012</c:v>
                </c:pt>
                <c:pt idx="90">
                  <c:v>0.022988505747126436</c:v>
                </c:pt>
                <c:pt idx="91">
                  <c:v>0.014492753623188406</c:v>
                </c:pt>
                <c:pt idx="92">
                  <c:v>0.017857142857142856</c:v>
                </c:pt>
                <c:pt idx="93">
                  <c:v>0.014285714285714285</c:v>
                </c:pt>
              </c:numCache>
            </c:numRef>
          </c:yVal>
          <c:smooth val="0"/>
          <c:extLst>
            <c:ext xmlns:c16="http://schemas.microsoft.com/office/drawing/2014/chart" uri="{C3380CC4-5D6E-409C-BE32-E72D297353CC}">
              <c16:uniqueId val="{00000000-F32D-48B7-BC20-E66FC6253BAD}"/>
            </c:ext>
          </c:extLst>
        </c:ser>
        <c:ser>
          <c:idx val="1"/>
          <c:order val="1"/>
          <c:tx>
            <c:strRef>
              <c:f>Sheet1!$B$9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8:$A$113</c:f>
              <c:numCache>
                <c:formatCode>General</c:formatCode>
                <c:ptCount val="16"/>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numCache>
            </c:numRef>
          </c:xVal>
          <c:yVal>
            <c:numRef>
              <c:f>Sheet1!$B$98:$B$113</c:f>
              <c:numCache>
                <c:formatCode>General</c:formatCode>
                <c:ptCount val="16"/>
                <c:pt idx="0">
                  <c:v>0.0</c:v>
                </c:pt>
                <c:pt idx="1">
                  <c:v>0.0</c:v>
                </c:pt>
                <c:pt idx="2">
                  <c:v>0.0</c:v>
                </c:pt>
                <c:pt idx="3">
                  <c:v>0.01639344262295082</c:v>
                </c:pt>
                <c:pt idx="4">
                  <c:v>0.015151515151515152</c:v>
                </c:pt>
                <c:pt idx="5">
                  <c:v>0.013513513513513514</c:v>
                </c:pt>
                <c:pt idx="6">
                  <c:v>0.0</c:v>
                </c:pt>
                <c:pt idx="7">
                  <c:v>0.0</c:v>
                </c:pt>
                <c:pt idx="8">
                  <c:v>0.0</c:v>
                </c:pt>
                <c:pt idx="9">
                  <c:v>0.0</c:v>
                </c:pt>
                <c:pt idx="10">
                  <c:v>0.0</c:v>
                </c:pt>
                <c:pt idx="11">
                  <c:v>0.0</c:v>
                </c:pt>
                <c:pt idx="12">
                  <c:v>0.0</c:v>
                </c:pt>
                <c:pt idx="13">
                  <c:v>0.0</c:v>
                </c:pt>
                <c:pt idx="14">
                  <c:v>0.0</c:v>
                </c:pt>
                <c:pt idx="15">
                  <c:v>0.0</c:v>
                </c:pt>
              </c:numCache>
            </c:numRef>
          </c:yVal>
          <c:smooth val="0"/>
          <c:extLst>
            <c:ext xmlns:c16="http://schemas.microsoft.com/office/drawing/2014/chart" uri="{C3380CC4-5D6E-409C-BE32-E72D297353CC}">
              <c16:uniqueId val="{00000002-F32D-48B7-BC20-E66FC6253BAD}"/>
            </c:ext>
          </c:extLst>
        </c:ser>
        <c:ser>
          <c:idx val="2"/>
          <c:order val="2"/>
          <c:tx>
            <c:strRef>
              <c:f>Sheet1!$B$115</c:f>
              <c:strCache>
                <c:ptCount val="1"/>
                <c:pt idx="0">
                  <c:v>Custom Linep3yQ</c:v>
                </c:pt>
              </c:strCache>
            </c:strRef>
          </c:tx>
          <c:spPr>
            <a:ln w="19050" cap="rnd">
              <a:solidFill>
                <a:srgbClr val="C00000"/>
              </a:solidFill>
              <a:prstDash val="sysDot"/>
              <a:round/>
            </a:ln>
            <a:effectLst/>
          </c:spPr>
          <c:marker>
            <c:symbol val="none"/>
          </c:marker>
          <c:xVal>
            <c:numRef>
              <c:f>Sheet1!$A$116:$A$117</c:f>
              <c:numCache>
                <c:formatCode>General</c:formatCode>
                <c:ptCount val="2"/>
                <c:pt idx="0">
                  <c:v>0</c:v>
                </c:pt>
                <c:pt idx="1">
                  <c:v>6132.448645400212</c:v>
                </c:pt>
              </c:numCache>
            </c:numRef>
          </c:xVal>
          <c:yVal>
            <c:numRef>
              <c:f>Sheet1!$B$116:$B$117</c:f>
              <c:numCache>
                <c:formatCode>General</c:formatCode>
                <c:ptCount val="2"/>
                <c:pt idx="0">
                  <c:v>0.06704573659918152</c:v>
                </c:pt>
                <c:pt idx="1">
                  <c:v>0.06704573659918152</c:v>
                </c:pt>
              </c:numCache>
            </c:numRef>
          </c:yVal>
          <c:smooth val="0"/>
          <c:extLst>
            <c:ext xmlns:c16="http://schemas.microsoft.com/office/drawing/2014/chart" uri="{C3380CC4-5D6E-409C-BE32-E72D297353CC}">
              <c16:uniqueId val="{00000003-F32D-48B7-BC20-E66FC6253BAD}"/>
            </c:ext>
          </c:extLst>
        </c:ser>
        <c:ser>
          <c:idx val="3"/>
          <c:order val="3"/>
          <c:tx>
            <c:strRef>
              <c:f>Sheet1!$B$11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6132.448645400212</c:v>
                </c:pt>
                <c:pt idx="1">
                  <c:v>6132.448645400212</c:v>
                </c:pt>
              </c:numCache>
            </c:numRef>
          </c:xVal>
          <c:yVal>
            <c:numRef>
              <c:f>Sheet1!$B$120:$B$121</c:f>
              <c:numCache>
                <c:formatCode>General</c:formatCode>
                <c:ptCount val="2"/>
                <c:pt idx="0">
                  <c:v>0.067045736599181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4:$A$125</c:f>
              <c:numCache>
                <c:formatCode>General</c:formatCode>
                <c:ptCount val="2"/>
                <c:pt idx="0">
                  <c:v>0</c:v>
                </c:pt>
                <c:pt idx="1">
                  <c:v>666.6525428456805</c:v>
                </c:pt>
              </c:numCache>
            </c:numRef>
          </c:xVal>
          <c:yVal>
            <c:numRef>
              <c:f>Sheet1!$B$124:$B$125</c:f>
              <c:numCache>
                <c:formatCode>General</c:formatCode>
                <c:ptCount val="2"/>
                <c:pt idx="0">
                  <c:v>0.007509745214663248</c:v>
                </c:pt>
                <c:pt idx="1">
                  <c:v>0.007509745214663248</c:v>
                </c:pt>
              </c:numCache>
            </c:numRef>
          </c:yVal>
          <c:smooth val="0"/>
          <c:extLst>
            <c:ext xmlns:c16="http://schemas.microsoft.com/office/drawing/2014/chart" uri="{C3380CC4-5D6E-409C-BE32-E72D297353CC}">
              <c16:uniqueId val="{0000000A-F32D-48B7-BC20-E66FC6253BAD}"/>
            </c:ext>
          </c:extLst>
        </c:ser>
        <c:ser>
          <c:idx val="5"/>
          <c:order val="5"/>
          <c:tx>
            <c:strRef>
              <c:f>Sheet1!$B$12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666.6525428456805</c:v>
                </c:pt>
                <c:pt idx="1">
                  <c:v>666.6525428456805</c:v>
                </c:pt>
              </c:numCache>
            </c:numRef>
          </c:xVal>
          <c:yVal>
            <c:numRef>
              <c:f>Sheet1!$B$128:$B$129</c:f>
              <c:numCache>
                <c:formatCode>General</c:formatCode>
                <c:ptCount val="2"/>
                <c:pt idx="0">
                  <c:v>0.00750974521466324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2:$A$133</c:f>
              <c:numCache>
                <c:formatCode>General</c:formatCode>
                <c:ptCount val="2"/>
                <c:pt idx="0">
                  <c:v>0</c:v>
                </c:pt>
                <c:pt idx="1">
                  <c:v>-22.791525707408276</c:v>
                </c:pt>
              </c:numCache>
            </c:numRef>
          </c:xVal>
          <c:yVal>
            <c:numRef>
              <c:f>Sheet1!$B$132:$B$133</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13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6:$A$137</c:f>
              <c:numCache>
                <c:formatCode>General</c:formatCode>
                <c:ptCount val="2"/>
                <c:pt idx="0">
                  <c:v>-22.791525707408276</c:v>
                </c:pt>
                <c:pt idx="1">
                  <c:v>-22.791525707408276</c:v>
                </c:pt>
              </c:numCache>
            </c:numRef>
          </c:xVal>
          <c:yVal>
            <c:numRef>
              <c:f>Sheet1!$B$136:$B$137</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0:$A$158</c:f>
              <c:numCache>
                <c:formatCode>General</c:formatCode>
                <c:ptCount val="19"/>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666.6525428456805</c:v>
                </c:pt>
                <c:pt idx="17">
                  <c:v>6132.448645400212</c:v>
                </c:pt>
                <c:pt idx="18">
                  <c:v>-22.791525707408276</c:v>
                </c:pt>
              </c:numCache>
            </c:numRef>
          </c:xVal>
          <c:yVal>
            <c:numRef>
              <c:f>Sheet1!$B$140:$B$158</c:f>
              <c:numCache>
                <c:formatCode>General</c:formatCode>
                <c:ptCount val="19"/>
                <c:pt idx="0">
                  <c:v>0.0002482558903948335</c:v>
                </c:pt>
                <c:pt idx="1">
                  <c:v>0.0002482558903948335</c:v>
                </c:pt>
                <c:pt idx="2">
                  <c:v>0.0002482558903948335</c:v>
                </c:pt>
                <c:pt idx="3">
                  <c:v>0.011696236343943858</c:v>
                </c:pt>
                <c:pt idx="4">
                  <c:v>0.011456602119416666</c:v>
                </c:pt>
                <c:pt idx="5">
                  <c:v>0.018678306249486125</c:v>
                </c:pt>
                <c:pt idx="6">
                  <c:v>0.0002482558903948335</c:v>
                </c:pt>
                <c:pt idx="7">
                  <c:v>0.0002482558903948335</c:v>
                </c:pt>
                <c:pt idx="8">
                  <c:v>0.0002482558903948335</c:v>
                </c:pt>
                <c:pt idx="9">
                  <c:v>0.0002482558903948335</c:v>
                </c:pt>
                <c:pt idx="10">
                  <c:v>0.0002482558903948335</c:v>
                </c:pt>
                <c:pt idx="11">
                  <c:v>0.0002482558903948335</c:v>
                </c:pt>
                <c:pt idx="12">
                  <c:v>0.0002482558903948335</c:v>
                </c:pt>
                <c:pt idx="13">
                  <c:v>0.0002482558903948335</c:v>
                </c:pt>
                <c:pt idx="14">
                  <c:v>0.0002482558903948335</c:v>
                </c:pt>
                <c:pt idx="15">
                  <c:v>0.0002482558903948335</c:v>
                </c:pt>
                <c:pt idx="16">
                  <c:v>0.007509745214663248</c:v>
                </c:pt>
                <c:pt idx="17">
                  <c:v>0.06704573659918152</c:v>
                </c:pt>
                <c:pt idx="18">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35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3333333333333333"/>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3</c:f>
              <c:numCache>
                <c:formatCode>General</c:formatCode>
                <c:ptCount val="62"/>
                <c:pt idx="0">
                  <c:v>0.6196155569941736</c:v>
                </c:pt>
                <c:pt idx="1">
                  <c:v>0.5318953545915829</c:v>
                </c:pt>
                <c:pt idx="2">
                  <c:v>0.611192936115436</c:v>
                </c:pt>
                <c:pt idx="3">
                  <c:v>0.6390245015219063</c:v>
                </c:pt>
                <c:pt idx="4">
                  <c:v>0.5446009389671361</c:v>
                </c:pt>
                <c:pt idx="5">
                  <c:v>0.5282816517733723</c:v>
                </c:pt>
                <c:pt idx="6">
                  <c:v>0.6372700339192106</c:v>
                </c:pt>
                <c:pt idx="7">
                  <c:v>0.621911197511664</c:v>
                </c:pt>
                <c:pt idx="8">
                  <c:v>0.7133609528741585</c:v>
                </c:pt>
                <c:pt idx="9">
                  <c:v>0.5765520646287806</c:v>
                </c:pt>
                <c:pt idx="10">
                  <c:v>0.5529100554319926</c:v>
                </c:pt>
                <c:pt idx="11">
                  <c:v>0.5821817847859175</c:v>
                </c:pt>
                <c:pt idx="12">
                  <c:v>0.645216628056628</c:v>
                </c:pt>
                <c:pt idx="13">
                  <c:v>0.5345668523176402</c:v>
                </c:pt>
                <c:pt idx="14">
                  <c:v>0.8109125493915854</c:v>
                </c:pt>
                <c:pt idx="15">
                  <c:v>0.6935263060654625</c:v>
                </c:pt>
                <c:pt idx="16">
                  <c:v>0.5432372505543237</c:v>
                </c:pt>
                <c:pt idx="17">
                  <c:v>0.6235657708395124</c:v>
                </c:pt>
                <c:pt idx="18">
                  <c:v>0.49499868170374517</c:v>
                </c:pt>
                <c:pt idx="19">
                  <c:v>0.6005131611270415</c:v>
                </c:pt>
                <c:pt idx="20">
                  <c:v>0.7100253807106599</c:v>
                </c:pt>
                <c:pt idx="21">
                  <c:v>0.7597159753363228</c:v>
                </c:pt>
                <c:pt idx="22">
                  <c:v>0.8790548272660558</c:v>
                </c:pt>
                <c:pt idx="23">
                  <c:v>0.5820341542838467</c:v>
                </c:pt>
                <c:pt idx="24">
                  <c:v>0.9057808080075433</c:v>
                </c:pt>
                <c:pt idx="25">
                  <c:v>0.7319442734577148</c:v>
                </c:pt>
                <c:pt idx="26">
                  <c:v>0.8490728613772661</c:v>
                </c:pt>
                <c:pt idx="27">
                  <c:v>0.5943371943371943</c:v>
                </c:pt>
                <c:pt idx="28">
                  <c:v>0.8838497280153337</c:v>
                </c:pt>
                <c:pt idx="29">
                  <c:v>0.6673566380251745</c:v>
                </c:pt>
                <c:pt idx="30">
                  <c:v>0.7244602873437737</c:v>
                </c:pt>
                <c:pt idx="31">
                  <c:v>0.6697641560699924</c:v>
                </c:pt>
                <c:pt idx="32">
                  <c:v>0.728337933068845</c:v>
                </c:pt>
                <c:pt idx="33">
                  <c:v>0.6848549269385614</c:v>
                </c:pt>
                <c:pt idx="34">
                  <c:v>0.6333055817785548</c:v>
                </c:pt>
                <c:pt idx="35">
                  <c:v>0.6771735023117261</c:v>
                </c:pt>
                <c:pt idx="36">
                  <c:v>0.6255445690284116</c:v>
                </c:pt>
                <c:pt idx="37">
                  <c:v>0.697826543193884</c:v>
                </c:pt>
                <c:pt idx="38">
                  <c:v>0.5787411080413013</c:v>
                </c:pt>
                <c:pt idx="39">
                  <c:v>0.6505050289047628</c:v>
                </c:pt>
                <c:pt idx="40">
                  <c:v>0.6658218279569892</c:v>
                </c:pt>
                <c:pt idx="41">
                  <c:v>0.6841245979959383</c:v>
                </c:pt>
                <c:pt idx="42">
                  <c:v>0.6685610332254917</c:v>
                </c:pt>
                <c:pt idx="43">
                  <c:v>0.7515720078172956</c:v>
                </c:pt>
                <c:pt idx="44">
                  <c:v>0.6064498742364355</c:v>
                </c:pt>
                <c:pt idx="45">
                  <c:v>0.7654627976959948</c:v>
                </c:pt>
                <c:pt idx="46">
                  <c:v>0.3750117696867062</c:v>
                </c:pt>
                <c:pt idx="47">
                  <c:v>0.8059875018165964</c:v>
                </c:pt>
                <c:pt idx="48">
                  <c:v>1.0781310762800418</c:v>
                </c:pt>
                <c:pt idx="49">
                  <c:v>0.6791645945945947</c:v>
                </c:pt>
                <c:pt idx="50">
                  <c:v>1.6959375</c:v>
                </c:pt>
                <c:pt idx="51">
                  <c:v>0.0</c:v>
                </c:pt>
                <c:pt idx="52">
                  <c:v>1.188953488372093</c:v>
                </c:pt>
                <c:pt idx="53">
                  <c:v>0.0</c:v>
                </c:pt>
                <c:pt idx="54">
                  <c:v>0.0</c:v>
                </c:pt>
                <c:pt idx="55">
                  <c:v>1.1451940433212997</c:v>
                </c:pt>
                <c:pt idx="56">
                  <c:v>0.0</c:v>
                </c:pt>
                <c:pt idx="57">
                  <c:v>0.0</c:v>
                </c:pt>
                <c:pt idx="58">
                  <c:v>1.8342579750346741</c:v>
                </c:pt>
                <c:pt idx="59">
                  <c:v>2.0972122944960687</c:v>
                </c:pt>
                <c:pt idx="60">
                  <c:v>0.0</c:v>
                </c:pt>
                <c:pt idx="61">
                  <c:v>0.0</c:v>
                </c:pt>
              </c:numCache>
            </c:numRef>
          </c:xVal>
          <c:yVal>
            <c:numRef>
              <c:f>Sheet1!$B$2:$B$63</c:f>
              <c:numCache>
                <c:formatCode>General</c:formatCode>
                <c:ptCount val="62"/>
                <c:pt idx="0">
                  <c:v>0.013651877133105802</c:v>
                </c:pt>
                <c:pt idx="1">
                  <c:v>0.01592356687898089</c:v>
                </c:pt>
                <c:pt idx="2">
                  <c:v>0.019169329073482427</c:v>
                </c:pt>
                <c:pt idx="3">
                  <c:v>0.016</c:v>
                </c:pt>
                <c:pt idx="4">
                  <c:v>0.016304347826086956</c:v>
                </c:pt>
                <c:pt idx="5">
                  <c:v>0.027932960893854747</c:v>
                </c:pt>
                <c:pt idx="6">
                  <c:v>0.017857142857142856</c:v>
                </c:pt>
                <c:pt idx="7">
                  <c:v>0.018072289156626505</c:v>
                </c:pt>
                <c:pt idx="8">
                  <c:v>0.010810810810810811</c:v>
                </c:pt>
                <c:pt idx="9">
                  <c:v>0.015625</c:v>
                </c:pt>
                <c:pt idx="10">
                  <c:v>0.012269938650306749</c:v>
                </c:pt>
                <c:pt idx="11">
                  <c:v>0.018072289156626505</c:v>
                </c:pt>
                <c:pt idx="12">
                  <c:v>0.018404907975460124</c:v>
                </c:pt>
                <c:pt idx="13">
                  <c:v>0.005681818181818182</c:v>
                </c:pt>
                <c:pt idx="14">
                  <c:v>0.006042296072507553</c:v>
                </c:pt>
                <c:pt idx="15">
                  <c:v>0.007272727272727273</c:v>
                </c:pt>
                <c:pt idx="16">
                  <c:v>0.009478672985781991</c:v>
                </c:pt>
                <c:pt idx="17">
                  <c:v>0.011299435028248588</c:v>
                </c:pt>
                <c:pt idx="18">
                  <c:v>0.013245033112582781</c:v>
                </c:pt>
                <c:pt idx="19">
                  <c:v>0.02824858757062147</c:v>
                </c:pt>
                <c:pt idx="20">
                  <c:v>0.03076923076923077</c:v>
                </c:pt>
                <c:pt idx="21">
                  <c:v>0.026785714285714284</c:v>
                </c:pt>
                <c:pt idx="22">
                  <c:v>0.028037383177570093</c:v>
                </c:pt>
                <c:pt idx="23">
                  <c:v>0.0234375</c:v>
                </c:pt>
                <c:pt idx="24">
                  <c:v>0.01020408163265306</c:v>
                </c:pt>
                <c:pt idx="25">
                  <c:v>0.029411764705882353</c:v>
                </c:pt>
                <c:pt idx="26">
                  <c:v>0.035398230088495575</c:v>
                </c:pt>
                <c:pt idx="27">
                  <c:v>0.03389830508474576</c:v>
                </c:pt>
                <c:pt idx="28">
                  <c:v>0.014492753623188406</c:v>
                </c:pt>
                <c:pt idx="29">
                  <c:v>0.04504504504504504</c:v>
                </c:pt>
                <c:pt idx="30">
                  <c:v>0.023529411764705882</c:v>
                </c:pt>
                <c:pt idx="31">
                  <c:v>0.041237113402061855</c:v>
                </c:pt>
                <c:pt idx="32">
                  <c:v>0.05309734513274336</c:v>
                </c:pt>
                <c:pt idx="33">
                  <c:v>0.0380952380952381</c:v>
                </c:pt>
                <c:pt idx="34">
                  <c:v>0.078125</c:v>
                </c:pt>
                <c:pt idx="35">
                  <c:v>0.06422018348623854</c:v>
                </c:pt>
                <c:pt idx="36">
                  <c:v>0.08928571428571429</c:v>
                </c:pt>
                <c:pt idx="37">
                  <c:v>0.05</c:v>
                </c:pt>
                <c:pt idx="38">
                  <c:v>0.045454545454545456</c:v>
                </c:pt>
                <c:pt idx="39">
                  <c:v>0.0673076923076923</c:v>
                </c:pt>
                <c:pt idx="40">
                  <c:v>0.059322033898305086</c:v>
                </c:pt>
                <c:pt idx="41">
                  <c:v>0.049586776859504134</c:v>
                </c:pt>
                <c:pt idx="42">
                  <c:v>0.07086614173228346</c:v>
                </c:pt>
                <c:pt idx="43">
                  <c:v>0.05084745762711865</c:v>
                </c:pt>
                <c:pt idx="44">
                  <c:v>0.04950495049504951</c:v>
                </c:pt>
                <c:pt idx="45">
                  <c:v>0.06666666666666667</c:v>
                </c:pt>
                <c:pt idx="46">
                  <c:v>0.034482758620689655</c:v>
                </c:pt>
                <c:pt idx="47">
                  <c:v>0.03636363636363636</c:v>
                </c:pt>
                <c:pt idx="48">
                  <c:v>0.047619047619047616</c:v>
                </c:pt>
                <c:pt idx="49">
                  <c:v>0.1111111111111111</c:v>
                </c:pt>
                <c:pt idx="50">
                  <c:v>0.0851063829787234</c:v>
                </c:pt>
                <c:pt idx="51">
                  <c:v>0.07526881720430108</c:v>
                </c:pt>
                <c:pt idx="52">
                  <c:v>0.09090909090909091</c:v>
                </c:pt>
                <c:pt idx="53">
                  <c:v>0.0945945945945946</c:v>
                </c:pt>
                <c:pt idx="54">
                  <c:v>0.04411764705882353</c:v>
                </c:pt>
                <c:pt idx="55">
                  <c:v>0.10810810810810811</c:v>
                </c:pt>
                <c:pt idx="56">
                  <c:v>0.06060606060606061</c:v>
                </c:pt>
                <c:pt idx="57">
                  <c:v>0.06666666666666667</c:v>
                </c:pt>
                <c:pt idx="58">
                  <c:v>0.024096385542168676</c:v>
                </c:pt>
                <c:pt idx="59">
                  <c:v>0.02702702702702703</c:v>
                </c:pt>
                <c:pt idx="60">
                  <c:v>0.0547945205479452</c:v>
                </c:pt>
                <c:pt idx="61">
                  <c:v>0.025974025974025976</c:v>
                </c:pt>
              </c:numCache>
            </c:numRef>
          </c:yVal>
          <c:smooth val="0"/>
          <c:extLst>
            <c:ext xmlns:c16="http://schemas.microsoft.com/office/drawing/2014/chart" uri="{C3380CC4-5D6E-409C-BE32-E72D297353CC}">
              <c16:uniqueId val="{00000000-096C-4121-9522-6AB7243CCAAE}"/>
            </c:ext>
          </c:extLst>
        </c:ser>
        <c:ser>
          <c:idx val="1"/>
          <c:order val="1"/>
          <c:tx>
            <c:strRef>
              <c:f>Sheet1!$B$6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6:$A$65</c:f>
              <c:numCache>
                <c:formatCode>General</c:formatCode>
                <c:ptCount val="0"/>
              </c:numCache>
            </c:numRef>
          </c:xVal>
          <c:yVal>
            <c:numRef>
              <c:f>Sheet1!$B$66:$B$65</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68:$A$69</c:f>
              <c:numCache>
                <c:formatCode>General</c:formatCode>
                <c:ptCount val="2"/>
                <c:pt idx="0">
                  <c:v>0</c:v>
                </c:pt>
                <c:pt idx="1">
                  <c:v>0.06704573659918152</c:v>
                </c:pt>
              </c:numCache>
            </c:numRef>
          </c:xVal>
          <c:yVal>
            <c:numRef>
              <c:f>Sheet1!$B$68:$B$69</c:f>
              <c:numCache>
                <c:formatCode>General</c:formatCode>
                <c:ptCount val="2"/>
                <c:pt idx="0">
                  <c:v>0.06704573659918152</c:v>
                </c:pt>
                <c:pt idx="1">
                  <c:v>0.06704573659918152</c:v>
                </c:pt>
              </c:numCache>
            </c:numRef>
          </c:yVal>
          <c:smooth val="0"/>
          <c:extLst>
            <c:ext xmlns:c16="http://schemas.microsoft.com/office/drawing/2014/chart" uri="{C3380CC4-5D6E-409C-BE32-E72D297353CC}">
              <c16:uniqueId val="{00000005-096C-4121-9522-6AB7243CCAAE}"/>
            </c:ext>
          </c:extLst>
        </c:ser>
        <c:ser>
          <c:idx val="3"/>
          <c:order val="3"/>
          <c:tx>
            <c:strRef>
              <c:f>Sheet1!$B$7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2:$A$73</c:f>
              <c:numCache>
                <c:formatCode>General</c:formatCode>
                <c:ptCount val="2"/>
                <c:pt idx="0">
                  <c:v>0.06704573659918152</c:v>
                </c:pt>
                <c:pt idx="1">
                  <c:v>0.06704573659918152</c:v>
                </c:pt>
              </c:numCache>
            </c:numRef>
          </c:xVal>
          <c:yVal>
            <c:numRef>
              <c:f>Sheet1!$B$72:$B$73</c:f>
              <c:numCache>
                <c:formatCode>General</c:formatCode>
                <c:ptCount val="2"/>
                <c:pt idx="0">
                  <c:v>0.067045736599181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75</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76:$A$78</c:f>
              <c:numCache>
                <c:formatCode>General</c:formatCode>
                <c:ptCount val="3"/>
                <c:pt idx="0">
                  <c:v>0</c:v>
                </c:pt>
                <c:pt idx="1">
                  <c:v>0.06704573659918152</c:v>
                </c:pt>
                <c:pt idx="2">
                  <c:v>0</c:v>
                </c:pt>
              </c:numCache>
            </c:numRef>
          </c:xVal>
          <c:yVal>
            <c:numRef>
              <c:f>Sheet1!$B$76:$B$78</c:f>
              <c:numCache>
                <c:formatCode>General</c:formatCode>
                <c:ptCount val="3"/>
                <c:pt idx="0">
                  <c:v>0</c:v>
                </c:pt>
                <c:pt idx="1">
                  <c:v>0.06704573659918152</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3333333333333333"/>
          <c:min val="0.00454545454545454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3</c:f>
              <c:numCache>
                <c:formatCode>General</c:formatCode>
                <c:ptCount val="62"/>
                <c:pt idx="0">
                  <c:v>1244.25</c:v>
                </c:pt>
                <c:pt idx="1">
                  <c:v>1116.4</c:v>
                </c:pt>
                <c:pt idx="2">
                  <c:v>1214.8333</c:v>
                </c:pt>
                <c:pt idx="3">
                  <c:v>1106.5</c:v>
                </c:pt>
                <c:pt idx="4">
                  <c:v>1102.0</c:v>
                </c:pt>
                <c:pt idx="5">
                  <c:v>1050.4</c:v>
                </c:pt>
                <c:pt idx="6">
                  <c:v>1291.6667</c:v>
                </c:pt>
                <c:pt idx="7">
                  <c:v>1199.6667</c:v>
                </c:pt>
                <c:pt idx="8">
                  <c:v>1377.5</c:v>
                </c:pt>
                <c:pt idx="9">
                  <c:v>1108.0</c:v>
                </c:pt>
                <c:pt idx="10">
                  <c:v>1102.0</c:v>
                </c:pt>
                <c:pt idx="11">
                  <c:v>1193.6667</c:v>
                </c:pt>
                <c:pt idx="12">
                  <c:v>1253.3333</c:v>
                </c:pt>
                <c:pt idx="13">
                  <c:v>1081.5</c:v>
                </c:pt>
                <c:pt idx="14">
                  <c:v>1532.5</c:v>
                </c:pt>
                <c:pt idx="15">
                  <c:v>1381.0</c:v>
                </c:pt>
                <c:pt idx="16">
                  <c:v>1225.0</c:v>
                </c:pt>
                <c:pt idx="17">
                  <c:v>1397.5</c:v>
                </c:pt>
                <c:pt idx="18">
                  <c:v>1067.5</c:v>
                </c:pt>
                <c:pt idx="19">
                  <c:v>1170.2</c:v>
                </c:pt>
                <c:pt idx="20">
                  <c:v>1398.75</c:v>
                </c:pt>
                <c:pt idx="21">
                  <c:v>1355.3333</c:v>
                </c:pt>
                <c:pt idx="22">
                  <c:v>1351.6667</c:v>
                </c:pt>
                <c:pt idx="23">
                  <c:v>1120.0</c:v>
                </c:pt>
                <c:pt idx="24">
                  <c:v>1561.0</c:v>
                </c:pt>
                <c:pt idx="25">
                  <c:v>1343.6667</c:v>
                </c:pt>
                <c:pt idx="26">
                  <c:v>1231.75</c:v>
                </c:pt>
                <c:pt idx="27">
                  <c:v>1154.5</c:v>
                </c:pt>
                <c:pt idx="28">
                  <c:v>1573.0</c:v>
                </c:pt>
                <c:pt idx="29">
                  <c:v>1300.4</c:v>
                </c:pt>
                <c:pt idx="30">
                  <c:v>1412.5</c:v>
                </c:pt>
                <c:pt idx="31">
                  <c:v>1232.5</c:v>
                </c:pt>
                <c:pt idx="32">
                  <c:v>1284.6667</c:v>
                </c:pt>
                <c:pt idx="33">
                  <c:v>1314.5</c:v>
                </c:pt>
                <c:pt idx="34">
                  <c:v>1244.1</c:v>
                </c:pt>
                <c:pt idx="35">
                  <c:v>1340.2857</c:v>
                </c:pt>
                <c:pt idx="36">
                  <c:v>1239.3</c:v>
                </c:pt>
                <c:pt idx="37">
                  <c:v>1365.6</c:v>
                </c:pt>
                <c:pt idx="38">
                  <c:v>1188.2</c:v>
                </c:pt>
                <c:pt idx="39">
                  <c:v>1283.7143</c:v>
                </c:pt>
                <c:pt idx="40">
                  <c:v>1238.4286</c:v>
                </c:pt>
                <c:pt idx="41">
                  <c:v>1233.6667</c:v>
                </c:pt>
                <c:pt idx="42">
                  <c:v>1301.8889</c:v>
                </c:pt>
                <c:pt idx="43">
                  <c:v>1376.3333</c:v>
                </c:pt>
                <c:pt idx="44">
                  <c:v>1350.2</c:v>
                </c:pt>
                <c:pt idx="45">
                  <c:v>1179.8333</c:v>
                </c:pt>
                <c:pt idx="46">
                  <c:v>1328.6667</c:v>
                </c:pt>
                <c:pt idx="47">
                  <c:v>1386.5</c:v>
                </c:pt>
                <c:pt idx="48">
                  <c:v>1289.7143</c:v>
                </c:pt>
                <c:pt idx="49">
                  <c:v>1256.4545</c:v>
                </c:pt>
                <c:pt idx="50">
                  <c:v>1356.75</c:v>
                </c:pt>
                <c:pt idx="51">
                  <c:v>1232.8571</c:v>
                </c:pt>
                <c:pt idx="52">
                  <c:v>1278.125</c:v>
                </c:pt>
                <c:pt idx="53">
                  <c:v>1385.7143</c:v>
                </c:pt>
                <c:pt idx="54">
                  <c:v>1440.3333</c:v>
                </c:pt>
                <c:pt idx="55">
                  <c:v>1268.875</c:v>
                </c:pt>
                <c:pt idx="56">
                  <c:v>1231.25</c:v>
                </c:pt>
                <c:pt idx="57">
                  <c:v>1184.25</c:v>
                </c:pt>
                <c:pt idx="58">
                  <c:v>1322.5</c:v>
                </c:pt>
                <c:pt idx="59">
                  <c:v>1467.0</c:v>
                </c:pt>
                <c:pt idx="60">
                  <c:v>1332.25</c:v>
                </c:pt>
                <c:pt idx="61">
                  <c:v>1546.0</c:v>
                </c:pt>
              </c:numCache>
            </c:numRef>
          </c:xVal>
          <c:yVal>
            <c:numRef>
              <c:f>Sheet1!$B$2:$B$63</c:f>
              <c:numCache>
                <c:formatCode>General</c:formatCode>
                <c:ptCount val="62"/>
                <c:pt idx="0">
                  <c:v>0.013651877133105802</c:v>
                </c:pt>
                <c:pt idx="1">
                  <c:v>0.01592356687898089</c:v>
                </c:pt>
                <c:pt idx="2">
                  <c:v>0.019169329073482427</c:v>
                </c:pt>
                <c:pt idx="3">
                  <c:v>0.016</c:v>
                </c:pt>
                <c:pt idx="4">
                  <c:v>0.016304347826086956</c:v>
                </c:pt>
                <c:pt idx="5">
                  <c:v>0.027932960893854747</c:v>
                </c:pt>
                <c:pt idx="6">
                  <c:v>0.017857142857142856</c:v>
                </c:pt>
                <c:pt idx="7">
                  <c:v>0.018072289156626505</c:v>
                </c:pt>
                <c:pt idx="8">
                  <c:v>0.010810810810810811</c:v>
                </c:pt>
                <c:pt idx="9">
                  <c:v>0.015625</c:v>
                </c:pt>
                <c:pt idx="10">
                  <c:v>0.012269938650306749</c:v>
                </c:pt>
                <c:pt idx="11">
                  <c:v>0.018072289156626505</c:v>
                </c:pt>
                <c:pt idx="12">
                  <c:v>0.018404907975460124</c:v>
                </c:pt>
                <c:pt idx="13">
                  <c:v>0.005681818181818182</c:v>
                </c:pt>
                <c:pt idx="14">
                  <c:v>0.006042296072507553</c:v>
                </c:pt>
                <c:pt idx="15">
                  <c:v>0.007272727272727273</c:v>
                </c:pt>
                <c:pt idx="16">
                  <c:v>0.009478672985781991</c:v>
                </c:pt>
                <c:pt idx="17">
                  <c:v>0.011299435028248588</c:v>
                </c:pt>
                <c:pt idx="18">
                  <c:v>0.013245033112582781</c:v>
                </c:pt>
                <c:pt idx="19">
                  <c:v>0.02824858757062147</c:v>
                </c:pt>
                <c:pt idx="20">
                  <c:v>0.03076923076923077</c:v>
                </c:pt>
                <c:pt idx="21">
                  <c:v>0.026785714285714284</c:v>
                </c:pt>
                <c:pt idx="22">
                  <c:v>0.028037383177570093</c:v>
                </c:pt>
                <c:pt idx="23">
                  <c:v>0.0234375</c:v>
                </c:pt>
                <c:pt idx="24">
                  <c:v>0.01020408163265306</c:v>
                </c:pt>
                <c:pt idx="25">
                  <c:v>0.029411764705882353</c:v>
                </c:pt>
                <c:pt idx="26">
                  <c:v>0.035398230088495575</c:v>
                </c:pt>
                <c:pt idx="27">
                  <c:v>0.03389830508474576</c:v>
                </c:pt>
                <c:pt idx="28">
                  <c:v>0.014492753623188406</c:v>
                </c:pt>
                <c:pt idx="29">
                  <c:v>0.04504504504504504</c:v>
                </c:pt>
                <c:pt idx="30">
                  <c:v>0.023529411764705882</c:v>
                </c:pt>
                <c:pt idx="31">
                  <c:v>0.041237113402061855</c:v>
                </c:pt>
                <c:pt idx="32">
                  <c:v>0.05309734513274336</c:v>
                </c:pt>
                <c:pt idx="33">
                  <c:v>0.0380952380952381</c:v>
                </c:pt>
                <c:pt idx="34">
                  <c:v>0.078125</c:v>
                </c:pt>
                <c:pt idx="35">
                  <c:v>0.06422018348623854</c:v>
                </c:pt>
                <c:pt idx="36">
                  <c:v>0.08928571428571429</c:v>
                </c:pt>
                <c:pt idx="37">
                  <c:v>0.05</c:v>
                </c:pt>
                <c:pt idx="38">
                  <c:v>0.045454545454545456</c:v>
                </c:pt>
                <c:pt idx="39">
                  <c:v>0.0673076923076923</c:v>
                </c:pt>
                <c:pt idx="40">
                  <c:v>0.059322033898305086</c:v>
                </c:pt>
                <c:pt idx="41">
                  <c:v>0.049586776859504134</c:v>
                </c:pt>
                <c:pt idx="42">
                  <c:v>0.07086614173228346</c:v>
                </c:pt>
                <c:pt idx="43">
                  <c:v>0.05084745762711865</c:v>
                </c:pt>
                <c:pt idx="44">
                  <c:v>0.04950495049504951</c:v>
                </c:pt>
                <c:pt idx="45">
                  <c:v>0.06666666666666667</c:v>
                </c:pt>
                <c:pt idx="46">
                  <c:v>0.034482758620689655</c:v>
                </c:pt>
                <c:pt idx="47">
                  <c:v>0.03636363636363636</c:v>
                </c:pt>
                <c:pt idx="48">
                  <c:v>0.047619047619047616</c:v>
                </c:pt>
                <c:pt idx="49">
                  <c:v>0.1111111111111111</c:v>
                </c:pt>
                <c:pt idx="50">
                  <c:v>0.0851063829787234</c:v>
                </c:pt>
                <c:pt idx="51">
                  <c:v>0.07526881720430108</c:v>
                </c:pt>
                <c:pt idx="52">
                  <c:v>0.09090909090909091</c:v>
                </c:pt>
                <c:pt idx="53">
                  <c:v>0.0945945945945946</c:v>
                </c:pt>
                <c:pt idx="54">
                  <c:v>0.04411764705882353</c:v>
                </c:pt>
                <c:pt idx="55">
                  <c:v>0.10810810810810811</c:v>
                </c:pt>
                <c:pt idx="56">
                  <c:v>0.06060606060606061</c:v>
                </c:pt>
                <c:pt idx="57">
                  <c:v>0.06666666666666667</c:v>
                </c:pt>
                <c:pt idx="58">
                  <c:v>0.024096385542168676</c:v>
                </c:pt>
                <c:pt idx="59">
                  <c:v>0.02702702702702703</c:v>
                </c:pt>
                <c:pt idx="60">
                  <c:v>0.0547945205479452</c:v>
                </c:pt>
                <c:pt idx="61">
                  <c:v>0.025974025974025976</c:v>
                </c:pt>
              </c:numCache>
            </c:numRef>
          </c:yVal>
          <c:smooth val="0"/>
          <c:extLst>
            <c:ext xmlns:c16="http://schemas.microsoft.com/office/drawing/2014/chart" uri="{C3380CC4-5D6E-409C-BE32-E72D297353CC}">
              <c16:uniqueId val="{00000000-F32D-48B7-BC20-E66FC6253BAD}"/>
            </c:ext>
          </c:extLst>
        </c:ser>
        <c:ser>
          <c:idx val="1"/>
          <c:order val="1"/>
          <c:tx>
            <c:strRef>
              <c:f>Sheet1!$B$6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6:$A$65</c:f>
              <c:numCache>
                <c:formatCode>General</c:formatCode>
                <c:ptCount val="0"/>
              </c:numCache>
            </c:numRef>
          </c:xVal>
          <c:yVal>
            <c:numRef>
              <c:f>Sheet1!$B$66:$B$65</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7</c:f>
              <c:strCache>
                <c:ptCount val="1"/>
                <c:pt idx="0">
                  <c:v>Custom Linep3yQ</c:v>
                </c:pt>
              </c:strCache>
            </c:strRef>
          </c:tx>
          <c:spPr>
            <a:ln w="19050" cap="rnd">
              <a:solidFill>
                <a:srgbClr val="C00000"/>
              </a:solidFill>
              <a:prstDash val="sysDot"/>
              <a:round/>
            </a:ln>
            <a:effectLst/>
          </c:spPr>
          <c:marker>
            <c:symbol val="none"/>
          </c:marker>
          <c:xVal>
            <c:numRef>
              <c:f>Sheet1!$A$68:$A$69</c:f>
              <c:numCache>
                <c:formatCode>General</c:formatCode>
                <c:ptCount val="2"/>
                <c:pt idx="0">
                  <c:v>0</c:v>
                </c:pt>
                <c:pt idx="1">
                  <c:v>0.06704573659918152</c:v>
                </c:pt>
              </c:numCache>
            </c:numRef>
          </c:xVal>
          <c:yVal>
            <c:numRef>
              <c:f>Sheet1!$B$68:$B$69</c:f>
              <c:numCache>
                <c:formatCode>General</c:formatCode>
                <c:ptCount val="2"/>
                <c:pt idx="0">
                  <c:v>0.06704573659918152</c:v>
                </c:pt>
                <c:pt idx="1">
                  <c:v>0.06704573659918152</c:v>
                </c:pt>
              </c:numCache>
            </c:numRef>
          </c:yVal>
          <c:smooth val="0"/>
          <c:extLst>
            <c:ext xmlns:c16="http://schemas.microsoft.com/office/drawing/2014/chart" uri="{C3380CC4-5D6E-409C-BE32-E72D297353CC}">
              <c16:uniqueId val="{00000003-F32D-48B7-BC20-E66FC6253BAD}"/>
            </c:ext>
          </c:extLst>
        </c:ser>
        <c:ser>
          <c:idx val="3"/>
          <c:order val="3"/>
          <c:tx>
            <c:strRef>
              <c:f>Sheet1!$B$7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2:$A$73</c:f>
              <c:numCache>
                <c:formatCode>General</c:formatCode>
                <c:ptCount val="2"/>
                <c:pt idx="0">
                  <c:v>0.06704573659918152</c:v>
                </c:pt>
                <c:pt idx="1">
                  <c:v>0.06704573659918152</c:v>
                </c:pt>
              </c:numCache>
            </c:numRef>
          </c:xVal>
          <c:yVal>
            <c:numRef>
              <c:f>Sheet1!$B$72:$B$73</c:f>
              <c:numCache>
                <c:formatCode>General</c:formatCode>
                <c:ptCount val="2"/>
                <c:pt idx="0">
                  <c:v>0.067045736599181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75</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76:$A$78</c:f>
              <c:numCache>
                <c:formatCode>General</c:formatCode>
                <c:ptCount val="3"/>
                <c:pt idx="0">
                  <c:v>0</c:v>
                </c:pt>
                <c:pt idx="1">
                  <c:v>0.06704573659918152</c:v>
                </c:pt>
                <c:pt idx="2">
                  <c:v>0</c:v>
                </c:pt>
              </c:numCache>
            </c:numRef>
          </c:xVal>
          <c:yVal>
            <c:numRef>
              <c:f>Sheet1!$B$76:$B$78</c:f>
              <c:numCache>
                <c:formatCode>General</c:formatCode>
                <c:ptCount val="3"/>
                <c:pt idx="0">
                  <c:v>0</c:v>
                </c:pt>
                <c:pt idx="1">
                  <c:v>0.06704573659918152</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8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3333333333333333"/>
          <c:min val="0.00454545454545454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9261583037489844</c:v>
                </c:pt>
                <c:pt idx="1">
                  <c:v>0.3762175746491386</c:v>
                </c:pt>
                <c:pt idx="2">
                  <c:v>0.4588257263343094</c:v>
                </c:pt>
                <c:pt idx="3">
                  <c:v>0.46004400225975156</c:v>
                </c:pt>
                <c:pt idx="4">
                  <c:v>0.42886050023577227</c:v>
                </c:pt>
                <c:pt idx="5">
                  <c:v>0.443023153590945</c:v>
                </c:pt>
                <c:pt idx="6">
                  <c:v>0.4006210711137668</c:v>
                </c:pt>
                <c:pt idx="7">
                  <c:v>0.37367477110079544</c:v>
                </c:pt>
                <c:pt idx="8">
                  <c:v>0.35934503770022364</c:v>
                </c:pt>
                <c:pt idx="9">
                  <c:v>0.38850771516650684</c:v>
                </c:pt>
                <c:pt idx="10">
                  <c:v>0.40619895302796744</c:v>
                </c:pt>
                <c:pt idx="11">
                  <c:v>0.41747381137353484</c:v>
                </c:pt>
                <c:pt idx="12">
                  <c:v>0.44832498874404947</c:v>
                </c:pt>
                <c:pt idx="13">
                  <c:v>0.4417099157853585</c:v>
                </c:pt>
                <c:pt idx="14">
                  <c:v>0.4771247270307239</c:v>
                </c:pt>
                <c:pt idx="15">
                  <c:v>0.4683043066293006</c:v>
                </c:pt>
                <c:pt idx="16">
                  <c:v>0.4588603119971762</c:v>
                </c:pt>
                <c:pt idx="17">
                  <c:v>0.43938717140133204</c:v>
                </c:pt>
                <c:pt idx="18">
                  <c:v>0.43307858342625866</c:v>
                </c:pt>
                <c:pt idx="19">
                  <c:v>0.42994426487018467</c:v>
                </c:pt>
                <c:pt idx="20">
                  <c:v>0.4634708505577217</c:v>
                </c:pt>
                <c:pt idx="21">
                  <c:v>0.42488861372944176</c:v>
                </c:pt>
                <c:pt idx="22">
                  <c:v>0.38979924558703255</c:v>
                </c:pt>
                <c:pt idx="23">
                  <c:v>0.3823489802822823</c:v>
                </c:pt>
                <c:pt idx="24">
                  <c:v>0.38177481340715674</c:v>
                </c:pt>
                <c:pt idx="25">
                  <c:v>0.35351327213454997</c:v>
                </c:pt>
                <c:pt idx="26">
                  <c:v>0.3477949290327574</c:v>
                </c:pt>
                <c:pt idx="27">
                  <c:v>0.36351409957970765</c:v>
                </c:pt>
                <c:pt idx="28">
                  <c:v>0.3639542710131782</c:v>
                </c:pt>
                <c:pt idx="29">
                  <c:v>0.3647592206652564</c:v>
                </c:pt>
                <c:pt idx="30">
                  <c:v>0.3521235904837944</c:v>
                </c:pt>
                <c:pt idx="31">
                  <c:v>0.3512720605730908</c:v>
                </c:pt>
                <c:pt idx="32">
                  <c:v>0.34307062031004076</c:v>
                </c:pt>
                <c:pt idx="33">
                  <c:v>0.3505294677545397</c:v>
                </c:pt>
                <c:pt idx="34">
                  <c:v>0.3636491653249646</c:v>
                </c:pt>
                <c:pt idx="35">
                  <c:v>0.39397014170948297</c:v>
                </c:pt>
                <c:pt idx="36">
                  <c:v>0.4085542403231045</c:v>
                </c:pt>
                <c:pt idx="37">
                  <c:v>0.3920651470703129</c:v>
                </c:pt>
                <c:pt idx="38">
                  <c:v>0.4021863011518932</c:v>
                </c:pt>
                <c:pt idx="39">
                  <c:v>0.41668274353355966</c:v>
                </c:pt>
                <c:pt idx="40">
                  <c:v>0.42396798425251464</c:v>
                </c:pt>
                <c:pt idx="41">
                  <c:v>0.410251616051494</c:v>
                </c:pt>
                <c:pt idx="42">
                  <c:v>0.4331222407466695</c:v>
                </c:pt>
                <c:pt idx="43">
                  <c:v>0.4313214609497505</c:v>
                </c:pt>
                <c:pt idx="44">
                  <c:v>0.44030999571214946</c:v>
                </c:pt>
                <c:pt idx="45">
                  <c:v>0.44502952624267944</c:v>
                </c:pt>
                <c:pt idx="46">
                  <c:v>0.45331531957314225</c:v>
                </c:pt>
                <c:pt idx="47">
                  <c:v>0.4388129994485533</c:v>
                </c:pt>
                <c:pt idx="48">
                  <c:v>0.45867754406238365</c:v>
                </c:pt>
                <c:pt idx="49">
                  <c:v>0.5020656103076606</c:v>
                </c:pt>
                <c:pt idx="50">
                  <c:v>0.42203567065894815</c:v>
                </c:pt>
                <c:pt idx="51">
                  <c:v>0.41487648127182597</c:v>
                </c:pt>
                <c:pt idx="52">
                  <c:v>0.43862531007182365</c:v>
                </c:pt>
                <c:pt idx="53">
                  <c:v>0.43333564391772533</c:v>
                </c:pt>
                <c:pt idx="54">
                  <c:v>0.4055961786775659</c:v>
                </c:pt>
                <c:pt idx="55">
                  <c:v>0.40841623558450746</c:v>
                </c:pt>
                <c:pt idx="56">
                  <c:v>0.4083555263759883</c:v>
                </c:pt>
                <c:pt idx="57">
                  <c:v>0.42036560908719095</c:v>
                </c:pt>
                <c:pt idx="58">
                  <c:v>0.38936414355590887</c:v>
                </c:pt>
                <c:pt idx="59">
                  <c:v>0.413072319890684</c:v>
                </c:pt>
                <c:pt idx="60">
                  <c:v>0.40754264956117237</c:v>
                </c:pt>
                <c:pt idx="61">
                  <c:v>0.3863701689556436</c:v>
                </c:pt>
                <c:pt idx="62">
                  <c:v>0.3563229435205375</c:v>
                </c:pt>
                <c:pt idx="63">
                  <c:v>0.36235416752103194</c:v>
                </c:pt>
                <c:pt idx="64">
                  <c:v>0.37792185401964123</c:v>
                </c:pt>
                <c:pt idx="65">
                  <c:v>0.4191690263553359</c:v>
                </c:pt>
                <c:pt idx="66">
                  <c:v>0.43657375931332093</c:v>
                </c:pt>
                <c:pt idx="67">
                  <c:v>0.457090384678201</c:v>
                </c:pt>
                <c:pt idx="68">
                  <c:v>0.46856201392351987</c:v>
                </c:pt>
                <c:pt idx="69">
                  <c:v>0.4682919015443424</c:v>
                </c:pt>
                <c:pt idx="70">
                  <c:v>0.4553696388303838</c:v>
                </c:pt>
                <c:pt idx="71">
                  <c:v>0.4407973856667475</c:v>
                </c:pt>
                <c:pt idx="72">
                  <c:v>0.4511737157502026</c:v>
                </c:pt>
                <c:pt idx="73">
                  <c:v>0.44459938252187486</c:v>
                </c:pt>
                <c:pt idx="74">
                  <c:v>0.43567110270185583</c:v>
                </c:pt>
                <c:pt idx="75">
                  <c:v>0.4144417009155863</c:v>
                </c:pt>
                <c:pt idx="76">
                  <c:v>0.3991669204818241</c:v>
                </c:pt>
                <c:pt idx="77">
                  <c:v>0.4073020464877236</c:v>
                </c:pt>
                <c:pt idx="78">
                  <c:v>0.4230663180648579</c:v>
                </c:pt>
                <c:pt idx="79">
                  <c:v>0.41640880169194083</c:v>
                </c:pt>
                <c:pt idx="80">
                  <c:v>0.4434979392633802</c:v>
                </c:pt>
                <c:pt idx="81">
                  <c:v>0.4709201440075733</c:v>
                </c:pt>
                <c:pt idx="82">
                  <c:v>0.4520232596627594</c:v>
                </c:pt>
                <c:pt idx="83">
                  <c:v>0.42637852977796625</c:v>
                </c:pt>
                <c:pt idx="84">
                  <c:v>0.43896876859379147</c:v>
                </c:pt>
                <c:pt idx="85">
                  <c:v>0.43808711599399114</c:v>
                </c:pt>
                <c:pt idx="86">
                  <c:v>0.4391201444445081</c:v>
                </c:pt>
                <c:pt idx="87">
                  <c:v>0.45964871621778974</c:v>
                </c:pt>
                <c:pt idx="88">
                  <c:v>0.4314578273046271</c:v>
                </c:pt>
                <c:pt idx="89">
                  <c:v>0.4072775776752602</c:v>
                </c:pt>
                <c:pt idx="90">
                  <c:v>0.4240301424491483</c:v>
                </c:pt>
                <c:pt idx="91">
                  <c:v>0.4438570517291867</c:v>
                </c:pt>
                <c:pt idx="92">
                  <c:v>0.43910548570987534</c:v>
                </c:pt>
                <c:pt idx="93">
                  <c:v>0.4610480152593743</c:v>
                </c:pt>
                <c:pt idx="94">
                  <c:v>0.4579443746564035</c:v>
                </c:pt>
                <c:pt idx="95">
                  <c:v>0.4770806897002914</c:v>
                </c:pt>
                <c:pt idx="96">
                  <c:v>0.4926445772463999</c:v>
                </c:pt>
                <c:pt idx="97">
                  <c:v>0.5253966486514459</c:v>
                </c:pt>
                <c:pt idx="98">
                  <c:v>0.5448882744831041</c:v>
                </c:pt>
                <c:pt idx="99">
                  <c:v>0.5275163083011419</c:v>
                </c:pt>
                <c:pt idx="100">
                  <c:v>0.5483642833399837</c:v>
                </c:pt>
                <c:pt idx="101">
                  <c:v>0.49990266633936914</c:v>
                </c:pt>
                <c:pt idx="102">
                  <c:v>0.4663932559799699</c:v>
                </c:pt>
                <c:pt idx="103">
                  <c:v>0.48145297544042676</c:v>
                </c:pt>
                <c:pt idx="104">
                  <c:v>0.4618176535313089</c:v>
                </c:pt>
              </c:numCache>
            </c:numRef>
          </c:xVal>
          <c:yVal>
            <c:numRef>
              <c:f>Sheet1!$B$2:$B$106</c:f>
              <c:numCache>
                <c:formatCode>General</c:formatCode>
                <c:ptCount val="105"/>
                <c:pt idx="0">
                  <c:v>0.16033510285335104</c:v>
                </c:pt>
                <c:pt idx="1">
                  <c:v>0.144745122718691</c:v>
                </c:pt>
                <c:pt idx="2">
                  <c:v>0.14821599235425295</c:v>
                </c:pt>
                <c:pt idx="3">
                  <c:v>0.14724974376494704</c:v>
                </c:pt>
                <c:pt idx="4">
                  <c:v>0.15438299672200487</c:v>
                </c:pt>
                <c:pt idx="5">
                  <c:v>0.18489326765188835</c:v>
                </c:pt>
                <c:pt idx="6">
                  <c:v>0.21816365049406017</c:v>
                </c:pt>
                <c:pt idx="7">
                  <c:v>0.23045157852670842</c:v>
                </c:pt>
                <c:pt idx="8">
                  <c:v>0.24245430069434604</c:v>
                </c:pt>
                <c:pt idx="9">
                  <c:v>0.21179376350725532</c:v>
                </c:pt>
                <c:pt idx="10">
                  <c:v>0.22383949645948073</c:v>
                </c:pt>
                <c:pt idx="11">
                  <c:v>0.21393998063891578</c:v>
                </c:pt>
                <c:pt idx="12">
                  <c:v>0.19080582179623712</c:v>
                </c:pt>
                <c:pt idx="13">
                  <c:v>0.17190471877547323</c:v>
                </c:pt>
                <c:pt idx="14">
                  <c:v>0.13429431621202445</c:v>
                </c:pt>
                <c:pt idx="15">
                  <c:v>0.11882768844794162</c:v>
                </c:pt>
                <c:pt idx="16">
                  <c:v>0.1159206647011525</c:v>
                </c:pt>
                <c:pt idx="17">
                  <c:v>0.10256053437239077</c:v>
                </c:pt>
                <c:pt idx="18">
                  <c:v>0.0962974486621033</c:v>
                </c:pt>
                <c:pt idx="19">
                  <c:v>0.09204397242407304</c:v>
                </c:pt>
                <c:pt idx="20">
                  <c:v>0.09157894736842105</c:v>
                </c:pt>
                <c:pt idx="21">
                  <c:v>0.09348441926345609</c:v>
                </c:pt>
                <c:pt idx="22">
                  <c:v>0.09822090437361009</c:v>
                </c:pt>
                <c:pt idx="23">
                  <c:v>0.11505988611820145</c:v>
                </c:pt>
                <c:pt idx="24">
                  <c:v>0.1127285638203444</c:v>
                </c:pt>
                <c:pt idx="25">
                  <c:v>0.12217194570135746</c:v>
                </c:pt>
                <c:pt idx="26">
                  <c:v>0.14708141321044546</c:v>
                </c:pt>
                <c:pt idx="27">
                  <c:v>0.1494485294117647</c:v>
                </c:pt>
                <c:pt idx="28">
                  <c:v>0.1799819657348963</c:v>
                </c:pt>
                <c:pt idx="29">
                  <c:v>0.17616498740554157</c:v>
                </c:pt>
                <c:pt idx="30">
                  <c:v>0.17196531791907516</c:v>
                </c:pt>
                <c:pt idx="31">
                  <c:v>0.18125990491283678</c:v>
                </c:pt>
                <c:pt idx="32">
                  <c:v>0.19836595097852935</c:v>
                </c:pt>
                <c:pt idx="33">
                  <c:v>0.1817098599940423</c:v>
                </c:pt>
                <c:pt idx="34">
                  <c:v>0.18260747794426552</c:v>
                </c:pt>
                <c:pt idx="35">
                  <c:v>0.19129979035639413</c:v>
                </c:pt>
                <c:pt idx="36">
                  <c:v>0.1681519357195033</c:v>
                </c:pt>
                <c:pt idx="37">
                  <c:v>0.16089312099819406</c:v>
                </c:pt>
                <c:pt idx="38">
                  <c:v>0.1572574046800851</c:v>
                </c:pt>
                <c:pt idx="39">
                  <c:v>0.14665523156089194</c:v>
                </c:pt>
                <c:pt idx="40">
                  <c:v>0.14546213808463251</c:v>
                </c:pt>
                <c:pt idx="41">
                  <c:v>0.14787346753443317</c:v>
                </c:pt>
                <c:pt idx="42">
                  <c:v>0.1465359477124183</c:v>
                </c:pt>
                <c:pt idx="43">
                  <c:v>0.14118769377533985</c:v>
                </c:pt>
                <c:pt idx="44">
                  <c:v>0.14628219666288678</c:v>
                </c:pt>
                <c:pt idx="45">
                  <c:v>0.16638821385176183</c:v>
                </c:pt>
                <c:pt idx="46">
                  <c:v>0.1721975056523959</c:v>
                </c:pt>
                <c:pt idx="47">
                  <c:v>0.16685247120029728</c:v>
                </c:pt>
                <c:pt idx="48">
                  <c:v>0.16259808195292066</c:v>
                </c:pt>
                <c:pt idx="49">
                  <c:v>0.16804554079696396</c:v>
                </c:pt>
                <c:pt idx="50">
                  <c:v>0.16972997503970955</c:v>
                </c:pt>
                <c:pt idx="51">
                  <c:v>0.162422388194007</c:v>
                </c:pt>
                <c:pt idx="52">
                  <c:v>0.1575679563867646</c:v>
                </c:pt>
                <c:pt idx="53">
                  <c:v>0.14313292884721457</c:v>
                </c:pt>
                <c:pt idx="54">
                  <c:v>0.1450992004737933</c:v>
                </c:pt>
                <c:pt idx="55">
                  <c:v>0.14112903225806453</c:v>
                </c:pt>
                <c:pt idx="56">
                  <c:v>0.14981855883877657</c:v>
                </c:pt>
                <c:pt idx="57">
                  <c:v>0.14434922335297268</c:v>
                </c:pt>
                <c:pt idx="58">
                  <c:v>0.1663926624556546</c:v>
                </c:pt>
                <c:pt idx="59">
                  <c:v>0.14683933274802458</c:v>
                </c:pt>
                <c:pt idx="60">
                  <c:v>0.15279878971255673</c:v>
                </c:pt>
                <c:pt idx="61">
                  <c:v>0.16944216944216944</c:v>
                </c:pt>
                <c:pt idx="62">
                  <c:v>0.1883472484064997</c:v>
                </c:pt>
                <c:pt idx="63">
                  <c:v>0.19346796310147096</c:v>
                </c:pt>
                <c:pt idx="64">
                  <c:v>0.18558295386201565</c:v>
                </c:pt>
                <c:pt idx="65">
                  <c:v>0.18198790896159317</c:v>
                </c:pt>
                <c:pt idx="66">
                  <c:v>0.17878567533175785</c:v>
                </c:pt>
                <c:pt idx="67">
                  <c:v>0.16801446104081438</c:v>
                </c:pt>
                <c:pt idx="68">
                  <c:v>0.1516028733783639</c:v>
                </c:pt>
                <c:pt idx="69">
                  <c:v>0.14100028256569652</c:v>
                </c:pt>
                <c:pt idx="70">
                  <c:v>0.1466491458607096</c:v>
                </c:pt>
                <c:pt idx="71">
                  <c:v>0.14164265129682996</c:v>
                </c:pt>
                <c:pt idx="72">
                  <c:v>0.13927347498286496</c:v>
                </c:pt>
                <c:pt idx="73">
                  <c:v>0.14398364485981308</c:v>
                </c:pt>
                <c:pt idx="74">
                  <c:v>0.1486243605696115</c:v>
                </c:pt>
                <c:pt idx="75">
                  <c:v>0.15961346217927358</c:v>
                </c:pt>
                <c:pt idx="76">
                  <c:v>0.17377341659232828</c:v>
                </c:pt>
                <c:pt idx="77">
                  <c:v>0.16397058823529412</c:v>
                </c:pt>
                <c:pt idx="78">
                  <c:v>0.17640117994100296</c:v>
                </c:pt>
                <c:pt idx="79">
                  <c:v>0.16372478386167147</c:v>
                </c:pt>
                <c:pt idx="80">
                  <c:v>0.1567994259059921</c:v>
                </c:pt>
                <c:pt idx="81">
                  <c:v>0.15579386356866248</c:v>
                </c:pt>
                <c:pt idx="82">
                  <c:v>0.15947171299034102</c:v>
                </c:pt>
                <c:pt idx="83">
                  <c:v>0.15453551912568306</c:v>
                </c:pt>
                <c:pt idx="84">
                  <c:v>0.15389769935224482</c:v>
                </c:pt>
                <c:pt idx="85">
                  <c:v>0.16222664015904573</c:v>
                </c:pt>
                <c:pt idx="86">
                  <c:v>0.1783783783783784</c:v>
                </c:pt>
                <c:pt idx="87">
                  <c:v>0.1824028061970184</c:v>
                </c:pt>
                <c:pt idx="88">
                  <c:v>0.17278736687477048</c:v>
                </c:pt>
                <c:pt idx="89">
                  <c:v>0.18327471668620554</c:v>
                </c:pt>
                <c:pt idx="90">
                  <c:v>0.16203143893591293</c:v>
                </c:pt>
                <c:pt idx="91">
                  <c:v>0.15802611367127495</c:v>
                </c:pt>
                <c:pt idx="92">
                  <c:v>0.16944921204556093</c:v>
                </c:pt>
                <c:pt idx="93">
                  <c:v>0.16639258484078337</c:v>
                </c:pt>
                <c:pt idx="94">
                  <c:v>0.16917161831527439</c:v>
                </c:pt>
                <c:pt idx="95">
                  <c:v>0.1662677919133392</c:v>
                </c:pt>
                <c:pt idx="96">
                  <c:v>0.16149488458611652</c:v>
                </c:pt>
                <c:pt idx="97">
                  <c:v>0.16460811222933822</c:v>
                </c:pt>
                <c:pt idx="98">
                  <c:v>0.16096048552015305</c:v>
                </c:pt>
                <c:pt idx="99">
                  <c:v>0.1636115997956983</c:v>
                </c:pt>
                <c:pt idx="100">
                  <c:v>0.17094159218457702</c:v>
                </c:pt>
                <c:pt idx="101">
                  <c:v>0.16883490260907066</c:v>
                </c:pt>
                <c:pt idx="102">
                  <c:v>0.17709895052473762</c:v>
                </c:pt>
                <c:pt idx="103">
                  <c:v>0.17144579350727632</c:v>
                </c:pt>
                <c:pt idx="104">
                  <c:v>0.1717182166132202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5874923013140656</c:v>
                </c:pt>
                <c:pt idx="1">
                  <c:v>0.446079009838391</c:v>
                </c:pt>
                <c:pt idx="2">
                  <c:v>0.4543389651648549</c:v>
                </c:pt>
                <c:pt idx="3">
                  <c:v>0.42032969681449994</c:v>
                </c:pt>
                <c:pt idx="4">
                  <c:v>0.43356587435380506</c:v>
                </c:pt>
                <c:pt idx="5">
                  <c:v>0.4399305969973116</c:v>
                </c:pt>
                <c:pt idx="6">
                  <c:v>0.4663652241217277</c:v>
                </c:pt>
                <c:pt idx="7">
                  <c:v>0.441096760098443</c:v>
                </c:pt>
                <c:pt idx="8">
                  <c:v>0.46622164934338745</c:v>
                </c:pt>
                <c:pt idx="9">
                  <c:v>0.4563864177056298</c:v>
                </c:pt>
                <c:pt idx="10">
                  <c:v>0.45323501626634666</c:v>
                </c:pt>
                <c:pt idx="11">
                  <c:v>0.46614813242209047</c:v>
                </c:pt>
                <c:pt idx="12">
                  <c:v>0.46120638040360806</c:v>
                </c:pt>
                <c:pt idx="13">
                  <c:v>0.4388088091889233</c:v>
                </c:pt>
                <c:pt idx="14">
                  <c:v>0.43636522334074435</c:v>
                </c:pt>
                <c:pt idx="15">
                  <c:v>0.4276822971163182</c:v>
                </c:pt>
                <c:pt idx="16">
                  <c:v>0.4365286432735543</c:v>
                </c:pt>
                <c:pt idx="17">
                  <c:v>0.3924337402616193</c:v>
                </c:pt>
                <c:pt idx="18">
                  <c:v>0.4182608798227673</c:v>
                </c:pt>
                <c:pt idx="19">
                  <c:v>0.44422839629260674</c:v>
                </c:pt>
                <c:pt idx="20">
                  <c:v>0.4282644737167697</c:v>
                </c:pt>
                <c:pt idx="21">
                  <c:v>0.4130947715423035</c:v>
                </c:pt>
                <c:pt idx="22">
                  <c:v>0.40539096124652274</c:v>
                </c:pt>
                <c:pt idx="23">
                  <c:v>0.4118674045621776</c:v>
                </c:pt>
                <c:pt idx="24">
                  <c:v>0.4204843462215283</c:v>
                </c:pt>
                <c:pt idx="25">
                  <c:v>0.4300509848432999</c:v>
                </c:pt>
                <c:pt idx="26">
                  <c:v>0.42027620623895895</c:v>
                </c:pt>
                <c:pt idx="27">
                  <c:v>0.4295647693128771</c:v>
                </c:pt>
                <c:pt idx="28">
                  <c:v>0.44580353040053344</c:v>
                </c:pt>
                <c:pt idx="29">
                  <c:v>0.4132726007667248</c:v>
                </c:pt>
                <c:pt idx="30">
                  <c:v>0.4148807378444269</c:v>
                </c:pt>
                <c:pt idx="31">
                  <c:v>0.43122803336583215</c:v>
                </c:pt>
                <c:pt idx="32">
                  <c:v>0.43578542242213714</c:v>
                </c:pt>
                <c:pt idx="33">
                  <c:v>0.44922558409957325</c:v>
                </c:pt>
                <c:pt idx="34">
                  <c:v>0.4608012158774797</c:v>
                </c:pt>
                <c:pt idx="35">
                  <c:v>0.44582367970694914</c:v>
                </c:pt>
                <c:pt idx="36">
                  <c:v>0.4106576294828062</c:v>
                </c:pt>
                <c:pt idx="37">
                  <c:v>0.40759367374706196</c:v>
                </c:pt>
                <c:pt idx="38">
                  <c:v>0.4109483734586549</c:v>
                </c:pt>
                <c:pt idx="39">
                  <c:v>0.4342506922831833</c:v>
                </c:pt>
                <c:pt idx="40">
                  <c:v>0.430346989390726</c:v>
                </c:pt>
                <c:pt idx="41">
                  <c:v>0.4358817715849653</c:v>
                </c:pt>
                <c:pt idx="42">
                  <c:v>0.4239227826136137</c:v>
                </c:pt>
                <c:pt idx="43">
                  <c:v>0.4809946324407457</c:v>
                </c:pt>
                <c:pt idx="44">
                  <c:v>0.5277617901057047</c:v>
                </c:pt>
                <c:pt idx="45">
                  <c:v>0.5514419414913971</c:v>
                </c:pt>
                <c:pt idx="46">
                  <c:v>0.5176640952453647</c:v>
                </c:pt>
                <c:pt idx="47">
                  <c:v>0.5283234827769745</c:v>
                </c:pt>
                <c:pt idx="48">
                  <c:v>0.5579985235652188</c:v>
                </c:pt>
                <c:pt idx="49">
                  <c:v>0.571029130809796</c:v>
                </c:pt>
                <c:pt idx="50">
                  <c:v>0.5878840096460591</c:v>
                </c:pt>
                <c:pt idx="51">
                  <c:v>0.5403469654830344</c:v>
                </c:pt>
              </c:numCache>
            </c:numRef>
          </c:xVal>
          <c:yVal>
            <c:numRef>
              <c:f>Sheet1!$B$109:$B$160</c:f>
              <c:numCache>
                <c:formatCode>General</c:formatCode>
                <c:ptCount val="52"/>
                <c:pt idx="0">
                  <c:v>0.17139210502324734</c:v>
                </c:pt>
                <c:pt idx="1">
                  <c:v>0.16598262861506155</c:v>
                </c:pt>
                <c:pt idx="2">
                  <c:v>0.19026286873468007</c:v>
                </c:pt>
                <c:pt idx="3">
                  <c:v>0.21693984381704282</c:v>
                </c:pt>
                <c:pt idx="4">
                  <c:v>0.1930491447189791</c:v>
                </c:pt>
                <c:pt idx="5">
                  <c:v>0.19561756718793893</c:v>
                </c:pt>
                <c:pt idx="6">
                  <c:v>0.2099174959598537</c:v>
                </c:pt>
                <c:pt idx="7">
                  <c:v>0.22398775894538606</c:v>
                </c:pt>
                <c:pt idx="8">
                  <c:v>0.19533489705499088</c:v>
                </c:pt>
                <c:pt idx="9">
                  <c:v>0.20346834540919348</c:v>
                </c:pt>
                <c:pt idx="10">
                  <c:v>0.21838002578830149</c:v>
                </c:pt>
                <c:pt idx="11">
                  <c:v>0.20545470188419512</c:v>
                </c:pt>
                <c:pt idx="12">
                  <c:v>0.20200317334391116</c:v>
                </c:pt>
                <c:pt idx="13">
                  <c:v>0.19782608695652174</c:v>
                </c:pt>
                <c:pt idx="14">
                  <c:v>0.19835560123329907</c:v>
                </c:pt>
                <c:pt idx="15">
                  <c:v>0.1962152572442342</c:v>
                </c:pt>
                <c:pt idx="16">
                  <c:v>0.1892891384741816</c:v>
                </c:pt>
                <c:pt idx="17">
                  <c:v>0.20748785367247785</c:v>
                </c:pt>
                <c:pt idx="18">
                  <c:v>0.18994229183841715</c:v>
                </c:pt>
                <c:pt idx="19">
                  <c:v>0.17857142857142858</c:v>
                </c:pt>
                <c:pt idx="20">
                  <c:v>0.16638341264445955</c:v>
                </c:pt>
                <c:pt idx="21">
                  <c:v>0.1786492374727669</c:v>
                </c:pt>
                <c:pt idx="22">
                  <c:v>0.18545769314001298</c:v>
                </c:pt>
                <c:pt idx="23">
                  <c:v>0.187685969329366</c:v>
                </c:pt>
                <c:pt idx="24">
                  <c:v>0.188291467718497</c:v>
                </c:pt>
                <c:pt idx="25">
                  <c:v>0.19373601789709172</c:v>
                </c:pt>
                <c:pt idx="26">
                  <c:v>0.17736821244550138</c:v>
                </c:pt>
                <c:pt idx="27">
                  <c:v>0.18264110756123536</c:v>
                </c:pt>
                <c:pt idx="28">
                  <c:v>0.17938110210160516</c:v>
                </c:pt>
                <c:pt idx="29">
                  <c:v>0.1832637646591135</c:v>
                </c:pt>
                <c:pt idx="30">
                  <c:v>0.18675929709848793</c:v>
                </c:pt>
                <c:pt idx="31">
                  <c:v>0.17773943054357205</c:v>
                </c:pt>
                <c:pt idx="32">
                  <c:v>0.17575295463210064</c:v>
                </c:pt>
                <c:pt idx="33">
                  <c:v>0.2012310606060606</c:v>
                </c:pt>
                <c:pt idx="34">
                  <c:v>0.21649621463673796</c:v>
                </c:pt>
                <c:pt idx="35">
                  <c:v>0.21387010536247839</c:v>
                </c:pt>
                <c:pt idx="36">
                  <c:v>0.20109471680152308</c:v>
                </c:pt>
                <c:pt idx="37">
                  <c:v>0.19350104821802935</c:v>
                </c:pt>
                <c:pt idx="38">
                  <c:v>0.20023228803716608</c:v>
                </c:pt>
                <c:pt idx="39">
                  <c:v>0.20598175059141602</c:v>
                </c:pt>
                <c:pt idx="40">
                  <c:v>0.19253246753246753</c:v>
                </c:pt>
                <c:pt idx="41">
                  <c:v>0.19963453631795341</c:v>
                </c:pt>
                <c:pt idx="42">
                  <c:v>0.19374247894103488</c:v>
                </c:pt>
                <c:pt idx="43">
                  <c:v>0.1829356471438901</c:v>
                </c:pt>
                <c:pt idx="44">
                  <c:v>0.18115204559332385</c:v>
                </c:pt>
                <c:pt idx="45">
                  <c:v>0.1936641697877653</c:v>
                </c:pt>
                <c:pt idx="46">
                  <c:v>0.22289833364538475</c:v>
                </c:pt>
                <c:pt idx="47">
                  <c:v>0.2189094107299912</c:v>
                </c:pt>
                <c:pt idx="48">
                  <c:v>0.21990521327014217</c:v>
                </c:pt>
                <c:pt idx="49">
                  <c:v>0.22948762635064482</c:v>
                </c:pt>
                <c:pt idx="50">
                  <c:v>0.2277557636887608</c:v>
                </c:pt>
                <c:pt idx="51">
                  <c:v>0.2181056955525712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089087388040463</c:v>
                </c:pt>
              </c:numCache>
            </c:numRef>
          </c:xVal>
          <c:yVal>
            <c:numRef>
              <c:f>Sheet1!$B$163:$B$164</c:f>
              <c:numCache>
                <c:formatCode>General</c:formatCode>
                <c:ptCount val="2"/>
                <c:pt idx="0">
                  <c:v>0.22381357471552976</c:v>
                </c:pt>
                <c:pt idx="1">
                  <c:v>0.2238135747155297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089087388040463</c:v>
                </c:pt>
                <c:pt idx="1">
                  <c:v>0.6089087388040463</c:v>
                </c:pt>
              </c:numCache>
            </c:numRef>
          </c:xVal>
          <c:yVal>
            <c:numRef>
              <c:f>Sheet1!$B$167:$B$168</c:f>
              <c:numCache>
                <c:formatCode>General</c:formatCode>
                <c:ptCount val="2"/>
                <c:pt idx="0">
                  <c:v>0.2238135747155297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089087388040463</c:v>
                </c:pt>
              </c:numCache>
            </c:numRef>
          </c:xVal>
          <c:yVal>
            <c:numRef>
              <c:f>Sheet1!$B$171:$B$172</c:f>
              <c:numCache>
                <c:formatCode>General</c:formatCode>
                <c:ptCount val="2"/>
                <c:pt idx="0">
                  <c:v>0.22381357471552976</c:v>
                </c:pt>
                <c:pt idx="1">
                  <c:v>0.2238135747155297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089087388040463</c:v>
                </c:pt>
                <c:pt idx="1">
                  <c:v>0.6089087388040463</c:v>
                </c:pt>
              </c:numCache>
            </c:numRef>
          </c:xVal>
          <c:yVal>
            <c:numRef>
              <c:f>Sheet1!$B$175:$B$176</c:f>
              <c:numCache>
                <c:formatCode>General</c:formatCode>
                <c:ptCount val="2"/>
                <c:pt idx="0">
                  <c:v>0.223813574715529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5102090066672671</c:v>
                </c:pt>
              </c:numCache>
            </c:numRef>
          </c:xVal>
          <c:yVal>
            <c:numRef>
              <c:f>Sheet1!$B$179:$B$180</c:f>
              <c:numCache>
                <c:formatCode>General</c:formatCode>
                <c:ptCount val="2"/>
                <c:pt idx="0">
                  <c:v>0.20666962608810352</c:v>
                </c:pt>
                <c:pt idx="1">
                  <c:v>0.2066696260881035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5102090066672671</c:v>
                </c:pt>
                <c:pt idx="1">
                  <c:v>0.5102090066672671</c:v>
                </c:pt>
              </c:numCache>
            </c:numRef>
          </c:xVal>
          <c:yVal>
            <c:numRef>
              <c:f>Sheet1!$B$183:$B$184</c:f>
              <c:numCache>
                <c:formatCode>General</c:formatCode>
                <c:ptCount val="2"/>
                <c:pt idx="0">
                  <c:v>0.2066696260881035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5874923013140656</c:v>
                </c:pt>
                <c:pt idx="1">
                  <c:v>0.446079009838391</c:v>
                </c:pt>
                <c:pt idx="2">
                  <c:v>0.4543389651648549</c:v>
                </c:pt>
                <c:pt idx="3">
                  <c:v>0.42032969681449994</c:v>
                </c:pt>
                <c:pt idx="4">
                  <c:v>0.43356587435380506</c:v>
                </c:pt>
                <c:pt idx="5">
                  <c:v>0.4399305969973116</c:v>
                </c:pt>
                <c:pt idx="6">
                  <c:v>0.4663652241217277</c:v>
                </c:pt>
                <c:pt idx="7">
                  <c:v>0.441096760098443</c:v>
                </c:pt>
                <c:pt idx="8">
                  <c:v>0.46622164934338745</c:v>
                </c:pt>
                <c:pt idx="9">
                  <c:v>0.4563864177056298</c:v>
                </c:pt>
                <c:pt idx="10">
                  <c:v>0.45323501626634666</c:v>
                </c:pt>
                <c:pt idx="11">
                  <c:v>0.46614813242209047</c:v>
                </c:pt>
                <c:pt idx="12">
                  <c:v>0.46120638040360806</c:v>
                </c:pt>
                <c:pt idx="13">
                  <c:v>0.4388088091889233</c:v>
                </c:pt>
                <c:pt idx="14">
                  <c:v>0.43636522334074435</c:v>
                </c:pt>
                <c:pt idx="15">
                  <c:v>0.4276822971163182</c:v>
                </c:pt>
                <c:pt idx="16">
                  <c:v>0.4365286432735543</c:v>
                </c:pt>
                <c:pt idx="17">
                  <c:v>0.3924337402616193</c:v>
                </c:pt>
                <c:pt idx="18">
                  <c:v>0.4182608798227673</c:v>
                </c:pt>
                <c:pt idx="19">
                  <c:v>0.44422839629260674</c:v>
                </c:pt>
                <c:pt idx="20">
                  <c:v>0.4282644737167697</c:v>
                </c:pt>
                <c:pt idx="21">
                  <c:v>0.4130947715423035</c:v>
                </c:pt>
                <c:pt idx="22">
                  <c:v>0.40539096124652274</c:v>
                </c:pt>
                <c:pt idx="23">
                  <c:v>0.4118674045621776</c:v>
                </c:pt>
                <c:pt idx="24">
                  <c:v>0.4204843462215283</c:v>
                </c:pt>
                <c:pt idx="25">
                  <c:v>0.4300509848432999</c:v>
                </c:pt>
                <c:pt idx="26">
                  <c:v>0.42027620623895895</c:v>
                </c:pt>
                <c:pt idx="27">
                  <c:v>0.4295647693128771</c:v>
                </c:pt>
                <c:pt idx="28">
                  <c:v>0.44580353040053344</c:v>
                </c:pt>
                <c:pt idx="29">
                  <c:v>0.4132726007667248</c:v>
                </c:pt>
                <c:pt idx="30">
                  <c:v>0.4148807378444269</c:v>
                </c:pt>
                <c:pt idx="31">
                  <c:v>0.43122803336583215</c:v>
                </c:pt>
                <c:pt idx="32">
                  <c:v>0.43578542242213714</c:v>
                </c:pt>
                <c:pt idx="33">
                  <c:v>0.44922558409957325</c:v>
                </c:pt>
                <c:pt idx="34">
                  <c:v>0.4608012158774797</c:v>
                </c:pt>
                <c:pt idx="35">
                  <c:v>0.44582367970694914</c:v>
                </c:pt>
                <c:pt idx="36">
                  <c:v>0.4106576294828062</c:v>
                </c:pt>
                <c:pt idx="37">
                  <c:v>0.40759367374706196</c:v>
                </c:pt>
                <c:pt idx="38">
                  <c:v>0.4109483734586549</c:v>
                </c:pt>
                <c:pt idx="39">
                  <c:v>0.4342506922831833</c:v>
                </c:pt>
                <c:pt idx="40">
                  <c:v>0.430346989390726</c:v>
                </c:pt>
                <c:pt idx="41">
                  <c:v>0.4358817715849653</c:v>
                </c:pt>
                <c:pt idx="42">
                  <c:v>0.4239227826136137</c:v>
                </c:pt>
                <c:pt idx="43">
                  <c:v>0.4809946324407457</c:v>
                </c:pt>
                <c:pt idx="44">
                  <c:v>0.5277617901057047</c:v>
                </c:pt>
                <c:pt idx="45">
                  <c:v>0.5514419414913971</c:v>
                </c:pt>
                <c:pt idx="46">
                  <c:v>0.5176640952453647</c:v>
                </c:pt>
                <c:pt idx="47">
                  <c:v>0.5283234827769745</c:v>
                </c:pt>
                <c:pt idx="48">
                  <c:v>0.5579985235652188</c:v>
                </c:pt>
                <c:pt idx="49">
                  <c:v>0.571029130809796</c:v>
                </c:pt>
                <c:pt idx="50">
                  <c:v>0.5878840096460591</c:v>
                </c:pt>
                <c:pt idx="51">
                  <c:v>0.5403469654830344</c:v>
                </c:pt>
                <c:pt idx="52">
                  <c:v>0.6089087388040463</c:v>
                </c:pt>
                <c:pt idx="53">
                  <c:v>0.6089087388040463</c:v>
                </c:pt>
                <c:pt idx="54">
                  <c:v>0.5102090066672671</c:v>
                </c:pt>
              </c:numCache>
            </c:numRef>
          </c:xVal>
          <c:yVal>
            <c:numRef>
              <c:f>Sheet1!$B$187:$B$241</c:f>
              <c:numCache>
                <c:formatCode>General</c:formatCode>
                <c:ptCount val="55"/>
                <c:pt idx="0">
                  <c:v>0.19773116449139894</c:v>
                </c:pt>
                <c:pt idx="1">
                  <c:v>0.19553037223898828</c:v>
                </c:pt>
                <c:pt idx="2">
                  <c:v>0.1969651101730841</c:v>
                </c:pt>
                <c:pt idx="3">
                  <c:v>0.19105776739887234</c:v>
                </c:pt>
                <c:pt idx="4">
                  <c:v>0.1933568653076982</c:v>
                </c:pt>
                <c:pt idx="5">
                  <c:v>0.19446240506617368</c:v>
                </c:pt>
                <c:pt idx="6">
                  <c:v>0.1990540476126612</c:v>
                </c:pt>
                <c:pt idx="7">
                  <c:v>0.19466496529469884</c:v>
                </c:pt>
                <c:pt idx="8">
                  <c:v>0.1990291089570968</c:v>
                </c:pt>
                <c:pt idx="9">
                  <c:v>0.19732074863750765</c:v>
                </c:pt>
                <c:pt idx="10">
                  <c:v>0.19677335642873653</c:v>
                </c:pt>
                <c:pt idx="11">
                  <c:v>0.19901633921299847</c:v>
                </c:pt>
                <c:pt idx="12">
                  <c:v>0.1981579666429804</c:v>
                </c:pt>
                <c:pt idx="13">
                  <c:v>0.19426755273839602</c:v>
                </c:pt>
                <c:pt idx="14">
                  <c:v>0.19384310670048957</c:v>
                </c:pt>
                <c:pt idx="15">
                  <c:v>0.1923348995564114</c:v>
                </c:pt>
                <c:pt idx="16">
                  <c:v>0.19387149242020874</c:v>
                </c:pt>
                <c:pt idx="17">
                  <c:v>0.1862122948154945</c:v>
                </c:pt>
                <c:pt idx="18">
                  <c:v>0.19069841797149334</c:v>
                </c:pt>
                <c:pt idx="19">
                  <c:v>0.1952089243194116</c:v>
                </c:pt>
                <c:pt idx="20">
                  <c:v>0.1924360224826256</c:v>
                </c:pt>
                <c:pt idx="21">
                  <c:v>0.18980107516167444</c:v>
                </c:pt>
                <c:pt idx="22">
                  <c:v>0.1884629385215134</c:v>
                </c:pt>
                <c:pt idx="23">
                  <c:v>0.1895878839401915</c:v>
                </c:pt>
                <c:pt idx="24">
                  <c:v>0.19108462969557727</c:v>
                </c:pt>
                <c:pt idx="25">
                  <c:v>0.19274633593852347</c:v>
                </c:pt>
                <c:pt idx="26">
                  <c:v>0.19104847619149748</c:v>
                </c:pt>
                <c:pt idx="27">
                  <c:v>0.19266188126073497</c:v>
                </c:pt>
                <c:pt idx="28">
                  <c:v>0.1954825220044608</c:v>
                </c:pt>
                <c:pt idx="29">
                  <c:v>0.18983196374690087</c:v>
                </c:pt>
                <c:pt idx="30">
                  <c:v>0.1901112939826484</c:v>
                </c:pt>
                <c:pt idx="31">
                  <c:v>0.19295078694325687</c:v>
                </c:pt>
                <c:pt idx="32">
                  <c:v>0.19374239642552182</c:v>
                </c:pt>
                <c:pt idx="33">
                  <c:v>0.19607692597645265</c:v>
                </c:pt>
                <c:pt idx="34">
                  <c:v>0.19808759036463372</c:v>
                </c:pt>
                <c:pt idx="35">
                  <c:v>0.19548602189920816</c:v>
                </c:pt>
                <c:pt idx="36">
                  <c:v>0.18937774839714117</c:v>
                </c:pt>
                <c:pt idx="37">
                  <c:v>0.1888455453344468</c:v>
                </c:pt>
                <c:pt idx="38">
                  <c:v>0.1894282500517837</c:v>
                </c:pt>
                <c:pt idx="39">
                  <c:v>0.19347581683012105</c:v>
                </c:pt>
                <c:pt idx="40">
                  <c:v>0.19279775134406404</c:v>
                </c:pt>
                <c:pt idx="41">
                  <c:v>0.19375913208490064</c:v>
                </c:pt>
                <c:pt idx="42">
                  <c:v>0.19168187930900982</c:v>
                </c:pt>
                <c:pt idx="43">
                  <c:v>0.20159514695752384</c:v>
                </c:pt>
                <c:pt idx="44">
                  <c:v>0.20971850992012736</c:v>
                </c:pt>
                <c:pt idx="45">
                  <c:v>0.21383170546845356</c:v>
                </c:pt>
                <c:pt idx="46">
                  <c:v>0.20796456025690851</c:v>
                </c:pt>
                <c:pt idx="47">
                  <c:v>0.2098160748282804</c:v>
                </c:pt>
                <c:pt idx="48">
                  <c:v>0.21497057083122204</c:v>
                </c:pt>
                <c:pt idx="49">
                  <c:v>0.21723396158567326</c:v>
                </c:pt>
                <c:pt idx="50">
                  <c:v>0.22016162076604415</c:v>
                </c:pt>
                <c:pt idx="51">
                  <c:v>0.21190453003857196</c:v>
                </c:pt>
                <c:pt idx="52">
                  <c:v>0.22381357471552976</c:v>
                </c:pt>
                <c:pt idx="53">
                  <c:v>0.22381357471552976</c:v>
                </c:pt>
                <c:pt idx="54">
                  <c:v>0.2066696260881035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094516083321526"/>
          <c:min val="0.0732631578947368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7.9855</c:v>
                </c:pt>
                <c:pt idx="1">
                  <c:v>855.3404</c:v>
                </c:pt>
                <c:pt idx="2">
                  <c:v>889.698</c:v>
                </c:pt>
                <c:pt idx="3">
                  <c:v>904.0655</c:v>
                </c:pt>
                <c:pt idx="4">
                  <c:v>903.4781</c:v>
                </c:pt>
                <c:pt idx="5">
                  <c:v>880.8881</c:v>
                </c:pt>
                <c:pt idx="6">
                  <c:v>840.9628</c:v>
                </c:pt>
                <c:pt idx="7">
                  <c:v>845.2156</c:v>
                </c:pt>
                <c:pt idx="8">
                  <c:v>839.7329</c:v>
                </c:pt>
                <c:pt idx="9">
                  <c:v>830.6584</c:v>
                </c:pt>
                <c:pt idx="10">
                  <c:v>791.1353</c:v>
                </c:pt>
                <c:pt idx="11">
                  <c:v>803.743</c:v>
                </c:pt>
                <c:pt idx="12">
                  <c:v>823.1874</c:v>
                </c:pt>
                <c:pt idx="13">
                  <c:v>804.9157</c:v>
                </c:pt>
                <c:pt idx="14">
                  <c:v>887.3465</c:v>
                </c:pt>
                <c:pt idx="15">
                  <c:v>898.6747</c:v>
                </c:pt>
                <c:pt idx="16">
                  <c:v>922.2058</c:v>
                </c:pt>
                <c:pt idx="17">
                  <c:v>929.2605</c:v>
                </c:pt>
                <c:pt idx="18">
                  <c:v>953.0339</c:v>
                </c:pt>
                <c:pt idx="19">
                  <c:v>943.1984</c:v>
                </c:pt>
                <c:pt idx="20">
                  <c:v>982.3711</c:v>
                </c:pt>
                <c:pt idx="21">
                  <c:v>1000.3374</c:v>
                </c:pt>
                <c:pt idx="22">
                  <c:v>971.1642</c:v>
                </c:pt>
                <c:pt idx="23">
                  <c:v>977.802</c:v>
                </c:pt>
                <c:pt idx="24">
                  <c:v>1001.0362</c:v>
                </c:pt>
                <c:pt idx="25">
                  <c:v>976.5825</c:v>
                </c:pt>
                <c:pt idx="26">
                  <c:v>948.2154</c:v>
                </c:pt>
                <c:pt idx="27">
                  <c:v>992.5855</c:v>
                </c:pt>
                <c:pt idx="28">
                  <c:v>986.0331</c:v>
                </c:pt>
                <c:pt idx="29">
                  <c:v>967.2592</c:v>
                </c:pt>
                <c:pt idx="30">
                  <c:v>962.5954</c:v>
                </c:pt>
                <c:pt idx="31">
                  <c:v>977.165</c:v>
                </c:pt>
                <c:pt idx="32">
                  <c:v>958.183</c:v>
                </c:pt>
                <c:pt idx="33">
                  <c:v>946.4541</c:v>
                </c:pt>
                <c:pt idx="34">
                  <c:v>937.1511</c:v>
                </c:pt>
                <c:pt idx="35">
                  <c:v>988.3068</c:v>
                </c:pt>
                <c:pt idx="36">
                  <c:v>1057.0521</c:v>
                </c:pt>
                <c:pt idx="37">
                  <c:v>1092.4684</c:v>
                </c:pt>
                <c:pt idx="38">
                  <c:v>1111.1322</c:v>
                </c:pt>
                <c:pt idx="39">
                  <c:v>1130.0316</c:v>
                </c:pt>
                <c:pt idx="40">
                  <c:v>1141.7033</c:v>
                </c:pt>
                <c:pt idx="41">
                  <c:v>1158.0798</c:v>
                </c:pt>
                <c:pt idx="42">
                  <c:v>1173.6021</c:v>
                </c:pt>
                <c:pt idx="43">
                  <c:v>1180.886</c:v>
                </c:pt>
                <c:pt idx="44">
                  <c:v>1117.3461</c:v>
                </c:pt>
                <c:pt idx="45">
                  <c:v>1086.4217</c:v>
                </c:pt>
                <c:pt idx="46">
                  <c:v>1075.2143</c:v>
                </c:pt>
                <c:pt idx="47">
                  <c:v>1051.184</c:v>
                </c:pt>
                <c:pt idx="48">
                  <c:v>1051.2865</c:v>
                </c:pt>
                <c:pt idx="49">
                  <c:v>1009.0117</c:v>
                </c:pt>
                <c:pt idx="50">
                  <c:v>1002.1689</c:v>
                </c:pt>
                <c:pt idx="51">
                  <c:v>1015.7357</c:v>
                </c:pt>
                <c:pt idx="52">
                  <c:v>1023.5108</c:v>
                </c:pt>
                <c:pt idx="53">
                  <c:v>1125.8876</c:v>
                </c:pt>
                <c:pt idx="54">
                  <c:v>1109.0469</c:v>
                </c:pt>
                <c:pt idx="55">
                  <c:v>1112.28</c:v>
                </c:pt>
                <c:pt idx="56">
                  <c:v>1122.3024</c:v>
                </c:pt>
                <c:pt idx="57">
                  <c:v>1110.3562</c:v>
                </c:pt>
                <c:pt idx="58">
                  <c:v>1056.077</c:v>
                </c:pt>
                <c:pt idx="59">
                  <c:v>1063.4772</c:v>
                </c:pt>
                <c:pt idx="60">
                  <c:v>1076.196</c:v>
                </c:pt>
                <c:pt idx="61">
                  <c:v>1076.1702</c:v>
                </c:pt>
                <c:pt idx="62">
                  <c:v>1002.0</c:v>
                </c:pt>
                <c:pt idx="63">
                  <c:v>1032.9111</c:v>
                </c:pt>
                <c:pt idx="64">
                  <c:v>1042.763</c:v>
                </c:pt>
                <c:pt idx="65">
                  <c:v>1027.0552</c:v>
                </c:pt>
                <c:pt idx="66">
                  <c:v>1045.5811</c:v>
                </c:pt>
                <c:pt idx="67">
                  <c:v>1073.3012</c:v>
                </c:pt>
                <c:pt idx="68">
                  <c:v>1078.7461</c:v>
                </c:pt>
                <c:pt idx="69">
                  <c:v>1117.0591</c:v>
                </c:pt>
                <c:pt idx="70">
                  <c:v>1101.6989</c:v>
                </c:pt>
                <c:pt idx="71">
                  <c:v>1156.6236</c:v>
                </c:pt>
                <c:pt idx="72">
                  <c:v>1231.2126</c:v>
                </c:pt>
                <c:pt idx="73">
                  <c:v>1201.6633</c:v>
                </c:pt>
                <c:pt idx="74">
                  <c:v>1189.1553</c:v>
                </c:pt>
                <c:pt idx="75">
                  <c:v>1182.023</c:v>
                </c:pt>
                <c:pt idx="76">
                  <c:v>1128.7823</c:v>
                </c:pt>
                <c:pt idx="77">
                  <c:v>1127.2612</c:v>
                </c:pt>
                <c:pt idx="78">
                  <c:v>1146.9253</c:v>
                </c:pt>
                <c:pt idx="79">
                  <c:v>1156.7316</c:v>
                </c:pt>
                <c:pt idx="80">
                  <c:v>1161.0435</c:v>
                </c:pt>
                <c:pt idx="81">
                  <c:v>1181.9474</c:v>
                </c:pt>
                <c:pt idx="82">
                  <c:v>1171.1731</c:v>
                </c:pt>
                <c:pt idx="83">
                  <c:v>1145.2532</c:v>
                </c:pt>
                <c:pt idx="84">
                  <c:v>1168.0232</c:v>
                </c:pt>
                <c:pt idx="85">
                  <c:v>1147.3824</c:v>
                </c:pt>
                <c:pt idx="86">
                  <c:v>1119.6667</c:v>
                </c:pt>
                <c:pt idx="87">
                  <c:v>1132.879</c:v>
                </c:pt>
                <c:pt idx="88">
                  <c:v>1181.1838</c:v>
                </c:pt>
                <c:pt idx="89">
                  <c:v>1169.3507</c:v>
                </c:pt>
                <c:pt idx="90">
                  <c:v>1244.3134</c:v>
                </c:pt>
                <c:pt idx="91">
                  <c:v>1253.3706</c:v>
                </c:pt>
                <c:pt idx="92">
                  <c:v>1195.8637</c:v>
                </c:pt>
                <c:pt idx="93">
                  <c:v>1236.1186</c:v>
                </c:pt>
                <c:pt idx="94">
                  <c:v>1236.0857</c:v>
                </c:pt>
                <c:pt idx="95">
                  <c:v>1203.9583</c:v>
                </c:pt>
                <c:pt idx="96">
                  <c:v>1132.7361</c:v>
                </c:pt>
                <c:pt idx="97">
                  <c:v>1131.0107</c:v>
                </c:pt>
                <c:pt idx="98">
                  <c:v>1120.3529</c:v>
                </c:pt>
                <c:pt idx="99">
                  <c:v>1083.4457</c:v>
                </c:pt>
                <c:pt idx="100">
                  <c:v>1089.9572</c:v>
                </c:pt>
                <c:pt idx="101">
                  <c:v>1127.602</c:v>
                </c:pt>
                <c:pt idx="102">
                  <c:v>1128.1704</c:v>
                </c:pt>
                <c:pt idx="103">
                  <c:v>1097.0673</c:v>
                </c:pt>
                <c:pt idx="104">
                  <c:v>1118.95</c:v>
                </c:pt>
              </c:numCache>
            </c:numRef>
          </c:xVal>
          <c:yVal>
            <c:numRef>
              <c:f>Sheet1!$B$2:$B$106</c:f>
              <c:numCache>
                <c:formatCode>General</c:formatCode>
                <c:ptCount val="105"/>
                <c:pt idx="0">
                  <c:v>0.16033510285335104</c:v>
                </c:pt>
                <c:pt idx="1">
                  <c:v>0.144745122718691</c:v>
                </c:pt>
                <c:pt idx="2">
                  <c:v>0.14821599235425295</c:v>
                </c:pt>
                <c:pt idx="3">
                  <c:v>0.14724974376494704</c:v>
                </c:pt>
                <c:pt idx="4">
                  <c:v>0.15438299672200487</c:v>
                </c:pt>
                <c:pt idx="5">
                  <c:v>0.18489326765188835</c:v>
                </c:pt>
                <c:pt idx="6">
                  <c:v>0.21816365049406017</c:v>
                </c:pt>
                <c:pt idx="7">
                  <c:v>0.23045157852670842</c:v>
                </c:pt>
                <c:pt idx="8">
                  <c:v>0.24245430069434604</c:v>
                </c:pt>
                <c:pt idx="9">
                  <c:v>0.21179376350725532</c:v>
                </c:pt>
                <c:pt idx="10">
                  <c:v>0.22383949645948073</c:v>
                </c:pt>
                <c:pt idx="11">
                  <c:v>0.21393998063891578</c:v>
                </c:pt>
                <c:pt idx="12">
                  <c:v>0.19080582179623712</c:v>
                </c:pt>
                <c:pt idx="13">
                  <c:v>0.17190471877547323</c:v>
                </c:pt>
                <c:pt idx="14">
                  <c:v>0.13429431621202445</c:v>
                </c:pt>
                <c:pt idx="15">
                  <c:v>0.11882768844794162</c:v>
                </c:pt>
                <c:pt idx="16">
                  <c:v>0.1159206647011525</c:v>
                </c:pt>
                <c:pt idx="17">
                  <c:v>0.10256053437239077</c:v>
                </c:pt>
                <c:pt idx="18">
                  <c:v>0.0962974486621033</c:v>
                </c:pt>
                <c:pt idx="19">
                  <c:v>0.09204397242407304</c:v>
                </c:pt>
                <c:pt idx="20">
                  <c:v>0.09157894736842105</c:v>
                </c:pt>
                <c:pt idx="21">
                  <c:v>0.09348441926345609</c:v>
                </c:pt>
                <c:pt idx="22">
                  <c:v>0.09822090437361009</c:v>
                </c:pt>
                <c:pt idx="23">
                  <c:v>0.11505988611820145</c:v>
                </c:pt>
                <c:pt idx="24">
                  <c:v>0.1127285638203444</c:v>
                </c:pt>
                <c:pt idx="25">
                  <c:v>0.12217194570135746</c:v>
                </c:pt>
                <c:pt idx="26">
                  <c:v>0.14708141321044546</c:v>
                </c:pt>
                <c:pt idx="27">
                  <c:v>0.1494485294117647</c:v>
                </c:pt>
                <c:pt idx="28">
                  <c:v>0.1799819657348963</c:v>
                </c:pt>
                <c:pt idx="29">
                  <c:v>0.17616498740554157</c:v>
                </c:pt>
                <c:pt idx="30">
                  <c:v>0.17196531791907516</c:v>
                </c:pt>
                <c:pt idx="31">
                  <c:v>0.18125990491283678</c:v>
                </c:pt>
                <c:pt idx="32">
                  <c:v>0.19836595097852935</c:v>
                </c:pt>
                <c:pt idx="33">
                  <c:v>0.1817098599940423</c:v>
                </c:pt>
                <c:pt idx="34">
                  <c:v>0.18260747794426552</c:v>
                </c:pt>
                <c:pt idx="35">
                  <c:v>0.19129979035639413</c:v>
                </c:pt>
                <c:pt idx="36">
                  <c:v>0.1681519357195033</c:v>
                </c:pt>
                <c:pt idx="37">
                  <c:v>0.16089312099819406</c:v>
                </c:pt>
                <c:pt idx="38">
                  <c:v>0.1572574046800851</c:v>
                </c:pt>
                <c:pt idx="39">
                  <c:v>0.14665523156089194</c:v>
                </c:pt>
                <c:pt idx="40">
                  <c:v>0.14546213808463251</c:v>
                </c:pt>
                <c:pt idx="41">
                  <c:v>0.14787346753443317</c:v>
                </c:pt>
                <c:pt idx="42">
                  <c:v>0.1465359477124183</c:v>
                </c:pt>
                <c:pt idx="43">
                  <c:v>0.14118769377533985</c:v>
                </c:pt>
                <c:pt idx="44">
                  <c:v>0.14628219666288678</c:v>
                </c:pt>
                <c:pt idx="45">
                  <c:v>0.16638821385176183</c:v>
                </c:pt>
                <c:pt idx="46">
                  <c:v>0.1721975056523959</c:v>
                </c:pt>
                <c:pt idx="47">
                  <c:v>0.16685247120029728</c:v>
                </c:pt>
                <c:pt idx="48">
                  <c:v>0.16259808195292066</c:v>
                </c:pt>
                <c:pt idx="49">
                  <c:v>0.16804554079696396</c:v>
                </c:pt>
                <c:pt idx="50">
                  <c:v>0.16972997503970955</c:v>
                </c:pt>
                <c:pt idx="51">
                  <c:v>0.162422388194007</c:v>
                </c:pt>
                <c:pt idx="52">
                  <c:v>0.1575679563867646</c:v>
                </c:pt>
                <c:pt idx="53">
                  <c:v>0.14313292884721457</c:v>
                </c:pt>
                <c:pt idx="54">
                  <c:v>0.1450992004737933</c:v>
                </c:pt>
                <c:pt idx="55">
                  <c:v>0.14112903225806453</c:v>
                </c:pt>
                <c:pt idx="56">
                  <c:v>0.14981855883877657</c:v>
                </c:pt>
                <c:pt idx="57">
                  <c:v>0.14434922335297268</c:v>
                </c:pt>
                <c:pt idx="58">
                  <c:v>0.1663926624556546</c:v>
                </c:pt>
                <c:pt idx="59">
                  <c:v>0.14683933274802458</c:v>
                </c:pt>
                <c:pt idx="60">
                  <c:v>0.15279878971255673</c:v>
                </c:pt>
                <c:pt idx="61">
                  <c:v>0.16944216944216944</c:v>
                </c:pt>
                <c:pt idx="62">
                  <c:v>0.1883472484064997</c:v>
                </c:pt>
                <c:pt idx="63">
                  <c:v>0.19346796310147096</c:v>
                </c:pt>
                <c:pt idx="64">
                  <c:v>0.18558295386201565</c:v>
                </c:pt>
                <c:pt idx="65">
                  <c:v>0.18198790896159317</c:v>
                </c:pt>
                <c:pt idx="66">
                  <c:v>0.17878567533175785</c:v>
                </c:pt>
                <c:pt idx="67">
                  <c:v>0.16801446104081438</c:v>
                </c:pt>
                <c:pt idx="68">
                  <c:v>0.1516028733783639</c:v>
                </c:pt>
                <c:pt idx="69">
                  <c:v>0.14100028256569652</c:v>
                </c:pt>
                <c:pt idx="70">
                  <c:v>0.1466491458607096</c:v>
                </c:pt>
                <c:pt idx="71">
                  <c:v>0.14164265129682996</c:v>
                </c:pt>
                <c:pt idx="72">
                  <c:v>0.13927347498286496</c:v>
                </c:pt>
                <c:pt idx="73">
                  <c:v>0.14398364485981308</c:v>
                </c:pt>
                <c:pt idx="74">
                  <c:v>0.1486243605696115</c:v>
                </c:pt>
                <c:pt idx="75">
                  <c:v>0.15961346217927358</c:v>
                </c:pt>
                <c:pt idx="76">
                  <c:v>0.17377341659232828</c:v>
                </c:pt>
                <c:pt idx="77">
                  <c:v>0.16397058823529412</c:v>
                </c:pt>
                <c:pt idx="78">
                  <c:v>0.17640117994100296</c:v>
                </c:pt>
                <c:pt idx="79">
                  <c:v>0.16372478386167147</c:v>
                </c:pt>
                <c:pt idx="80">
                  <c:v>0.1567994259059921</c:v>
                </c:pt>
                <c:pt idx="81">
                  <c:v>0.15579386356866248</c:v>
                </c:pt>
                <c:pt idx="82">
                  <c:v>0.15947171299034102</c:v>
                </c:pt>
                <c:pt idx="83">
                  <c:v>0.15453551912568306</c:v>
                </c:pt>
                <c:pt idx="84">
                  <c:v>0.15389769935224482</c:v>
                </c:pt>
                <c:pt idx="85">
                  <c:v>0.16222664015904573</c:v>
                </c:pt>
                <c:pt idx="86">
                  <c:v>0.1783783783783784</c:v>
                </c:pt>
                <c:pt idx="87">
                  <c:v>0.1824028061970184</c:v>
                </c:pt>
                <c:pt idx="88">
                  <c:v>0.17278736687477048</c:v>
                </c:pt>
                <c:pt idx="89">
                  <c:v>0.18327471668620554</c:v>
                </c:pt>
                <c:pt idx="90">
                  <c:v>0.16203143893591293</c:v>
                </c:pt>
                <c:pt idx="91">
                  <c:v>0.15802611367127495</c:v>
                </c:pt>
                <c:pt idx="92">
                  <c:v>0.16944921204556093</c:v>
                </c:pt>
                <c:pt idx="93">
                  <c:v>0.16639258484078337</c:v>
                </c:pt>
                <c:pt idx="94">
                  <c:v>0.16917161831527439</c:v>
                </c:pt>
                <c:pt idx="95">
                  <c:v>0.1662677919133392</c:v>
                </c:pt>
                <c:pt idx="96">
                  <c:v>0.16149488458611652</c:v>
                </c:pt>
                <c:pt idx="97">
                  <c:v>0.16460811222933822</c:v>
                </c:pt>
                <c:pt idx="98">
                  <c:v>0.16096048552015305</c:v>
                </c:pt>
                <c:pt idx="99">
                  <c:v>0.1636115997956983</c:v>
                </c:pt>
                <c:pt idx="100">
                  <c:v>0.17094159218457702</c:v>
                </c:pt>
                <c:pt idx="101">
                  <c:v>0.16883490260907066</c:v>
                </c:pt>
                <c:pt idx="102">
                  <c:v>0.17709895052473762</c:v>
                </c:pt>
                <c:pt idx="103">
                  <c:v>0.17144579350727632</c:v>
                </c:pt>
                <c:pt idx="104">
                  <c:v>0.1717182166132202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7.6457</c:v>
                </c:pt>
                <c:pt idx="1">
                  <c:v>1177.1248</c:v>
                </c:pt>
                <c:pt idx="2">
                  <c:v>1172.8809</c:v>
                </c:pt>
                <c:pt idx="3">
                  <c:v>1116.1729</c:v>
                </c:pt>
                <c:pt idx="4">
                  <c:v>1171.105</c:v>
                </c:pt>
                <c:pt idx="5">
                  <c:v>1181.7267</c:v>
                </c:pt>
                <c:pt idx="6">
                  <c:v>1111.0839</c:v>
                </c:pt>
                <c:pt idx="7">
                  <c:v>1105.3962</c:v>
                </c:pt>
                <c:pt idx="8">
                  <c:v>1174.7979</c:v>
                </c:pt>
                <c:pt idx="9">
                  <c:v>1121.5102</c:v>
                </c:pt>
                <c:pt idx="10">
                  <c:v>1128.8003</c:v>
                </c:pt>
                <c:pt idx="11">
                  <c:v>1048.8794</c:v>
                </c:pt>
                <c:pt idx="12">
                  <c:v>1081.1237</c:v>
                </c:pt>
                <c:pt idx="13">
                  <c:v>1108.1894</c:v>
                </c:pt>
                <c:pt idx="14">
                  <c:v>1115.3633</c:v>
                </c:pt>
                <c:pt idx="15">
                  <c:v>1116.6884</c:v>
                </c:pt>
                <c:pt idx="16">
                  <c:v>1161.8054</c:v>
                </c:pt>
                <c:pt idx="17">
                  <c:v>1065.4091</c:v>
                </c:pt>
                <c:pt idx="18">
                  <c:v>1159.454</c:v>
                </c:pt>
                <c:pt idx="19">
                  <c:v>1276.5293</c:v>
                </c:pt>
                <c:pt idx="20">
                  <c:v>1266.8846</c:v>
                </c:pt>
                <c:pt idx="21">
                  <c:v>1224.3024</c:v>
                </c:pt>
                <c:pt idx="22">
                  <c:v>1215.4131</c:v>
                </c:pt>
                <c:pt idx="23">
                  <c:v>1207.7573</c:v>
                </c:pt>
                <c:pt idx="24">
                  <c:v>1229.3848</c:v>
                </c:pt>
                <c:pt idx="25">
                  <c:v>1196.3695</c:v>
                </c:pt>
                <c:pt idx="26">
                  <c:v>1177.7754</c:v>
                </c:pt>
                <c:pt idx="27">
                  <c:v>1189.9329</c:v>
                </c:pt>
                <c:pt idx="28">
                  <c:v>1221.5323</c:v>
                </c:pt>
                <c:pt idx="29">
                  <c:v>1215.436</c:v>
                </c:pt>
                <c:pt idx="30">
                  <c:v>1218.5536</c:v>
                </c:pt>
                <c:pt idx="31">
                  <c:v>1223.7136</c:v>
                </c:pt>
                <c:pt idx="32">
                  <c:v>1235.4447</c:v>
                </c:pt>
                <c:pt idx="33">
                  <c:v>1210.9757</c:v>
                </c:pt>
                <c:pt idx="34">
                  <c:v>1217.608</c:v>
                </c:pt>
                <c:pt idx="35">
                  <c:v>1257.2662</c:v>
                </c:pt>
                <c:pt idx="36">
                  <c:v>1289.7456</c:v>
                </c:pt>
                <c:pt idx="37">
                  <c:v>1276.3705</c:v>
                </c:pt>
                <c:pt idx="38">
                  <c:v>1287.5255</c:v>
                </c:pt>
                <c:pt idx="39">
                  <c:v>1237.1239</c:v>
                </c:pt>
                <c:pt idx="40">
                  <c:v>1257.5632</c:v>
                </c:pt>
                <c:pt idx="41">
                  <c:v>1286.865</c:v>
                </c:pt>
                <c:pt idx="42">
                  <c:v>1283.2174</c:v>
                </c:pt>
                <c:pt idx="43">
                  <c:v>1287.1337</c:v>
                </c:pt>
                <c:pt idx="44">
                  <c:v>1219.4646</c:v>
                </c:pt>
                <c:pt idx="45">
                  <c:v>1180.2063</c:v>
                </c:pt>
                <c:pt idx="46">
                  <c:v>1169.2071</c:v>
                </c:pt>
                <c:pt idx="47">
                  <c:v>1150.822</c:v>
                </c:pt>
                <c:pt idx="48">
                  <c:v>1136.5305</c:v>
                </c:pt>
                <c:pt idx="49">
                  <c:v>1141.5541</c:v>
                </c:pt>
                <c:pt idx="50">
                  <c:v>1111.2317</c:v>
                </c:pt>
                <c:pt idx="51">
                  <c:v>1099.7544</c:v>
                </c:pt>
              </c:numCache>
            </c:numRef>
          </c:xVal>
          <c:yVal>
            <c:numRef>
              <c:f>Sheet1!$B$109:$B$160</c:f>
              <c:numCache>
                <c:formatCode>General</c:formatCode>
                <c:ptCount val="52"/>
                <c:pt idx="0">
                  <c:v>0.17139210502324734</c:v>
                </c:pt>
                <c:pt idx="1">
                  <c:v>0.16598262861506155</c:v>
                </c:pt>
                <c:pt idx="2">
                  <c:v>0.19026286873468007</c:v>
                </c:pt>
                <c:pt idx="3">
                  <c:v>0.21693984381704282</c:v>
                </c:pt>
                <c:pt idx="4">
                  <c:v>0.1930491447189791</c:v>
                </c:pt>
                <c:pt idx="5">
                  <c:v>0.19561756718793893</c:v>
                </c:pt>
                <c:pt idx="6">
                  <c:v>0.2099174959598537</c:v>
                </c:pt>
                <c:pt idx="7">
                  <c:v>0.22398775894538606</c:v>
                </c:pt>
                <c:pt idx="8">
                  <c:v>0.19533489705499088</c:v>
                </c:pt>
                <c:pt idx="9">
                  <c:v>0.20346834540919348</c:v>
                </c:pt>
                <c:pt idx="10">
                  <c:v>0.21838002578830149</c:v>
                </c:pt>
                <c:pt idx="11">
                  <c:v>0.20545470188419512</c:v>
                </c:pt>
                <c:pt idx="12">
                  <c:v>0.20200317334391116</c:v>
                </c:pt>
                <c:pt idx="13">
                  <c:v>0.19782608695652174</c:v>
                </c:pt>
                <c:pt idx="14">
                  <c:v>0.19835560123329907</c:v>
                </c:pt>
                <c:pt idx="15">
                  <c:v>0.1962152572442342</c:v>
                </c:pt>
                <c:pt idx="16">
                  <c:v>0.1892891384741816</c:v>
                </c:pt>
                <c:pt idx="17">
                  <c:v>0.20748785367247785</c:v>
                </c:pt>
                <c:pt idx="18">
                  <c:v>0.18994229183841715</c:v>
                </c:pt>
                <c:pt idx="19">
                  <c:v>0.17857142857142858</c:v>
                </c:pt>
                <c:pt idx="20">
                  <c:v>0.16638341264445955</c:v>
                </c:pt>
                <c:pt idx="21">
                  <c:v>0.1786492374727669</c:v>
                </c:pt>
                <c:pt idx="22">
                  <c:v>0.18545769314001298</c:v>
                </c:pt>
                <c:pt idx="23">
                  <c:v>0.187685969329366</c:v>
                </c:pt>
                <c:pt idx="24">
                  <c:v>0.188291467718497</c:v>
                </c:pt>
                <c:pt idx="25">
                  <c:v>0.19373601789709172</c:v>
                </c:pt>
                <c:pt idx="26">
                  <c:v>0.17736821244550138</c:v>
                </c:pt>
                <c:pt idx="27">
                  <c:v>0.18264110756123536</c:v>
                </c:pt>
                <c:pt idx="28">
                  <c:v>0.17938110210160516</c:v>
                </c:pt>
                <c:pt idx="29">
                  <c:v>0.1832637646591135</c:v>
                </c:pt>
                <c:pt idx="30">
                  <c:v>0.18675929709848793</c:v>
                </c:pt>
                <c:pt idx="31">
                  <c:v>0.17773943054357205</c:v>
                </c:pt>
                <c:pt idx="32">
                  <c:v>0.17575295463210064</c:v>
                </c:pt>
                <c:pt idx="33">
                  <c:v>0.2012310606060606</c:v>
                </c:pt>
                <c:pt idx="34">
                  <c:v>0.21649621463673796</c:v>
                </c:pt>
                <c:pt idx="35">
                  <c:v>0.21387010536247839</c:v>
                </c:pt>
                <c:pt idx="36">
                  <c:v>0.20109471680152308</c:v>
                </c:pt>
                <c:pt idx="37">
                  <c:v>0.19350104821802935</c:v>
                </c:pt>
                <c:pt idx="38">
                  <c:v>0.20023228803716608</c:v>
                </c:pt>
                <c:pt idx="39">
                  <c:v>0.20598175059141602</c:v>
                </c:pt>
                <c:pt idx="40">
                  <c:v>0.19253246753246753</c:v>
                </c:pt>
                <c:pt idx="41">
                  <c:v>0.19963453631795341</c:v>
                </c:pt>
                <c:pt idx="42">
                  <c:v>0.19374247894103488</c:v>
                </c:pt>
                <c:pt idx="43">
                  <c:v>0.1829356471438901</c:v>
                </c:pt>
                <c:pt idx="44">
                  <c:v>0.18115204559332385</c:v>
                </c:pt>
                <c:pt idx="45">
                  <c:v>0.1936641697877653</c:v>
                </c:pt>
                <c:pt idx="46">
                  <c:v>0.22289833364538475</c:v>
                </c:pt>
                <c:pt idx="47">
                  <c:v>0.2189094107299912</c:v>
                </c:pt>
                <c:pt idx="48">
                  <c:v>0.21990521327014217</c:v>
                </c:pt>
                <c:pt idx="49">
                  <c:v>0.22948762635064482</c:v>
                </c:pt>
                <c:pt idx="50">
                  <c:v>0.2277557636887608</c:v>
                </c:pt>
                <c:pt idx="51">
                  <c:v>0.2181056955525712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50.091303110249</c:v>
                </c:pt>
              </c:numCache>
            </c:numRef>
          </c:xVal>
          <c:yVal>
            <c:numRef>
              <c:f>Sheet1!$B$163:$B$164</c:f>
              <c:numCache>
                <c:formatCode>General</c:formatCode>
                <c:ptCount val="2"/>
                <c:pt idx="0">
                  <c:v>0.22381357471552976</c:v>
                </c:pt>
                <c:pt idx="1">
                  <c:v>0.2238135747155297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50.091303110249</c:v>
                </c:pt>
                <c:pt idx="1">
                  <c:v>950.091303110249</c:v>
                </c:pt>
              </c:numCache>
            </c:numRef>
          </c:xVal>
          <c:yVal>
            <c:numRef>
              <c:f>Sheet1!$B$167:$B$168</c:f>
              <c:numCache>
                <c:formatCode>General</c:formatCode>
                <c:ptCount val="2"/>
                <c:pt idx="0">
                  <c:v>0.2238135747155297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50.091303110249</c:v>
                </c:pt>
              </c:numCache>
            </c:numRef>
          </c:xVal>
          <c:yVal>
            <c:numRef>
              <c:f>Sheet1!$B$171:$B$172</c:f>
              <c:numCache>
                <c:formatCode>General</c:formatCode>
                <c:ptCount val="2"/>
                <c:pt idx="0">
                  <c:v>0.22381357471552976</c:v>
                </c:pt>
                <c:pt idx="1">
                  <c:v>0.2238135747155297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50.091303110249</c:v>
                </c:pt>
                <c:pt idx="1">
                  <c:v>950.091303110249</c:v>
                </c:pt>
              </c:numCache>
            </c:numRef>
          </c:xVal>
          <c:yVal>
            <c:numRef>
              <c:f>Sheet1!$B$175:$B$176</c:f>
              <c:numCache>
                <c:formatCode>General</c:formatCode>
                <c:ptCount val="2"/>
                <c:pt idx="0">
                  <c:v>0.223813574715529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99.0020621082826</c:v>
                </c:pt>
              </c:numCache>
            </c:numRef>
          </c:xVal>
          <c:yVal>
            <c:numRef>
              <c:f>Sheet1!$B$179:$B$180</c:f>
              <c:numCache>
                <c:formatCode>General</c:formatCode>
                <c:ptCount val="2"/>
                <c:pt idx="0">
                  <c:v>0.20666962608810352</c:v>
                </c:pt>
                <c:pt idx="1">
                  <c:v>0.2066696260881035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99.0020621082826</c:v>
                </c:pt>
                <c:pt idx="1">
                  <c:v>1099.0020621082826</c:v>
                </c:pt>
              </c:numCache>
            </c:numRef>
          </c:xVal>
          <c:yVal>
            <c:numRef>
              <c:f>Sheet1!$B$183:$B$184</c:f>
              <c:numCache>
                <c:formatCode>General</c:formatCode>
                <c:ptCount val="2"/>
                <c:pt idx="0">
                  <c:v>0.2066696260881035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7.6457</c:v>
                </c:pt>
                <c:pt idx="1">
                  <c:v>1177.1248</c:v>
                </c:pt>
                <c:pt idx="2">
                  <c:v>1172.8809</c:v>
                </c:pt>
                <c:pt idx="3">
                  <c:v>1116.1729</c:v>
                </c:pt>
                <c:pt idx="4">
                  <c:v>1171.105</c:v>
                </c:pt>
                <c:pt idx="5">
                  <c:v>1181.7267</c:v>
                </c:pt>
                <c:pt idx="6">
                  <c:v>1111.0839</c:v>
                </c:pt>
                <c:pt idx="7">
                  <c:v>1105.3962</c:v>
                </c:pt>
                <c:pt idx="8">
                  <c:v>1174.7979</c:v>
                </c:pt>
                <c:pt idx="9">
                  <c:v>1121.5102</c:v>
                </c:pt>
                <c:pt idx="10">
                  <c:v>1128.8003</c:v>
                </c:pt>
                <c:pt idx="11">
                  <c:v>1048.8794</c:v>
                </c:pt>
                <c:pt idx="12">
                  <c:v>1081.1237</c:v>
                </c:pt>
                <c:pt idx="13">
                  <c:v>1108.1894</c:v>
                </c:pt>
                <c:pt idx="14">
                  <c:v>1115.3633</c:v>
                </c:pt>
                <c:pt idx="15">
                  <c:v>1116.6884</c:v>
                </c:pt>
                <c:pt idx="16">
                  <c:v>1161.8054</c:v>
                </c:pt>
                <c:pt idx="17">
                  <c:v>1065.4091</c:v>
                </c:pt>
                <c:pt idx="18">
                  <c:v>1159.454</c:v>
                </c:pt>
                <c:pt idx="19">
                  <c:v>1276.5293</c:v>
                </c:pt>
                <c:pt idx="20">
                  <c:v>1266.8846</c:v>
                </c:pt>
                <c:pt idx="21">
                  <c:v>1224.3024</c:v>
                </c:pt>
                <c:pt idx="22">
                  <c:v>1215.4131</c:v>
                </c:pt>
                <c:pt idx="23">
                  <c:v>1207.7573</c:v>
                </c:pt>
                <c:pt idx="24">
                  <c:v>1229.3848</c:v>
                </c:pt>
                <c:pt idx="25">
                  <c:v>1196.3695</c:v>
                </c:pt>
                <c:pt idx="26">
                  <c:v>1177.7754</c:v>
                </c:pt>
                <c:pt idx="27">
                  <c:v>1189.9329</c:v>
                </c:pt>
                <c:pt idx="28">
                  <c:v>1221.5323</c:v>
                </c:pt>
                <c:pt idx="29">
                  <c:v>1215.436</c:v>
                </c:pt>
                <c:pt idx="30">
                  <c:v>1218.5536</c:v>
                </c:pt>
                <c:pt idx="31">
                  <c:v>1223.7136</c:v>
                </c:pt>
                <c:pt idx="32">
                  <c:v>1235.4447</c:v>
                </c:pt>
                <c:pt idx="33">
                  <c:v>1210.9757</c:v>
                </c:pt>
                <c:pt idx="34">
                  <c:v>1217.608</c:v>
                </c:pt>
                <c:pt idx="35">
                  <c:v>1257.2662</c:v>
                </c:pt>
                <c:pt idx="36">
                  <c:v>1289.7456</c:v>
                </c:pt>
                <c:pt idx="37">
                  <c:v>1276.3705</c:v>
                </c:pt>
                <c:pt idx="38">
                  <c:v>1287.5255</c:v>
                </c:pt>
                <c:pt idx="39">
                  <c:v>1237.1239</c:v>
                </c:pt>
                <c:pt idx="40">
                  <c:v>1257.5632</c:v>
                </c:pt>
                <c:pt idx="41">
                  <c:v>1286.865</c:v>
                </c:pt>
                <c:pt idx="42">
                  <c:v>1283.2174</c:v>
                </c:pt>
                <c:pt idx="43">
                  <c:v>1287.1337</c:v>
                </c:pt>
                <c:pt idx="44">
                  <c:v>1219.4646</c:v>
                </c:pt>
                <c:pt idx="45">
                  <c:v>1180.2063</c:v>
                </c:pt>
                <c:pt idx="46">
                  <c:v>1169.2071</c:v>
                </c:pt>
                <c:pt idx="47">
                  <c:v>1150.822</c:v>
                </c:pt>
                <c:pt idx="48">
                  <c:v>1136.5305</c:v>
                </c:pt>
                <c:pt idx="49">
                  <c:v>1141.5541</c:v>
                </c:pt>
                <c:pt idx="50">
                  <c:v>1111.2317</c:v>
                </c:pt>
                <c:pt idx="51">
                  <c:v>1099.7544</c:v>
                </c:pt>
                <c:pt idx="52">
                  <c:v>950.091303110249</c:v>
                </c:pt>
                <c:pt idx="53">
                  <c:v>950.091303110249</c:v>
                </c:pt>
                <c:pt idx="54">
                  <c:v>1099.0020621082826</c:v>
                </c:pt>
              </c:numCache>
            </c:numRef>
          </c:xVal>
          <c:yVal>
            <c:numRef>
              <c:f>Sheet1!$B$187:$B$241</c:f>
              <c:numCache>
                <c:formatCode>General</c:formatCode>
                <c:ptCount val="55"/>
                <c:pt idx="0">
                  <c:v>0.1999180419708386</c:v>
                </c:pt>
                <c:pt idx="1">
                  <c:v>0.19767543242431881</c:v>
                </c:pt>
                <c:pt idx="2">
                  <c:v>0.19816402844027822</c:v>
                </c:pt>
                <c:pt idx="3">
                  <c:v>0.20469276447859852</c:v>
                </c:pt>
                <c:pt idx="4">
                  <c:v>0.19836848605349777</c:v>
                </c:pt>
                <c:pt idx="5">
                  <c:v>0.19714562022190035</c:v>
                </c:pt>
                <c:pt idx="6">
                  <c:v>0.20527865602298398</c:v>
                </c:pt>
                <c:pt idx="7">
                  <c:v>0.20593347530712652</c:v>
                </c:pt>
                <c:pt idx="8">
                  <c:v>0.19794332612340126</c:v>
                </c:pt>
                <c:pt idx="9">
                  <c:v>0.20407828640042036</c:v>
                </c:pt>
                <c:pt idx="10">
                  <c:v>0.2032389843867193</c:v>
                </c:pt>
                <c:pt idx="11">
                  <c:v>0.2124401986782653</c:v>
                </c:pt>
                <c:pt idx="12">
                  <c:v>0.20872794426194996</c:v>
                </c:pt>
                <c:pt idx="13">
                  <c:v>0.20561189694953613</c:v>
                </c:pt>
                <c:pt idx="14">
                  <c:v>0.2047859729270824</c:v>
                </c:pt>
                <c:pt idx="15">
                  <c:v>0.20463341547267777</c:v>
                </c:pt>
                <c:pt idx="16">
                  <c:v>0.19943913981772793</c:v>
                </c:pt>
                <c:pt idx="17">
                  <c:v>0.21053715064108144</c:v>
                </c:pt>
                <c:pt idx="18">
                  <c:v>0.19970985417761553</c:v>
                </c:pt>
                <c:pt idx="19">
                  <c:v>0.18623109050569697</c:v>
                </c:pt>
                <c:pt idx="20">
                  <c:v>0.18734147529212547</c:v>
                </c:pt>
                <c:pt idx="21">
                  <c:v>0.19224392192630338</c:v>
                </c:pt>
                <c:pt idx="22">
                  <c:v>0.1932673382567231</c:v>
                </c:pt>
                <c:pt idx="23">
                  <c:v>0.19414874295027906</c:v>
                </c:pt>
                <c:pt idx="24">
                  <c:v>0.19165879023340013</c:v>
                </c:pt>
                <c:pt idx="25">
                  <c:v>0.19545980911831856</c:v>
                </c:pt>
                <c:pt idx="26">
                  <c:v>0.19760052948881535</c:v>
                </c:pt>
                <c:pt idx="27">
                  <c:v>0.19620084851988892</c:v>
                </c:pt>
                <c:pt idx="28">
                  <c:v>0.19256284080370606</c:v>
                </c:pt>
                <c:pt idx="29">
                  <c:v>0.19326470180233787</c:v>
                </c:pt>
                <c:pt idx="30">
                  <c:v>0.19290577559310695</c:v>
                </c:pt>
                <c:pt idx="31">
                  <c:v>0.1923117098888371</c:v>
                </c:pt>
                <c:pt idx="32">
                  <c:v>0.1909611199308217</c:v>
                </c:pt>
                <c:pt idx="33">
                  <c:v>0.19377821173659265</c:v>
                </c:pt>
                <c:pt idx="34">
                  <c:v>0.19301464158728476</c:v>
                </c:pt>
                <c:pt idx="35">
                  <c:v>0.1884488321855264</c:v>
                </c:pt>
                <c:pt idx="36">
                  <c:v>0.1847095109383828</c:v>
                </c:pt>
                <c:pt idx="37">
                  <c:v>0.1862493729928749</c:v>
                </c:pt>
                <c:pt idx="38">
                  <c:v>0.18496510885893502</c:v>
                </c:pt>
                <c:pt idx="39">
                  <c:v>0.1907677952931066</c:v>
                </c:pt>
                <c:pt idx="40">
                  <c:v>0.18841463886882714</c:v>
                </c:pt>
                <c:pt idx="41">
                  <c:v>0.1850411515716618</c:v>
                </c:pt>
                <c:pt idx="42">
                  <c:v>0.1854610961574941</c:v>
                </c:pt>
                <c:pt idx="43">
                  <c:v>0.18501021640601503</c:v>
                </c:pt>
                <c:pt idx="44">
                  <c:v>0.19280089306276008</c:v>
                </c:pt>
                <c:pt idx="45">
                  <c:v>0.19732066237243753</c:v>
                </c:pt>
                <c:pt idx="46">
                  <c:v>0.19858698940623684</c:v>
                </c:pt>
                <c:pt idx="47">
                  <c:v>0.20070364781313046</c:v>
                </c:pt>
                <c:pt idx="48">
                  <c:v>0.20234901409463665</c:v>
                </c:pt>
                <c:pt idx="49">
                  <c:v>0.20177065198766575</c:v>
                </c:pt>
                <c:pt idx="50">
                  <c:v>0.2052616399549431</c:v>
                </c:pt>
                <c:pt idx="51">
                  <c:v>0.20658301016959735</c:v>
                </c:pt>
                <c:pt idx="52">
                  <c:v>0.22381357471552976</c:v>
                </c:pt>
                <c:pt idx="53">
                  <c:v>0.22381357471552976</c:v>
                </c:pt>
                <c:pt idx="54">
                  <c:v>0.2066696260881035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8.0"/>
          <c:min val="61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094516083321526"/>
          <c:min val="0.0732631578947368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9433313376698107</c:v>
                </c:pt>
                <c:pt idx="1">
                  <c:v>2.209467118131292</c:v>
                </c:pt>
                <c:pt idx="2">
                  <c:v>2.2749845491457346</c:v>
                </c:pt>
                <c:pt idx="3">
                  <c:v>2.2890828785461124</c:v>
                </c:pt>
                <c:pt idx="4">
                  <c:v>2.3063331375391556</c:v>
                </c:pt>
                <c:pt idx="5">
                  <c:v>1.8884629838890001</c:v>
                </c:pt>
                <c:pt idx="6">
                  <c:v>1.6577009528949649</c:v>
                </c:pt>
                <c:pt idx="7">
                  <c:v>1.6546798560932776</c:v>
                </c:pt>
                <c:pt idx="8">
                  <c:v>1.6527032458001096</c:v>
                </c:pt>
                <c:pt idx="9">
                  <c:v>1.7255453958327664</c:v>
                </c:pt>
                <c:pt idx="10">
                  <c:v>1.583752358706806</c:v>
                </c:pt>
                <c:pt idx="11">
                  <c:v>1.5617392223510487</c:v>
                </c:pt>
                <c:pt idx="12">
                  <c:v>1.5963187147963869</c:v>
                </c:pt>
                <c:pt idx="13">
                  <c:v>1.5485851663864492</c:v>
                </c:pt>
                <c:pt idx="14">
                  <c:v>1.7076588517736262</c:v>
                </c:pt>
                <c:pt idx="15">
                  <c:v>1.70845636517244</c:v>
                </c:pt>
                <c:pt idx="16">
                  <c:v>1.7126947546592266</c:v>
                </c:pt>
                <c:pt idx="17">
                  <c:v>2.0693441238639614</c:v>
                </c:pt>
                <c:pt idx="18">
                  <c:v>2.113638515910386</c:v>
                </c:pt>
                <c:pt idx="19">
                  <c:v>2.0660465741836176</c:v>
                </c:pt>
                <c:pt idx="20">
                  <c:v>2.182402837562604</c:v>
                </c:pt>
                <c:pt idx="21">
                  <c:v>2.2093852625841133</c:v>
                </c:pt>
                <c:pt idx="22">
                  <c:v>2.155640686376679</c:v>
                </c:pt>
                <c:pt idx="23">
                  <c:v>2.2524223626521587</c:v>
                </c:pt>
                <c:pt idx="24">
                  <c:v>2.4276966648146345</c:v>
                </c:pt>
                <c:pt idx="25">
                  <c:v>2.4198859912455353</c:v>
                </c:pt>
                <c:pt idx="26">
                  <c:v>1.9708427263117156</c:v>
                </c:pt>
                <c:pt idx="27">
                  <c:v>1.9643061401790185</c:v>
                </c:pt>
                <c:pt idx="28">
                  <c:v>1.8996093987051879</c:v>
                </c:pt>
                <c:pt idx="29">
                  <c:v>1.8941402545379133</c:v>
                </c:pt>
                <c:pt idx="30">
                  <c:v>1.8672362676201137</c:v>
                </c:pt>
                <c:pt idx="31">
                  <c:v>1.852117909761174</c:v>
                </c:pt>
                <c:pt idx="32">
                  <c:v>1.779375112930671</c:v>
                </c:pt>
                <c:pt idx="33">
                  <c:v>1.7551613797554153</c:v>
                </c:pt>
                <c:pt idx="34">
                  <c:v>1.7898625695035586</c:v>
                </c:pt>
                <c:pt idx="35">
                  <c:v>1.9163323013299831</c:v>
                </c:pt>
                <c:pt idx="36">
                  <c:v>2.050658069717774</c:v>
                </c:pt>
                <c:pt idx="37">
                  <c:v>2.1294019959457353</c:v>
                </c:pt>
                <c:pt idx="38">
                  <c:v>2.172285328085539</c:v>
                </c:pt>
                <c:pt idx="39">
                  <c:v>2.2154563163441994</c:v>
                </c:pt>
                <c:pt idx="40">
                  <c:v>2.2354052950189978</c:v>
                </c:pt>
                <c:pt idx="41">
                  <c:v>2.270190957342954</c:v>
                </c:pt>
                <c:pt idx="42">
                  <c:v>2.3043072168511003</c:v>
                </c:pt>
                <c:pt idx="43">
                  <c:v>2.3217145305191407</c:v>
                </c:pt>
                <c:pt idx="44">
                  <c:v>2.1987457846648284</c:v>
                </c:pt>
                <c:pt idx="45">
                  <c:v>2.1406159980265116</c:v>
                </c:pt>
                <c:pt idx="46">
                  <c:v>2.1614976293599524</c:v>
                </c:pt>
                <c:pt idx="47">
                  <c:v>2.1285487235904172</c:v>
                </c:pt>
                <c:pt idx="48">
                  <c:v>2.0959372626265242</c:v>
                </c:pt>
                <c:pt idx="49">
                  <c:v>1.9980018233287868</c:v>
                </c:pt>
                <c:pt idx="50">
                  <c:v>1.9655033841362362</c:v>
                </c:pt>
                <c:pt idx="51">
                  <c:v>2.0154261890239424</c:v>
                </c:pt>
                <c:pt idx="52">
                  <c:v>2.0410808301358068</c:v>
                </c:pt>
                <c:pt idx="53">
                  <c:v>2.2286820424129257</c:v>
                </c:pt>
                <c:pt idx="54">
                  <c:v>2.2764496768871307</c:v>
                </c:pt>
                <c:pt idx="55">
                  <c:v>2.3033759985686215</c:v>
                </c:pt>
                <c:pt idx="56">
                  <c:v>2.3217562974117323</c:v>
                </c:pt>
                <c:pt idx="57">
                  <c:v>2.304882083941371</c:v>
                </c:pt>
                <c:pt idx="58">
                  <c:v>2.1779592978160744</c:v>
                </c:pt>
                <c:pt idx="59">
                  <c:v>2.265786864886965</c:v>
                </c:pt>
                <c:pt idx="60">
                  <c:v>2.293693619194293</c:v>
                </c:pt>
                <c:pt idx="61">
                  <c:v>2.1916105545608433</c:v>
                </c:pt>
                <c:pt idx="62">
                  <c:v>2.082394662419302</c:v>
                </c:pt>
                <c:pt idx="63">
                  <c:v>2.1550867554452444</c:v>
                </c:pt>
                <c:pt idx="64">
                  <c:v>2.1123755608031445</c:v>
                </c:pt>
                <c:pt idx="65">
                  <c:v>2.074890427632742</c:v>
                </c:pt>
                <c:pt idx="66">
                  <c:v>2.0958716235380903</c:v>
                </c:pt>
                <c:pt idx="67">
                  <c:v>2.149861590170699</c:v>
                </c:pt>
                <c:pt idx="68">
                  <c:v>2.1295024457535052</c:v>
                </c:pt>
                <c:pt idx="69">
                  <c:v>2.2021109576527094</c:v>
                </c:pt>
                <c:pt idx="70">
                  <c:v>2.192674743434707</c:v>
                </c:pt>
                <c:pt idx="71">
                  <c:v>2.296245340251708</c:v>
                </c:pt>
                <c:pt idx="72">
                  <c:v>2.4357132202560954</c:v>
                </c:pt>
                <c:pt idx="73">
                  <c:v>2.3465242865944087</c:v>
                </c:pt>
                <c:pt idx="74">
                  <c:v>2.350633303234397</c:v>
                </c:pt>
                <c:pt idx="75">
                  <c:v>2.3588165038110507</c:v>
                </c:pt>
                <c:pt idx="76">
                  <c:v>2.3118448680253407</c:v>
                </c:pt>
                <c:pt idx="77">
                  <c:v>2.3764715108748447</c:v>
                </c:pt>
                <c:pt idx="78">
                  <c:v>2.3801589726008636</c:v>
                </c:pt>
                <c:pt idx="79">
                  <c:v>2.482397286026505</c:v>
                </c:pt>
                <c:pt idx="80">
                  <c:v>2.4284735701616413</c:v>
                </c:pt>
                <c:pt idx="81">
                  <c:v>2.4735756164071074</c:v>
                </c:pt>
                <c:pt idx="82">
                  <c:v>2.4275694231985785</c:v>
                </c:pt>
                <c:pt idx="83">
                  <c:v>2.414071112718731</c:v>
                </c:pt>
                <c:pt idx="84">
                  <c:v>2.4531958226769506</c:v>
                </c:pt>
                <c:pt idx="85">
                  <c:v>2.3646369853527927</c:v>
                </c:pt>
                <c:pt idx="86">
                  <c:v>2.29318941197819</c:v>
                </c:pt>
                <c:pt idx="87">
                  <c:v>2.3202414455767437</c:v>
                </c:pt>
                <c:pt idx="88">
                  <c:v>2.383470369961566</c:v>
                </c:pt>
                <c:pt idx="89">
                  <c:v>2.346307660172748</c:v>
                </c:pt>
                <c:pt idx="90">
                  <c:v>2.5077317032077175</c:v>
                </c:pt>
                <c:pt idx="91">
                  <c:v>2.5381348827376047</c:v>
                </c:pt>
                <c:pt idx="92">
                  <c:v>2.4182664230329327</c:v>
                </c:pt>
                <c:pt idx="93">
                  <c:v>2.257986358029303</c:v>
                </c:pt>
                <c:pt idx="94">
                  <c:v>2.171249277617834</c:v>
                </c:pt>
                <c:pt idx="95">
                  <c:v>2.1434145313227977</c:v>
                </c:pt>
                <c:pt idx="96">
                  <c:v>2.02000340609477</c:v>
                </c:pt>
                <c:pt idx="97">
                  <c:v>2.0320399907436153</c:v>
                </c:pt>
                <c:pt idx="98">
                  <c:v>2.1004841965853887</c:v>
                </c:pt>
                <c:pt idx="99">
                  <c:v>2.3073956428820144</c:v>
                </c:pt>
                <c:pt idx="100">
                  <c:v>2.018808252545419</c:v>
                </c:pt>
                <c:pt idx="101">
                  <c:v>1.8912131701731594</c:v>
                </c:pt>
                <c:pt idx="102">
                  <c:v>1.8458907482811102</c:v>
                </c:pt>
                <c:pt idx="103">
                  <c:v>1.8089009284352333</c:v>
                </c:pt>
                <c:pt idx="104">
                  <c:v>1.8320667930341676</c:v>
                </c:pt>
              </c:numCache>
            </c:numRef>
          </c:xVal>
          <c:yVal>
            <c:numRef>
              <c:f>Sheet1!$B$2:$B$106</c:f>
              <c:numCache>
                <c:formatCode>General</c:formatCode>
                <c:ptCount val="105"/>
                <c:pt idx="0">
                  <c:v>0.16033510285335104</c:v>
                </c:pt>
                <c:pt idx="1">
                  <c:v>0.144745122718691</c:v>
                </c:pt>
                <c:pt idx="2">
                  <c:v>0.14821599235425295</c:v>
                </c:pt>
                <c:pt idx="3">
                  <c:v>0.14724974376494704</c:v>
                </c:pt>
                <c:pt idx="4">
                  <c:v>0.15438299672200487</c:v>
                </c:pt>
                <c:pt idx="5">
                  <c:v>0.18489326765188835</c:v>
                </c:pt>
                <c:pt idx="6">
                  <c:v>0.21816365049406017</c:v>
                </c:pt>
                <c:pt idx="7">
                  <c:v>0.23045157852670842</c:v>
                </c:pt>
                <c:pt idx="8">
                  <c:v>0.24245430069434604</c:v>
                </c:pt>
                <c:pt idx="9">
                  <c:v>0.21179376350725532</c:v>
                </c:pt>
                <c:pt idx="10">
                  <c:v>0.22383949645948073</c:v>
                </c:pt>
                <c:pt idx="11">
                  <c:v>0.21393998063891578</c:v>
                </c:pt>
                <c:pt idx="12">
                  <c:v>0.19080582179623712</c:v>
                </c:pt>
                <c:pt idx="13">
                  <c:v>0.17190471877547323</c:v>
                </c:pt>
                <c:pt idx="14">
                  <c:v>0.13429431621202445</c:v>
                </c:pt>
                <c:pt idx="15">
                  <c:v>0.11882768844794162</c:v>
                </c:pt>
                <c:pt idx="16">
                  <c:v>0.1159206647011525</c:v>
                </c:pt>
                <c:pt idx="17">
                  <c:v>0.10256053437239077</c:v>
                </c:pt>
                <c:pt idx="18">
                  <c:v>0.0962974486621033</c:v>
                </c:pt>
                <c:pt idx="19">
                  <c:v>0.09204397242407304</c:v>
                </c:pt>
                <c:pt idx="20">
                  <c:v>0.09157894736842105</c:v>
                </c:pt>
                <c:pt idx="21">
                  <c:v>0.09348441926345609</c:v>
                </c:pt>
                <c:pt idx="22">
                  <c:v>0.09822090437361009</c:v>
                </c:pt>
                <c:pt idx="23">
                  <c:v>0.11505988611820145</c:v>
                </c:pt>
                <c:pt idx="24">
                  <c:v>0.1127285638203444</c:v>
                </c:pt>
                <c:pt idx="25">
                  <c:v>0.12217194570135746</c:v>
                </c:pt>
                <c:pt idx="26">
                  <c:v>0.14708141321044546</c:v>
                </c:pt>
                <c:pt idx="27">
                  <c:v>0.1494485294117647</c:v>
                </c:pt>
                <c:pt idx="28">
                  <c:v>0.1799819657348963</c:v>
                </c:pt>
                <c:pt idx="29">
                  <c:v>0.17616498740554157</c:v>
                </c:pt>
                <c:pt idx="30">
                  <c:v>0.17196531791907516</c:v>
                </c:pt>
                <c:pt idx="31">
                  <c:v>0.18125990491283678</c:v>
                </c:pt>
                <c:pt idx="32">
                  <c:v>0.19836595097852935</c:v>
                </c:pt>
                <c:pt idx="33">
                  <c:v>0.1817098599940423</c:v>
                </c:pt>
                <c:pt idx="34">
                  <c:v>0.18260747794426552</c:v>
                </c:pt>
                <c:pt idx="35">
                  <c:v>0.19129979035639413</c:v>
                </c:pt>
                <c:pt idx="36">
                  <c:v>0.1681519357195033</c:v>
                </c:pt>
                <c:pt idx="37">
                  <c:v>0.16089312099819406</c:v>
                </c:pt>
                <c:pt idx="38">
                  <c:v>0.1572574046800851</c:v>
                </c:pt>
                <c:pt idx="39">
                  <c:v>0.14665523156089194</c:v>
                </c:pt>
                <c:pt idx="40">
                  <c:v>0.14546213808463251</c:v>
                </c:pt>
                <c:pt idx="41">
                  <c:v>0.14787346753443317</c:v>
                </c:pt>
                <c:pt idx="42">
                  <c:v>0.1465359477124183</c:v>
                </c:pt>
                <c:pt idx="43">
                  <c:v>0.14118769377533985</c:v>
                </c:pt>
                <c:pt idx="44">
                  <c:v>0.14628219666288678</c:v>
                </c:pt>
                <c:pt idx="45">
                  <c:v>0.16638821385176183</c:v>
                </c:pt>
                <c:pt idx="46">
                  <c:v>0.1721975056523959</c:v>
                </c:pt>
                <c:pt idx="47">
                  <c:v>0.16685247120029728</c:v>
                </c:pt>
                <c:pt idx="48">
                  <c:v>0.16259808195292066</c:v>
                </c:pt>
                <c:pt idx="49">
                  <c:v>0.16804554079696396</c:v>
                </c:pt>
                <c:pt idx="50">
                  <c:v>0.16972997503970955</c:v>
                </c:pt>
                <c:pt idx="51">
                  <c:v>0.162422388194007</c:v>
                </c:pt>
                <c:pt idx="52">
                  <c:v>0.1575679563867646</c:v>
                </c:pt>
                <c:pt idx="53">
                  <c:v>0.14313292884721457</c:v>
                </c:pt>
                <c:pt idx="54">
                  <c:v>0.1450992004737933</c:v>
                </c:pt>
                <c:pt idx="55">
                  <c:v>0.14112903225806453</c:v>
                </c:pt>
                <c:pt idx="56">
                  <c:v>0.14981855883877657</c:v>
                </c:pt>
                <c:pt idx="57">
                  <c:v>0.14434922335297268</c:v>
                </c:pt>
                <c:pt idx="58">
                  <c:v>0.1663926624556546</c:v>
                </c:pt>
                <c:pt idx="59">
                  <c:v>0.14683933274802458</c:v>
                </c:pt>
                <c:pt idx="60">
                  <c:v>0.15279878971255673</c:v>
                </c:pt>
                <c:pt idx="61">
                  <c:v>0.16944216944216944</c:v>
                </c:pt>
                <c:pt idx="62">
                  <c:v>0.1883472484064997</c:v>
                </c:pt>
                <c:pt idx="63">
                  <c:v>0.19346796310147096</c:v>
                </c:pt>
                <c:pt idx="64">
                  <c:v>0.18558295386201565</c:v>
                </c:pt>
                <c:pt idx="65">
                  <c:v>0.18198790896159317</c:v>
                </c:pt>
                <c:pt idx="66">
                  <c:v>0.17878567533175785</c:v>
                </c:pt>
                <c:pt idx="67">
                  <c:v>0.16801446104081438</c:v>
                </c:pt>
                <c:pt idx="68">
                  <c:v>0.1516028733783639</c:v>
                </c:pt>
                <c:pt idx="69">
                  <c:v>0.14100028256569652</c:v>
                </c:pt>
                <c:pt idx="70">
                  <c:v>0.1466491458607096</c:v>
                </c:pt>
                <c:pt idx="71">
                  <c:v>0.14164265129682996</c:v>
                </c:pt>
                <c:pt idx="72">
                  <c:v>0.13927347498286496</c:v>
                </c:pt>
                <c:pt idx="73">
                  <c:v>0.14398364485981308</c:v>
                </c:pt>
                <c:pt idx="74">
                  <c:v>0.1486243605696115</c:v>
                </c:pt>
                <c:pt idx="75">
                  <c:v>0.15961346217927358</c:v>
                </c:pt>
                <c:pt idx="76">
                  <c:v>0.17377341659232828</c:v>
                </c:pt>
                <c:pt idx="77">
                  <c:v>0.16397058823529412</c:v>
                </c:pt>
                <c:pt idx="78">
                  <c:v>0.17640117994100296</c:v>
                </c:pt>
                <c:pt idx="79">
                  <c:v>0.16372478386167147</c:v>
                </c:pt>
                <c:pt idx="80">
                  <c:v>0.1567994259059921</c:v>
                </c:pt>
                <c:pt idx="81">
                  <c:v>0.15579386356866248</c:v>
                </c:pt>
                <c:pt idx="82">
                  <c:v>0.15947171299034102</c:v>
                </c:pt>
                <c:pt idx="83">
                  <c:v>0.15453551912568306</c:v>
                </c:pt>
                <c:pt idx="84">
                  <c:v>0.15389769935224482</c:v>
                </c:pt>
                <c:pt idx="85">
                  <c:v>0.16222664015904573</c:v>
                </c:pt>
                <c:pt idx="86">
                  <c:v>0.1783783783783784</c:v>
                </c:pt>
                <c:pt idx="87">
                  <c:v>0.1824028061970184</c:v>
                </c:pt>
                <c:pt idx="88">
                  <c:v>0.17278736687477048</c:v>
                </c:pt>
                <c:pt idx="89">
                  <c:v>0.18327471668620554</c:v>
                </c:pt>
                <c:pt idx="90">
                  <c:v>0.16203143893591293</c:v>
                </c:pt>
                <c:pt idx="91">
                  <c:v>0.15802611367127495</c:v>
                </c:pt>
                <c:pt idx="92">
                  <c:v>0.16944921204556093</c:v>
                </c:pt>
                <c:pt idx="93">
                  <c:v>0.16639258484078337</c:v>
                </c:pt>
                <c:pt idx="94">
                  <c:v>0.16917161831527439</c:v>
                </c:pt>
                <c:pt idx="95">
                  <c:v>0.1662677919133392</c:v>
                </c:pt>
                <c:pt idx="96">
                  <c:v>0.16149488458611652</c:v>
                </c:pt>
                <c:pt idx="97">
                  <c:v>0.16460811222933822</c:v>
                </c:pt>
                <c:pt idx="98">
                  <c:v>0.16096048552015305</c:v>
                </c:pt>
                <c:pt idx="99">
                  <c:v>0.1636115997956983</c:v>
                </c:pt>
                <c:pt idx="100">
                  <c:v>0.17094159218457702</c:v>
                </c:pt>
                <c:pt idx="101">
                  <c:v>0.16883490260907066</c:v>
                </c:pt>
                <c:pt idx="102">
                  <c:v>0.17709895052473762</c:v>
                </c:pt>
                <c:pt idx="103">
                  <c:v>0.17144579350727632</c:v>
                </c:pt>
                <c:pt idx="104">
                  <c:v>0.1717182166132202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8166708435683119</c:v>
                </c:pt>
                <c:pt idx="1">
                  <c:v>1.8369971324346994</c:v>
                </c:pt>
                <c:pt idx="2">
                  <c:v>1.7953323049050156</c:v>
                </c:pt>
                <c:pt idx="3">
                  <c:v>1.713500569236192</c:v>
                </c:pt>
                <c:pt idx="4">
                  <c:v>1.7713456754756114</c:v>
                </c:pt>
                <c:pt idx="5">
                  <c:v>1.743976539714084</c:v>
                </c:pt>
                <c:pt idx="6">
                  <c:v>1.7584036166887282</c:v>
                </c:pt>
                <c:pt idx="7">
                  <c:v>1.6409396705431907</c:v>
                </c:pt>
                <c:pt idx="8">
                  <c:v>1.7446235189867743</c:v>
                </c:pt>
                <c:pt idx="9">
                  <c:v>1.7328264018847541</c:v>
                </c:pt>
                <c:pt idx="10">
                  <c:v>1.7003079924546594</c:v>
                </c:pt>
                <c:pt idx="11">
                  <c:v>1.842169563016644</c:v>
                </c:pt>
                <c:pt idx="12">
                  <c:v>1.8165514775476572</c:v>
                </c:pt>
                <c:pt idx="13">
                  <c:v>1.6960383153443195</c:v>
                </c:pt>
                <c:pt idx="14">
                  <c:v>1.7177093436668278</c:v>
                </c:pt>
                <c:pt idx="15">
                  <c:v>1.7716908249196845</c:v>
                </c:pt>
                <c:pt idx="16">
                  <c:v>1.7503461731129213</c:v>
                </c:pt>
                <c:pt idx="17">
                  <c:v>1.6714064088648106</c:v>
                </c:pt>
                <c:pt idx="18">
                  <c:v>1.7782851344495179</c:v>
                </c:pt>
                <c:pt idx="19">
                  <c:v>1.9502231667138994</c:v>
                </c:pt>
                <c:pt idx="20">
                  <c:v>1.868602146477534</c:v>
                </c:pt>
                <c:pt idx="21">
                  <c:v>1.8341578762941366</c:v>
                </c:pt>
                <c:pt idx="22">
                  <c:v>1.8061232177653799</c:v>
                </c:pt>
                <c:pt idx="23">
                  <c:v>1.7843555623319536</c:v>
                </c:pt>
                <c:pt idx="24">
                  <c:v>1.7845706039817</c:v>
                </c:pt>
                <c:pt idx="25">
                  <c:v>1.7874359650129326</c:v>
                </c:pt>
                <c:pt idx="26">
                  <c:v>1.7161170183701793</c:v>
                </c:pt>
                <c:pt idx="27">
                  <c:v>1.7316157162155457</c:v>
                </c:pt>
                <c:pt idx="28">
                  <c:v>1.7893837490165243</c:v>
                </c:pt>
                <c:pt idx="29">
                  <c:v>1.7794960225327827</c:v>
                </c:pt>
                <c:pt idx="30">
                  <c:v>1.7774756696383311</c:v>
                </c:pt>
                <c:pt idx="31">
                  <c:v>1.7573726759087231</c:v>
                </c:pt>
                <c:pt idx="32">
                  <c:v>1.7563632455406208</c:v>
                </c:pt>
                <c:pt idx="33">
                  <c:v>1.704385622803589</c:v>
                </c:pt>
                <c:pt idx="34">
                  <c:v>1.7666266170091538</c:v>
                </c:pt>
                <c:pt idx="35">
                  <c:v>1.7556557989865995</c:v>
                </c:pt>
                <c:pt idx="36">
                  <c:v>1.7711291032899652</c:v>
                </c:pt>
                <c:pt idx="37">
                  <c:v>1.7747027818594598</c:v>
                </c:pt>
                <c:pt idx="38">
                  <c:v>1.7840361372745317</c:v>
                </c:pt>
                <c:pt idx="39">
                  <c:v>1.8040069149102935</c:v>
                </c:pt>
                <c:pt idx="40">
                  <c:v>1.7712686632333248</c:v>
                </c:pt>
                <c:pt idx="41">
                  <c:v>1.7991400969736184</c:v>
                </c:pt>
                <c:pt idx="42">
                  <c:v>1.8106323256983121</c:v>
                </c:pt>
                <c:pt idx="43">
                  <c:v>1.8505368659244874</c:v>
                </c:pt>
                <c:pt idx="44">
                  <c:v>1.7771951912467643</c:v>
                </c:pt>
                <c:pt idx="45">
                  <c:v>1.813963107058449</c:v>
                </c:pt>
                <c:pt idx="46">
                  <c:v>1.763640033178918</c:v>
                </c:pt>
                <c:pt idx="47">
                  <c:v>1.786136721278755</c:v>
                </c:pt>
                <c:pt idx="48">
                  <c:v>1.7380690838304884</c:v>
                </c:pt>
                <c:pt idx="49">
                  <c:v>1.7965997636123556</c:v>
                </c:pt>
                <c:pt idx="50">
                  <c:v>1.7914481426669118</c:v>
                </c:pt>
                <c:pt idx="51">
                  <c:v>1.8165850287233194</c:v>
                </c:pt>
              </c:numCache>
            </c:numRef>
          </c:xVal>
          <c:yVal>
            <c:numRef>
              <c:f>Sheet1!$B$109:$B$160</c:f>
              <c:numCache>
                <c:formatCode>General</c:formatCode>
                <c:ptCount val="52"/>
                <c:pt idx="0">
                  <c:v>0.17139210502324734</c:v>
                </c:pt>
                <c:pt idx="1">
                  <c:v>0.16598262861506155</c:v>
                </c:pt>
                <c:pt idx="2">
                  <c:v>0.19026286873468007</c:v>
                </c:pt>
                <c:pt idx="3">
                  <c:v>0.21693984381704282</c:v>
                </c:pt>
                <c:pt idx="4">
                  <c:v>0.1930491447189791</c:v>
                </c:pt>
                <c:pt idx="5">
                  <c:v>0.19561756718793893</c:v>
                </c:pt>
                <c:pt idx="6">
                  <c:v>0.2099174959598537</c:v>
                </c:pt>
                <c:pt idx="7">
                  <c:v>0.22398775894538606</c:v>
                </c:pt>
                <c:pt idx="8">
                  <c:v>0.19533489705499088</c:v>
                </c:pt>
                <c:pt idx="9">
                  <c:v>0.20346834540919348</c:v>
                </c:pt>
                <c:pt idx="10">
                  <c:v>0.21838002578830149</c:v>
                </c:pt>
                <c:pt idx="11">
                  <c:v>0.20545470188419512</c:v>
                </c:pt>
                <c:pt idx="12">
                  <c:v>0.20200317334391116</c:v>
                </c:pt>
                <c:pt idx="13">
                  <c:v>0.19782608695652174</c:v>
                </c:pt>
                <c:pt idx="14">
                  <c:v>0.19835560123329907</c:v>
                </c:pt>
                <c:pt idx="15">
                  <c:v>0.1962152572442342</c:v>
                </c:pt>
                <c:pt idx="16">
                  <c:v>0.1892891384741816</c:v>
                </c:pt>
                <c:pt idx="17">
                  <c:v>0.20748785367247785</c:v>
                </c:pt>
                <c:pt idx="18">
                  <c:v>0.18994229183841715</c:v>
                </c:pt>
                <c:pt idx="19">
                  <c:v>0.17857142857142858</c:v>
                </c:pt>
                <c:pt idx="20">
                  <c:v>0.16638341264445955</c:v>
                </c:pt>
                <c:pt idx="21">
                  <c:v>0.1786492374727669</c:v>
                </c:pt>
                <c:pt idx="22">
                  <c:v>0.18545769314001298</c:v>
                </c:pt>
                <c:pt idx="23">
                  <c:v>0.187685969329366</c:v>
                </c:pt>
                <c:pt idx="24">
                  <c:v>0.188291467718497</c:v>
                </c:pt>
                <c:pt idx="25">
                  <c:v>0.19373601789709172</c:v>
                </c:pt>
                <c:pt idx="26">
                  <c:v>0.17736821244550138</c:v>
                </c:pt>
                <c:pt idx="27">
                  <c:v>0.18264110756123536</c:v>
                </c:pt>
                <c:pt idx="28">
                  <c:v>0.17938110210160516</c:v>
                </c:pt>
                <c:pt idx="29">
                  <c:v>0.1832637646591135</c:v>
                </c:pt>
                <c:pt idx="30">
                  <c:v>0.18675929709848793</c:v>
                </c:pt>
                <c:pt idx="31">
                  <c:v>0.17773943054357205</c:v>
                </c:pt>
                <c:pt idx="32">
                  <c:v>0.17575295463210064</c:v>
                </c:pt>
                <c:pt idx="33">
                  <c:v>0.2012310606060606</c:v>
                </c:pt>
                <c:pt idx="34">
                  <c:v>0.21649621463673796</c:v>
                </c:pt>
                <c:pt idx="35">
                  <c:v>0.21387010536247839</c:v>
                </c:pt>
                <c:pt idx="36">
                  <c:v>0.20109471680152308</c:v>
                </c:pt>
                <c:pt idx="37">
                  <c:v>0.19350104821802935</c:v>
                </c:pt>
                <c:pt idx="38">
                  <c:v>0.20023228803716608</c:v>
                </c:pt>
                <c:pt idx="39">
                  <c:v>0.20598175059141602</c:v>
                </c:pt>
                <c:pt idx="40">
                  <c:v>0.19253246753246753</c:v>
                </c:pt>
                <c:pt idx="41">
                  <c:v>0.19963453631795341</c:v>
                </c:pt>
                <c:pt idx="42">
                  <c:v>0.19374247894103488</c:v>
                </c:pt>
                <c:pt idx="43">
                  <c:v>0.1829356471438901</c:v>
                </c:pt>
                <c:pt idx="44">
                  <c:v>0.18115204559332385</c:v>
                </c:pt>
                <c:pt idx="45">
                  <c:v>0.1936641697877653</c:v>
                </c:pt>
                <c:pt idx="46">
                  <c:v>0.22289833364538475</c:v>
                </c:pt>
                <c:pt idx="47">
                  <c:v>0.2189094107299912</c:v>
                </c:pt>
                <c:pt idx="48">
                  <c:v>0.21990521327014217</c:v>
                </c:pt>
                <c:pt idx="49">
                  <c:v>0.22948762635064482</c:v>
                </c:pt>
                <c:pt idx="50">
                  <c:v>0.2277557636887608</c:v>
                </c:pt>
                <c:pt idx="51">
                  <c:v>0.2181056955525712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5522102372905544</c:v>
                </c:pt>
              </c:numCache>
            </c:numRef>
          </c:xVal>
          <c:yVal>
            <c:numRef>
              <c:f>Sheet1!$B$163:$B$164</c:f>
              <c:numCache>
                <c:formatCode>General</c:formatCode>
                <c:ptCount val="2"/>
                <c:pt idx="0">
                  <c:v>0.22381357471552976</c:v>
                </c:pt>
                <c:pt idx="1">
                  <c:v>0.2238135747155297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5522102372905544</c:v>
                </c:pt>
                <c:pt idx="1">
                  <c:v>1.5522102372905544</c:v>
                </c:pt>
              </c:numCache>
            </c:numRef>
          </c:xVal>
          <c:yVal>
            <c:numRef>
              <c:f>Sheet1!$B$167:$B$168</c:f>
              <c:numCache>
                <c:formatCode>General</c:formatCode>
                <c:ptCount val="2"/>
                <c:pt idx="0">
                  <c:v>0.2238135747155297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5522102372905544</c:v>
                </c:pt>
              </c:numCache>
            </c:numRef>
          </c:xVal>
          <c:yVal>
            <c:numRef>
              <c:f>Sheet1!$B$171:$B$172</c:f>
              <c:numCache>
                <c:formatCode>General</c:formatCode>
                <c:ptCount val="2"/>
                <c:pt idx="0">
                  <c:v>0.22381357471552976</c:v>
                </c:pt>
                <c:pt idx="1">
                  <c:v>0.2238135747155297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5522102372905544</c:v>
                </c:pt>
                <c:pt idx="1">
                  <c:v>1.5522102372905544</c:v>
                </c:pt>
              </c:numCache>
            </c:numRef>
          </c:xVal>
          <c:yVal>
            <c:numRef>
              <c:f>Sheet1!$B$175:$B$176</c:f>
              <c:numCache>
                <c:formatCode>General</c:formatCode>
                <c:ptCount val="2"/>
                <c:pt idx="0">
                  <c:v>0.223813574715529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6927908936162894</c:v>
                </c:pt>
              </c:numCache>
            </c:numRef>
          </c:xVal>
          <c:yVal>
            <c:numRef>
              <c:f>Sheet1!$B$179:$B$180</c:f>
              <c:numCache>
                <c:formatCode>General</c:formatCode>
                <c:ptCount val="2"/>
                <c:pt idx="0">
                  <c:v>0.20666962608810352</c:v>
                </c:pt>
                <c:pt idx="1">
                  <c:v>0.2066696260881035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6927908936162894</c:v>
                </c:pt>
                <c:pt idx="1">
                  <c:v>1.6927908936162894</c:v>
                </c:pt>
              </c:numCache>
            </c:numRef>
          </c:xVal>
          <c:yVal>
            <c:numRef>
              <c:f>Sheet1!$B$183:$B$184</c:f>
              <c:numCache>
                <c:formatCode>General</c:formatCode>
                <c:ptCount val="2"/>
                <c:pt idx="0">
                  <c:v>0.2066696260881035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8166708435683119</c:v>
                </c:pt>
                <c:pt idx="1">
                  <c:v>1.8369971324346994</c:v>
                </c:pt>
                <c:pt idx="2">
                  <c:v>1.7953323049050156</c:v>
                </c:pt>
                <c:pt idx="3">
                  <c:v>1.713500569236192</c:v>
                </c:pt>
                <c:pt idx="4">
                  <c:v>1.7713456754756114</c:v>
                </c:pt>
                <c:pt idx="5">
                  <c:v>1.743976539714084</c:v>
                </c:pt>
                <c:pt idx="6">
                  <c:v>1.7584036166887282</c:v>
                </c:pt>
                <c:pt idx="7">
                  <c:v>1.6409396705431907</c:v>
                </c:pt>
                <c:pt idx="8">
                  <c:v>1.7446235189867743</c:v>
                </c:pt>
                <c:pt idx="9">
                  <c:v>1.7328264018847541</c:v>
                </c:pt>
                <c:pt idx="10">
                  <c:v>1.7003079924546594</c:v>
                </c:pt>
                <c:pt idx="11">
                  <c:v>1.842169563016644</c:v>
                </c:pt>
                <c:pt idx="12">
                  <c:v>1.8165514775476572</c:v>
                </c:pt>
                <c:pt idx="13">
                  <c:v>1.6960383153443195</c:v>
                </c:pt>
                <c:pt idx="14">
                  <c:v>1.7177093436668278</c:v>
                </c:pt>
                <c:pt idx="15">
                  <c:v>1.7716908249196845</c:v>
                </c:pt>
                <c:pt idx="16">
                  <c:v>1.7503461731129213</c:v>
                </c:pt>
                <c:pt idx="17">
                  <c:v>1.6714064088648106</c:v>
                </c:pt>
                <c:pt idx="18">
                  <c:v>1.7782851344495179</c:v>
                </c:pt>
                <c:pt idx="19">
                  <c:v>1.9502231667138994</c:v>
                </c:pt>
                <c:pt idx="20">
                  <c:v>1.868602146477534</c:v>
                </c:pt>
                <c:pt idx="21">
                  <c:v>1.8341578762941366</c:v>
                </c:pt>
                <c:pt idx="22">
                  <c:v>1.8061232177653799</c:v>
                </c:pt>
                <c:pt idx="23">
                  <c:v>1.7843555623319536</c:v>
                </c:pt>
                <c:pt idx="24">
                  <c:v>1.7845706039817</c:v>
                </c:pt>
                <c:pt idx="25">
                  <c:v>1.7874359650129326</c:v>
                </c:pt>
                <c:pt idx="26">
                  <c:v>1.7161170183701793</c:v>
                </c:pt>
                <c:pt idx="27">
                  <c:v>1.7316157162155457</c:v>
                </c:pt>
                <c:pt idx="28">
                  <c:v>1.7893837490165243</c:v>
                </c:pt>
                <c:pt idx="29">
                  <c:v>1.7794960225327827</c:v>
                </c:pt>
                <c:pt idx="30">
                  <c:v>1.7774756696383311</c:v>
                </c:pt>
                <c:pt idx="31">
                  <c:v>1.7573726759087231</c:v>
                </c:pt>
                <c:pt idx="32">
                  <c:v>1.7563632455406208</c:v>
                </c:pt>
                <c:pt idx="33">
                  <c:v>1.704385622803589</c:v>
                </c:pt>
                <c:pt idx="34">
                  <c:v>1.7666266170091538</c:v>
                </c:pt>
                <c:pt idx="35">
                  <c:v>1.7556557989865995</c:v>
                </c:pt>
                <c:pt idx="36">
                  <c:v>1.7711291032899652</c:v>
                </c:pt>
                <c:pt idx="37">
                  <c:v>1.7747027818594598</c:v>
                </c:pt>
                <c:pt idx="38">
                  <c:v>1.7840361372745317</c:v>
                </c:pt>
                <c:pt idx="39">
                  <c:v>1.8040069149102935</c:v>
                </c:pt>
                <c:pt idx="40">
                  <c:v>1.7712686632333248</c:v>
                </c:pt>
                <c:pt idx="41">
                  <c:v>1.7991400969736184</c:v>
                </c:pt>
                <c:pt idx="42">
                  <c:v>1.8106323256983121</c:v>
                </c:pt>
                <c:pt idx="43">
                  <c:v>1.8505368659244874</c:v>
                </c:pt>
                <c:pt idx="44">
                  <c:v>1.7771951912467643</c:v>
                </c:pt>
                <c:pt idx="45">
                  <c:v>1.813963107058449</c:v>
                </c:pt>
                <c:pt idx="46">
                  <c:v>1.763640033178918</c:v>
                </c:pt>
                <c:pt idx="47">
                  <c:v>1.786136721278755</c:v>
                </c:pt>
                <c:pt idx="48">
                  <c:v>1.7380690838304884</c:v>
                </c:pt>
                <c:pt idx="49">
                  <c:v>1.7965997636123556</c:v>
                </c:pt>
                <c:pt idx="50">
                  <c:v>1.7914481426669118</c:v>
                </c:pt>
                <c:pt idx="51">
                  <c:v>1.8165850287233194</c:v>
                </c:pt>
                <c:pt idx="52">
                  <c:v>1.5522102372905544</c:v>
                </c:pt>
                <c:pt idx="53">
                  <c:v>1.5522102372905544</c:v>
                </c:pt>
                <c:pt idx="54">
                  <c:v>1.6927908936162894</c:v>
                </c:pt>
              </c:numCache>
            </c:numRef>
          </c:xVal>
          <c:yVal>
            <c:numRef>
              <c:f>Sheet1!$B$187:$B$241</c:f>
              <c:numCache>
                <c:formatCode>General</c:formatCode>
                <c:ptCount val="55"/>
                <c:pt idx="0">
                  <c:v>0.19156234494819593</c:v>
                </c:pt>
                <c:pt idx="1">
                  <c:v>0.18908353412728088</c:v>
                </c:pt>
                <c:pt idx="2">
                  <c:v>0.19416460062254884</c:v>
                </c:pt>
                <c:pt idx="3">
                  <c:v>0.20414406087737064</c:v>
                </c:pt>
                <c:pt idx="4">
                  <c:v>0.19708979355755676</c:v>
                </c:pt>
                <c:pt idx="5">
                  <c:v>0.20042748645027933</c:v>
                </c:pt>
                <c:pt idx="6">
                  <c:v>0.19866809029321397</c:v>
                </c:pt>
                <c:pt idx="7">
                  <c:v>0.21299293348947673</c:v>
                </c:pt>
                <c:pt idx="8">
                  <c:v>0.20034858669476593</c:v>
                </c:pt>
                <c:pt idx="9">
                  <c:v>0.20178725667138164</c:v>
                </c:pt>
                <c:pt idx="10">
                  <c:v>0.20575290852766126</c:v>
                </c:pt>
                <c:pt idx="11">
                  <c:v>0.18845275115547344</c:v>
                </c:pt>
                <c:pt idx="12">
                  <c:v>0.19157690175124018</c:v>
                </c:pt>
                <c:pt idx="13">
                  <c:v>0.20627359983006746</c:v>
                </c:pt>
                <c:pt idx="14">
                  <c:v>0.20363079671636078</c:v>
                </c:pt>
                <c:pt idx="15">
                  <c:v>0.19704770224504883</c:v>
                </c:pt>
                <c:pt idx="16">
                  <c:v>0.19965070342323057</c:v>
                </c:pt>
                <c:pt idx="17">
                  <c:v>0.20927748493287845</c:v>
                </c:pt>
                <c:pt idx="18">
                  <c:v>0.19624351974393106</c:v>
                </c:pt>
                <c:pt idx="19">
                  <c:v>0.1752755084308291</c:v>
                </c:pt>
                <c:pt idx="20">
                  <c:v>0.1852292717324321</c:v>
                </c:pt>
                <c:pt idx="21">
                  <c:v>0.18942978419244721</c:v>
                </c:pt>
                <c:pt idx="22">
                  <c:v>0.19284863823799103</c:v>
                </c:pt>
                <c:pt idx="23">
                  <c:v>0.1955032251224446</c:v>
                </c:pt>
                <c:pt idx="24">
                  <c:v>0.1954770005827934</c:v>
                </c:pt>
                <c:pt idx="25">
                  <c:v>0.1951275670006606</c:v>
                </c:pt>
                <c:pt idx="26">
                  <c:v>0.2038249823447209</c:v>
                </c:pt>
                <c:pt idx="27">
                  <c:v>0.20193490097365877</c:v>
                </c:pt>
                <c:pt idx="28">
                  <c:v>0.1948900328350957</c:v>
                </c:pt>
                <c:pt idx="29">
                  <c:v>0.19609585075706165</c:v>
                </c:pt>
                <c:pt idx="30">
                  <c:v>0.19634223476989124</c:v>
                </c:pt>
                <c:pt idx="31">
                  <c:v>0.19879381453033357</c:v>
                </c:pt>
                <c:pt idx="32">
                  <c:v>0.19891691555166904</c:v>
                </c:pt>
                <c:pt idx="33">
                  <c:v>0.20525563751576825</c:v>
                </c:pt>
                <c:pt idx="34">
                  <c:v>0.19766528735615813</c:v>
                </c:pt>
                <c:pt idx="35">
                  <c:v>0.19900318935132102</c:v>
                </c:pt>
                <c:pt idx="36">
                  <c:v>0.19711620474755892</c:v>
                </c:pt>
                <c:pt idx="37">
                  <c:v>0.19668039114839353</c:v>
                </c:pt>
                <c:pt idx="38">
                  <c:v>0.19554217932082357</c:v>
                </c:pt>
                <c:pt idx="39">
                  <c:v>0.19310672344242774</c:v>
                </c:pt>
                <c:pt idx="40">
                  <c:v>0.19709918527587672</c:v>
                </c:pt>
                <c:pt idx="41">
                  <c:v>0.19370023665303665</c:v>
                </c:pt>
                <c:pt idx="42">
                  <c:v>0.19229874811243497</c:v>
                </c:pt>
                <c:pt idx="43">
                  <c:v>0.18743235037665076</c:v>
                </c:pt>
                <c:pt idx="44">
                  <c:v>0.19637643938425145</c:v>
                </c:pt>
                <c:pt idx="45">
                  <c:v>0.1918925560656781</c:v>
                </c:pt>
                <c:pt idx="46">
                  <c:v>0.19802950417727203</c:v>
                </c:pt>
                <c:pt idx="47">
                  <c:v>0.1952860110456339</c:v>
                </c:pt>
                <c:pt idx="48">
                  <c:v>0.20114790647700395</c:v>
                </c:pt>
                <c:pt idx="49">
                  <c:v>0.19401003279270693</c:v>
                </c:pt>
                <c:pt idx="50">
                  <c:v>0.19463827800897637</c:v>
                </c:pt>
                <c:pt idx="51">
                  <c:v>0.1915728101525311</c:v>
                </c:pt>
                <c:pt idx="52">
                  <c:v>0.22381357471552976</c:v>
                </c:pt>
                <c:pt idx="53">
                  <c:v>0.22381357471552976</c:v>
                </c:pt>
                <c:pt idx="54">
                  <c:v>0.2066696260881035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094516083321526"/>
          <c:min val="0.0732631578947368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7.9855</c:v>
                </c:pt>
                <c:pt idx="1">
                  <c:v>855.3404</c:v>
                </c:pt>
                <c:pt idx="2">
                  <c:v>889.698</c:v>
                </c:pt>
                <c:pt idx="3">
                  <c:v>904.0655</c:v>
                </c:pt>
                <c:pt idx="4">
                  <c:v>903.4781</c:v>
                </c:pt>
                <c:pt idx="5">
                  <c:v>880.8881</c:v>
                </c:pt>
                <c:pt idx="6">
                  <c:v>840.9628</c:v>
                </c:pt>
                <c:pt idx="7">
                  <c:v>845.2156</c:v>
                </c:pt>
                <c:pt idx="8">
                  <c:v>839.7329</c:v>
                </c:pt>
                <c:pt idx="9">
                  <c:v>830.6584</c:v>
                </c:pt>
                <c:pt idx="10">
                  <c:v>791.1353</c:v>
                </c:pt>
                <c:pt idx="11">
                  <c:v>803.743</c:v>
                </c:pt>
                <c:pt idx="12">
                  <c:v>823.1874</c:v>
                </c:pt>
                <c:pt idx="13">
                  <c:v>804.9157</c:v>
                </c:pt>
                <c:pt idx="14">
                  <c:v>887.3465</c:v>
                </c:pt>
                <c:pt idx="15">
                  <c:v>898.6747</c:v>
                </c:pt>
                <c:pt idx="16">
                  <c:v>922.2058</c:v>
                </c:pt>
                <c:pt idx="17">
                  <c:v>929.2605</c:v>
                </c:pt>
                <c:pt idx="18">
                  <c:v>953.0339</c:v>
                </c:pt>
                <c:pt idx="19">
                  <c:v>943.1984</c:v>
                </c:pt>
                <c:pt idx="20">
                  <c:v>982.3711</c:v>
                </c:pt>
                <c:pt idx="21">
                  <c:v>1000.3374</c:v>
                </c:pt>
                <c:pt idx="22">
                  <c:v>971.1642</c:v>
                </c:pt>
                <c:pt idx="23">
                  <c:v>977.802</c:v>
                </c:pt>
                <c:pt idx="24">
                  <c:v>1001.0362</c:v>
                </c:pt>
                <c:pt idx="25">
                  <c:v>976.5825</c:v>
                </c:pt>
                <c:pt idx="26">
                  <c:v>948.2154</c:v>
                </c:pt>
                <c:pt idx="27">
                  <c:v>992.5855</c:v>
                </c:pt>
                <c:pt idx="28">
                  <c:v>986.0331</c:v>
                </c:pt>
                <c:pt idx="29">
                  <c:v>967.2592</c:v>
                </c:pt>
                <c:pt idx="30">
                  <c:v>962.5954</c:v>
                </c:pt>
                <c:pt idx="31">
                  <c:v>977.165</c:v>
                </c:pt>
                <c:pt idx="32">
                  <c:v>958.183</c:v>
                </c:pt>
                <c:pt idx="33">
                  <c:v>946.4541</c:v>
                </c:pt>
                <c:pt idx="34">
                  <c:v>937.1511</c:v>
                </c:pt>
                <c:pt idx="35">
                  <c:v>988.3068</c:v>
                </c:pt>
                <c:pt idx="36">
                  <c:v>1057.0521</c:v>
                </c:pt>
                <c:pt idx="37">
                  <c:v>1092.4684</c:v>
                </c:pt>
                <c:pt idx="38">
                  <c:v>1111.1322</c:v>
                </c:pt>
                <c:pt idx="39">
                  <c:v>1130.0316</c:v>
                </c:pt>
                <c:pt idx="40">
                  <c:v>1141.7033</c:v>
                </c:pt>
                <c:pt idx="41">
                  <c:v>1158.0798</c:v>
                </c:pt>
                <c:pt idx="42">
                  <c:v>1173.6021</c:v>
                </c:pt>
                <c:pt idx="43">
                  <c:v>1180.886</c:v>
                </c:pt>
                <c:pt idx="44">
                  <c:v>1117.3461</c:v>
                </c:pt>
                <c:pt idx="45">
                  <c:v>1086.4217</c:v>
                </c:pt>
                <c:pt idx="46">
                  <c:v>1075.2143</c:v>
                </c:pt>
                <c:pt idx="47">
                  <c:v>1051.184</c:v>
                </c:pt>
                <c:pt idx="48">
                  <c:v>1051.2865</c:v>
                </c:pt>
                <c:pt idx="49">
                  <c:v>1009.0117</c:v>
                </c:pt>
                <c:pt idx="50">
                  <c:v>1002.1689</c:v>
                </c:pt>
                <c:pt idx="51">
                  <c:v>1015.7357</c:v>
                </c:pt>
                <c:pt idx="52">
                  <c:v>1023.5108</c:v>
                </c:pt>
                <c:pt idx="53">
                  <c:v>1125.8876</c:v>
                </c:pt>
                <c:pt idx="54">
                  <c:v>1109.0469</c:v>
                </c:pt>
                <c:pt idx="55">
                  <c:v>1112.28</c:v>
                </c:pt>
                <c:pt idx="56">
                  <c:v>1122.3024</c:v>
                </c:pt>
                <c:pt idx="57">
                  <c:v>1110.3562</c:v>
                </c:pt>
                <c:pt idx="58">
                  <c:v>1056.077</c:v>
                </c:pt>
                <c:pt idx="59">
                  <c:v>1063.4772</c:v>
                </c:pt>
                <c:pt idx="60">
                  <c:v>1076.196</c:v>
                </c:pt>
                <c:pt idx="61">
                  <c:v>1076.1702</c:v>
                </c:pt>
                <c:pt idx="62">
                  <c:v>1002.0</c:v>
                </c:pt>
                <c:pt idx="63">
                  <c:v>1032.9111</c:v>
                </c:pt>
                <c:pt idx="64">
                  <c:v>1042.763</c:v>
                </c:pt>
                <c:pt idx="65">
                  <c:v>1027.0552</c:v>
                </c:pt>
                <c:pt idx="66">
                  <c:v>1045.5811</c:v>
                </c:pt>
                <c:pt idx="67">
                  <c:v>1073.3012</c:v>
                </c:pt>
                <c:pt idx="68">
                  <c:v>1078.7461</c:v>
                </c:pt>
                <c:pt idx="69">
                  <c:v>1117.0591</c:v>
                </c:pt>
                <c:pt idx="70">
                  <c:v>1101.6989</c:v>
                </c:pt>
                <c:pt idx="71">
                  <c:v>1156.6236</c:v>
                </c:pt>
                <c:pt idx="72">
                  <c:v>1231.2126</c:v>
                </c:pt>
                <c:pt idx="73">
                  <c:v>1201.6633</c:v>
                </c:pt>
                <c:pt idx="74">
                  <c:v>1189.1553</c:v>
                </c:pt>
                <c:pt idx="75">
                  <c:v>1182.023</c:v>
                </c:pt>
                <c:pt idx="76">
                  <c:v>1128.7823</c:v>
                </c:pt>
                <c:pt idx="77">
                  <c:v>1127.2612</c:v>
                </c:pt>
                <c:pt idx="78">
                  <c:v>1146.9253</c:v>
                </c:pt>
                <c:pt idx="79">
                  <c:v>1156.7316</c:v>
                </c:pt>
                <c:pt idx="80">
                  <c:v>1161.0435</c:v>
                </c:pt>
                <c:pt idx="81">
                  <c:v>1181.9474</c:v>
                </c:pt>
                <c:pt idx="82">
                  <c:v>1171.1731</c:v>
                </c:pt>
                <c:pt idx="83">
                  <c:v>1145.2532</c:v>
                </c:pt>
                <c:pt idx="84">
                  <c:v>1168.0232</c:v>
                </c:pt>
                <c:pt idx="85">
                  <c:v>1147.3824</c:v>
                </c:pt>
                <c:pt idx="86">
                  <c:v>1119.6667</c:v>
                </c:pt>
                <c:pt idx="87">
                  <c:v>1132.879</c:v>
                </c:pt>
                <c:pt idx="88">
                  <c:v>1181.1838</c:v>
                </c:pt>
                <c:pt idx="89">
                  <c:v>1169.3507</c:v>
                </c:pt>
                <c:pt idx="90">
                  <c:v>1244.3134</c:v>
                </c:pt>
                <c:pt idx="91">
                  <c:v>1253.3706</c:v>
                </c:pt>
                <c:pt idx="92">
                  <c:v>1195.8637</c:v>
                </c:pt>
                <c:pt idx="93">
                  <c:v>1236.1186</c:v>
                </c:pt>
                <c:pt idx="94">
                  <c:v>1236.0857</c:v>
                </c:pt>
                <c:pt idx="95">
                  <c:v>1203.9583</c:v>
                </c:pt>
                <c:pt idx="96">
                  <c:v>1132.7361</c:v>
                </c:pt>
                <c:pt idx="97">
                  <c:v>1131.0107</c:v>
                </c:pt>
                <c:pt idx="98">
                  <c:v>1120.3529</c:v>
                </c:pt>
                <c:pt idx="99">
                  <c:v>1083.4457</c:v>
                </c:pt>
                <c:pt idx="100">
                  <c:v>1089.9572</c:v>
                </c:pt>
                <c:pt idx="101">
                  <c:v>1127.602</c:v>
                </c:pt>
                <c:pt idx="102">
                  <c:v>1128.1704</c:v>
                </c:pt>
                <c:pt idx="103">
                  <c:v>1097.0673</c:v>
                </c:pt>
                <c:pt idx="104">
                  <c:v>1118.95</c:v>
                </c:pt>
              </c:numCache>
            </c:numRef>
          </c:xVal>
          <c:yVal>
            <c:numRef>
              <c:f>Sheet1!$B$2:$B$106</c:f>
              <c:numCache>
                <c:formatCode>General</c:formatCode>
                <c:ptCount val="105"/>
                <c:pt idx="0">
                  <c:v>0.16033510285335104</c:v>
                </c:pt>
                <c:pt idx="1">
                  <c:v>0.144745122718691</c:v>
                </c:pt>
                <c:pt idx="2">
                  <c:v>0.14821599235425295</c:v>
                </c:pt>
                <c:pt idx="3">
                  <c:v>0.14724974376494704</c:v>
                </c:pt>
                <c:pt idx="4">
                  <c:v>0.15438299672200487</c:v>
                </c:pt>
                <c:pt idx="5">
                  <c:v>0.18489326765188835</c:v>
                </c:pt>
                <c:pt idx="6">
                  <c:v>0.21816365049406017</c:v>
                </c:pt>
                <c:pt idx="7">
                  <c:v>0.23045157852670842</c:v>
                </c:pt>
                <c:pt idx="8">
                  <c:v>0.24245430069434604</c:v>
                </c:pt>
                <c:pt idx="9">
                  <c:v>0.21179376350725532</c:v>
                </c:pt>
                <c:pt idx="10">
                  <c:v>0.22383949645948073</c:v>
                </c:pt>
                <c:pt idx="11">
                  <c:v>0.21393998063891578</c:v>
                </c:pt>
                <c:pt idx="12">
                  <c:v>0.19080582179623712</c:v>
                </c:pt>
                <c:pt idx="13">
                  <c:v>0.17190471877547323</c:v>
                </c:pt>
                <c:pt idx="14">
                  <c:v>0.13429431621202445</c:v>
                </c:pt>
                <c:pt idx="15">
                  <c:v>0.11882768844794162</c:v>
                </c:pt>
                <c:pt idx="16">
                  <c:v>0.1159206647011525</c:v>
                </c:pt>
                <c:pt idx="17">
                  <c:v>0.10256053437239077</c:v>
                </c:pt>
                <c:pt idx="18">
                  <c:v>0.0962974486621033</c:v>
                </c:pt>
                <c:pt idx="19">
                  <c:v>0.09204397242407304</c:v>
                </c:pt>
                <c:pt idx="20">
                  <c:v>0.09157894736842105</c:v>
                </c:pt>
                <c:pt idx="21">
                  <c:v>0.09348441926345609</c:v>
                </c:pt>
                <c:pt idx="22">
                  <c:v>0.09822090437361009</c:v>
                </c:pt>
                <c:pt idx="23">
                  <c:v>0.11505988611820145</c:v>
                </c:pt>
                <c:pt idx="24">
                  <c:v>0.1127285638203444</c:v>
                </c:pt>
                <c:pt idx="25">
                  <c:v>0.12217194570135746</c:v>
                </c:pt>
                <c:pt idx="26">
                  <c:v>0.14708141321044546</c:v>
                </c:pt>
                <c:pt idx="27">
                  <c:v>0.1494485294117647</c:v>
                </c:pt>
                <c:pt idx="28">
                  <c:v>0.1799819657348963</c:v>
                </c:pt>
                <c:pt idx="29">
                  <c:v>0.17616498740554157</c:v>
                </c:pt>
                <c:pt idx="30">
                  <c:v>0.17196531791907516</c:v>
                </c:pt>
                <c:pt idx="31">
                  <c:v>0.18125990491283678</c:v>
                </c:pt>
                <c:pt idx="32">
                  <c:v>0.19836595097852935</c:v>
                </c:pt>
                <c:pt idx="33">
                  <c:v>0.1817098599940423</c:v>
                </c:pt>
                <c:pt idx="34">
                  <c:v>0.18260747794426552</c:v>
                </c:pt>
                <c:pt idx="35">
                  <c:v>0.19129979035639413</c:v>
                </c:pt>
                <c:pt idx="36">
                  <c:v>0.1681519357195033</c:v>
                </c:pt>
                <c:pt idx="37">
                  <c:v>0.16089312099819406</c:v>
                </c:pt>
                <c:pt idx="38">
                  <c:v>0.1572574046800851</c:v>
                </c:pt>
                <c:pt idx="39">
                  <c:v>0.14665523156089194</c:v>
                </c:pt>
                <c:pt idx="40">
                  <c:v>0.14546213808463251</c:v>
                </c:pt>
                <c:pt idx="41">
                  <c:v>0.14787346753443317</c:v>
                </c:pt>
                <c:pt idx="42">
                  <c:v>0.1465359477124183</c:v>
                </c:pt>
                <c:pt idx="43">
                  <c:v>0.14118769377533985</c:v>
                </c:pt>
                <c:pt idx="44">
                  <c:v>0.14628219666288678</c:v>
                </c:pt>
                <c:pt idx="45">
                  <c:v>0.16638821385176183</c:v>
                </c:pt>
                <c:pt idx="46">
                  <c:v>0.1721975056523959</c:v>
                </c:pt>
                <c:pt idx="47">
                  <c:v>0.16685247120029728</c:v>
                </c:pt>
                <c:pt idx="48">
                  <c:v>0.16259808195292066</c:v>
                </c:pt>
                <c:pt idx="49">
                  <c:v>0.16804554079696396</c:v>
                </c:pt>
                <c:pt idx="50">
                  <c:v>0.16972997503970955</c:v>
                </c:pt>
                <c:pt idx="51">
                  <c:v>0.162422388194007</c:v>
                </c:pt>
                <c:pt idx="52">
                  <c:v>0.1575679563867646</c:v>
                </c:pt>
                <c:pt idx="53">
                  <c:v>0.14313292884721457</c:v>
                </c:pt>
                <c:pt idx="54">
                  <c:v>0.1450992004737933</c:v>
                </c:pt>
                <c:pt idx="55">
                  <c:v>0.14112903225806453</c:v>
                </c:pt>
                <c:pt idx="56">
                  <c:v>0.14981855883877657</c:v>
                </c:pt>
                <c:pt idx="57">
                  <c:v>0.14434922335297268</c:v>
                </c:pt>
                <c:pt idx="58">
                  <c:v>0.1663926624556546</c:v>
                </c:pt>
                <c:pt idx="59">
                  <c:v>0.14683933274802458</c:v>
                </c:pt>
                <c:pt idx="60">
                  <c:v>0.15279878971255673</c:v>
                </c:pt>
                <c:pt idx="61">
                  <c:v>0.16944216944216944</c:v>
                </c:pt>
                <c:pt idx="62">
                  <c:v>0.1883472484064997</c:v>
                </c:pt>
                <c:pt idx="63">
                  <c:v>0.19346796310147096</c:v>
                </c:pt>
                <c:pt idx="64">
                  <c:v>0.18558295386201565</c:v>
                </c:pt>
                <c:pt idx="65">
                  <c:v>0.18198790896159317</c:v>
                </c:pt>
                <c:pt idx="66">
                  <c:v>0.17878567533175785</c:v>
                </c:pt>
                <c:pt idx="67">
                  <c:v>0.16801446104081438</c:v>
                </c:pt>
                <c:pt idx="68">
                  <c:v>0.1516028733783639</c:v>
                </c:pt>
                <c:pt idx="69">
                  <c:v>0.14100028256569652</c:v>
                </c:pt>
                <c:pt idx="70">
                  <c:v>0.1466491458607096</c:v>
                </c:pt>
                <c:pt idx="71">
                  <c:v>0.14164265129682996</c:v>
                </c:pt>
                <c:pt idx="72">
                  <c:v>0.13927347498286496</c:v>
                </c:pt>
                <c:pt idx="73">
                  <c:v>0.14398364485981308</c:v>
                </c:pt>
                <c:pt idx="74">
                  <c:v>0.1486243605696115</c:v>
                </c:pt>
                <c:pt idx="75">
                  <c:v>0.15961346217927358</c:v>
                </c:pt>
                <c:pt idx="76">
                  <c:v>0.17377341659232828</c:v>
                </c:pt>
                <c:pt idx="77">
                  <c:v>0.16397058823529412</c:v>
                </c:pt>
                <c:pt idx="78">
                  <c:v>0.17640117994100296</c:v>
                </c:pt>
                <c:pt idx="79">
                  <c:v>0.16372478386167147</c:v>
                </c:pt>
                <c:pt idx="80">
                  <c:v>0.1567994259059921</c:v>
                </c:pt>
                <c:pt idx="81">
                  <c:v>0.15579386356866248</c:v>
                </c:pt>
                <c:pt idx="82">
                  <c:v>0.15947171299034102</c:v>
                </c:pt>
                <c:pt idx="83">
                  <c:v>0.15453551912568306</c:v>
                </c:pt>
                <c:pt idx="84">
                  <c:v>0.15389769935224482</c:v>
                </c:pt>
                <c:pt idx="85">
                  <c:v>0.16222664015904573</c:v>
                </c:pt>
                <c:pt idx="86">
                  <c:v>0.1783783783783784</c:v>
                </c:pt>
                <c:pt idx="87">
                  <c:v>0.1824028061970184</c:v>
                </c:pt>
                <c:pt idx="88">
                  <c:v>0.17278736687477048</c:v>
                </c:pt>
                <c:pt idx="89">
                  <c:v>0.18327471668620554</c:v>
                </c:pt>
                <c:pt idx="90">
                  <c:v>0.16203143893591293</c:v>
                </c:pt>
                <c:pt idx="91">
                  <c:v>0.15802611367127495</c:v>
                </c:pt>
                <c:pt idx="92">
                  <c:v>0.16944921204556093</c:v>
                </c:pt>
                <c:pt idx="93">
                  <c:v>0.16639258484078337</c:v>
                </c:pt>
                <c:pt idx="94">
                  <c:v>0.16917161831527439</c:v>
                </c:pt>
                <c:pt idx="95">
                  <c:v>0.1662677919133392</c:v>
                </c:pt>
                <c:pt idx="96">
                  <c:v>0.16149488458611652</c:v>
                </c:pt>
                <c:pt idx="97">
                  <c:v>0.16460811222933822</c:v>
                </c:pt>
                <c:pt idx="98">
                  <c:v>0.16096048552015305</c:v>
                </c:pt>
                <c:pt idx="99">
                  <c:v>0.1636115997956983</c:v>
                </c:pt>
                <c:pt idx="100">
                  <c:v>0.17094159218457702</c:v>
                </c:pt>
                <c:pt idx="101">
                  <c:v>0.16883490260907066</c:v>
                </c:pt>
                <c:pt idx="102">
                  <c:v>0.17709895052473762</c:v>
                </c:pt>
                <c:pt idx="103">
                  <c:v>0.17144579350727632</c:v>
                </c:pt>
                <c:pt idx="104">
                  <c:v>0.1717182166132202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7.6457</c:v>
                </c:pt>
                <c:pt idx="1">
                  <c:v>1177.1248</c:v>
                </c:pt>
                <c:pt idx="2">
                  <c:v>1172.8809</c:v>
                </c:pt>
                <c:pt idx="3">
                  <c:v>1116.1729</c:v>
                </c:pt>
                <c:pt idx="4">
                  <c:v>1171.105</c:v>
                </c:pt>
                <c:pt idx="5">
                  <c:v>1181.7267</c:v>
                </c:pt>
                <c:pt idx="6">
                  <c:v>1111.0839</c:v>
                </c:pt>
                <c:pt idx="7">
                  <c:v>1105.3962</c:v>
                </c:pt>
                <c:pt idx="8">
                  <c:v>1174.7979</c:v>
                </c:pt>
                <c:pt idx="9">
                  <c:v>1121.5102</c:v>
                </c:pt>
                <c:pt idx="10">
                  <c:v>1128.8003</c:v>
                </c:pt>
                <c:pt idx="11">
                  <c:v>1048.8794</c:v>
                </c:pt>
                <c:pt idx="12">
                  <c:v>1081.1237</c:v>
                </c:pt>
                <c:pt idx="13">
                  <c:v>1108.1894</c:v>
                </c:pt>
                <c:pt idx="14">
                  <c:v>1115.3633</c:v>
                </c:pt>
                <c:pt idx="15">
                  <c:v>1116.6884</c:v>
                </c:pt>
                <c:pt idx="16">
                  <c:v>1161.8054</c:v>
                </c:pt>
                <c:pt idx="17">
                  <c:v>1065.4091</c:v>
                </c:pt>
                <c:pt idx="18">
                  <c:v>1159.454</c:v>
                </c:pt>
                <c:pt idx="19">
                  <c:v>1276.5293</c:v>
                </c:pt>
                <c:pt idx="20">
                  <c:v>1266.8846</c:v>
                </c:pt>
                <c:pt idx="21">
                  <c:v>1224.3024</c:v>
                </c:pt>
                <c:pt idx="22">
                  <c:v>1215.4131</c:v>
                </c:pt>
                <c:pt idx="23">
                  <c:v>1207.7573</c:v>
                </c:pt>
                <c:pt idx="24">
                  <c:v>1229.3848</c:v>
                </c:pt>
                <c:pt idx="25">
                  <c:v>1196.3695</c:v>
                </c:pt>
                <c:pt idx="26">
                  <c:v>1177.7754</c:v>
                </c:pt>
                <c:pt idx="27">
                  <c:v>1189.9329</c:v>
                </c:pt>
                <c:pt idx="28">
                  <c:v>1221.5323</c:v>
                </c:pt>
                <c:pt idx="29">
                  <c:v>1215.436</c:v>
                </c:pt>
                <c:pt idx="30">
                  <c:v>1218.5536</c:v>
                </c:pt>
                <c:pt idx="31">
                  <c:v>1223.7136</c:v>
                </c:pt>
                <c:pt idx="32">
                  <c:v>1235.4447</c:v>
                </c:pt>
                <c:pt idx="33">
                  <c:v>1210.9757</c:v>
                </c:pt>
                <c:pt idx="34">
                  <c:v>1217.608</c:v>
                </c:pt>
                <c:pt idx="35">
                  <c:v>1257.2662</c:v>
                </c:pt>
                <c:pt idx="36">
                  <c:v>1289.7456</c:v>
                </c:pt>
                <c:pt idx="37">
                  <c:v>1276.3705</c:v>
                </c:pt>
                <c:pt idx="38">
                  <c:v>1287.5255</c:v>
                </c:pt>
                <c:pt idx="39">
                  <c:v>1237.1239</c:v>
                </c:pt>
                <c:pt idx="40">
                  <c:v>1257.5632</c:v>
                </c:pt>
                <c:pt idx="41">
                  <c:v>1286.865</c:v>
                </c:pt>
                <c:pt idx="42">
                  <c:v>1283.2174</c:v>
                </c:pt>
                <c:pt idx="43">
                  <c:v>1287.1337</c:v>
                </c:pt>
                <c:pt idx="44">
                  <c:v>1219.4646</c:v>
                </c:pt>
                <c:pt idx="45">
                  <c:v>1180.2063</c:v>
                </c:pt>
                <c:pt idx="46">
                  <c:v>1169.2071</c:v>
                </c:pt>
                <c:pt idx="47">
                  <c:v>1150.822</c:v>
                </c:pt>
                <c:pt idx="48">
                  <c:v>1136.5305</c:v>
                </c:pt>
                <c:pt idx="49">
                  <c:v>1141.5541</c:v>
                </c:pt>
                <c:pt idx="50">
                  <c:v>1111.2317</c:v>
                </c:pt>
                <c:pt idx="51">
                  <c:v>1099.7544</c:v>
                </c:pt>
              </c:numCache>
            </c:numRef>
          </c:xVal>
          <c:yVal>
            <c:numRef>
              <c:f>Sheet1!$B$109:$B$160</c:f>
              <c:numCache>
                <c:formatCode>General</c:formatCode>
                <c:ptCount val="52"/>
                <c:pt idx="0">
                  <c:v>0.17139210502324734</c:v>
                </c:pt>
                <c:pt idx="1">
                  <c:v>0.16598262861506155</c:v>
                </c:pt>
                <c:pt idx="2">
                  <c:v>0.19026286873468007</c:v>
                </c:pt>
                <c:pt idx="3">
                  <c:v>0.21693984381704282</c:v>
                </c:pt>
                <c:pt idx="4">
                  <c:v>0.1930491447189791</c:v>
                </c:pt>
                <c:pt idx="5">
                  <c:v>0.19561756718793893</c:v>
                </c:pt>
                <c:pt idx="6">
                  <c:v>0.2099174959598537</c:v>
                </c:pt>
                <c:pt idx="7">
                  <c:v>0.22398775894538606</c:v>
                </c:pt>
                <c:pt idx="8">
                  <c:v>0.19533489705499088</c:v>
                </c:pt>
                <c:pt idx="9">
                  <c:v>0.20346834540919348</c:v>
                </c:pt>
                <c:pt idx="10">
                  <c:v>0.21838002578830149</c:v>
                </c:pt>
                <c:pt idx="11">
                  <c:v>0.20545470188419512</c:v>
                </c:pt>
                <c:pt idx="12">
                  <c:v>0.20200317334391116</c:v>
                </c:pt>
                <c:pt idx="13">
                  <c:v>0.19782608695652174</c:v>
                </c:pt>
                <c:pt idx="14">
                  <c:v>0.19835560123329907</c:v>
                </c:pt>
                <c:pt idx="15">
                  <c:v>0.1962152572442342</c:v>
                </c:pt>
                <c:pt idx="16">
                  <c:v>0.1892891384741816</c:v>
                </c:pt>
                <c:pt idx="17">
                  <c:v>0.20748785367247785</c:v>
                </c:pt>
                <c:pt idx="18">
                  <c:v>0.18994229183841715</c:v>
                </c:pt>
                <c:pt idx="19">
                  <c:v>0.17857142857142858</c:v>
                </c:pt>
                <c:pt idx="20">
                  <c:v>0.16638341264445955</c:v>
                </c:pt>
                <c:pt idx="21">
                  <c:v>0.1786492374727669</c:v>
                </c:pt>
                <c:pt idx="22">
                  <c:v>0.18545769314001298</c:v>
                </c:pt>
                <c:pt idx="23">
                  <c:v>0.187685969329366</c:v>
                </c:pt>
                <c:pt idx="24">
                  <c:v>0.188291467718497</c:v>
                </c:pt>
                <c:pt idx="25">
                  <c:v>0.19373601789709172</c:v>
                </c:pt>
                <c:pt idx="26">
                  <c:v>0.17736821244550138</c:v>
                </c:pt>
                <c:pt idx="27">
                  <c:v>0.18264110756123536</c:v>
                </c:pt>
                <c:pt idx="28">
                  <c:v>0.17938110210160516</c:v>
                </c:pt>
                <c:pt idx="29">
                  <c:v>0.1832637646591135</c:v>
                </c:pt>
                <c:pt idx="30">
                  <c:v>0.18675929709848793</c:v>
                </c:pt>
                <c:pt idx="31">
                  <c:v>0.17773943054357205</c:v>
                </c:pt>
                <c:pt idx="32">
                  <c:v>0.17575295463210064</c:v>
                </c:pt>
                <c:pt idx="33">
                  <c:v>0.2012310606060606</c:v>
                </c:pt>
                <c:pt idx="34">
                  <c:v>0.21649621463673796</c:v>
                </c:pt>
                <c:pt idx="35">
                  <c:v>0.21387010536247839</c:v>
                </c:pt>
                <c:pt idx="36">
                  <c:v>0.20109471680152308</c:v>
                </c:pt>
                <c:pt idx="37">
                  <c:v>0.19350104821802935</c:v>
                </c:pt>
                <c:pt idx="38">
                  <c:v>0.20023228803716608</c:v>
                </c:pt>
                <c:pt idx="39">
                  <c:v>0.20598175059141602</c:v>
                </c:pt>
                <c:pt idx="40">
                  <c:v>0.19253246753246753</c:v>
                </c:pt>
                <c:pt idx="41">
                  <c:v>0.19963453631795341</c:v>
                </c:pt>
                <c:pt idx="42">
                  <c:v>0.19374247894103488</c:v>
                </c:pt>
                <c:pt idx="43">
                  <c:v>0.1829356471438901</c:v>
                </c:pt>
                <c:pt idx="44">
                  <c:v>0.18115204559332385</c:v>
                </c:pt>
                <c:pt idx="45">
                  <c:v>0.1936641697877653</c:v>
                </c:pt>
                <c:pt idx="46">
                  <c:v>0.22289833364538475</c:v>
                </c:pt>
                <c:pt idx="47">
                  <c:v>0.2189094107299912</c:v>
                </c:pt>
                <c:pt idx="48">
                  <c:v>0.21990521327014217</c:v>
                </c:pt>
                <c:pt idx="49">
                  <c:v>0.22948762635064482</c:v>
                </c:pt>
                <c:pt idx="50">
                  <c:v>0.2277557636887608</c:v>
                </c:pt>
                <c:pt idx="51">
                  <c:v>0.2181056955525712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50.091303110249</c:v>
                </c:pt>
              </c:numCache>
            </c:numRef>
          </c:xVal>
          <c:yVal>
            <c:numRef>
              <c:f>Sheet1!$B$163:$B$164</c:f>
              <c:numCache>
                <c:formatCode>General</c:formatCode>
                <c:ptCount val="2"/>
                <c:pt idx="0">
                  <c:v>0.22381357471552976</c:v>
                </c:pt>
                <c:pt idx="1">
                  <c:v>0.2238135747155297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50.091303110249</c:v>
                </c:pt>
                <c:pt idx="1">
                  <c:v>950.091303110249</c:v>
                </c:pt>
              </c:numCache>
            </c:numRef>
          </c:xVal>
          <c:yVal>
            <c:numRef>
              <c:f>Sheet1!$B$167:$B$168</c:f>
              <c:numCache>
                <c:formatCode>General</c:formatCode>
                <c:ptCount val="2"/>
                <c:pt idx="0">
                  <c:v>0.2238135747155297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50.091303110249</c:v>
                </c:pt>
              </c:numCache>
            </c:numRef>
          </c:xVal>
          <c:yVal>
            <c:numRef>
              <c:f>Sheet1!$B$171:$B$172</c:f>
              <c:numCache>
                <c:formatCode>General</c:formatCode>
                <c:ptCount val="2"/>
                <c:pt idx="0">
                  <c:v>0.22381357471552976</c:v>
                </c:pt>
                <c:pt idx="1">
                  <c:v>0.2238135747155297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50.091303110249</c:v>
                </c:pt>
                <c:pt idx="1">
                  <c:v>950.091303110249</c:v>
                </c:pt>
              </c:numCache>
            </c:numRef>
          </c:xVal>
          <c:yVal>
            <c:numRef>
              <c:f>Sheet1!$B$175:$B$176</c:f>
              <c:numCache>
                <c:formatCode>General</c:formatCode>
                <c:ptCount val="2"/>
                <c:pt idx="0">
                  <c:v>0.223813574715529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99.0020621082826</c:v>
                </c:pt>
              </c:numCache>
            </c:numRef>
          </c:xVal>
          <c:yVal>
            <c:numRef>
              <c:f>Sheet1!$B$179:$B$180</c:f>
              <c:numCache>
                <c:formatCode>General</c:formatCode>
                <c:ptCount val="2"/>
                <c:pt idx="0">
                  <c:v>0.20666962608810352</c:v>
                </c:pt>
                <c:pt idx="1">
                  <c:v>0.2066696260881035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99.0020621082826</c:v>
                </c:pt>
                <c:pt idx="1">
                  <c:v>1099.0020621082826</c:v>
                </c:pt>
              </c:numCache>
            </c:numRef>
          </c:xVal>
          <c:yVal>
            <c:numRef>
              <c:f>Sheet1!$B$183:$B$184</c:f>
              <c:numCache>
                <c:formatCode>General</c:formatCode>
                <c:ptCount val="2"/>
                <c:pt idx="0">
                  <c:v>0.2066696260881035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7.6457</c:v>
                </c:pt>
                <c:pt idx="1">
                  <c:v>1177.1248</c:v>
                </c:pt>
                <c:pt idx="2">
                  <c:v>1172.8809</c:v>
                </c:pt>
                <c:pt idx="3">
                  <c:v>1116.1729</c:v>
                </c:pt>
                <c:pt idx="4">
                  <c:v>1171.105</c:v>
                </c:pt>
                <c:pt idx="5">
                  <c:v>1181.7267</c:v>
                </c:pt>
                <c:pt idx="6">
                  <c:v>1111.0839</c:v>
                </c:pt>
                <c:pt idx="7">
                  <c:v>1105.3962</c:v>
                </c:pt>
                <c:pt idx="8">
                  <c:v>1174.7979</c:v>
                </c:pt>
                <c:pt idx="9">
                  <c:v>1121.5102</c:v>
                </c:pt>
                <c:pt idx="10">
                  <c:v>1128.8003</c:v>
                </c:pt>
                <c:pt idx="11">
                  <c:v>1048.8794</c:v>
                </c:pt>
                <c:pt idx="12">
                  <c:v>1081.1237</c:v>
                </c:pt>
                <c:pt idx="13">
                  <c:v>1108.1894</c:v>
                </c:pt>
                <c:pt idx="14">
                  <c:v>1115.3633</c:v>
                </c:pt>
                <c:pt idx="15">
                  <c:v>1116.6884</c:v>
                </c:pt>
                <c:pt idx="16">
                  <c:v>1161.8054</c:v>
                </c:pt>
                <c:pt idx="17">
                  <c:v>1065.4091</c:v>
                </c:pt>
                <c:pt idx="18">
                  <c:v>1159.454</c:v>
                </c:pt>
                <c:pt idx="19">
                  <c:v>1276.5293</c:v>
                </c:pt>
                <c:pt idx="20">
                  <c:v>1266.8846</c:v>
                </c:pt>
                <c:pt idx="21">
                  <c:v>1224.3024</c:v>
                </c:pt>
                <c:pt idx="22">
                  <c:v>1215.4131</c:v>
                </c:pt>
                <c:pt idx="23">
                  <c:v>1207.7573</c:v>
                </c:pt>
                <c:pt idx="24">
                  <c:v>1229.3848</c:v>
                </c:pt>
                <c:pt idx="25">
                  <c:v>1196.3695</c:v>
                </c:pt>
                <c:pt idx="26">
                  <c:v>1177.7754</c:v>
                </c:pt>
                <c:pt idx="27">
                  <c:v>1189.9329</c:v>
                </c:pt>
                <c:pt idx="28">
                  <c:v>1221.5323</c:v>
                </c:pt>
                <c:pt idx="29">
                  <c:v>1215.436</c:v>
                </c:pt>
                <c:pt idx="30">
                  <c:v>1218.5536</c:v>
                </c:pt>
                <c:pt idx="31">
                  <c:v>1223.7136</c:v>
                </c:pt>
                <c:pt idx="32">
                  <c:v>1235.4447</c:v>
                </c:pt>
                <c:pt idx="33">
                  <c:v>1210.9757</c:v>
                </c:pt>
                <c:pt idx="34">
                  <c:v>1217.608</c:v>
                </c:pt>
                <c:pt idx="35">
                  <c:v>1257.2662</c:v>
                </c:pt>
                <c:pt idx="36">
                  <c:v>1289.7456</c:v>
                </c:pt>
                <c:pt idx="37">
                  <c:v>1276.3705</c:v>
                </c:pt>
                <c:pt idx="38">
                  <c:v>1287.5255</c:v>
                </c:pt>
                <c:pt idx="39">
                  <c:v>1237.1239</c:v>
                </c:pt>
                <c:pt idx="40">
                  <c:v>1257.5632</c:v>
                </c:pt>
                <c:pt idx="41">
                  <c:v>1286.865</c:v>
                </c:pt>
                <c:pt idx="42">
                  <c:v>1283.2174</c:v>
                </c:pt>
                <c:pt idx="43">
                  <c:v>1287.1337</c:v>
                </c:pt>
                <c:pt idx="44">
                  <c:v>1219.4646</c:v>
                </c:pt>
                <c:pt idx="45">
                  <c:v>1180.2063</c:v>
                </c:pt>
                <c:pt idx="46">
                  <c:v>1169.2071</c:v>
                </c:pt>
                <c:pt idx="47">
                  <c:v>1150.822</c:v>
                </c:pt>
                <c:pt idx="48">
                  <c:v>1136.5305</c:v>
                </c:pt>
                <c:pt idx="49">
                  <c:v>1141.5541</c:v>
                </c:pt>
                <c:pt idx="50">
                  <c:v>1111.2317</c:v>
                </c:pt>
                <c:pt idx="51">
                  <c:v>1099.7544</c:v>
                </c:pt>
                <c:pt idx="52">
                  <c:v>950.091303110249</c:v>
                </c:pt>
                <c:pt idx="53">
                  <c:v>950.091303110249</c:v>
                </c:pt>
                <c:pt idx="54">
                  <c:v>1099.0020621082826</c:v>
                </c:pt>
              </c:numCache>
            </c:numRef>
          </c:xVal>
          <c:yVal>
            <c:numRef>
              <c:f>Sheet1!$B$187:$B$241</c:f>
              <c:numCache>
                <c:formatCode>General</c:formatCode>
                <c:ptCount val="55"/>
                <c:pt idx="0">
                  <c:v>0.1999180419708386</c:v>
                </c:pt>
                <c:pt idx="1">
                  <c:v>0.19767543242431881</c:v>
                </c:pt>
                <c:pt idx="2">
                  <c:v>0.19816402844027822</c:v>
                </c:pt>
                <c:pt idx="3">
                  <c:v>0.20469276447859852</c:v>
                </c:pt>
                <c:pt idx="4">
                  <c:v>0.19836848605349777</c:v>
                </c:pt>
                <c:pt idx="5">
                  <c:v>0.19714562022190035</c:v>
                </c:pt>
                <c:pt idx="6">
                  <c:v>0.20527865602298398</c:v>
                </c:pt>
                <c:pt idx="7">
                  <c:v>0.20593347530712652</c:v>
                </c:pt>
                <c:pt idx="8">
                  <c:v>0.19794332612340126</c:v>
                </c:pt>
                <c:pt idx="9">
                  <c:v>0.20407828640042036</c:v>
                </c:pt>
                <c:pt idx="10">
                  <c:v>0.2032389843867193</c:v>
                </c:pt>
                <c:pt idx="11">
                  <c:v>0.2124401986782653</c:v>
                </c:pt>
                <c:pt idx="12">
                  <c:v>0.20872794426194996</c:v>
                </c:pt>
                <c:pt idx="13">
                  <c:v>0.20561189694953613</c:v>
                </c:pt>
                <c:pt idx="14">
                  <c:v>0.2047859729270824</c:v>
                </c:pt>
                <c:pt idx="15">
                  <c:v>0.20463341547267777</c:v>
                </c:pt>
                <c:pt idx="16">
                  <c:v>0.19943913981772793</c:v>
                </c:pt>
                <c:pt idx="17">
                  <c:v>0.21053715064108144</c:v>
                </c:pt>
                <c:pt idx="18">
                  <c:v>0.19970985417761553</c:v>
                </c:pt>
                <c:pt idx="19">
                  <c:v>0.18623109050569697</c:v>
                </c:pt>
                <c:pt idx="20">
                  <c:v>0.18734147529212547</c:v>
                </c:pt>
                <c:pt idx="21">
                  <c:v>0.19224392192630338</c:v>
                </c:pt>
                <c:pt idx="22">
                  <c:v>0.1932673382567231</c:v>
                </c:pt>
                <c:pt idx="23">
                  <c:v>0.19414874295027906</c:v>
                </c:pt>
                <c:pt idx="24">
                  <c:v>0.19165879023340013</c:v>
                </c:pt>
                <c:pt idx="25">
                  <c:v>0.19545980911831856</c:v>
                </c:pt>
                <c:pt idx="26">
                  <c:v>0.19760052948881535</c:v>
                </c:pt>
                <c:pt idx="27">
                  <c:v>0.19620084851988892</c:v>
                </c:pt>
                <c:pt idx="28">
                  <c:v>0.19256284080370606</c:v>
                </c:pt>
                <c:pt idx="29">
                  <c:v>0.19326470180233787</c:v>
                </c:pt>
                <c:pt idx="30">
                  <c:v>0.19290577559310695</c:v>
                </c:pt>
                <c:pt idx="31">
                  <c:v>0.1923117098888371</c:v>
                </c:pt>
                <c:pt idx="32">
                  <c:v>0.1909611199308217</c:v>
                </c:pt>
                <c:pt idx="33">
                  <c:v>0.19377821173659265</c:v>
                </c:pt>
                <c:pt idx="34">
                  <c:v>0.19301464158728476</c:v>
                </c:pt>
                <c:pt idx="35">
                  <c:v>0.1884488321855264</c:v>
                </c:pt>
                <c:pt idx="36">
                  <c:v>0.1847095109383828</c:v>
                </c:pt>
                <c:pt idx="37">
                  <c:v>0.1862493729928749</c:v>
                </c:pt>
                <c:pt idx="38">
                  <c:v>0.18496510885893502</c:v>
                </c:pt>
                <c:pt idx="39">
                  <c:v>0.1907677952931066</c:v>
                </c:pt>
                <c:pt idx="40">
                  <c:v>0.18841463886882714</c:v>
                </c:pt>
                <c:pt idx="41">
                  <c:v>0.1850411515716618</c:v>
                </c:pt>
                <c:pt idx="42">
                  <c:v>0.1854610961574941</c:v>
                </c:pt>
                <c:pt idx="43">
                  <c:v>0.18501021640601503</c:v>
                </c:pt>
                <c:pt idx="44">
                  <c:v>0.19280089306276008</c:v>
                </c:pt>
                <c:pt idx="45">
                  <c:v>0.19732066237243753</c:v>
                </c:pt>
                <c:pt idx="46">
                  <c:v>0.19858698940623684</c:v>
                </c:pt>
                <c:pt idx="47">
                  <c:v>0.20070364781313046</c:v>
                </c:pt>
                <c:pt idx="48">
                  <c:v>0.20234901409463665</c:v>
                </c:pt>
                <c:pt idx="49">
                  <c:v>0.20177065198766575</c:v>
                </c:pt>
                <c:pt idx="50">
                  <c:v>0.2052616399549431</c:v>
                </c:pt>
                <c:pt idx="51">
                  <c:v>0.20658301016959735</c:v>
                </c:pt>
                <c:pt idx="52">
                  <c:v>0.22381357471552976</c:v>
                </c:pt>
                <c:pt idx="53">
                  <c:v>0.22381357471552976</c:v>
                </c:pt>
                <c:pt idx="54">
                  <c:v>0.2066696260881035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8.0"/>
          <c:min val="61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094516083321526"/>
          <c:min val="0.0732631578947368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589532523732707</c:v>
                </c:pt>
                <c:pt idx="1">
                  <c:v>1.7700995000165558</c:v>
                </c:pt>
                <c:pt idx="2">
                  <c:v>1.8277802681462605</c:v>
                </c:pt>
                <c:pt idx="3">
                  <c:v>1.8695513711979668</c:v>
                </c:pt>
                <c:pt idx="4">
                  <c:v>1.8599985218469173</c:v>
                </c:pt>
                <c:pt idx="5">
                  <c:v>1.8099661877557596</c:v>
                </c:pt>
                <c:pt idx="6">
                  <c:v>1.7324604313049052</c:v>
                </c:pt>
                <c:pt idx="7">
                  <c:v>1.7445711751055197</c:v>
                </c:pt>
                <c:pt idx="8">
                  <c:v>1.7299160332439052</c:v>
                </c:pt>
                <c:pt idx="9">
                  <c:v>1.9970371111208347</c:v>
                </c:pt>
                <c:pt idx="10">
                  <c:v>1.8725516905113844</c:v>
                </c:pt>
                <c:pt idx="11">
                  <c:v>1.684605910917054</c:v>
                </c:pt>
                <c:pt idx="12">
                  <c:v>1.710763134235862</c:v>
                </c:pt>
                <c:pt idx="13">
                  <c:v>1.6753677661283004</c:v>
                </c:pt>
                <c:pt idx="14">
                  <c:v>1.8389171826023882</c:v>
                </c:pt>
                <c:pt idx="15">
                  <c:v>1.8542534722580437</c:v>
                </c:pt>
                <c:pt idx="16">
                  <c:v>1.8893335275511731</c:v>
                </c:pt>
                <c:pt idx="17">
                  <c:v>1.9062551540618315</c:v>
                </c:pt>
                <c:pt idx="18">
                  <c:v>1.956977392684245</c:v>
                </c:pt>
                <c:pt idx="19">
                  <c:v>1.924773315315422</c:v>
                </c:pt>
                <c:pt idx="20">
                  <c:v>2.0075540940778476</c:v>
                </c:pt>
                <c:pt idx="21">
                  <c:v>2.0442291461886963</c:v>
                </c:pt>
                <c:pt idx="22">
                  <c:v>1.9862540101844266</c:v>
                </c:pt>
                <c:pt idx="23">
                  <c:v>1.7650862395761204</c:v>
                </c:pt>
                <c:pt idx="24">
                  <c:v>1.7752375203187296</c:v>
                </c:pt>
                <c:pt idx="25">
                  <c:v>1.7370885546829835</c:v>
                </c:pt>
                <c:pt idx="26">
                  <c:v>1.667091373654301</c:v>
                </c:pt>
                <c:pt idx="27">
                  <c:v>1.7596562681268872</c:v>
                </c:pt>
                <c:pt idx="28">
                  <c:v>1.7456133642222174</c:v>
                </c:pt>
                <c:pt idx="29">
                  <c:v>1.7003266318805441</c:v>
                </c:pt>
                <c:pt idx="30">
                  <c:v>1.6914473259945562</c:v>
                </c:pt>
                <c:pt idx="31">
                  <c:v>1.7139829676050526</c:v>
                </c:pt>
                <c:pt idx="32">
                  <c:v>1.6884326566501937</c:v>
                </c:pt>
                <c:pt idx="33">
                  <c:v>1.667273420382204</c:v>
                </c:pt>
                <c:pt idx="34">
                  <c:v>1.6852265248211649</c:v>
                </c:pt>
                <c:pt idx="35">
                  <c:v>1.7838436105338282</c:v>
                </c:pt>
                <c:pt idx="36">
                  <c:v>1.8463289035268213</c:v>
                </c:pt>
                <c:pt idx="37">
                  <c:v>1.894123331887921</c:v>
                </c:pt>
                <c:pt idx="38">
                  <c:v>1.9409409281764365</c:v>
                </c:pt>
                <c:pt idx="39">
                  <c:v>1.9688930565530423</c:v>
                </c:pt>
                <c:pt idx="40">
                  <c:v>1.988097742313187</c:v>
                </c:pt>
                <c:pt idx="41">
                  <c:v>2.014982572819723</c:v>
                </c:pt>
                <c:pt idx="42">
                  <c:v>2.0389794279922397</c:v>
                </c:pt>
                <c:pt idx="43">
                  <c:v>2.034980925166476</c:v>
                </c:pt>
                <c:pt idx="44">
                  <c:v>1.9043168415243588</c:v>
                </c:pt>
                <c:pt idx="45">
                  <c:v>1.8673340969358048</c:v>
                </c:pt>
                <c:pt idx="46">
                  <c:v>1.9645460071663319</c:v>
                </c:pt>
                <c:pt idx="47">
                  <c:v>2.00691970175253</c:v>
                </c:pt>
                <c:pt idx="48">
                  <c:v>1.980368052163485</c:v>
                </c:pt>
                <c:pt idx="49">
                  <c:v>1.8584087600947354</c:v>
                </c:pt>
                <c:pt idx="50">
                  <c:v>1.7790556297887274</c:v>
                </c:pt>
                <c:pt idx="51">
                  <c:v>1.8077963706519726</c:v>
                </c:pt>
                <c:pt idx="52">
                  <c:v>1.8364185497308918</c:v>
                </c:pt>
                <c:pt idx="53">
                  <c:v>2.000916319225998</c:v>
                </c:pt>
                <c:pt idx="54">
                  <c:v>1.9817169770391434</c:v>
                </c:pt>
                <c:pt idx="55">
                  <c:v>1.960859669875767</c:v>
                </c:pt>
                <c:pt idx="56">
                  <c:v>1.930993331609328</c:v>
                </c:pt>
                <c:pt idx="57">
                  <c:v>1.8790487279028758</c:v>
                </c:pt>
                <c:pt idx="58">
                  <c:v>1.777925066932483</c:v>
                </c:pt>
                <c:pt idx="59">
                  <c:v>1.879906156466698</c:v>
                </c:pt>
                <c:pt idx="60">
                  <c:v>2.0779879780553454</c:v>
                </c:pt>
                <c:pt idx="61">
                  <c:v>2.012284587776893</c:v>
                </c:pt>
                <c:pt idx="62">
                  <c:v>1.870759984107875</c:v>
                </c:pt>
                <c:pt idx="63">
                  <c:v>1.8476762978896575</c:v>
                </c:pt>
                <c:pt idx="64">
                  <c:v>1.8864155891332237</c:v>
                </c:pt>
                <c:pt idx="65">
                  <c:v>1.9109397373724746</c:v>
                </c:pt>
                <c:pt idx="66">
                  <c:v>1.8309523751152688</c:v>
                </c:pt>
                <c:pt idx="67">
                  <c:v>1.7837537162879153</c:v>
                </c:pt>
                <c:pt idx="68">
                  <c:v>1.7934638708202584</c:v>
                </c:pt>
                <c:pt idx="69">
                  <c:v>1.8745791649787396</c:v>
                </c:pt>
                <c:pt idx="70">
                  <c:v>1.8324617335800573</c:v>
                </c:pt>
                <c:pt idx="71">
                  <c:v>1.8110485171344617</c:v>
                </c:pt>
                <c:pt idx="72">
                  <c:v>1.9519054901853228</c:v>
                </c:pt>
                <c:pt idx="73">
                  <c:v>1.910865887052403</c:v>
                </c:pt>
                <c:pt idx="74">
                  <c:v>1.8784489481664766</c:v>
                </c:pt>
                <c:pt idx="75">
                  <c:v>1.8692159408441036</c:v>
                </c:pt>
                <c:pt idx="76">
                  <c:v>1.79776957131729</c:v>
                </c:pt>
                <c:pt idx="77">
                  <c:v>1.7996595328642744</c:v>
                </c:pt>
                <c:pt idx="78">
                  <c:v>1.7776126796210943</c:v>
                </c:pt>
                <c:pt idx="79">
                  <c:v>1.8146525859622487</c:v>
                </c:pt>
                <c:pt idx="80">
                  <c:v>1.8274790611170468</c:v>
                </c:pt>
                <c:pt idx="81">
                  <c:v>1.8772455484508939</c:v>
                </c:pt>
                <c:pt idx="82">
                  <c:v>1.8497424089247065</c:v>
                </c:pt>
                <c:pt idx="83">
                  <c:v>1.8231676400547818</c:v>
                </c:pt>
                <c:pt idx="84">
                  <c:v>1.886362788486245</c:v>
                </c:pt>
                <c:pt idx="85">
                  <c:v>1.850900678475037</c:v>
                </c:pt>
                <c:pt idx="86">
                  <c:v>1.8027972284690388</c:v>
                </c:pt>
                <c:pt idx="87">
                  <c:v>1.8040250138142881</c:v>
                </c:pt>
                <c:pt idx="88">
                  <c:v>1.8850628900204245</c:v>
                </c:pt>
                <c:pt idx="89">
                  <c:v>1.8966185760974463</c:v>
                </c:pt>
                <c:pt idx="90">
                  <c:v>2.0114783810836747</c:v>
                </c:pt>
                <c:pt idx="91">
                  <c:v>2.0538325177785053</c:v>
                </c:pt>
                <c:pt idx="92">
                  <c:v>2.0330837081621125</c:v>
                </c:pt>
                <c:pt idx="93">
                  <c:v>2.0095032581391705</c:v>
                </c:pt>
                <c:pt idx="94">
                  <c:v>1.9665150836840521</c:v>
                </c:pt>
                <c:pt idx="95">
                  <c:v>1.8918002076652616</c:v>
                </c:pt>
                <c:pt idx="96">
                  <c:v>1.7526713964231604</c:v>
                </c:pt>
                <c:pt idx="97">
                  <c:v>1.740587106326705</c:v>
                </c:pt>
                <c:pt idx="98">
                  <c:v>1.7993676893599324</c:v>
                </c:pt>
                <c:pt idx="99">
                  <c:v>1.7657618646075997</c:v>
                </c:pt>
                <c:pt idx="100">
                  <c:v>1.7567462106382734</c:v>
                </c:pt>
                <c:pt idx="101">
                  <c:v>1.8327374834133978</c:v>
                </c:pt>
                <c:pt idx="102">
                  <c:v>1.8286143676583833</c:v>
                </c:pt>
                <c:pt idx="103">
                  <c:v>1.7670778320235423</c:v>
                </c:pt>
                <c:pt idx="104">
                  <c:v>1.7958964740595318</c:v>
                </c:pt>
              </c:numCache>
            </c:numRef>
          </c:xVal>
          <c:yVal>
            <c:numRef>
              <c:f>Sheet1!$B$2:$B$106</c:f>
              <c:numCache>
                <c:formatCode>General</c:formatCode>
                <c:ptCount val="105"/>
                <c:pt idx="0">
                  <c:v>0.16033510285335104</c:v>
                </c:pt>
                <c:pt idx="1">
                  <c:v>0.144745122718691</c:v>
                </c:pt>
                <c:pt idx="2">
                  <c:v>0.14821599235425295</c:v>
                </c:pt>
                <c:pt idx="3">
                  <c:v>0.14724974376494704</c:v>
                </c:pt>
                <c:pt idx="4">
                  <c:v>0.15438299672200487</c:v>
                </c:pt>
                <c:pt idx="5">
                  <c:v>0.18489326765188835</c:v>
                </c:pt>
                <c:pt idx="6">
                  <c:v>0.21816365049406017</c:v>
                </c:pt>
                <c:pt idx="7">
                  <c:v>0.23045157852670842</c:v>
                </c:pt>
                <c:pt idx="8">
                  <c:v>0.24245430069434604</c:v>
                </c:pt>
                <c:pt idx="9">
                  <c:v>0.21179376350725532</c:v>
                </c:pt>
                <c:pt idx="10">
                  <c:v>0.22383949645948073</c:v>
                </c:pt>
                <c:pt idx="11">
                  <c:v>0.21393998063891578</c:v>
                </c:pt>
                <c:pt idx="12">
                  <c:v>0.19080582179623712</c:v>
                </c:pt>
                <c:pt idx="13">
                  <c:v>0.17190471877547323</c:v>
                </c:pt>
                <c:pt idx="14">
                  <c:v>0.13429431621202445</c:v>
                </c:pt>
                <c:pt idx="15">
                  <c:v>0.11882768844794162</c:v>
                </c:pt>
                <c:pt idx="16">
                  <c:v>0.1159206647011525</c:v>
                </c:pt>
                <c:pt idx="17">
                  <c:v>0.10256053437239077</c:v>
                </c:pt>
                <c:pt idx="18">
                  <c:v>0.0962974486621033</c:v>
                </c:pt>
                <c:pt idx="19">
                  <c:v>0.09204397242407304</c:v>
                </c:pt>
                <c:pt idx="20">
                  <c:v>0.09157894736842105</c:v>
                </c:pt>
                <c:pt idx="21">
                  <c:v>0.09348441926345609</c:v>
                </c:pt>
                <c:pt idx="22">
                  <c:v>0.09822090437361009</c:v>
                </c:pt>
                <c:pt idx="23">
                  <c:v>0.11505988611820145</c:v>
                </c:pt>
                <c:pt idx="24">
                  <c:v>0.1127285638203444</c:v>
                </c:pt>
                <c:pt idx="25">
                  <c:v>0.12217194570135746</c:v>
                </c:pt>
                <c:pt idx="26">
                  <c:v>0.14708141321044546</c:v>
                </c:pt>
                <c:pt idx="27">
                  <c:v>0.1494485294117647</c:v>
                </c:pt>
                <c:pt idx="28">
                  <c:v>0.1799819657348963</c:v>
                </c:pt>
                <c:pt idx="29">
                  <c:v>0.17616498740554157</c:v>
                </c:pt>
                <c:pt idx="30">
                  <c:v>0.17196531791907516</c:v>
                </c:pt>
                <c:pt idx="31">
                  <c:v>0.18125990491283678</c:v>
                </c:pt>
                <c:pt idx="32">
                  <c:v>0.19836595097852935</c:v>
                </c:pt>
                <c:pt idx="33">
                  <c:v>0.1817098599940423</c:v>
                </c:pt>
                <c:pt idx="34">
                  <c:v>0.18260747794426552</c:v>
                </c:pt>
                <c:pt idx="35">
                  <c:v>0.19129979035639413</c:v>
                </c:pt>
                <c:pt idx="36">
                  <c:v>0.1681519357195033</c:v>
                </c:pt>
                <c:pt idx="37">
                  <c:v>0.16089312099819406</c:v>
                </c:pt>
                <c:pt idx="38">
                  <c:v>0.1572574046800851</c:v>
                </c:pt>
                <c:pt idx="39">
                  <c:v>0.14665523156089194</c:v>
                </c:pt>
                <c:pt idx="40">
                  <c:v>0.14546213808463251</c:v>
                </c:pt>
                <c:pt idx="41">
                  <c:v>0.14787346753443317</c:v>
                </c:pt>
                <c:pt idx="42">
                  <c:v>0.1465359477124183</c:v>
                </c:pt>
                <c:pt idx="43">
                  <c:v>0.14118769377533985</c:v>
                </c:pt>
                <c:pt idx="44">
                  <c:v>0.14628219666288678</c:v>
                </c:pt>
                <c:pt idx="45">
                  <c:v>0.16638821385176183</c:v>
                </c:pt>
                <c:pt idx="46">
                  <c:v>0.1721975056523959</c:v>
                </c:pt>
                <c:pt idx="47">
                  <c:v>0.16685247120029728</c:v>
                </c:pt>
                <c:pt idx="48">
                  <c:v>0.16259808195292066</c:v>
                </c:pt>
                <c:pt idx="49">
                  <c:v>0.16804554079696396</c:v>
                </c:pt>
                <c:pt idx="50">
                  <c:v>0.16972997503970955</c:v>
                </c:pt>
                <c:pt idx="51">
                  <c:v>0.162422388194007</c:v>
                </c:pt>
                <c:pt idx="52">
                  <c:v>0.1575679563867646</c:v>
                </c:pt>
                <c:pt idx="53">
                  <c:v>0.14313292884721457</c:v>
                </c:pt>
                <c:pt idx="54">
                  <c:v>0.1450992004737933</c:v>
                </c:pt>
                <c:pt idx="55">
                  <c:v>0.14112903225806453</c:v>
                </c:pt>
                <c:pt idx="56">
                  <c:v>0.14981855883877657</c:v>
                </c:pt>
                <c:pt idx="57">
                  <c:v>0.14434922335297268</c:v>
                </c:pt>
                <c:pt idx="58">
                  <c:v>0.1663926624556546</c:v>
                </c:pt>
                <c:pt idx="59">
                  <c:v>0.14683933274802458</c:v>
                </c:pt>
                <c:pt idx="60">
                  <c:v>0.15279878971255673</c:v>
                </c:pt>
                <c:pt idx="61">
                  <c:v>0.16944216944216944</c:v>
                </c:pt>
                <c:pt idx="62">
                  <c:v>0.1883472484064997</c:v>
                </c:pt>
                <c:pt idx="63">
                  <c:v>0.19346796310147096</c:v>
                </c:pt>
                <c:pt idx="64">
                  <c:v>0.18558295386201565</c:v>
                </c:pt>
                <c:pt idx="65">
                  <c:v>0.18198790896159317</c:v>
                </c:pt>
                <c:pt idx="66">
                  <c:v>0.17878567533175785</c:v>
                </c:pt>
                <c:pt idx="67">
                  <c:v>0.16801446104081438</c:v>
                </c:pt>
                <c:pt idx="68">
                  <c:v>0.1516028733783639</c:v>
                </c:pt>
                <c:pt idx="69">
                  <c:v>0.14100028256569652</c:v>
                </c:pt>
                <c:pt idx="70">
                  <c:v>0.1466491458607096</c:v>
                </c:pt>
                <c:pt idx="71">
                  <c:v>0.14164265129682996</c:v>
                </c:pt>
                <c:pt idx="72">
                  <c:v>0.13927347498286496</c:v>
                </c:pt>
                <c:pt idx="73">
                  <c:v>0.14398364485981308</c:v>
                </c:pt>
                <c:pt idx="74">
                  <c:v>0.1486243605696115</c:v>
                </c:pt>
                <c:pt idx="75">
                  <c:v>0.15961346217927358</c:v>
                </c:pt>
                <c:pt idx="76">
                  <c:v>0.17377341659232828</c:v>
                </c:pt>
                <c:pt idx="77">
                  <c:v>0.16397058823529412</c:v>
                </c:pt>
                <c:pt idx="78">
                  <c:v>0.17640117994100296</c:v>
                </c:pt>
                <c:pt idx="79">
                  <c:v>0.16372478386167147</c:v>
                </c:pt>
                <c:pt idx="80">
                  <c:v>0.1567994259059921</c:v>
                </c:pt>
                <c:pt idx="81">
                  <c:v>0.15579386356866248</c:v>
                </c:pt>
                <c:pt idx="82">
                  <c:v>0.15947171299034102</c:v>
                </c:pt>
                <c:pt idx="83">
                  <c:v>0.15453551912568306</c:v>
                </c:pt>
                <c:pt idx="84">
                  <c:v>0.15389769935224482</c:v>
                </c:pt>
                <c:pt idx="85">
                  <c:v>0.16222664015904573</c:v>
                </c:pt>
                <c:pt idx="86">
                  <c:v>0.1783783783783784</c:v>
                </c:pt>
                <c:pt idx="87">
                  <c:v>0.1824028061970184</c:v>
                </c:pt>
                <c:pt idx="88">
                  <c:v>0.17278736687477048</c:v>
                </c:pt>
                <c:pt idx="89">
                  <c:v>0.18327471668620554</c:v>
                </c:pt>
                <c:pt idx="90">
                  <c:v>0.16203143893591293</c:v>
                </c:pt>
                <c:pt idx="91">
                  <c:v>0.15802611367127495</c:v>
                </c:pt>
                <c:pt idx="92">
                  <c:v>0.16944921204556093</c:v>
                </c:pt>
                <c:pt idx="93">
                  <c:v>0.16639258484078337</c:v>
                </c:pt>
                <c:pt idx="94">
                  <c:v>0.16917161831527439</c:v>
                </c:pt>
                <c:pt idx="95">
                  <c:v>0.1662677919133392</c:v>
                </c:pt>
                <c:pt idx="96">
                  <c:v>0.16149488458611652</c:v>
                </c:pt>
                <c:pt idx="97">
                  <c:v>0.16460811222933822</c:v>
                </c:pt>
                <c:pt idx="98">
                  <c:v>0.16096048552015305</c:v>
                </c:pt>
                <c:pt idx="99">
                  <c:v>0.1636115997956983</c:v>
                </c:pt>
                <c:pt idx="100">
                  <c:v>0.17094159218457702</c:v>
                </c:pt>
                <c:pt idx="101">
                  <c:v>0.16883490260907066</c:v>
                </c:pt>
                <c:pt idx="102">
                  <c:v>0.17709895052473762</c:v>
                </c:pt>
                <c:pt idx="103">
                  <c:v>0.17144579350727632</c:v>
                </c:pt>
                <c:pt idx="104">
                  <c:v>0.1717182166132202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8797609407396931</c:v>
                </c:pt>
                <c:pt idx="1">
                  <c:v>1.9184927493715036</c:v>
                </c:pt>
                <c:pt idx="2">
                  <c:v>1.906252117934388</c:v>
                </c:pt>
                <c:pt idx="3">
                  <c:v>1.8174908020064204</c:v>
                </c:pt>
                <c:pt idx="4">
                  <c:v>1.914210208183978</c:v>
                </c:pt>
                <c:pt idx="5">
                  <c:v>1.908869800801652</c:v>
                </c:pt>
                <c:pt idx="6">
                  <c:v>1.7854057715190634</c:v>
                </c:pt>
                <c:pt idx="7">
                  <c:v>1.7497733233207244</c:v>
                </c:pt>
                <c:pt idx="8">
                  <c:v>1.8639443531968256</c:v>
                </c:pt>
                <c:pt idx="9">
                  <c:v>1.789883190237078</c:v>
                </c:pt>
                <c:pt idx="10">
                  <c:v>1.7802817758842227</c:v>
                </c:pt>
                <c:pt idx="11">
                  <c:v>1.6802359585246376</c:v>
                </c:pt>
                <c:pt idx="12">
                  <c:v>1.7179361890714897</c:v>
                </c:pt>
                <c:pt idx="13">
                  <c:v>1.7366350923683387</c:v>
                </c:pt>
                <c:pt idx="14">
                  <c:v>1.7579692816518961</c:v>
                </c:pt>
                <c:pt idx="15">
                  <c:v>1.7724787866195588</c:v>
                </c:pt>
                <c:pt idx="16">
                  <c:v>1.811214292094908</c:v>
                </c:pt>
                <c:pt idx="17">
                  <c:v>1.7097666254287018</c:v>
                </c:pt>
                <c:pt idx="18">
                  <c:v>1.9368742704067277</c:v>
                </c:pt>
                <c:pt idx="19">
                  <c:v>2.146811095891217</c:v>
                </c:pt>
                <c:pt idx="20">
                  <c:v>2.0817452760042627</c:v>
                </c:pt>
                <c:pt idx="21">
                  <c:v>2.022372754134929</c:v>
                </c:pt>
                <c:pt idx="22">
                  <c:v>1.903513694297492</c:v>
                </c:pt>
                <c:pt idx="23">
                  <c:v>1.8571570038960463</c:v>
                </c:pt>
                <c:pt idx="24">
                  <c:v>1.9048032809999178</c:v>
                </c:pt>
                <c:pt idx="25">
                  <c:v>1.8622020929916905</c:v>
                </c:pt>
                <c:pt idx="26">
                  <c:v>1.8272829373542878</c:v>
                </c:pt>
                <c:pt idx="27">
                  <c:v>1.8458734413318092</c:v>
                </c:pt>
                <c:pt idx="28">
                  <c:v>1.9185463159230578</c:v>
                </c:pt>
                <c:pt idx="29">
                  <c:v>1.9052217109838876</c:v>
                </c:pt>
                <c:pt idx="30">
                  <c:v>1.8829369990966627</c:v>
                </c:pt>
                <c:pt idx="31">
                  <c:v>1.9267590908733065</c:v>
                </c:pt>
                <c:pt idx="32">
                  <c:v>1.9335070724453598</c:v>
                </c:pt>
                <c:pt idx="33">
                  <c:v>1.895782027343956</c:v>
                </c:pt>
                <c:pt idx="34">
                  <c:v>1.8926673766195248</c:v>
                </c:pt>
                <c:pt idx="35">
                  <c:v>1.9574941595105588</c:v>
                </c:pt>
                <c:pt idx="36">
                  <c:v>2.040712814438565</c:v>
                </c:pt>
                <c:pt idx="37">
                  <c:v>2.006003533376197</c:v>
                </c:pt>
                <c:pt idx="38">
                  <c:v>2.040400072137609</c:v>
                </c:pt>
                <c:pt idx="39">
                  <c:v>1.9480836524437735</c:v>
                </c:pt>
                <c:pt idx="40">
                  <c:v>1.9610953824177728</c:v>
                </c:pt>
                <c:pt idx="41">
                  <c:v>2.011209252720653</c:v>
                </c:pt>
                <c:pt idx="42">
                  <c:v>2.0125917020927875</c:v>
                </c:pt>
                <c:pt idx="43">
                  <c:v>2.0584196209862786</c:v>
                </c:pt>
                <c:pt idx="44">
                  <c:v>2.0170252124719457</c:v>
                </c:pt>
                <c:pt idx="45">
                  <c:v>1.956019301541422</c:v>
                </c:pt>
                <c:pt idx="46">
                  <c:v>1.9168957298341072</c:v>
                </c:pt>
                <c:pt idx="47">
                  <c:v>1.9021288461052142</c:v>
                </c:pt>
                <c:pt idx="48">
                  <c:v>1.8210422555386478</c:v>
                </c:pt>
                <c:pt idx="49">
                  <c:v>1.81222536125314</c:v>
                </c:pt>
                <c:pt idx="50">
                  <c:v>1.7618820587429478</c:v>
                </c:pt>
                <c:pt idx="51">
                  <c:v>1.7413810493847197</c:v>
                </c:pt>
              </c:numCache>
            </c:numRef>
          </c:xVal>
          <c:yVal>
            <c:numRef>
              <c:f>Sheet1!$B$109:$B$160</c:f>
              <c:numCache>
                <c:formatCode>General</c:formatCode>
                <c:ptCount val="52"/>
                <c:pt idx="0">
                  <c:v>0.17139210502324734</c:v>
                </c:pt>
                <c:pt idx="1">
                  <c:v>0.16598262861506155</c:v>
                </c:pt>
                <c:pt idx="2">
                  <c:v>0.19026286873468007</c:v>
                </c:pt>
                <c:pt idx="3">
                  <c:v>0.21693984381704282</c:v>
                </c:pt>
                <c:pt idx="4">
                  <c:v>0.1930491447189791</c:v>
                </c:pt>
                <c:pt idx="5">
                  <c:v>0.19561756718793893</c:v>
                </c:pt>
                <c:pt idx="6">
                  <c:v>0.2099174959598537</c:v>
                </c:pt>
                <c:pt idx="7">
                  <c:v>0.22398775894538606</c:v>
                </c:pt>
                <c:pt idx="8">
                  <c:v>0.19533489705499088</c:v>
                </c:pt>
                <c:pt idx="9">
                  <c:v>0.20346834540919348</c:v>
                </c:pt>
                <c:pt idx="10">
                  <c:v>0.21838002578830149</c:v>
                </c:pt>
                <c:pt idx="11">
                  <c:v>0.20545470188419512</c:v>
                </c:pt>
                <c:pt idx="12">
                  <c:v>0.20200317334391116</c:v>
                </c:pt>
                <c:pt idx="13">
                  <c:v>0.19782608695652174</c:v>
                </c:pt>
                <c:pt idx="14">
                  <c:v>0.19835560123329907</c:v>
                </c:pt>
                <c:pt idx="15">
                  <c:v>0.1962152572442342</c:v>
                </c:pt>
                <c:pt idx="16">
                  <c:v>0.1892891384741816</c:v>
                </c:pt>
                <c:pt idx="17">
                  <c:v>0.20748785367247785</c:v>
                </c:pt>
                <c:pt idx="18">
                  <c:v>0.18994229183841715</c:v>
                </c:pt>
                <c:pt idx="19">
                  <c:v>0.17857142857142858</c:v>
                </c:pt>
                <c:pt idx="20">
                  <c:v>0.16638341264445955</c:v>
                </c:pt>
                <c:pt idx="21">
                  <c:v>0.1786492374727669</c:v>
                </c:pt>
                <c:pt idx="22">
                  <c:v>0.18545769314001298</c:v>
                </c:pt>
                <c:pt idx="23">
                  <c:v>0.187685969329366</c:v>
                </c:pt>
                <c:pt idx="24">
                  <c:v>0.188291467718497</c:v>
                </c:pt>
                <c:pt idx="25">
                  <c:v>0.19373601789709172</c:v>
                </c:pt>
                <c:pt idx="26">
                  <c:v>0.17736821244550138</c:v>
                </c:pt>
                <c:pt idx="27">
                  <c:v>0.18264110756123536</c:v>
                </c:pt>
                <c:pt idx="28">
                  <c:v>0.17938110210160516</c:v>
                </c:pt>
                <c:pt idx="29">
                  <c:v>0.1832637646591135</c:v>
                </c:pt>
                <c:pt idx="30">
                  <c:v>0.18675929709848793</c:v>
                </c:pt>
                <c:pt idx="31">
                  <c:v>0.17773943054357205</c:v>
                </c:pt>
                <c:pt idx="32">
                  <c:v>0.17575295463210064</c:v>
                </c:pt>
                <c:pt idx="33">
                  <c:v>0.2012310606060606</c:v>
                </c:pt>
                <c:pt idx="34">
                  <c:v>0.21649621463673796</c:v>
                </c:pt>
                <c:pt idx="35">
                  <c:v>0.21387010536247839</c:v>
                </c:pt>
                <c:pt idx="36">
                  <c:v>0.20109471680152308</c:v>
                </c:pt>
                <c:pt idx="37">
                  <c:v>0.19350104821802935</c:v>
                </c:pt>
                <c:pt idx="38">
                  <c:v>0.20023228803716608</c:v>
                </c:pt>
                <c:pt idx="39">
                  <c:v>0.20598175059141602</c:v>
                </c:pt>
                <c:pt idx="40">
                  <c:v>0.19253246753246753</c:v>
                </c:pt>
                <c:pt idx="41">
                  <c:v>0.19963453631795341</c:v>
                </c:pt>
                <c:pt idx="42">
                  <c:v>0.19374247894103488</c:v>
                </c:pt>
                <c:pt idx="43">
                  <c:v>0.1829356471438901</c:v>
                </c:pt>
                <c:pt idx="44">
                  <c:v>0.18115204559332385</c:v>
                </c:pt>
                <c:pt idx="45">
                  <c:v>0.1936641697877653</c:v>
                </c:pt>
                <c:pt idx="46">
                  <c:v>0.22289833364538475</c:v>
                </c:pt>
                <c:pt idx="47">
                  <c:v>0.2189094107299912</c:v>
                </c:pt>
                <c:pt idx="48">
                  <c:v>0.21990521327014217</c:v>
                </c:pt>
                <c:pt idx="49">
                  <c:v>0.22948762635064482</c:v>
                </c:pt>
                <c:pt idx="50">
                  <c:v>0.2277557636887608</c:v>
                </c:pt>
                <c:pt idx="51">
                  <c:v>0.2181056955525712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5153616834193697</c:v>
                </c:pt>
              </c:numCache>
            </c:numRef>
          </c:xVal>
          <c:yVal>
            <c:numRef>
              <c:f>Sheet1!$B$163:$B$164</c:f>
              <c:numCache>
                <c:formatCode>General</c:formatCode>
                <c:ptCount val="2"/>
                <c:pt idx="0">
                  <c:v>0.22381357471552976</c:v>
                </c:pt>
                <c:pt idx="1">
                  <c:v>0.2238135747155297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5153616834193697</c:v>
                </c:pt>
                <c:pt idx="1">
                  <c:v>1.5153616834193697</c:v>
                </c:pt>
              </c:numCache>
            </c:numRef>
          </c:xVal>
          <c:yVal>
            <c:numRef>
              <c:f>Sheet1!$B$167:$B$168</c:f>
              <c:numCache>
                <c:formatCode>General</c:formatCode>
                <c:ptCount val="2"/>
                <c:pt idx="0">
                  <c:v>0.2238135747155297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5153616834193697</c:v>
                </c:pt>
              </c:numCache>
            </c:numRef>
          </c:xVal>
          <c:yVal>
            <c:numRef>
              <c:f>Sheet1!$B$171:$B$172</c:f>
              <c:numCache>
                <c:formatCode>General</c:formatCode>
                <c:ptCount val="2"/>
                <c:pt idx="0">
                  <c:v>0.22381357471552976</c:v>
                </c:pt>
                <c:pt idx="1">
                  <c:v>0.2238135747155297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5153616834193697</c:v>
                </c:pt>
                <c:pt idx="1">
                  <c:v>1.5153616834193697</c:v>
                </c:pt>
              </c:numCache>
            </c:numRef>
          </c:xVal>
          <c:yVal>
            <c:numRef>
              <c:f>Sheet1!$B$175:$B$176</c:f>
              <c:numCache>
                <c:formatCode>General</c:formatCode>
                <c:ptCount val="2"/>
                <c:pt idx="0">
                  <c:v>0.223813574715529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7509378500374984</c:v>
                </c:pt>
              </c:numCache>
            </c:numRef>
          </c:xVal>
          <c:yVal>
            <c:numRef>
              <c:f>Sheet1!$B$179:$B$180</c:f>
              <c:numCache>
                <c:formatCode>General</c:formatCode>
                <c:ptCount val="2"/>
                <c:pt idx="0">
                  <c:v>0.20666962608810352</c:v>
                </c:pt>
                <c:pt idx="1">
                  <c:v>0.2066696260881035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7509378500374984</c:v>
                </c:pt>
                <c:pt idx="1">
                  <c:v>1.7509378500374984</c:v>
                </c:pt>
              </c:numCache>
            </c:numRef>
          </c:xVal>
          <c:yVal>
            <c:numRef>
              <c:f>Sheet1!$B$183:$B$184</c:f>
              <c:numCache>
                <c:formatCode>General</c:formatCode>
                <c:ptCount val="2"/>
                <c:pt idx="0">
                  <c:v>0.2066696260881035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8797609407396931</c:v>
                </c:pt>
                <c:pt idx="1">
                  <c:v>1.9184927493715036</c:v>
                </c:pt>
                <c:pt idx="2">
                  <c:v>1.906252117934388</c:v>
                </c:pt>
                <c:pt idx="3">
                  <c:v>1.8174908020064204</c:v>
                </c:pt>
                <c:pt idx="4">
                  <c:v>1.914210208183978</c:v>
                </c:pt>
                <c:pt idx="5">
                  <c:v>1.908869800801652</c:v>
                </c:pt>
                <c:pt idx="6">
                  <c:v>1.7854057715190634</c:v>
                </c:pt>
                <c:pt idx="7">
                  <c:v>1.7497733233207244</c:v>
                </c:pt>
                <c:pt idx="8">
                  <c:v>1.8639443531968256</c:v>
                </c:pt>
                <c:pt idx="9">
                  <c:v>1.789883190237078</c:v>
                </c:pt>
                <c:pt idx="10">
                  <c:v>1.7802817758842227</c:v>
                </c:pt>
                <c:pt idx="11">
                  <c:v>1.6802359585246376</c:v>
                </c:pt>
                <c:pt idx="12">
                  <c:v>1.7179361890714897</c:v>
                </c:pt>
                <c:pt idx="13">
                  <c:v>1.7366350923683387</c:v>
                </c:pt>
                <c:pt idx="14">
                  <c:v>1.7579692816518961</c:v>
                </c:pt>
                <c:pt idx="15">
                  <c:v>1.7724787866195588</c:v>
                </c:pt>
                <c:pt idx="16">
                  <c:v>1.811214292094908</c:v>
                </c:pt>
                <c:pt idx="17">
                  <c:v>1.7097666254287018</c:v>
                </c:pt>
                <c:pt idx="18">
                  <c:v>1.9368742704067277</c:v>
                </c:pt>
                <c:pt idx="19">
                  <c:v>2.146811095891217</c:v>
                </c:pt>
                <c:pt idx="20">
                  <c:v>2.0817452760042627</c:v>
                </c:pt>
                <c:pt idx="21">
                  <c:v>2.022372754134929</c:v>
                </c:pt>
                <c:pt idx="22">
                  <c:v>1.903513694297492</c:v>
                </c:pt>
                <c:pt idx="23">
                  <c:v>1.8571570038960463</c:v>
                </c:pt>
                <c:pt idx="24">
                  <c:v>1.9048032809999178</c:v>
                </c:pt>
                <c:pt idx="25">
                  <c:v>1.8622020929916905</c:v>
                </c:pt>
                <c:pt idx="26">
                  <c:v>1.8272829373542878</c:v>
                </c:pt>
                <c:pt idx="27">
                  <c:v>1.8458734413318092</c:v>
                </c:pt>
                <c:pt idx="28">
                  <c:v>1.9185463159230578</c:v>
                </c:pt>
                <c:pt idx="29">
                  <c:v>1.9052217109838876</c:v>
                </c:pt>
                <c:pt idx="30">
                  <c:v>1.8829369990966627</c:v>
                </c:pt>
                <c:pt idx="31">
                  <c:v>1.9267590908733065</c:v>
                </c:pt>
                <c:pt idx="32">
                  <c:v>1.9335070724453598</c:v>
                </c:pt>
                <c:pt idx="33">
                  <c:v>1.895782027343956</c:v>
                </c:pt>
                <c:pt idx="34">
                  <c:v>1.8926673766195248</c:v>
                </c:pt>
                <c:pt idx="35">
                  <c:v>1.9574941595105588</c:v>
                </c:pt>
                <c:pt idx="36">
                  <c:v>2.040712814438565</c:v>
                </c:pt>
                <c:pt idx="37">
                  <c:v>2.006003533376197</c:v>
                </c:pt>
                <c:pt idx="38">
                  <c:v>2.040400072137609</c:v>
                </c:pt>
                <c:pt idx="39">
                  <c:v>1.9480836524437735</c:v>
                </c:pt>
                <c:pt idx="40">
                  <c:v>1.9610953824177728</c:v>
                </c:pt>
                <c:pt idx="41">
                  <c:v>2.011209252720653</c:v>
                </c:pt>
                <c:pt idx="42">
                  <c:v>2.0125917020927875</c:v>
                </c:pt>
                <c:pt idx="43">
                  <c:v>2.0584196209862786</c:v>
                </c:pt>
                <c:pt idx="44">
                  <c:v>2.0170252124719457</c:v>
                </c:pt>
                <c:pt idx="45">
                  <c:v>1.956019301541422</c:v>
                </c:pt>
                <c:pt idx="46">
                  <c:v>1.9168957298341072</c:v>
                </c:pt>
                <c:pt idx="47">
                  <c:v>1.9021288461052142</c:v>
                </c:pt>
                <c:pt idx="48">
                  <c:v>1.8210422555386478</c:v>
                </c:pt>
                <c:pt idx="49">
                  <c:v>1.81222536125314</c:v>
                </c:pt>
                <c:pt idx="50">
                  <c:v>1.7618820587429478</c:v>
                </c:pt>
                <c:pt idx="51">
                  <c:v>1.7413810493847197</c:v>
                </c:pt>
                <c:pt idx="52">
                  <c:v>1.5153616834193697</c:v>
                </c:pt>
                <c:pt idx="53">
                  <c:v>1.5153616834193697</c:v>
                </c:pt>
                <c:pt idx="54">
                  <c:v>1.7509378500374984</c:v>
                </c:pt>
              </c:numCache>
            </c:numRef>
          </c:xVal>
          <c:yVal>
            <c:numRef>
              <c:f>Sheet1!$B$187:$B$241</c:f>
              <c:numCache>
                <c:formatCode>General</c:formatCode>
                <c:ptCount val="55"/>
                <c:pt idx="0">
                  <c:v>0.19729458411874862</c:v>
                </c:pt>
                <c:pt idx="1">
                  <c:v>0.19447589432103474</c:v>
                </c:pt>
                <c:pt idx="2">
                  <c:v>0.19536670071939735</c:v>
                </c:pt>
                <c:pt idx="3">
                  <c:v>0.20182626520852734</c:v>
                </c:pt>
                <c:pt idx="4">
                  <c:v>0.19478755431265346</c:v>
                </c:pt>
                <c:pt idx="5">
                  <c:v>0.1951762000365672</c:v>
                </c:pt>
                <c:pt idx="6">
                  <c:v>0.20416123874291</c:v>
                </c:pt>
                <c:pt idx="7">
                  <c:v>0.20675437399148544</c:v>
                </c:pt>
                <c:pt idx="8">
                  <c:v>0.19844562910003344</c:v>
                </c:pt>
                <c:pt idx="9">
                  <c:v>0.2038353966274402</c:v>
                </c:pt>
                <c:pt idx="10">
                  <c:v>0.2045341352001024</c:v>
                </c:pt>
                <c:pt idx="11">
                  <c:v>0.21181492416031128</c:v>
                </c:pt>
                <c:pt idx="12">
                  <c:v>0.2090713069896275</c:v>
                </c:pt>
                <c:pt idx="13">
                  <c:v>0.20771050278726502</c:v>
                </c:pt>
                <c:pt idx="14">
                  <c:v>0.20615791684304266</c:v>
                </c:pt>
                <c:pt idx="15">
                  <c:v>0.205101994203049</c:v>
                </c:pt>
                <c:pt idx="16">
                  <c:v>0.20228303536922415</c:v>
                </c:pt>
                <c:pt idx="17">
                  <c:v>0.20966584327660037</c:v>
                </c:pt>
                <c:pt idx="18">
                  <c:v>0.1931381874687424</c:v>
                </c:pt>
                <c:pt idx="19">
                  <c:v>0.17786013025786465</c:v>
                </c:pt>
                <c:pt idx="20">
                  <c:v>0.18259526577499668</c:v>
                </c:pt>
                <c:pt idx="21">
                  <c:v>0.18691607411236383</c:v>
                </c:pt>
                <c:pt idx="22">
                  <c:v>0.19556598825694857</c:v>
                </c:pt>
                <c:pt idx="23">
                  <c:v>0.1989395753654788</c:v>
                </c:pt>
                <c:pt idx="24">
                  <c:v>0.19547213916985973</c:v>
                </c:pt>
                <c:pt idx="25">
                  <c:v>0.19857242129587072</c:v>
                </c:pt>
                <c:pt idx="26">
                  <c:v>0.20111364700199724</c:v>
                </c:pt>
                <c:pt idx="27">
                  <c:v>0.19976073151091012</c:v>
                </c:pt>
                <c:pt idx="28">
                  <c:v>0.19447199603955248</c:v>
                </c:pt>
                <c:pt idx="29">
                  <c:v>0.19544168811764873</c:v>
                </c:pt>
                <c:pt idx="30">
                  <c:v>0.1970634479130311</c:v>
                </c:pt>
                <c:pt idx="31">
                  <c:v>0.19387431506928726</c:v>
                </c:pt>
                <c:pt idx="32">
                  <c:v>0.19338323377243594</c:v>
                </c:pt>
                <c:pt idx="33">
                  <c:v>0.196128656811067</c:v>
                </c:pt>
                <c:pt idx="34">
                  <c:v>0.1963553241041917</c:v>
                </c:pt>
                <c:pt idx="35">
                  <c:v>0.19163758439596915</c:v>
                </c:pt>
                <c:pt idx="36">
                  <c:v>0.18558138454599898</c:v>
                </c:pt>
                <c:pt idx="37">
                  <c:v>0.18810733672516286</c:v>
                </c:pt>
                <c:pt idx="38">
                  <c:v>0.1856041442250369</c:v>
                </c:pt>
                <c:pt idx="39">
                  <c:v>0.19232242977751626</c:v>
                </c:pt>
                <c:pt idx="40">
                  <c:v>0.19137550703303596</c:v>
                </c:pt>
                <c:pt idx="41">
                  <c:v>0.1877284928620873</c:v>
                </c:pt>
                <c:pt idx="42">
                  <c:v>0.187627885736349</c:v>
                </c:pt>
                <c:pt idx="43">
                  <c:v>0.1842927797343677</c:v>
                </c:pt>
                <c:pt idx="44">
                  <c:v>0.18730523903031504</c:v>
                </c:pt>
                <c:pt idx="45">
                  <c:v>0.1917449165154217</c:v>
                </c:pt>
                <c:pt idx="46">
                  <c:v>0.19459211669318371</c:v>
                </c:pt>
                <c:pt idx="47">
                  <c:v>0.19566676995573423</c:v>
                </c:pt>
                <c:pt idx="48">
                  <c:v>0.20156780978927477</c:v>
                </c:pt>
                <c:pt idx="49">
                  <c:v>0.20220945527003015</c:v>
                </c:pt>
                <c:pt idx="50">
                  <c:v>0.2058731662657557</c:v>
                </c:pt>
                <c:pt idx="51">
                  <c:v>0.20736511791898715</c:v>
                </c:pt>
                <c:pt idx="52">
                  <c:v>0.22381357471552976</c:v>
                </c:pt>
                <c:pt idx="53">
                  <c:v>0.22381357471552976</c:v>
                </c:pt>
                <c:pt idx="54">
                  <c:v>0.2066696260881035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uv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094516083321526"/>
          <c:min val="0.0732631578947368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9442341116349202</c:v>
                </c:pt>
                <c:pt idx="1">
                  <c:v>0.1089757920476039</c:v>
                </c:pt>
                <c:pt idx="2">
                  <c:v>0.11239190698948683</c:v>
                </c:pt>
                <c:pt idx="3">
                  <c:v>0.10838330194273575</c:v>
                </c:pt>
                <c:pt idx="4">
                  <c:v>0.10426558433343346</c:v>
                </c:pt>
                <c:pt idx="5">
                  <c:v>0.10271546321850407</c:v>
                </c:pt>
                <c:pt idx="6">
                  <c:v>0.10411292239428196</c:v>
                </c:pt>
                <c:pt idx="7">
                  <c:v>0.10408546649863545</c:v>
                </c:pt>
                <c:pt idx="8">
                  <c:v>0.10038196724218613</c:v>
                </c:pt>
                <c:pt idx="9">
                  <c:v>0.09771743981226033</c:v>
                </c:pt>
                <c:pt idx="10">
                  <c:v>0.09826467605079726</c:v>
                </c:pt>
                <c:pt idx="11">
                  <c:v>0.09970681744801005</c:v>
                </c:pt>
                <c:pt idx="12">
                  <c:v>0.09748873071048338</c:v>
                </c:pt>
                <c:pt idx="13">
                  <c:v>0.09392449232929131</c:v>
                </c:pt>
                <c:pt idx="14">
                  <c:v>0.09652599378678518</c:v>
                </c:pt>
                <c:pt idx="15">
                  <c:v>0.09568053428082078</c:v>
                </c:pt>
                <c:pt idx="16">
                  <c:v>0.09322229638892286</c:v>
                </c:pt>
                <c:pt idx="17">
                  <c:v>0.08734157319635177</c:v>
                </c:pt>
                <c:pt idx="18">
                  <c:v>0.09341585684697491</c:v>
                </c:pt>
                <c:pt idx="19">
                  <c:v>0.09390963313019514</c:v>
                </c:pt>
                <c:pt idx="20">
                  <c:v>0.09559913905990146</c:v>
                </c:pt>
                <c:pt idx="21">
                  <c:v>0.09477677092424615</c:v>
                </c:pt>
                <c:pt idx="22">
                  <c:v>0.09069960743086562</c:v>
                </c:pt>
                <c:pt idx="23">
                  <c:v>0.09082210315375061</c:v>
                </c:pt>
                <c:pt idx="24">
                  <c:v>0.08662993195389244</c:v>
                </c:pt>
                <c:pt idx="25">
                  <c:v>0.09109403379207605</c:v>
                </c:pt>
                <c:pt idx="26">
                  <c:v>0.09599761494742119</c:v>
                </c:pt>
                <c:pt idx="27">
                  <c:v>0.09609601117853483</c:v>
                </c:pt>
                <c:pt idx="28">
                  <c:v>0.09763842768445011</c:v>
                </c:pt>
                <c:pt idx="29">
                  <c:v>0.09382519088376359</c:v>
                </c:pt>
                <c:pt idx="30">
                  <c:v>0.09409808788046725</c:v>
                </c:pt>
                <c:pt idx="31">
                  <c:v>0.09422295160366878</c:v>
                </c:pt>
                <c:pt idx="32">
                  <c:v>0.09090235412477728</c:v>
                </c:pt>
                <c:pt idx="33">
                  <c:v>0.08947999520329306</c:v>
                </c:pt>
                <c:pt idx="34">
                  <c:v>0.09625143961519951</c:v>
                </c:pt>
                <c:pt idx="35">
                  <c:v>0.10380000611415552</c:v>
                </c:pt>
                <c:pt idx="36">
                  <c:v>0.10336690431589557</c:v>
                </c:pt>
                <c:pt idx="37">
                  <c:v>0.10457494938728672</c:v>
                </c:pt>
                <c:pt idx="38">
                  <c:v>0.10834224922490927</c:v>
                </c:pt>
                <c:pt idx="39">
                  <c:v>0.11383167571651118</c:v>
                </c:pt>
                <c:pt idx="40">
                  <c:v>0.11897758902920923</c:v>
                </c:pt>
                <c:pt idx="41">
                  <c:v>0.1170361063984592</c:v>
                </c:pt>
                <c:pt idx="42">
                  <c:v>0.11725096106031856</c:v>
                </c:pt>
                <c:pt idx="43">
                  <c:v>0.11662065660055622</c:v>
                </c:pt>
                <c:pt idx="44">
                  <c:v>0.10760803519067444</c:v>
                </c:pt>
                <c:pt idx="45">
                  <c:v>0.10598286114565555</c:v>
                </c:pt>
                <c:pt idx="46">
                  <c:v>0.1043992940679293</c:v>
                </c:pt>
                <c:pt idx="47">
                  <c:v>0.10101546900827454</c:v>
                </c:pt>
                <c:pt idx="48">
                  <c:v>0.10706806303636715</c:v>
                </c:pt>
                <c:pt idx="49">
                  <c:v>0.11534051880541309</c:v>
                </c:pt>
                <c:pt idx="50">
                  <c:v>0.10333481949699753</c:v>
                </c:pt>
                <c:pt idx="51">
                  <c:v>0.10332216141535644</c:v>
                </c:pt>
                <c:pt idx="52">
                  <c:v>0.107358517388855</c:v>
                </c:pt>
                <c:pt idx="53">
                  <c:v>0.1173696491217361</c:v>
                </c:pt>
                <c:pt idx="54">
                  <c:v>0.11515297865400943</c:v>
                </c:pt>
                <c:pt idx="55">
                  <c:v>0.11051272170247242</c:v>
                </c:pt>
                <c:pt idx="56">
                  <c:v>0.11201755036313832</c:v>
                </c:pt>
                <c:pt idx="57">
                  <c:v>0.10973265467418854</c:v>
                </c:pt>
                <c:pt idx="58">
                  <c:v>0.11019229554682439</c:v>
                </c:pt>
                <c:pt idx="59">
                  <c:v>0.11354233160321005</c:v>
                </c:pt>
                <c:pt idx="60">
                  <c:v>0.11359206918978244</c:v>
                </c:pt>
                <c:pt idx="61">
                  <c:v>0.11278666302720425</c:v>
                </c:pt>
                <c:pt idx="62">
                  <c:v>0.10291385507235311</c:v>
                </c:pt>
                <c:pt idx="63">
                  <c:v>0.10784331643849795</c:v>
                </c:pt>
                <c:pt idx="64">
                  <c:v>0.11131361663008228</c:v>
                </c:pt>
                <c:pt idx="65">
                  <c:v>0.10521969271864282</c:v>
                </c:pt>
                <c:pt idx="66">
                  <c:v>0.10580271704550659</c:v>
                </c:pt>
                <c:pt idx="67">
                  <c:v>0.10426517529684638</c:v>
                </c:pt>
                <c:pt idx="68">
                  <c:v>0.10213551973008819</c:v>
                </c:pt>
                <c:pt idx="69">
                  <c:v>0.09767507718479719</c:v>
                </c:pt>
                <c:pt idx="70">
                  <c:v>0.09564374944015426</c:v>
                </c:pt>
                <c:pt idx="71">
                  <c:v>0.09831721773252469</c:v>
                </c:pt>
                <c:pt idx="72">
                  <c:v>0.09975409933031143</c:v>
                </c:pt>
                <c:pt idx="73">
                  <c:v>0.10107093326924073</c:v>
                </c:pt>
                <c:pt idx="74">
                  <c:v>0.09808502063241491</c:v>
                </c:pt>
                <c:pt idx="75">
                  <c:v>0.09538295984335454</c:v>
                </c:pt>
                <c:pt idx="76">
                  <c:v>0.09656124215763731</c:v>
                </c:pt>
                <c:pt idx="77">
                  <c:v>0.09485650968663693</c:v>
                </c:pt>
                <c:pt idx="78">
                  <c:v>0.10010779356399965</c:v>
                </c:pt>
                <c:pt idx="79">
                  <c:v>0.07165623486467151</c:v>
                </c:pt>
                <c:pt idx="80">
                  <c:v>0.07191859633611433</c:v>
                </c:pt>
                <c:pt idx="81">
                  <c:v>0.0917437611756067</c:v>
                </c:pt>
                <c:pt idx="82">
                  <c:v>0.09183369561486454</c:v>
                </c:pt>
                <c:pt idx="83">
                  <c:v>0.08851199830640498</c:v>
                </c:pt>
                <c:pt idx="84">
                  <c:v>0.09000828987318651</c:v>
                </c:pt>
                <c:pt idx="85">
                  <c:v>0.09007923915114241</c:v>
                </c:pt>
                <c:pt idx="86">
                  <c:v>0.10249885137062749</c:v>
                </c:pt>
                <c:pt idx="87">
                  <c:v>0.10222747848663212</c:v>
                </c:pt>
                <c:pt idx="88">
                  <c:v>0.10177342340051974</c:v>
                </c:pt>
                <c:pt idx="89">
                  <c:v>0.09573402991362706</c:v>
                </c:pt>
                <c:pt idx="90">
                  <c:v>0.09949678350545482</c:v>
                </c:pt>
                <c:pt idx="91">
                  <c:v>0.10601632174927443</c:v>
                </c:pt>
                <c:pt idx="92">
                  <c:v>0.10463430950817745</c:v>
                </c:pt>
                <c:pt idx="93">
                  <c:v>0.1073013561981485</c:v>
                </c:pt>
                <c:pt idx="94">
                  <c:v>0.10351018382903947</c:v>
                </c:pt>
                <c:pt idx="95">
                  <c:v>0.10365970193847267</c:v>
                </c:pt>
                <c:pt idx="96">
                  <c:v>0.10433910567655726</c:v>
                </c:pt>
                <c:pt idx="97">
                  <c:v>0.10433933078060954</c:v>
                </c:pt>
                <c:pt idx="98">
                  <c:v>0.1053059421091678</c:v>
                </c:pt>
                <c:pt idx="99">
                  <c:v>0.10282658740505342</c:v>
                </c:pt>
                <c:pt idx="100">
                  <c:v>0.10627676126027635</c:v>
                </c:pt>
                <c:pt idx="101">
                  <c:v>0.10832366973555561</c:v>
                </c:pt>
                <c:pt idx="102">
                  <c:v>0.1086882263514886</c:v>
                </c:pt>
                <c:pt idx="103">
                  <c:v>0.09680840024535581</c:v>
                </c:pt>
                <c:pt idx="104">
                  <c:v>0.1025899489494161</c:v>
                </c:pt>
              </c:numCache>
            </c:numRef>
          </c:xVal>
          <c:yVal>
            <c:numRef>
              <c:f>Sheet1!$B$2:$B$106</c:f>
              <c:numCache>
                <c:formatCode>General</c:formatCode>
                <c:ptCount val="105"/>
                <c:pt idx="0">
                  <c:v>0.22760837033584377</c:v>
                </c:pt>
                <c:pt idx="1">
                  <c:v>0.2325046891924022</c:v>
                </c:pt>
                <c:pt idx="2">
                  <c:v>0.21503914608665006</c:v>
                </c:pt>
                <c:pt idx="3">
                  <c:v>0.21465353931534992</c:v>
                </c:pt>
                <c:pt idx="4">
                  <c:v>0.20793685458459427</c:v>
                </c:pt>
                <c:pt idx="5">
                  <c:v>0.19700700284590542</c:v>
                </c:pt>
                <c:pt idx="6">
                  <c:v>0.21223065621939274</c:v>
                </c:pt>
                <c:pt idx="7">
                  <c:v>0.2064143863499593</c:v>
                </c:pt>
                <c:pt idx="8">
                  <c:v>0.21617841896069484</c:v>
                </c:pt>
                <c:pt idx="9">
                  <c:v>0.2153190066059035</c:v>
                </c:pt>
                <c:pt idx="10">
                  <c:v>0.22748662238834064</c:v>
                </c:pt>
                <c:pt idx="11">
                  <c:v>0.2233351380617217</c:v>
                </c:pt>
                <c:pt idx="12">
                  <c:v>0.23061462494727178</c:v>
                </c:pt>
                <c:pt idx="13">
                  <c:v>0.23896447860407147</c:v>
                </c:pt>
                <c:pt idx="14">
                  <c:v>0.2310797703620206</c:v>
                </c:pt>
                <c:pt idx="15">
                  <c:v>0.22597676874340022</c:v>
                </c:pt>
                <c:pt idx="16">
                  <c:v>0.2103988603988604</c:v>
                </c:pt>
                <c:pt idx="17">
                  <c:v>0.2051552431165788</c:v>
                </c:pt>
                <c:pt idx="18">
                  <c:v>0.1855248858943708</c:v>
                </c:pt>
                <c:pt idx="19">
                  <c:v>0.17197875166002657</c:v>
                </c:pt>
                <c:pt idx="20">
                  <c:v>0.18437369082530372</c:v>
                </c:pt>
                <c:pt idx="21">
                  <c:v>0.1804080344936376</c:v>
                </c:pt>
                <c:pt idx="22">
                  <c:v>0.17943632567849688</c:v>
                </c:pt>
                <c:pt idx="23">
                  <c:v>0.179156462585034</c:v>
                </c:pt>
                <c:pt idx="24">
                  <c:v>0.18617021276595744</c:v>
                </c:pt>
                <c:pt idx="25">
                  <c:v>0.18273523102788566</c:v>
                </c:pt>
                <c:pt idx="26">
                  <c:v>0.18625585103646933</c:v>
                </c:pt>
                <c:pt idx="27">
                  <c:v>0.18023079259034316</c:v>
                </c:pt>
                <c:pt idx="28">
                  <c:v>0.17629820051413883</c:v>
                </c:pt>
                <c:pt idx="29">
                  <c:v>0.18736804276537442</c:v>
                </c:pt>
                <c:pt idx="30">
                  <c:v>0.17649434571890146</c:v>
                </c:pt>
                <c:pt idx="31">
                  <c:v>0.16942195231668916</c:v>
                </c:pt>
                <c:pt idx="32">
                  <c:v>0.1783959816746702</c:v>
                </c:pt>
                <c:pt idx="33">
                  <c:v>0.19256418079588544</c:v>
                </c:pt>
                <c:pt idx="34">
                  <c:v>0.1910329127599645</c:v>
                </c:pt>
                <c:pt idx="35">
                  <c:v>0.19439806453811292</c:v>
                </c:pt>
                <c:pt idx="36">
                  <c:v>0.1634170522141441</c:v>
                </c:pt>
                <c:pt idx="37">
                  <c:v>0.14788562611504893</c:v>
                </c:pt>
                <c:pt idx="38">
                  <c:v>0.1440997390547985</c:v>
                </c:pt>
                <c:pt idx="39">
                  <c:v>0.14272555140473875</c:v>
                </c:pt>
                <c:pt idx="40">
                  <c:v>0.14606043022340118</c:v>
                </c:pt>
                <c:pt idx="41">
                  <c:v>0.1362635345935034</c:v>
                </c:pt>
                <c:pt idx="42">
                  <c:v>0.14438356164383562</c:v>
                </c:pt>
                <c:pt idx="43">
                  <c:v>0.15096437880104258</c:v>
                </c:pt>
                <c:pt idx="44">
                  <c:v>0.16644399128050066</c:v>
                </c:pt>
                <c:pt idx="45">
                  <c:v>0.18401017919626764</c:v>
                </c:pt>
                <c:pt idx="46">
                  <c:v>0.191180093619118</c:v>
                </c:pt>
                <c:pt idx="47">
                  <c:v>0.19401514039465684</c:v>
                </c:pt>
                <c:pt idx="48">
                  <c:v>0.20776936606255259</c:v>
                </c:pt>
                <c:pt idx="49">
                  <c:v>0.24055718692688513</c:v>
                </c:pt>
                <c:pt idx="50">
                  <c:v>0.20537331455021132</c:v>
                </c:pt>
                <c:pt idx="51">
                  <c:v>0.18708201775103797</c:v>
                </c:pt>
                <c:pt idx="52">
                  <c:v>0.20016477944904512</c:v>
                </c:pt>
                <c:pt idx="53">
                  <c:v>0.19037838691839798</c:v>
                </c:pt>
                <c:pt idx="54">
                  <c:v>0.18361277154104097</c:v>
                </c:pt>
                <c:pt idx="55">
                  <c:v>0.180431336184978</c:v>
                </c:pt>
                <c:pt idx="56">
                  <c:v>0.1921937356391341</c:v>
                </c:pt>
                <c:pt idx="57">
                  <c:v>0.1869673664518811</c:v>
                </c:pt>
                <c:pt idx="58">
                  <c:v>0.20230027679679297</c:v>
                </c:pt>
                <c:pt idx="59">
                  <c:v>0.20680500793289244</c:v>
                </c:pt>
                <c:pt idx="60">
                  <c:v>0.21535680468279245</c:v>
                </c:pt>
                <c:pt idx="61">
                  <c:v>0.21254020047418953</c:v>
                </c:pt>
                <c:pt idx="62">
                  <c:v>0.21977724058468698</c:v>
                </c:pt>
                <c:pt idx="63">
                  <c:v>0.23405083253118153</c:v>
                </c:pt>
                <c:pt idx="64">
                  <c:v>0.22663326653306612</c:v>
                </c:pt>
                <c:pt idx="65">
                  <c:v>0.21906008068912877</c:v>
                </c:pt>
                <c:pt idx="66">
                  <c:v>0.21964273616223662</c:v>
                </c:pt>
                <c:pt idx="67">
                  <c:v>0.2167344705350558</c:v>
                </c:pt>
                <c:pt idx="68">
                  <c:v>0.19713190401817407</c:v>
                </c:pt>
                <c:pt idx="69">
                  <c:v>0.18215920174056568</c:v>
                </c:pt>
                <c:pt idx="70">
                  <c:v>0.17000035910511008</c:v>
                </c:pt>
                <c:pt idx="71">
                  <c:v>0.17906644531099186</c:v>
                </c:pt>
                <c:pt idx="72">
                  <c:v>0.18262489044697633</c:v>
                </c:pt>
                <c:pt idx="73">
                  <c:v>0.18369408930167488</c:v>
                </c:pt>
                <c:pt idx="74">
                  <c:v>0.17798172038966412</c:v>
                </c:pt>
                <c:pt idx="75">
                  <c:v>0.17587279337684525</c:v>
                </c:pt>
                <c:pt idx="76">
                  <c:v>0.17318383555244102</c:v>
                </c:pt>
                <c:pt idx="77">
                  <c:v>0.16938785339305495</c:v>
                </c:pt>
                <c:pt idx="78">
                  <c:v>0.16006449879064769</c:v>
                </c:pt>
                <c:pt idx="79">
                  <c:v>0.20537501191270371</c:v>
                </c:pt>
                <c:pt idx="80">
                  <c:v>0.1914609739826551</c:v>
                </c:pt>
                <c:pt idx="81">
                  <c:v>0.16176890156918688</c:v>
                </c:pt>
                <c:pt idx="82">
                  <c:v>0.1631413612565445</c:v>
                </c:pt>
                <c:pt idx="83">
                  <c:v>0.1470696419813634</c:v>
                </c:pt>
                <c:pt idx="84">
                  <c:v>0.14775611265861963</c:v>
                </c:pt>
                <c:pt idx="85">
                  <c:v>0.14966431963320778</c:v>
                </c:pt>
                <c:pt idx="86">
                  <c:v>0.1466328451026921</c:v>
                </c:pt>
                <c:pt idx="87">
                  <c:v>0.1682031189982331</c:v>
                </c:pt>
                <c:pt idx="88">
                  <c:v>0.15206499002772778</c:v>
                </c:pt>
                <c:pt idx="89">
                  <c:v>0.14356117420184272</c:v>
                </c:pt>
                <c:pt idx="90">
                  <c:v>0.13762376237623763</c:v>
                </c:pt>
                <c:pt idx="91">
                  <c:v>0.14078597981943708</c:v>
                </c:pt>
                <c:pt idx="92">
                  <c:v>0.14561866643958102</c:v>
                </c:pt>
                <c:pt idx="93">
                  <c:v>0.1377233240452385</c:v>
                </c:pt>
                <c:pt idx="94">
                  <c:v>0.13904559326736335</c:v>
                </c:pt>
                <c:pt idx="95">
                  <c:v>0.14864864864864866</c:v>
                </c:pt>
                <c:pt idx="96">
                  <c:v>0.145429833503228</c:v>
                </c:pt>
                <c:pt idx="97">
                  <c:v>0.15325840794124496</c:v>
                </c:pt>
                <c:pt idx="98">
                  <c:v>0.1700043933513949</c:v>
                </c:pt>
                <c:pt idx="99">
                  <c:v>0.17778411250475104</c:v>
                </c:pt>
                <c:pt idx="100">
                  <c:v>0.20069152307958277</c:v>
                </c:pt>
                <c:pt idx="101">
                  <c:v>0.18210413864050012</c:v>
                </c:pt>
                <c:pt idx="102">
                  <c:v>0.1514782002787179</c:v>
                </c:pt>
                <c:pt idx="103">
                  <c:v>0.17233793587643342</c:v>
                </c:pt>
                <c:pt idx="104">
                  <c:v>0.176800976800976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234388443952185</c:v>
                </c:pt>
                <c:pt idx="1">
                  <c:v>0.11598705255036632</c:v>
                </c:pt>
                <c:pt idx="2">
                  <c:v>0.11247128818362784</c:v>
                </c:pt>
                <c:pt idx="3">
                  <c:v>0.11288683198521202</c:v>
                </c:pt>
                <c:pt idx="4">
                  <c:v>0.11160492508668905</c:v>
                </c:pt>
                <c:pt idx="5">
                  <c:v>0.1069979476502074</c:v>
                </c:pt>
                <c:pt idx="6">
                  <c:v>0.10146433986370845</c:v>
                </c:pt>
                <c:pt idx="7">
                  <c:v>0.10379666347313407</c:v>
                </c:pt>
                <c:pt idx="8">
                  <c:v>0.11644412921034406</c:v>
                </c:pt>
                <c:pt idx="9">
                  <c:v>0.1118883048068208</c:v>
                </c:pt>
                <c:pt idx="10">
                  <c:v>0.11311022313616387</c:v>
                </c:pt>
                <c:pt idx="11">
                  <c:v>0.1063237755955565</c:v>
                </c:pt>
                <c:pt idx="12">
                  <c:v>0.10674257327140117</c:v>
                </c:pt>
                <c:pt idx="13">
                  <c:v>0.10720789697304105</c:v>
                </c:pt>
                <c:pt idx="14">
                  <c:v>0.1086031593125685</c:v>
                </c:pt>
                <c:pt idx="15">
                  <c:v>0.10667096559139737</c:v>
                </c:pt>
                <c:pt idx="16">
                  <c:v>0.1086263685109745</c:v>
                </c:pt>
                <c:pt idx="17">
                  <c:v>0.10385527763269056</c:v>
                </c:pt>
                <c:pt idx="18">
                  <c:v>0.10026787235606256</c:v>
                </c:pt>
                <c:pt idx="19">
                  <c:v>0.10770085953298898</c:v>
                </c:pt>
                <c:pt idx="20">
                  <c:v>0.10252135194560945</c:v>
                </c:pt>
                <c:pt idx="21">
                  <c:v>0.1053290185978397</c:v>
                </c:pt>
                <c:pt idx="22">
                  <c:v>0.10466709466760747</c:v>
                </c:pt>
                <c:pt idx="23">
                  <c:v>0.10303143340643937</c:v>
                </c:pt>
                <c:pt idx="24">
                  <c:v>0.10200701217626051</c:v>
                </c:pt>
                <c:pt idx="25">
                  <c:v>0.0969321966817728</c:v>
                </c:pt>
                <c:pt idx="26">
                  <c:v>0.10162149120769112</c:v>
                </c:pt>
                <c:pt idx="27">
                  <c:v>0.10417813571135935</c:v>
                </c:pt>
                <c:pt idx="28">
                  <c:v>0.11002493728577578</c:v>
                </c:pt>
                <c:pt idx="29">
                  <c:v>0.1106143505991756</c:v>
                </c:pt>
                <c:pt idx="30">
                  <c:v>0.10920996654963895</c:v>
                </c:pt>
                <c:pt idx="31">
                  <c:v>0.0995924411533278</c:v>
                </c:pt>
                <c:pt idx="32">
                  <c:v>0.10464393287658269</c:v>
                </c:pt>
                <c:pt idx="33">
                  <c:v>0.11176444547399644</c:v>
                </c:pt>
                <c:pt idx="34">
                  <c:v>0.11443978842338111</c:v>
                </c:pt>
                <c:pt idx="35">
                  <c:v>0.11085944630105973</c:v>
                </c:pt>
                <c:pt idx="36">
                  <c:v>0.10939964560768854</c:v>
                </c:pt>
                <c:pt idx="37">
                  <c:v>0.11412846366720643</c:v>
                </c:pt>
                <c:pt idx="38">
                  <c:v>0.11105373024287661</c:v>
                </c:pt>
                <c:pt idx="39">
                  <c:v>0.11338086991494725</c:v>
                </c:pt>
                <c:pt idx="40">
                  <c:v>0.1142719711527948</c:v>
                </c:pt>
                <c:pt idx="41">
                  <c:v>0.11985315819783338</c:v>
                </c:pt>
                <c:pt idx="42">
                  <c:v>0.11837179448355732</c:v>
                </c:pt>
                <c:pt idx="43">
                  <c:v>0.120031565476288</c:v>
                </c:pt>
                <c:pt idx="44">
                  <c:v>0.1177089416833462</c:v>
                </c:pt>
                <c:pt idx="45">
                  <c:v>0.11754016097412692</c:v>
                </c:pt>
                <c:pt idx="46">
                  <c:v>0.11424221536015948</c:v>
                </c:pt>
                <c:pt idx="47">
                  <c:v>0.11002197116639735</c:v>
                </c:pt>
                <c:pt idx="48">
                  <c:v>0.10944923812552643</c:v>
                </c:pt>
                <c:pt idx="49">
                  <c:v>0.1155373586339212</c:v>
                </c:pt>
                <c:pt idx="50">
                  <c:v>0.11072318956345684</c:v>
                </c:pt>
                <c:pt idx="51">
                  <c:v>0.10204902971685365</c:v>
                </c:pt>
              </c:numCache>
            </c:numRef>
          </c:xVal>
          <c:yVal>
            <c:numRef>
              <c:f>Sheet1!$B$109:$B$160</c:f>
              <c:numCache>
                <c:formatCode>General</c:formatCode>
                <c:ptCount val="52"/>
                <c:pt idx="0">
                  <c:v>0.1756422924901186</c:v>
                </c:pt>
                <c:pt idx="1">
                  <c:v>0.17338159689434476</c:v>
                </c:pt>
                <c:pt idx="2">
                  <c:v>0.18069202200178647</c:v>
                </c:pt>
                <c:pt idx="3">
                  <c:v>0.1907962771458118</c:v>
                </c:pt>
                <c:pt idx="4">
                  <c:v>0.1789468549547572</c:v>
                </c:pt>
                <c:pt idx="5">
                  <c:v>0.17145237161897295</c:v>
                </c:pt>
                <c:pt idx="6">
                  <c:v>0.17660455486542442</c:v>
                </c:pt>
                <c:pt idx="7">
                  <c:v>0.1757968597589755</c:v>
                </c:pt>
                <c:pt idx="8">
                  <c:v>0.1740185341196293</c:v>
                </c:pt>
                <c:pt idx="9">
                  <c:v>0.18755431409062695</c:v>
                </c:pt>
                <c:pt idx="10">
                  <c:v>0.1889908801948727</c:v>
                </c:pt>
                <c:pt idx="11">
                  <c:v>0.19810960687905524</c:v>
                </c:pt>
                <c:pt idx="12">
                  <c:v>0.19908599707115082</c:v>
                </c:pt>
                <c:pt idx="13">
                  <c:v>0.1935764346313959</c:v>
                </c:pt>
                <c:pt idx="14">
                  <c:v>0.19270878721859114</c:v>
                </c:pt>
                <c:pt idx="15">
                  <c:v>0.18215705765407555</c:v>
                </c:pt>
                <c:pt idx="16">
                  <c:v>0.16933333333333334</c:v>
                </c:pt>
                <c:pt idx="17">
                  <c:v>0.15995926526609588</c:v>
                </c:pt>
                <c:pt idx="18">
                  <c:v>0.15850539009683903</c:v>
                </c:pt>
                <c:pt idx="19">
                  <c:v>0.16571620261657163</c:v>
                </c:pt>
                <c:pt idx="20">
                  <c:v>0.16150946908008004</c:v>
                </c:pt>
                <c:pt idx="21">
                  <c:v>0.15918625366358255</c:v>
                </c:pt>
                <c:pt idx="22">
                  <c:v>0.1599478369337189</c:v>
                </c:pt>
                <c:pt idx="23">
                  <c:v>0.16913998597803226</c:v>
                </c:pt>
                <c:pt idx="24">
                  <c:v>0.16763256242214158</c:v>
                </c:pt>
                <c:pt idx="25">
                  <c:v>0.1772223800056802</c:v>
                </c:pt>
                <c:pt idx="26">
                  <c:v>0.15735930735930737</c:v>
                </c:pt>
                <c:pt idx="27">
                  <c:v>0.14624699710741776</c:v>
                </c:pt>
                <c:pt idx="28">
                  <c:v>0.1447596217871887</c:v>
                </c:pt>
                <c:pt idx="29">
                  <c:v>0.14361219368960546</c:v>
                </c:pt>
                <c:pt idx="30">
                  <c:v>0.1505394283172061</c:v>
                </c:pt>
                <c:pt idx="31">
                  <c:v>0.1473225102980373</c:v>
                </c:pt>
                <c:pt idx="32">
                  <c:v>0.14749231258615206</c:v>
                </c:pt>
                <c:pt idx="33">
                  <c:v>0.17016471838469713</c:v>
                </c:pt>
                <c:pt idx="34">
                  <c:v>0.18908991039857187</c:v>
                </c:pt>
                <c:pt idx="35">
                  <c:v>0.1857666790291342</c:v>
                </c:pt>
                <c:pt idx="36">
                  <c:v>0.15440077947385514</c:v>
                </c:pt>
                <c:pt idx="37">
                  <c:v>0.14483357452966714</c:v>
                </c:pt>
                <c:pt idx="38">
                  <c:v>0.1463097713097713</c:v>
                </c:pt>
                <c:pt idx="39">
                  <c:v>0.16379760041731872</c:v>
                </c:pt>
                <c:pt idx="40">
                  <c:v>0.14710644400240552</c:v>
                </c:pt>
                <c:pt idx="41">
                  <c:v>0.1488095238095238</c:v>
                </c:pt>
                <c:pt idx="42">
                  <c:v>0.14745059770675775</c:v>
                </c:pt>
                <c:pt idx="43">
                  <c:v>0.14470626095040584</c:v>
                </c:pt>
                <c:pt idx="44">
                  <c:v>0.14358073488508272</c:v>
                </c:pt>
                <c:pt idx="45">
                  <c:v>0.16175077648302752</c:v>
                </c:pt>
                <c:pt idx="46">
                  <c:v>0.1573514269873538</c:v>
                </c:pt>
                <c:pt idx="47">
                  <c:v>0.15974718056760442</c:v>
                </c:pt>
                <c:pt idx="48">
                  <c:v>0.15152081775118426</c:v>
                </c:pt>
                <c:pt idx="49">
                  <c:v>0.16450183947743824</c:v>
                </c:pt>
                <c:pt idx="50">
                  <c:v>0.2032294470006077</c:v>
                </c:pt>
                <c:pt idx="51">
                  <c:v>0.1885073279752439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06103627023027982</c:v>
                </c:pt>
              </c:numCache>
            </c:numRef>
          </c:xVal>
          <c:yVal>
            <c:numRef>
              <c:f>Sheet1!$B$163:$B$164</c:f>
              <c:numCache>
                <c:formatCode>General</c:formatCode>
                <c:ptCount val="2"/>
                <c:pt idx="0">
                  <c:v>0.21439700709897694</c:v>
                </c:pt>
                <c:pt idx="1">
                  <c:v>0.2143970070989769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06103627023027982</c:v>
                </c:pt>
                <c:pt idx="1">
                  <c:v>-0.006103627023027982</c:v>
                </c:pt>
              </c:numCache>
            </c:numRef>
          </c:xVal>
          <c:yVal>
            <c:numRef>
              <c:f>Sheet1!$B$167:$B$168</c:f>
              <c:numCache>
                <c:formatCode>General</c:formatCode>
                <c:ptCount val="2"/>
                <c:pt idx="0">
                  <c:v>0.2143970070989769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256760692221596</c:v>
                </c:pt>
              </c:numCache>
            </c:numRef>
          </c:xVal>
          <c:yVal>
            <c:numRef>
              <c:f>Sheet1!$B$171:$B$172</c:f>
              <c:numCache>
                <c:formatCode>General</c:formatCode>
                <c:ptCount val="2"/>
                <c:pt idx="0">
                  <c:v>0.17818407629202085</c:v>
                </c:pt>
                <c:pt idx="1">
                  <c:v>0.1781840762920208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256760692221596</c:v>
                </c:pt>
                <c:pt idx="1">
                  <c:v>0.08256760692221596</c:v>
                </c:pt>
              </c:numCache>
            </c:numRef>
          </c:xVal>
          <c:yVal>
            <c:numRef>
              <c:f>Sheet1!$B$175:$B$176</c:f>
              <c:numCache>
                <c:formatCode>General</c:formatCode>
                <c:ptCount val="2"/>
                <c:pt idx="0">
                  <c:v>0.1781840762920208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267052565729452</c:v>
                </c:pt>
              </c:numCache>
            </c:numRef>
          </c:xVal>
          <c:yVal>
            <c:numRef>
              <c:f>Sheet1!$B$179:$B$180</c:f>
              <c:numCache>
                <c:formatCode>General</c:formatCode>
                <c:ptCount val="2"/>
                <c:pt idx="0">
                  <c:v>0.16015845984722726</c:v>
                </c:pt>
                <c:pt idx="1">
                  <c:v>0.1601584598472272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267052565729452</c:v>
                </c:pt>
                <c:pt idx="1">
                  <c:v>0.1267052565729452</c:v>
                </c:pt>
              </c:numCache>
            </c:numRef>
          </c:xVal>
          <c:yVal>
            <c:numRef>
              <c:f>Sheet1!$B$183:$B$184</c:f>
              <c:numCache>
                <c:formatCode>General</c:formatCode>
                <c:ptCount val="2"/>
                <c:pt idx="0">
                  <c:v>0.1601584598472272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234388443952185</c:v>
                </c:pt>
                <c:pt idx="1">
                  <c:v>0.11598705255036632</c:v>
                </c:pt>
                <c:pt idx="2">
                  <c:v>0.11247128818362784</c:v>
                </c:pt>
                <c:pt idx="3">
                  <c:v>0.11288683198521202</c:v>
                </c:pt>
                <c:pt idx="4">
                  <c:v>0.11160492508668905</c:v>
                </c:pt>
                <c:pt idx="5">
                  <c:v>0.1069979476502074</c:v>
                </c:pt>
                <c:pt idx="6">
                  <c:v>0.10146433986370845</c:v>
                </c:pt>
                <c:pt idx="7">
                  <c:v>0.10379666347313407</c:v>
                </c:pt>
                <c:pt idx="8">
                  <c:v>0.11644412921034406</c:v>
                </c:pt>
                <c:pt idx="9">
                  <c:v>0.1118883048068208</c:v>
                </c:pt>
                <c:pt idx="10">
                  <c:v>0.11311022313616387</c:v>
                </c:pt>
                <c:pt idx="11">
                  <c:v>0.1063237755955565</c:v>
                </c:pt>
                <c:pt idx="12">
                  <c:v>0.10674257327140117</c:v>
                </c:pt>
                <c:pt idx="13">
                  <c:v>0.10720789697304105</c:v>
                </c:pt>
                <c:pt idx="14">
                  <c:v>0.1086031593125685</c:v>
                </c:pt>
                <c:pt idx="15">
                  <c:v>0.10667096559139737</c:v>
                </c:pt>
                <c:pt idx="16">
                  <c:v>0.1086263685109745</c:v>
                </c:pt>
                <c:pt idx="17">
                  <c:v>0.10385527763269056</c:v>
                </c:pt>
                <c:pt idx="18">
                  <c:v>0.10026787235606256</c:v>
                </c:pt>
                <c:pt idx="19">
                  <c:v>0.10770085953298898</c:v>
                </c:pt>
                <c:pt idx="20">
                  <c:v>0.10252135194560945</c:v>
                </c:pt>
                <c:pt idx="21">
                  <c:v>0.1053290185978397</c:v>
                </c:pt>
                <c:pt idx="22">
                  <c:v>0.10466709466760747</c:v>
                </c:pt>
                <c:pt idx="23">
                  <c:v>0.10303143340643937</c:v>
                </c:pt>
                <c:pt idx="24">
                  <c:v>0.10200701217626051</c:v>
                </c:pt>
                <c:pt idx="25">
                  <c:v>0.0969321966817728</c:v>
                </c:pt>
                <c:pt idx="26">
                  <c:v>0.10162149120769112</c:v>
                </c:pt>
                <c:pt idx="27">
                  <c:v>0.10417813571135935</c:v>
                </c:pt>
                <c:pt idx="28">
                  <c:v>0.11002493728577578</c:v>
                </c:pt>
                <c:pt idx="29">
                  <c:v>0.1106143505991756</c:v>
                </c:pt>
                <c:pt idx="30">
                  <c:v>0.10920996654963895</c:v>
                </c:pt>
                <c:pt idx="31">
                  <c:v>0.0995924411533278</c:v>
                </c:pt>
                <c:pt idx="32">
                  <c:v>0.10464393287658269</c:v>
                </c:pt>
                <c:pt idx="33">
                  <c:v>0.11176444547399644</c:v>
                </c:pt>
                <c:pt idx="34">
                  <c:v>0.11443978842338111</c:v>
                </c:pt>
                <c:pt idx="35">
                  <c:v>0.11085944630105973</c:v>
                </c:pt>
                <c:pt idx="36">
                  <c:v>0.10939964560768854</c:v>
                </c:pt>
                <c:pt idx="37">
                  <c:v>0.11412846366720643</c:v>
                </c:pt>
                <c:pt idx="38">
                  <c:v>0.11105373024287661</c:v>
                </c:pt>
                <c:pt idx="39">
                  <c:v>0.11338086991494725</c:v>
                </c:pt>
                <c:pt idx="40">
                  <c:v>0.1142719711527948</c:v>
                </c:pt>
                <c:pt idx="41">
                  <c:v>0.11985315819783338</c:v>
                </c:pt>
                <c:pt idx="42">
                  <c:v>0.11837179448355732</c:v>
                </c:pt>
                <c:pt idx="43">
                  <c:v>0.120031565476288</c:v>
                </c:pt>
                <c:pt idx="44">
                  <c:v>0.1177089416833462</c:v>
                </c:pt>
                <c:pt idx="45">
                  <c:v>0.11754016097412692</c:v>
                </c:pt>
                <c:pt idx="46">
                  <c:v>0.11424221536015948</c:v>
                </c:pt>
                <c:pt idx="47">
                  <c:v>0.11002197116639735</c:v>
                </c:pt>
                <c:pt idx="48">
                  <c:v>0.10944923812552643</c:v>
                </c:pt>
                <c:pt idx="49">
                  <c:v>0.1155373586339212</c:v>
                </c:pt>
                <c:pt idx="50">
                  <c:v>0.11072318956345684</c:v>
                </c:pt>
                <c:pt idx="51">
                  <c:v>0.10204902971685365</c:v>
                </c:pt>
                <c:pt idx="52">
                  <c:v>0.08256760692221596</c:v>
                </c:pt>
                <c:pt idx="53">
                  <c:v>-0.006103627023027982</c:v>
                </c:pt>
                <c:pt idx="54">
                  <c:v>0.1267052565729452</c:v>
                </c:pt>
              </c:numCache>
            </c:numRef>
          </c:xVal>
          <c:yVal>
            <c:numRef>
              <c:f>Sheet1!$B$187:$B$241</c:f>
              <c:numCache>
                <c:formatCode>General</c:formatCode>
                <c:ptCount val="55"/>
                <c:pt idx="0">
                  <c:v>0.16602357925767505</c:v>
                </c:pt>
                <c:pt idx="1">
                  <c:v>0.16453572588239002</c:v>
                </c:pt>
                <c:pt idx="2">
                  <c:v>0.16597154814493892</c:v>
                </c:pt>
                <c:pt idx="3">
                  <c:v>0.1658018419362341</c:v>
                </c:pt>
                <c:pt idx="4">
                  <c:v>0.16632536691442304</c:v>
                </c:pt>
                <c:pt idx="5">
                  <c:v>0.16820683565815947</c:v>
                </c:pt>
                <c:pt idx="6">
                  <c:v>0.17046673604489665</c:v>
                </c:pt>
                <c:pt idx="7">
                  <c:v>0.1695142256339136</c:v>
                </c:pt>
                <c:pt idx="8">
                  <c:v>0.1643490578422061</c:v>
                </c:pt>
                <c:pt idx="9">
                  <c:v>0.16620963591869153</c:v>
                </c:pt>
                <c:pt idx="10">
                  <c:v>0.16571061000077572</c:v>
                </c:pt>
                <c:pt idx="11">
                  <c:v>0.16848216447541867</c:v>
                </c:pt>
                <c:pt idx="12">
                  <c:v>0.1683111293991859</c:v>
                </c:pt>
                <c:pt idx="13">
                  <c:v>0.16812109330449565</c:v>
                </c:pt>
                <c:pt idx="14">
                  <c:v>0.16755127447700463</c:v>
                </c:pt>
                <c:pt idx="15">
                  <c:v>0.1683403736517563</c:v>
                </c:pt>
                <c:pt idx="16">
                  <c:v>0.1675417959453708</c:v>
                </c:pt>
                <c:pt idx="17">
                  <c:v>0.16949028787631298</c:v>
                </c:pt>
                <c:pt idx="18">
                  <c:v>0.1709553679623673</c:v>
                </c:pt>
                <c:pt idx="19">
                  <c:v>0.16791976962510669</c:v>
                </c:pt>
                <c:pt idx="20">
                  <c:v>0.17003505709242336</c:v>
                </c:pt>
                <c:pt idx="21">
                  <c:v>0.16888841873314445</c:v>
                </c:pt>
                <c:pt idx="22">
                  <c:v>0.16915874547179985</c:v>
                </c:pt>
                <c:pt idx="23">
                  <c:v>0.16982674213135773</c:v>
                </c:pt>
                <c:pt idx="24">
                  <c:v>0.17024511112742416</c:v>
                </c:pt>
                <c:pt idx="25">
                  <c:v>0.17231764281761625</c:v>
                </c:pt>
                <c:pt idx="26">
                  <c:v>0.17040255614694488</c:v>
                </c:pt>
                <c:pt idx="27">
                  <c:v>0.16935843409754953</c:v>
                </c:pt>
                <c:pt idx="28">
                  <c:v>0.1669706267846718</c:v>
                </c:pt>
                <c:pt idx="29">
                  <c:v>0.16672991305390286</c:v>
                </c:pt>
                <c:pt idx="30">
                  <c:v>0.16730345714649628</c:v>
                </c:pt>
                <c:pt idx="31">
                  <c:v>0.1712312110100077</c:v>
                </c:pt>
                <c:pt idx="32">
                  <c:v>0.16916820464247365</c:v>
                </c:pt>
                <c:pt idx="33">
                  <c:v>0.16626021950989467</c:v>
                </c:pt>
                <c:pt idx="34">
                  <c:v>0.1651676215522439</c:v>
                </c:pt>
                <c:pt idx="35">
                  <c:v>0.16662981707803212</c:v>
                </c:pt>
                <c:pt idx="36">
                  <c:v>0.1672259930772704</c:v>
                </c:pt>
                <c:pt idx="37">
                  <c:v>0.16529476517427594</c:v>
                </c:pt>
                <c:pt idx="38">
                  <c:v>0.16655047239510753</c:v>
                </c:pt>
                <c:pt idx="39">
                  <c:v>0.16560007908068883</c:v>
                </c:pt>
                <c:pt idx="40">
                  <c:v>0.16523615736636946</c:v>
                </c:pt>
                <c:pt idx="41">
                  <c:v>0.16295682582568663</c:v>
                </c:pt>
                <c:pt idx="42">
                  <c:v>0.16356180806511436</c:v>
                </c:pt>
                <c:pt idx="43">
                  <c:v>0.16288396510025538</c:v>
                </c:pt>
                <c:pt idx="44">
                  <c:v>0.16383251415006705</c:v>
                </c:pt>
                <c:pt idx="45">
                  <c:v>0.16390144342817187</c:v>
                </c:pt>
                <c:pt idx="46">
                  <c:v>0.16524830949747069</c:v>
                </c:pt>
                <c:pt idx="47">
                  <c:v>0.16697183813440766</c:v>
                </c:pt>
                <c:pt idx="48">
                  <c:v>0.16720573971733504</c:v>
                </c:pt>
                <c:pt idx="49">
                  <c:v>0.16471937884351373</c:v>
                </c:pt>
                <c:pt idx="50">
                  <c:v>0.16668546371326268</c:v>
                </c:pt>
                <c:pt idx="51">
                  <c:v>0.17022795135392743</c:v>
                </c:pt>
                <c:pt idx="52">
                  <c:v>0.17818407629202085</c:v>
                </c:pt>
                <c:pt idx="53">
                  <c:v>0.21439700709897694</c:v>
                </c:pt>
                <c:pt idx="54">
                  <c:v>0.1601584598472272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866862431226215"/>
          <c:min val="0.1090108276748027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7.9855</c:v>
                </c:pt>
                <c:pt idx="1">
                  <c:v>855.3404</c:v>
                </c:pt>
                <c:pt idx="2">
                  <c:v>889.698</c:v>
                </c:pt>
                <c:pt idx="3">
                  <c:v>904.0655</c:v>
                </c:pt>
                <c:pt idx="4">
                  <c:v>903.4781</c:v>
                </c:pt>
                <c:pt idx="5">
                  <c:v>880.8881</c:v>
                </c:pt>
                <c:pt idx="6">
                  <c:v>840.9628</c:v>
                </c:pt>
                <c:pt idx="7">
                  <c:v>845.2156</c:v>
                </c:pt>
                <c:pt idx="8">
                  <c:v>839.7329</c:v>
                </c:pt>
                <c:pt idx="9">
                  <c:v>830.6584</c:v>
                </c:pt>
                <c:pt idx="10">
                  <c:v>791.1353</c:v>
                </c:pt>
                <c:pt idx="11">
                  <c:v>803.743</c:v>
                </c:pt>
                <c:pt idx="12">
                  <c:v>823.1874</c:v>
                </c:pt>
                <c:pt idx="13">
                  <c:v>804.9157</c:v>
                </c:pt>
                <c:pt idx="14">
                  <c:v>887.3465</c:v>
                </c:pt>
                <c:pt idx="15">
                  <c:v>898.6747</c:v>
                </c:pt>
                <c:pt idx="16">
                  <c:v>922.2058</c:v>
                </c:pt>
                <c:pt idx="17">
                  <c:v>929.2605</c:v>
                </c:pt>
                <c:pt idx="18">
                  <c:v>953.0339</c:v>
                </c:pt>
                <c:pt idx="19">
                  <c:v>943.1984</c:v>
                </c:pt>
                <c:pt idx="20">
                  <c:v>982.3711</c:v>
                </c:pt>
                <c:pt idx="21">
                  <c:v>1000.3374</c:v>
                </c:pt>
                <c:pt idx="22">
                  <c:v>971.1642</c:v>
                </c:pt>
                <c:pt idx="23">
                  <c:v>977.802</c:v>
                </c:pt>
                <c:pt idx="24">
                  <c:v>1001.0362</c:v>
                </c:pt>
                <c:pt idx="25">
                  <c:v>976.5825</c:v>
                </c:pt>
                <c:pt idx="26">
                  <c:v>948.2154</c:v>
                </c:pt>
                <c:pt idx="27">
                  <c:v>992.5855</c:v>
                </c:pt>
                <c:pt idx="28">
                  <c:v>986.0331</c:v>
                </c:pt>
                <c:pt idx="29">
                  <c:v>967.2592</c:v>
                </c:pt>
                <c:pt idx="30">
                  <c:v>962.5954</c:v>
                </c:pt>
                <c:pt idx="31">
                  <c:v>977.165</c:v>
                </c:pt>
                <c:pt idx="32">
                  <c:v>958.183</c:v>
                </c:pt>
                <c:pt idx="33">
                  <c:v>946.4541</c:v>
                </c:pt>
                <c:pt idx="34">
                  <c:v>937.1511</c:v>
                </c:pt>
                <c:pt idx="35">
                  <c:v>988.3068</c:v>
                </c:pt>
                <c:pt idx="36">
                  <c:v>1057.0521</c:v>
                </c:pt>
                <c:pt idx="37">
                  <c:v>1092.4684</c:v>
                </c:pt>
                <c:pt idx="38">
                  <c:v>1111.1322</c:v>
                </c:pt>
                <c:pt idx="39">
                  <c:v>1130.0316</c:v>
                </c:pt>
                <c:pt idx="40">
                  <c:v>1141.7033</c:v>
                </c:pt>
                <c:pt idx="41">
                  <c:v>1158.0798</c:v>
                </c:pt>
                <c:pt idx="42">
                  <c:v>1173.6021</c:v>
                </c:pt>
                <c:pt idx="43">
                  <c:v>1180.886</c:v>
                </c:pt>
                <c:pt idx="44">
                  <c:v>1117.3461</c:v>
                </c:pt>
                <c:pt idx="45">
                  <c:v>1086.4217</c:v>
                </c:pt>
                <c:pt idx="46">
                  <c:v>1075.2143</c:v>
                </c:pt>
                <c:pt idx="47">
                  <c:v>1051.184</c:v>
                </c:pt>
                <c:pt idx="48">
                  <c:v>1051.2865</c:v>
                </c:pt>
                <c:pt idx="49">
                  <c:v>1009.0117</c:v>
                </c:pt>
                <c:pt idx="50">
                  <c:v>1002.1689</c:v>
                </c:pt>
                <c:pt idx="51">
                  <c:v>1015.7357</c:v>
                </c:pt>
                <c:pt idx="52">
                  <c:v>1023.5108</c:v>
                </c:pt>
                <c:pt idx="53">
                  <c:v>1125.8876</c:v>
                </c:pt>
                <c:pt idx="54">
                  <c:v>1109.0469</c:v>
                </c:pt>
                <c:pt idx="55">
                  <c:v>1112.28</c:v>
                </c:pt>
                <c:pt idx="56">
                  <c:v>1122.3024</c:v>
                </c:pt>
                <c:pt idx="57">
                  <c:v>1110.3562</c:v>
                </c:pt>
                <c:pt idx="58">
                  <c:v>1056.077</c:v>
                </c:pt>
                <c:pt idx="59">
                  <c:v>1063.4772</c:v>
                </c:pt>
                <c:pt idx="60">
                  <c:v>1076.196</c:v>
                </c:pt>
                <c:pt idx="61">
                  <c:v>1076.1702</c:v>
                </c:pt>
                <c:pt idx="62">
                  <c:v>1002.0</c:v>
                </c:pt>
                <c:pt idx="63">
                  <c:v>1032.9111</c:v>
                </c:pt>
                <c:pt idx="64">
                  <c:v>1042.763</c:v>
                </c:pt>
                <c:pt idx="65">
                  <c:v>1027.0552</c:v>
                </c:pt>
                <c:pt idx="66">
                  <c:v>1045.5811</c:v>
                </c:pt>
                <c:pt idx="67">
                  <c:v>1073.3012</c:v>
                </c:pt>
                <c:pt idx="68">
                  <c:v>1078.7461</c:v>
                </c:pt>
                <c:pt idx="69">
                  <c:v>1117.0591</c:v>
                </c:pt>
                <c:pt idx="70">
                  <c:v>1101.6989</c:v>
                </c:pt>
                <c:pt idx="71">
                  <c:v>1156.6236</c:v>
                </c:pt>
                <c:pt idx="72">
                  <c:v>1231.2126</c:v>
                </c:pt>
                <c:pt idx="73">
                  <c:v>1201.6633</c:v>
                </c:pt>
                <c:pt idx="74">
                  <c:v>1189.1553</c:v>
                </c:pt>
                <c:pt idx="75">
                  <c:v>1182.023</c:v>
                </c:pt>
                <c:pt idx="76">
                  <c:v>1128.7823</c:v>
                </c:pt>
                <c:pt idx="77">
                  <c:v>1127.2612</c:v>
                </c:pt>
                <c:pt idx="78">
                  <c:v>1146.9253</c:v>
                </c:pt>
                <c:pt idx="79">
                  <c:v>1156.7316</c:v>
                </c:pt>
                <c:pt idx="80">
                  <c:v>1161.0435</c:v>
                </c:pt>
                <c:pt idx="81">
                  <c:v>1181.9474</c:v>
                </c:pt>
                <c:pt idx="82">
                  <c:v>1171.1731</c:v>
                </c:pt>
                <c:pt idx="83">
                  <c:v>1145.2532</c:v>
                </c:pt>
                <c:pt idx="84">
                  <c:v>1168.0232</c:v>
                </c:pt>
                <c:pt idx="85">
                  <c:v>1147.3824</c:v>
                </c:pt>
                <c:pt idx="86">
                  <c:v>1119.6667</c:v>
                </c:pt>
                <c:pt idx="87">
                  <c:v>1132.879</c:v>
                </c:pt>
                <c:pt idx="88">
                  <c:v>1181.1838</c:v>
                </c:pt>
                <c:pt idx="89">
                  <c:v>1169.3507</c:v>
                </c:pt>
                <c:pt idx="90">
                  <c:v>1244.3134</c:v>
                </c:pt>
                <c:pt idx="91">
                  <c:v>1253.3706</c:v>
                </c:pt>
                <c:pt idx="92">
                  <c:v>1195.8637</c:v>
                </c:pt>
                <c:pt idx="93">
                  <c:v>1236.1186</c:v>
                </c:pt>
                <c:pt idx="94">
                  <c:v>1236.0857</c:v>
                </c:pt>
                <c:pt idx="95">
                  <c:v>1203.9583</c:v>
                </c:pt>
                <c:pt idx="96">
                  <c:v>1132.7361</c:v>
                </c:pt>
                <c:pt idx="97">
                  <c:v>1131.0107</c:v>
                </c:pt>
                <c:pt idx="98">
                  <c:v>1120.3529</c:v>
                </c:pt>
                <c:pt idx="99">
                  <c:v>1083.4457</c:v>
                </c:pt>
                <c:pt idx="100">
                  <c:v>1089.9572</c:v>
                </c:pt>
                <c:pt idx="101">
                  <c:v>1127.602</c:v>
                </c:pt>
                <c:pt idx="102">
                  <c:v>1128.1704</c:v>
                </c:pt>
                <c:pt idx="103">
                  <c:v>1097.0673</c:v>
                </c:pt>
                <c:pt idx="104">
                  <c:v>1118.95</c:v>
                </c:pt>
              </c:numCache>
            </c:numRef>
          </c:xVal>
          <c:yVal>
            <c:numRef>
              <c:f>Sheet1!$B$2:$B$106</c:f>
              <c:numCache>
                <c:formatCode>General</c:formatCode>
                <c:ptCount val="105"/>
                <c:pt idx="0">
                  <c:v>0.16033510285335104</c:v>
                </c:pt>
                <c:pt idx="1">
                  <c:v>0.144745122718691</c:v>
                </c:pt>
                <c:pt idx="2">
                  <c:v>0.14821599235425295</c:v>
                </c:pt>
                <c:pt idx="3">
                  <c:v>0.14724974376494704</c:v>
                </c:pt>
                <c:pt idx="4">
                  <c:v>0.15438299672200487</c:v>
                </c:pt>
                <c:pt idx="5">
                  <c:v>0.18489326765188835</c:v>
                </c:pt>
                <c:pt idx="6">
                  <c:v>0.21816365049406017</c:v>
                </c:pt>
                <c:pt idx="7">
                  <c:v>0.23045157852670842</c:v>
                </c:pt>
                <c:pt idx="8">
                  <c:v>0.24245430069434604</c:v>
                </c:pt>
                <c:pt idx="9">
                  <c:v>0.21179376350725532</c:v>
                </c:pt>
                <c:pt idx="10">
                  <c:v>0.22383949645948073</c:v>
                </c:pt>
                <c:pt idx="11">
                  <c:v>0.21393998063891578</c:v>
                </c:pt>
                <c:pt idx="12">
                  <c:v>0.19080582179623712</c:v>
                </c:pt>
                <c:pt idx="13">
                  <c:v>0.17190471877547323</c:v>
                </c:pt>
                <c:pt idx="14">
                  <c:v>0.13429431621202445</c:v>
                </c:pt>
                <c:pt idx="15">
                  <c:v>0.11882768844794162</c:v>
                </c:pt>
                <c:pt idx="16">
                  <c:v>0.1159206647011525</c:v>
                </c:pt>
                <c:pt idx="17">
                  <c:v>0.10256053437239077</c:v>
                </c:pt>
                <c:pt idx="18">
                  <c:v>0.0962974486621033</c:v>
                </c:pt>
                <c:pt idx="19">
                  <c:v>0.09204397242407304</c:v>
                </c:pt>
                <c:pt idx="20">
                  <c:v>0.09157894736842105</c:v>
                </c:pt>
                <c:pt idx="21">
                  <c:v>0.09348441926345609</c:v>
                </c:pt>
                <c:pt idx="22">
                  <c:v>0.09822090437361009</c:v>
                </c:pt>
                <c:pt idx="23">
                  <c:v>0.11505988611820145</c:v>
                </c:pt>
                <c:pt idx="24">
                  <c:v>0.1127285638203444</c:v>
                </c:pt>
                <c:pt idx="25">
                  <c:v>0.12217194570135746</c:v>
                </c:pt>
                <c:pt idx="26">
                  <c:v>0.14708141321044546</c:v>
                </c:pt>
                <c:pt idx="27">
                  <c:v>0.1494485294117647</c:v>
                </c:pt>
                <c:pt idx="28">
                  <c:v>0.1799819657348963</c:v>
                </c:pt>
                <c:pt idx="29">
                  <c:v>0.17616498740554157</c:v>
                </c:pt>
                <c:pt idx="30">
                  <c:v>0.17196531791907516</c:v>
                </c:pt>
                <c:pt idx="31">
                  <c:v>0.18125990491283678</c:v>
                </c:pt>
                <c:pt idx="32">
                  <c:v>0.19836595097852935</c:v>
                </c:pt>
                <c:pt idx="33">
                  <c:v>0.1817098599940423</c:v>
                </c:pt>
                <c:pt idx="34">
                  <c:v>0.18260747794426552</c:v>
                </c:pt>
                <c:pt idx="35">
                  <c:v>0.19129979035639413</c:v>
                </c:pt>
                <c:pt idx="36">
                  <c:v>0.1681519357195033</c:v>
                </c:pt>
                <c:pt idx="37">
                  <c:v>0.16089312099819406</c:v>
                </c:pt>
                <c:pt idx="38">
                  <c:v>0.1572574046800851</c:v>
                </c:pt>
                <c:pt idx="39">
                  <c:v>0.14665523156089194</c:v>
                </c:pt>
                <c:pt idx="40">
                  <c:v>0.14546213808463251</c:v>
                </c:pt>
                <c:pt idx="41">
                  <c:v>0.14787346753443317</c:v>
                </c:pt>
                <c:pt idx="42">
                  <c:v>0.1465359477124183</c:v>
                </c:pt>
                <c:pt idx="43">
                  <c:v>0.14118769377533985</c:v>
                </c:pt>
                <c:pt idx="44">
                  <c:v>0.14628219666288678</c:v>
                </c:pt>
                <c:pt idx="45">
                  <c:v>0.16638821385176183</c:v>
                </c:pt>
                <c:pt idx="46">
                  <c:v>0.1721975056523959</c:v>
                </c:pt>
                <c:pt idx="47">
                  <c:v>0.16685247120029728</c:v>
                </c:pt>
                <c:pt idx="48">
                  <c:v>0.16259808195292066</c:v>
                </c:pt>
                <c:pt idx="49">
                  <c:v>0.16804554079696396</c:v>
                </c:pt>
                <c:pt idx="50">
                  <c:v>0.16972997503970955</c:v>
                </c:pt>
                <c:pt idx="51">
                  <c:v>0.162422388194007</c:v>
                </c:pt>
                <c:pt idx="52">
                  <c:v>0.1575679563867646</c:v>
                </c:pt>
                <c:pt idx="53">
                  <c:v>0.14313292884721457</c:v>
                </c:pt>
                <c:pt idx="54">
                  <c:v>0.1450992004737933</c:v>
                </c:pt>
                <c:pt idx="55">
                  <c:v>0.14112903225806453</c:v>
                </c:pt>
                <c:pt idx="56">
                  <c:v>0.14981855883877657</c:v>
                </c:pt>
                <c:pt idx="57">
                  <c:v>0.14434922335297268</c:v>
                </c:pt>
                <c:pt idx="58">
                  <c:v>0.1663926624556546</c:v>
                </c:pt>
                <c:pt idx="59">
                  <c:v>0.14683933274802458</c:v>
                </c:pt>
                <c:pt idx="60">
                  <c:v>0.15279878971255673</c:v>
                </c:pt>
                <c:pt idx="61">
                  <c:v>0.16944216944216944</c:v>
                </c:pt>
                <c:pt idx="62">
                  <c:v>0.1883472484064997</c:v>
                </c:pt>
                <c:pt idx="63">
                  <c:v>0.19346796310147096</c:v>
                </c:pt>
                <c:pt idx="64">
                  <c:v>0.18558295386201565</c:v>
                </c:pt>
                <c:pt idx="65">
                  <c:v>0.18198790896159317</c:v>
                </c:pt>
                <c:pt idx="66">
                  <c:v>0.17878567533175785</c:v>
                </c:pt>
                <c:pt idx="67">
                  <c:v>0.16801446104081438</c:v>
                </c:pt>
                <c:pt idx="68">
                  <c:v>0.1516028733783639</c:v>
                </c:pt>
                <c:pt idx="69">
                  <c:v>0.14100028256569652</c:v>
                </c:pt>
                <c:pt idx="70">
                  <c:v>0.1466491458607096</c:v>
                </c:pt>
                <c:pt idx="71">
                  <c:v>0.14164265129682996</c:v>
                </c:pt>
                <c:pt idx="72">
                  <c:v>0.13927347498286496</c:v>
                </c:pt>
                <c:pt idx="73">
                  <c:v>0.14398364485981308</c:v>
                </c:pt>
                <c:pt idx="74">
                  <c:v>0.1486243605696115</c:v>
                </c:pt>
                <c:pt idx="75">
                  <c:v>0.15961346217927358</c:v>
                </c:pt>
                <c:pt idx="76">
                  <c:v>0.17377341659232828</c:v>
                </c:pt>
                <c:pt idx="77">
                  <c:v>0.16397058823529412</c:v>
                </c:pt>
                <c:pt idx="78">
                  <c:v>0.17640117994100296</c:v>
                </c:pt>
                <c:pt idx="79">
                  <c:v>0.16372478386167147</c:v>
                </c:pt>
                <c:pt idx="80">
                  <c:v>0.1567994259059921</c:v>
                </c:pt>
                <c:pt idx="81">
                  <c:v>0.15579386356866248</c:v>
                </c:pt>
                <c:pt idx="82">
                  <c:v>0.15947171299034102</c:v>
                </c:pt>
                <c:pt idx="83">
                  <c:v>0.15453551912568306</c:v>
                </c:pt>
                <c:pt idx="84">
                  <c:v>0.15389769935224482</c:v>
                </c:pt>
                <c:pt idx="85">
                  <c:v>0.16222664015904573</c:v>
                </c:pt>
                <c:pt idx="86">
                  <c:v>0.1783783783783784</c:v>
                </c:pt>
                <c:pt idx="87">
                  <c:v>0.1824028061970184</c:v>
                </c:pt>
                <c:pt idx="88">
                  <c:v>0.17278736687477048</c:v>
                </c:pt>
                <c:pt idx="89">
                  <c:v>0.18327471668620554</c:v>
                </c:pt>
                <c:pt idx="90">
                  <c:v>0.16203143893591293</c:v>
                </c:pt>
                <c:pt idx="91">
                  <c:v>0.15802611367127495</c:v>
                </c:pt>
                <c:pt idx="92">
                  <c:v>0.16944921204556093</c:v>
                </c:pt>
                <c:pt idx="93">
                  <c:v>0.16639258484078337</c:v>
                </c:pt>
                <c:pt idx="94">
                  <c:v>0.16917161831527439</c:v>
                </c:pt>
                <c:pt idx="95">
                  <c:v>0.1662677919133392</c:v>
                </c:pt>
                <c:pt idx="96">
                  <c:v>0.16149488458611652</c:v>
                </c:pt>
                <c:pt idx="97">
                  <c:v>0.16460811222933822</c:v>
                </c:pt>
                <c:pt idx="98">
                  <c:v>0.16096048552015305</c:v>
                </c:pt>
                <c:pt idx="99">
                  <c:v>0.1636115997956983</c:v>
                </c:pt>
                <c:pt idx="100">
                  <c:v>0.17094159218457702</c:v>
                </c:pt>
                <c:pt idx="101">
                  <c:v>0.16883490260907066</c:v>
                </c:pt>
                <c:pt idx="102">
                  <c:v>0.17709895052473762</c:v>
                </c:pt>
                <c:pt idx="103">
                  <c:v>0.17144579350727632</c:v>
                </c:pt>
                <c:pt idx="104">
                  <c:v>0.1717182166132202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7.6457</c:v>
                </c:pt>
                <c:pt idx="1">
                  <c:v>1177.1248</c:v>
                </c:pt>
                <c:pt idx="2">
                  <c:v>1172.8809</c:v>
                </c:pt>
                <c:pt idx="3">
                  <c:v>1116.1729</c:v>
                </c:pt>
                <c:pt idx="4">
                  <c:v>1171.105</c:v>
                </c:pt>
                <c:pt idx="5">
                  <c:v>1181.7267</c:v>
                </c:pt>
                <c:pt idx="6">
                  <c:v>1111.0839</c:v>
                </c:pt>
                <c:pt idx="7">
                  <c:v>1105.3962</c:v>
                </c:pt>
                <c:pt idx="8">
                  <c:v>1174.7979</c:v>
                </c:pt>
                <c:pt idx="9">
                  <c:v>1121.5102</c:v>
                </c:pt>
                <c:pt idx="10">
                  <c:v>1128.8003</c:v>
                </c:pt>
                <c:pt idx="11">
                  <c:v>1048.8794</c:v>
                </c:pt>
                <c:pt idx="12">
                  <c:v>1081.1237</c:v>
                </c:pt>
                <c:pt idx="13">
                  <c:v>1108.1894</c:v>
                </c:pt>
                <c:pt idx="14">
                  <c:v>1115.3633</c:v>
                </c:pt>
                <c:pt idx="15">
                  <c:v>1116.6884</c:v>
                </c:pt>
                <c:pt idx="16">
                  <c:v>1161.8054</c:v>
                </c:pt>
                <c:pt idx="17">
                  <c:v>1065.4091</c:v>
                </c:pt>
                <c:pt idx="18">
                  <c:v>1159.454</c:v>
                </c:pt>
                <c:pt idx="19">
                  <c:v>1276.5293</c:v>
                </c:pt>
                <c:pt idx="20">
                  <c:v>1266.8846</c:v>
                </c:pt>
                <c:pt idx="21">
                  <c:v>1224.3024</c:v>
                </c:pt>
                <c:pt idx="22">
                  <c:v>1215.4131</c:v>
                </c:pt>
                <c:pt idx="23">
                  <c:v>1207.7573</c:v>
                </c:pt>
                <c:pt idx="24">
                  <c:v>1229.3848</c:v>
                </c:pt>
                <c:pt idx="25">
                  <c:v>1196.3695</c:v>
                </c:pt>
                <c:pt idx="26">
                  <c:v>1177.7754</c:v>
                </c:pt>
                <c:pt idx="27">
                  <c:v>1189.9329</c:v>
                </c:pt>
                <c:pt idx="28">
                  <c:v>1221.5323</c:v>
                </c:pt>
                <c:pt idx="29">
                  <c:v>1215.436</c:v>
                </c:pt>
                <c:pt idx="30">
                  <c:v>1218.5536</c:v>
                </c:pt>
                <c:pt idx="31">
                  <c:v>1223.7136</c:v>
                </c:pt>
                <c:pt idx="32">
                  <c:v>1235.4447</c:v>
                </c:pt>
                <c:pt idx="33">
                  <c:v>1210.9757</c:v>
                </c:pt>
                <c:pt idx="34">
                  <c:v>1217.608</c:v>
                </c:pt>
                <c:pt idx="35">
                  <c:v>1257.2662</c:v>
                </c:pt>
                <c:pt idx="36">
                  <c:v>1289.7456</c:v>
                </c:pt>
                <c:pt idx="37">
                  <c:v>1276.3705</c:v>
                </c:pt>
                <c:pt idx="38">
                  <c:v>1287.5255</c:v>
                </c:pt>
                <c:pt idx="39">
                  <c:v>1237.1239</c:v>
                </c:pt>
                <c:pt idx="40">
                  <c:v>1257.5632</c:v>
                </c:pt>
                <c:pt idx="41">
                  <c:v>1286.865</c:v>
                </c:pt>
                <c:pt idx="42">
                  <c:v>1283.2174</c:v>
                </c:pt>
                <c:pt idx="43">
                  <c:v>1287.1337</c:v>
                </c:pt>
                <c:pt idx="44">
                  <c:v>1219.4646</c:v>
                </c:pt>
                <c:pt idx="45">
                  <c:v>1180.2063</c:v>
                </c:pt>
                <c:pt idx="46">
                  <c:v>1169.2071</c:v>
                </c:pt>
                <c:pt idx="47">
                  <c:v>1150.822</c:v>
                </c:pt>
                <c:pt idx="48">
                  <c:v>1136.5305</c:v>
                </c:pt>
                <c:pt idx="49">
                  <c:v>1141.5541</c:v>
                </c:pt>
                <c:pt idx="50">
                  <c:v>1111.2317</c:v>
                </c:pt>
                <c:pt idx="51">
                  <c:v>1099.7544</c:v>
                </c:pt>
              </c:numCache>
            </c:numRef>
          </c:xVal>
          <c:yVal>
            <c:numRef>
              <c:f>Sheet1!$B$109:$B$160</c:f>
              <c:numCache>
                <c:formatCode>General</c:formatCode>
                <c:ptCount val="52"/>
                <c:pt idx="0">
                  <c:v>0.17139210502324734</c:v>
                </c:pt>
                <c:pt idx="1">
                  <c:v>0.16598262861506155</c:v>
                </c:pt>
                <c:pt idx="2">
                  <c:v>0.19026286873468007</c:v>
                </c:pt>
                <c:pt idx="3">
                  <c:v>0.21693984381704282</c:v>
                </c:pt>
                <c:pt idx="4">
                  <c:v>0.1930491447189791</c:v>
                </c:pt>
                <c:pt idx="5">
                  <c:v>0.19561756718793893</c:v>
                </c:pt>
                <c:pt idx="6">
                  <c:v>0.2099174959598537</c:v>
                </c:pt>
                <c:pt idx="7">
                  <c:v>0.22398775894538606</c:v>
                </c:pt>
                <c:pt idx="8">
                  <c:v>0.19533489705499088</c:v>
                </c:pt>
                <c:pt idx="9">
                  <c:v>0.20346834540919348</c:v>
                </c:pt>
                <c:pt idx="10">
                  <c:v>0.21838002578830149</c:v>
                </c:pt>
                <c:pt idx="11">
                  <c:v>0.20545470188419512</c:v>
                </c:pt>
                <c:pt idx="12">
                  <c:v>0.20200317334391116</c:v>
                </c:pt>
                <c:pt idx="13">
                  <c:v>0.19782608695652174</c:v>
                </c:pt>
                <c:pt idx="14">
                  <c:v>0.19835560123329907</c:v>
                </c:pt>
                <c:pt idx="15">
                  <c:v>0.1962152572442342</c:v>
                </c:pt>
                <c:pt idx="16">
                  <c:v>0.1892891384741816</c:v>
                </c:pt>
                <c:pt idx="17">
                  <c:v>0.20748785367247785</c:v>
                </c:pt>
                <c:pt idx="18">
                  <c:v>0.18994229183841715</c:v>
                </c:pt>
                <c:pt idx="19">
                  <c:v>0.17857142857142858</c:v>
                </c:pt>
                <c:pt idx="20">
                  <c:v>0.16638341264445955</c:v>
                </c:pt>
                <c:pt idx="21">
                  <c:v>0.1786492374727669</c:v>
                </c:pt>
                <c:pt idx="22">
                  <c:v>0.18545769314001298</c:v>
                </c:pt>
                <c:pt idx="23">
                  <c:v>0.187685969329366</c:v>
                </c:pt>
                <c:pt idx="24">
                  <c:v>0.188291467718497</c:v>
                </c:pt>
                <c:pt idx="25">
                  <c:v>0.19373601789709172</c:v>
                </c:pt>
                <c:pt idx="26">
                  <c:v>0.17736821244550138</c:v>
                </c:pt>
                <c:pt idx="27">
                  <c:v>0.18264110756123536</c:v>
                </c:pt>
                <c:pt idx="28">
                  <c:v>0.17938110210160516</c:v>
                </c:pt>
                <c:pt idx="29">
                  <c:v>0.1832637646591135</c:v>
                </c:pt>
                <c:pt idx="30">
                  <c:v>0.18675929709848793</c:v>
                </c:pt>
                <c:pt idx="31">
                  <c:v>0.17773943054357205</c:v>
                </c:pt>
                <c:pt idx="32">
                  <c:v>0.17575295463210064</c:v>
                </c:pt>
                <c:pt idx="33">
                  <c:v>0.2012310606060606</c:v>
                </c:pt>
                <c:pt idx="34">
                  <c:v>0.21649621463673796</c:v>
                </c:pt>
                <c:pt idx="35">
                  <c:v>0.21387010536247839</c:v>
                </c:pt>
                <c:pt idx="36">
                  <c:v>0.20109471680152308</c:v>
                </c:pt>
                <c:pt idx="37">
                  <c:v>0.19350104821802935</c:v>
                </c:pt>
                <c:pt idx="38">
                  <c:v>0.20023228803716608</c:v>
                </c:pt>
                <c:pt idx="39">
                  <c:v>0.20598175059141602</c:v>
                </c:pt>
                <c:pt idx="40">
                  <c:v>0.19253246753246753</c:v>
                </c:pt>
                <c:pt idx="41">
                  <c:v>0.19963453631795341</c:v>
                </c:pt>
                <c:pt idx="42">
                  <c:v>0.19374247894103488</c:v>
                </c:pt>
                <c:pt idx="43">
                  <c:v>0.1829356471438901</c:v>
                </c:pt>
                <c:pt idx="44">
                  <c:v>0.18115204559332385</c:v>
                </c:pt>
                <c:pt idx="45">
                  <c:v>0.1936641697877653</c:v>
                </c:pt>
                <c:pt idx="46">
                  <c:v>0.22289833364538475</c:v>
                </c:pt>
                <c:pt idx="47">
                  <c:v>0.2189094107299912</c:v>
                </c:pt>
                <c:pt idx="48">
                  <c:v>0.21990521327014217</c:v>
                </c:pt>
                <c:pt idx="49">
                  <c:v>0.22948762635064482</c:v>
                </c:pt>
                <c:pt idx="50">
                  <c:v>0.2277557636887608</c:v>
                </c:pt>
                <c:pt idx="51">
                  <c:v>0.2181056955525712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50.091303110249</c:v>
                </c:pt>
              </c:numCache>
            </c:numRef>
          </c:xVal>
          <c:yVal>
            <c:numRef>
              <c:f>Sheet1!$B$163:$B$164</c:f>
              <c:numCache>
                <c:formatCode>General</c:formatCode>
                <c:ptCount val="2"/>
                <c:pt idx="0">
                  <c:v>0.22381357471552976</c:v>
                </c:pt>
                <c:pt idx="1">
                  <c:v>0.2238135747155297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50.091303110249</c:v>
                </c:pt>
                <c:pt idx="1">
                  <c:v>950.091303110249</c:v>
                </c:pt>
              </c:numCache>
            </c:numRef>
          </c:xVal>
          <c:yVal>
            <c:numRef>
              <c:f>Sheet1!$B$167:$B$168</c:f>
              <c:numCache>
                <c:formatCode>General</c:formatCode>
                <c:ptCount val="2"/>
                <c:pt idx="0">
                  <c:v>0.2238135747155297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50.091303110249</c:v>
                </c:pt>
              </c:numCache>
            </c:numRef>
          </c:xVal>
          <c:yVal>
            <c:numRef>
              <c:f>Sheet1!$B$171:$B$172</c:f>
              <c:numCache>
                <c:formatCode>General</c:formatCode>
                <c:ptCount val="2"/>
                <c:pt idx="0">
                  <c:v>0.22381357471552976</c:v>
                </c:pt>
                <c:pt idx="1">
                  <c:v>0.2238135747155297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50.091303110249</c:v>
                </c:pt>
                <c:pt idx="1">
                  <c:v>950.091303110249</c:v>
                </c:pt>
              </c:numCache>
            </c:numRef>
          </c:xVal>
          <c:yVal>
            <c:numRef>
              <c:f>Sheet1!$B$175:$B$176</c:f>
              <c:numCache>
                <c:formatCode>General</c:formatCode>
                <c:ptCount val="2"/>
                <c:pt idx="0">
                  <c:v>0.223813574715529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99.0020621082826</c:v>
                </c:pt>
              </c:numCache>
            </c:numRef>
          </c:xVal>
          <c:yVal>
            <c:numRef>
              <c:f>Sheet1!$B$179:$B$180</c:f>
              <c:numCache>
                <c:formatCode>General</c:formatCode>
                <c:ptCount val="2"/>
                <c:pt idx="0">
                  <c:v>0.20666962608810352</c:v>
                </c:pt>
                <c:pt idx="1">
                  <c:v>0.2066696260881035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99.0020621082826</c:v>
                </c:pt>
                <c:pt idx="1">
                  <c:v>1099.0020621082826</c:v>
                </c:pt>
              </c:numCache>
            </c:numRef>
          </c:xVal>
          <c:yVal>
            <c:numRef>
              <c:f>Sheet1!$B$183:$B$184</c:f>
              <c:numCache>
                <c:formatCode>General</c:formatCode>
                <c:ptCount val="2"/>
                <c:pt idx="0">
                  <c:v>0.2066696260881035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7.6457</c:v>
                </c:pt>
                <c:pt idx="1">
                  <c:v>1177.1248</c:v>
                </c:pt>
                <c:pt idx="2">
                  <c:v>1172.8809</c:v>
                </c:pt>
                <c:pt idx="3">
                  <c:v>1116.1729</c:v>
                </c:pt>
                <c:pt idx="4">
                  <c:v>1171.105</c:v>
                </c:pt>
                <c:pt idx="5">
                  <c:v>1181.7267</c:v>
                </c:pt>
                <c:pt idx="6">
                  <c:v>1111.0839</c:v>
                </c:pt>
                <c:pt idx="7">
                  <c:v>1105.3962</c:v>
                </c:pt>
                <c:pt idx="8">
                  <c:v>1174.7979</c:v>
                </c:pt>
                <c:pt idx="9">
                  <c:v>1121.5102</c:v>
                </c:pt>
                <c:pt idx="10">
                  <c:v>1128.8003</c:v>
                </c:pt>
                <c:pt idx="11">
                  <c:v>1048.8794</c:v>
                </c:pt>
                <c:pt idx="12">
                  <c:v>1081.1237</c:v>
                </c:pt>
                <c:pt idx="13">
                  <c:v>1108.1894</c:v>
                </c:pt>
                <c:pt idx="14">
                  <c:v>1115.3633</c:v>
                </c:pt>
                <c:pt idx="15">
                  <c:v>1116.6884</c:v>
                </c:pt>
                <c:pt idx="16">
                  <c:v>1161.8054</c:v>
                </c:pt>
                <c:pt idx="17">
                  <c:v>1065.4091</c:v>
                </c:pt>
                <c:pt idx="18">
                  <c:v>1159.454</c:v>
                </c:pt>
                <c:pt idx="19">
                  <c:v>1276.5293</c:v>
                </c:pt>
                <c:pt idx="20">
                  <c:v>1266.8846</c:v>
                </c:pt>
                <c:pt idx="21">
                  <c:v>1224.3024</c:v>
                </c:pt>
                <c:pt idx="22">
                  <c:v>1215.4131</c:v>
                </c:pt>
                <c:pt idx="23">
                  <c:v>1207.7573</c:v>
                </c:pt>
                <c:pt idx="24">
                  <c:v>1229.3848</c:v>
                </c:pt>
                <c:pt idx="25">
                  <c:v>1196.3695</c:v>
                </c:pt>
                <c:pt idx="26">
                  <c:v>1177.7754</c:v>
                </c:pt>
                <c:pt idx="27">
                  <c:v>1189.9329</c:v>
                </c:pt>
                <c:pt idx="28">
                  <c:v>1221.5323</c:v>
                </c:pt>
                <c:pt idx="29">
                  <c:v>1215.436</c:v>
                </c:pt>
                <c:pt idx="30">
                  <c:v>1218.5536</c:v>
                </c:pt>
                <c:pt idx="31">
                  <c:v>1223.7136</c:v>
                </c:pt>
                <c:pt idx="32">
                  <c:v>1235.4447</c:v>
                </c:pt>
                <c:pt idx="33">
                  <c:v>1210.9757</c:v>
                </c:pt>
                <c:pt idx="34">
                  <c:v>1217.608</c:v>
                </c:pt>
                <c:pt idx="35">
                  <c:v>1257.2662</c:v>
                </c:pt>
                <c:pt idx="36">
                  <c:v>1289.7456</c:v>
                </c:pt>
                <c:pt idx="37">
                  <c:v>1276.3705</c:v>
                </c:pt>
                <c:pt idx="38">
                  <c:v>1287.5255</c:v>
                </c:pt>
                <c:pt idx="39">
                  <c:v>1237.1239</c:v>
                </c:pt>
                <c:pt idx="40">
                  <c:v>1257.5632</c:v>
                </c:pt>
                <c:pt idx="41">
                  <c:v>1286.865</c:v>
                </c:pt>
                <c:pt idx="42">
                  <c:v>1283.2174</c:v>
                </c:pt>
                <c:pt idx="43">
                  <c:v>1287.1337</c:v>
                </c:pt>
                <c:pt idx="44">
                  <c:v>1219.4646</c:v>
                </c:pt>
                <c:pt idx="45">
                  <c:v>1180.2063</c:v>
                </c:pt>
                <c:pt idx="46">
                  <c:v>1169.2071</c:v>
                </c:pt>
                <c:pt idx="47">
                  <c:v>1150.822</c:v>
                </c:pt>
                <c:pt idx="48">
                  <c:v>1136.5305</c:v>
                </c:pt>
                <c:pt idx="49">
                  <c:v>1141.5541</c:v>
                </c:pt>
                <c:pt idx="50">
                  <c:v>1111.2317</c:v>
                </c:pt>
                <c:pt idx="51">
                  <c:v>1099.7544</c:v>
                </c:pt>
                <c:pt idx="52">
                  <c:v>950.091303110249</c:v>
                </c:pt>
                <c:pt idx="53">
                  <c:v>950.091303110249</c:v>
                </c:pt>
                <c:pt idx="54">
                  <c:v>1099.0020621082826</c:v>
                </c:pt>
              </c:numCache>
            </c:numRef>
          </c:xVal>
          <c:yVal>
            <c:numRef>
              <c:f>Sheet1!$B$187:$B$241</c:f>
              <c:numCache>
                <c:formatCode>General</c:formatCode>
                <c:ptCount val="55"/>
                <c:pt idx="0">
                  <c:v>0.1999180419708386</c:v>
                </c:pt>
                <c:pt idx="1">
                  <c:v>0.19767543242431881</c:v>
                </c:pt>
                <c:pt idx="2">
                  <c:v>0.19816402844027822</c:v>
                </c:pt>
                <c:pt idx="3">
                  <c:v>0.20469276447859852</c:v>
                </c:pt>
                <c:pt idx="4">
                  <c:v>0.19836848605349777</c:v>
                </c:pt>
                <c:pt idx="5">
                  <c:v>0.19714562022190035</c:v>
                </c:pt>
                <c:pt idx="6">
                  <c:v>0.20527865602298398</c:v>
                </c:pt>
                <c:pt idx="7">
                  <c:v>0.20593347530712652</c:v>
                </c:pt>
                <c:pt idx="8">
                  <c:v>0.19794332612340126</c:v>
                </c:pt>
                <c:pt idx="9">
                  <c:v>0.20407828640042036</c:v>
                </c:pt>
                <c:pt idx="10">
                  <c:v>0.2032389843867193</c:v>
                </c:pt>
                <c:pt idx="11">
                  <c:v>0.2124401986782653</c:v>
                </c:pt>
                <c:pt idx="12">
                  <c:v>0.20872794426194996</c:v>
                </c:pt>
                <c:pt idx="13">
                  <c:v>0.20561189694953613</c:v>
                </c:pt>
                <c:pt idx="14">
                  <c:v>0.2047859729270824</c:v>
                </c:pt>
                <c:pt idx="15">
                  <c:v>0.20463341547267777</c:v>
                </c:pt>
                <c:pt idx="16">
                  <c:v>0.19943913981772793</c:v>
                </c:pt>
                <c:pt idx="17">
                  <c:v>0.21053715064108144</c:v>
                </c:pt>
                <c:pt idx="18">
                  <c:v>0.19970985417761553</c:v>
                </c:pt>
                <c:pt idx="19">
                  <c:v>0.18623109050569697</c:v>
                </c:pt>
                <c:pt idx="20">
                  <c:v>0.18734147529212547</c:v>
                </c:pt>
                <c:pt idx="21">
                  <c:v>0.19224392192630338</c:v>
                </c:pt>
                <c:pt idx="22">
                  <c:v>0.1932673382567231</c:v>
                </c:pt>
                <c:pt idx="23">
                  <c:v>0.19414874295027906</c:v>
                </c:pt>
                <c:pt idx="24">
                  <c:v>0.19165879023340013</c:v>
                </c:pt>
                <c:pt idx="25">
                  <c:v>0.19545980911831856</c:v>
                </c:pt>
                <c:pt idx="26">
                  <c:v>0.19760052948881535</c:v>
                </c:pt>
                <c:pt idx="27">
                  <c:v>0.19620084851988892</c:v>
                </c:pt>
                <c:pt idx="28">
                  <c:v>0.19256284080370606</c:v>
                </c:pt>
                <c:pt idx="29">
                  <c:v>0.19326470180233787</c:v>
                </c:pt>
                <c:pt idx="30">
                  <c:v>0.19290577559310695</c:v>
                </c:pt>
                <c:pt idx="31">
                  <c:v>0.1923117098888371</c:v>
                </c:pt>
                <c:pt idx="32">
                  <c:v>0.1909611199308217</c:v>
                </c:pt>
                <c:pt idx="33">
                  <c:v>0.19377821173659265</c:v>
                </c:pt>
                <c:pt idx="34">
                  <c:v>0.19301464158728476</c:v>
                </c:pt>
                <c:pt idx="35">
                  <c:v>0.1884488321855264</c:v>
                </c:pt>
                <c:pt idx="36">
                  <c:v>0.1847095109383828</c:v>
                </c:pt>
                <c:pt idx="37">
                  <c:v>0.1862493729928749</c:v>
                </c:pt>
                <c:pt idx="38">
                  <c:v>0.18496510885893502</c:v>
                </c:pt>
                <c:pt idx="39">
                  <c:v>0.1907677952931066</c:v>
                </c:pt>
                <c:pt idx="40">
                  <c:v>0.18841463886882714</c:v>
                </c:pt>
                <c:pt idx="41">
                  <c:v>0.1850411515716618</c:v>
                </c:pt>
                <c:pt idx="42">
                  <c:v>0.1854610961574941</c:v>
                </c:pt>
                <c:pt idx="43">
                  <c:v>0.18501021640601503</c:v>
                </c:pt>
                <c:pt idx="44">
                  <c:v>0.19280089306276008</c:v>
                </c:pt>
                <c:pt idx="45">
                  <c:v>0.19732066237243753</c:v>
                </c:pt>
                <c:pt idx="46">
                  <c:v>0.19858698940623684</c:v>
                </c:pt>
                <c:pt idx="47">
                  <c:v>0.20070364781313046</c:v>
                </c:pt>
                <c:pt idx="48">
                  <c:v>0.20234901409463665</c:v>
                </c:pt>
                <c:pt idx="49">
                  <c:v>0.20177065198766575</c:v>
                </c:pt>
                <c:pt idx="50">
                  <c:v>0.2052616399549431</c:v>
                </c:pt>
                <c:pt idx="51">
                  <c:v>0.20658301016959735</c:v>
                </c:pt>
                <c:pt idx="52">
                  <c:v>0.22381357471552976</c:v>
                </c:pt>
                <c:pt idx="53">
                  <c:v>0.22381357471552976</c:v>
                </c:pt>
                <c:pt idx="54">
                  <c:v>0.2066696260881035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8.0"/>
          <c:min val="61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9094516083321526"/>
          <c:min val="0.0732631578947368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047936435114894</c:v>
                </c:pt>
                <c:pt idx="1">
                  <c:v>0.37447486303103034</c:v>
                </c:pt>
                <c:pt idx="2">
                  <c:v>0.45216456435103297</c:v>
                </c:pt>
                <c:pt idx="3">
                  <c:v>0.45329278590299327</c:v>
                </c:pt>
                <c:pt idx="4">
                  <c:v>0.42233625130097174</c:v>
                </c:pt>
                <c:pt idx="5">
                  <c:v>0.4435906573709507</c:v>
                </c:pt>
                <c:pt idx="6">
                  <c:v>0.41035783237168116</c:v>
                </c:pt>
                <c:pt idx="7">
                  <c:v>0.3815152975038659</c:v>
                </c:pt>
                <c:pt idx="8">
                  <c:v>0.36701675581186904</c:v>
                </c:pt>
                <c:pt idx="9">
                  <c:v>0.3940710388749802</c:v>
                </c:pt>
                <c:pt idx="10">
                  <c:v>0.4378573881705006</c:v>
                </c:pt>
                <c:pt idx="11">
                  <c:v>0.4620906844640787</c:v>
                </c:pt>
                <c:pt idx="12">
                  <c:v>0.4864181645418195</c:v>
                </c:pt>
                <c:pt idx="13">
                  <c:v>0.48535070666171604</c:v>
                </c:pt>
                <c:pt idx="14">
                  <c:v>0.48028994199256697</c:v>
                </c:pt>
                <c:pt idx="15">
                  <c:v>0.4698723651148441</c:v>
                </c:pt>
                <c:pt idx="16">
                  <c:v>0.4498145214891262</c:v>
                </c:pt>
                <c:pt idx="17">
                  <c:v>0.43765300063884777</c:v>
                </c:pt>
                <c:pt idx="18">
                  <c:v>0.43317173972384926</c:v>
                </c:pt>
                <c:pt idx="19">
                  <c:v>0.4418658482274114</c:v>
                </c:pt>
                <c:pt idx="20">
                  <c:v>0.4513770381652393</c:v>
                </c:pt>
                <c:pt idx="21">
                  <c:v>0.40873737619789324</c:v>
                </c:pt>
                <c:pt idx="22">
                  <c:v>0.3805540161779875</c:v>
                </c:pt>
                <c:pt idx="23">
                  <c:v>0.3668252836876604</c:v>
                </c:pt>
                <c:pt idx="24">
                  <c:v>0.35131184866795345</c:v>
                </c:pt>
                <c:pt idx="25">
                  <c:v>0.3287605648190652</c:v>
                </c:pt>
                <c:pt idx="26">
                  <c:v>0.3299690595182924</c:v>
                </c:pt>
                <c:pt idx="27">
                  <c:v>0.34518845108429935</c:v>
                </c:pt>
                <c:pt idx="28">
                  <c:v>0.3453901995867818</c:v>
                </c:pt>
                <c:pt idx="29">
                  <c:v>0.28455274006141923</c:v>
                </c:pt>
                <c:pt idx="30">
                  <c:v>0.30275512236920243</c:v>
                </c:pt>
                <c:pt idx="31">
                  <c:v>0.31028556903492743</c:v>
                </c:pt>
                <c:pt idx="32">
                  <c:v>0.30294217456782613</c:v>
                </c:pt>
                <c:pt idx="33">
                  <c:v>0.28124989352127905</c:v>
                </c:pt>
                <c:pt idx="34">
                  <c:v>0.3527423030173591</c:v>
                </c:pt>
                <c:pt idx="35">
                  <c:v>0.3784037841283306</c:v>
                </c:pt>
                <c:pt idx="36">
                  <c:v>0.3890090334736302</c:v>
                </c:pt>
                <c:pt idx="37">
                  <c:v>0.3649299729860197</c:v>
                </c:pt>
                <c:pt idx="38">
                  <c:v>0.38474641442535407</c:v>
                </c:pt>
                <c:pt idx="39">
                  <c:v>0.41010229017181304</c:v>
                </c:pt>
                <c:pt idx="40">
                  <c:v>0.4143453833670306</c:v>
                </c:pt>
                <c:pt idx="41">
                  <c:v>0.39721774339962856</c:v>
                </c:pt>
                <c:pt idx="42">
                  <c:v>0.41835894720040445</c:v>
                </c:pt>
                <c:pt idx="43">
                  <c:v>0.4093689508493342</c:v>
                </c:pt>
                <c:pt idx="44">
                  <c:v>0.41631576580888247</c:v>
                </c:pt>
                <c:pt idx="45">
                  <c:v>0.4176322878529807</c:v>
                </c:pt>
                <c:pt idx="46">
                  <c:v>0.4263981832213587</c:v>
                </c:pt>
                <c:pt idx="47">
                  <c:v>0.4221770081364482</c:v>
                </c:pt>
                <c:pt idx="48">
                  <c:v>0.44827036467405434</c:v>
                </c:pt>
                <c:pt idx="49">
                  <c:v>0.5034918283176449</c:v>
                </c:pt>
                <c:pt idx="50">
                  <c:v>0.42484645144032457</c:v>
                </c:pt>
                <c:pt idx="51">
                  <c:v>0.4114159358760824</c:v>
                </c:pt>
                <c:pt idx="52">
                  <c:v>0.43297428148596884</c:v>
                </c:pt>
                <c:pt idx="53">
                  <c:v>0.3954267671823478</c:v>
                </c:pt>
                <c:pt idx="54">
                  <c:v>0.3813783930534736</c:v>
                </c:pt>
                <c:pt idx="55">
                  <c:v>0.3834726182705349</c:v>
                </c:pt>
                <c:pt idx="56">
                  <c:v>0.3851239561768471</c:v>
                </c:pt>
                <c:pt idx="57">
                  <c:v>0.4081469266045025</c:v>
                </c:pt>
                <c:pt idx="58">
                  <c:v>0.3854461944439354</c:v>
                </c:pt>
                <c:pt idx="59">
                  <c:v>0.40371473977342487</c:v>
                </c:pt>
                <c:pt idx="60">
                  <c:v>0.4023457987619473</c:v>
                </c:pt>
                <c:pt idx="61">
                  <c:v>0.3686344541872994</c:v>
                </c:pt>
                <c:pt idx="62">
                  <c:v>0.3538380355041319</c:v>
                </c:pt>
                <c:pt idx="63">
                  <c:v>0.3694904577761951</c:v>
                </c:pt>
                <c:pt idx="64">
                  <c:v>0.3813661460972041</c:v>
                </c:pt>
                <c:pt idx="65">
                  <c:v>0.42838037263062345</c:v>
                </c:pt>
                <c:pt idx="66">
                  <c:v>0.432428989405755</c:v>
                </c:pt>
                <c:pt idx="67">
                  <c:v>0.44319460551329687</c:v>
                </c:pt>
                <c:pt idx="68">
                  <c:v>0.4442777957529602</c:v>
                </c:pt>
                <c:pt idx="69">
                  <c:v>0.43372821205885526</c:v>
                </c:pt>
                <c:pt idx="70">
                  <c:v>0.4316154151766664</c:v>
                </c:pt>
                <c:pt idx="71">
                  <c:v>0.4098132697504526</c:v>
                </c:pt>
                <c:pt idx="72">
                  <c:v>0.4090999253438268</c:v>
                </c:pt>
                <c:pt idx="73">
                  <c:v>0.43337620738669475</c:v>
                </c:pt>
                <c:pt idx="74">
                  <c:v>0.42376714768391366</c:v>
                </c:pt>
                <c:pt idx="75">
                  <c:v>0.39851871881382506</c:v>
                </c:pt>
                <c:pt idx="76">
                  <c:v>0.40619930658865955</c:v>
                </c:pt>
                <c:pt idx="77">
                  <c:v>0.4129253061898167</c:v>
                </c:pt>
                <c:pt idx="78">
                  <c:v>0.4186566987176567</c:v>
                </c:pt>
                <c:pt idx="79">
                  <c:v>0.41296321828735993</c:v>
                </c:pt>
                <c:pt idx="80">
                  <c:v>0.43890284630591325</c:v>
                </c:pt>
                <c:pt idx="81">
                  <c:v>0.4568097206705691</c:v>
                </c:pt>
                <c:pt idx="82">
                  <c:v>0.4503720940859858</c:v>
                </c:pt>
                <c:pt idx="83">
                  <c:v>0.4318414463791545</c:v>
                </c:pt>
                <c:pt idx="84">
                  <c:v>0.41694236965667614</c:v>
                </c:pt>
                <c:pt idx="85">
                  <c:v>0.420276505402521</c:v>
                </c:pt>
                <c:pt idx="86">
                  <c:v>0.43663625926436933</c:v>
                </c:pt>
                <c:pt idx="87">
                  <c:v>0.4650821171222382</c:v>
                </c:pt>
                <c:pt idx="88">
                  <c:v>0.41634563796436774</c:v>
                </c:pt>
                <c:pt idx="89">
                  <c:v>0.38839925362035715</c:v>
                </c:pt>
                <c:pt idx="90">
                  <c:v>0.4014007122457414</c:v>
                </c:pt>
                <c:pt idx="91">
                  <c:v>0.42326937814890836</c:v>
                </c:pt>
                <c:pt idx="92">
                  <c:v>0.4174710171117541</c:v>
                </c:pt>
                <c:pt idx="93">
                  <c:v>0.4323830538591163</c:v>
                </c:pt>
                <c:pt idx="94">
                  <c:v>0.43787242680242616</c:v>
                </c:pt>
                <c:pt idx="95">
                  <c:v>0.4590918660591576</c:v>
                </c:pt>
                <c:pt idx="96">
                  <c:v>0.48060854953566673</c:v>
                </c:pt>
                <c:pt idx="97">
                  <c:v>0.5156331896473032</c:v>
                </c:pt>
                <c:pt idx="98">
                  <c:v>0.5266431365289945</c:v>
                </c:pt>
                <c:pt idx="99">
                  <c:v>0.5018265102523928</c:v>
                </c:pt>
                <c:pt idx="100">
                  <c:v>0.5260016631686528</c:v>
                </c:pt>
                <c:pt idx="101">
                  <c:v>0.4699567054734856</c:v>
                </c:pt>
                <c:pt idx="102">
                  <c:v>0.4484956376493163</c:v>
                </c:pt>
                <c:pt idx="103">
                  <c:v>0.4542054180719338</c:v>
                </c:pt>
                <c:pt idx="104">
                  <c:v>0.44775899057585744</c:v>
                </c:pt>
              </c:numCache>
            </c:numRef>
          </c:xVal>
          <c:yVal>
            <c:numRef>
              <c:f>Sheet1!$B$2:$B$106</c:f>
              <c:numCache>
                <c:formatCode>General</c:formatCode>
                <c:ptCount val="105"/>
                <c:pt idx="0">
                  <c:v>0.21275713337757132</c:v>
                </c:pt>
                <c:pt idx="1">
                  <c:v>0.19320327249842667</c:v>
                </c:pt>
                <c:pt idx="2">
                  <c:v>0.1629499840713603</c:v>
                </c:pt>
                <c:pt idx="3">
                  <c:v>0.1625384352579433</c:v>
                </c:pt>
                <c:pt idx="4">
                  <c:v>0.1519509358147404</c:v>
                </c:pt>
                <c:pt idx="5">
                  <c:v>0.13924466338259442</c:v>
                </c:pt>
                <c:pt idx="6">
                  <c:v>0.1603197513045409</c:v>
                </c:pt>
                <c:pt idx="7">
                  <c:v>0.16011722392433728</c:v>
                </c:pt>
                <c:pt idx="8">
                  <c:v>0.16111662179396344</c:v>
                </c:pt>
                <c:pt idx="9">
                  <c:v>0.16815889677884122</c:v>
                </c:pt>
                <c:pt idx="10">
                  <c:v>0.1775177025963808</c:v>
                </c:pt>
                <c:pt idx="11">
                  <c:v>0.16727976766698935</c:v>
                </c:pt>
                <c:pt idx="12">
                  <c:v>0.17367767128150516</c:v>
                </c:pt>
                <c:pt idx="13">
                  <c:v>0.1737161488995562</c:v>
                </c:pt>
                <c:pt idx="14">
                  <c:v>0.17845087127086945</c:v>
                </c:pt>
                <c:pt idx="15">
                  <c:v>0.18394343710799407</c:v>
                </c:pt>
                <c:pt idx="16">
                  <c:v>0.18158670597694987</c:v>
                </c:pt>
                <c:pt idx="17">
                  <c:v>0.164764820484275</c:v>
                </c:pt>
                <c:pt idx="18">
                  <c:v>0.15696950840074672</c:v>
                </c:pt>
                <c:pt idx="19">
                  <c:v>0.15949319918017515</c:v>
                </c:pt>
                <c:pt idx="20">
                  <c:v>0.17789473684210527</c:v>
                </c:pt>
                <c:pt idx="21">
                  <c:v>0.1660056657223796</c:v>
                </c:pt>
                <c:pt idx="22">
                  <c:v>0.16938472942920682</c:v>
                </c:pt>
                <c:pt idx="23">
                  <c:v>0.17258982917730217</c:v>
                </c:pt>
                <c:pt idx="24">
                  <c:v>0.16918160837919405</c:v>
                </c:pt>
                <c:pt idx="25">
                  <c:v>0.16618675442204853</c:v>
                </c:pt>
                <c:pt idx="26">
                  <c:v>0.17530721966205837</c:v>
                </c:pt>
                <c:pt idx="27">
                  <c:v>0.15330882352941178</c:v>
                </c:pt>
                <c:pt idx="28">
                  <c:v>0.1581605049594229</c:v>
                </c:pt>
                <c:pt idx="29">
                  <c:v>0.19537153652392947</c:v>
                </c:pt>
                <c:pt idx="30">
                  <c:v>0.17939719240297275</c:v>
                </c:pt>
                <c:pt idx="31">
                  <c:v>0.16600633914421553</c:v>
                </c:pt>
                <c:pt idx="32">
                  <c:v>0.1670150104503135</c:v>
                </c:pt>
                <c:pt idx="33">
                  <c:v>0.19675305332141793</c:v>
                </c:pt>
                <c:pt idx="34">
                  <c:v>0.17448536619521077</c:v>
                </c:pt>
                <c:pt idx="35">
                  <c:v>0.17164570230607967</c:v>
                </c:pt>
                <c:pt idx="36">
                  <c:v>0.13192111029948866</c:v>
                </c:pt>
                <c:pt idx="37">
                  <c:v>0.1165654243966508</c:v>
                </c:pt>
                <c:pt idx="38">
                  <c:v>0.10898379970544919</c:v>
                </c:pt>
                <c:pt idx="39">
                  <c:v>0.09519725557461406</c:v>
                </c:pt>
                <c:pt idx="40">
                  <c:v>0.09437639198218263</c:v>
                </c:pt>
                <c:pt idx="41">
                  <c:v>0.0806720145300439</c:v>
                </c:pt>
                <c:pt idx="42">
                  <c:v>0.0811764705882353</c:v>
                </c:pt>
                <c:pt idx="43">
                  <c:v>0.0849034104459814</c:v>
                </c:pt>
                <c:pt idx="44">
                  <c:v>0.0963064960311032</c:v>
                </c:pt>
                <c:pt idx="45">
                  <c:v>0.11026731470230863</c:v>
                </c:pt>
                <c:pt idx="46">
                  <c:v>0.11005761797097222</c:v>
                </c:pt>
                <c:pt idx="47">
                  <c:v>0.10516536603493125</c:v>
                </c:pt>
                <c:pt idx="48">
                  <c:v>0.11268526591107236</c:v>
                </c:pt>
                <c:pt idx="49">
                  <c:v>0.132865275142315</c:v>
                </c:pt>
                <c:pt idx="50">
                  <c:v>0.10914454277286136</c:v>
                </c:pt>
                <c:pt idx="51">
                  <c:v>0.09979303518401872</c:v>
                </c:pt>
                <c:pt idx="52">
                  <c:v>0.11274324222003483</c:v>
                </c:pt>
                <c:pt idx="53">
                  <c:v>0.10075381503952932</c:v>
                </c:pt>
                <c:pt idx="54">
                  <c:v>0.09229098805646037</c:v>
                </c:pt>
                <c:pt idx="55">
                  <c:v>0.08790322580645162</c:v>
                </c:pt>
                <c:pt idx="56">
                  <c:v>0.09020217729393468</c:v>
                </c:pt>
                <c:pt idx="57">
                  <c:v>0.08302088912694162</c:v>
                </c:pt>
                <c:pt idx="58">
                  <c:v>0.09743012892619192</c:v>
                </c:pt>
                <c:pt idx="59">
                  <c:v>0.10261194029850747</c:v>
                </c:pt>
                <c:pt idx="60">
                  <c:v>0.10520675743822491</c:v>
                </c:pt>
                <c:pt idx="61">
                  <c:v>0.1152971152971153</c:v>
                </c:pt>
                <c:pt idx="62">
                  <c:v>0.12451746117245713</c:v>
                </c:pt>
                <c:pt idx="63">
                  <c:v>0.137372226377462</c:v>
                </c:pt>
                <c:pt idx="64">
                  <c:v>0.14348311710628062</c:v>
                </c:pt>
                <c:pt idx="65">
                  <c:v>0.13300142247510668</c:v>
                </c:pt>
                <c:pt idx="66">
                  <c:v>0.1349754590074532</c:v>
                </c:pt>
                <c:pt idx="67">
                  <c:v>0.1173056797640567</c:v>
                </c:pt>
                <c:pt idx="68">
                  <c:v>0.10839498230942425</c:v>
                </c:pt>
                <c:pt idx="69">
                  <c:v>0.09338796270132806</c:v>
                </c:pt>
                <c:pt idx="70">
                  <c:v>0.07858081471747701</c:v>
                </c:pt>
                <c:pt idx="71">
                  <c:v>0.09135446685878963</c:v>
                </c:pt>
                <c:pt idx="72">
                  <c:v>0.09184372858122002</c:v>
                </c:pt>
                <c:pt idx="73">
                  <c:v>0.08513434579439252</c:v>
                </c:pt>
                <c:pt idx="74">
                  <c:v>0.07852896446840868</c:v>
                </c:pt>
                <c:pt idx="75">
                  <c:v>0.08230589803398868</c:v>
                </c:pt>
                <c:pt idx="76">
                  <c:v>0.08296164139161463</c:v>
                </c:pt>
                <c:pt idx="77">
                  <c:v>0.08474264705882353</c:v>
                </c:pt>
                <c:pt idx="78">
                  <c:v>0.08102261553588987</c:v>
                </c:pt>
                <c:pt idx="79">
                  <c:v>0.06970461095100865</c:v>
                </c:pt>
                <c:pt idx="80">
                  <c:v>0.06458557588805167</c:v>
                </c:pt>
                <c:pt idx="81">
                  <c:v>0.0741733690795353</c:v>
                </c:pt>
                <c:pt idx="82">
                  <c:v>0.06761285235560813</c:v>
                </c:pt>
                <c:pt idx="83">
                  <c:v>0.0625136612021858</c:v>
                </c:pt>
                <c:pt idx="84">
                  <c:v>0.07058297967388877</c:v>
                </c:pt>
                <c:pt idx="85">
                  <c:v>0.08330019880715706</c:v>
                </c:pt>
                <c:pt idx="86">
                  <c:v>0.08738738738738738</c:v>
                </c:pt>
                <c:pt idx="87">
                  <c:v>0.09997076878105816</c:v>
                </c:pt>
                <c:pt idx="88">
                  <c:v>0.08097686375321336</c:v>
                </c:pt>
                <c:pt idx="89">
                  <c:v>0.07112153184837827</c:v>
                </c:pt>
                <c:pt idx="90">
                  <c:v>0.06972994760177348</c:v>
                </c:pt>
                <c:pt idx="91">
                  <c:v>0.0695084485407066</c:v>
                </c:pt>
                <c:pt idx="92">
                  <c:v>0.072710251209237</c:v>
                </c:pt>
                <c:pt idx="93">
                  <c:v>0.07056361190013455</c:v>
                </c:pt>
                <c:pt idx="94">
                  <c:v>0.07357567284166375</c:v>
                </c:pt>
                <c:pt idx="95">
                  <c:v>0.07847335936515934</c:v>
                </c:pt>
                <c:pt idx="96">
                  <c:v>0.07668893210450664</c:v>
                </c:pt>
                <c:pt idx="97">
                  <c:v>0.0878316559926807</c:v>
                </c:pt>
                <c:pt idx="98">
                  <c:v>0.10310706510983574</c:v>
                </c:pt>
                <c:pt idx="99">
                  <c:v>0.10578287270869985</c:v>
                </c:pt>
                <c:pt idx="100">
                  <c:v>0.12101434213261276</c:v>
                </c:pt>
                <c:pt idx="101">
                  <c:v>0.10400345001078129</c:v>
                </c:pt>
                <c:pt idx="102">
                  <c:v>0.08639430284857572</c:v>
                </c:pt>
                <c:pt idx="103">
                  <c:v>0.08791871178851288</c:v>
                </c:pt>
                <c:pt idx="104">
                  <c:v>0.0942381297196648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3795237581586655</c:v>
                </c:pt>
                <c:pt idx="1">
                  <c:v>0.4082823883258985</c:v>
                </c:pt>
                <c:pt idx="2">
                  <c:v>0.4192853432681879</c:v>
                </c:pt>
                <c:pt idx="3">
                  <c:v>0.39280778920492426</c:v>
                </c:pt>
                <c:pt idx="4">
                  <c:v>0.39356691837271507</c:v>
                </c:pt>
                <c:pt idx="5">
                  <c:v>0.40740427751640984</c:v>
                </c:pt>
                <c:pt idx="6">
                  <c:v>0.4180489440836322</c:v>
                </c:pt>
                <c:pt idx="7">
                  <c:v>0.4223759012057976</c:v>
                </c:pt>
                <c:pt idx="8">
                  <c:v>0.4406371548522974</c:v>
                </c:pt>
                <c:pt idx="9">
                  <c:v>0.4385723711587894</c:v>
                </c:pt>
                <c:pt idx="10">
                  <c:v>0.4394996058687333</c:v>
                </c:pt>
                <c:pt idx="11">
                  <c:v>0.44416518758353246</c:v>
                </c:pt>
                <c:pt idx="12">
                  <c:v>0.4420062221182837</c:v>
                </c:pt>
                <c:pt idx="13">
                  <c:v>0.4282430457027983</c:v>
                </c:pt>
                <c:pt idx="14">
                  <c:v>0.4232692976096227</c:v>
                </c:pt>
                <c:pt idx="15">
                  <c:v>0.422695516455005</c:v>
                </c:pt>
                <c:pt idx="16">
                  <c:v>0.43043015831548065</c:v>
                </c:pt>
                <c:pt idx="17">
                  <c:v>0.4145533476220133</c:v>
                </c:pt>
                <c:pt idx="18">
                  <c:v>0.3483472159729111</c:v>
                </c:pt>
                <c:pt idx="19">
                  <c:v>0.4068763794166999</c:v>
                </c:pt>
                <c:pt idx="20">
                  <c:v>0.4011977555950903</c:v>
                </c:pt>
                <c:pt idx="21">
                  <c:v>0.3864447955407581</c:v>
                </c:pt>
                <c:pt idx="22">
                  <c:v>0.3919946254423347</c:v>
                </c:pt>
                <c:pt idx="23">
                  <c:v>0.3802205604397909</c:v>
                </c:pt>
                <c:pt idx="24">
                  <c:v>0.3925546603915881</c:v>
                </c:pt>
                <c:pt idx="25">
                  <c:v>0.3923236530333243</c:v>
                </c:pt>
                <c:pt idx="26">
                  <c:v>0.39718358389260117</c:v>
                </c:pt>
                <c:pt idx="27">
                  <c:v>0.40359510392732423</c:v>
                </c:pt>
                <c:pt idx="28">
                  <c:v>0.40537684328863727</c:v>
                </c:pt>
                <c:pt idx="29">
                  <c:v>0.36996336386044615</c:v>
                </c:pt>
                <c:pt idx="30">
                  <c:v>0.3485622537849861</c:v>
                </c:pt>
                <c:pt idx="31">
                  <c:v>0.34314333022534504</c:v>
                </c:pt>
                <c:pt idx="32">
                  <c:v>0.35647255857528654</c:v>
                </c:pt>
                <c:pt idx="33">
                  <c:v>0.38839113250224566</c:v>
                </c:pt>
                <c:pt idx="34">
                  <c:v>0.4096595425737827</c:v>
                </c:pt>
                <c:pt idx="35">
                  <c:v>0.3869199695017626</c:v>
                </c:pt>
                <c:pt idx="36">
                  <c:v>0.35020298448420495</c:v>
                </c:pt>
                <c:pt idx="37">
                  <c:v>0.39026952036094653</c:v>
                </c:pt>
                <c:pt idx="38">
                  <c:v>0.3844053686828113</c:v>
                </c:pt>
                <c:pt idx="39">
                  <c:v>0.4081509783018202</c:v>
                </c:pt>
                <c:pt idx="40">
                  <c:v>0.40901917471637456</c:v>
                </c:pt>
                <c:pt idx="41">
                  <c:v>0.4159469120921546</c:v>
                </c:pt>
                <c:pt idx="42">
                  <c:v>0.39603471071791896</c:v>
                </c:pt>
                <c:pt idx="43">
                  <c:v>0.4508642149699354</c:v>
                </c:pt>
                <c:pt idx="44">
                  <c:v>0.503786470772422</c:v>
                </c:pt>
                <c:pt idx="45">
                  <c:v>0.5220094807137925</c:v>
                </c:pt>
                <c:pt idx="46">
                  <c:v>0.5005368762145684</c:v>
                </c:pt>
                <c:pt idx="47">
                  <c:v>0.5109996425575253</c:v>
                </c:pt>
                <c:pt idx="48">
                  <c:v>0.5420481968171224</c:v>
                </c:pt>
                <c:pt idx="49">
                  <c:v>0.5688454168092505</c:v>
                </c:pt>
                <c:pt idx="50">
                  <c:v>0.5333608045231919</c:v>
                </c:pt>
                <c:pt idx="51">
                  <c:v>0.48176877369612797</c:v>
                </c:pt>
              </c:numCache>
            </c:numRef>
          </c:xVal>
          <c:yVal>
            <c:numRef>
              <c:f>Sheet1!$B$109:$B$160</c:f>
              <c:numCache>
                <c:formatCode>General</c:formatCode>
                <c:ptCount val="52"/>
                <c:pt idx="0">
                  <c:v>0.09052785121706627</c:v>
                </c:pt>
                <c:pt idx="1">
                  <c:v>0.09172473036174478</c:v>
                </c:pt>
                <c:pt idx="2">
                  <c:v>0.09263798495477982</c:v>
                </c:pt>
                <c:pt idx="3">
                  <c:v>0.10572384793615378</c:v>
                </c:pt>
                <c:pt idx="4">
                  <c:v>0.09503122454520771</c:v>
                </c:pt>
                <c:pt idx="5">
                  <c:v>0.09373536848019477</c:v>
                </c:pt>
                <c:pt idx="6">
                  <c:v>0.09653823254231522</c:v>
                </c:pt>
                <c:pt idx="7">
                  <c:v>0.09169020715630885</c:v>
                </c:pt>
                <c:pt idx="8">
                  <c:v>0.09929632525410477</c:v>
                </c:pt>
                <c:pt idx="9">
                  <c:v>0.10155600427604229</c:v>
                </c:pt>
                <c:pt idx="10">
                  <c:v>0.11311686789356465</c:v>
                </c:pt>
                <c:pt idx="11">
                  <c:v>0.12131119332358255</c:v>
                </c:pt>
                <c:pt idx="12">
                  <c:v>0.11949623165410551</c:v>
                </c:pt>
                <c:pt idx="13">
                  <c:v>0.10983436853002071</c:v>
                </c:pt>
                <c:pt idx="14">
                  <c:v>0.10768528034715084</c:v>
                </c:pt>
                <c:pt idx="15">
                  <c:v>0.10147841513897102</c:v>
                </c:pt>
                <c:pt idx="16">
                  <c:v>0.08916586768935762</c:v>
                </c:pt>
                <c:pt idx="17">
                  <c:v>0.07530723063732495</c:v>
                </c:pt>
                <c:pt idx="18">
                  <c:v>0.08606760098928277</c:v>
                </c:pt>
                <c:pt idx="19">
                  <c:v>0.08156581409856518</c:v>
                </c:pt>
                <c:pt idx="20">
                  <c:v>0.06662134602311352</c:v>
                </c:pt>
                <c:pt idx="21">
                  <c:v>0.0710239651416122</c:v>
                </c:pt>
                <c:pt idx="22">
                  <c:v>0.07033109716511578</c:v>
                </c:pt>
                <c:pt idx="23">
                  <c:v>0.07324330510414283</c:v>
                </c:pt>
                <c:pt idx="24">
                  <c:v>0.06435540793024704</c:v>
                </c:pt>
                <c:pt idx="25">
                  <c:v>0.07494407158836688</c:v>
                </c:pt>
                <c:pt idx="26">
                  <c:v>0.06500198176773682</c:v>
                </c:pt>
                <c:pt idx="27">
                  <c:v>0.06602768903088392</c:v>
                </c:pt>
                <c:pt idx="28">
                  <c:v>0.07181863312924044</c:v>
                </c:pt>
                <c:pt idx="29">
                  <c:v>0.0689723712979527</c:v>
                </c:pt>
                <c:pt idx="30">
                  <c:v>0.0723334695545566</c:v>
                </c:pt>
                <c:pt idx="31">
                  <c:v>0.08088869715271786</c:v>
                </c:pt>
                <c:pt idx="32">
                  <c:v>0.08311094166984369</c:v>
                </c:pt>
                <c:pt idx="33">
                  <c:v>0.09138257575757576</c:v>
                </c:pt>
                <c:pt idx="34">
                  <c:v>0.104529153938106</c:v>
                </c:pt>
                <c:pt idx="35">
                  <c:v>0.09309639880484352</c:v>
                </c:pt>
                <c:pt idx="36">
                  <c:v>0.07139457401237506</c:v>
                </c:pt>
                <c:pt idx="37">
                  <c:v>0.0610062893081761</c:v>
                </c:pt>
                <c:pt idx="38">
                  <c:v>0.059233449477351915</c:v>
                </c:pt>
                <c:pt idx="39">
                  <c:v>0.07029401824940859</c:v>
                </c:pt>
                <c:pt idx="40">
                  <c:v>0.05844155844155844</c:v>
                </c:pt>
                <c:pt idx="41">
                  <c:v>0.05619004111466423</c:v>
                </c:pt>
                <c:pt idx="42">
                  <c:v>0.0593089221248066</c:v>
                </c:pt>
                <c:pt idx="43">
                  <c:v>0.05844781875150639</c:v>
                </c:pt>
                <c:pt idx="44">
                  <c:v>0.05668634235701201</c:v>
                </c:pt>
                <c:pt idx="45">
                  <c:v>0.07061485642946318</c:v>
                </c:pt>
                <c:pt idx="46">
                  <c:v>0.06262872121325594</c:v>
                </c:pt>
                <c:pt idx="47">
                  <c:v>0.06420404573438875</c:v>
                </c:pt>
                <c:pt idx="48">
                  <c:v>0.06292380605176813</c:v>
                </c:pt>
                <c:pt idx="49">
                  <c:v>0.07689090275357267</c:v>
                </c:pt>
                <c:pt idx="50">
                  <c:v>0.09969380403458213</c:v>
                </c:pt>
                <c:pt idx="51">
                  <c:v>0.0872106801485109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6.570322891610378</c:v>
                </c:pt>
              </c:numCache>
            </c:numRef>
          </c:xVal>
          <c:yVal>
            <c:numRef>
              <c:f>Sheet1!$B$163:$B$164</c:f>
              <c:numCache>
                <c:formatCode>General</c:formatCode>
                <c:ptCount val="2"/>
                <c:pt idx="0">
                  <c:v>0.17254984366128495</c:v>
                </c:pt>
                <c:pt idx="1">
                  <c:v>0.1725498436612849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6.570322891610378</c:v>
                </c:pt>
                <c:pt idx="1">
                  <c:v>16.570322891610378</c:v>
                </c:pt>
              </c:numCache>
            </c:numRef>
          </c:xVal>
          <c:yVal>
            <c:numRef>
              <c:f>Sheet1!$B$167:$B$168</c:f>
              <c:numCache>
                <c:formatCode>General</c:formatCode>
                <c:ptCount val="2"/>
                <c:pt idx="0">
                  <c:v>0.1725498436612849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8885488654396934</c:v>
                </c:pt>
              </c:numCache>
            </c:numRef>
          </c:xVal>
          <c:yVal>
            <c:numRef>
              <c:f>Sheet1!$B$171:$B$172</c:f>
              <c:numCache>
                <c:formatCode>General</c:formatCode>
                <c:ptCount val="2"/>
                <c:pt idx="0">
                  <c:v>0.09571001428789952</c:v>
                </c:pt>
                <c:pt idx="1">
                  <c:v>0.0957100142878995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8885488654396934</c:v>
                </c:pt>
                <c:pt idx="1">
                  <c:v>2.8885488654396934</c:v>
                </c:pt>
              </c:numCache>
            </c:numRef>
          </c:xVal>
          <c:yVal>
            <c:numRef>
              <c:f>Sheet1!$B$175:$B$176</c:f>
              <c:numCache>
                <c:formatCode>General</c:formatCode>
                <c:ptCount val="2"/>
                <c:pt idx="0">
                  <c:v>0.0957100142878995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0517405500599732</c:v>
                </c:pt>
              </c:numCache>
            </c:numRef>
          </c:xVal>
          <c:yVal>
            <c:numRef>
              <c:f>Sheet1!$B$179:$B$180</c:f>
              <c:numCache>
                <c:formatCode>General</c:formatCode>
                <c:ptCount val="2"/>
                <c:pt idx="0">
                  <c:v>0.06796427056957678</c:v>
                </c:pt>
                <c:pt idx="1">
                  <c:v>0.0679642705695767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0517405500599732</c:v>
                </c:pt>
                <c:pt idx="1">
                  <c:v>-2.0517405500599732</c:v>
                </c:pt>
              </c:numCache>
            </c:numRef>
          </c:xVal>
          <c:yVal>
            <c:numRef>
              <c:f>Sheet1!$B$183:$B$184</c:f>
              <c:numCache>
                <c:formatCode>General</c:formatCode>
                <c:ptCount val="2"/>
                <c:pt idx="0">
                  <c:v>0.067964270569576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3795237581586655</c:v>
                </c:pt>
                <c:pt idx="1">
                  <c:v>0.4082823883258985</c:v>
                </c:pt>
                <c:pt idx="2">
                  <c:v>0.4192853432681879</c:v>
                </c:pt>
                <c:pt idx="3">
                  <c:v>0.39280778920492426</c:v>
                </c:pt>
                <c:pt idx="4">
                  <c:v>0.39356691837271507</c:v>
                </c:pt>
                <c:pt idx="5">
                  <c:v>0.40740427751640984</c:v>
                </c:pt>
                <c:pt idx="6">
                  <c:v>0.4180489440836322</c:v>
                </c:pt>
                <c:pt idx="7">
                  <c:v>0.4223759012057976</c:v>
                </c:pt>
                <c:pt idx="8">
                  <c:v>0.4406371548522974</c:v>
                </c:pt>
                <c:pt idx="9">
                  <c:v>0.4385723711587894</c:v>
                </c:pt>
                <c:pt idx="10">
                  <c:v>0.4394996058687333</c:v>
                </c:pt>
                <c:pt idx="11">
                  <c:v>0.44416518758353246</c:v>
                </c:pt>
                <c:pt idx="12">
                  <c:v>0.4420062221182837</c:v>
                </c:pt>
                <c:pt idx="13">
                  <c:v>0.4282430457027983</c:v>
                </c:pt>
                <c:pt idx="14">
                  <c:v>0.4232692976096227</c:v>
                </c:pt>
                <c:pt idx="15">
                  <c:v>0.422695516455005</c:v>
                </c:pt>
                <c:pt idx="16">
                  <c:v>0.43043015831548065</c:v>
                </c:pt>
                <c:pt idx="17">
                  <c:v>0.4145533476220133</c:v>
                </c:pt>
                <c:pt idx="18">
                  <c:v>0.3483472159729111</c:v>
                </c:pt>
                <c:pt idx="19">
                  <c:v>0.4068763794166999</c:v>
                </c:pt>
                <c:pt idx="20">
                  <c:v>0.4011977555950903</c:v>
                </c:pt>
                <c:pt idx="21">
                  <c:v>0.3864447955407581</c:v>
                </c:pt>
                <c:pt idx="22">
                  <c:v>0.3919946254423347</c:v>
                </c:pt>
                <c:pt idx="23">
                  <c:v>0.3802205604397909</c:v>
                </c:pt>
                <c:pt idx="24">
                  <c:v>0.3925546603915881</c:v>
                </c:pt>
                <c:pt idx="25">
                  <c:v>0.3923236530333243</c:v>
                </c:pt>
                <c:pt idx="26">
                  <c:v>0.39718358389260117</c:v>
                </c:pt>
                <c:pt idx="27">
                  <c:v>0.40359510392732423</c:v>
                </c:pt>
                <c:pt idx="28">
                  <c:v>0.40537684328863727</c:v>
                </c:pt>
                <c:pt idx="29">
                  <c:v>0.36996336386044615</c:v>
                </c:pt>
                <c:pt idx="30">
                  <c:v>0.3485622537849861</c:v>
                </c:pt>
                <c:pt idx="31">
                  <c:v>0.34314333022534504</c:v>
                </c:pt>
                <c:pt idx="32">
                  <c:v>0.35647255857528654</c:v>
                </c:pt>
                <c:pt idx="33">
                  <c:v>0.38839113250224566</c:v>
                </c:pt>
                <c:pt idx="34">
                  <c:v>0.4096595425737827</c:v>
                </c:pt>
                <c:pt idx="35">
                  <c:v>0.3869199695017626</c:v>
                </c:pt>
                <c:pt idx="36">
                  <c:v>0.35020298448420495</c:v>
                </c:pt>
                <c:pt idx="37">
                  <c:v>0.39026952036094653</c:v>
                </c:pt>
                <c:pt idx="38">
                  <c:v>0.3844053686828113</c:v>
                </c:pt>
                <c:pt idx="39">
                  <c:v>0.4081509783018202</c:v>
                </c:pt>
                <c:pt idx="40">
                  <c:v>0.40901917471637456</c:v>
                </c:pt>
                <c:pt idx="41">
                  <c:v>0.4159469120921546</c:v>
                </c:pt>
                <c:pt idx="42">
                  <c:v>0.39603471071791896</c:v>
                </c:pt>
                <c:pt idx="43">
                  <c:v>0.4508642149699354</c:v>
                </c:pt>
                <c:pt idx="44">
                  <c:v>0.503786470772422</c:v>
                </c:pt>
                <c:pt idx="45">
                  <c:v>0.5220094807137925</c:v>
                </c:pt>
                <c:pt idx="46">
                  <c:v>0.5005368762145684</c:v>
                </c:pt>
                <c:pt idx="47">
                  <c:v>0.5109996425575253</c:v>
                </c:pt>
                <c:pt idx="48">
                  <c:v>0.5420481968171224</c:v>
                </c:pt>
                <c:pt idx="49">
                  <c:v>0.5688454168092505</c:v>
                </c:pt>
                <c:pt idx="50">
                  <c:v>0.5333608045231919</c:v>
                </c:pt>
                <c:pt idx="51">
                  <c:v>0.48176877369612797</c:v>
                </c:pt>
                <c:pt idx="52">
                  <c:v>2.8885488654396934</c:v>
                </c:pt>
                <c:pt idx="53">
                  <c:v>16.570322891610378</c:v>
                </c:pt>
                <c:pt idx="54">
                  <c:v>-2.0517405500599732</c:v>
                </c:pt>
              </c:numCache>
            </c:numRef>
          </c:xVal>
          <c:yVal>
            <c:numRef>
              <c:f>Sheet1!$B$187:$B$241</c:f>
              <c:numCache>
                <c:formatCode>General</c:formatCode>
                <c:ptCount val="55"/>
                <c:pt idx="0">
                  <c:v>0.0819469294886971</c:v>
                </c:pt>
                <c:pt idx="1">
                  <c:v>0.08178029636262159</c:v>
                </c:pt>
                <c:pt idx="2">
                  <c:v>0.08184209135929024</c:v>
                </c:pt>
                <c:pt idx="3">
                  <c:v>0.08169338763617992</c:v>
                </c:pt>
                <c:pt idx="4">
                  <c:v>0.0816976510712881</c:v>
                </c:pt>
                <c:pt idx="5">
                  <c:v>0.08177536470064245</c:v>
                </c:pt>
                <c:pt idx="6">
                  <c:v>0.08183514747158994</c:v>
                </c:pt>
                <c:pt idx="7">
                  <c:v>0.08185944860727142</c:v>
                </c:pt>
                <c:pt idx="8">
                  <c:v>0.08196200779379628</c:v>
                </c:pt>
                <c:pt idx="9">
                  <c:v>0.08195041151787485</c:v>
                </c:pt>
                <c:pt idx="10">
                  <c:v>0.08195561907040166</c:v>
                </c:pt>
                <c:pt idx="11">
                  <c:v>0.08198182199570996</c:v>
                </c:pt>
                <c:pt idx="12">
                  <c:v>0.08196969677440054</c:v>
                </c:pt>
                <c:pt idx="13">
                  <c:v>0.08189239977144033</c:v>
                </c:pt>
                <c:pt idx="14">
                  <c:v>0.08186446611648486</c:v>
                </c:pt>
                <c:pt idx="15">
                  <c:v>0.08186124363627623</c:v>
                </c:pt>
                <c:pt idx="16">
                  <c:v>0.08190468307327367</c:v>
                </c:pt>
                <c:pt idx="17">
                  <c:v>0.08181551543884659</c:v>
                </c:pt>
                <c:pt idx="18">
                  <c:v>0.08144368735210449</c:v>
                </c:pt>
                <c:pt idx="19">
                  <c:v>0.08177239990968548</c:v>
                </c:pt>
                <c:pt idx="20">
                  <c:v>0.08174050751877962</c:v>
                </c:pt>
                <c:pt idx="21">
                  <c:v>0.08165765167485478</c:v>
                </c:pt>
                <c:pt idx="22">
                  <c:v>0.08168882073099273</c:v>
                </c:pt>
                <c:pt idx="23">
                  <c:v>0.08162269501190864</c:v>
                </c:pt>
                <c:pt idx="24">
                  <c:v>0.08169196600951155</c:v>
                </c:pt>
                <c:pt idx="25">
                  <c:v>0.08169066862176351</c:v>
                </c:pt>
                <c:pt idx="26">
                  <c:v>0.08171796305428951</c:v>
                </c:pt>
                <c:pt idx="27">
                  <c:v>0.08175397155030398</c:v>
                </c:pt>
                <c:pt idx="28">
                  <c:v>0.08176397818747319</c:v>
                </c:pt>
                <c:pt idx="29">
                  <c:v>0.08156508835698958</c:v>
                </c:pt>
                <c:pt idx="30">
                  <c:v>0.08144489505139531</c:v>
                </c:pt>
                <c:pt idx="31">
                  <c:v>0.08141446119384775</c:v>
                </c:pt>
                <c:pt idx="32">
                  <c:v>0.08148932104975017</c:v>
                </c:pt>
                <c:pt idx="33">
                  <c:v>0.08166858272807477</c:v>
                </c:pt>
                <c:pt idx="34">
                  <c:v>0.0817880307614814</c:v>
                </c:pt>
                <c:pt idx="35">
                  <c:v>0.08166032035554023</c:v>
                </c:pt>
                <c:pt idx="36">
                  <c:v>0.08145410975313899</c:v>
                </c:pt>
                <c:pt idx="37">
                  <c:v>0.08167913216430164</c:v>
                </c:pt>
                <c:pt idx="38">
                  <c:v>0.08164619780845674</c:v>
                </c:pt>
                <c:pt idx="39">
                  <c:v>0.08177955833524234</c:v>
                </c:pt>
                <c:pt idx="40">
                  <c:v>0.08178443431581542</c:v>
                </c:pt>
                <c:pt idx="41">
                  <c:v>0.0818233420010966</c:v>
                </c:pt>
                <c:pt idx="42">
                  <c:v>0.08171151073176573</c:v>
                </c:pt>
                <c:pt idx="43">
                  <c:v>0.08201944519576825</c:v>
                </c:pt>
                <c:pt idx="44">
                  <c:v>0.08231666813616612</c:v>
                </c:pt>
                <c:pt idx="45">
                  <c:v>0.08241901253769518</c:v>
                </c:pt>
                <c:pt idx="46">
                  <c:v>0.08229841770381133</c:v>
                </c:pt>
                <c:pt idx="47">
                  <c:v>0.08235717888339436</c:v>
                </c:pt>
                <c:pt idx="48">
                  <c:v>0.08253155434136014</c:v>
                </c:pt>
                <c:pt idx="49">
                  <c:v>0.08268205337810329</c:v>
                </c:pt>
                <c:pt idx="50">
                  <c:v>0.0824827640499631</c:v>
                </c:pt>
                <c:pt idx="51">
                  <c:v>0.08219301194338723</c:v>
                </c:pt>
                <c:pt idx="52">
                  <c:v>0.09571001428789952</c:v>
                </c:pt>
                <c:pt idx="53">
                  <c:v>0.17254984366128495</c:v>
                </c:pt>
                <c:pt idx="54">
                  <c:v>0.0679642705695767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530856005308555"/>
          <c:min val="0.04495203289173138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1.8062</c:v>
                </c:pt>
                <c:pt idx="1">
                  <c:v>851.3783</c:v>
                </c:pt>
                <c:pt idx="2">
                  <c:v>876.7815</c:v>
                </c:pt>
                <c:pt idx="3">
                  <c:v>890.7982</c:v>
                </c:pt>
                <c:pt idx="4">
                  <c:v>889.7335</c:v>
                </c:pt>
                <c:pt idx="5">
                  <c:v>882.0165</c:v>
                </c:pt>
                <c:pt idx="6">
                  <c:v>861.4017</c:v>
                </c:pt>
                <c:pt idx="7">
                  <c:v>862.9501</c:v>
                </c:pt>
                <c:pt idx="8">
                  <c:v>857.6605</c:v>
                </c:pt>
                <c:pt idx="9">
                  <c:v>842.5532</c:v>
                </c:pt>
                <c:pt idx="10">
                  <c:v>852.795</c:v>
                </c:pt>
                <c:pt idx="11">
                  <c:v>889.6418</c:v>
                </c:pt>
                <c:pt idx="12">
                  <c:v>893.1318</c:v>
                </c:pt>
                <c:pt idx="13">
                  <c:v>884.4411</c:v>
                </c:pt>
                <c:pt idx="14">
                  <c:v>893.2331</c:v>
                </c:pt>
                <c:pt idx="15">
                  <c:v>901.6838</c:v>
                </c:pt>
                <c:pt idx="16">
                  <c:v>904.0258</c:v>
                </c:pt>
                <c:pt idx="17">
                  <c:v>925.5929</c:v>
                </c:pt>
                <c:pt idx="18">
                  <c:v>953.2389</c:v>
                </c:pt>
                <c:pt idx="19">
                  <c:v>969.3516</c:v>
                </c:pt>
                <c:pt idx="20">
                  <c:v>956.7371</c:v>
                </c:pt>
                <c:pt idx="21">
                  <c:v>962.3117</c:v>
                </c:pt>
                <c:pt idx="22">
                  <c:v>948.1302</c:v>
                </c:pt>
                <c:pt idx="23">
                  <c:v>938.1024</c:v>
                </c:pt>
                <c:pt idx="24">
                  <c:v>921.1605</c:v>
                </c:pt>
                <c:pt idx="25">
                  <c:v>908.203</c:v>
                </c:pt>
                <c:pt idx="26">
                  <c:v>899.6156</c:v>
                </c:pt>
                <c:pt idx="27">
                  <c:v>942.5468</c:v>
                </c:pt>
                <c:pt idx="28">
                  <c:v>935.7389</c:v>
                </c:pt>
                <c:pt idx="29">
                  <c:v>754.5697</c:v>
                </c:pt>
                <c:pt idx="30">
                  <c:v>827.6375</c:v>
                </c:pt>
                <c:pt idx="31">
                  <c:v>863.1492</c:v>
                </c:pt>
                <c:pt idx="32">
                  <c:v>846.1058</c:v>
                </c:pt>
                <c:pt idx="33">
                  <c:v>759.3944</c:v>
                </c:pt>
                <c:pt idx="34">
                  <c:v>909.0433</c:v>
                </c:pt>
                <c:pt idx="35">
                  <c:v>949.2573</c:v>
                </c:pt>
                <c:pt idx="36">
                  <c:v>1006.4828</c:v>
                </c:pt>
                <c:pt idx="37">
                  <c:v>1016.8577</c:v>
                </c:pt>
                <c:pt idx="38">
                  <c:v>1062.9505</c:v>
                </c:pt>
                <c:pt idx="39">
                  <c:v>1112.1856</c:v>
                </c:pt>
                <c:pt idx="40">
                  <c:v>1115.7906</c:v>
                </c:pt>
                <c:pt idx="41">
                  <c:v>1121.2871</c:v>
                </c:pt>
                <c:pt idx="42">
                  <c:v>1133.599</c:v>
                </c:pt>
                <c:pt idx="43">
                  <c:v>1120.7837</c:v>
                </c:pt>
                <c:pt idx="44">
                  <c:v>1056.4575</c:v>
                </c:pt>
                <c:pt idx="45">
                  <c:v>1019.5386</c:v>
                </c:pt>
                <c:pt idx="46">
                  <c:v>1011.3698</c:v>
                </c:pt>
                <c:pt idx="47">
                  <c:v>1011.3322</c:v>
                </c:pt>
                <c:pt idx="48">
                  <c:v>1027.4333</c:v>
                </c:pt>
                <c:pt idx="49">
                  <c:v>1011.878</c:v>
                </c:pt>
                <c:pt idx="50">
                  <c:v>1008.8434</c:v>
                </c:pt>
                <c:pt idx="51">
                  <c:v>1007.2633</c:v>
                </c:pt>
                <c:pt idx="52">
                  <c:v>1010.3244</c:v>
                </c:pt>
                <c:pt idx="53">
                  <c:v>1027.3932</c:v>
                </c:pt>
                <c:pt idx="54">
                  <c:v>1042.8267</c:v>
                </c:pt>
                <c:pt idx="55">
                  <c:v>1044.3486</c:v>
                </c:pt>
                <c:pt idx="56">
                  <c:v>1058.454</c:v>
                </c:pt>
                <c:pt idx="57">
                  <c:v>1078.0817</c:v>
                </c:pt>
                <c:pt idx="58">
                  <c:v>1045.4503</c:v>
                </c:pt>
                <c:pt idx="59">
                  <c:v>1039.3856</c:v>
                </c:pt>
                <c:pt idx="60">
                  <c:v>1062.4727</c:v>
                </c:pt>
                <c:pt idx="61">
                  <c:v>1026.7703</c:v>
                </c:pt>
                <c:pt idx="62">
                  <c:v>995.0123</c:v>
                </c:pt>
                <c:pt idx="63">
                  <c:v>1053.2535</c:v>
                </c:pt>
                <c:pt idx="64">
                  <c:v>1052.2665</c:v>
                </c:pt>
                <c:pt idx="65">
                  <c:v>1049.625</c:v>
                </c:pt>
                <c:pt idx="66">
                  <c:v>1035.6545</c:v>
                </c:pt>
                <c:pt idx="67">
                  <c:v>1040.6723</c:v>
                </c:pt>
                <c:pt idx="68">
                  <c:v>1022.8378</c:v>
                </c:pt>
                <c:pt idx="69">
                  <c:v>1034.6112</c:v>
                </c:pt>
                <c:pt idx="70">
                  <c:v>1044.2291</c:v>
                </c:pt>
                <c:pt idx="71">
                  <c:v>1075.3233</c:v>
                </c:pt>
                <c:pt idx="72">
                  <c:v>1116.397</c:v>
                </c:pt>
                <c:pt idx="73">
                  <c:v>1171.3293</c:v>
                </c:pt>
                <c:pt idx="74">
                  <c:v>1156.6637</c:v>
                </c:pt>
                <c:pt idx="75">
                  <c:v>1136.6093</c:v>
                </c:pt>
                <c:pt idx="76">
                  <c:v>1148.6688</c:v>
                </c:pt>
                <c:pt idx="77">
                  <c:v>1142.8243</c:v>
                </c:pt>
                <c:pt idx="78">
                  <c:v>1134.9709</c:v>
                </c:pt>
                <c:pt idx="79">
                  <c:v>1147.1602</c:v>
                </c:pt>
                <c:pt idx="80">
                  <c:v>1149.0139</c:v>
                </c:pt>
                <c:pt idx="81">
                  <c:v>1146.5321</c:v>
                </c:pt>
                <c:pt idx="82">
                  <c:v>1166.895</c:v>
                </c:pt>
                <c:pt idx="83">
                  <c:v>1159.9266</c:v>
                </c:pt>
                <c:pt idx="84">
                  <c:v>1109.4146</c:v>
                </c:pt>
                <c:pt idx="85">
                  <c:v>1100.7351</c:v>
                </c:pt>
                <c:pt idx="86">
                  <c:v>1113.3333</c:v>
                </c:pt>
                <c:pt idx="87">
                  <c:v>1146.2705</c:v>
                </c:pt>
                <c:pt idx="88">
                  <c:v>1139.8118</c:v>
                </c:pt>
                <c:pt idx="89">
                  <c:v>1115.1484</c:v>
                </c:pt>
                <c:pt idx="90">
                  <c:v>1177.9075</c:v>
                </c:pt>
                <c:pt idx="91">
                  <c:v>1195.2348</c:v>
                </c:pt>
                <c:pt idx="92">
                  <c:v>1136.9442</c:v>
                </c:pt>
                <c:pt idx="93">
                  <c:v>1159.2648</c:v>
                </c:pt>
                <c:pt idx="94">
                  <c:v>1181.9074</c:v>
                </c:pt>
                <c:pt idx="95">
                  <c:v>1158.5618</c:v>
                </c:pt>
                <c:pt idx="96">
                  <c:v>1105.0617</c:v>
                </c:pt>
                <c:pt idx="97">
                  <c:v>1109.9931</c:v>
                </c:pt>
                <c:pt idx="98">
                  <c:v>1082.8388</c:v>
                </c:pt>
                <c:pt idx="99">
                  <c:v>1030.6824</c:v>
                </c:pt>
                <c:pt idx="100">
                  <c:v>1045.5081</c:v>
                </c:pt>
                <c:pt idx="101">
                  <c:v>1060.0546</c:v>
                </c:pt>
                <c:pt idx="102">
                  <c:v>1084.8774</c:v>
                </c:pt>
                <c:pt idx="103">
                  <c:v>1034.9794</c:v>
                </c:pt>
                <c:pt idx="104">
                  <c:v>1084.8869</c:v>
                </c:pt>
              </c:numCache>
            </c:numRef>
          </c:xVal>
          <c:yVal>
            <c:numRef>
              <c:f>Sheet1!$B$2:$B$106</c:f>
              <c:numCache>
                <c:formatCode>General</c:formatCode>
                <c:ptCount val="105"/>
                <c:pt idx="0">
                  <c:v>0.21275713337757132</c:v>
                </c:pt>
                <c:pt idx="1">
                  <c:v>0.19320327249842667</c:v>
                </c:pt>
                <c:pt idx="2">
                  <c:v>0.1629499840713603</c:v>
                </c:pt>
                <c:pt idx="3">
                  <c:v>0.1625384352579433</c:v>
                </c:pt>
                <c:pt idx="4">
                  <c:v>0.1519509358147404</c:v>
                </c:pt>
                <c:pt idx="5">
                  <c:v>0.13924466338259442</c:v>
                </c:pt>
                <c:pt idx="6">
                  <c:v>0.1603197513045409</c:v>
                </c:pt>
                <c:pt idx="7">
                  <c:v>0.16011722392433728</c:v>
                </c:pt>
                <c:pt idx="8">
                  <c:v>0.16111662179396344</c:v>
                </c:pt>
                <c:pt idx="9">
                  <c:v>0.16815889677884122</c:v>
                </c:pt>
                <c:pt idx="10">
                  <c:v>0.1775177025963808</c:v>
                </c:pt>
                <c:pt idx="11">
                  <c:v>0.16727976766698935</c:v>
                </c:pt>
                <c:pt idx="12">
                  <c:v>0.17367767128150516</c:v>
                </c:pt>
                <c:pt idx="13">
                  <c:v>0.1737161488995562</c:v>
                </c:pt>
                <c:pt idx="14">
                  <c:v>0.17845087127086945</c:v>
                </c:pt>
                <c:pt idx="15">
                  <c:v>0.18394343710799407</c:v>
                </c:pt>
                <c:pt idx="16">
                  <c:v>0.18158670597694987</c:v>
                </c:pt>
                <c:pt idx="17">
                  <c:v>0.164764820484275</c:v>
                </c:pt>
                <c:pt idx="18">
                  <c:v>0.15696950840074672</c:v>
                </c:pt>
                <c:pt idx="19">
                  <c:v>0.15949319918017515</c:v>
                </c:pt>
                <c:pt idx="20">
                  <c:v>0.17789473684210527</c:v>
                </c:pt>
                <c:pt idx="21">
                  <c:v>0.1660056657223796</c:v>
                </c:pt>
                <c:pt idx="22">
                  <c:v>0.16938472942920682</c:v>
                </c:pt>
                <c:pt idx="23">
                  <c:v>0.17258982917730217</c:v>
                </c:pt>
                <c:pt idx="24">
                  <c:v>0.16918160837919405</c:v>
                </c:pt>
                <c:pt idx="25">
                  <c:v>0.16618675442204853</c:v>
                </c:pt>
                <c:pt idx="26">
                  <c:v>0.17530721966205837</c:v>
                </c:pt>
                <c:pt idx="27">
                  <c:v>0.15330882352941178</c:v>
                </c:pt>
                <c:pt idx="28">
                  <c:v>0.1581605049594229</c:v>
                </c:pt>
                <c:pt idx="29">
                  <c:v>0.19537153652392947</c:v>
                </c:pt>
                <c:pt idx="30">
                  <c:v>0.17939719240297275</c:v>
                </c:pt>
                <c:pt idx="31">
                  <c:v>0.16600633914421553</c:v>
                </c:pt>
                <c:pt idx="32">
                  <c:v>0.1670150104503135</c:v>
                </c:pt>
                <c:pt idx="33">
                  <c:v>0.19675305332141793</c:v>
                </c:pt>
                <c:pt idx="34">
                  <c:v>0.17448536619521077</c:v>
                </c:pt>
                <c:pt idx="35">
                  <c:v>0.17164570230607967</c:v>
                </c:pt>
                <c:pt idx="36">
                  <c:v>0.13192111029948866</c:v>
                </c:pt>
                <c:pt idx="37">
                  <c:v>0.1165654243966508</c:v>
                </c:pt>
                <c:pt idx="38">
                  <c:v>0.10898379970544919</c:v>
                </c:pt>
                <c:pt idx="39">
                  <c:v>0.09519725557461406</c:v>
                </c:pt>
                <c:pt idx="40">
                  <c:v>0.09437639198218263</c:v>
                </c:pt>
                <c:pt idx="41">
                  <c:v>0.0806720145300439</c:v>
                </c:pt>
                <c:pt idx="42">
                  <c:v>0.0811764705882353</c:v>
                </c:pt>
                <c:pt idx="43">
                  <c:v>0.0849034104459814</c:v>
                </c:pt>
                <c:pt idx="44">
                  <c:v>0.0963064960311032</c:v>
                </c:pt>
                <c:pt idx="45">
                  <c:v>0.11026731470230863</c:v>
                </c:pt>
                <c:pt idx="46">
                  <c:v>0.11005761797097222</c:v>
                </c:pt>
                <c:pt idx="47">
                  <c:v>0.10516536603493125</c:v>
                </c:pt>
                <c:pt idx="48">
                  <c:v>0.11268526591107236</c:v>
                </c:pt>
                <c:pt idx="49">
                  <c:v>0.132865275142315</c:v>
                </c:pt>
                <c:pt idx="50">
                  <c:v>0.10914454277286136</c:v>
                </c:pt>
                <c:pt idx="51">
                  <c:v>0.09979303518401872</c:v>
                </c:pt>
                <c:pt idx="52">
                  <c:v>0.11274324222003483</c:v>
                </c:pt>
                <c:pt idx="53">
                  <c:v>0.10075381503952932</c:v>
                </c:pt>
                <c:pt idx="54">
                  <c:v>0.09229098805646037</c:v>
                </c:pt>
                <c:pt idx="55">
                  <c:v>0.08790322580645162</c:v>
                </c:pt>
                <c:pt idx="56">
                  <c:v>0.09020217729393468</c:v>
                </c:pt>
                <c:pt idx="57">
                  <c:v>0.08302088912694162</c:v>
                </c:pt>
                <c:pt idx="58">
                  <c:v>0.09743012892619192</c:v>
                </c:pt>
                <c:pt idx="59">
                  <c:v>0.10261194029850747</c:v>
                </c:pt>
                <c:pt idx="60">
                  <c:v>0.10520675743822491</c:v>
                </c:pt>
                <c:pt idx="61">
                  <c:v>0.1152971152971153</c:v>
                </c:pt>
                <c:pt idx="62">
                  <c:v>0.12451746117245713</c:v>
                </c:pt>
                <c:pt idx="63">
                  <c:v>0.137372226377462</c:v>
                </c:pt>
                <c:pt idx="64">
                  <c:v>0.14348311710628062</c:v>
                </c:pt>
                <c:pt idx="65">
                  <c:v>0.13300142247510668</c:v>
                </c:pt>
                <c:pt idx="66">
                  <c:v>0.1349754590074532</c:v>
                </c:pt>
                <c:pt idx="67">
                  <c:v>0.1173056797640567</c:v>
                </c:pt>
                <c:pt idx="68">
                  <c:v>0.10839498230942425</c:v>
                </c:pt>
                <c:pt idx="69">
                  <c:v>0.09338796270132806</c:v>
                </c:pt>
                <c:pt idx="70">
                  <c:v>0.07858081471747701</c:v>
                </c:pt>
                <c:pt idx="71">
                  <c:v>0.09135446685878963</c:v>
                </c:pt>
                <c:pt idx="72">
                  <c:v>0.09184372858122002</c:v>
                </c:pt>
                <c:pt idx="73">
                  <c:v>0.08513434579439252</c:v>
                </c:pt>
                <c:pt idx="74">
                  <c:v>0.07852896446840868</c:v>
                </c:pt>
                <c:pt idx="75">
                  <c:v>0.08230589803398868</c:v>
                </c:pt>
                <c:pt idx="76">
                  <c:v>0.08296164139161463</c:v>
                </c:pt>
                <c:pt idx="77">
                  <c:v>0.08474264705882353</c:v>
                </c:pt>
                <c:pt idx="78">
                  <c:v>0.08102261553588987</c:v>
                </c:pt>
                <c:pt idx="79">
                  <c:v>0.06970461095100865</c:v>
                </c:pt>
                <c:pt idx="80">
                  <c:v>0.06458557588805167</c:v>
                </c:pt>
                <c:pt idx="81">
                  <c:v>0.0741733690795353</c:v>
                </c:pt>
                <c:pt idx="82">
                  <c:v>0.06761285235560813</c:v>
                </c:pt>
                <c:pt idx="83">
                  <c:v>0.0625136612021858</c:v>
                </c:pt>
                <c:pt idx="84">
                  <c:v>0.07058297967388877</c:v>
                </c:pt>
                <c:pt idx="85">
                  <c:v>0.08330019880715706</c:v>
                </c:pt>
                <c:pt idx="86">
                  <c:v>0.08738738738738738</c:v>
                </c:pt>
                <c:pt idx="87">
                  <c:v>0.09997076878105816</c:v>
                </c:pt>
                <c:pt idx="88">
                  <c:v>0.08097686375321336</c:v>
                </c:pt>
                <c:pt idx="89">
                  <c:v>0.07112153184837827</c:v>
                </c:pt>
                <c:pt idx="90">
                  <c:v>0.06972994760177348</c:v>
                </c:pt>
                <c:pt idx="91">
                  <c:v>0.0695084485407066</c:v>
                </c:pt>
                <c:pt idx="92">
                  <c:v>0.072710251209237</c:v>
                </c:pt>
                <c:pt idx="93">
                  <c:v>0.07056361190013455</c:v>
                </c:pt>
                <c:pt idx="94">
                  <c:v>0.07357567284166375</c:v>
                </c:pt>
                <c:pt idx="95">
                  <c:v>0.07847335936515934</c:v>
                </c:pt>
                <c:pt idx="96">
                  <c:v>0.07668893210450664</c:v>
                </c:pt>
                <c:pt idx="97">
                  <c:v>0.0878316559926807</c:v>
                </c:pt>
                <c:pt idx="98">
                  <c:v>0.10310706510983574</c:v>
                </c:pt>
                <c:pt idx="99">
                  <c:v>0.10578287270869985</c:v>
                </c:pt>
                <c:pt idx="100">
                  <c:v>0.12101434213261276</c:v>
                </c:pt>
                <c:pt idx="101">
                  <c:v>0.10400345001078129</c:v>
                </c:pt>
                <c:pt idx="102">
                  <c:v>0.08639430284857572</c:v>
                </c:pt>
                <c:pt idx="103">
                  <c:v>0.08791871178851288</c:v>
                </c:pt>
                <c:pt idx="104">
                  <c:v>0.0942381297196648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05.1652</c:v>
                </c:pt>
                <c:pt idx="1">
                  <c:v>1077.3861</c:v>
                </c:pt>
                <c:pt idx="2">
                  <c:v>1082.3896</c:v>
                </c:pt>
                <c:pt idx="3">
                  <c:v>1043.0893</c:v>
                </c:pt>
                <c:pt idx="4">
                  <c:v>1063.0638</c:v>
                </c:pt>
                <c:pt idx="5">
                  <c:v>1094.3556</c:v>
                </c:pt>
                <c:pt idx="6">
                  <c:v>995.9736</c:v>
                </c:pt>
                <c:pt idx="7">
                  <c:v>1058.4814</c:v>
                </c:pt>
                <c:pt idx="8">
                  <c:v>1110.3294</c:v>
                </c:pt>
                <c:pt idx="9">
                  <c:v>1077.7345</c:v>
                </c:pt>
                <c:pt idx="10">
                  <c:v>1094.5917</c:v>
                </c:pt>
                <c:pt idx="11">
                  <c:v>999.4156</c:v>
                </c:pt>
                <c:pt idx="12">
                  <c:v>1036.1162</c:v>
                </c:pt>
                <c:pt idx="13">
                  <c:v>1081.5061</c:v>
                </c:pt>
                <c:pt idx="14">
                  <c:v>1081.8897</c:v>
                </c:pt>
                <c:pt idx="15">
                  <c:v>1103.6678</c:v>
                </c:pt>
                <c:pt idx="16">
                  <c:v>1145.5745</c:v>
                </c:pt>
                <c:pt idx="17">
                  <c:v>1125.4611</c:v>
                </c:pt>
                <c:pt idx="18">
                  <c:v>965.6475</c:v>
                </c:pt>
                <c:pt idx="19">
                  <c:v>1169.195</c:v>
                </c:pt>
                <c:pt idx="20">
                  <c:v>1186.8163</c:v>
                </c:pt>
                <c:pt idx="21">
                  <c:v>1145.319</c:v>
                </c:pt>
                <c:pt idx="22">
                  <c:v>1175.2492</c:v>
                </c:pt>
                <c:pt idx="23">
                  <c:v>1114.9563</c:v>
                </c:pt>
                <c:pt idx="24">
                  <c:v>1147.7258</c:v>
                </c:pt>
                <c:pt idx="25">
                  <c:v>1091.4149</c:v>
                </c:pt>
                <c:pt idx="26">
                  <c:v>1113.061</c:v>
                </c:pt>
                <c:pt idx="27">
                  <c:v>1117.9946</c:v>
                </c:pt>
                <c:pt idx="28">
                  <c:v>1110.7604</c:v>
                </c:pt>
                <c:pt idx="29">
                  <c:v>1088.0634</c:v>
                </c:pt>
                <c:pt idx="30">
                  <c:v>1023.7684</c:v>
                </c:pt>
                <c:pt idx="31">
                  <c:v>973.752</c:v>
                </c:pt>
                <c:pt idx="32">
                  <c:v>1010.594</c:v>
                </c:pt>
                <c:pt idx="33">
                  <c:v>1046.9845</c:v>
                </c:pt>
                <c:pt idx="34">
                  <c:v>1082.4727</c:v>
                </c:pt>
                <c:pt idx="35">
                  <c:v>1091.152</c:v>
                </c:pt>
                <c:pt idx="36">
                  <c:v>1099.8767</c:v>
                </c:pt>
                <c:pt idx="37">
                  <c:v>1222.1203</c:v>
                </c:pt>
                <c:pt idx="38">
                  <c:v>1204.3647</c:v>
                </c:pt>
                <c:pt idx="39">
                  <c:v>1162.7692</c:v>
                </c:pt>
                <c:pt idx="40">
                  <c:v>1195.2389</c:v>
                </c:pt>
                <c:pt idx="41">
                  <c:v>1228.0108</c:v>
                </c:pt>
                <c:pt idx="42">
                  <c:v>1198.8</c:v>
                </c:pt>
                <c:pt idx="43">
                  <c:v>1206.5052</c:v>
                </c:pt>
                <c:pt idx="44">
                  <c:v>1164.0664</c:v>
                </c:pt>
                <c:pt idx="45">
                  <c:v>1117.2144</c:v>
                </c:pt>
                <c:pt idx="46">
                  <c:v>1130.5232</c:v>
                </c:pt>
                <c:pt idx="47">
                  <c:v>1113.0863</c:v>
                </c:pt>
                <c:pt idx="48">
                  <c:v>1104.0429</c:v>
                </c:pt>
                <c:pt idx="49">
                  <c:v>1137.1886</c:v>
                </c:pt>
                <c:pt idx="50">
                  <c:v>1008.1707</c:v>
                </c:pt>
                <c:pt idx="51">
                  <c:v>980.5317</c:v>
                </c:pt>
              </c:numCache>
            </c:numRef>
          </c:xVal>
          <c:yVal>
            <c:numRef>
              <c:f>Sheet1!$B$109:$B$160</c:f>
              <c:numCache>
                <c:formatCode>General</c:formatCode>
                <c:ptCount val="52"/>
                <c:pt idx="0">
                  <c:v>0.09052785121706627</c:v>
                </c:pt>
                <c:pt idx="1">
                  <c:v>0.09172473036174478</c:v>
                </c:pt>
                <c:pt idx="2">
                  <c:v>0.09263798495477982</c:v>
                </c:pt>
                <c:pt idx="3">
                  <c:v>0.10572384793615378</c:v>
                </c:pt>
                <c:pt idx="4">
                  <c:v>0.09503122454520771</c:v>
                </c:pt>
                <c:pt idx="5">
                  <c:v>0.09373536848019477</c:v>
                </c:pt>
                <c:pt idx="6">
                  <c:v>0.09653823254231522</c:v>
                </c:pt>
                <c:pt idx="7">
                  <c:v>0.09169020715630885</c:v>
                </c:pt>
                <c:pt idx="8">
                  <c:v>0.09929632525410477</c:v>
                </c:pt>
                <c:pt idx="9">
                  <c:v>0.10155600427604229</c:v>
                </c:pt>
                <c:pt idx="10">
                  <c:v>0.11311686789356465</c:v>
                </c:pt>
                <c:pt idx="11">
                  <c:v>0.12131119332358255</c:v>
                </c:pt>
                <c:pt idx="12">
                  <c:v>0.11949623165410551</c:v>
                </c:pt>
                <c:pt idx="13">
                  <c:v>0.10983436853002071</c:v>
                </c:pt>
                <c:pt idx="14">
                  <c:v>0.10768528034715084</c:v>
                </c:pt>
                <c:pt idx="15">
                  <c:v>0.10147841513897102</c:v>
                </c:pt>
                <c:pt idx="16">
                  <c:v>0.08916586768935762</c:v>
                </c:pt>
                <c:pt idx="17">
                  <c:v>0.07530723063732495</c:v>
                </c:pt>
                <c:pt idx="18">
                  <c:v>0.08606760098928277</c:v>
                </c:pt>
                <c:pt idx="19">
                  <c:v>0.08156581409856518</c:v>
                </c:pt>
                <c:pt idx="20">
                  <c:v>0.06662134602311352</c:v>
                </c:pt>
                <c:pt idx="21">
                  <c:v>0.0710239651416122</c:v>
                </c:pt>
                <c:pt idx="22">
                  <c:v>0.07033109716511578</c:v>
                </c:pt>
                <c:pt idx="23">
                  <c:v>0.07324330510414283</c:v>
                </c:pt>
                <c:pt idx="24">
                  <c:v>0.06435540793024704</c:v>
                </c:pt>
                <c:pt idx="25">
                  <c:v>0.07494407158836688</c:v>
                </c:pt>
                <c:pt idx="26">
                  <c:v>0.06500198176773682</c:v>
                </c:pt>
                <c:pt idx="27">
                  <c:v>0.06602768903088392</c:v>
                </c:pt>
                <c:pt idx="28">
                  <c:v>0.07181863312924044</c:v>
                </c:pt>
                <c:pt idx="29">
                  <c:v>0.0689723712979527</c:v>
                </c:pt>
                <c:pt idx="30">
                  <c:v>0.0723334695545566</c:v>
                </c:pt>
                <c:pt idx="31">
                  <c:v>0.08088869715271786</c:v>
                </c:pt>
                <c:pt idx="32">
                  <c:v>0.08311094166984369</c:v>
                </c:pt>
                <c:pt idx="33">
                  <c:v>0.09138257575757576</c:v>
                </c:pt>
                <c:pt idx="34">
                  <c:v>0.104529153938106</c:v>
                </c:pt>
                <c:pt idx="35">
                  <c:v>0.09309639880484352</c:v>
                </c:pt>
                <c:pt idx="36">
                  <c:v>0.07139457401237506</c:v>
                </c:pt>
                <c:pt idx="37">
                  <c:v>0.0610062893081761</c:v>
                </c:pt>
                <c:pt idx="38">
                  <c:v>0.059233449477351915</c:v>
                </c:pt>
                <c:pt idx="39">
                  <c:v>0.07029401824940859</c:v>
                </c:pt>
                <c:pt idx="40">
                  <c:v>0.05844155844155844</c:v>
                </c:pt>
                <c:pt idx="41">
                  <c:v>0.05619004111466423</c:v>
                </c:pt>
                <c:pt idx="42">
                  <c:v>0.0593089221248066</c:v>
                </c:pt>
                <c:pt idx="43">
                  <c:v>0.05844781875150639</c:v>
                </c:pt>
                <c:pt idx="44">
                  <c:v>0.05668634235701201</c:v>
                </c:pt>
                <c:pt idx="45">
                  <c:v>0.07061485642946318</c:v>
                </c:pt>
                <c:pt idx="46">
                  <c:v>0.06262872121325594</c:v>
                </c:pt>
                <c:pt idx="47">
                  <c:v>0.06420404573438875</c:v>
                </c:pt>
                <c:pt idx="48">
                  <c:v>0.06292380605176813</c:v>
                </c:pt>
                <c:pt idx="49">
                  <c:v>0.07689090275357267</c:v>
                </c:pt>
                <c:pt idx="50">
                  <c:v>0.09969380403458213</c:v>
                </c:pt>
                <c:pt idx="51">
                  <c:v>0.0872106801485109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81.4098595564565</c:v>
                </c:pt>
              </c:numCache>
            </c:numRef>
          </c:xVal>
          <c:yVal>
            <c:numRef>
              <c:f>Sheet1!$B$163:$B$164</c:f>
              <c:numCache>
                <c:formatCode>General</c:formatCode>
                <c:ptCount val="2"/>
                <c:pt idx="0">
                  <c:v>0.17254984366128495</c:v>
                </c:pt>
                <c:pt idx="1">
                  <c:v>0.1725498436612849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81.4098595564565</c:v>
                </c:pt>
                <c:pt idx="1">
                  <c:v>581.4098595564565</c:v>
                </c:pt>
              </c:numCache>
            </c:numRef>
          </c:xVal>
          <c:yVal>
            <c:numRef>
              <c:f>Sheet1!$B$167:$B$168</c:f>
              <c:numCache>
                <c:formatCode>General</c:formatCode>
                <c:ptCount val="2"/>
                <c:pt idx="0">
                  <c:v>0.1725498436612849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22.4548205472868</c:v>
                </c:pt>
              </c:numCache>
            </c:numRef>
          </c:xVal>
          <c:yVal>
            <c:numRef>
              <c:f>Sheet1!$B$171:$B$172</c:f>
              <c:numCache>
                <c:formatCode>General</c:formatCode>
                <c:ptCount val="2"/>
                <c:pt idx="0">
                  <c:v>0.09571001428789952</c:v>
                </c:pt>
                <c:pt idx="1">
                  <c:v>0.0957100142878995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22.4548205472868</c:v>
                </c:pt>
                <c:pt idx="1">
                  <c:v>1022.4548205472868</c:v>
                </c:pt>
              </c:numCache>
            </c:numRef>
          </c:xVal>
          <c:yVal>
            <c:numRef>
              <c:f>Sheet1!$B$175:$B$176</c:f>
              <c:numCache>
                <c:formatCode>General</c:formatCode>
                <c:ptCount val="2"/>
                <c:pt idx="0">
                  <c:v>0.0957100142878995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81.7097350324007</c:v>
                </c:pt>
              </c:numCache>
            </c:numRef>
          </c:xVal>
          <c:yVal>
            <c:numRef>
              <c:f>Sheet1!$B$179:$B$180</c:f>
              <c:numCache>
                <c:formatCode>General</c:formatCode>
                <c:ptCount val="2"/>
                <c:pt idx="0">
                  <c:v>0.06796427056957678</c:v>
                </c:pt>
                <c:pt idx="1">
                  <c:v>0.0679642705695767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81.7097350324007</c:v>
                </c:pt>
                <c:pt idx="1">
                  <c:v>1181.7097350324007</c:v>
                </c:pt>
              </c:numCache>
            </c:numRef>
          </c:xVal>
          <c:yVal>
            <c:numRef>
              <c:f>Sheet1!$B$183:$B$184</c:f>
              <c:numCache>
                <c:formatCode>General</c:formatCode>
                <c:ptCount val="2"/>
                <c:pt idx="0">
                  <c:v>0.067964270569576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05.1652</c:v>
                </c:pt>
                <c:pt idx="1">
                  <c:v>1077.3861</c:v>
                </c:pt>
                <c:pt idx="2">
                  <c:v>1082.3896</c:v>
                </c:pt>
                <c:pt idx="3">
                  <c:v>1043.0893</c:v>
                </c:pt>
                <c:pt idx="4">
                  <c:v>1063.0638</c:v>
                </c:pt>
                <c:pt idx="5">
                  <c:v>1094.3556</c:v>
                </c:pt>
                <c:pt idx="6">
                  <c:v>995.9736</c:v>
                </c:pt>
                <c:pt idx="7">
                  <c:v>1058.4814</c:v>
                </c:pt>
                <c:pt idx="8">
                  <c:v>1110.3294</c:v>
                </c:pt>
                <c:pt idx="9">
                  <c:v>1077.7345</c:v>
                </c:pt>
                <c:pt idx="10">
                  <c:v>1094.5917</c:v>
                </c:pt>
                <c:pt idx="11">
                  <c:v>999.4156</c:v>
                </c:pt>
                <c:pt idx="12">
                  <c:v>1036.1162</c:v>
                </c:pt>
                <c:pt idx="13">
                  <c:v>1081.5061</c:v>
                </c:pt>
                <c:pt idx="14">
                  <c:v>1081.8897</c:v>
                </c:pt>
                <c:pt idx="15">
                  <c:v>1103.6678</c:v>
                </c:pt>
                <c:pt idx="16">
                  <c:v>1145.5745</c:v>
                </c:pt>
                <c:pt idx="17">
                  <c:v>1125.4611</c:v>
                </c:pt>
                <c:pt idx="18">
                  <c:v>965.6475</c:v>
                </c:pt>
                <c:pt idx="19">
                  <c:v>1169.195</c:v>
                </c:pt>
                <c:pt idx="20">
                  <c:v>1186.8163</c:v>
                </c:pt>
                <c:pt idx="21">
                  <c:v>1145.319</c:v>
                </c:pt>
                <c:pt idx="22">
                  <c:v>1175.2492</c:v>
                </c:pt>
                <c:pt idx="23">
                  <c:v>1114.9563</c:v>
                </c:pt>
                <c:pt idx="24">
                  <c:v>1147.7258</c:v>
                </c:pt>
                <c:pt idx="25">
                  <c:v>1091.4149</c:v>
                </c:pt>
                <c:pt idx="26">
                  <c:v>1113.061</c:v>
                </c:pt>
                <c:pt idx="27">
                  <c:v>1117.9946</c:v>
                </c:pt>
                <c:pt idx="28">
                  <c:v>1110.7604</c:v>
                </c:pt>
                <c:pt idx="29">
                  <c:v>1088.0634</c:v>
                </c:pt>
                <c:pt idx="30">
                  <c:v>1023.7684</c:v>
                </c:pt>
                <c:pt idx="31">
                  <c:v>973.752</c:v>
                </c:pt>
                <c:pt idx="32">
                  <c:v>1010.594</c:v>
                </c:pt>
                <c:pt idx="33">
                  <c:v>1046.9845</c:v>
                </c:pt>
                <c:pt idx="34">
                  <c:v>1082.4727</c:v>
                </c:pt>
                <c:pt idx="35">
                  <c:v>1091.152</c:v>
                </c:pt>
                <c:pt idx="36">
                  <c:v>1099.8767</c:v>
                </c:pt>
                <c:pt idx="37">
                  <c:v>1222.1203</c:v>
                </c:pt>
                <c:pt idx="38">
                  <c:v>1204.3647</c:v>
                </c:pt>
                <c:pt idx="39">
                  <c:v>1162.7692</c:v>
                </c:pt>
                <c:pt idx="40">
                  <c:v>1195.2389</c:v>
                </c:pt>
                <c:pt idx="41">
                  <c:v>1228.0108</c:v>
                </c:pt>
                <c:pt idx="42">
                  <c:v>1198.8</c:v>
                </c:pt>
                <c:pt idx="43">
                  <c:v>1206.5052</c:v>
                </c:pt>
                <c:pt idx="44">
                  <c:v>1164.0664</c:v>
                </c:pt>
                <c:pt idx="45">
                  <c:v>1117.2144</c:v>
                </c:pt>
                <c:pt idx="46">
                  <c:v>1130.5232</c:v>
                </c:pt>
                <c:pt idx="47">
                  <c:v>1113.0863</c:v>
                </c:pt>
                <c:pt idx="48">
                  <c:v>1104.0429</c:v>
                </c:pt>
                <c:pt idx="49">
                  <c:v>1137.1886</c:v>
                </c:pt>
                <c:pt idx="50">
                  <c:v>1008.1707</c:v>
                </c:pt>
                <c:pt idx="51">
                  <c:v>980.5317</c:v>
                </c:pt>
                <c:pt idx="52">
                  <c:v>1022.4548205472868</c:v>
                </c:pt>
                <c:pt idx="53">
                  <c:v>581.4098595564565</c:v>
                </c:pt>
                <c:pt idx="54">
                  <c:v>1181.7097350324007</c:v>
                </c:pt>
              </c:numCache>
            </c:numRef>
          </c:xVal>
          <c:yVal>
            <c:numRef>
              <c:f>Sheet1!$B$187:$B$241</c:f>
              <c:numCache>
                <c:formatCode>General</c:formatCode>
                <c:ptCount val="55"/>
                <c:pt idx="0">
                  <c:v>0.08130002889712079</c:v>
                </c:pt>
                <c:pt idx="1">
                  <c:v>0.08613976518920052</c:v>
                </c:pt>
                <c:pt idx="2">
                  <c:v>0.08526804434376561</c:v>
                </c:pt>
                <c:pt idx="3">
                  <c:v>0.09211502960245363</c:v>
                </c:pt>
                <c:pt idx="4">
                  <c:v>0.08863502799814874</c:v>
                </c:pt>
                <c:pt idx="5">
                  <c:v>0.08318330133657578</c:v>
                </c:pt>
                <c:pt idx="6">
                  <c:v>0.1003236311488227</c:v>
                </c:pt>
                <c:pt idx="7">
                  <c:v>0.089433383869463</c:v>
                </c:pt>
                <c:pt idx="8">
                  <c:v>0.08040031054197036</c:v>
                </c:pt>
                <c:pt idx="9">
                  <c:v>0.08607906617000405</c:v>
                </c:pt>
                <c:pt idx="10">
                  <c:v>0.0831421674719596</c:v>
                </c:pt>
                <c:pt idx="11">
                  <c:v>0.09972395828982661</c:v>
                </c:pt>
                <c:pt idx="12">
                  <c:v>0.09332989851967205</c:v>
                </c:pt>
                <c:pt idx="13">
                  <c:v>0.08542196966942597</c:v>
                </c:pt>
                <c:pt idx="14">
                  <c:v>0.08535513802831302</c:v>
                </c:pt>
                <c:pt idx="15">
                  <c:v>0.08156090923967185</c:v>
                </c:pt>
                <c:pt idx="16">
                  <c:v>0.07425983120361965</c:v>
                </c:pt>
                <c:pt idx="17">
                  <c:v>0.07776403227338491</c:v>
                </c:pt>
                <c:pt idx="18">
                  <c:v>0.10560711141878246</c:v>
                </c:pt>
                <c:pt idx="19">
                  <c:v>0.070144615408757</c:v>
                </c:pt>
                <c:pt idx="20">
                  <c:v>0.06707459351734854</c:v>
                </c:pt>
                <c:pt idx="21">
                  <c:v>0.07430434497917848</c:v>
                </c:pt>
                <c:pt idx="22">
                  <c:v>0.06908983928355822</c:v>
                </c:pt>
                <c:pt idx="23">
                  <c:v>0.07959420178215368</c:v>
                </c:pt>
                <c:pt idx="24">
                  <c:v>0.0738850269556364</c:v>
                </c:pt>
                <c:pt idx="25">
                  <c:v>0.08369563659992554</c:v>
                </c:pt>
                <c:pt idx="26">
                  <c:v>0.07992440514347135</c:v>
                </c:pt>
                <c:pt idx="27">
                  <c:v>0.07906486243076269</c:v>
                </c:pt>
                <c:pt idx="28">
                  <c:v>0.08032522076793575</c:v>
                </c:pt>
                <c:pt idx="29">
                  <c:v>0.0842795423485965</c:v>
                </c:pt>
                <c:pt idx="30">
                  <c:v>0.09548115956799044</c:v>
                </c:pt>
                <c:pt idx="31">
                  <c:v>0.10419512748916776</c:v>
                </c:pt>
                <c:pt idx="32">
                  <c:v>0.09777643269801894</c:v>
                </c:pt>
                <c:pt idx="33">
                  <c:v>0.09143639923628236</c:v>
                </c:pt>
                <c:pt idx="34">
                  <c:v>0.08525356647782062</c:v>
                </c:pt>
                <c:pt idx="35">
                  <c:v>0.08374143961986455</c:v>
                </c:pt>
                <c:pt idx="36">
                  <c:v>0.08222140307341386</c:v>
                </c:pt>
                <c:pt idx="37">
                  <c:v>0.060923852490620406</c:v>
                </c:pt>
                <c:pt idx="38">
                  <c:v>0.06401727242530694</c:v>
                </c:pt>
                <c:pt idx="39">
                  <c:v>0.0712641325085063</c:v>
                </c:pt>
                <c:pt idx="40">
                  <c:v>0.06560718950160752</c:v>
                </c:pt>
                <c:pt idx="41">
                  <c:v>0.05989759654177773</c:v>
                </c:pt>
                <c:pt idx="42">
                  <c:v>0.06498676677697912</c:v>
                </c:pt>
                <c:pt idx="43">
                  <c:v>0.06364434977722991</c:v>
                </c:pt>
                <c:pt idx="44">
                  <c:v>0.07103813145310545</c:v>
                </c:pt>
                <c:pt idx="45">
                  <c:v>0.07920079060176466</c:v>
                </c:pt>
                <c:pt idx="46">
                  <c:v>0.07688210200623669</c:v>
                </c:pt>
                <c:pt idx="47">
                  <c:v>0.07991999732146884</c:v>
                </c:pt>
                <c:pt idx="48">
                  <c:v>0.08149555848737394</c:v>
                </c:pt>
                <c:pt idx="49">
                  <c:v>0.07572084126412382</c:v>
                </c:pt>
                <c:pt idx="50">
                  <c:v>0.09819862538808441</c:v>
                </c:pt>
                <c:pt idx="51">
                  <c:v>0.10301395314804754</c:v>
                </c:pt>
                <c:pt idx="52">
                  <c:v>0.09571001428789952</c:v>
                </c:pt>
                <c:pt idx="53">
                  <c:v>0.17254984366128495</c:v>
                </c:pt>
                <c:pt idx="54">
                  <c:v>0.0679642705695767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74.0"/>
          <c:min val="46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530856005308555"/>
          <c:min val="0.04495203289173138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003607882989001</c:v>
                </c:pt>
                <c:pt idx="1">
                  <c:v>2.199232444697478</c:v>
                </c:pt>
                <c:pt idx="2">
                  <c:v>2.241956670102463</c:v>
                </c:pt>
                <c:pt idx="3">
                  <c:v>2.2554902358951816</c:v>
                </c:pt>
                <c:pt idx="4">
                  <c:v>2.2712469230064287</c:v>
                </c:pt>
                <c:pt idx="5">
                  <c:v>1.8908820671199125</c:v>
                </c:pt>
                <c:pt idx="6">
                  <c:v>1.6979899930357711</c:v>
                </c:pt>
                <c:pt idx="7">
                  <c:v>1.68939871351603</c:v>
                </c:pt>
                <c:pt idx="8">
                  <c:v>1.6879870874947793</c:v>
                </c:pt>
                <c:pt idx="9">
                  <c:v>1.7502547316732895</c:v>
                </c:pt>
                <c:pt idx="10">
                  <c:v>1.7071872443858473</c:v>
                </c:pt>
                <c:pt idx="11">
                  <c:v>1.728647705675803</c:v>
                </c:pt>
                <c:pt idx="12">
                  <c:v>1.73195436072003</c:v>
                </c:pt>
                <c:pt idx="13">
                  <c:v>1.7015848591380616</c:v>
                </c:pt>
                <c:pt idx="14">
                  <c:v>1.7189873515162302</c:v>
                </c:pt>
                <c:pt idx="15">
                  <c:v>1.7141769179469204</c:v>
                </c:pt>
                <c:pt idx="16">
                  <c:v>1.6789313683958735</c:v>
                </c:pt>
                <c:pt idx="17">
                  <c:v>2.0611768483705086</c:v>
                </c:pt>
                <c:pt idx="18">
                  <c:v>2.1140931648958645</c:v>
                </c:pt>
                <c:pt idx="19">
                  <c:v>2.1233343402187796</c:v>
                </c:pt>
                <c:pt idx="20">
                  <c:v>2.125455198999051</c:v>
                </c:pt>
                <c:pt idx="21">
                  <c:v>2.1254001779722165</c:v>
                </c:pt>
                <c:pt idx="22">
                  <c:v>2.1045133614917617</c:v>
                </c:pt>
                <c:pt idx="23">
                  <c:v>2.1609720825051086</c:v>
                </c:pt>
                <c:pt idx="24">
                  <c:v>2.2339834199891886</c:v>
                </c:pt>
                <c:pt idx="25">
                  <c:v>2.250447572946647</c:v>
                </c:pt>
                <c:pt idx="26">
                  <c:v>1.869829219960517</c:v>
                </c:pt>
                <c:pt idx="27">
                  <c:v>1.8652805895775078</c:v>
                </c:pt>
                <c:pt idx="28">
                  <c:v>1.8027167740860361</c:v>
                </c:pt>
                <c:pt idx="29">
                  <c:v>1.4776399579601796</c:v>
                </c:pt>
                <c:pt idx="30">
                  <c:v>1.605445814973188</c:v>
                </c:pt>
                <c:pt idx="31">
                  <c:v>1.6360124360942414</c:v>
                </c:pt>
                <c:pt idx="32">
                  <c:v>1.5712443274680261</c:v>
                </c:pt>
                <c:pt idx="33">
                  <c:v>1.4082666268575896</c:v>
                </c:pt>
                <c:pt idx="34">
                  <c:v>1.7361795517585095</c:v>
                </c:pt>
                <c:pt idx="35">
                  <c:v>1.8406151068304764</c:v>
                </c:pt>
                <c:pt idx="36">
                  <c:v>1.9525547282410587</c:v>
                </c:pt>
                <c:pt idx="37">
                  <c:v>1.9820242086387028</c:v>
                </c:pt>
                <c:pt idx="38">
                  <c:v>2.0780891559358894</c:v>
                </c:pt>
                <c:pt idx="39">
                  <c:v>2.18046876960526</c:v>
                </c:pt>
                <c:pt idx="40">
                  <c:v>2.184669357943018</c:v>
                </c:pt>
                <c:pt idx="41">
                  <c:v>2.1980660011557966</c:v>
                </c:pt>
                <c:pt idx="42">
                  <c:v>2.225763192410094</c:v>
                </c:pt>
                <c:pt idx="43">
                  <c:v>2.2035486929805295</c:v>
                </c:pt>
                <c:pt idx="44">
                  <c:v>2.0789274467441583</c:v>
                </c:pt>
                <c:pt idx="45">
                  <c:v>2.00883380529453</c:v>
                </c:pt>
                <c:pt idx="46">
                  <c:v>2.0331513681563287</c:v>
                </c:pt>
                <c:pt idx="47">
                  <c:v>2.047852577128161</c:v>
                </c:pt>
                <c:pt idx="48">
                  <c:v>2.0483814244103167</c:v>
                </c:pt>
                <c:pt idx="49">
                  <c:v>2.003677548026734</c:v>
                </c:pt>
                <c:pt idx="50">
                  <c:v>1.9785937447904305</c:v>
                </c:pt>
                <c:pt idx="51">
                  <c:v>1.9986152244749102</c:v>
                </c:pt>
                <c:pt idx="52">
                  <c:v>2.0147845680362733</c:v>
                </c:pt>
                <c:pt idx="53">
                  <c:v>2.0337134677894593</c:v>
                </c:pt>
                <c:pt idx="54">
                  <c:v>2.140524899591057</c:v>
                </c:pt>
                <c:pt idx="55">
                  <c:v>2.1626995894727425</c:v>
                </c:pt>
                <c:pt idx="56">
                  <c:v>2.1896703063458096</c:v>
                </c:pt>
                <c:pt idx="57">
                  <c:v>2.237886540693028</c:v>
                </c:pt>
                <c:pt idx="58">
                  <c:v>2.156043736668448</c:v>
                </c:pt>
                <c:pt idx="59">
                  <c:v>2.2144586080760895</c:v>
                </c:pt>
                <c:pt idx="60">
                  <c:v>2.2644451870831452</c:v>
                </c:pt>
                <c:pt idx="61">
                  <c:v>2.091008119895536</c:v>
                </c:pt>
                <c:pt idx="62">
                  <c:v>2.06787255744666</c:v>
                </c:pt>
                <c:pt idx="63">
                  <c:v>2.197529553101276</c:v>
                </c:pt>
                <c:pt idx="64">
                  <c:v>2.1316272614696357</c:v>
                </c:pt>
                <c:pt idx="65">
                  <c:v>2.120486674040516</c:v>
                </c:pt>
                <c:pt idx="66">
                  <c:v>2.0759737129329605</c:v>
                </c:pt>
                <c:pt idx="67">
                  <c:v>2.0845047091390545</c:v>
                </c:pt>
                <c:pt idx="68">
                  <c:v>2.0191364740128694</c:v>
                </c:pt>
                <c:pt idx="69">
                  <c:v>2.0395775482516716</c:v>
                </c:pt>
                <c:pt idx="70">
                  <c:v>2.0782945085354583</c:v>
                </c:pt>
                <c:pt idx="71">
                  <c:v>2.134839819012071</c:v>
                </c:pt>
                <c:pt idx="72">
                  <c:v>2.2085730213890304</c:v>
                </c:pt>
                <c:pt idx="73">
                  <c:v>2.287290166929146</c:v>
                </c:pt>
                <c:pt idx="74">
                  <c:v>2.2864063372230015</c:v>
                </c:pt>
                <c:pt idx="75">
                  <c:v>2.2681900227196308</c:v>
                </c:pt>
                <c:pt idx="76">
                  <c:v>2.352574159198657</c:v>
                </c:pt>
                <c:pt idx="77">
                  <c:v>2.409281354565816</c:v>
                </c:pt>
                <c:pt idx="78">
                  <c:v>2.3553505806139925</c:v>
                </c:pt>
                <c:pt idx="79">
                  <c:v>2.461856637371731</c:v>
                </c:pt>
                <c:pt idx="80">
                  <c:v>2.4033120963153842</c:v>
                </c:pt>
                <c:pt idx="81">
                  <c:v>2.399458593494123</c:v>
                </c:pt>
                <c:pt idx="82">
                  <c:v>2.4187019169782036</c:v>
                </c:pt>
                <c:pt idx="83">
                  <c:v>2.445001068701711</c:v>
                </c:pt>
                <c:pt idx="84">
                  <c:v>2.3301003458979412</c:v>
                </c:pt>
                <c:pt idx="85">
                  <c:v>2.2685017031253096</c:v>
                </c:pt>
                <c:pt idx="86">
                  <c:v>2.2802179751909546</c:v>
                </c:pt>
                <c:pt idx="87">
                  <c:v>2.3476684817548716</c:v>
                </c:pt>
                <c:pt idx="88">
                  <c:v>2.299987226909612</c:v>
                </c:pt>
                <c:pt idx="89">
                  <c:v>2.237550491182315</c:v>
                </c:pt>
                <c:pt idx="90">
                  <c:v>2.373900322214761</c:v>
                </c:pt>
                <c:pt idx="91">
                  <c:v>2.4204071317309537</c:v>
                </c:pt>
                <c:pt idx="92">
                  <c:v>2.2991198610025867</c:v>
                </c:pt>
                <c:pt idx="93">
                  <c:v>2.117599479324693</c:v>
                </c:pt>
                <c:pt idx="94">
                  <c:v>2.076082255834828</c:v>
                </c:pt>
                <c:pt idx="95">
                  <c:v>2.0625948569443784</c:v>
                </c:pt>
                <c:pt idx="96">
                  <c:v>1.9706517678256008</c:v>
                </c:pt>
                <c:pt idx="97">
                  <c:v>1.9942785409983095</c:v>
                </c:pt>
                <c:pt idx="98">
                  <c:v>2.030151202223412</c:v>
                </c:pt>
                <c:pt idx="99">
                  <c:v>2.1950265518199736</c:v>
                </c:pt>
                <c:pt idx="100">
                  <c:v>1.9364800566325735</c:v>
                </c:pt>
                <c:pt idx="101">
                  <c:v>1.7779227250595868</c:v>
                </c:pt>
                <c:pt idx="102">
                  <c:v>1.7750555728808923</c:v>
                </c:pt>
                <c:pt idx="103">
                  <c:v>1.7065272090156554</c:v>
                </c:pt>
                <c:pt idx="104">
                  <c:v>1.776294976261477</c:v>
                </c:pt>
              </c:numCache>
            </c:numRef>
          </c:xVal>
          <c:yVal>
            <c:numRef>
              <c:f>Sheet1!$B$2:$B$106</c:f>
              <c:numCache>
                <c:formatCode>General</c:formatCode>
                <c:ptCount val="105"/>
                <c:pt idx="0">
                  <c:v>0.21275713337757132</c:v>
                </c:pt>
                <c:pt idx="1">
                  <c:v>0.19320327249842667</c:v>
                </c:pt>
                <c:pt idx="2">
                  <c:v>0.1629499840713603</c:v>
                </c:pt>
                <c:pt idx="3">
                  <c:v>0.1625384352579433</c:v>
                </c:pt>
                <c:pt idx="4">
                  <c:v>0.1519509358147404</c:v>
                </c:pt>
                <c:pt idx="5">
                  <c:v>0.13924466338259442</c:v>
                </c:pt>
                <c:pt idx="6">
                  <c:v>0.1603197513045409</c:v>
                </c:pt>
                <c:pt idx="7">
                  <c:v>0.16011722392433728</c:v>
                </c:pt>
                <c:pt idx="8">
                  <c:v>0.16111662179396344</c:v>
                </c:pt>
                <c:pt idx="9">
                  <c:v>0.16815889677884122</c:v>
                </c:pt>
                <c:pt idx="10">
                  <c:v>0.1775177025963808</c:v>
                </c:pt>
                <c:pt idx="11">
                  <c:v>0.16727976766698935</c:v>
                </c:pt>
                <c:pt idx="12">
                  <c:v>0.17367767128150516</c:v>
                </c:pt>
                <c:pt idx="13">
                  <c:v>0.1737161488995562</c:v>
                </c:pt>
                <c:pt idx="14">
                  <c:v>0.17845087127086945</c:v>
                </c:pt>
                <c:pt idx="15">
                  <c:v>0.18394343710799407</c:v>
                </c:pt>
                <c:pt idx="16">
                  <c:v>0.18158670597694987</c:v>
                </c:pt>
                <c:pt idx="17">
                  <c:v>0.164764820484275</c:v>
                </c:pt>
                <c:pt idx="18">
                  <c:v>0.15696950840074672</c:v>
                </c:pt>
                <c:pt idx="19">
                  <c:v>0.15949319918017515</c:v>
                </c:pt>
                <c:pt idx="20">
                  <c:v>0.17789473684210527</c:v>
                </c:pt>
                <c:pt idx="21">
                  <c:v>0.1660056657223796</c:v>
                </c:pt>
                <c:pt idx="22">
                  <c:v>0.16938472942920682</c:v>
                </c:pt>
                <c:pt idx="23">
                  <c:v>0.17258982917730217</c:v>
                </c:pt>
                <c:pt idx="24">
                  <c:v>0.16918160837919405</c:v>
                </c:pt>
                <c:pt idx="25">
                  <c:v>0.16618675442204853</c:v>
                </c:pt>
                <c:pt idx="26">
                  <c:v>0.17530721966205837</c:v>
                </c:pt>
                <c:pt idx="27">
                  <c:v>0.15330882352941178</c:v>
                </c:pt>
                <c:pt idx="28">
                  <c:v>0.1581605049594229</c:v>
                </c:pt>
                <c:pt idx="29">
                  <c:v>0.19537153652392947</c:v>
                </c:pt>
                <c:pt idx="30">
                  <c:v>0.17939719240297275</c:v>
                </c:pt>
                <c:pt idx="31">
                  <c:v>0.16600633914421553</c:v>
                </c:pt>
                <c:pt idx="32">
                  <c:v>0.1670150104503135</c:v>
                </c:pt>
                <c:pt idx="33">
                  <c:v>0.19675305332141793</c:v>
                </c:pt>
                <c:pt idx="34">
                  <c:v>0.17448536619521077</c:v>
                </c:pt>
                <c:pt idx="35">
                  <c:v>0.17164570230607967</c:v>
                </c:pt>
                <c:pt idx="36">
                  <c:v>0.13192111029948866</c:v>
                </c:pt>
                <c:pt idx="37">
                  <c:v>0.1165654243966508</c:v>
                </c:pt>
                <c:pt idx="38">
                  <c:v>0.10898379970544919</c:v>
                </c:pt>
                <c:pt idx="39">
                  <c:v>0.09519725557461406</c:v>
                </c:pt>
                <c:pt idx="40">
                  <c:v>0.09437639198218263</c:v>
                </c:pt>
                <c:pt idx="41">
                  <c:v>0.0806720145300439</c:v>
                </c:pt>
                <c:pt idx="42">
                  <c:v>0.0811764705882353</c:v>
                </c:pt>
                <c:pt idx="43">
                  <c:v>0.0849034104459814</c:v>
                </c:pt>
                <c:pt idx="44">
                  <c:v>0.0963064960311032</c:v>
                </c:pt>
                <c:pt idx="45">
                  <c:v>0.11026731470230863</c:v>
                </c:pt>
                <c:pt idx="46">
                  <c:v>0.11005761797097222</c:v>
                </c:pt>
                <c:pt idx="47">
                  <c:v>0.10516536603493125</c:v>
                </c:pt>
                <c:pt idx="48">
                  <c:v>0.11268526591107236</c:v>
                </c:pt>
                <c:pt idx="49">
                  <c:v>0.132865275142315</c:v>
                </c:pt>
                <c:pt idx="50">
                  <c:v>0.10914454277286136</c:v>
                </c:pt>
                <c:pt idx="51">
                  <c:v>0.09979303518401872</c:v>
                </c:pt>
                <c:pt idx="52">
                  <c:v>0.11274324222003483</c:v>
                </c:pt>
                <c:pt idx="53">
                  <c:v>0.10075381503952932</c:v>
                </c:pt>
                <c:pt idx="54">
                  <c:v>0.09229098805646037</c:v>
                </c:pt>
                <c:pt idx="55">
                  <c:v>0.08790322580645162</c:v>
                </c:pt>
                <c:pt idx="56">
                  <c:v>0.09020217729393468</c:v>
                </c:pt>
                <c:pt idx="57">
                  <c:v>0.08302088912694162</c:v>
                </c:pt>
                <c:pt idx="58">
                  <c:v>0.09743012892619192</c:v>
                </c:pt>
                <c:pt idx="59">
                  <c:v>0.10261194029850747</c:v>
                </c:pt>
                <c:pt idx="60">
                  <c:v>0.10520675743822491</c:v>
                </c:pt>
                <c:pt idx="61">
                  <c:v>0.1152971152971153</c:v>
                </c:pt>
                <c:pt idx="62">
                  <c:v>0.12451746117245713</c:v>
                </c:pt>
                <c:pt idx="63">
                  <c:v>0.137372226377462</c:v>
                </c:pt>
                <c:pt idx="64">
                  <c:v>0.14348311710628062</c:v>
                </c:pt>
                <c:pt idx="65">
                  <c:v>0.13300142247510668</c:v>
                </c:pt>
                <c:pt idx="66">
                  <c:v>0.1349754590074532</c:v>
                </c:pt>
                <c:pt idx="67">
                  <c:v>0.1173056797640567</c:v>
                </c:pt>
                <c:pt idx="68">
                  <c:v>0.10839498230942425</c:v>
                </c:pt>
                <c:pt idx="69">
                  <c:v>0.09338796270132806</c:v>
                </c:pt>
                <c:pt idx="70">
                  <c:v>0.07858081471747701</c:v>
                </c:pt>
                <c:pt idx="71">
                  <c:v>0.09135446685878963</c:v>
                </c:pt>
                <c:pt idx="72">
                  <c:v>0.09184372858122002</c:v>
                </c:pt>
                <c:pt idx="73">
                  <c:v>0.08513434579439252</c:v>
                </c:pt>
                <c:pt idx="74">
                  <c:v>0.07852896446840868</c:v>
                </c:pt>
                <c:pt idx="75">
                  <c:v>0.08230589803398868</c:v>
                </c:pt>
                <c:pt idx="76">
                  <c:v>0.08296164139161463</c:v>
                </c:pt>
                <c:pt idx="77">
                  <c:v>0.08474264705882353</c:v>
                </c:pt>
                <c:pt idx="78">
                  <c:v>0.08102261553588987</c:v>
                </c:pt>
                <c:pt idx="79">
                  <c:v>0.06970461095100865</c:v>
                </c:pt>
                <c:pt idx="80">
                  <c:v>0.06458557588805167</c:v>
                </c:pt>
                <c:pt idx="81">
                  <c:v>0.0741733690795353</c:v>
                </c:pt>
                <c:pt idx="82">
                  <c:v>0.06761285235560813</c:v>
                </c:pt>
                <c:pt idx="83">
                  <c:v>0.0625136612021858</c:v>
                </c:pt>
                <c:pt idx="84">
                  <c:v>0.07058297967388877</c:v>
                </c:pt>
                <c:pt idx="85">
                  <c:v>0.08330019880715706</c:v>
                </c:pt>
                <c:pt idx="86">
                  <c:v>0.08738738738738738</c:v>
                </c:pt>
                <c:pt idx="87">
                  <c:v>0.09997076878105816</c:v>
                </c:pt>
                <c:pt idx="88">
                  <c:v>0.08097686375321336</c:v>
                </c:pt>
                <c:pt idx="89">
                  <c:v>0.07112153184837827</c:v>
                </c:pt>
                <c:pt idx="90">
                  <c:v>0.06972994760177348</c:v>
                </c:pt>
                <c:pt idx="91">
                  <c:v>0.0695084485407066</c:v>
                </c:pt>
                <c:pt idx="92">
                  <c:v>0.072710251209237</c:v>
                </c:pt>
                <c:pt idx="93">
                  <c:v>0.07056361190013455</c:v>
                </c:pt>
                <c:pt idx="94">
                  <c:v>0.07357567284166375</c:v>
                </c:pt>
                <c:pt idx="95">
                  <c:v>0.07847335936515934</c:v>
                </c:pt>
                <c:pt idx="96">
                  <c:v>0.07668893210450664</c:v>
                </c:pt>
                <c:pt idx="97">
                  <c:v>0.0878316559926807</c:v>
                </c:pt>
                <c:pt idx="98">
                  <c:v>0.10310706510983574</c:v>
                </c:pt>
                <c:pt idx="99">
                  <c:v>0.10578287270869985</c:v>
                </c:pt>
                <c:pt idx="100">
                  <c:v>0.12101434213261276</c:v>
                </c:pt>
                <c:pt idx="101">
                  <c:v>0.10400345001078129</c:v>
                </c:pt>
                <c:pt idx="102">
                  <c:v>0.08639430284857572</c:v>
                </c:pt>
                <c:pt idx="103">
                  <c:v>0.08791871178851288</c:v>
                </c:pt>
                <c:pt idx="104">
                  <c:v>0.0942381297196648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7343142173519426</c:v>
                </c:pt>
                <c:pt idx="1">
                  <c:v>1.6813469363868676</c:v>
                </c:pt>
                <c:pt idx="2">
                  <c:v>1.6568170010895544</c:v>
                </c:pt>
                <c:pt idx="3">
                  <c:v>1.601305773786643</c:v>
                </c:pt>
                <c:pt idx="4">
                  <c:v>1.6079288064560138</c:v>
                </c:pt>
                <c:pt idx="5">
                  <c:v>1.615035432900628</c:v>
                </c:pt>
                <c:pt idx="6">
                  <c:v>1.576229824198238</c:v>
                </c:pt>
                <c:pt idx="7">
                  <c:v>1.571295540722951</c:v>
                </c:pt>
                <c:pt idx="8">
                  <c:v>1.6488851274440257</c:v>
                </c:pt>
                <c:pt idx="9">
                  <c:v>1.6651893097557782</c:v>
                </c:pt>
                <c:pt idx="10">
                  <c:v>1.6487796964481074</c:v>
                </c:pt>
                <c:pt idx="11">
                  <c:v>1.7552952218567903</c:v>
                </c:pt>
                <c:pt idx="12">
                  <c:v>1.7409279012392973</c:v>
                </c:pt>
                <c:pt idx="13">
                  <c:v>1.6552006217336181</c:v>
                </c:pt>
                <c:pt idx="14">
                  <c:v>1.666158503249032</c:v>
                </c:pt>
                <c:pt idx="15">
                  <c:v>1.751032888869709</c:v>
                </c:pt>
                <c:pt idx="16">
                  <c:v>1.725893116085317</c:v>
                </c:pt>
                <c:pt idx="17">
                  <c:v>1.7656155700829281</c:v>
                </c:pt>
                <c:pt idx="18">
                  <c:v>1.4810390014337274</c:v>
                </c:pt>
                <c:pt idx="19">
                  <c:v>1.786242725024845</c:v>
                </c:pt>
                <c:pt idx="20">
                  <c:v>1.7505047307817339</c:v>
                </c:pt>
                <c:pt idx="21">
                  <c:v>1.7158308802786992</c:v>
                </c:pt>
                <c:pt idx="22">
                  <c:v>1.746439022896979</c:v>
                </c:pt>
                <c:pt idx="23">
                  <c:v>1.6472502179552584</c:v>
                </c:pt>
                <c:pt idx="24">
                  <c:v>1.6660346899614993</c:v>
                </c:pt>
                <c:pt idx="25">
                  <c:v>1.6306285349225245</c:v>
                </c:pt>
                <c:pt idx="26">
                  <c:v>1.6218227385154504</c:v>
                </c:pt>
                <c:pt idx="27">
                  <c:v>1.626929568889231</c:v>
                </c:pt>
                <c:pt idx="28">
                  <c:v>1.627117521829831</c:v>
                </c:pt>
                <c:pt idx="29">
                  <c:v>1.593012295639998</c:v>
                </c:pt>
                <c:pt idx="30">
                  <c:v>1.4933470487835439</c:v>
                </c:pt>
                <c:pt idx="31">
                  <c:v>1.39840331750131</c:v>
                </c:pt>
                <c:pt idx="32">
                  <c:v>1.436705469507359</c:v>
                </c:pt>
                <c:pt idx="33">
                  <c:v>1.473576496289896</c:v>
                </c:pt>
                <c:pt idx="34">
                  <c:v>1.570558902377255</c:v>
                </c:pt>
                <c:pt idx="35">
                  <c:v>1.5236927043579362</c:v>
                </c:pt>
                <c:pt idx="36">
                  <c:v>1.51039370353388</c:v>
                </c:pt>
                <c:pt idx="37">
                  <c:v>1.6992717210064927</c:v>
                </c:pt>
                <c:pt idx="38">
                  <c:v>1.668805897248482</c:v>
                </c:pt>
                <c:pt idx="39">
                  <c:v>1.6955809173557395</c:v>
                </c:pt>
                <c:pt idx="40">
                  <c:v>1.6834853378720604</c:v>
                </c:pt>
                <c:pt idx="41">
                  <c:v>1.7168572226275878</c:v>
                </c:pt>
                <c:pt idx="42">
                  <c:v>1.6915185470888539</c:v>
                </c:pt>
                <c:pt idx="43">
                  <c:v>1.7346157213734648</c:v>
                </c:pt>
                <c:pt idx="44">
                  <c:v>1.6964602403152436</c:v>
                </c:pt>
                <c:pt idx="45">
                  <c:v>1.7171453027105863</c:v>
                </c:pt>
                <c:pt idx="46">
                  <c:v>1.7052889722937334</c:v>
                </c:pt>
                <c:pt idx="47">
                  <c:v>1.7275689154207172</c:v>
                </c:pt>
                <c:pt idx="48">
                  <c:v>1.688386569223224</c:v>
                </c:pt>
                <c:pt idx="49">
                  <c:v>1.7897292558825426</c:v>
                </c:pt>
                <c:pt idx="50">
                  <c:v>1.6253005813334882</c:v>
                </c:pt>
                <c:pt idx="51">
                  <c:v>1.61965181172144</c:v>
                </c:pt>
              </c:numCache>
            </c:numRef>
          </c:xVal>
          <c:yVal>
            <c:numRef>
              <c:f>Sheet1!$B$109:$B$160</c:f>
              <c:numCache>
                <c:formatCode>General</c:formatCode>
                <c:ptCount val="52"/>
                <c:pt idx="0">
                  <c:v>0.09052785121706627</c:v>
                </c:pt>
                <c:pt idx="1">
                  <c:v>0.09172473036174478</c:v>
                </c:pt>
                <c:pt idx="2">
                  <c:v>0.09263798495477982</c:v>
                </c:pt>
                <c:pt idx="3">
                  <c:v>0.10572384793615378</c:v>
                </c:pt>
                <c:pt idx="4">
                  <c:v>0.09503122454520771</c:v>
                </c:pt>
                <c:pt idx="5">
                  <c:v>0.09373536848019477</c:v>
                </c:pt>
                <c:pt idx="6">
                  <c:v>0.09653823254231522</c:v>
                </c:pt>
                <c:pt idx="7">
                  <c:v>0.09169020715630885</c:v>
                </c:pt>
                <c:pt idx="8">
                  <c:v>0.09929632525410477</c:v>
                </c:pt>
                <c:pt idx="9">
                  <c:v>0.10155600427604229</c:v>
                </c:pt>
                <c:pt idx="10">
                  <c:v>0.11311686789356465</c:v>
                </c:pt>
                <c:pt idx="11">
                  <c:v>0.12131119332358255</c:v>
                </c:pt>
                <c:pt idx="12">
                  <c:v>0.11949623165410551</c:v>
                </c:pt>
                <c:pt idx="13">
                  <c:v>0.10983436853002071</c:v>
                </c:pt>
                <c:pt idx="14">
                  <c:v>0.10768528034715084</c:v>
                </c:pt>
                <c:pt idx="15">
                  <c:v>0.10147841513897102</c:v>
                </c:pt>
                <c:pt idx="16">
                  <c:v>0.08916586768935762</c:v>
                </c:pt>
                <c:pt idx="17">
                  <c:v>0.07530723063732495</c:v>
                </c:pt>
                <c:pt idx="18">
                  <c:v>0.08606760098928277</c:v>
                </c:pt>
                <c:pt idx="19">
                  <c:v>0.08156581409856518</c:v>
                </c:pt>
                <c:pt idx="20">
                  <c:v>0.06662134602311352</c:v>
                </c:pt>
                <c:pt idx="21">
                  <c:v>0.0710239651416122</c:v>
                </c:pt>
                <c:pt idx="22">
                  <c:v>0.07033109716511578</c:v>
                </c:pt>
                <c:pt idx="23">
                  <c:v>0.07324330510414283</c:v>
                </c:pt>
                <c:pt idx="24">
                  <c:v>0.06435540793024704</c:v>
                </c:pt>
                <c:pt idx="25">
                  <c:v>0.07494407158836688</c:v>
                </c:pt>
                <c:pt idx="26">
                  <c:v>0.06500198176773682</c:v>
                </c:pt>
                <c:pt idx="27">
                  <c:v>0.06602768903088392</c:v>
                </c:pt>
                <c:pt idx="28">
                  <c:v>0.07181863312924044</c:v>
                </c:pt>
                <c:pt idx="29">
                  <c:v>0.0689723712979527</c:v>
                </c:pt>
                <c:pt idx="30">
                  <c:v>0.0723334695545566</c:v>
                </c:pt>
                <c:pt idx="31">
                  <c:v>0.08088869715271786</c:v>
                </c:pt>
                <c:pt idx="32">
                  <c:v>0.08311094166984369</c:v>
                </c:pt>
                <c:pt idx="33">
                  <c:v>0.09138257575757576</c:v>
                </c:pt>
                <c:pt idx="34">
                  <c:v>0.104529153938106</c:v>
                </c:pt>
                <c:pt idx="35">
                  <c:v>0.09309639880484352</c:v>
                </c:pt>
                <c:pt idx="36">
                  <c:v>0.07139457401237506</c:v>
                </c:pt>
                <c:pt idx="37">
                  <c:v>0.0610062893081761</c:v>
                </c:pt>
                <c:pt idx="38">
                  <c:v>0.059233449477351915</c:v>
                </c:pt>
                <c:pt idx="39">
                  <c:v>0.07029401824940859</c:v>
                </c:pt>
                <c:pt idx="40">
                  <c:v>0.05844155844155844</c:v>
                </c:pt>
                <c:pt idx="41">
                  <c:v>0.05619004111466423</c:v>
                </c:pt>
                <c:pt idx="42">
                  <c:v>0.0593089221248066</c:v>
                </c:pt>
                <c:pt idx="43">
                  <c:v>0.05844781875150639</c:v>
                </c:pt>
                <c:pt idx="44">
                  <c:v>0.05668634235701201</c:v>
                </c:pt>
                <c:pt idx="45">
                  <c:v>0.07061485642946318</c:v>
                </c:pt>
                <c:pt idx="46">
                  <c:v>0.06262872121325594</c:v>
                </c:pt>
                <c:pt idx="47">
                  <c:v>0.06420404573438875</c:v>
                </c:pt>
                <c:pt idx="48">
                  <c:v>0.06292380605176813</c:v>
                </c:pt>
                <c:pt idx="49">
                  <c:v>0.07689090275357267</c:v>
                </c:pt>
                <c:pt idx="50">
                  <c:v>0.09969380403458213</c:v>
                </c:pt>
                <c:pt idx="51">
                  <c:v>0.0872106801485109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8037700017387561</c:v>
                </c:pt>
              </c:numCache>
            </c:numRef>
          </c:xVal>
          <c:yVal>
            <c:numRef>
              <c:f>Sheet1!$B$163:$B$164</c:f>
              <c:numCache>
                <c:formatCode>General</c:formatCode>
                <c:ptCount val="2"/>
                <c:pt idx="0">
                  <c:v>0.17254984366128495</c:v>
                </c:pt>
                <c:pt idx="1">
                  <c:v>0.1725498436612849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8037700017387561</c:v>
                </c:pt>
                <c:pt idx="1">
                  <c:v>-1.8037700017387561</c:v>
                </c:pt>
              </c:numCache>
            </c:numRef>
          </c:xVal>
          <c:yVal>
            <c:numRef>
              <c:f>Sheet1!$B$167:$B$168</c:f>
              <c:numCache>
                <c:formatCode>General</c:formatCode>
                <c:ptCount val="2"/>
                <c:pt idx="0">
                  <c:v>0.1725498436612849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122741633355109</c:v>
                </c:pt>
              </c:numCache>
            </c:numRef>
          </c:xVal>
          <c:yVal>
            <c:numRef>
              <c:f>Sheet1!$B$171:$B$172</c:f>
              <c:numCache>
                <c:formatCode>General</c:formatCode>
                <c:ptCount val="2"/>
                <c:pt idx="0">
                  <c:v>0.09571001428789952</c:v>
                </c:pt>
                <c:pt idx="1">
                  <c:v>0.0957100142878995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122741633355109</c:v>
                </c:pt>
                <c:pt idx="1">
                  <c:v>1.122741633355109</c:v>
                </c:pt>
              </c:numCache>
            </c:numRef>
          </c:xVal>
          <c:yVal>
            <c:numRef>
              <c:f>Sheet1!$B$175:$B$176</c:f>
              <c:numCache>
                <c:formatCode>General</c:formatCode>
                <c:ptCount val="2"/>
                <c:pt idx="0">
                  <c:v>0.0957100142878995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1794623793296983</c:v>
                </c:pt>
              </c:numCache>
            </c:numRef>
          </c:xVal>
          <c:yVal>
            <c:numRef>
              <c:f>Sheet1!$B$179:$B$180</c:f>
              <c:numCache>
                <c:formatCode>General</c:formatCode>
                <c:ptCount val="2"/>
                <c:pt idx="0">
                  <c:v>0.06796427056957678</c:v>
                </c:pt>
                <c:pt idx="1">
                  <c:v>0.0679642705695767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1794623793296983</c:v>
                </c:pt>
                <c:pt idx="1">
                  <c:v>2.1794623793296983</c:v>
                </c:pt>
              </c:numCache>
            </c:numRef>
          </c:xVal>
          <c:yVal>
            <c:numRef>
              <c:f>Sheet1!$B$183:$B$184</c:f>
              <c:numCache>
                <c:formatCode>General</c:formatCode>
                <c:ptCount val="2"/>
                <c:pt idx="0">
                  <c:v>0.067964270569576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7343142173519426</c:v>
                </c:pt>
                <c:pt idx="1">
                  <c:v>1.6813469363868676</c:v>
                </c:pt>
                <c:pt idx="2">
                  <c:v>1.6568170010895544</c:v>
                </c:pt>
                <c:pt idx="3">
                  <c:v>1.601305773786643</c:v>
                </c:pt>
                <c:pt idx="4">
                  <c:v>1.6079288064560138</c:v>
                </c:pt>
                <c:pt idx="5">
                  <c:v>1.615035432900628</c:v>
                </c:pt>
                <c:pt idx="6">
                  <c:v>1.576229824198238</c:v>
                </c:pt>
                <c:pt idx="7">
                  <c:v>1.571295540722951</c:v>
                </c:pt>
                <c:pt idx="8">
                  <c:v>1.6488851274440257</c:v>
                </c:pt>
                <c:pt idx="9">
                  <c:v>1.6651893097557782</c:v>
                </c:pt>
                <c:pt idx="10">
                  <c:v>1.6487796964481074</c:v>
                </c:pt>
                <c:pt idx="11">
                  <c:v>1.7552952218567903</c:v>
                </c:pt>
                <c:pt idx="12">
                  <c:v>1.7409279012392973</c:v>
                </c:pt>
                <c:pt idx="13">
                  <c:v>1.6552006217336181</c:v>
                </c:pt>
                <c:pt idx="14">
                  <c:v>1.666158503249032</c:v>
                </c:pt>
                <c:pt idx="15">
                  <c:v>1.751032888869709</c:v>
                </c:pt>
                <c:pt idx="16">
                  <c:v>1.725893116085317</c:v>
                </c:pt>
                <c:pt idx="17">
                  <c:v>1.7656155700829281</c:v>
                </c:pt>
                <c:pt idx="18">
                  <c:v>1.4810390014337274</c:v>
                </c:pt>
                <c:pt idx="19">
                  <c:v>1.786242725024845</c:v>
                </c:pt>
                <c:pt idx="20">
                  <c:v>1.7505047307817339</c:v>
                </c:pt>
                <c:pt idx="21">
                  <c:v>1.7158308802786992</c:v>
                </c:pt>
                <c:pt idx="22">
                  <c:v>1.746439022896979</c:v>
                </c:pt>
                <c:pt idx="23">
                  <c:v>1.6472502179552584</c:v>
                </c:pt>
                <c:pt idx="24">
                  <c:v>1.6660346899614993</c:v>
                </c:pt>
                <c:pt idx="25">
                  <c:v>1.6306285349225245</c:v>
                </c:pt>
                <c:pt idx="26">
                  <c:v>1.6218227385154504</c:v>
                </c:pt>
                <c:pt idx="27">
                  <c:v>1.626929568889231</c:v>
                </c:pt>
                <c:pt idx="28">
                  <c:v>1.627117521829831</c:v>
                </c:pt>
                <c:pt idx="29">
                  <c:v>1.593012295639998</c:v>
                </c:pt>
                <c:pt idx="30">
                  <c:v>1.4933470487835439</c:v>
                </c:pt>
                <c:pt idx="31">
                  <c:v>1.39840331750131</c:v>
                </c:pt>
                <c:pt idx="32">
                  <c:v>1.436705469507359</c:v>
                </c:pt>
                <c:pt idx="33">
                  <c:v>1.473576496289896</c:v>
                </c:pt>
                <c:pt idx="34">
                  <c:v>1.570558902377255</c:v>
                </c:pt>
                <c:pt idx="35">
                  <c:v>1.5236927043579362</c:v>
                </c:pt>
                <c:pt idx="36">
                  <c:v>1.51039370353388</c:v>
                </c:pt>
                <c:pt idx="37">
                  <c:v>1.6992717210064927</c:v>
                </c:pt>
                <c:pt idx="38">
                  <c:v>1.668805897248482</c:v>
                </c:pt>
                <c:pt idx="39">
                  <c:v>1.6955809173557395</c:v>
                </c:pt>
                <c:pt idx="40">
                  <c:v>1.6834853378720604</c:v>
                </c:pt>
                <c:pt idx="41">
                  <c:v>1.7168572226275878</c:v>
                </c:pt>
                <c:pt idx="42">
                  <c:v>1.6915185470888539</c:v>
                </c:pt>
                <c:pt idx="43">
                  <c:v>1.7346157213734648</c:v>
                </c:pt>
                <c:pt idx="44">
                  <c:v>1.6964602403152436</c:v>
                </c:pt>
                <c:pt idx="45">
                  <c:v>1.7171453027105863</c:v>
                </c:pt>
                <c:pt idx="46">
                  <c:v>1.7052889722937334</c:v>
                </c:pt>
                <c:pt idx="47">
                  <c:v>1.7275689154207172</c:v>
                </c:pt>
                <c:pt idx="48">
                  <c:v>1.688386569223224</c:v>
                </c:pt>
                <c:pt idx="49">
                  <c:v>1.7897292558825426</c:v>
                </c:pt>
                <c:pt idx="50">
                  <c:v>1.6253005813334882</c:v>
                </c:pt>
                <c:pt idx="51">
                  <c:v>1.61965181172144</c:v>
                </c:pt>
                <c:pt idx="52">
                  <c:v>1.122741633355109</c:v>
                </c:pt>
                <c:pt idx="53">
                  <c:v>-1.8037700017387561</c:v>
                </c:pt>
                <c:pt idx="54">
                  <c:v>2.1794623793296983</c:v>
                </c:pt>
              </c:numCache>
            </c:numRef>
          </c:xVal>
          <c:yVal>
            <c:numRef>
              <c:f>Sheet1!$B$187:$B$241</c:f>
              <c:numCache>
                <c:formatCode>General</c:formatCode>
                <c:ptCount val="55"/>
                <c:pt idx="0">
                  <c:v>0.07965228451835775</c:v>
                </c:pt>
                <c:pt idx="1">
                  <c:v>0.08104301769806643</c:v>
                </c:pt>
                <c:pt idx="2">
                  <c:v>0.08168708691008761</c:v>
                </c:pt>
                <c:pt idx="3">
                  <c:v>0.08314461510957011</c:v>
                </c:pt>
                <c:pt idx="4">
                  <c:v>0.0829707177314951</c:v>
                </c:pt>
                <c:pt idx="5">
                  <c:v>0.08278412289384737</c:v>
                </c:pt>
                <c:pt idx="6">
                  <c:v>0.08380302072280692</c:v>
                </c:pt>
                <c:pt idx="7">
                  <c:v>0.08393257752886035</c:v>
                </c:pt>
                <c:pt idx="8">
                  <c:v>0.08189534981607607</c:v>
                </c:pt>
                <c:pt idx="9">
                  <c:v>0.08146725974054578</c:v>
                </c:pt>
                <c:pt idx="10">
                  <c:v>0.08189811806057573</c:v>
                </c:pt>
                <c:pt idx="11">
                  <c:v>0.07910139765807606</c:v>
                </c:pt>
                <c:pt idx="12">
                  <c:v>0.07947863260618364</c:v>
                </c:pt>
                <c:pt idx="13">
                  <c:v>0.08172952730650476</c:v>
                </c:pt>
                <c:pt idx="14">
                  <c:v>0.08144181215244861</c:v>
                </c:pt>
                <c:pt idx="15">
                  <c:v>0.07921331142446345</c:v>
                </c:pt>
                <c:pt idx="16">
                  <c:v>0.07987339280875508</c:v>
                </c:pt>
                <c:pt idx="17">
                  <c:v>0.07883042186995316</c:v>
                </c:pt>
                <c:pt idx="18">
                  <c:v>0.08630239454774732</c:v>
                </c:pt>
                <c:pt idx="19">
                  <c:v>0.07828882584580327</c:v>
                </c:pt>
                <c:pt idx="20">
                  <c:v>0.0792271789850347</c:v>
                </c:pt>
                <c:pt idx="21">
                  <c:v>0.08013759147901614</c:v>
                </c:pt>
                <c:pt idx="22">
                  <c:v>0.07933393007271203</c:v>
                </c:pt>
                <c:pt idx="23">
                  <c:v>0.08193827674814472</c:v>
                </c:pt>
                <c:pt idx="24">
                  <c:v>0.08144506305081309</c:v>
                </c:pt>
                <c:pt idx="25">
                  <c:v>0.08237470326797054</c:v>
                </c:pt>
                <c:pt idx="26">
                  <c:v>0.08260591229010539</c:v>
                </c:pt>
                <c:pt idx="27">
                  <c:v>0.08247182501368576</c:v>
                </c:pt>
                <c:pt idx="28">
                  <c:v>0.08246689003522445</c:v>
                </c:pt>
                <c:pt idx="29">
                  <c:v>0.0833623724688979</c:v>
                </c:pt>
                <c:pt idx="30">
                  <c:v>0.08597922882137934</c:v>
                </c:pt>
                <c:pt idx="31">
                  <c:v>0.08847211489923204</c:v>
                </c:pt>
                <c:pt idx="32">
                  <c:v>0.08746643605979566</c:v>
                </c:pt>
                <c:pt idx="33">
                  <c:v>0.08649833349945822</c:v>
                </c:pt>
                <c:pt idx="34">
                  <c:v>0.08395191904252952</c:v>
                </c:pt>
                <c:pt idx="35">
                  <c:v>0.08518245939507736</c:v>
                </c:pt>
                <c:pt idx="36">
                  <c:v>0.08553164404956592</c:v>
                </c:pt>
                <c:pt idx="37">
                  <c:v>0.08057237634635948</c:v>
                </c:pt>
                <c:pt idx="38">
                  <c:v>0.0813723009635087</c:v>
                </c:pt>
                <c:pt idx="39">
                  <c:v>0.08066928377682164</c:v>
                </c:pt>
                <c:pt idx="40">
                  <c:v>0.08098687084961942</c:v>
                </c:pt>
                <c:pt idx="41">
                  <c:v>0.08011064336440023</c:v>
                </c:pt>
                <c:pt idx="42">
                  <c:v>0.08077594723047607</c:v>
                </c:pt>
                <c:pt idx="43">
                  <c:v>0.07964436809072721</c:v>
                </c:pt>
                <c:pt idx="44">
                  <c:v>0.08064619587060519</c:v>
                </c:pt>
                <c:pt idx="45">
                  <c:v>0.08010307940184562</c:v>
                </c:pt>
                <c:pt idx="46">
                  <c:v>0.08041438464160636</c:v>
                </c:pt>
                <c:pt idx="47">
                  <c:v>0.07982939225415212</c:v>
                </c:pt>
                <c:pt idx="48">
                  <c:v>0.08085818187526965</c:v>
                </c:pt>
                <c:pt idx="49">
                  <c:v>0.07819728189532041</c:v>
                </c:pt>
                <c:pt idx="50">
                  <c:v>0.08251459645676962</c:v>
                </c:pt>
                <c:pt idx="51">
                  <c:v>0.0826629131379522</c:v>
                </c:pt>
                <c:pt idx="52">
                  <c:v>0.09571001428789952</c:v>
                </c:pt>
                <c:pt idx="53">
                  <c:v>0.17254984366128495</c:v>
                </c:pt>
                <c:pt idx="54">
                  <c:v>0.0679642705695767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530856005308555"/>
          <c:min val="0.04495203289173138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1.8062</c:v>
                </c:pt>
                <c:pt idx="1">
                  <c:v>851.3783</c:v>
                </c:pt>
                <c:pt idx="2">
                  <c:v>876.7815</c:v>
                </c:pt>
                <c:pt idx="3">
                  <c:v>890.7982</c:v>
                </c:pt>
                <c:pt idx="4">
                  <c:v>889.7335</c:v>
                </c:pt>
                <c:pt idx="5">
                  <c:v>882.0165</c:v>
                </c:pt>
                <c:pt idx="6">
                  <c:v>861.4017</c:v>
                </c:pt>
                <c:pt idx="7">
                  <c:v>862.9501</c:v>
                </c:pt>
                <c:pt idx="8">
                  <c:v>857.6605</c:v>
                </c:pt>
                <c:pt idx="9">
                  <c:v>842.5532</c:v>
                </c:pt>
                <c:pt idx="10">
                  <c:v>852.795</c:v>
                </c:pt>
                <c:pt idx="11">
                  <c:v>889.6418</c:v>
                </c:pt>
                <c:pt idx="12">
                  <c:v>893.1318</c:v>
                </c:pt>
                <c:pt idx="13">
                  <c:v>884.4411</c:v>
                </c:pt>
                <c:pt idx="14">
                  <c:v>893.2331</c:v>
                </c:pt>
                <c:pt idx="15">
                  <c:v>901.6838</c:v>
                </c:pt>
                <c:pt idx="16">
                  <c:v>904.0258</c:v>
                </c:pt>
                <c:pt idx="17">
                  <c:v>925.5929</c:v>
                </c:pt>
                <c:pt idx="18">
                  <c:v>953.2389</c:v>
                </c:pt>
                <c:pt idx="19">
                  <c:v>969.3516</c:v>
                </c:pt>
                <c:pt idx="20">
                  <c:v>956.7371</c:v>
                </c:pt>
                <c:pt idx="21">
                  <c:v>962.3117</c:v>
                </c:pt>
                <c:pt idx="22">
                  <c:v>948.1302</c:v>
                </c:pt>
                <c:pt idx="23">
                  <c:v>938.1024</c:v>
                </c:pt>
                <c:pt idx="24">
                  <c:v>921.1605</c:v>
                </c:pt>
                <c:pt idx="25">
                  <c:v>908.203</c:v>
                </c:pt>
                <c:pt idx="26">
                  <c:v>899.6156</c:v>
                </c:pt>
                <c:pt idx="27">
                  <c:v>942.5468</c:v>
                </c:pt>
                <c:pt idx="28">
                  <c:v>935.7389</c:v>
                </c:pt>
                <c:pt idx="29">
                  <c:v>754.5697</c:v>
                </c:pt>
                <c:pt idx="30">
                  <c:v>827.6375</c:v>
                </c:pt>
                <c:pt idx="31">
                  <c:v>863.1492</c:v>
                </c:pt>
                <c:pt idx="32">
                  <c:v>846.1058</c:v>
                </c:pt>
                <c:pt idx="33">
                  <c:v>759.3944</c:v>
                </c:pt>
                <c:pt idx="34">
                  <c:v>909.0433</c:v>
                </c:pt>
                <c:pt idx="35">
                  <c:v>949.2573</c:v>
                </c:pt>
                <c:pt idx="36">
                  <c:v>1006.4828</c:v>
                </c:pt>
                <c:pt idx="37">
                  <c:v>1016.8577</c:v>
                </c:pt>
                <c:pt idx="38">
                  <c:v>1062.9505</c:v>
                </c:pt>
                <c:pt idx="39">
                  <c:v>1112.1856</c:v>
                </c:pt>
                <c:pt idx="40">
                  <c:v>1115.7906</c:v>
                </c:pt>
                <c:pt idx="41">
                  <c:v>1121.2871</c:v>
                </c:pt>
                <c:pt idx="42">
                  <c:v>1133.599</c:v>
                </c:pt>
                <c:pt idx="43">
                  <c:v>1120.7837</c:v>
                </c:pt>
                <c:pt idx="44">
                  <c:v>1056.4575</c:v>
                </c:pt>
                <c:pt idx="45">
                  <c:v>1019.5386</c:v>
                </c:pt>
                <c:pt idx="46">
                  <c:v>1011.3698</c:v>
                </c:pt>
                <c:pt idx="47">
                  <c:v>1011.3322</c:v>
                </c:pt>
                <c:pt idx="48">
                  <c:v>1027.4333</c:v>
                </c:pt>
                <c:pt idx="49">
                  <c:v>1011.878</c:v>
                </c:pt>
                <c:pt idx="50">
                  <c:v>1008.8434</c:v>
                </c:pt>
                <c:pt idx="51">
                  <c:v>1007.2633</c:v>
                </c:pt>
                <c:pt idx="52">
                  <c:v>1010.3244</c:v>
                </c:pt>
                <c:pt idx="53">
                  <c:v>1027.3932</c:v>
                </c:pt>
                <c:pt idx="54">
                  <c:v>1042.8267</c:v>
                </c:pt>
                <c:pt idx="55">
                  <c:v>1044.3486</c:v>
                </c:pt>
                <c:pt idx="56">
                  <c:v>1058.454</c:v>
                </c:pt>
                <c:pt idx="57">
                  <c:v>1078.0817</c:v>
                </c:pt>
                <c:pt idx="58">
                  <c:v>1045.4503</c:v>
                </c:pt>
                <c:pt idx="59">
                  <c:v>1039.3856</c:v>
                </c:pt>
                <c:pt idx="60">
                  <c:v>1062.4727</c:v>
                </c:pt>
                <c:pt idx="61">
                  <c:v>1026.7703</c:v>
                </c:pt>
                <c:pt idx="62">
                  <c:v>995.0123</c:v>
                </c:pt>
                <c:pt idx="63">
                  <c:v>1053.2535</c:v>
                </c:pt>
                <c:pt idx="64">
                  <c:v>1052.2665</c:v>
                </c:pt>
                <c:pt idx="65">
                  <c:v>1049.625</c:v>
                </c:pt>
                <c:pt idx="66">
                  <c:v>1035.6545</c:v>
                </c:pt>
                <c:pt idx="67">
                  <c:v>1040.6723</c:v>
                </c:pt>
                <c:pt idx="68">
                  <c:v>1022.8378</c:v>
                </c:pt>
                <c:pt idx="69">
                  <c:v>1034.6112</c:v>
                </c:pt>
                <c:pt idx="70">
                  <c:v>1044.2291</c:v>
                </c:pt>
                <c:pt idx="71">
                  <c:v>1075.3233</c:v>
                </c:pt>
                <c:pt idx="72">
                  <c:v>1116.397</c:v>
                </c:pt>
                <c:pt idx="73">
                  <c:v>1171.3293</c:v>
                </c:pt>
                <c:pt idx="74">
                  <c:v>1156.6637</c:v>
                </c:pt>
                <c:pt idx="75">
                  <c:v>1136.6093</c:v>
                </c:pt>
                <c:pt idx="76">
                  <c:v>1148.6688</c:v>
                </c:pt>
                <c:pt idx="77">
                  <c:v>1142.8243</c:v>
                </c:pt>
                <c:pt idx="78">
                  <c:v>1134.9709</c:v>
                </c:pt>
                <c:pt idx="79">
                  <c:v>1147.1602</c:v>
                </c:pt>
                <c:pt idx="80">
                  <c:v>1149.0139</c:v>
                </c:pt>
                <c:pt idx="81">
                  <c:v>1146.5321</c:v>
                </c:pt>
                <c:pt idx="82">
                  <c:v>1166.895</c:v>
                </c:pt>
                <c:pt idx="83">
                  <c:v>1159.9266</c:v>
                </c:pt>
                <c:pt idx="84">
                  <c:v>1109.4146</c:v>
                </c:pt>
                <c:pt idx="85">
                  <c:v>1100.7351</c:v>
                </c:pt>
                <c:pt idx="86">
                  <c:v>1113.3333</c:v>
                </c:pt>
                <c:pt idx="87">
                  <c:v>1146.2705</c:v>
                </c:pt>
                <c:pt idx="88">
                  <c:v>1139.8118</c:v>
                </c:pt>
                <c:pt idx="89">
                  <c:v>1115.1484</c:v>
                </c:pt>
                <c:pt idx="90">
                  <c:v>1177.9075</c:v>
                </c:pt>
                <c:pt idx="91">
                  <c:v>1195.2348</c:v>
                </c:pt>
                <c:pt idx="92">
                  <c:v>1136.9442</c:v>
                </c:pt>
                <c:pt idx="93">
                  <c:v>1159.2648</c:v>
                </c:pt>
                <c:pt idx="94">
                  <c:v>1181.9074</c:v>
                </c:pt>
                <c:pt idx="95">
                  <c:v>1158.5618</c:v>
                </c:pt>
                <c:pt idx="96">
                  <c:v>1105.0617</c:v>
                </c:pt>
                <c:pt idx="97">
                  <c:v>1109.9931</c:v>
                </c:pt>
                <c:pt idx="98">
                  <c:v>1082.8388</c:v>
                </c:pt>
                <c:pt idx="99">
                  <c:v>1030.6824</c:v>
                </c:pt>
                <c:pt idx="100">
                  <c:v>1045.5081</c:v>
                </c:pt>
                <c:pt idx="101">
                  <c:v>1060.0546</c:v>
                </c:pt>
                <c:pt idx="102">
                  <c:v>1084.8774</c:v>
                </c:pt>
                <c:pt idx="103">
                  <c:v>1034.9794</c:v>
                </c:pt>
                <c:pt idx="104">
                  <c:v>1084.8869</c:v>
                </c:pt>
              </c:numCache>
            </c:numRef>
          </c:xVal>
          <c:yVal>
            <c:numRef>
              <c:f>Sheet1!$B$2:$B$106</c:f>
              <c:numCache>
                <c:formatCode>General</c:formatCode>
                <c:ptCount val="105"/>
                <c:pt idx="0">
                  <c:v>0.21275713337757132</c:v>
                </c:pt>
                <c:pt idx="1">
                  <c:v>0.19320327249842667</c:v>
                </c:pt>
                <c:pt idx="2">
                  <c:v>0.1629499840713603</c:v>
                </c:pt>
                <c:pt idx="3">
                  <c:v>0.1625384352579433</c:v>
                </c:pt>
                <c:pt idx="4">
                  <c:v>0.1519509358147404</c:v>
                </c:pt>
                <c:pt idx="5">
                  <c:v>0.13924466338259442</c:v>
                </c:pt>
                <c:pt idx="6">
                  <c:v>0.1603197513045409</c:v>
                </c:pt>
                <c:pt idx="7">
                  <c:v>0.16011722392433728</c:v>
                </c:pt>
                <c:pt idx="8">
                  <c:v>0.16111662179396344</c:v>
                </c:pt>
                <c:pt idx="9">
                  <c:v>0.16815889677884122</c:v>
                </c:pt>
                <c:pt idx="10">
                  <c:v>0.1775177025963808</c:v>
                </c:pt>
                <c:pt idx="11">
                  <c:v>0.16727976766698935</c:v>
                </c:pt>
                <c:pt idx="12">
                  <c:v>0.17367767128150516</c:v>
                </c:pt>
                <c:pt idx="13">
                  <c:v>0.1737161488995562</c:v>
                </c:pt>
                <c:pt idx="14">
                  <c:v>0.17845087127086945</c:v>
                </c:pt>
                <c:pt idx="15">
                  <c:v>0.18394343710799407</c:v>
                </c:pt>
                <c:pt idx="16">
                  <c:v>0.18158670597694987</c:v>
                </c:pt>
                <c:pt idx="17">
                  <c:v>0.164764820484275</c:v>
                </c:pt>
                <c:pt idx="18">
                  <c:v>0.15696950840074672</c:v>
                </c:pt>
                <c:pt idx="19">
                  <c:v>0.15949319918017515</c:v>
                </c:pt>
                <c:pt idx="20">
                  <c:v>0.17789473684210527</c:v>
                </c:pt>
                <c:pt idx="21">
                  <c:v>0.1660056657223796</c:v>
                </c:pt>
                <c:pt idx="22">
                  <c:v>0.16938472942920682</c:v>
                </c:pt>
                <c:pt idx="23">
                  <c:v>0.17258982917730217</c:v>
                </c:pt>
                <c:pt idx="24">
                  <c:v>0.16918160837919405</c:v>
                </c:pt>
                <c:pt idx="25">
                  <c:v>0.16618675442204853</c:v>
                </c:pt>
                <c:pt idx="26">
                  <c:v>0.17530721966205837</c:v>
                </c:pt>
                <c:pt idx="27">
                  <c:v>0.15330882352941178</c:v>
                </c:pt>
                <c:pt idx="28">
                  <c:v>0.1581605049594229</c:v>
                </c:pt>
                <c:pt idx="29">
                  <c:v>0.19537153652392947</c:v>
                </c:pt>
                <c:pt idx="30">
                  <c:v>0.17939719240297275</c:v>
                </c:pt>
                <c:pt idx="31">
                  <c:v>0.16600633914421553</c:v>
                </c:pt>
                <c:pt idx="32">
                  <c:v>0.1670150104503135</c:v>
                </c:pt>
                <c:pt idx="33">
                  <c:v>0.19675305332141793</c:v>
                </c:pt>
                <c:pt idx="34">
                  <c:v>0.17448536619521077</c:v>
                </c:pt>
                <c:pt idx="35">
                  <c:v>0.17164570230607967</c:v>
                </c:pt>
                <c:pt idx="36">
                  <c:v>0.13192111029948866</c:v>
                </c:pt>
                <c:pt idx="37">
                  <c:v>0.1165654243966508</c:v>
                </c:pt>
                <c:pt idx="38">
                  <c:v>0.10898379970544919</c:v>
                </c:pt>
                <c:pt idx="39">
                  <c:v>0.09519725557461406</c:v>
                </c:pt>
                <c:pt idx="40">
                  <c:v>0.09437639198218263</c:v>
                </c:pt>
                <c:pt idx="41">
                  <c:v>0.0806720145300439</c:v>
                </c:pt>
                <c:pt idx="42">
                  <c:v>0.0811764705882353</c:v>
                </c:pt>
                <c:pt idx="43">
                  <c:v>0.0849034104459814</c:v>
                </c:pt>
                <c:pt idx="44">
                  <c:v>0.0963064960311032</c:v>
                </c:pt>
                <c:pt idx="45">
                  <c:v>0.11026731470230863</c:v>
                </c:pt>
                <c:pt idx="46">
                  <c:v>0.11005761797097222</c:v>
                </c:pt>
                <c:pt idx="47">
                  <c:v>0.10516536603493125</c:v>
                </c:pt>
                <c:pt idx="48">
                  <c:v>0.11268526591107236</c:v>
                </c:pt>
                <c:pt idx="49">
                  <c:v>0.132865275142315</c:v>
                </c:pt>
                <c:pt idx="50">
                  <c:v>0.10914454277286136</c:v>
                </c:pt>
                <c:pt idx="51">
                  <c:v>0.09979303518401872</c:v>
                </c:pt>
                <c:pt idx="52">
                  <c:v>0.11274324222003483</c:v>
                </c:pt>
                <c:pt idx="53">
                  <c:v>0.10075381503952932</c:v>
                </c:pt>
                <c:pt idx="54">
                  <c:v>0.09229098805646037</c:v>
                </c:pt>
                <c:pt idx="55">
                  <c:v>0.08790322580645162</c:v>
                </c:pt>
                <c:pt idx="56">
                  <c:v>0.09020217729393468</c:v>
                </c:pt>
                <c:pt idx="57">
                  <c:v>0.08302088912694162</c:v>
                </c:pt>
                <c:pt idx="58">
                  <c:v>0.09743012892619192</c:v>
                </c:pt>
                <c:pt idx="59">
                  <c:v>0.10261194029850747</c:v>
                </c:pt>
                <c:pt idx="60">
                  <c:v>0.10520675743822491</c:v>
                </c:pt>
                <c:pt idx="61">
                  <c:v>0.1152971152971153</c:v>
                </c:pt>
                <c:pt idx="62">
                  <c:v>0.12451746117245713</c:v>
                </c:pt>
                <c:pt idx="63">
                  <c:v>0.137372226377462</c:v>
                </c:pt>
                <c:pt idx="64">
                  <c:v>0.14348311710628062</c:v>
                </c:pt>
                <c:pt idx="65">
                  <c:v>0.13300142247510668</c:v>
                </c:pt>
                <c:pt idx="66">
                  <c:v>0.1349754590074532</c:v>
                </c:pt>
                <c:pt idx="67">
                  <c:v>0.1173056797640567</c:v>
                </c:pt>
                <c:pt idx="68">
                  <c:v>0.10839498230942425</c:v>
                </c:pt>
                <c:pt idx="69">
                  <c:v>0.09338796270132806</c:v>
                </c:pt>
                <c:pt idx="70">
                  <c:v>0.07858081471747701</c:v>
                </c:pt>
                <c:pt idx="71">
                  <c:v>0.09135446685878963</c:v>
                </c:pt>
                <c:pt idx="72">
                  <c:v>0.09184372858122002</c:v>
                </c:pt>
                <c:pt idx="73">
                  <c:v>0.08513434579439252</c:v>
                </c:pt>
                <c:pt idx="74">
                  <c:v>0.07852896446840868</c:v>
                </c:pt>
                <c:pt idx="75">
                  <c:v>0.08230589803398868</c:v>
                </c:pt>
                <c:pt idx="76">
                  <c:v>0.08296164139161463</c:v>
                </c:pt>
                <c:pt idx="77">
                  <c:v>0.08474264705882353</c:v>
                </c:pt>
                <c:pt idx="78">
                  <c:v>0.08102261553588987</c:v>
                </c:pt>
                <c:pt idx="79">
                  <c:v>0.06970461095100865</c:v>
                </c:pt>
                <c:pt idx="80">
                  <c:v>0.06458557588805167</c:v>
                </c:pt>
                <c:pt idx="81">
                  <c:v>0.0741733690795353</c:v>
                </c:pt>
                <c:pt idx="82">
                  <c:v>0.06761285235560813</c:v>
                </c:pt>
                <c:pt idx="83">
                  <c:v>0.0625136612021858</c:v>
                </c:pt>
                <c:pt idx="84">
                  <c:v>0.07058297967388877</c:v>
                </c:pt>
                <c:pt idx="85">
                  <c:v>0.08330019880715706</c:v>
                </c:pt>
                <c:pt idx="86">
                  <c:v>0.08738738738738738</c:v>
                </c:pt>
                <c:pt idx="87">
                  <c:v>0.09997076878105816</c:v>
                </c:pt>
                <c:pt idx="88">
                  <c:v>0.08097686375321336</c:v>
                </c:pt>
                <c:pt idx="89">
                  <c:v>0.07112153184837827</c:v>
                </c:pt>
                <c:pt idx="90">
                  <c:v>0.06972994760177348</c:v>
                </c:pt>
                <c:pt idx="91">
                  <c:v>0.0695084485407066</c:v>
                </c:pt>
                <c:pt idx="92">
                  <c:v>0.072710251209237</c:v>
                </c:pt>
                <c:pt idx="93">
                  <c:v>0.07056361190013455</c:v>
                </c:pt>
                <c:pt idx="94">
                  <c:v>0.07357567284166375</c:v>
                </c:pt>
                <c:pt idx="95">
                  <c:v>0.07847335936515934</c:v>
                </c:pt>
                <c:pt idx="96">
                  <c:v>0.07668893210450664</c:v>
                </c:pt>
                <c:pt idx="97">
                  <c:v>0.0878316559926807</c:v>
                </c:pt>
                <c:pt idx="98">
                  <c:v>0.10310706510983574</c:v>
                </c:pt>
                <c:pt idx="99">
                  <c:v>0.10578287270869985</c:v>
                </c:pt>
                <c:pt idx="100">
                  <c:v>0.12101434213261276</c:v>
                </c:pt>
                <c:pt idx="101">
                  <c:v>0.10400345001078129</c:v>
                </c:pt>
                <c:pt idx="102">
                  <c:v>0.08639430284857572</c:v>
                </c:pt>
                <c:pt idx="103">
                  <c:v>0.08791871178851288</c:v>
                </c:pt>
                <c:pt idx="104">
                  <c:v>0.0942381297196648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05.1652</c:v>
                </c:pt>
                <c:pt idx="1">
                  <c:v>1077.3861</c:v>
                </c:pt>
                <c:pt idx="2">
                  <c:v>1082.3896</c:v>
                </c:pt>
                <c:pt idx="3">
                  <c:v>1043.0893</c:v>
                </c:pt>
                <c:pt idx="4">
                  <c:v>1063.0638</c:v>
                </c:pt>
                <c:pt idx="5">
                  <c:v>1094.3556</c:v>
                </c:pt>
                <c:pt idx="6">
                  <c:v>995.9736</c:v>
                </c:pt>
                <c:pt idx="7">
                  <c:v>1058.4814</c:v>
                </c:pt>
                <c:pt idx="8">
                  <c:v>1110.3294</c:v>
                </c:pt>
                <c:pt idx="9">
                  <c:v>1077.7345</c:v>
                </c:pt>
                <c:pt idx="10">
                  <c:v>1094.5917</c:v>
                </c:pt>
                <c:pt idx="11">
                  <c:v>999.4156</c:v>
                </c:pt>
                <c:pt idx="12">
                  <c:v>1036.1162</c:v>
                </c:pt>
                <c:pt idx="13">
                  <c:v>1081.5061</c:v>
                </c:pt>
                <c:pt idx="14">
                  <c:v>1081.8897</c:v>
                </c:pt>
                <c:pt idx="15">
                  <c:v>1103.6678</c:v>
                </c:pt>
                <c:pt idx="16">
                  <c:v>1145.5745</c:v>
                </c:pt>
                <c:pt idx="17">
                  <c:v>1125.4611</c:v>
                </c:pt>
                <c:pt idx="18">
                  <c:v>965.6475</c:v>
                </c:pt>
                <c:pt idx="19">
                  <c:v>1169.195</c:v>
                </c:pt>
                <c:pt idx="20">
                  <c:v>1186.8163</c:v>
                </c:pt>
                <c:pt idx="21">
                  <c:v>1145.319</c:v>
                </c:pt>
                <c:pt idx="22">
                  <c:v>1175.2492</c:v>
                </c:pt>
                <c:pt idx="23">
                  <c:v>1114.9563</c:v>
                </c:pt>
                <c:pt idx="24">
                  <c:v>1147.7258</c:v>
                </c:pt>
                <c:pt idx="25">
                  <c:v>1091.4149</c:v>
                </c:pt>
                <c:pt idx="26">
                  <c:v>1113.061</c:v>
                </c:pt>
                <c:pt idx="27">
                  <c:v>1117.9946</c:v>
                </c:pt>
                <c:pt idx="28">
                  <c:v>1110.7604</c:v>
                </c:pt>
                <c:pt idx="29">
                  <c:v>1088.0634</c:v>
                </c:pt>
                <c:pt idx="30">
                  <c:v>1023.7684</c:v>
                </c:pt>
                <c:pt idx="31">
                  <c:v>973.752</c:v>
                </c:pt>
                <c:pt idx="32">
                  <c:v>1010.594</c:v>
                </c:pt>
                <c:pt idx="33">
                  <c:v>1046.9845</c:v>
                </c:pt>
                <c:pt idx="34">
                  <c:v>1082.4727</c:v>
                </c:pt>
                <c:pt idx="35">
                  <c:v>1091.152</c:v>
                </c:pt>
                <c:pt idx="36">
                  <c:v>1099.8767</c:v>
                </c:pt>
                <c:pt idx="37">
                  <c:v>1222.1203</c:v>
                </c:pt>
                <c:pt idx="38">
                  <c:v>1204.3647</c:v>
                </c:pt>
                <c:pt idx="39">
                  <c:v>1162.7692</c:v>
                </c:pt>
                <c:pt idx="40">
                  <c:v>1195.2389</c:v>
                </c:pt>
                <c:pt idx="41">
                  <c:v>1228.0108</c:v>
                </c:pt>
                <c:pt idx="42">
                  <c:v>1198.8</c:v>
                </c:pt>
                <c:pt idx="43">
                  <c:v>1206.5052</c:v>
                </c:pt>
                <c:pt idx="44">
                  <c:v>1164.0664</c:v>
                </c:pt>
                <c:pt idx="45">
                  <c:v>1117.2144</c:v>
                </c:pt>
                <c:pt idx="46">
                  <c:v>1130.5232</c:v>
                </c:pt>
                <c:pt idx="47">
                  <c:v>1113.0863</c:v>
                </c:pt>
                <c:pt idx="48">
                  <c:v>1104.0429</c:v>
                </c:pt>
                <c:pt idx="49">
                  <c:v>1137.1886</c:v>
                </c:pt>
                <c:pt idx="50">
                  <c:v>1008.1707</c:v>
                </c:pt>
                <c:pt idx="51">
                  <c:v>980.5317</c:v>
                </c:pt>
              </c:numCache>
            </c:numRef>
          </c:xVal>
          <c:yVal>
            <c:numRef>
              <c:f>Sheet1!$B$109:$B$160</c:f>
              <c:numCache>
                <c:formatCode>General</c:formatCode>
                <c:ptCount val="52"/>
                <c:pt idx="0">
                  <c:v>0.09052785121706627</c:v>
                </c:pt>
                <c:pt idx="1">
                  <c:v>0.09172473036174478</c:v>
                </c:pt>
                <c:pt idx="2">
                  <c:v>0.09263798495477982</c:v>
                </c:pt>
                <c:pt idx="3">
                  <c:v>0.10572384793615378</c:v>
                </c:pt>
                <c:pt idx="4">
                  <c:v>0.09503122454520771</c:v>
                </c:pt>
                <c:pt idx="5">
                  <c:v>0.09373536848019477</c:v>
                </c:pt>
                <c:pt idx="6">
                  <c:v>0.09653823254231522</c:v>
                </c:pt>
                <c:pt idx="7">
                  <c:v>0.09169020715630885</c:v>
                </c:pt>
                <c:pt idx="8">
                  <c:v>0.09929632525410477</c:v>
                </c:pt>
                <c:pt idx="9">
                  <c:v>0.10155600427604229</c:v>
                </c:pt>
                <c:pt idx="10">
                  <c:v>0.11311686789356465</c:v>
                </c:pt>
                <c:pt idx="11">
                  <c:v>0.12131119332358255</c:v>
                </c:pt>
                <c:pt idx="12">
                  <c:v>0.11949623165410551</c:v>
                </c:pt>
                <c:pt idx="13">
                  <c:v>0.10983436853002071</c:v>
                </c:pt>
                <c:pt idx="14">
                  <c:v>0.10768528034715084</c:v>
                </c:pt>
                <c:pt idx="15">
                  <c:v>0.10147841513897102</c:v>
                </c:pt>
                <c:pt idx="16">
                  <c:v>0.08916586768935762</c:v>
                </c:pt>
                <c:pt idx="17">
                  <c:v>0.07530723063732495</c:v>
                </c:pt>
                <c:pt idx="18">
                  <c:v>0.08606760098928277</c:v>
                </c:pt>
                <c:pt idx="19">
                  <c:v>0.08156581409856518</c:v>
                </c:pt>
                <c:pt idx="20">
                  <c:v>0.06662134602311352</c:v>
                </c:pt>
                <c:pt idx="21">
                  <c:v>0.0710239651416122</c:v>
                </c:pt>
                <c:pt idx="22">
                  <c:v>0.07033109716511578</c:v>
                </c:pt>
                <c:pt idx="23">
                  <c:v>0.07324330510414283</c:v>
                </c:pt>
                <c:pt idx="24">
                  <c:v>0.06435540793024704</c:v>
                </c:pt>
                <c:pt idx="25">
                  <c:v>0.07494407158836688</c:v>
                </c:pt>
                <c:pt idx="26">
                  <c:v>0.06500198176773682</c:v>
                </c:pt>
                <c:pt idx="27">
                  <c:v>0.06602768903088392</c:v>
                </c:pt>
                <c:pt idx="28">
                  <c:v>0.07181863312924044</c:v>
                </c:pt>
                <c:pt idx="29">
                  <c:v>0.0689723712979527</c:v>
                </c:pt>
                <c:pt idx="30">
                  <c:v>0.0723334695545566</c:v>
                </c:pt>
                <c:pt idx="31">
                  <c:v>0.08088869715271786</c:v>
                </c:pt>
                <c:pt idx="32">
                  <c:v>0.08311094166984369</c:v>
                </c:pt>
                <c:pt idx="33">
                  <c:v>0.09138257575757576</c:v>
                </c:pt>
                <c:pt idx="34">
                  <c:v>0.104529153938106</c:v>
                </c:pt>
                <c:pt idx="35">
                  <c:v>0.09309639880484352</c:v>
                </c:pt>
                <c:pt idx="36">
                  <c:v>0.07139457401237506</c:v>
                </c:pt>
                <c:pt idx="37">
                  <c:v>0.0610062893081761</c:v>
                </c:pt>
                <c:pt idx="38">
                  <c:v>0.059233449477351915</c:v>
                </c:pt>
                <c:pt idx="39">
                  <c:v>0.07029401824940859</c:v>
                </c:pt>
                <c:pt idx="40">
                  <c:v>0.05844155844155844</c:v>
                </c:pt>
                <c:pt idx="41">
                  <c:v>0.05619004111466423</c:v>
                </c:pt>
                <c:pt idx="42">
                  <c:v>0.0593089221248066</c:v>
                </c:pt>
                <c:pt idx="43">
                  <c:v>0.05844781875150639</c:v>
                </c:pt>
                <c:pt idx="44">
                  <c:v>0.05668634235701201</c:v>
                </c:pt>
                <c:pt idx="45">
                  <c:v>0.07061485642946318</c:v>
                </c:pt>
                <c:pt idx="46">
                  <c:v>0.06262872121325594</c:v>
                </c:pt>
                <c:pt idx="47">
                  <c:v>0.06420404573438875</c:v>
                </c:pt>
                <c:pt idx="48">
                  <c:v>0.06292380605176813</c:v>
                </c:pt>
                <c:pt idx="49">
                  <c:v>0.07689090275357267</c:v>
                </c:pt>
                <c:pt idx="50">
                  <c:v>0.09969380403458213</c:v>
                </c:pt>
                <c:pt idx="51">
                  <c:v>0.0872106801485109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81.4098595564565</c:v>
                </c:pt>
              </c:numCache>
            </c:numRef>
          </c:xVal>
          <c:yVal>
            <c:numRef>
              <c:f>Sheet1!$B$163:$B$164</c:f>
              <c:numCache>
                <c:formatCode>General</c:formatCode>
                <c:ptCount val="2"/>
                <c:pt idx="0">
                  <c:v>0.17254984366128495</c:v>
                </c:pt>
                <c:pt idx="1">
                  <c:v>0.1725498436612849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81.4098595564565</c:v>
                </c:pt>
                <c:pt idx="1">
                  <c:v>581.4098595564565</c:v>
                </c:pt>
              </c:numCache>
            </c:numRef>
          </c:xVal>
          <c:yVal>
            <c:numRef>
              <c:f>Sheet1!$B$167:$B$168</c:f>
              <c:numCache>
                <c:formatCode>General</c:formatCode>
                <c:ptCount val="2"/>
                <c:pt idx="0">
                  <c:v>0.1725498436612849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22.4548205472868</c:v>
                </c:pt>
              </c:numCache>
            </c:numRef>
          </c:xVal>
          <c:yVal>
            <c:numRef>
              <c:f>Sheet1!$B$171:$B$172</c:f>
              <c:numCache>
                <c:formatCode>General</c:formatCode>
                <c:ptCount val="2"/>
                <c:pt idx="0">
                  <c:v>0.09571001428789952</c:v>
                </c:pt>
                <c:pt idx="1">
                  <c:v>0.0957100142878995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22.4548205472868</c:v>
                </c:pt>
                <c:pt idx="1">
                  <c:v>1022.4548205472868</c:v>
                </c:pt>
              </c:numCache>
            </c:numRef>
          </c:xVal>
          <c:yVal>
            <c:numRef>
              <c:f>Sheet1!$B$175:$B$176</c:f>
              <c:numCache>
                <c:formatCode>General</c:formatCode>
                <c:ptCount val="2"/>
                <c:pt idx="0">
                  <c:v>0.0957100142878995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81.7097350324007</c:v>
                </c:pt>
              </c:numCache>
            </c:numRef>
          </c:xVal>
          <c:yVal>
            <c:numRef>
              <c:f>Sheet1!$B$179:$B$180</c:f>
              <c:numCache>
                <c:formatCode>General</c:formatCode>
                <c:ptCount val="2"/>
                <c:pt idx="0">
                  <c:v>0.06796427056957678</c:v>
                </c:pt>
                <c:pt idx="1">
                  <c:v>0.0679642705695767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81.7097350324007</c:v>
                </c:pt>
                <c:pt idx="1">
                  <c:v>1181.7097350324007</c:v>
                </c:pt>
              </c:numCache>
            </c:numRef>
          </c:xVal>
          <c:yVal>
            <c:numRef>
              <c:f>Sheet1!$B$183:$B$184</c:f>
              <c:numCache>
                <c:formatCode>General</c:formatCode>
                <c:ptCount val="2"/>
                <c:pt idx="0">
                  <c:v>0.067964270569576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05.1652</c:v>
                </c:pt>
                <c:pt idx="1">
                  <c:v>1077.3861</c:v>
                </c:pt>
                <c:pt idx="2">
                  <c:v>1082.3896</c:v>
                </c:pt>
                <c:pt idx="3">
                  <c:v>1043.0893</c:v>
                </c:pt>
                <c:pt idx="4">
                  <c:v>1063.0638</c:v>
                </c:pt>
                <c:pt idx="5">
                  <c:v>1094.3556</c:v>
                </c:pt>
                <c:pt idx="6">
                  <c:v>995.9736</c:v>
                </c:pt>
                <c:pt idx="7">
                  <c:v>1058.4814</c:v>
                </c:pt>
                <c:pt idx="8">
                  <c:v>1110.3294</c:v>
                </c:pt>
                <c:pt idx="9">
                  <c:v>1077.7345</c:v>
                </c:pt>
                <c:pt idx="10">
                  <c:v>1094.5917</c:v>
                </c:pt>
                <c:pt idx="11">
                  <c:v>999.4156</c:v>
                </c:pt>
                <c:pt idx="12">
                  <c:v>1036.1162</c:v>
                </c:pt>
                <c:pt idx="13">
                  <c:v>1081.5061</c:v>
                </c:pt>
                <c:pt idx="14">
                  <c:v>1081.8897</c:v>
                </c:pt>
                <c:pt idx="15">
                  <c:v>1103.6678</c:v>
                </c:pt>
                <c:pt idx="16">
                  <c:v>1145.5745</c:v>
                </c:pt>
                <c:pt idx="17">
                  <c:v>1125.4611</c:v>
                </c:pt>
                <c:pt idx="18">
                  <c:v>965.6475</c:v>
                </c:pt>
                <c:pt idx="19">
                  <c:v>1169.195</c:v>
                </c:pt>
                <c:pt idx="20">
                  <c:v>1186.8163</c:v>
                </c:pt>
                <c:pt idx="21">
                  <c:v>1145.319</c:v>
                </c:pt>
                <c:pt idx="22">
                  <c:v>1175.2492</c:v>
                </c:pt>
                <c:pt idx="23">
                  <c:v>1114.9563</c:v>
                </c:pt>
                <c:pt idx="24">
                  <c:v>1147.7258</c:v>
                </c:pt>
                <c:pt idx="25">
                  <c:v>1091.4149</c:v>
                </c:pt>
                <c:pt idx="26">
                  <c:v>1113.061</c:v>
                </c:pt>
                <c:pt idx="27">
                  <c:v>1117.9946</c:v>
                </c:pt>
                <c:pt idx="28">
                  <c:v>1110.7604</c:v>
                </c:pt>
                <c:pt idx="29">
                  <c:v>1088.0634</c:v>
                </c:pt>
                <c:pt idx="30">
                  <c:v>1023.7684</c:v>
                </c:pt>
                <c:pt idx="31">
                  <c:v>973.752</c:v>
                </c:pt>
                <c:pt idx="32">
                  <c:v>1010.594</c:v>
                </c:pt>
                <c:pt idx="33">
                  <c:v>1046.9845</c:v>
                </c:pt>
                <c:pt idx="34">
                  <c:v>1082.4727</c:v>
                </c:pt>
                <c:pt idx="35">
                  <c:v>1091.152</c:v>
                </c:pt>
                <c:pt idx="36">
                  <c:v>1099.8767</c:v>
                </c:pt>
                <c:pt idx="37">
                  <c:v>1222.1203</c:v>
                </c:pt>
                <c:pt idx="38">
                  <c:v>1204.3647</c:v>
                </c:pt>
                <c:pt idx="39">
                  <c:v>1162.7692</c:v>
                </c:pt>
                <c:pt idx="40">
                  <c:v>1195.2389</c:v>
                </c:pt>
                <c:pt idx="41">
                  <c:v>1228.0108</c:v>
                </c:pt>
                <c:pt idx="42">
                  <c:v>1198.8</c:v>
                </c:pt>
                <c:pt idx="43">
                  <c:v>1206.5052</c:v>
                </c:pt>
                <c:pt idx="44">
                  <c:v>1164.0664</c:v>
                </c:pt>
                <c:pt idx="45">
                  <c:v>1117.2144</c:v>
                </c:pt>
                <c:pt idx="46">
                  <c:v>1130.5232</c:v>
                </c:pt>
                <c:pt idx="47">
                  <c:v>1113.0863</c:v>
                </c:pt>
                <c:pt idx="48">
                  <c:v>1104.0429</c:v>
                </c:pt>
                <c:pt idx="49">
                  <c:v>1137.1886</c:v>
                </c:pt>
                <c:pt idx="50">
                  <c:v>1008.1707</c:v>
                </c:pt>
                <c:pt idx="51">
                  <c:v>980.5317</c:v>
                </c:pt>
                <c:pt idx="52">
                  <c:v>1022.4548205472868</c:v>
                </c:pt>
                <c:pt idx="53">
                  <c:v>581.4098595564565</c:v>
                </c:pt>
                <c:pt idx="54">
                  <c:v>1181.7097350324007</c:v>
                </c:pt>
              </c:numCache>
            </c:numRef>
          </c:xVal>
          <c:yVal>
            <c:numRef>
              <c:f>Sheet1!$B$187:$B$241</c:f>
              <c:numCache>
                <c:formatCode>General</c:formatCode>
                <c:ptCount val="55"/>
                <c:pt idx="0">
                  <c:v>0.08130002889712079</c:v>
                </c:pt>
                <c:pt idx="1">
                  <c:v>0.08613976518920052</c:v>
                </c:pt>
                <c:pt idx="2">
                  <c:v>0.08526804434376561</c:v>
                </c:pt>
                <c:pt idx="3">
                  <c:v>0.09211502960245363</c:v>
                </c:pt>
                <c:pt idx="4">
                  <c:v>0.08863502799814874</c:v>
                </c:pt>
                <c:pt idx="5">
                  <c:v>0.08318330133657578</c:v>
                </c:pt>
                <c:pt idx="6">
                  <c:v>0.1003236311488227</c:v>
                </c:pt>
                <c:pt idx="7">
                  <c:v>0.089433383869463</c:v>
                </c:pt>
                <c:pt idx="8">
                  <c:v>0.08040031054197036</c:v>
                </c:pt>
                <c:pt idx="9">
                  <c:v>0.08607906617000405</c:v>
                </c:pt>
                <c:pt idx="10">
                  <c:v>0.0831421674719596</c:v>
                </c:pt>
                <c:pt idx="11">
                  <c:v>0.09972395828982661</c:v>
                </c:pt>
                <c:pt idx="12">
                  <c:v>0.09332989851967205</c:v>
                </c:pt>
                <c:pt idx="13">
                  <c:v>0.08542196966942597</c:v>
                </c:pt>
                <c:pt idx="14">
                  <c:v>0.08535513802831302</c:v>
                </c:pt>
                <c:pt idx="15">
                  <c:v>0.08156090923967185</c:v>
                </c:pt>
                <c:pt idx="16">
                  <c:v>0.07425983120361965</c:v>
                </c:pt>
                <c:pt idx="17">
                  <c:v>0.07776403227338491</c:v>
                </c:pt>
                <c:pt idx="18">
                  <c:v>0.10560711141878246</c:v>
                </c:pt>
                <c:pt idx="19">
                  <c:v>0.070144615408757</c:v>
                </c:pt>
                <c:pt idx="20">
                  <c:v>0.06707459351734854</c:v>
                </c:pt>
                <c:pt idx="21">
                  <c:v>0.07430434497917848</c:v>
                </c:pt>
                <c:pt idx="22">
                  <c:v>0.06908983928355822</c:v>
                </c:pt>
                <c:pt idx="23">
                  <c:v>0.07959420178215368</c:v>
                </c:pt>
                <c:pt idx="24">
                  <c:v>0.0738850269556364</c:v>
                </c:pt>
                <c:pt idx="25">
                  <c:v>0.08369563659992554</c:v>
                </c:pt>
                <c:pt idx="26">
                  <c:v>0.07992440514347135</c:v>
                </c:pt>
                <c:pt idx="27">
                  <c:v>0.07906486243076269</c:v>
                </c:pt>
                <c:pt idx="28">
                  <c:v>0.08032522076793575</c:v>
                </c:pt>
                <c:pt idx="29">
                  <c:v>0.0842795423485965</c:v>
                </c:pt>
                <c:pt idx="30">
                  <c:v>0.09548115956799044</c:v>
                </c:pt>
                <c:pt idx="31">
                  <c:v>0.10419512748916776</c:v>
                </c:pt>
                <c:pt idx="32">
                  <c:v>0.09777643269801894</c:v>
                </c:pt>
                <c:pt idx="33">
                  <c:v>0.09143639923628236</c:v>
                </c:pt>
                <c:pt idx="34">
                  <c:v>0.08525356647782062</c:v>
                </c:pt>
                <c:pt idx="35">
                  <c:v>0.08374143961986455</c:v>
                </c:pt>
                <c:pt idx="36">
                  <c:v>0.08222140307341386</c:v>
                </c:pt>
                <c:pt idx="37">
                  <c:v>0.060923852490620406</c:v>
                </c:pt>
                <c:pt idx="38">
                  <c:v>0.06401727242530694</c:v>
                </c:pt>
                <c:pt idx="39">
                  <c:v>0.0712641325085063</c:v>
                </c:pt>
                <c:pt idx="40">
                  <c:v>0.06560718950160752</c:v>
                </c:pt>
                <c:pt idx="41">
                  <c:v>0.05989759654177773</c:v>
                </c:pt>
                <c:pt idx="42">
                  <c:v>0.06498676677697912</c:v>
                </c:pt>
                <c:pt idx="43">
                  <c:v>0.06364434977722991</c:v>
                </c:pt>
                <c:pt idx="44">
                  <c:v>0.07103813145310545</c:v>
                </c:pt>
                <c:pt idx="45">
                  <c:v>0.07920079060176466</c:v>
                </c:pt>
                <c:pt idx="46">
                  <c:v>0.07688210200623669</c:v>
                </c:pt>
                <c:pt idx="47">
                  <c:v>0.07991999732146884</c:v>
                </c:pt>
                <c:pt idx="48">
                  <c:v>0.08149555848737394</c:v>
                </c:pt>
                <c:pt idx="49">
                  <c:v>0.07572084126412382</c:v>
                </c:pt>
                <c:pt idx="50">
                  <c:v>0.09819862538808441</c:v>
                </c:pt>
                <c:pt idx="51">
                  <c:v>0.10301395314804754</c:v>
                </c:pt>
                <c:pt idx="52">
                  <c:v>0.09571001428789952</c:v>
                </c:pt>
                <c:pt idx="53">
                  <c:v>0.17254984366128495</c:v>
                </c:pt>
                <c:pt idx="54">
                  <c:v>0.0679642705695767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74.0"/>
          <c:min val="46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530856005308555"/>
          <c:min val="0.04495203289173138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6388352480524755</c:v>
                </c:pt>
                <c:pt idx="1">
                  <c:v>1.7619000612562496</c:v>
                </c:pt>
                <c:pt idx="2">
                  <c:v>1.801244832713663</c:v>
                </c:pt>
                <c:pt idx="3">
                  <c:v>1.842115417821696</c:v>
                </c:pt>
                <c:pt idx="4">
                  <c:v>1.8317023897288536</c:v>
                </c:pt>
                <c:pt idx="5">
                  <c:v>1.8122847181641777</c:v>
                </c:pt>
                <c:pt idx="6">
                  <c:v>1.774566438264307</c:v>
                </c:pt>
                <c:pt idx="7">
                  <c:v>1.781176151995332</c:v>
                </c:pt>
                <c:pt idx="8">
                  <c:v>1.766848303823733</c:v>
                </c:pt>
                <c:pt idx="9">
                  <c:v>2.0256341337108186</c:v>
                </c:pt>
                <c:pt idx="10">
                  <c:v>2.0184950904221513</c:v>
                </c:pt>
                <c:pt idx="11">
                  <c:v>1.8646455830767887</c:v>
                </c:pt>
                <c:pt idx="12">
                  <c:v>1.8561228675921388</c:v>
                </c:pt>
                <c:pt idx="13">
                  <c:v>1.8408935370238857</c:v>
                </c:pt>
                <c:pt idx="14">
                  <c:v>1.851116441727327</c:v>
                </c:pt>
                <c:pt idx="15">
                  <c:v>1.8604622084374107</c:v>
                </c:pt>
                <c:pt idx="16">
                  <c:v>1.8520879544579654</c:v>
                </c:pt>
                <c:pt idx="17">
                  <c:v>1.8987315571769567</c:v>
                </c:pt>
                <c:pt idx="18">
                  <c:v>1.9573983434662687</c:v>
                </c:pt>
                <c:pt idx="19">
                  <c:v>1.9781438272566076</c:v>
                </c:pt>
                <c:pt idx="20">
                  <c:v>1.9551689601426256</c:v>
                </c:pt>
                <c:pt idx="21">
                  <c:v>1.9665221202950054</c:v>
                </c:pt>
                <c:pt idx="22">
                  <c:v>1.9391441858410372</c:v>
                </c:pt>
                <c:pt idx="23">
                  <c:v>1.69342222408354</c:v>
                </c:pt>
                <c:pt idx="24">
                  <c:v>1.633585960063743</c:v>
                </c:pt>
                <c:pt idx="25">
                  <c:v>1.615459048906518</c:v>
                </c:pt>
                <c:pt idx="26">
                  <c:v>1.5816463288455744</c:v>
                </c:pt>
                <c:pt idx="27">
                  <c:v>1.6709476257943918</c:v>
                </c:pt>
                <c:pt idx="28">
                  <c:v>1.6565755543729688</c:v>
                </c:pt>
                <c:pt idx="29">
                  <c:v>1.3264437872703745</c:v>
                </c:pt>
                <c:pt idx="30">
                  <c:v>1.4543028527539394</c:v>
                </c:pt>
                <c:pt idx="31">
                  <c:v>1.5139951055368612</c:v>
                </c:pt>
                <c:pt idx="32">
                  <c:v>1.4909392712051222</c:v>
                </c:pt>
                <c:pt idx="33">
                  <c:v>1.3377490770097478</c:v>
                </c:pt>
                <c:pt idx="34">
                  <c:v>1.6346818366546905</c:v>
                </c:pt>
                <c:pt idx="35">
                  <c:v>1.7133612450684275</c:v>
                </c:pt>
                <c:pt idx="36">
                  <c:v>1.7580006553533216</c:v>
                </c:pt>
                <c:pt idx="37">
                  <c:v>1.7630293881085146</c:v>
                </c:pt>
                <c:pt idx="38">
                  <c:v>1.8567764754505423</c:v>
                </c:pt>
                <c:pt idx="39">
                  <c:v>1.937799354848377</c:v>
                </c:pt>
                <c:pt idx="40">
                  <c:v>1.9429748278333578</c:v>
                </c:pt>
                <c:pt idx="41">
                  <c:v>1.9509656982425272</c:v>
                </c:pt>
                <c:pt idx="42">
                  <c:v>1.9694792984714111</c:v>
                </c:pt>
                <c:pt idx="43">
                  <c:v>1.9314086632727512</c:v>
                </c:pt>
                <c:pt idx="44">
                  <c:v>1.8005430990493636</c:v>
                </c:pt>
                <c:pt idx="45">
                  <c:v>1.7523758876706848</c:v>
                </c:pt>
                <c:pt idx="46">
                  <c:v>1.8478944172883598</c:v>
                </c:pt>
                <c:pt idx="47">
                  <c:v>1.9308346751822043</c:v>
                </c:pt>
                <c:pt idx="48">
                  <c:v>1.9354344253910818</c:v>
                </c:pt>
                <c:pt idx="49">
                  <c:v>1.863687942713787</c:v>
                </c:pt>
                <c:pt idx="50">
                  <c:v>1.7909042381430924</c:v>
                </c:pt>
                <c:pt idx="51">
                  <c:v>1.792717276778722</c:v>
                </c:pt>
                <c:pt idx="52">
                  <c:v>1.8127590538426497</c:v>
                </c:pt>
                <c:pt idx="53">
                  <c:v>1.82587304464657</c:v>
                </c:pt>
                <c:pt idx="54">
                  <c:v>1.8633904260493455</c:v>
                </c:pt>
                <c:pt idx="55">
                  <c:v>1.841102106512047</c:v>
                </c:pt>
                <c:pt idx="56">
                  <c:v>1.821138060308184</c:v>
                </c:pt>
                <c:pt idx="57">
                  <c:v>1.8244307970364553</c:v>
                </c:pt>
                <c:pt idx="58">
                  <c:v>1.7600348218946955</c:v>
                </c:pt>
                <c:pt idx="59">
                  <c:v>1.8373194915535873</c:v>
                </c:pt>
                <c:pt idx="60">
                  <c:v>2.0514901538493024</c:v>
                </c:pt>
                <c:pt idx="61">
                  <c:v>1.9199138295011855</c:v>
                </c:pt>
                <c:pt idx="62">
                  <c:v>1.8577137670011379</c:v>
                </c:pt>
                <c:pt idx="63">
                  <c:v>1.8840648799488402</c:v>
                </c:pt>
                <c:pt idx="64">
                  <c:v>1.9036079430538437</c:v>
                </c:pt>
                <c:pt idx="65">
                  <c:v>1.952933125541435</c:v>
                </c:pt>
                <c:pt idx="66">
                  <c:v>1.8135695706184973</c:v>
                </c:pt>
                <c:pt idx="67">
                  <c:v>1.7295267000194279</c:v>
                </c:pt>
                <c:pt idx="68">
                  <c:v>1.7005138095139136</c:v>
                </c:pt>
                <c:pt idx="69">
                  <c:v>1.736220222702319</c:v>
                </c:pt>
                <c:pt idx="70">
                  <c:v>1.7368719046926004</c:v>
                </c:pt>
                <c:pt idx="71">
                  <c:v>1.6837479953764871</c:v>
                </c:pt>
                <c:pt idx="72">
                  <c:v>1.7698823367519336</c:v>
                </c:pt>
                <c:pt idx="73">
                  <c:v>1.8626292422136639</c:v>
                </c:pt>
                <c:pt idx="74">
                  <c:v>1.8271235982779923</c:v>
                </c:pt>
                <c:pt idx="75">
                  <c:v>1.7974000692640144</c:v>
                </c:pt>
                <c:pt idx="76">
                  <c:v>1.8294420599627985</c:v>
                </c:pt>
                <c:pt idx="77">
                  <c:v>1.8245058429084062</c:v>
                </c:pt>
                <c:pt idx="78">
                  <c:v>1.759084626384094</c:v>
                </c:pt>
                <c:pt idx="79">
                  <c:v>1.799637204899538</c:v>
                </c:pt>
                <c:pt idx="80">
                  <c:v>1.808544506026205</c:v>
                </c:pt>
                <c:pt idx="81">
                  <c:v>1.8209966711556327</c:v>
                </c:pt>
                <c:pt idx="82">
                  <c:v>1.8429856084144995</c:v>
                </c:pt>
                <c:pt idx="83">
                  <c:v>1.8465267261063028</c:v>
                </c:pt>
                <c:pt idx="84">
                  <c:v>1.7917096325170185</c:v>
                </c:pt>
                <c:pt idx="85">
                  <c:v>1.7756515555853811</c:v>
                </c:pt>
                <c:pt idx="86">
                  <c:v>1.7925996973941343</c:v>
                </c:pt>
                <c:pt idx="87">
                  <c:v>1.825349975237789</c:v>
                </c:pt>
                <c:pt idx="88">
                  <c:v>1.8190369066925756</c:v>
                </c:pt>
                <c:pt idx="89">
                  <c:v>1.8087056094851148</c:v>
                </c:pt>
                <c:pt idx="90">
                  <c:v>1.9041308011039006</c:v>
                </c:pt>
                <c:pt idx="91">
                  <c:v>1.9585684382739534</c:v>
                </c:pt>
                <c:pt idx="92">
                  <c:v>1.9329148715772593</c:v>
                </c:pt>
                <c:pt idx="93">
                  <c:v>1.8845654394700102</c:v>
                </c:pt>
                <c:pt idx="94">
                  <c:v>1.8803216715619318</c:v>
                </c:pt>
                <c:pt idx="95">
                  <c:v>1.8204679130772545</c:v>
                </c:pt>
                <c:pt idx="96">
                  <c:v>1.7098510702296426</c:v>
                </c:pt>
                <c:pt idx="97">
                  <c:v>1.7082417327896269</c:v>
                </c:pt>
                <c:pt idx="98">
                  <c:v>1.7391173348194857</c:v>
                </c:pt>
                <c:pt idx="99">
                  <c:v>1.679770085794088</c:v>
                </c:pt>
                <c:pt idx="100">
                  <c:v>1.6851050599662272</c:v>
                </c:pt>
                <c:pt idx="101">
                  <c:v>1.722949941455226</c:v>
                </c:pt>
                <c:pt idx="102">
                  <c:v>1.7584421651089863</c:v>
                </c:pt>
                <c:pt idx="103">
                  <c:v>1.667071066962826</c:v>
                </c:pt>
                <c:pt idx="104">
                  <c:v>1.741225754916105</c:v>
                </c:pt>
              </c:numCache>
            </c:numRef>
          </c:xVal>
          <c:yVal>
            <c:numRef>
              <c:f>Sheet1!$B$2:$B$106</c:f>
              <c:numCache>
                <c:formatCode>General</c:formatCode>
                <c:ptCount val="105"/>
                <c:pt idx="0">
                  <c:v>0.21275713337757132</c:v>
                </c:pt>
                <c:pt idx="1">
                  <c:v>0.19320327249842667</c:v>
                </c:pt>
                <c:pt idx="2">
                  <c:v>0.1629499840713603</c:v>
                </c:pt>
                <c:pt idx="3">
                  <c:v>0.1625384352579433</c:v>
                </c:pt>
                <c:pt idx="4">
                  <c:v>0.1519509358147404</c:v>
                </c:pt>
                <c:pt idx="5">
                  <c:v>0.13924466338259442</c:v>
                </c:pt>
                <c:pt idx="6">
                  <c:v>0.1603197513045409</c:v>
                </c:pt>
                <c:pt idx="7">
                  <c:v>0.16011722392433728</c:v>
                </c:pt>
                <c:pt idx="8">
                  <c:v>0.16111662179396344</c:v>
                </c:pt>
                <c:pt idx="9">
                  <c:v>0.16815889677884122</c:v>
                </c:pt>
                <c:pt idx="10">
                  <c:v>0.1775177025963808</c:v>
                </c:pt>
                <c:pt idx="11">
                  <c:v>0.16727976766698935</c:v>
                </c:pt>
                <c:pt idx="12">
                  <c:v>0.17367767128150516</c:v>
                </c:pt>
                <c:pt idx="13">
                  <c:v>0.1737161488995562</c:v>
                </c:pt>
                <c:pt idx="14">
                  <c:v>0.17845087127086945</c:v>
                </c:pt>
                <c:pt idx="15">
                  <c:v>0.18394343710799407</c:v>
                </c:pt>
                <c:pt idx="16">
                  <c:v>0.18158670597694987</c:v>
                </c:pt>
                <c:pt idx="17">
                  <c:v>0.164764820484275</c:v>
                </c:pt>
                <c:pt idx="18">
                  <c:v>0.15696950840074672</c:v>
                </c:pt>
                <c:pt idx="19">
                  <c:v>0.15949319918017515</c:v>
                </c:pt>
                <c:pt idx="20">
                  <c:v>0.17789473684210527</c:v>
                </c:pt>
                <c:pt idx="21">
                  <c:v>0.1660056657223796</c:v>
                </c:pt>
                <c:pt idx="22">
                  <c:v>0.16938472942920682</c:v>
                </c:pt>
                <c:pt idx="23">
                  <c:v>0.17258982917730217</c:v>
                </c:pt>
                <c:pt idx="24">
                  <c:v>0.16918160837919405</c:v>
                </c:pt>
                <c:pt idx="25">
                  <c:v>0.16618675442204853</c:v>
                </c:pt>
                <c:pt idx="26">
                  <c:v>0.17530721966205837</c:v>
                </c:pt>
                <c:pt idx="27">
                  <c:v>0.15330882352941178</c:v>
                </c:pt>
                <c:pt idx="28">
                  <c:v>0.1581605049594229</c:v>
                </c:pt>
                <c:pt idx="29">
                  <c:v>0.19537153652392947</c:v>
                </c:pt>
                <c:pt idx="30">
                  <c:v>0.17939719240297275</c:v>
                </c:pt>
                <c:pt idx="31">
                  <c:v>0.16600633914421553</c:v>
                </c:pt>
                <c:pt idx="32">
                  <c:v>0.1670150104503135</c:v>
                </c:pt>
                <c:pt idx="33">
                  <c:v>0.19675305332141793</c:v>
                </c:pt>
                <c:pt idx="34">
                  <c:v>0.17448536619521077</c:v>
                </c:pt>
                <c:pt idx="35">
                  <c:v>0.17164570230607967</c:v>
                </c:pt>
                <c:pt idx="36">
                  <c:v>0.13192111029948866</c:v>
                </c:pt>
                <c:pt idx="37">
                  <c:v>0.1165654243966508</c:v>
                </c:pt>
                <c:pt idx="38">
                  <c:v>0.10898379970544919</c:v>
                </c:pt>
                <c:pt idx="39">
                  <c:v>0.09519725557461406</c:v>
                </c:pt>
                <c:pt idx="40">
                  <c:v>0.09437639198218263</c:v>
                </c:pt>
                <c:pt idx="41">
                  <c:v>0.0806720145300439</c:v>
                </c:pt>
                <c:pt idx="42">
                  <c:v>0.0811764705882353</c:v>
                </c:pt>
                <c:pt idx="43">
                  <c:v>0.0849034104459814</c:v>
                </c:pt>
                <c:pt idx="44">
                  <c:v>0.0963064960311032</c:v>
                </c:pt>
                <c:pt idx="45">
                  <c:v>0.11026731470230863</c:v>
                </c:pt>
                <c:pt idx="46">
                  <c:v>0.11005761797097222</c:v>
                </c:pt>
                <c:pt idx="47">
                  <c:v>0.10516536603493125</c:v>
                </c:pt>
                <c:pt idx="48">
                  <c:v>0.11268526591107236</c:v>
                </c:pt>
                <c:pt idx="49">
                  <c:v>0.132865275142315</c:v>
                </c:pt>
                <c:pt idx="50">
                  <c:v>0.10914454277286136</c:v>
                </c:pt>
                <c:pt idx="51">
                  <c:v>0.09979303518401872</c:v>
                </c:pt>
                <c:pt idx="52">
                  <c:v>0.11274324222003483</c:v>
                </c:pt>
                <c:pt idx="53">
                  <c:v>0.10075381503952932</c:v>
                </c:pt>
                <c:pt idx="54">
                  <c:v>0.09229098805646037</c:v>
                </c:pt>
                <c:pt idx="55">
                  <c:v>0.08790322580645162</c:v>
                </c:pt>
                <c:pt idx="56">
                  <c:v>0.09020217729393468</c:v>
                </c:pt>
                <c:pt idx="57">
                  <c:v>0.08302088912694162</c:v>
                </c:pt>
                <c:pt idx="58">
                  <c:v>0.09743012892619192</c:v>
                </c:pt>
                <c:pt idx="59">
                  <c:v>0.10261194029850747</c:v>
                </c:pt>
                <c:pt idx="60">
                  <c:v>0.10520675743822491</c:v>
                </c:pt>
                <c:pt idx="61">
                  <c:v>0.1152971152971153</c:v>
                </c:pt>
                <c:pt idx="62">
                  <c:v>0.12451746117245713</c:v>
                </c:pt>
                <c:pt idx="63">
                  <c:v>0.137372226377462</c:v>
                </c:pt>
                <c:pt idx="64">
                  <c:v>0.14348311710628062</c:v>
                </c:pt>
                <c:pt idx="65">
                  <c:v>0.13300142247510668</c:v>
                </c:pt>
                <c:pt idx="66">
                  <c:v>0.1349754590074532</c:v>
                </c:pt>
                <c:pt idx="67">
                  <c:v>0.1173056797640567</c:v>
                </c:pt>
                <c:pt idx="68">
                  <c:v>0.10839498230942425</c:v>
                </c:pt>
                <c:pt idx="69">
                  <c:v>0.09338796270132806</c:v>
                </c:pt>
                <c:pt idx="70">
                  <c:v>0.07858081471747701</c:v>
                </c:pt>
                <c:pt idx="71">
                  <c:v>0.09135446685878963</c:v>
                </c:pt>
                <c:pt idx="72">
                  <c:v>0.09184372858122002</c:v>
                </c:pt>
                <c:pt idx="73">
                  <c:v>0.08513434579439252</c:v>
                </c:pt>
                <c:pt idx="74">
                  <c:v>0.07852896446840868</c:v>
                </c:pt>
                <c:pt idx="75">
                  <c:v>0.08230589803398868</c:v>
                </c:pt>
                <c:pt idx="76">
                  <c:v>0.08296164139161463</c:v>
                </c:pt>
                <c:pt idx="77">
                  <c:v>0.08474264705882353</c:v>
                </c:pt>
                <c:pt idx="78">
                  <c:v>0.08102261553588987</c:v>
                </c:pt>
                <c:pt idx="79">
                  <c:v>0.06970461095100865</c:v>
                </c:pt>
                <c:pt idx="80">
                  <c:v>0.06458557588805167</c:v>
                </c:pt>
                <c:pt idx="81">
                  <c:v>0.0741733690795353</c:v>
                </c:pt>
                <c:pt idx="82">
                  <c:v>0.06761285235560813</c:v>
                </c:pt>
                <c:pt idx="83">
                  <c:v>0.0625136612021858</c:v>
                </c:pt>
                <c:pt idx="84">
                  <c:v>0.07058297967388877</c:v>
                </c:pt>
                <c:pt idx="85">
                  <c:v>0.08330019880715706</c:v>
                </c:pt>
                <c:pt idx="86">
                  <c:v>0.08738738738738738</c:v>
                </c:pt>
                <c:pt idx="87">
                  <c:v>0.09997076878105816</c:v>
                </c:pt>
                <c:pt idx="88">
                  <c:v>0.08097686375321336</c:v>
                </c:pt>
                <c:pt idx="89">
                  <c:v>0.07112153184837827</c:v>
                </c:pt>
                <c:pt idx="90">
                  <c:v>0.06972994760177348</c:v>
                </c:pt>
                <c:pt idx="91">
                  <c:v>0.0695084485407066</c:v>
                </c:pt>
                <c:pt idx="92">
                  <c:v>0.072710251209237</c:v>
                </c:pt>
                <c:pt idx="93">
                  <c:v>0.07056361190013455</c:v>
                </c:pt>
                <c:pt idx="94">
                  <c:v>0.07357567284166375</c:v>
                </c:pt>
                <c:pt idx="95">
                  <c:v>0.07847335936515934</c:v>
                </c:pt>
                <c:pt idx="96">
                  <c:v>0.07668893210450664</c:v>
                </c:pt>
                <c:pt idx="97">
                  <c:v>0.0878316559926807</c:v>
                </c:pt>
                <c:pt idx="98">
                  <c:v>0.10310706510983574</c:v>
                </c:pt>
                <c:pt idx="99">
                  <c:v>0.10578287270869985</c:v>
                </c:pt>
                <c:pt idx="100">
                  <c:v>0.12101434213261276</c:v>
                </c:pt>
                <c:pt idx="101">
                  <c:v>0.10400345001078129</c:v>
                </c:pt>
                <c:pt idx="102">
                  <c:v>0.08639430284857572</c:v>
                </c:pt>
                <c:pt idx="103">
                  <c:v>0.08791871178851288</c:v>
                </c:pt>
                <c:pt idx="104">
                  <c:v>0.0942381297196648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7945441995117943</c:v>
                </c:pt>
                <c:pt idx="1">
                  <c:v>1.7559373663044409</c:v>
                </c:pt>
                <c:pt idx="2">
                  <c:v>1.7591790159002119</c:v>
                </c:pt>
                <c:pt idx="3">
                  <c:v>1.6984870430211267</c:v>
                </c:pt>
                <c:pt idx="4">
                  <c:v>1.7376132609038903</c:v>
                </c:pt>
                <c:pt idx="5">
                  <c:v>1.7677372916920406</c:v>
                </c:pt>
                <c:pt idx="6">
                  <c:v>1.6004345069896333</c:v>
                </c:pt>
                <c:pt idx="7">
                  <c:v>1.6755101175046314</c:v>
                </c:pt>
                <c:pt idx="8">
                  <c:v>1.761658082056854</c:v>
                </c:pt>
                <c:pt idx="9">
                  <c:v>1.7200190110518496</c:v>
                </c:pt>
                <c:pt idx="10">
                  <c:v>1.7263298526268376</c:v>
                </c:pt>
                <c:pt idx="11">
                  <c:v>1.6009981973432559</c:v>
                </c:pt>
                <c:pt idx="12">
                  <c:v>1.6464179964450258</c:v>
                </c:pt>
                <c:pt idx="13">
                  <c:v>1.6948198979979612</c:v>
                </c:pt>
                <c:pt idx="14">
                  <c:v>1.7052101846417087</c:v>
                </c:pt>
                <c:pt idx="15">
                  <c:v>1.7518116629268092</c:v>
                </c:pt>
                <c:pt idx="16">
                  <c:v>1.785910882372795</c:v>
                </c:pt>
                <c:pt idx="17">
                  <c:v>1.8061379680333822</c:v>
                </c:pt>
                <c:pt idx="18">
                  <c:v>1.613119448492636</c:v>
                </c:pt>
                <c:pt idx="19">
                  <c:v>1.966300968775673</c:v>
                </c:pt>
                <c:pt idx="20">
                  <c:v>1.9501770137626249</c:v>
                </c:pt>
                <c:pt idx="21">
                  <c:v>1.8919034548924047</c:v>
                </c:pt>
                <c:pt idx="22">
                  <c:v>1.840611185128885</c:v>
                </c:pt>
                <c:pt idx="23">
                  <c:v>1.7144577818598337</c:v>
                </c:pt>
                <c:pt idx="24">
                  <c:v>1.7782811935923197</c:v>
                </c:pt>
                <c:pt idx="25">
                  <c:v>1.6988356114915304</c:v>
                </c:pt>
                <c:pt idx="26">
                  <c:v>1.7268805016087962</c:v>
                </c:pt>
                <c:pt idx="27">
                  <c:v>1.734279756188252</c:v>
                </c:pt>
                <c:pt idx="28">
                  <c:v>1.7445672728369293</c:v>
                </c:pt>
                <c:pt idx="29">
                  <c:v>1.7055624587448013</c:v>
                </c:pt>
                <c:pt idx="30">
                  <c:v>1.5819504360464667</c:v>
                </c:pt>
                <c:pt idx="31">
                  <c:v>1.5331900521952717</c:v>
                </c:pt>
                <c:pt idx="32">
                  <c:v>1.581609153668186</c:v>
                </c:pt>
                <c:pt idx="33">
                  <c:v>1.6390538621111046</c:v>
                </c:pt>
                <c:pt idx="34">
                  <c:v>1.6826111239177584</c:v>
                </c:pt>
                <c:pt idx="35">
                  <c:v>1.6988635080926102</c:v>
                </c:pt>
                <c:pt idx="36">
                  <c:v>1.7402908573538856</c:v>
                </c:pt>
                <c:pt idx="37">
                  <c:v>1.9207413834860476</c:v>
                </c:pt>
                <c:pt idx="38">
                  <c:v>1.9086113795493682</c:v>
                </c:pt>
                <c:pt idx="39">
                  <c:v>1.8309982291063363</c:v>
                </c:pt>
                <c:pt idx="40">
                  <c:v>1.8639043251870746</c:v>
                </c:pt>
                <c:pt idx="41">
                  <c:v>1.9192274895975034</c:v>
                </c:pt>
                <c:pt idx="42">
                  <c:v>1.880191877439344</c:v>
                </c:pt>
                <c:pt idx="43">
                  <c:v>1.929476305765263</c:v>
                </c:pt>
                <c:pt idx="44">
                  <c:v>1.9253951921125492</c:v>
                </c:pt>
                <c:pt idx="45">
                  <c:v>1.8516194417535468</c:v>
                </c:pt>
                <c:pt idx="46">
                  <c:v>1.853474114687116</c:v>
                </c:pt>
                <c:pt idx="47">
                  <c:v>1.8397576336171209</c:v>
                </c:pt>
                <c:pt idx="48">
                  <c:v>1.7689879618958133</c:v>
                </c:pt>
                <c:pt idx="49">
                  <c:v>1.8052950985397473</c:v>
                </c:pt>
                <c:pt idx="50">
                  <c:v>1.5984765989670011</c:v>
                </c:pt>
                <c:pt idx="51">
                  <c:v>1.5526005812761314</c:v>
                </c:pt>
              </c:numCache>
            </c:numRef>
          </c:xVal>
          <c:yVal>
            <c:numRef>
              <c:f>Sheet1!$B$109:$B$160</c:f>
              <c:numCache>
                <c:formatCode>General</c:formatCode>
                <c:ptCount val="52"/>
                <c:pt idx="0">
                  <c:v>0.09052785121706627</c:v>
                </c:pt>
                <c:pt idx="1">
                  <c:v>0.09172473036174478</c:v>
                </c:pt>
                <c:pt idx="2">
                  <c:v>0.09263798495477982</c:v>
                </c:pt>
                <c:pt idx="3">
                  <c:v>0.10572384793615378</c:v>
                </c:pt>
                <c:pt idx="4">
                  <c:v>0.09503122454520771</c:v>
                </c:pt>
                <c:pt idx="5">
                  <c:v>0.09373536848019477</c:v>
                </c:pt>
                <c:pt idx="6">
                  <c:v>0.09653823254231522</c:v>
                </c:pt>
                <c:pt idx="7">
                  <c:v>0.09169020715630885</c:v>
                </c:pt>
                <c:pt idx="8">
                  <c:v>0.09929632525410477</c:v>
                </c:pt>
                <c:pt idx="9">
                  <c:v>0.10155600427604229</c:v>
                </c:pt>
                <c:pt idx="10">
                  <c:v>0.11311686789356465</c:v>
                </c:pt>
                <c:pt idx="11">
                  <c:v>0.12131119332358255</c:v>
                </c:pt>
                <c:pt idx="12">
                  <c:v>0.11949623165410551</c:v>
                </c:pt>
                <c:pt idx="13">
                  <c:v>0.10983436853002071</c:v>
                </c:pt>
                <c:pt idx="14">
                  <c:v>0.10768528034715084</c:v>
                </c:pt>
                <c:pt idx="15">
                  <c:v>0.10147841513897102</c:v>
                </c:pt>
                <c:pt idx="16">
                  <c:v>0.08916586768935762</c:v>
                </c:pt>
                <c:pt idx="17">
                  <c:v>0.07530723063732495</c:v>
                </c:pt>
                <c:pt idx="18">
                  <c:v>0.08606760098928277</c:v>
                </c:pt>
                <c:pt idx="19">
                  <c:v>0.08156581409856518</c:v>
                </c:pt>
                <c:pt idx="20">
                  <c:v>0.06662134602311352</c:v>
                </c:pt>
                <c:pt idx="21">
                  <c:v>0.0710239651416122</c:v>
                </c:pt>
                <c:pt idx="22">
                  <c:v>0.07033109716511578</c:v>
                </c:pt>
                <c:pt idx="23">
                  <c:v>0.07324330510414283</c:v>
                </c:pt>
                <c:pt idx="24">
                  <c:v>0.06435540793024704</c:v>
                </c:pt>
                <c:pt idx="25">
                  <c:v>0.07494407158836688</c:v>
                </c:pt>
                <c:pt idx="26">
                  <c:v>0.06500198176773682</c:v>
                </c:pt>
                <c:pt idx="27">
                  <c:v>0.06602768903088392</c:v>
                </c:pt>
                <c:pt idx="28">
                  <c:v>0.07181863312924044</c:v>
                </c:pt>
                <c:pt idx="29">
                  <c:v>0.0689723712979527</c:v>
                </c:pt>
                <c:pt idx="30">
                  <c:v>0.0723334695545566</c:v>
                </c:pt>
                <c:pt idx="31">
                  <c:v>0.08088869715271786</c:v>
                </c:pt>
                <c:pt idx="32">
                  <c:v>0.08311094166984369</c:v>
                </c:pt>
                <c:pt idx="33">
                  <c:v>0.09138257575757576</c:v>
                </c:pt>
                <c:pt idx="34">
                  <c:v>0.104529153938106</c:v>
                </c:pt>
                <c:pt idx="35">
                  <c:v>0.09309639880484352</c:v>
                </c:pt>
                <c:pt idx="36">
                  <c:v>0.07139457401237506</c:v>
                </c:pt>
                <c:pt idx="37">
                  <c:v>0.0610062893081761</c:v>
                </c:pt>
                <c:pt idx="38">
                  <c:v>0.059233449477351915</c:v>
                </c:pt>
                <c:pt idx="39">
                  <c:v>0.07029401824940859</c:v>
                </c:pt>
                <c:pt idx="40">
                  <c:v>0.05844155844155844</c:v>
                </c:pt>
                <c:pt idx="41">
                  <c:v>0.05619004111466423</c:v>
                </c:pt>
                <c:pt idx="42">
                  <c:v>0.0593089221248066</c:v>
                </c:pt>
                <c:pt idx="43">
                  <c:v>0.05844781875150639</c:v>
                </c:pt>
                <c:pt idx="44">
                  <c:v>0.05668634235701201</c:v>
                </c:pt>
                <c:pt idx="45">
                  <c:v>0.07061485642946318</c:v>
                </c:pt>
                <c:pt idx="46">
                  <c:v>0.06262872121325594</c:v>
                </c:pt>
                <c:pt idx="47">
                  <c:v>0.06420404573438875</c:v>
                </c:pt>
                <c:pt idx="48">
                  <c:v>0.06292380605176813</c:v>
                </c:pt>
                <c:pt idx="49">
                  <c:v>0.07689090275357267</c:v>
                </c:pt>
                <c:pt idx="50">
                  <c:v>0.09969380403458213</c:v>
                </c:pt>
                <c:pt idx="51">
                  <c:v>0.0872106801485109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8108517586044627</c:v>
                </c:pt>
              </c:numCache>
            </c:numRef>
          </c:xVal>
          <c:yVal>
            <c:numRef>
              <c:f>Sheet1!$B$163:$B$164</c:f>
              <c:numCache>
                <c:formatCode>General</c:formatCode>
                <c:ptCount val="2"/>
                <c:pt idx="0">
                  <c:v>0.17254984366128495</c:v>
                </c:pt>
                <c:pt idx="1">
                  <c:v>0.1725498436612849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8108517586044627</c:v>
                </c:pt>
                <c:pt idx="1">
                  <c:v>0.8108517586044627</c:v>
                </c:pt>
              </c:numCache>
            </c:numRef>
          </c:xVal>
          <c:yVal>
            <c:numRef>
              <c:f>Sheet1!$B$167:$B$168</c:f>
              <c:numCache>
                <c:formatCode>General</c:formatCode>
                <c:ptCount val="2"/>
                <c:pt idx="0">
                  <c:v>0.1725498436612849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6107479116980978</c:v>
                </c:pt>
              </c:numCache>
            </c:numRef>
          </c:xVal>
          <c:yVal>
            <c:numRef>
              <c:f>Sheet1!$B$171:$B$172</c:f>
              <c:numCache>
                <c:formatCode>General</c:formatCode>
                <c:ptCount val="2"/>
                <c:pt idx="0">
                  <c:v>0.09571001428789952</c:v>
                </c:pt>
                <c:pt idx="1">
                  <c:v>0.0957100142878995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6107479116980978</c:v>
                </c:pt>
                <c:pt idx="1">
                  <c:v>1.6107479116980978</c:v>
                </c:pt>
              </c:numCache>
            </c:numRef>
          </c:xVal>
          <c:yVal>
            <c:numRef>
              <c:f>Sheet1!$B$175:$B$176</c:f>
              <c:numCache>
                <c:formatCode>General</c:formatCode>
                <c:ptCount val="2"/>
                <c:pt idx="0">
                  <c:v>0.0957100142878995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8995787673362985</c:v>
                </c:pt>
              </c:numCache>
            </c:numRef>
          </c:xVal>
          <c:yVal>
            <c:numRef>
              <c:f>Sheet1!$B$179:$B$180</c:f>
              <c:numCache>
                <c:formatCode>General</c:formatCode>
                <c:ptCount val="2"/>
                <c:pt idx="0">
                  <c:v>0.06796427056957678</c:v>
                </c:pt>
                <c:pt idx="1">
                  <c:v>0.0679642705695767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8995787673362985</c:v>
                </c:pt>
                <c:pt idx="1">
                  <c:v>1.8995787673362985</c:v>
                </c:pt>
              </c:numCache>
            </c:numRef>
          </c:xVal>
          <c:yVal>
            <c:numRef>
              <c:f>Sheet1!$B$183:$B$184</c:f>
              <c:numCache>
                <c:formatCode>General</c:formatCode>
                <c:ptCount val="2"/>
                <c:pt idx="0">
                  <c:v>0.067964270569576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7945441995117943</c:v>
                </c:pt>
                <c:pt idx="1">
                  <c:v>1.7559373663044409</c:v>
                </c:pt>
                <c:pt idx="2">
                  <c:v>1.7591790159002119</c:v>
                </c:pt>
                <c:pt idx="3">
                  <c:v>1.6984870430211267</c:v>
                </c:pt>
                <c:pt idx="4">
                  <c:v>1.7376132609038903</c:v>
                </c:pt>
                <c:pt idx="5">
                  <c:v>1.7677372916920406</c:v>
                </c:pt>
                <c:pt idx="6">
                  <c:v>1.6004345069896333</c:v>
                </c:pt>
                <c:pt idx="7">
                  <c:v>1.6755101175046314</c:v>
                </c:pt>
                <c:pt idx="8">
                  <c:v>1.761658082056854</c:v>
                </c:pt>
                <c:pt idx="9">
                  <c:v>1.7200190110518496</c:v>
                </c:pt>
                <c:pt idx="10">
                  <c:v>1.7263298526268376</c:v>
                </c:pt>
                <c:pt idx="11">
                  <c:v>1.6009981973432559</c:v>
                </c:pt>
                <c:pt idx="12">
                  <c:v>1.6464179964450258</c:v>
                </c:pt>
                <c:pt idx="13">
                  <c:v>1.6948198979979612</c:v>
                </c:pt>
                <c:pt idx="14">
                  <c:v>1.7052101846417087</c:v>
                </c:pt>
                <c:pt idx="15">
                  <c:v>1.7518116629268092</c:v>
                </c:pt>
                <c:pt idx="16">
                  <c:v>1.785910882372795</c:v>
                </c:pt>
                <c:pt idx="17">
                  <c:v>1.8061379680333822</c:v>
                </c:pt>
                <c:pt idx="18">
                  <c:v>1.613119448492636</c:v>
                </c:pt>
                <c:pt idx="19">
                  <c:v>1.966300968775673</c:v>
                </c:pt>
                <c:pt idx="20">
                  <c:v>1.9501770137626249</c:v>
                </c:pt>
                <c:pt idx="21">
                  <c:v>1.8919034548924047</c:v>
                </c:pt>
                <c:pt idx="22">
                  <c:v>1.840611185128885</c:v>
                </c:pt>
                <c:pt idx="23">
                  <c:v>1.7144577818598337</c:v>
                </c:pt>
                <c:pt idx="24">
                  <c:v>1.7782811935923197</c:v>
                </c:pt>
                <c:pt idx="25">
                  <c:v>1.6988356114915304</c:v>
                </c:pt>
                <c:pt idx="26">
                  <c:v>1.7268805016087962</c:v>
                </c:pt>
                <c:pt idx="27">
                  <c:v>1.734279756188252</c:v>
                </c:pt>
                <c:pt idx="28">
                  <c:v>1.7445672728369293</c:v>
                </c:pt>
                <c:pt idx="29">
                  <c:v>1.7055624587448013</c:v>
                </c:pt>
                <c:pt idx="30">
                  <c:v>1.5819504360464667</c:v>
                </c:pt>
                <c:pt idx="31">
                  <c:v>1.5331900521952717</c:v>
                </c:pt>
                <c:pt idx="32">
                  <c:v>1.581609153668186</c:v>
                </c:pt>
                <c:pt idx="33">
                  <c:v>1.6390538621111046</c:v>
                </c:pt>
                <c:pt idx="34">
                  <c:v>1.6826111239177584</c:v>
                </c:pt>
                <c:pt idx="35">
                  <c:v>1.6988635080926102</c:v>
                </c:pt>
                <c:pt idx="36">
                  <c:v>1.7402908573538856</c:v>
                </c:pt>
                <c:pt idx="37">
                  <c:v>1.9207413834860476</c:v>
                </c:pt>
                <c:pt idx="38">
                  <c:v>1.9086113795493682</c:v>
                </c:pt>
                <c:pt idx="39">
                  <c:v>1.8309982291063363</c:v>
                </c:pt>
                <c:pt idx="40">
                  <c:v>1.8639043251870746</c:v>
                </c:pt>
                <c:pt idx="41">
                  <c:v>1.9192274895975034</c:v>
                </c:pt>
                <c:pt idx="42">
                  <c:v>1.880191877439344</c:v>
                </c:pt>
                <c:pt idx="43">
                  <c:v>1.929476305765263</c:v>
                </c:pt>
                <c:pt idx="44">
                  <c:v>1.9253951921125492</c:v>
                </c:pt>
                <c:pt idx="45">
                  <c:v>1.8516194417535468</c:v>
                </c:pt>
                <c:pt idx="46">
                  <c:v>1.853474114687116</c:v>
                </c:pt>
                <c:pt idx="47">
                  <c:v>1.8397576336171209</c:v>
                </c:pt>
                <c:pt idx="48">
                  <c:v>1.7689879618958133</c:v>
                </c:pt>
                <c:pt idx="49">
                  <c:v>1.8052950985397473</c:v>
                </c:pt>
                <c:pt idx="50">
                  <c:v>1.5984765989670011</c:v>
                </c:pt>
                <c:pt idx="51">
                  <c:v>1.5526005812761314</c:v>
                </c:pt>
                <c:pt idx="52">
                  <c:v>1.6107479116980978</c:v>
                </c:pt>
                <c:pt idx="53">
                  <c:v>0.8108517586044627</c:v>
                </c:pt>
                <c:pt idx="54">
                  <c:v>1.8995787673362985</c:v>
                </c:pt>
              </c:numCache>
            </c:numRef>
          </c:xVal>
          <c:yVal>
            <c:numRef>
              <c:f>Sheet1!$B$187:$B$241</c:f>
              <c:numCache>
                <c:formatCode>General</c:formatCode>
                <c:ptCount val="55"/>
                <c:pt idx="0">
                  <c:v>0.07805412815762472</c:v>
                </c:pt>
                <c:pt idx="1">
                  <c:v>0.08176278766902073</c:v>
                </c:pt>
                <c:pt idx="2">
                  <c:v>0.08145138749430555</c:v>
                </c:pt>
                <c:pt idx="3">
                  <c:v>0.08728159535607175</c:v>
                </c:pt>
                <c:pt idx="4">
                  <c:v>0.08352304258080229</c:v>
                </c:pt>
                <c:pt idx="5">
                  <c:v>0.08062926021061864</c:v>
                </c:pt>
                <c:pt idx="6">
                  <c:v>0.09670074321563862</c:v>
                </c:pt>
                <c:pt idx="7">
                  <c:v>0.0894888106669395</c:v>
                </c:pt>
                <c:pt idx="8">
                  <c:v>0.08121324280546693</c:v>
                </c:pt>
                <c:pt idx="9">
                  <c:v>0.08521318592172827</c:v>
                </c:pt>
                <c:pt idx="10">
                  <c:v>0.0846069522400821</c:v>
                </c:pt>
                <c:pt idx="11">
                  <c:v>0.09664659384834354</c:v>
                </c:pt>
                <c:pt idx="12">
                  <c:v>0.09228346546017024</c:v>
                </c:pt>
                <c:pt idx="13">
                  <c:v>0.08763386958164177</c:v>
                </c:pt>
                <c:pt idx="14">
                  <c:v>0.08663575520172093</c:v>
                </c:pt>
                <c:pt idx="15">
                  <c:v>0.08215911204482418</c:v>
                </c:pt>
                <c:pt idx="16">
                  <c:v>0.07888346408244618</c:v>
                </c:pt>
                <c:pt idx="17">
                  <c:v>0.07694040459294962</c:v>
                </c:pt>
                <c:pt idx="18">
                  <c:v>0.09548219911221673</c:v>
                </c:pt>
                <c:pt idx="19">
                  <c:v>0.061554785345539154</c:v>
                </c:pt>
                <c:pt idx="20">
                  <c:v>0.06310368884661866</c:v>
                </c:pt>
                <c:pt idx="21">
                  <c:v>0.06870157840171881</c:v>
                </c:pt>
                <c:pt idx="22">
                  <c:v>0.07362882957246064</c:v>
                </c:pt>
                <c:pt idx="23">
                  <c:v>0.08574741014642057</c:v>
                </c:pt>
                <c:pt idx="24">
                  <c:v>0.07961638920253375</c:v>
                </c:pt>
                <c:pt idx="25">
                  <c:v>0.0872481110822855</c:v>
                </c:pt>
                <c:pt idx="26">
                  <c:v>0.08455405565637597</c:v>
                </c:pt>
                <c:pt idx="27">
                  <c:v>0.08384326656559626</c:v>
                </c:pt>
                <c:pt idx="28">
                  <c:v>0.08285502450329485</c:v>
                </c:pt>
                <c:pt idx="29">
                  <c:v>0.08660191495649708</c:v>
                </c:pt>
                <c:pt idx="30">
                  <c:v>0.09847636477839442</c:v>
                </c:pt>
                <c:pt idx="31">
                  <c:v>0.10316039727538281</c:v>
                </c:pt>
                <c:pt idx="32">
                  <c:v>0.0985091491337308</c:v>
                </c:pt>
                <c:pt idx="33">
                  <c:v>0.09299088082091767</c:v>
                </c:pt>
                <c:pt idx="34">
                  <c:v>0.08880667196799252</c:v>
                </c:pt>
                <c:pt idx="35">
                  <c:v>0.08724543127183912</c:v>
                </c:pt>
                <c:pt idx="36">
                  <c:v>0.08326582662401502</c:v>
                </c:pt>
                <c:pt idx="37">
                  <c:v>0.06593134191033515</c:v>
                </c:pt>
                <c:pt idx="38">
                  <c:v>0.06709657745895997</c:v>
                </c:pt>
                <c:pt idx="39">
                  <c:v>0.07455227181891941</c:v>
                </c:pt>
                <c:pt idx="40">
                  <c:v>0.07139123797920274</c:v>
                </c:pt>
                <c:pt idx="41">
                  <c:v>0.06607676997325962</c:v>
                </c:pt>
                <c:pt idx="42">
                  <c:v>0.06982661895817843</c:v>
                </c:pt>
                <c:pt idx="43">
                  <c:v>0.06509224556647997</c:v>
                </c:pt>
                <c:pt idx="44">
                  <c:v>0.06548428655269437</c:v>
                </c:pt>
                <c:pt idx="45">
                  <c:v>0.07257135160176909</c:v>
                </c:pt>
                <c:pt idx="46">
                  <c:v>0.07239318753483648</c:v>
                </c:pt>
                <c:pt idx="47">
                  <c:v>0.07371082365665732</c:v>
                </c:pt>
                <c:pt idx="48">
                  <c:v>0.08050911800879831</c:v>
                </c:pt>
                <c:pt idx="49">
                  <c:v>0.0770213725383816</c:v>
                </c:pt>
                <c:pt idx="50">
                  <c:v>0.09688882427816903</c:v>
                </c:pt>
                <c:pt idx="51">
                  <c:v>0.10129577805343515</c:v>
                </c:pt>
                <c:pt idx="52">
                  <c:v>0.09571001428789952</c:v>
                </c:pt>
                <c:pt idx="53">
                  <c:v>0.17254984366128495</c:v>
                </c:pt>
                <c:pt idx="54">
                  <c:v>0.067964270569576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uv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530856005308555"/>
          <c:min val="0.04495203289173138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91.8062</c:v>
                </c:pt>
                <c:pt idx="1">
                  <c:v>851.3783</c:v>
                </c:pt>
                <c:pt idx="2">
                  <c:v>876.7815</c:v>
                </c:pt>
                <c:pt idx="3">
                  <c:v>890.7982</c:v>
                </c:pt>
                <c:pt idx="4">
                  <c:v>889.7335</c:v>
                </c:pt>
                <c:pt idx="5">
                  <c:v>882.0165</c:v>
                </c:pt>
                <c:pt idx="6">
                  <c:v>861.4017</c:v>
                </c:pt>
                <c:pt idx="7">
                  <c:v>862.9501</c:v>
                </c:pt>
                <c:pt idx="8">
                  <c:v>857.6605</c:v>
                </c:pt>
                <c:pt idx="9">
                  <c:v>842.5532</c:v>
                </c:pt>
                <c:pt idx="10">
                  <c:v>852.795</c:v>
                </c:pt>
                <c:pt idx="11">
                  <c:v>889.6418</c:v>
                </c:pt>
                <c:pt idx="12">
                  <c:v>893.1318</c:v>
                </c:pt>
                <c:pt idx="13">
                  <c:v>884.4411</c:v>
                </c:pt>
                <c:pt idx="14">
                  <c:v>893.2331</c:v>
                </c:pt>
                <c:pt idx="15">
                  <c:v>901.6838</c:v>
                </c:pt>
                <c:pt idx="16">
                  <c:v>904.0258</c:v>
                </c:pt>
                <c:pt idx="17">
                  <c:v>925.5929</c:v>
                </c:pt>
                <c:pt idx="18">
                  <c:v>953.2389</c:v>
                </c:pt>
                <c:pt idx="19">
                  <c:v>969.3516</c:v>
                </c:pt>
                <c:pt idx="20">
                  <c:v>956.7371</c:v>
                </c:pt>
                <c:pt idx="21">
                  <c:v>962.3117</c:v>
                </c:pt>
                <c:pt idx="22">
                  <c:v>948.1302</c:v>
                </c:pt>
                <c:pt idx="23">
                  <c:v>938.1024</c:v>
                </c:pt>
                <c:pt idx="24">
                  <c:v>921.1605</c:v>
                </c:pt>
                <c:pt idx="25">
                  <c:v>908.203</c:v>
                </c:pt>
                <c:pt idx="26">
                  <c:v>899.6156</c:v>
                </c:pt>
                <c:pt idx="27">
                  <c:v>942.5468</c:v>
                </c:pt>
                <c:pt idx="28">
                  <c:v>935.7389</c:v>
                </c:pt>
                <c:pt idx="29">
                  <c:v>754.5697</c:v>
                </c:pt>
                <c:pt idx="30">
                  <c:v>827.6375</c:v>
                </c:pt>
                <c:pt idx="31">
                  <c:v>863.1492</c:v>
                </c:pt>
                <c:pt idx="32">
                  <c:v>846.1058</c:v>
                </c:pt>
                <c:pt idx="33">
                  <c:v>759.3944</c:v>
                </c:pt>
                <c:pt idx="34">
                  <c:v>909.0433</c:v>
                </c:pt>
                <c:pt idx="35">
                  <c:v>949.2573</c:v>
                </c:pt>
                <c:pt idx="36">
                  <c:v>1006.4828</c:v>
                </c:pt>
                <c:pt idx="37">
                  <c:v>1016.8577</c:v>
                </c:pt>
                <c:pt idx="38">
                  <c:v>1062.9505</c:v>
                </c:pt>
                <c:pt idx="39">
                  <c:v>1112.1856</c:v>
                </c:pt>
                <c:pt idx="40">
                  <c:v>1115.7906</c:v>
                </c:pt>
                <c:pt idx="41">
                  <c:v>1121.2871</c:v>
                </c:pt>
                <c:pt idx="42">
                  <c:v>1133.599</c:v>
                </c:pt>
                <c:pt idx="43">
                  <c:v>1120.7837</c:v>
                </c:pt>
                <c:pt idx="44">
                  <c:v>1056.4575</c:v>
                </c:pt>
                <c:pt idx="45">
                  <c:v>1019.5386</c:v>
                </c:pt>
                <c:pt idx="46">
                  <c:v>1011.3698</c:v>
                </c:pt>
                <c:pt idx="47">
                  <c:v>1011.3322</c:v>
                </c:pt>
                <c:pt idx="48">
                  <c:v>1027.4333</c:v>
                </c:pt>
                <c:pt idx="49">
                  <c:v>1011.878</c:v>
                </c:pt>
                <c:pt idx="50">
                  <c:v>1008.8434</c:v>
                </c:pt>
                <c:pt idx="51">
                  <c:v>1007.2633</c:v>
                </c:pt>
                <c:pt idx="52">
                  <c:v>1010.3244</c:v>
                </c:pt>
                <c:pt idx="53">
                  <c:v>1027.3932</c:v>
                </c:pt>
                <c:pt idx="54">
                  <c:v>1042.8267</c:v>
                </c:pt>
                <c:pt idx="55">
                  <c:v>1044.3486</c:v>
                </c:pt>
                <c:pt idx="56">
                  <c:v>1058.454</c:v>
                </c:pt>
                <c:pt idx="57">
                  <c:v>1078.0817</c:v>
                </c:pt>
                <c:pt idx="58">
                  <c:v>1045.4503</c:v>
                </c:pt>
                <c:pt idx="59">
                  <c:v>1039.3856</c:v>
                </c:pt>
                <c:pt idx="60">
                  <c:v>1062.4727</c:v>
                </c:pt>
                <c:pt idx="61">
                  <c:v>1026.7703</c:v>
                </c:pt>
                <c:pt idx="62">
                  <c:v>995.0123</c:v>
                </c:pt>
                <c:pt idx="63">
                  <c:v>1053.2535</c:v>
                </c:pt>
                <c:pt idx="64">
                  <c:v>1052.2665</c:v>
                </c:pt>
                <c:pt idx="65">
                  <c:v>1049.625</c:v>
                </c:pt>
                <c:pt idx="66">
                  <c:v>1035.6545</c:v>
                </c:pt>
                <c:pt idx="67">
                  <c:v>1040.6723</c:v>
                </c:pt>
                <c:pt idx="68">
                  <c:v>1022.8378</c:v>
                </c:pt>
                <c:pt idx="69">
                  <c:v>1034.6112</c:v>
                </c:pt>
                <c:pt idx="70">
                  <c:v>1044.2291</c:v>
                </c:pt>
                <c:pt idx="71">
                  <c:v>1075.3233</c:v>
                </c:pt>
                <c:pt idx="72">
                  <c:v>1116.397</c:v>
                </c:pt>
                <c:pt idx="73">
                  <c:v>1171.3293</c:v>
                </c:pt>
                <c:pt idx="74">
                  <c:v>1156.6637</c:v>
                </c:pt>
                <c:pt idx="75">
                  <c:v>1136.6093</c:v>
                </c:pt>
                <c:pt idx="76">
                  <c:v>1148.6688</c:v>
                </c:pt>
                <c:pt idx="77">
                  <c:v>1142.8243</c:v>
                </c:pt>
                <c:pt idx="78">
                  <c:v>1134.9709</c:v>
                </c:pt>
                <c:pt idx="79">
                  <c:v>1147.1602</c:v>
                </c:pt>
                <c:pt idx="80">
                  <c:v>1149.0139</c:v>
                </c:pt>
                <c:pt idx="81">
                  <c:v>1146.5321</c:v>
                </c:pt>
                <c:pt idx="82">
                  <c:v>1166.895</c:v>
                </c:pt>
                <c:pt idx="83">
                  <c:v>1159.9266</c:v>
                </c:pt>
                <c:pt idx="84">
                  <c:v>1109.4146</c:v>
                </c:pt>
                <c:pt idx="85">
                  <c:v>1100.7351</c:v>
                </c:pt>
                <c:pt idx="86">
                  <c:v>1113.3333</c:v>
                </c:pt>
                <c:pt idx="87">
                  <c:v>1146.2705</c:v>
                </c:pt>
                <c:pt idx="88">
                  <c:v>1139.8118</c:v>
                </c:pt>
                <c:pt idx="89">
                  <c:v>1115.1484</c:v>
                </c:pt>
                <c:pt idx="90">
                  <c:v>1177.9075</c:v>
                </c:pt>
                <c:pt idx="91">
                  <c:v>1195.2348</c:v>
                </c:pt>
                <c:pt idx="92">
                  <c:v>1136.9442</c:v>
                </c:pt>
                <c:pt idx="93">
                  <c:v>1159.2648</c:v>
                </c:pt>
                <c:pt idx="94">
                  <c:v>1181.9074</c:v>
                </c:pt>
                <c:pt idx="95">
                  <c:v>1158.5618</c:v>
                </c:pt>
                <c:pt idx="96">
                  <c:v>1105.0617</c:v>
                </c:pt>
                <c:pt idx="97">
                  <c:v>1109.9931</c:v>
                </c:pt>
                <c:pt idx="98">
                  <c:v>1082.8388</c:v>
                </c:pt>
                <c:pt idx="99">
                  <c:v>1030.6824</c:v>
                </c:pt>
                <c:pt idx="100">
                  <c:v>1045.5081</c:v>
                </c:pt>
                <c:pt idx="101">
                  <c:v>1060.0546</c:v>
                </c:pt>
                <c:pt idx="102">
                  <c:v>1084.8774</c:v>
                </c:pt>
                <c:pt idx="103">
                  <c:v>1034.9794</c:v>
                </c:pt>
                <c:pt idx="104">
                  <c:v>1084.8869</c:v>
                </c:pt>
              </c:numCache>
            </c:numRef>
          </c:xVal>
          <c:yVal>
            <c:numRef>
              <c:f>Sheet1!$B$2:$B$106</c:f>
              <c:numCache>
                <c:formatCode>General</c:formatCode>
                <c:ptCount val="105"/>
                <c:pt idx="0">
                  <c:v>0.21275713337757132</c:v>
                </c:pt>
                <c:pt idx="1">
                  <c:v>0.19320327249842667</c:v>
                </c:pt>
                <c:pt idx="2">
                  <c:v>0.1629499840713603</c:v>
                </c:pt>
                <c:pt idx="3">
                  <c:v>0.1625384352579433</c:v>
                </c:pt>
                <c:pt idx="4">
                  <c:v>0.1519509358147404</c:v>
                </c:pt>
                <c:pt idx="5">
                  <c:v>0.13924466338259442</c:v>
                </c:pt>
                <c:pt idx="6">
                  <c:v>0.1603197513045409</c:v>
                </c:pt>
                <c:pt idx="7">
                  <c:v>0.16011722392433728</c:v>
                </c:pt>
                <c:pt idx="8">
                  <c:v>0.16111662179396344</c:v>
                </c:pt>
                <c:pt idx="9">
                  <c:v>0.16815889677884122</c:v>
                </c:pt>
                <c:pt idx="10">
                  <c:v>0.1775177025963808</c:v>
                </c:pt>
                <c:pt idx="11">
                  <c:v>0.16727976766698935</c:v>
                </c:pt>
                <c:pt idx="12">
                  <c:v>0.17367767128150516</c:v>
                </c:pt>
                <c:pt idx="13">
                  <c:v>0.1737161488995562</c:v>
                </c:pt>
                <c:pt idx="14">
                  <c:v>0.17845087127086945</c:v>
                </c:pt>
                <c:pt idx="15">
                  <c:v>0.18394343710799407</c:v>
                </c:pt>
                <c:pt idx="16">
                  <c:v>0.18158670597694987</c:v>
                </c:pt>
                <c:pt idx="17">
                  <c:v>0.164764820484275</c:v>
                </c:pt>
                <c:pt idx="18">
                  <c:v>0.15696950840074672</c:v>
                </c:pt>
                <c:pt idx="19">
                  <c:v>0.15949319918017515</c:v>
                </c:pt>
                <c:pt idx="20">
                  <c:v>0.17789473684210527</c:v>
                </c:pt>
                <c:pt idx="21">
                  <c:v>0.1660056657223796</c:v>
                </c:pt>
                <c:pt idx="22">
                  <c:v>0.16938472942920682</c:v>
                </c:pt>
                <c:pt idx="23">
                  <c:v>0.17258982917730217</c:v>
                </c:pt>
                <c:pt idx="24">
                  <c:v>0.16918160837919405</c:v>
                </c:pt>
                <c:pt idx="25">
                  <c:v>0.16618675442204853</c:v>
                </c:pt>
                <c:pt idx="26">
                  <c:v>0.17530721966205837</c:v>
                </c:pt>
                <c:pt idx="27">
                  <c:v>0.15330882352941178</c:v>
                </c:pt>
                <c:pt idx="28">
                  <c:v>0.1581605049594229</c:v>
                </c:pt>
                <c:pt idx="29">
                  <c:v>0.19537153652392947</c:v>
                </c:pt>
                <c:pt idx="30">
                  <c:v>0.17939719240297275</c:v>
                </c:pt>
                <c:pt idx="31">
                  <c:v>0.16600633914421553</c:v>
                </c:pt>
                <c:pt idx="32">
                  <c:v>0.1670150104503135</c:v>
                </c:pt>
                <c:pt idx="33">
                  <c:v>0.19675305332141793</c:v>
                </c:pt>
                <c:pt idx="34">
                  <c:v>0.17448536619521077</c:v>
                </c:pt>
                <c:pt idx="35">
                  <c:v>0.17164570230607967</c:v>
                </c:pt>
                <c:pt idx="36">
                  <c:v>0.13192111029948866</c:v>
                </c:pt>
                <c:pt idx="37">
                  <c:v>0.1165654243966508</c:v>
                </c:pt>
                <c:pt idx="38">
                  <c:v>0.10898379970544919</c:v>
                </c:pt>
                <c:pt idx="39">
                  <c:v>0.09519725557461406</c:v>
                </c:pt>
                <c:pt idx="40">
                  <c:v>0.09437639198218263</c:v>
                </c:pt>
                <c:pt idx="41">
                  <c:v>0.0806720145300439</c:v>
                </c:pt>
                <c:pt idx="42">
                  <c:v>0.0811764705882353</c:v>
                </c:pt>
                <c:pt idx="43">
                  <c:v>0.0849034104459814</c:v>
                </c:pt>
                <c:pt idx="44">
                  <c:v>0.0963064960311032</c:v>
                </c:pt>
                <c:pt idx="45">
                  <c:v>0.11026731470230863</c:v>
                </c:pt>
                <c:pt idx="46">
                  <c:v>0.11005761797097222</c:v>
                </c:pt>
                <c:pt idx="47">
                  <c:v>0.10516536603493125</c:v>
                </c:pt>
                <c:pt idx="48">
                  <c:v>0.11268526591107236</c:v>
                </c:pt>
                <c:pt idx="49">
                  <c:v>0.132865275142315</c:v>
                </c:pt>
                <c:pt idx="50">
                  <c:v>0.10914454277286136</c:v>
                </c:pt>
                <c:pt idx="51">
                  <c:v>0.09979303518401872</c:v>
                </c:pt>
                <c:pt idx="52">
                  <c:v>0.11274324222003483</c:v>
                </c:pt>
                <c:pt idx="53">
                  <c:v>0.10075381503952932</c:v>
                </c:pt>
                <c:pt idx="54">
                  <c:v>0.09229098805646037</c:v>
                </c:pt>
                <c:pt idx="55">
                  <c:v>0.08790322580645162</c:v>
                </c:pt>
                <c:pt idx="56">
                  <c:v>0.09020217729393468</c:v>
                </c:pt>
                <c:pt idx="57">
                  <c:v>0.08302088912694162</c:v>
                </c:pt>
                <c:pt idx="58">
                  <c:v>0.09743012892619192</c:v>
                </c:pt>
                <c:pt idx="59">
                  <c:v>0.10261194029850747</c:v>
                </c:pt>
                <c:pt idx="60">
                  <c:v>0.10520675743822491</c:v>
                </c:pt>
                <c:pt idx="61">
                  <c:v>0.1152971152971153</c:v>
                </c:pt>
                <c:pt idx="62">
                  <c:v>0.12451746117245713</c:v>
                </c:pt>
                <c:pt idx="63">
                  <c:v>0.137372226377462</c:v>
                </c:pt>
                <c:pt idx="64">
                  <c:v>0.14348311710628062</c:v>
                </c:pt>
                <c:pt idx="65">
                  <c:v>0.13300142247510668</c:v>
                </c:pt>
                <c:pt idx="66">
                  <c:v>0.1349754590074532</c:v>
                </c:pt>
                <c:pt idx="67">
                  <c:v>0.1173056797640567</c:v>
                </c:pt>
                <c:pt idx="68">
                  <c:v>0.10839498230942425</c:v>
                </c:pt>
                <c:pt idx="69">
                  <c:v>0.09338796270132806</c:v>
                </c:pt>
                <c:pt idx="70">
                  <c:v>0.07858081471747701</c:v>
                </c:pt>
                <c:pt idx="71">
                  <c:v>0.09135446685878963</c:v>
                </c:pt>
                <c:pt idx="72">
                  <c:v>0.09184372858122002</c:v>
                </c:pt>
                <c:pt idx="73">
                  <c:v>0.08513434579439252</c:v>
                </c:pt>
                <c:pt idx="74">
                  <c:v>0.07852896446840868</c:v>
                </c:pt>
                <c:pt idx="75">
                  <c:v>0.08230589803398868</c:v>
                </c:pt>
                <c:pt idx="76">
                  <c:v>0.08296164139161463</c:v>
                </c:pt>
                <c:pt idx="77">
                  <c:v>0.08474264705882353</c:v>
                </c:pt>
                <c:pt idx="78">
                  <c:v>0.08102261553588987</c:v>
                </c:pt>
                <c:pt idx="79">
                  <c:v>0.06970461095100865</c:v>
                </c:pt>
                <c:pt idx="80">
                  <c:v>0.06458557588805167</c:v>
                </c:pt>
                <c:pt idx="81">
                  <c:v>0.0741733690795353</c:v>
                </c:pt>
                <c:pt idx="82">
                  <c:v>0.06761285235560813</c:v>
                </c:pt>
                <c:pt idx="83">
                  <c:v>0.0625136612021858</c:v>
                </c:pt>
                <c:pt idx="84">
                  <c:v>0.07058297967388877</c:v>
                </c:pt>
                <c:pt idx="85">
                  <c:v>0.08330019880715706</c:v>
                </c:pt>
                <c:pt idx="86">
                  <c:v>0.08738738738738738</c:v>
                </c:pt>
                <c:pt idx="87">
                  <c:v>0.09997076878105816</c:v>
                </c:pt>
                <c:pt idx="88">
                  <c:v>0.08097686375321336</c:v>
                </c:pt>
                <c:pt idx="89">
                  <c:v>0.07112153184837827</c:v>
                </c:pt>
                <c:pt idx="90">
                  <c:v>0.06972994760177348</c:v>
                </c:pt>
                <c:pt idx="91">
                  <c:v>0.0695084485407066</c:v>
                </c:pt>
                <c:pt idx="92">
                  <c:v>0.072710251209237</c:v>
                </c:pt>
                <c:pt idx="93">
                  <c:v>0.07056361190013455</c:v>
                </c:pt>
                <c:pt idx="94">
                  <c:v>0.07357567284166375</c:v>
                </c:pt>
                <c:pt idx="95">
                  <c:v>0.07847335936515934</c:v>
                </c:pt>
                <c:pt idx="96">
                  <c:v>0.07668893210450664</c:v>
                </c:pt>
                <c:pt idx="97">
                  <c:v>0.0878316559926807</c:v>
                </c:pt>
                <c:pt idx="98">
                  <c:v>0.10310706510983574</c:v>
                </c:pt>
                <c:pt idx="99">
                  <c:v>0.10578287270869985</c:v>
                </c:pt>
                <c:pt idx="100">
                  <c:v>0.12101434213261276</c:v>
                </c:pt>
                <c:pt idx="101">
                  <c:v>0.10400345001078129</c:v>
                </c:pt>
                <c:pt idx="102">
                  <c:v>0.08639430284857572</c:v>
                </c:pt>
                <c:pt idx="103">
                  <c:v>0.08791871178851288</c:v>
                </c:pt>
                <c:pt idx="104">
                  <c:v>0.0942381297196648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05.1652</c:v>
                </c:pt>
                <c:pt idx="1">
                  <c:v>1077.3861</c:v>
                </c:pt>
                <c:pt idx="2">
                  <c:v>1082.3896</c:v>
                </c:pt>
                <c:pt idx="3">
                  <c:v>1043.0893</c:v>
                </c:pt>
                <c:pt idx="4">
                  <c:v>1063.0638</c:v>
                </c:pt>
                <c:pt idx="5">
                  <c:v>1094.3556</c:v>
                </c:pt>
                <c:pt idx="6">
                  <c:v>995.9736</c:v>
                </c:pt>
                <c:pt idx="7">
                  <c:v>1058.4814</c:v>
                </c:pt>
                <c:pt idx="8">
                  <c:v>1110.3294</c:v>
                </c:pt>
                <c:pt idx="9">
                  <c:v>1077.7345</c:v>
                </c:pt>
                <c:pt idx="10">
                  <c:v>1094.5917</c:v>
                </c:pt>
                <c:pt idx="11">
                  <c:v>999.4156</c:v>
                </c:pt>
                <c:pt idx="12">
                  <c:v>1036.1162</c:v>
                </c:pt>
                <c:pt idx="13">
                  <c:v>1081.5061</c:v>
                </c:pt>
                <c:pt idx="14">
                  <c:v>1081.8897</c:v>
                </c:pt>
                <c:pt idx="15">
                  <c:v>1103.6678</c:v>
                </c:pt>
                <c:pt idx="16">
                  <c:v>1145.5745</c:v>
                </c:pt>
                <c:pt idx="17">
                  <c:v>1125.4611</c:v>
                </c:pt>
                <c:pt idx="18">
                  <c:v>965.6475</c:v>
                </c:pt>
                <c:pt idx="19">
                  <c:v>1169.195</c:v>
                </c:pt>
                <c:pt idx="20">
                  <c:v>1186.8163</c:v>
                </c:pt>
                <c:pt idx="21">
                  <c:v>1145.319</c:v>
                </c:pt>
                <c:pt idx="22">
                  <c:v>1175.2492</c:v>
                </c:pt>
                <c:pt idx="23">
                  <c:v>1114.9563</c:v>
                </c:pt>
                <c:pt idx="24">
                  <c:v>1147.7258</c:v>
                </c:pt>
                <c:pt idx="25">
                  <c:v>1091.4149</c:v>
                </c:pt>
                <c:pt idx="26">
                  <c:v>1113.061</c:v>
                </c:pt>
                <c:pt idx="27">
                  <c:v>1117.9946</c:v>
                </c:pt>
                <c:pt idx="28">
                  <c:v>1110.7604</c:v>
                </c:pt>
                <c:pt idx="29">
                  <c:v>1088.0634</c:v>
                </c:pt>
                <c:pt idx="30">
                  <c:v>1023.7684</c:v>
                </c:pt>
                <c:pt idx="31">
                  <c:v>973.752</c:v>
                </c:pt>
                <c:pt idx="32">
                  <c:v>1010.594</c:v>
                </c:pt>
                <c:pt idx="33">
                  <c:v>1046.9845</c:v>
                </c:pt>
                <c:pt idx="34">
                  <c:v>1082.4727</c:v>
                </c:pt>
                <c:pt idx="35">
                  <c:v>1091.152</c:v>
                </c:pt>
                <c:pt idx="36">
                  <c:v>1099.8767</c:v>
                </c:pt>
                <c:pt idx="37">
                  <c:v>1222.1203</c:v>
                </c:pt>
                <c:pt idx="38">
                  <c:v>1204.3647</c:v>
                </c:pt>
                <c:pt idx="39">
                  <c:v>1162.7692</c:v>
                </c:pt>
                <c:pt idx="40">
                  <c:v>1195.2389</c:v>
                </c:pt>
                <c:pt idx="41">
                  <c:v>1228.0108</c:v>
                </c:pt>
                <c:pt idx="42">
                  <c:v>1198.8</c:v>
                </c:pt>
                <c:pt idx="43">
                  <c:v>1206.5052</c:v>
                </c:pt>
                <c:pt idx="44">
                  <c:v>1164.0664</c:v>
                </c:pt>
                <c:pt idx="45">
                  <c:v>1117.2144</c:v>
                </c:pt>
                <c:pt idx="46">
                  <c:v>1130.5232</c:v>
                </c:pt>
                <c:pt idx="47">
                  <c:v>1113.0863</c:v>
                </c:pt>
                <c:pt idx="48">
                  <c:v>1104.0429</c:v>
                </c:pt>
                <c:pt idx="49">
                  <c:v>1137.1886</c:v>
                </c:pt>
                <c:pt idx="50">
                  <c:v>1008.1707</c:v>
                </c:pt>
                <c:pt idx="51">
                  <c:v>980.5317</c:v>
                </c:pt>
              </c:numCache>
            </c:numRef>
          </c:xVal>
          <c:yVal>
            <c:numRef>
              <c:f>Sheet1!$B$109:$B$160</c:f>
              <c:numCache>
                <c:formatCode>General</c:formatCode>
                <c:ptCount val="52"/>
                <c:pt idx="0">
                  <c:v>0.09052785121706627</c:v>
                </c:pt>
                <c:pt idx="1">
                  <c:v>0.09172473036174478</c:v>
                </c:pt>
                <c:pt idx="2">
                  <c:v>0.09263798495477982</c:v>
                </c:pt>
                <c:pt idx="3">
                  <c:v>0.10572384793615378</c:v>
                </c:pt>
                <c:pt idx="4">
                  <c:v>0.09503122454520771</c:v>
                </c:pt>
                <c:pt idx="5">
                  <c:v>0.09373536848019477</c:v>
                </c:pt>
                <c:pt idx="6">
                  <c:v>0.09653823254231522</c:v>
                </c:pt>
                <c:pt idx="7">
                  <c:v>0.09169020715630885</c:v>
                </c:pt>
                <c:pt idx="8">
                  <c:v>0.09929632525410477</c:v>
                </c:pt>
                <c:pt idx="9">
                  <c:v>0.10155600427604229</c:v>
                </c:pt>
                <c:pt idx="10">
                  <c:v>0.11311686789356465</c:v>
                </c:pt>
                <c:pt idx="11">
                  <c:v>0.12131119332358255</c:v>
                </c:pt>
                <c:pt idx="12">
                  <c:v>0.11949623165410551</c:v>
                </c:pt>
                <c:pt idx="13">
                  <c:v>0.10983436853002071</c:v>
                </c:pt>
                <c:pt idx="14">
                  <c:v>0.10768528034715084</c:v>
                </c:pt>
                <c:pt idx="15">
                  <c:v>0.10147841513897102</c:v>
                </c:pt>
                <c:pt idx="16">
                  <c:v>0.08916586768935762</c:v>
                </c:pt>
                <c:pt idx="17">
                  <c:v>0.07530723063732495</c:v>
                </c:pt>
                <c:pt idx="18">
                  <c:v>0.08606760098928277</c:v>
                </c:pt>
                <c:pt idx="19">
                  <c:v>0.08156581409856518</c:v>
                </c:pt>
                <c:pt idx="20">
                  <c:v>0.06662134602311352</c:v>
                </c:pt>
                <c:pt idx="21">
                  <c:v>0.0710239651416122</c:v>
                </c:pt>
                <c:pt idx="22">
                  <c:v>0.07033109716511578</c:v>
                </c:pt>
                <c:pt idx="23">
                  <c:v>0.07324330510414283</c:v>
                </c:pt>
                <c:pt idx="24">
                  <c:v>0.06435540793024704</c:v>
                </c:pt>
                <c:pt idx="25">
                  <c:v>0.07494407158836688</c:v>
                </c:pt>
                <c:pt idx="26">
                  <c:v>0.06500198176773682</c:v>
                </c:pt>
                <c:pt idx="27">
                  <c:v>0.06602768903088392</c:v>
                </c:pt>
                <c:pt idx="28">
                  <c:v>0.07181863312924044</c:v>
                </c:pt>
                <c:pt idx="29">
                  <c:v>0.0689723712979527</c:v>
                </c:pt>
                <c:pt idx="30">
                  <c:v>0.0723334695545566</c:v>
                </c:pt>
                <c:pt idx="31">
                  <c:v>0.08088869715271786</c:v>
                </c:pt>
                <c:pt idx="32">
                  <c:v>0.08311094166984369</c:v>
                </c:pt>
                <c:pt idx="33">
                  <c:v>0.09138257575757576</c:v>
                </c:pt>
                <c:pt idx="34">
                  <c:v>0.104529153938106</c:v>
                </c:pt>
                <c:pt idx="35">
                  <c:v>0.09309639880484352</c:v>
                </c:pt>
                <c:pt idx="36">
                  <c:v>0.07139457401237506</c:v>
                </c:pt>
                <c:pt idx="37">
                  <c:v>0.0610062893081761</c:v>
                </c:pt>
                <c:pt idx="38">
                  <c:v>0.059233449477351915</c:v>
                </c:pt>
                <c:pt idx="39">
                  <c:v>0.07029401824940859</c:v>
                </c:pt>
                <c:pt idx="40">
                  <c:v>0.05844155844155844</c:v>
                </c:pt>
                <c:pt idx="41">
                  <c:v>0.05619004111466423</c:v>
                </c:pt>
                <c:pt idx="42">
                  <c:v>0.0593089221248066</c:v>
                </c:pt>
                <c:pt idx="43">
                  <c:v>0.05844781875150639</c:v>
                </c:pt>
                <c:pt idx="44">
                  <c:v>0.05668634235701201</c:v>
                </c:pt>
                <c:pt idx="45">
                  <c:v>0.07061485642946318</c:v>
                </c:pt>
                <c:pt idx="46">
                  <c:v>0.06262872121325594</c:v>
                </c:pt>
                <c:pt idx="47">
                  <c:v>0.06420404573438875</c:v>
                </c:pt>
                <c:pt idx="48">
                  <c:v>0.06292380605176813</c:v>
                </c:pt>
                <c:pt idx="49">
                  <c:v>0.07689090275357267</c:v>
                </c:pt>
                <c:pt idx="50">
                  <c:v>0.09969380403458213</c:v>
                </c:pt>
                <c:pt idx="51">
                  <c:v>0.0872106801485109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81.4098595564565</c:v>
                </c:pt>
              </c:numCache>
            </c:numRef>
          </c:xVal>
          <c:yVal>
            <c:numRef>
              <c:f>Sheet1!$B$163:$B$164</c:f>
              <c:numCache>
                <c:formatCode>General</c:formatCode>
                <c:ptCount val="2"/>
                <c:pt idx="0">
                  <c:v>0.17254984366128495</c:v>
                </c:pt>
                <c:pt idx="1">
                  <c:v>0.1725498436612849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81.4098595564565</c:v>
                </c:pt>
                <c:pt idx="1">
                  <c:v>581.4098595564565</c:v>
                </c:pt>
              </c:numCache>
            </c:numRef>
          </c:xVal>
          <c:yVal>
            <c:numRef>
              <c:f>Sheet1!$B$167:$B$168</c:f>
              <c:numCache>
                <c:formatCode>General</c:formatCode>
                <c:ptCount val="2"/>
                <c:pt idx="0">
                  <c:v>0.1725498436612849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22.4548205472868</c:v>
                </c:pt>
              </c:numCache>
            </c:numRef>
          </c:xVal>
          <c:yVal>
            <c:numRef>
              <c:f>Sheet1!$B$171:$B$172</c:f>
              <c:numCache>
                <c:formatCode>General</c:formatCode>
                <c:ptCount val="2"/>
                <c:pt idx="0">
                  <c:v>0.09571001428789952</c:v>
                </c:pt>
                <c:pt idx="1">
                  <c:v>0.0957100142878995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22.4548205472868</c:v>
                </c:pt>
                <c:pt idx="1">
                  <c:v>1022.4548205472868</c:v>
                </c:pt>
              </c:numCache>
            </c:numRef>
          </c:xVal>
          <c:yVal>
            <c:numRef>
              <c:f>Sheet1!$B$175:$B$176</c:f>
              <c:numCache>
                <c:formatCode>General</c:formatCode>
                <c:ptCount val="2"/>
                <c:pt idx="0">
                  <c:v>0.0957100142878995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81.7097350324007</c:v>
                </c:pt>
              </c:numCache>
            </c:numRef>
          </c:xVal>
          <c:yVal>
            <c:numRef>
              <c:f>Sheet1!$B$179:$B$180</c:f>
              <c:numCache>
                <c:formatCode>General</c:formatCode>
                <c:ptCount val="2"/>
                <c:pt idx="0">
                  <c:v>0.06796427056957678</c:v>
                </c:pt>
                <c:pt idx="1">
                  <c:v>0.0679642705695767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81.7097350324007</c:v>
                </c:pt>
                <c:pt idx="1">
                  <c:v>1181.7097350324007</c:v>
                </c:pt>
              </c:numCache>
            </c:numRef>
          </c:xVal>
          <c:yVal>
            <c:numRef>
              <c:f>Sheet1!$B$183:$B$184</c:f>
              <c:numCache>
                <c:formatCode>General</c:formatCode>
                <c:ptCount val="2"/>
                <c:pt idx="0">
                  <c:v>0.067964270569576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05.1652</c:v>
                </c:pt>
                <c:pt idx="1">
                  <c:v>1077.3861</c:v>
                </c:pt>
                <c:pt idx="2">
                  <c:v>1082.3896</c:v>
                </c:pt>
                <c:pt idx="3">
                  <c:v>1043.0893</c:v>
                </c:pt>
                <c:pt idx="4">
                  <c:v>1063.0638</c:v>
                </c:pt>
                <c:pt idx="5">
                  <c:v>1094.3556</c:v>
                </c:pt>
                <c:pt idx="6">
                  <c:v>995.9736</c:v>
                </c:pt>
                <c:pt idx="7">
                  <c:v>1058.4814</c:v>
                </c:pt>
                <c:pt idx="8">
                  <c:v>1110.3294</c:v>
                </c:pt>
                <c:pt idx="9">
                  <c:v>1077.7345</c:v>
                </c:pt>
                <c:pt idx="10">
                  <c:v>1094.5917</c:v>
                </c:pt>
                <c:pt idx="11">
                  <c:v>999.4156</c:v>
                </c:pt>
                <c:pt idx="12">
                  <c:v>1036.1162</c:v>
                </c:pt>
                <c:pt idx="13">
                  <c:v>1081.5061</c:v>
                </c:pt>
                <c:pt idx="14">
                  <c:v>1081.8897</c:v>
                </c:pt>
                <c:pt idx="15">
                  <c:v>1103.6678</c:v>
                </c:pt>
                <c:pt idx="16">
                  <c:v>1145.5745</c:v>
                </c:pt>
                <c:pt idx="17">
                  <c:v>1125.4611</c:v>
                </c:pt>
                <c:pt idx="18">
                  <c:v>965.6475</c:v>
                </c:pt>
                <c:pt idx="19">
                  <c:v>1169.195</c:v>
                </c:pt>
                <c:pt idx="20">
                  <c:v>1186.8163</c:v>
                </c:pt>
                <c:pt idx="21">
                  <c:v>1145.319</c:v>
                </c:pt>
                <c:pt idx="22">
                  <c:v>1175.2492</c:v>
                </c:pt>
                <c:pt idx="23">
                  <c:v>1114.9563</c:v>
                </c:pt>
                <c:pt idx="24">
                  <c:v>1147.7258</c:v>
                </c:pt>
                <c:pt idx="25">
                  <c:v>1091.4149</c:v>
                </c:pt>
                <c:pt idx="26">
                  <c:v>1113.061</c:v>
                </c:pt>
                <c:pt idx="27">
                  <c:v>1117.9946</c:v>
                </c:pt>
                <c:pt idx="28">
                  <c:v>1110.7604</c:v>
                </c:pt>
                <c:pt idx="29">
                  <c:v>1088.0634</c:v>
                </c:pt>
                <c:pt idx="30">
                  <c:v>1023.7684</c:v>
                </c:pt>
                <c:pt idx="31">
                  <c:v>973.752</c:v>
                </c:pt>
                <c:pt idx="32">
                  <c:v>1010.594</c:v>
                </c:pt>
                <c:pt idx="33">
                  <c:v>1046.9845</c:v>
                </c:pt>
                <c:pt idx="34">
                  <c:v>1082.4727</c:v>
                </c:pt>
                <c:pt idx="35">
                  <c:v>1091.152</c:v>
                </c:pt>
                <c:pt idx="36">
                  <c:v>1099.8767</c:v>
                </c:pt>
                <c:pt idx="37">
                  <c:v>1222.1203</c:v>
                </c:pt>
                <c:pt idx="38">
                  <c:v>1204.3647</c:v>
                </c:pt>
                <c:pt idx="39">
                  <c:v>1162.7692</c:v>
                </c:pt>
                <c:pt idx="40">
                  <c:v>1195.2389</c:v>
                </c:pt>
                <c:pt idx="41">
                  <c:v>1228.0108</c:v>
                </c:pt>
                <c:pt idx="42">
                  <c:v>1198.8</c:v>
                </c:pt>
                <c:pt idx="43">
                  <c:v>1206.5052</c:v>
                </c:pt>
                <c:pt idx="44">
                  <c:v>1164.0664</c:v>
                </c:pt>
                <c:pt idx="45">
                  <c:v>1117.2144</c:v>
                </c:pt>
                <c:pt idx="46">
                  <c:v>1130.5232</c:v>
                </c:pt>
                <c:pt idx="47">
                  <c:v>1113.0863</c:v>
                </c:pt>
                <c:pt idx="48">
                  <c:v>1104.0429</c:v>
                </c:pt>
                <c:pt idx="49">
                  <c:v>1137.1886</c:v>
                </c:pt>
                <c:pt idx="50">
                  <c:v>1008.1707</c:v>
                </c:pt>
                <c:pt idx="51">
                  <c:v>980.5317</c:v>
                </c:pt>
                <c:pt idx="52">
                  <c:v>1022.4548205472868</c:v>
                </c:pt>
                <c:pt idx="53">
                  <c:v>581.4098595564565</c:v>
                </c:pt>
                <c:pt idx="54">
                  <c:v>1181.7097350324007</c:v>
                </c:pt>
              </c:numCache>
            </c:numRef>
          </c:xVal>
          <c:yVal>
            <c:numRef>
              <c:f>Sheet1!$B$187:$B$241</c:f>
              <c:numCache>
                <c:formatCode>General</c:formatCode>
                <c:ptCount val="55"/>
                <c:pt idx="0">
                  <c:v>0.08130002889712079</c:v>
                </c:pt>
                <c:pt idx="1">
                  <c:v>0.08613976518920052</c:v>
                </c:pt>
                <c:pt idx="2">
                  <c:v>0.08526804434376561</c:v>
                </c:pt>
                <c:pt idx="3">
                  <c:v>0.09211502960245363</c:v>
                </c:pt>
                <c:pt idx="4">
                  <c:v>0.08863502799814874</c:v>
                </c:pt>
                <c:pt idx="5">
                  <c:v>0.08318330133657578</c:v>
                </c:pt>
                <c:pt idx="6">
                  <c:v>0.1003236311488227</c:v>
                </c:pt>
                <c:pt idx="7">
                  <c:v>0.089433383869463</c:v>
                </c:pt>
                <c:pt idx="8">
                  <c:v>0.08040031054197036</c:v>
                </c:pt>
                <c:pt idx="9">
                  <c:v>0.08607906617000405</c:v>
                </c:pt>
                <c:pt idx="10">
                  <c:v>0.0831421674719596</c:v>
                </c:pt>
                <c:pt idx="11">
                  <c:v>0.09972395828982661</c:v>
                </c:pt>
                <c:pt idx="12">
                  <c:v>0.09332989851967205</c:v>
                </c:pt>
                <c:pt idx="13">
                  <c:v>0.08542196966942597</c:v>
                </c:pt>
                <c:pt idx="14">
                  <c:v>0.08535513802831302</c:v>
                </c:pt>
                <c:pt idx="15">
                  <c:v>0.08156090923967185</c:v>
                </c:pt>
                <c:pt idx="16">
                  <c:v>0.07425983120361965</c:v>
                </c:pt>
                <c:pt idx="17">
                  <c:v>0.07776403227338491</c:v>
                </c:pt>
                <c:pt idx="18">
                  <c:v>0.10560711141878246</c:v>
                </c:pt>
                <c:pt idx="19">
                  <c:v>0.070144615408757</c:v>
                </c:pt>
                <c:pt idx="20">
                  <c:v>0.06707459351734854</c:v>
                </c:pt>
                <c:pt idx="21">
                  <c:v>0.07430434497917848</c:v>
                </c:pt>
                <c:pt idx="22">
                  <c:v>0.06908983928355822</c:v>
                </c:pt>
                <c:pt idx="23">
                  <c:v>0.07959420178215368</c:v>
                </c:pt>
                <c:pt idx="24">
                  <c:v>0.0738850269556364</c:v>
                </c:pt>
                <c:pt idx="25">
                  <c:v>0.08369563659992554</c:v>
                </c:pt>
                <c:pt idx="26">
                  <c:v>0.07992440514347135</c:v>
                </c:pt>
                <c:pt idx="27">
                  <c:v>0.07906486243076269</c:v>
                </c:pt>
                <c:pt idx="28">
                  <c:v>0.08032522076793575</c:v>
                </c:pt>
                <c:pt idx="29">
                  <c:v>0.0842795423485965</c:v>
                </c:pt>
                <c:pt idx="30">
                  <c:v>0.09548115956799044</c:v>
                </c:pt>
                <c:pt idx="31">
                  <c:v>0.10419512748916776</c:v>
                </c:pt>
                <c:pt idx="32">
                  <c:v>0.09777643269801894</c:v>
                </c:pt>
                <c:pt idx="33">
                  <c:v>0.09143639923628236</c:v>
                </c:pt>
                <c:pt idx="34">
                  <c:v>0.08525356647782062</c:v>
                </c:pt>
                <c:pt idx="35">
                  <c:v>0.08374143961986455</c:v>
                </c:pt>
                <c:pt idx="36">
                  <c:v>0.08222140307341386</c:v>
                </c:pt>
                <c:pt idx="37">
                  <c:v>0.060923852490620406</c:v>
                </c:pt>
                <c:pt idx="38">
                  <c:v>0.06401727242530694</c:v>
                </c:pt>
                <c:pt idx="39">
                  <c:v>0.0712641325085063</c:v>
                </c:pt>
                <c:pt idx="40">
                  <c:v>0.06560718950160752</c:v>
                </c:pt>
                <c:pt idx="41">
                  <c:v>0.05989759654177773</c:v>
                </c:pt>
                <c:pt idx="42">
                  <c:v>0.06498676677697912</c:v>
                </c:pt>
                <c:pt idx="43">
                  <c:v>0.06364434977722991</c:v>
                </c:pt>
                <c:pt idx="44">
                  <c:v>0.07103813145310545</c:v>
                </c:pt>
                <c:pt idx="45">
                  <c:v>0.07920079060176466</c:v>
                </c:pt>
                <c:pt idx="46">
                  <c:v>0.07688210200623669</c:v>
                </c:pt>
                <c:pt idx="47">
                  <c:v>0.07991999732146884</c:v>
                </c:pt>
                <c:pt idx="48">
                  <c:v>0.08149555848737394</c:v>
                </c:pt>
                <c:pt idx="49">
                  <c:v>0.07572084126412382</c:v>
                </c:pt>
                <c:pt idx="50">
                  <c:v>0.09819862538808441</c:v>
                </c:pt>
                <c:pt idx="51">
                  <c:v>0.10301395314804754</c:v>
                </c:pt>
                <c:pt idx="52">
                  <c:v>0.09571001428789952</c:v>
                </c:pt>
                <c:pt idx="53">
                  <c:v>0.17254984366128495</c:v>
                </c:pt>
                <c:pt idx="54">
                  <c:v>0.0679642705695767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74.0"/>
          <c:min val="46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530856005308555"/>
          <c:min val="0.04495203289173138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1.2265619571702482</c:v>
                </c:pt>
                <c:pt idx="2">
                  <c:v>1.8979479025980317</c:v>
                </c:pt>
                <c:pt idx="3">
                  <c:v>1.7823632714500752</c:v>
                </c:pt>
                <c:pt idx="4">
                  <c:v>0.803334561665318</c:v>
                </c:pt>
                <c:pt idx="5">
                  <c:v>0.8599611387394335</c:v>
                </c:pt>
                <c:pt idx="6">
                  <c:v>0.8588793595911025</c:v>
                </c:pt>
                <c:pt idx="7">
                  <c:v>0.8825507634776767</c:v>
                </c:pt>
                <c:pt idx="8">
                  <c:v>1.2098164818286035</c:v>
                </c:pt>
                <c:pt idx="9">
                  <c:v>0.9182682972877113</c:v>
                </c:pt>
                <c:pt idx="10">
                  <c:v>0.9731565513878191</c:v>
                </c:pt>
                <c:pt idx="11">
                  <c:v>1.0187764550163607</c:v>
                </c:pt>
                <c:pt idx="12">
                  <c:v>0.8391528071239818</c:v>
                </c:pt>
                <c:pt idx="13">
                  <c:v>0.9111093400207977</c:v>
                </c:pt>
                <c:pt idx="14">
                  <c:v>0.8221325060572052</c:v>
                </c:pt>
                <c:pt idx="15">
                  <c:v>0.8856817422766422</c:v>
                </c:pt>
                <c:pt idx="16">
                  <c:v>0.8765028602530602</c:v>
                </c:pt>
              </c:numCache>
            </c:numRef>
          </c:xVal>
          <c:yVal>
            <c:numRef>
              <c:f>Sheet1!$B$4:$B$20</c:f>
              <c:numCache>
                <c:formatCode>General</c:formatCode>
                <c:ptCount val="17"/>
                <c:pt idx="0">
                  <c:v>0.0</c:v>
                </c:pt>
                <c:pt idx="1">
                  <c:v>0.025</c:v>
                </c:pt>
                <c:pt idx="2">
                  <c:v>0.0196078431372549</c:v>
                </c:pt>
                <c:pt idx="3">
                  <c:v>0.02564102564102564</c:v>
                </c:pt>
                <c:pt idx="4">
                  <c:v>0.08333333333333333</c:v>
                </c:pt>
                <c:pt idx="5">
                  <c:v>0.06153846153846154</c:v>
                </c:pt>
                <c:pt idx="6">
                  <c:v>0.08823529411764706</c:v>
                </c:pt>
                <c:pt idx="7">
                  <c:v>0.0821917808219178</c:v>
                </c:pt>
                <c:pt idx="8">
                  <c:v>0.038461538461538464</c:v>
                </c:pt>
                <c:pt idx="9">
                  <c:v>0.07627118644067797</c:v>
                </c:pt>
                <c:pt idx="10">
                  <c:v>0.06428571428571428</c:v>
                </c:pt>
                <c:pt idx="11">
                  <c:v>0.06060606060606061</c:v>
                </c:pt>
                <c:pt idx="12">
                  <c:v>0.08227848101265822</c:v>
                </c:pt>
                <c:pt idx="13">
                  <c:v>0.06912442396313365</c:v>
                </c:pt>
                <c:pt idx="14">
                  <c:v>0.09239130434782608</c:v>
                </c:pt>
                <c:pt idx="15">
                  <c:v>0.09826589595375723</c:v>
                </c:pt>
                <c:pt idx="16">
                  <c:v>0.06338028169014084</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2751209826143973</c:v>
                </c:pt>
              </c:numCache>
            </c:numRef>
          </c:xVal>
          <c:yVal>
            <c:numRef>
              <c:f>Sheet1!$B$23:$B$24</c:f>
              <c:numCache>
                <c:formatCode>General</c:formatCode>
                <c:ptCount val="2"/>
                <c:pt idx="0">
                  <c:v>0.08079047648871446</c:v>
                </c:pt>
                <c:pt idx="1">
                  <c:v>0.08079047648871446</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2751209826143973</c:v>
                </c:pt>
                <c:pt idx="1">
                  <c:v>-0.2751209826143973</c:v>
                </c:pt>
              </c:numCache>
            </c:numRef>
          </c:xVal>
          <c:yVal>
            <c:numRef>
              <c:f>Sheet1!$B$27:$B$28</c:f>
              <c:numCache>
                <c:formatCode>General</c:formatCode>
                <c:ptCount val="2"/>
                <c:pt idx="0">
                  <c:v>0.0807904764887144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2751209826143973</c:v>
                </c:pt>
              </c:numCache>
            </c:numRef>
          </c:xVal>
          <c:yVal>
            <c:numRef>
              <c:f>Sheet1!$B$31:$B$32</c:f>
              <c:numCache>
                <c:formatCode>General</c:formatCode>
                <c:ptCount val="2"/>
                <c:pt idx="0">
                  <c:v>0.08079047648871446</c:v>
                </c:pt>
                <c:pt idx="1">
                  <c:v>0.08079047648871446</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2751209826143973</c:v>
                </c:pt>
                <c:pt idx="1">
                  <c:v>-0.2751209826143973</c:v>
                </c:pt>
              </c:numCache>
            </c:numRef>
          </c:xVal>
          <c:yVal>
            <c:numRef>
              <c:f>Sheet1!$B$35:$B$36</c:f>
              <c:numCache>
                <c:formatCode>General</c:formatCode>
                <c:ptCount val="2"/>
                <c:pt idx="0">
                  <c:v>0.0807904764887144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15748647086867815</c:v>
                </c:pt>
              </c:numCache>
            </c:numRef>
          </c:xVal>
          <c:yVal>
            <c:numRef>
              <c:f>Sheet1!$B$39:$B$40</c:f>
              <c:numCache>
                <c:formatCode>General</c:formatCode>
                <c:ptCount val="2"/>
                <c:pt idx="0">
                  <c:v>0.07387413512098978</c:v>
                </c:pt>
                <c:pt idx="1">
                  <c:v>0.07387413512098978</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15748647086867815</c:v>
                </c:pt>
                <c:pt idx="1">
                  <c:v>0.15748647086867815</c:v>
                </c:pt>
              </c:numCache>
            </c:numRef>
          </c:xVal>
          <c:yVal>
            <c:numRef>
              <c:f>Sheet1!$B$43:$B$44</c:f>
              <c:numCache>
                <c:formatCode>General</c:formatCode>
                <c:ptCount val="2"/>
                <c:pt idx="0">
                  <c:v>0.073874135120989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6</c:f>
              <c:numCache>
                <c:formatCode>General</c:formatCode>
                <c:ptCount val="20"/>
                <c:pt idx="0">
                  <c:v>0.0</c:v>
                </c:pt>
                <c:pt idx="1">
                  <c:v>1.2265619571702482</c:v>
                </c:pt>
                <c:pt idx="2">
                  <c:v>1.8979479025980317</c:v>
                </c:pt>
                <c:pt idx="3">
                  <c:v>1.7823632714500752</c:v>
                </c:pt>
                <c:pt idx="4">
                  <c:v>0.803334561665318</c:v>
                </c:pt>
                <c:pt idx="5">
                  <c:v>0.8599611387394335</c:v>
                </c:pt>
                <c:pt idx="6">
                  <c:v>0.8588793595911025</c:v>
                </c:pt>
                <c:pt idx="7">
                  <c:v>0.8825507634776767</c:v>
                </c:pt>
                <c:pt idx="8">
                  <c:v>1.2098164818286035</c:v>
                </c:pt>
                <c:pt idx="9">
                  <c:v>0.9182682972877113</c:v>
                </c:pt>
                <c:pt idx="10">
                  <c:v>0.9731565513878191</c:v>
                </c:pt>
                <c:pt idx="11">
                  <c:v>1.0187764550163607</c:v>
                </c:pt>
                <c:pt idx="12">
                  <c:v>0.8391528071239818</c:v>
                </c:pt>
                <c:pt idx="13">
                  <c:v>0.9111093400207977</c:v>
                </c:pt>
                <c:pt idx="14">
                  <c:v>0.8221325060572052</c:v>
                </c:pt>
                <c:pt idx="15">
                  <c:v>0.8856817422766422</c:v>
                </c:pt>
                <c:pt idx="16">
                  <c:v>0.8765028602530602</c:v>
                </c:pt>
                <c:pt idx="17">
                  <c:v>-0.2751209826143973</c:v>
                </c:pt>
                <c:pt idx="18">
                  <c:v>-0.2751209826143973</c:v>
                </c:pt>
                <c:pt idx="19">
                  <c:v>0.15748647086867815</c:v>
                </c:pt>
              </c:numCache>
            </c:numRef>
          </c:xVal>
          <c:yVal>
            <c:numRef>
              <c:f>Sheet1!$B$47:$B$66</c:f>
              <c:numCache>
                <c:formatCode>General</c:formatCode>
                <c:ptCount val="20"/>
                <c:pt idx="0">
                  <c:v>0.07639196088787435</c:v>
                </c:pt>
                <c:pt idx="1">
                  <c:v>0.05678221737524711</c:v>
                </c:pt>
                <c:pt idx="2">
                  <c:v>0.04604838847173566</c:v>
                </c:pt>
                <c:pt idx="3">
                  <c:v>0.047896305698878594</c:v>
                </c:pt>
                <c:pt idx="4">
                  <c:v>0.06354859442196076</c:v>
                </c:pt>
                <c:pt idx="5">
                  <c:v>0.06264327313270174</c:v>
                </c:pt>
                <c:pt idx="6">
                  <c:v>0.06266056815111648</c:v>
                </c:pt>
                <c:pt idx="7">
                  <c:v>0.06228211995607345</c:v>
                </c:pt>
                <c:pt idx="8">
                  <c:v>0.057049936812106426</c:v>
                </c:pt>
                <c:pt idx="9">
                  <c:v>0.061711083431726765</c:v>
                </c:pt>
                <c:pt idx="10">
                  <c:v>0.060833553700377345</c:v>
                </c:pt>
                <c:pt idx="11">
                  <c:v>0.060104202358607084</c:v>
                </c:pt>
                <c:pt idx="12">
                  <c:v>0.0629759477632162</c:v>
                </c:pt>
                <c:pt idx="13">
                  <c:v>0.061825537752604215</c:v>
                </c:pt>
                <c:pt idx="14">
                  <c:v>0.06324806099522708</c:v>
                </c:pt>
                <c:pt idx="15">
                  <c:v>0.06223206321753508</c:v>
                </c:pt>
                <c:pt idx="16">
                  <c:v>0.062378811224158705</c:v>
                </c:pt>
                <c:pt idx="17">
                  <c:v>0.08079047648871446</c:v>
                </c:pt>
                <c:pt idx="18">
                  <c:v>0.08079047648871446</c:v>
                </c:pt>
                <c:pt idx="19">
                  <c:v>0.0738741351209897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179190751445086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9612.0</c:v>
                </c:pt>
                <c:pt idx="2">
                  <c:v>13322.0</c:v>
                </c:pt>
                <c:pt idx="3">
                  <c:v>14209.0</c:v>
                </c:pt>
                <c:pt idx="4">
                  <c:v>6198.0</c:v>
                </c:pt>
                <c:pt idx="5">
                  <c:v>6366.25</c:v>
                </c:pt>
                <c:pt idx="6">
                  <c:v>6216.3333</c:v>
                </c:pt>
                <c:pt idx="7">
                  <c:v>6130.0</c:v>
                </c:pt>
                <c:pt idx="8">
                  <c:v>7577.25</c:v>
                </c:pt>
                <c:pt idx="9">
                  <c:v>5610.8889</c:v>
                </c:pt>
                <c:pt idx="10">
                  <c:v>5785.1111</c:v>
                </c:pt>
                <c:pt idx="11">
                  <c:v>6207.75</c:v>
                </c:pt>
                <c:pt idx="12">
                  <c:v>4815.3077</c:v>
                </c:pt>
                <c:pt idx="13">
                  <c:v>4687.0667</c:v>
                </c:pt>
                <c:pt idx="14">
                  <c:v>4610.6471</c:v>
                </c:pt>
                <c:pt idx="15">
                  <c:v>5356.5294</c:v>
                </c:pt>
                <c:pt idx="16">
                  <c:v>5044.3333</c:v>
                </c:pt>
              </c:numCache>
            </c:numRef>
          </c:xVal>
          <c:yVal>
            <c:numRef>
              <c:f>Sheet1!$B$4:$B$20</c:f>
              <c:numCache>
                <c:formatCode>General</c:formatCode>
                <c:ptCount val="17"/>
                <c:pt idx="0">
                  <c:v>0.0</c:v>
                </c:pt>
                <c:pt idx="1">
                  <c:v>0.025</c:v>
                </c:pt>
                <c:pt idx="2">
                  <c:v>0.0196078431372549</c:v>
                </c:pt>
                <c:pt idx="3">
                  <c:v>0.02564102564102564</c:v>
                </c:pt>
                <c:pt idx="4">
                  <c:v>0.08333333333333333</c:v>
                </c:pt>
                <c:pt idx="5">
                  <c:v>0.06153846153846154</c:v>
                </c:pt>
                <c:pt idx="6">
                  <c:v>0.08823529411764706</c:v>
                </c:pt>
                <c:pt idx="7">
                  <c:v>0.0821917808219178</c:v>
                </c:pt>
                <c:pt idx="8">
                  <c:v>0.038461538461538464</c:v>
                </c:pt>
                <c:pt idx="9">
                  <c:v>0.07627118644067797</c:v>
                </c:pt>
                <c:pt idx="10">
                  <c:v>0.06428571428571428</c:v>
                </c:pt>
                <c:pt idx="11">
                  <c:v>0.06060606060606061</c:v>
                </c:pt>
                <c:pt idx="12">
                  <c:v>0.08227848101265822</c:v>
                </c:pt>
                <c:pt idx="13">
                  <c:v>0.06912442396313365</c:v>
                </c:pt>
                <c:pt idx="14">
                  <c:v>0.09239130434782608</c:v>
                </c:pt>
                <c:pt idx="15">
                  <c:v>0.09826589595375723</c:v>
                </c:pt>
                <c:pt idx="16">
                  <c:v>0.06338028169014084</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602.1914313410126</c:v>
                </c:pt>
              </c:numCache>
            </c:numRef>
          </c:xVal>
          <c:yVal>
            <c:numRef>
              <c:f>Sheet1!$B$23:$B$24</c:f>
              <c:numCache>
                <c:formatCode>General</c:formatCode>
                <c:ptCount val="2"/>
                <c:pt idx="0">
                  <c:v>0.08079047648871446</c:v>
                </c:pt>
                <c:pt idx="1">
                  <c:v>0.08079047648871446</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602.1914313410126</c:v>
                </c:pt>
                <c:pt idx="1">
                  <c:v>-602.1914313410126</c:v>
                </c:pt>
              </c:numCache>
            </c:numRef>
          </c:xVal>
          <c:yVal>
            <c:numRef>
              <c:f>Sheet1!$B$27:$B$28</c:f>
              <c:numCache>
                <c:formatCode>General</c:formatCode>
                <c:ptCount val="2"/>
                <c:pt idx="0">
                  <c:v>0.0807904764887144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602.1914313410126</c:v>
                </c:pt>
              </c:numCache>
            </c:numRef>
          </c:xVal>
          <c:yVal>
            <c:numRef>
              <c:f>Sheet1!$B$31:$B$32</c:f>
              <c:numCache>
                <c:formatCode>General</c:formatCode>
                <c:ptCount val="2"/>
                <c:pt idx="0">
                  <c:v>0.08079047648871446</c:v>
                </c:pt>
                <c:pt idx="1">
                  <c:v>0.08079047648871446</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602.1914313410126</c:v>
                </c:pt>
                <c:pt idx="1">
                  <c:v>-602.1914313410126</c:v>
                </c:pt>
              </c:numCache>
            </c:numRef>
          </c:xVal>
          <c:yVal>
            <c:numRef>
              <c:f>Sheet1!$B$35:$B$36</c:f>
              <c:numCache>
                <c:formatCode>General</c:formatCode>
                <c:ptCount val="2"/>
                <c:pt idx="0">
                  <c:v>0.0807904764887144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1858.8126532876402</c:v>
                </c:pt>
              </c:numCache>
            </c:numRef>
          </c:xVal>
          <c:yVal>
            <c:numRef>
              <c:f>Sheet1!$B$39:$B$40</c:f>
              <c:numCache>
                <c:formatCode>General</c:formatCode>
                <c:ptCount val="2"/>
                <c:pt idx="0">
                  <c:v>0.07387413512098978</c:v>
                </c:pt>
                <c:pt idx="1">
                  <c:v>0.07387413512098978</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1858.8126532876402</c:v>
                </c:pt>
                <c:pt idx="1">
                  <c:v>1858.8126532876402</c:v>
                </c:pt>
              </c:numCache>
            </c:numRef>
          </c:xVal>
          <c:yVal>
            <c:numRef>
              <c:f>Sheet1!$B$43:$B$44</c:f>
              <c:numCache>
                <c:formatCode>General</c:formatCode>
                <c:ptCount val="2"/>
                <c:pt idx="0">
                  <c:v>0.073874135120989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9612.0</c:v>
                </c:pt>
                <c:pt idx="2">
                  <c:v>13322.0</c:v>
                </c:pt>
                <c:pt idx="3">
                  <c:v>14209.0</c:v>
                </c:pt>
                <c:pt idx="4">
                  <c:v>6198.0</c:v>
                </c:pt>
                <c:pt idx="5">
                  <c:v>6366.25</c:v>
                </c:pt>
                <c:pt idx="6">
                  <c:v>6216.3333</c:v>
                </c:pt>
                <c:pt idx="7">
                  <c:v>6130.0</c:v>
                </c:pt>
                <c:pt idx="8">
                  <c:v>7577.25</c:v>
                </c:pt>
                <c:pt idx="9">
                  <c:v>5610.8889</c:v>
                </c:pt>
                <c:pt idx="10">
                  <c:v>5785.1111</c:v>
                </c:pt>
                <c:pt idx="11">
                  <c:v>6207.75</c:v>
                </c:pt>
                <c:pt idx="12">
                  <c:v>4815.3077</c:v>
                </c:pt>
                <c:pt idx="13">
                  <c:v>4687.0667</c:v>
                </c:pt>
                <c:pt idx="14">
                  <c:v>4610.6471</c:v>
                </c:pt>
                <c:pt idx="15">
                  <c:v>5356.5294</c:v>
                </c:pt>
                <c:pt idx="16">
                  <c:v>5044.3333</c:v>
                </c:pt>
                <c:pt idx="17">
                  <c:v>-602.1914313410126</c:v>
                </c:pt>
                <c:pt idx="18">
                  <c:v>-602.1914313410126</c:v>
                </c:pt>
                <c:pt idx="19">
                  <c:v>1858.8126532876402</c:v>
                </c:pt>
              </c:numCache>
            </c:numRef>
          </c:xVal>
          <c:yVal>
            <c:numRef>
              <c:f>Sheet1!$B$47:$B$66</c:f>
              <c:numCache>
                <c:formatCode>General</c:formatCode>
                <c:ptCount val="20"/>
                <c:pt idx="0">
                  <c:v>0.07909809347566406</c:v>
                </c:pt>
                <c:pt idx="1">
                  <c:v>0.05208478064054907</c:v>
                </c:pt>
                <c:pt idx="2">
                  <c:v>0.04165829389291314</c:v>
                </c:pt>
                <c:pt idx="3">
                  <c:v>0.03916549234435436</c:v>
                </c:pt>
                <c:pt idx="4">
                  <c:v>0.061679396747403276</c:v>
                </c:pt>
                <c:pt idx="5">
                  <c:v>0.0612065513578373</c:v>
                </c:pt>
                <c:pt idx="6">
                  <c:v>0.06162787332166461</c:v>
                </c:pt>
                <c:pt idx="7">
                  <c:v>0.06187050216488016</c:v>
                </c:pt>
                <c:pt idx="8">
                  <c:v>0.057803188702476895</c:v>
                </c:pt>
                <c:pt idx="9">
                  <c:v>0.0633293983925623</c:v>
                </c:pt>
                <c:pt idx="10">
                  <c:v>0.06283976888866903</c:v>
                </c:pt>
                <c:pt idx="11">
                  <c:v>0.061651995602985635</c:v>
                </c:pt>
                <c:pt idx="12">
                  <c:v>0.06556527894201467</c:v>
                </c:pt>
                <c:pt idx="13">
                  <c:v>0.06592568408675956</c:v>
                </c:pt>
                <c:pt idx="14">
                  <c:v>0.06614045172736863</c:v>
                </c:pt>
                <c:pt idx="15">
                  <c:v>0.06404424366369041</c:v>
                </c:pt>
                <c:pt idx="16">
                  <c:v>0.06492163139935445</c:v>
                </c:pt>
                <c:pt idx="17">
                  <c:v>0.08079047648871446</c:v>
                </c:pt>
                <c:pt idx="18">
                  <c:v>0.08079047648871446</c:v>
                </c:pt>
                <c:pt idx="19">
                  <c:v>0.0738741351209897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5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179190751445086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8</c:f>
              <c:numCache>
                <c:formatCode>General</c:formatCode>
                <c:ptCount val="17"/>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numCache>
            </c:numRef>
          </c:xVal>
          <c:yVal>
            <c:numRef>
              <c:f>Sheet1!$B$2:$B$18</c:f>
              <c:numCache>
                <c:formatCode>General</c:formatCode>
                <c:ptCount val="17"/>
                <c:pt idx="0">
                  <c:v>0.0</c:v>
                </c:pt>
                <c:pt idx="1">
                  <c:v>0.025</c:v>
                </c:pt>
                <c:pt idx="2">
                  <c:v>0.0196078431372549</c:v>
                </c:pt>
                <c:pt idx="3">
                  <c:v>0.02564102564102564</c:v>
                </c:pt>
                <c:pt idx="4">
                  <c:v>0.08333333333333333</c:v>
                </c:pt>
                <c:pt idx="5">
                  <c:v>0.06153846153846154</c:v>
                </c:pt>
                <c:pt idx="6">
                  <c:v>0.08823529411764706</c:v>
                </c:pt>
                <c:pt idx="7">
                  <c:v>0.0821917808219178</c:v>
                </c:pt>
                <c:pt idx="8">
                  <c:v>0.038461538461538464</c:v>
                </c:pt>
                <c:pt idx="9">
                  <c:v>0.07627118644067797</c:v>
                </c:pt>
                <c:pt idx="10">
                  <c:v>0.06428571428571428</c:v>
                </c:pt>
                <c:pt idx="11">
                  <c:v>0.06060606060606061</c:v>
                </c:pt>
                <c:pt idx="12">
                  <c:v>0.08227848101265822</c:v>
                </c:pt>
                <c:pt idx="13">
                  <c:v>0.06912442396313365</c:v>
                </c:pt>
                <c:pt idx="14">
                  <c:v>0.09239130434782608</c:v>
                </c:pt>
                <c:pt idx="15">
                  <c:v>0.09826589595375723</c:v>
                </c:pt>
                <c:pt idx="16">
                  <c:v>0.06338028169014084</c:v>
                </c:pt>
              </c:numCache>
            </c:numRef>
          </c:yVal>
          <c:smooth val="0"/>
          <c:extLst>
            <c:ext xmlns:c16="http://schemas.microsoft.com/office/drawing/2014/chart" uri="{C3380CC4-5D6E-409C-BE32-E72D297353CC}">
              <c16:uniqueId val="{00000000-096C-4121-9522-6AB7243CCAAE}"/>
            </c:ext>
          </c:extLst>
        </c:ser>
        <c:ser>
          <c:idx val="1"/>
          <c:order val="1"/>
          <c:tx>
            <c:strRef>
              <c:f>Sheet1!$B$2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1:$A$20</c:f>
              <c:numCache>
                <c:formatCode>General</c:formatCode>
                <c:ptCount val="0"/>
              </c:numCache>
            </c:numRef>
          </c:xVal>
          <c:yVal>
            <c:numRef>
              <c:f>Sheet1!$B$21:$B$20</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08079047648871446</c:v>
                </c:pt>
              </c:numCache>
            </c:numRef>
          </c:xVal>
          <c:yVal>
            <c:numRef>
              <c:f>Sheet1!$B$23:$B$24</c:f>
              <c:numCache>
                <c:formatCode>General</c:formatCode>
                <c:ptCount val="2"/>
                <c:pt idx="0">
                  <c:v>0.08079047648871446</c:v>
                </c:pt>
                <c:pt idx="1">
                  <c:v>0.08079047648871446</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08079047648871446</c:v>
                </c:pt>
                <c:pt idx="1">
                  <c:v>0.08079047648871446</c:v>
                </c:pt>
              </c:numCache>
            </c:numRef>
          </c:xVal>
          <c:yVal>
            <c:numRef>
              <c:f>Sheet1!$B$27:$B$28</c:f>
              <c:numCache>
                <c:formatCode>General</c:formatCode>
                <c:ptCount val="2"/>
                <c:pt idx="0">
                  <c:v>0.0807904764887144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08079047648871446</c:v>
                </c:pt>
              </c:numCache>
            </c:numRef>
          </c:xVal>
          <c:yVal>
            <c:numRef>
              <c:f>Sheet1!$B$31:$B$32</c:f>
              <c:numCache>
                <c:formatCode>General</c:formatCode>
                <c:ptCount val="2"/>
                <c:pt idx="0">
                  <c:v>0.08079047648871446</c:v>
                </c:pt>
                <c:pt idx="1">
                  <c:v>0.08079047648871446</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08079047648871446</c:v>
                </c:pt>
                <c:pt idx="1">
                  <c:v>0.08079047648871446</c:v>
                </c:pt>
              </c:numCache>
            </c:numRef>
          </c:xVal>
          <c:yVal>
            <c:numRef>
              <c:f>Sheet1!$B$35:$B$36</c:f>
              <c:numCache>
                <c:formatCode>General</c:formatCode>
                <c:ptCount val="2"/>
                <c:pt idx="0">
                  <c:v>0.0807904764887144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07387413512098978</c:v>
                </c:pt>
              </c:numCache>
            </c:numRef>
          </c:xVal>
          <c:yVal>
            <c:numRef>
              <c:f>Sheet1!$B$39:$B$40</c:f>
              <c:numCache>
                <c:formatCode>General</c:formatCode>
                <c:ptCount val="2"/>
                <c:pt idx="0">
                  <c:v>0.07387413512098978</c:v>
                </c:pt>
                <c:pt idx="1">
                  <c:v>0.07387413512098978</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07387413512098978</c:v>
                </c:pt>
                <c:pt idx="1">
                  <c:v>0.07387413512098978</c:v>
                </c:pt>
              </c:numCache>
            </c:numRef>
          </c:xVal>
          <c:yVal>
            <c:numRef>
              <c:f>Sheet1!$B$43:$B$44</c:f>
              <c:numCache>
                <c:formatCode>General</c:formatCode>
                <c:ptCount val="2"/>
                <c:pt idx="0">
                  <c:v>0.073874135120989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49</c:f>
              <c:numCache>
                <c:formatCode>General</c:formatCode>
                <c:ptCount val="3"/>
                <c:pt idx="0">
                  <c:v>0.08079047648871446</c:v>
                </c:pt>
                <c:pt idx="1">
                  <c:v>0.08079047648871446</c:v>
                </c:pt>
                <c:pt idx="2">
                  <c:v>0.07387413512098978</c:v>
                </c:pt>
              </c:numCache>
            </c:numRef>
          </c:xVal>
          <c:yVal>
            <c:numRef>
              <c:f>Sheet1!$B$47:$B$49</c:f>
              <c:numCache>
                <c:formatCode>General</c:formatCode>
                <c:ptCount val="3"/>
                <c:pt idx="0">
                  <c:v>0.08079047648871446</c:v>
                </c:pt>
                <c:pt idx="1">
                  <c:v>0.08079047648871446</c:v>
                </c:pt>
                <c:pt idx="2">
                  <c:v>0.0738741351209897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1791907514450867"/>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471820173574542</c:v>
                </c:pt>
                <c:pt idx="1">
                  <c:v>0.16221279167748848</c:v>
                </c:pt>
                <c:pt idx="2">
                  <c:v>0.16456855993906122</c:v>
                </c:pt>
                <c:pt idx="3">
                  <c:v>0.16977079132123057</c:v>
                </c:pt>
                <c:pt idx="4">
                  <c:v>0.16095732287787481</c:v>
                </c:pt>
                <c:pt idx="5">
                  <c:v>0.15765823176845203</c:v>
                </c:pt>
                <c:pt idx="6">
                  <c:v>0.15769494163648065</c:v>
                </c:pt>
                <c:pt idx="7">
                  <c:v>0.15270503523256337</c:v>
                </c:pt>
                <c:pt idx="8">
                  <c:v>0.15310780983609415</c:v>
                </c:pt>
                <c:pt idx="9">
                  <c:v>0.15641288952011234</c:v>
                </c:pt>
                <c:pt idx="10">
                  <c:v>0.1564071243757597</c:v>
                </c:pt>
                <c:pt idx="11">
                  <c:v>0.16653261000758485</c:v>
                </c:pt>
                <c:pt idx="12">
                  <c:v>0.1725739962733591</c:v>
                </c:pt>
                <c:pt idx="13">
                  <c:v>0.16912776408873886</c:v>
                </c:pt>
                <c:pt idx="14">
                  <c:v>0.18048670975826994</c:v>
                </c:pt>
                <c:pt idx="15">
                  <c:v>0.17904935393300317</c:v>
                </c:pt>
                <c:pt idx="16">
                  <c:v>0.16834777446284432</c:v>
                </c:pt>
                <c:pt idx="17">
                  <c:v>0.15546710017251175</c:v>
                </c:pt>
                <c:pt idx="18">
                  <c:v>0.15299864435646957</c:v>
                </c:pt>
                <c:pt idx="19">
                  <c:v>0.1571871439584742</c:v>
                </c:pt>
                <c:pt idx="20">
                  <c:v>0.16721702039088573</c:v>
                </c:pt>
                <c:pt idx="21">
                  <c:v>0.15857113578251134</c:v>
                </c:pt>
                <c:pt idx="22">
                  <c:v>0.144104015503042</c:v>
                </c:pt>
                <c:pt idx="23">
                  <c:v>0.1455396979178064</c:v>
                </c:pt>
                <c:pt idx="24">
                  <c:v>0.15069156708601553</c:v>
                </c:pt>
                <c:pt idx="25">
                  <c:v>0.14320883884168653</c:v>
                </c:pt>
                <c:pt idx="26">
                  <c:v>0.14818474462884643</c:v>
                </c:pt>
                <c:pt idx="27">
                  <c:v>0.1446645681469408</c:v>
                </c:pt>
                <c:pt idx="28">
                  <c:v>0.14108619067816436</c:v>
                </c:pt>
                <c:pt idx="29">
                  <c:v>0.14471617695742572</c:v>
                </c:pt>
                <c:pt idx="30">
                  <c:v>0.13980081009423476</c:v>
                </c:pt>
                <c:pt idx="31">
                  <c:v>0.12869241305884802</c:v>
                </c:pt>
                <c:pt idx="32">
                  <c:v>0.1284455876845785</c:v>
                </c:pt>
                <c:pt idx="33">
                  <c:v>0.12842957809382313</c:v>
                </c:pt>
                <c:pt idx="34">
                  <c:v>0.14001781912199177</c:v>
                </c:pt>
                <c:pt idx="35">
                  <c:v>0.14937324213967712</c:v>
                </c:pt>
                <c:pt idx="36">
                  <c:v>0.14200115542647437</c:v>
                </c:pt>
                <c:pt idx="37">
                  <c:v>0.13166788894352088</c:v>
                </c:pt>
                <c:pt idx="38">
                  <c:v>0.14053622416585038</c:v>
                </c:pt>
                <c:pt idx="39">
                  <c:v>0.1460385438522413</c:v>
                </c:pt>
                <c:pt idx="40">
                  <c:v>0.15323041406008236</c:v>
                </c:pt>
                <c:pt idx="41">
                  <c:v>0.15173770281921803</c:v>
                </c:pt>
                <c:pt idx="42">
                  <c:v>0.15447234032759619</c:v>
                </c:pt>
                <c:pt idx="43">
                  <c:v>0.16308725450495645</c:v>
                </c:pt>
                <c:pt idx="44">
                  <c:v>0.18431725625195333</c:v>
                </c:pt>
                <c:pt idx="45">
                  <c:v>0.17493071044866065</c:v>
                </c:pt>
                <c:pt idx="46">
                  <c:v>0.18064648745414158</c:v>
                </c:pt>
                <c:pt idx="47">
                  <c:v>0.1697238116462347</c:v>
                </c:pt>
                <c:pt idx="48">
                  <c:v>0.19247759450537685</c:v>
                </c:pt>
                <c:pt idx="49">
                  <c:v>0.20371262308729585</c:v>
                </c:pt>
                <c:pt idx="50">
                  <c:v>0.17366550354784793</c:v>
                </c:pt>
                <c:pt idx="51">
                  <c:v>0.16708078556579284</c:v>
                </c:pt>
                <c:pt idx="52">
                  <c:v>0.1806655036247707</c:v>
                </c:pt>
                <c:pt idx="53">
                  <c:v>0.18360349387361127</c:v>
                </c:pt>
                <c:pt idx="54">
                  <c:v>0.18482332213608757</c:v>
                </c:pt>
                <c:pt idx="55">
                  <c:v>0.17415867536732363</c:v>
                </c:pt>
                <c:pt idx="56">
                  <c:v>0.17558816140160066</c:v>
                </c:pt>
                <c:pt idx="57">
                  <c:v>0.17494011247572663</c:v>
                </c:pt>
                <c:pt idx="58">
                  <c:v>0.18005417849562383</c:v>
                </c:pt>
                <c:pt idx="59">
                  <c:v>0.2052339266301445</c:v>
                </c:pt>
                <c:pt idx="60">
                  <c:v>0.20388067942481417</c:v>
                </c:pt>
                <c:pt idx="61">
                  <c:v>0.19700226306995403</c:v>
                </c:pt>
                <c:pt idx="62">
                  <c:v>0.19190612184871667</c:v>
                </c:pt>
                <c:pt idx="63">
                  <c:v>0.19649486289326523</c:v>
                </c:pt>
                <c:pt idx="64">
                  <c:v>0.20327217137796344</c:v>
                </c:pt>
                <c:pt idx="65">
                  <c:v>0.19918940959689133</c:v>
                </c:pt>
                <c:pt idx="66">
                  <c:v>0.19772921313857977</c:v>
                </c:pt>
                <c:pt idx="67">
                  <c:v>0.2011679068819048</c:v>
                </c:pt>
                <c:pt idx="68">
                  <c:v>0.19272895336571472</c:v>
                </c:pt>
                <c:pt idx="69">
                  <c:v>0.18180662681182477</c:v>
                </c:pt>
                <c:pt idx="70">
                  <c:v>0.1759682779254359</c:v>
                </c:pt>
                <c:pt idx="71">
                  <c:v>0.1842141748952715</c:v>
                </c:pt>
                <c:pt idx="72">
                  <c:v>0.2040571547233504</c:v>
                </c:pt>
                <c:pt idx="73">
                  <c:v>0.1969278054450556</c:v>
                </c:pt>
                <c:pt idx="74">
                  <c:v>0.19183501036706763</c:v>
                </c:pt>
                <c:pt idx="75">
                  <c:v>0.18287766908471137</c:v>
                </c:pt>
                <c:pt idx="76">
                  <c:v>0.17074269268384595</c:v>
                </c:pt>
                <c:pt idx="77">
                  <c:v>0.16821944410583</c:v>
                </c:pt>
                <c:pt idx="78">
                  <c:v>0.17367020682708859</c:v>
                </c:pt>
                <c:pt idx="79">
                  <c:v>0.16756366389697044</c:v>
                </c:pt>
                <c:pt idx="80">
                  <c:v>0.16173670570993648</c:v>
                </c:pt>
                <c:pt idx="81">
                  <c:v>0.1719620151208278</c:v>
                </c:pt>
                <c:pt idx="82">
                  <c:v>0.17027201858779947</c:v>
                </c:pt>
                <c:pt idx="83">
                  <c:v>0.1524362291199452</c:v>
                </c:pt>
                <c:pt idx="84">
                  <c:v>0.15244781863508486</c:v>
                </c:pt>
                <c:pt idx="85">
                  <c:v>0.15069443736010402</c:v>
                </c:pt>
                <c:pt idx="86">
                  <c:v>0.155321612754481</c:v>
                </c:pt>
                <c:pt idx="87">
                  <c:v>0.17315356593708617</c:v>
                </c:pt>
                <c:pt idx="88">
                  <c:v>0.160478748071326</c:v>
                </c:pt>
                <c:pt idx="89">
                  <c:v>0.15505211508414174</c:v>
                </c:pt>
                <c:pt idx="90">
                  <c:v>0.16406833815260846</c:v>
                </c:pt>
                <c:pt idx="91">
                  <c:v>0.16806454110489144</c:v>
                </c:pt>
                <c:pt idx="92">
                  <c:v>0.17192196121287634</c:v>
                </c:pt>
                <c:pt idx="93">
                  <c:v>0.172596812712764</c:v>
                </c:pt>
                <c:pt idx="94">
                  <c:v>0.16584287086289334</c:v>
                </c:pt>
                <c:pt idx="95">
                  <c:v>0.16958505911818872</c:v>
                </c:pt>
                <c:pt idx="96">
                  <c:v>0.17416969867639767</c:v>
                </c:pt>
                <c:pt idx="97">
                  <c:v>0.18331724762567247</c:v>
                </c:pt>
                <c:pt idx="98">
                  <c:v>0.19096077358704616</c:v>
                </c:pt>
                <c:pt idx="99">
                  <c:v>0.19822627823412903</c:v>
                </c:pt>
                <c:pt idx="100">
                  <c:v>0.21262655970413158</c:v>
                </c:pt>
                <c:pt idx="101">
                  <c:v>0.20189691329733064</c:v>
                </c:pt>
                <c:pt idx="102">
                  <c:v>0.19385347252116097</c:v>
                </c:pt>
                <c:pt idx="103">
                  <c:v>0.18838075230165838</c:v>
                </c:pt>
                <c:pt idx="104">
                  <c:v>0.20159513633163628</c:v>
                </c:pt>
              </c:numCache>
            </c:numRef>
          </c:xVal>
          <c:yVal>
            <c:numRef>
              <c:f>Sheet1!$B$2:$B$106</c:f>
              <c:numCache>
                <c:formatCode>General</c:formatCode>
                <c:ptCount val="105"/>
                <c:pt idx="0">
                  <c:v>0.2222146569528608</c:v>
                </c:pt>
                <c:pt idx="1">
                  <c:v>0.21436831795331712</c:v>
                </c:pt>
                <c:pt idx="2">
                  <c:v>0.21788056610286502</c:v>
                </c:pt>
                <c:pt idx="3">
                  <c:v>0.22284236976901517</c:v>
                </c:pt>
                <c:pt idx="4">
                  <c:v>0.23230982175644757</c:v>
                </c:pt>
                <c:pt idx="5">
                  <c:v>0.23291621013782365</c:v>
                </c:pt>
                <c:pt idx="6">
                  <c:v>0.26065601535595323</c:v>
                </c:pt>
                <c:pt idx="7">
                  <c:v>0.26437738022850193</c:v>
                </c:pt>
                <c:pt idx="8">
                  <c:v>0.257263214202133</c:v>
                </c:pt>
                <c:pt idx="9">
                  <c:v>0.25305166789434913</c:v>
                </c:pt>
                <c:pt idx="10">
                  <c:v>0.24550973309251456</c:v>
                </c:pt>
                <c:pt idx="11">
                  <c:v>0.22982810920121335</c:v>
                </c:pt>
                <c:pt idx="12">
                  <c:v>0.22160040869403677</c:v>
                </c:pt>
                <c:pt idx="13">
                  <c:v>0.21053404833614928</c:v>
                </c:pt>
                <c:pt idx="14">
                  <c:v>0.1929620755584598</c:v>
                </c:pt>
                <c:pt idx="15">
                  <c:v>0.19070869326553608</c:v>
                </c:pt>
                <c:pt idx="16">
                  <c:v>0.18037248344153714</c:v>
                </c:pt>
                <c:pt idx="17">
                  <c:v>0.17803368978219664</c:v>
                </c:pt>
                <c:pt idx="18">
                  <c:v>0.16207250612115948</c:v>
                </c:pt>
                <c:pt idx="19">
                  <c:v>0.1645387436742653</c:v>
                </c:pt>
                <c:pt idx="20">
                  <c:v>0.17074384594770492</c:v>
                </c:pt>
                <c:pt idx="21">
                  <c:v>0.1679692794217303</c:v>
                </c:pt>
                <c:pt idx="22">
                  <c:v>0.18874264911789415</c:v>
                </c:pt>
                <c:pt idx="23">
                  <c:v>0.19065880039331368</c:v>
                </c:pt>
                <c:pt idx="24">
                  <c:v>0.19545118343195267</c:v>
                </c:pt>
                <c:pt idx="25">
                  <c:v>0.1965481171548117</c:v>
                </c:pt>
                <c:pt idx="26">
                  <c:v>0.2142291015898177</c:v>
                </c:pt>
                <c:pt idx="27">
                  <c:v>0.2190428532435629</c:v>
                </c:pt>
                <c:pt idx="28">
                  <c:v>0.21610719584569732</c:v>
                </c:pt>
                <c:pt idx="29">
                  <c:v>0.21404179201561102</c:v>
                </c:pt>
                <c:pt idx="30">
                  <c:v>0.21525529915422367</c:v>
                </c:pt>
                <c:pt idx="31">
                  <c:v>0.2158156532331743</c:v>
                </c:pt>
                <c:pt idx="32">
                  <c:v>0.22579515903180636</c:v>
                </c:pt>
                <c:pt idx="33">
                  <c:v>0.2243625609463672</c:v>
                </c:pt>
                <c:pt idx="34">
                  <c:v>0.22853110411464553</c:v>
                </c:pt>
                <c:pt idx="35">
                  <c:v>0.24465431218816822</c:v>
                </c:pt>
                <c:pt idx="36">
                  <c:v>0.21023367645953867</c:v>
                </c:pt>
                <c:pt idx="37">
                  <c:v>0.21509433962264152</c:v>
                </c:pt>
                <c:pt idx="38">
                  <c:v>0.2002953183357943</c:v>
                </c:pt>
                <c:pt idx="39">
                  <c:v>0.18644224973338897</c:v>
                </c:pt>
                <c:pt idx="40">
                  <c:v>0.1933965902954563</c:v>
                </c:pt>
                <c:pt idx="41">
                  <c:v>0.1845035313668467</c:v>
                </c:pt>
                <c:pt idx="42">
                  <c:v>0.1825368689733409</c:v>
                </c:pt>
                <c:pt idx="43">
                  <c:v>0.18491152406925856</c:v>
                </c:pt>
                <c:pt idx="44">
                  <c:v>0.179719027169339</c:v>
                </c:pt>
                <c:pt idx="45">
                  <c:v>0.19425275927214875</c:v>
                </c:pt>
                <c:pt idx="46">
                  <c:v>0.20227789562193046</c:v>
                </c:pt>
                <c:pt idx="47">
                  <c:v>0.19447760619247506</c:v>
                </c:pt>
                <c:pt idx="48">
                  <c:v>0.1946365151844604</c:v>
                </c:pt>
                <c:pt idx="49">
                  <c:v>0.2024177181681814</c:v>
                </c:pt>
                <c:pt idx="50">
                  <c:v>0.19343004525223934</c:v>
                </c:pt>
                <c:pt idx="51">
                  <c:v>0.1905886056027699</c:v>
                </c:pt>
                <c:pt idx="52">
                  <c:v>0.19163722255841645</c:v>
                </c:pt>
                <c:pt idx="53">
                  <c:v>0.1821459475050476</c:v>
                </c:pt>
                <c:pt idx="54">
                  <c:v>0.18893706477466823</c:v>
                </c:pt>
                <c:pt idx="55">
                  <c:v>0.18618821936357483</c:v>
                </c:pt>
                <c:pt idx="56">
                  <c:v>0.1827687615728134</c:v>
                </c:pt>
                <c:pt idx="57">
                  <c:v>0.17984808924756707</c:v>
                </c:pt>
                <c:pt idx="58">
                  <c:v>0.19077375079479927</c:v>
                </c:pt>
                <c:pt idx="59">
                  <c:v>0.18824739239018656</c:v>
                </c:pt>
                <c:pt idx="60">
                  <c:v>0.1917924831352393</c:v>
                </c:pt>
                <c:pt idx="61">
                  <c:v>0.18711292376081656</c:v>
                </c:pt>
                <c:pt idx="62">
                  <c:v>0.19957863689034025</c:v>
                </c:pt>
                <c:pt idx="63">
                  <c:v>0.2039075557604749</c:v>
                </c:pt>
                <c:pt idx="64">
                  <c:v>0.1943246991790681</c:v>
                </c:pt>
                <c:pt idx="65">
                  <c:v>0.19147112834115487</c:v>
                </c:pt>
                <c:pt idx="66">
                  <c:v>0.18685303480699092</c:v>
                </c:pt>
                <c:pt idx="67">
                  <c:v>0.1743600914933014</c:v>
                </c:pt>
                <c:pt idx="68">
                  <c:v>0.16798753104031278</c:v>
                </c:pt>
                <c:pt idx="69">
                  <c:v>0.1637571027589512</c:v>
                </c:pt>
                <c:pt idx="70">
                  <c:v>0.16157501697216564</c:v>
                </c:pt>
                <c:pt idx="71">
                  <c:v>0.15957227341493604</c:v>
                </c:pt>
                <c:pt idx="72">
                  <c:v>0.16045343380263072</c:v>
                </c:pt>
                <c:pt idx="73">
                  <c:v>0.16063700882811147</c:v>
                </c:pt>
                <c:pt idx="74">
                  <c:v>0.16004937942079275</c:v>
                </c:pt>
                <c:pt idx="75">
                  <c:v>0.1704176288700145</c:v>
                </c:pt>
                <c:pt idx="76">
                  <c:v>0.17403464829889376</c:v>
                </c:pt>
                <c:pt idx="77">
                  <c:v>0.16306754103838603</c:v>
                </c:pt>
                <c:pt idx="78">
                  <c:v>0.17122101414413549</c:v>
                </c:pt>
                <c:pt idx="79">
                  <c:v>0.16867216425445977</c:v>
                </c:pt>
                <c:pt idx="80">
                  <c:v>0.15128412624047022</c:v>
                </c:pt>
                <c:pt idx="81">
                  <c:v>0.15918572867213351</c:v>
                </c:pt>
                <c:pt idx="82">
                  <c:v>0.1604518736223365</c:v>
                </c:pt>
                <c:pt idx="83">
                  <c:v>0.15352127547249497</c:v>
                </c:pt>
                <c:pt idx="84">
                  <c:v>0.1606915980776667</c:v>
                </c:pt>
                <c:pt idx="85">
                  <c:v>0.16671613733056298</c:v>
                </c:pt>
                <c:pt idx="86">
                  <c:v>0.1759307231144993</c:v>
                </c:pt>
                <c:pt idx="87">
                  <c:v>0.19704711230134958</c:v>
                </c:pt>
                <c:pt idx="88">
                  <c:v>0.18048567053161235</c:v>
                </c:pt>
                <c:pt idx="89">
                  <c:v>0.17244673736505206</c:v>
                </c:pt>
                <c:pt idx="90">
                  <c:v>0.1624969158647915</c:v>
                </c:pt>
                <c:pt idx="91">
                  <c:v>0.1546732452057345</c:v>
                </c:pt>
                <c:pt idx="92">
                  <c:v>0.17381197362905376</c:v>
                </c:pt>
                <c:pt idx="93">
                  <c:v>0.16256891670391893</c:v>
                </c:pt>
                <c:pt idx="94">
                  <c:v>0.16598507525612377</c:v>
                </c:pt>
                <c:pt idx="95">
                  <c:v>0.17649211625850134</c:v>
                </c:pt>
                <c:pt idx="96">
                  <c:v>0.17222309294046526</c:v>
                </c:pt>
                <c:pt idx="97">
                  <c:v>0.17688563038294014</c:v>
                </c:pt>
                <c:pt idx="98">
                  <c:v>0.184845203101095</c:v>
                </c:pt>
                <c:pt idx="99">
                  <c:v>0.1852970193428802</c:v>
                </c:pt>
                <c:pt idx="100">
                  <c:v>0.18696157822191592</c:v>
                </c:pt>
                <c:pt idx="101">
                  <c:v>0.17836053875657837</c:v>
                </c:pt>
                <c:pt idx="102">
                  <c:v>0.16761097479366496</c:v>
                </c:pt>
                <c:pt idx="103">
                  <c:v>0.16980733033013978</c:v>
                </c:pt>
                <c:pt idx="104">
                  <c:v>0.1651442481502012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0402881678125429</c:v>
                </c:pt>
                <c:pt idx="1">
                  <c:v>0.21225427409752184</c:v>
                </c:pt>
                <c:pt idx="2">
                  <c:v>0.20417583464703704</c:v>
                </c:pt>
                <c:pt idx="3">
                  <c:v>0.2001481078487591</c:v>
                </c:pt>
                <c:pt idx="4">
                  <c:v>0.19683885106533397</c:v>
                </c:pt>
                <c:pt idx="5">
                  <c:v>0.19763158199612277</c:v>
                </c:pt>
                <c:pt idx="6">
                  <c:v>0.18589789589831954</c:v>
                </c:pt>
                <c:pt idx="7">
                  <c:v>0.17965146031680845</c:v>
                </c:pt>
                <c:pt idx="8">
                  <c:v>0.1907207743664692</c:v>
                </c:pt>
                <c:pt idx="9">
                  <c:v>0.18766636511718204</c:v>
                </c:pt>
                <c:pt idx="10">
                  <c:v>0.19318557985260362</c:v>
                </c:pt>
                <c:pt idx="11">
                  <c:v>0.18525692065921295</c:v>
                </c:pt>
                <c:pt idx="12">
                  <c:v>0.18367581132801641</c:v>
                </c:pt>
                <c:pt idx="13">
                  <c:v>0.18411800459109984</c:v>
                </c:pt>
                <c:pt idx="14">
                  <c:v>0.1819471542484282</c:v>
                </c:pt>
                <c:pt idx="15">
                  <c:v>0.1765107069700917</c:v>
                </c:pt>
                <c:pt idx="16">
                  <c:v>0.176439311750266</c:v>
                </c:pt>
                <c:pt idx="17">
                  <c:v>0.16712329709940824</c:v>
                </c:pt>
                <c:pt idx="18">
                  <c:v>0.16369516180948168</c:v>
                </c:pt>
                <c:pt idx="19">
                  <c:v>0.1794764011830318</c:v>
                </c:pt>
                <c:pt idx="20">
                  <c:v>0.16619684380242972</c:v>
                </c:pt>
                <c:pt idx="21">
                  <c:v>0.14293424398890564</c:v>
                </c:pt>
                <c:pt idx="22">
                  <c:v>0.16833284350967</c:v>
                </c:pt>
                <c:pt idx="23">
                  <c:v>0.1546801051826672</c:v>
                </c:pt>
                <c:pt idx="24">
                  <c:v>0.1497211903221742</c:v>
                </c:pt>
                <c:pt idx="25">
                  <c:v>0.15146463550108896</c:v>
                </c:pt>
                <c:pt idx="26">
                  <c:v>0.1504875559316994</c:v>
                </c:pt>
                <c:pt idx="27">
                  <c:v>0.15288029104985748</c:v>
                </c:pt>
                <c:pt idx="28">
                  <c:v>0.1623988845145003</c:v>
                </c:pt>
                <c:pt idx="29">
                  <c:v>0.15624101516313024</c:v>
                </c:pt>
                <c:pt idx="30">
                  <c:v>0.1514449239905117</c:v>
                </c:pt>
                <c:pt idx="31">
                  <c:v>0.15209445804099203</c:v>
                </c:pt>
                <c:pt idx="32">
                  <c:v>0.15036628171135177</c:v>
                </c:pt>
                <c:pt idx="33">
                  <c:v>0.15797818394483307</c:v>
                </c:pt>
                <c:pt idx="34">
                  <c:v>0.1731279331997188</c:v>
                </c:pt>
                <c:pt idx="35">
                  <c:v>0.16911326579490585</c:v>
                </c:pt>
                <c:pt idx="36">
                  <c:v>0.1516745167918956</c:v>
                </c:pt>
                <c:pt idx="37">
                  <c:v>0.16137967283727733</c:v>
                </c:pt>
                <c:pt idx="38">
                  <c:v>0.15294986699428276</c:v>
                </c:pt>
                <c:pt idx="39">
                  <c:v>0.1610442349822849</c:v>
                </c:pt>
                <c:pt idx="40">
                  <c:v>0.1616135544541468</c:v>
                </c:pt>
                <c:pt idx="41">
                  <c:v>0.1711761460322712</c:v>
                </c:pt>
                <c:pt idx="42">
                  <c:v>0.16732900137883397</c:v>
                </c:pt>
                <c:pt idx="43">
                  <c:v>0.1745474229285245</c:v>
                </c:pt>
                <c:pt idx="44">
                  <c:v>0.17462262264256845</c:v>
                </c:pt>
                <c:pt idx="45">
                  <c:v>0.1775927776975906</c:v>
                </c:pt>
                <c:pt idx="46">
                  <c:v>0.1680536737704798</c:v>
                </c:pt>
                <c:pt idx="47">
                  <c:v>0.1655921054111922</c:v>
                </c:pt>
                <c:pt idx="48">
                  <c:v>0.170714927767385</c:v>
                </c:pt>
                <c:pt idx="49">
                  <c:v>0.18634080233713132</c:v>
                </c:pt>
                <c:pt idx="50">
                  <c:v>0.19991370734908911</c:v>
                </c:pt>
                <c:pt idx="51">
                  <c:v>0.17419450154595836</c:v>
                </c:pt>
              </c:numCache>
            </c:numRef>
          </c:xVal>
          <c:yVal>
            <c:numRef>
              <c:f>Sheet1!$B$109:$B$160</c:f>
              <c:numCache>
                <c:formatCode>General</c:formatCode>
                <c:ptCount val="52"/>
                <c:pt idx="0">
                  <c:v>0.17802485284499672</c:v>
                </c:pt>
                <c:pt idx="1">
                  <c:v>0.17281702961977452</c:v>
                </c:pt>
                <c:pt idx="2">
                  <c:v>0.19121979964643487</c:v>
                </c:pt>
                <c:pt idx="3">
                  <c:v>0.20584655418450432</c:v>
                </c:pt>
                <c:pt idx="4">
                  <c:v>0.1907154821727686</c:v>
                </c:pt>
                <c:pt idx="5">
                  <c:v>0.1865470261731862</c:v>
                </c:pt>
                <c:pt idx="6">
                  <c:v>0.1957534188576993</c:v>
                </c:pt>
                <c:pt idx="7">
                  <c:v>0.19280505867608522</c:v>
                </c:pt>
                <c:pt idx="8">
                  <c:v>0.18257041154062326</c:v>
                </c:pt>
                <c:pt idx="9">
                  <c:v>0.19004784140716763</c:v>
                </c:pt>
                <c:pt idx="10">
                  <c:v>0.19452803622208112</c:v>
                </c:pt>
                <c:pt idx="11">
                  <c:v>0.19565534334451087</c:v>
                </c:pt>
                <c:pt idx="12">
                  <c:v>0.19433398432904303</c:v>
                </c:pt>
                <c:pt idx="13">
                  <c:v>0.19587603827658231</c:v>
                </c:pt>
                <c:pt idx="14">
                  <c:v>0.19433897134967207</c:v>
                </c:pt>
                <c:pt idx="15">
                  <c:v>0.18689389213406682</c:v>
                </c:pt>
                <c:pt idx="16">
                  <c:v>0.1760687035086039</c:v>
                </c:pt>
                <c:pt idx="17">
                  <c:v>0.17739695871575167</c:v>
                </c:pt>
                <c:pt idx="18">
                  <c:v>0.17960259529602596</c:v>
                </c:pt>
                <c:pt idx="19">
                  <c:v>0.1812227074235808</c:v>
                </c:pt>
                <c:pt idx="20">
                  <c:v>0.16823110535685387</c:v>
                </c:pt>
                <c:pt idx="21">
                  <c:v>0.18844209005538165</c:v>
                </c:pt>
                <c:pt idx="22">
                  <c:v>0.16644015144160762</c:v>
                </c:pt>
                <c:pt idx="23">
                  <c:v>0.17566196611545096</c:v>
                </c:pt>
                <c:pt idx="24">
                  <c:v>0.18963132541613012</c:v>
                </c:pt>
                <c:pt idx="25">
                  <c:v>0.17986905892348443</c:v>
                </c:pt>
                <c:pt idx="26">
                  <c:v>0.17374981951196034</c:v>
                </c:pt>
                <c:pt idx="27">
                  <c:v>0.17513859275053306</c:v>
                </c:pt>
                <c:pt idx="28">
                  <c:v>0.16510977099838398</c:v>
                </c:pt>
                <c:pt idx="29">
                  <c:v>0.16586046511627908</c:v>
                </c:pt>
                <c:pt idx="30">
                  <c:v>0.17418667699457785</c:v>
                </c:pt>
                <c:pt idx="31">
                  <c:v>0.1685892228540482</c:v>
                </c:pt>
                <c:pt idx="32">
                  <c:v>0.16543958423559982</c:v>
                </c:pt>
                <c:pt idx="33">
                  <c:v>0.18127976309576213</c:v>
                </c:pt>
                <c:pt idx="34">
                  <c:v>0.20100297758971947</c:v>
                </c:pt>
                <c:pt idx="35">
                  <c:v>0.19222462203023757</c:v>
                </c:pt>
                <c:pt idx="36">
                  <c:v>0.17836587596148673</c:v>
                </c:pt>
                <c:pt idx="37">
                  <c:v>0.16997222357584912</c:v>
                </c:pt>
                <c:pt idx="38">
                  <c:v>0.1698518359458879</c:v>
                </c:pt>
                <c:pt idx="39">
                  <c:v>0.18550688671051</c:v>
                </c:pt>
                <c:pt idx="40">
                  <c:v>0.17479890572046874</c:v>
                </c:pt>
                <c:pt idx="41">
                  <c:v>0.17807064592751512</c:v>
                </c:pt>
                <c:pt idx="42">
                  <c:v>0.17420122365737595</c:v>
                </c:pt>
                <c:pt idx="43">
                  <c:v>0.17370469237448943</c:v>
                </c:pt>
                <c:pt idx="44">
                  <c:v>0.17378871696197118</c:v>
                </c:pt>
                <c:pt idx="45">
                  <c:v>0.19017245932275692</c:v>
                </c:pt>
                <c:pt idx="46">
                  <c:v>0.19968408262454435</c:v>
                </c:pt>
                <c:pt idx="47">
                  <c:v>0.19999542344568774</c:v>
                </c:pt>
                <c:pt idx="48">
                  <c:v>0.19529320987654322</c:v>
                </c:pt>
                <c:pt idx="49">
                  <c:v>0.20265524023602136</c:v>
                </c:pt>
                <c:pt idx="50">
                  <c:v>0.21063819791886876</c:v>
                </c:pt>
                <c:pt idx="51">
                  <c:v>0.1990822240243685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2814034575726236</c:v>
                </c:pt>
              </c:numCache>
            </c:numRef>
          </c:xVal>
          <c:yVal>
            <c:numRef>
              <c:f>Sheet1!$B$163:$B$164</c:f>
              <c:numCache>
                <c:formatCode>General</c:formatCode>
                <c:ptCount val="2"/>
                <c:pt idx="0">
                  <c:v>0.23609206138432418</c:v>
                </c:pt>
                <c:pt idx="1">
                  <c:v>0.2360920613843241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2814034575726236</c:v>
                </c:pt>
                <c:pt idx="1">
                  <c:v>0.32814034575726236</c:v>
                </c:pt>
              </c:numCache>
            </c:numRef>
          </c:xVal>
          <c:yVal>
            <c:numRef>
              <c:f>Sheet1!$B$167:$B$168</c:f>
              <c:numCache>
                <c:formatCode>General</c:formatCode>
                <c:ptCount val="2"/>
                <c:pt idx="0">
                  <c:v>0.2360920613843241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261079756645478</c:v>
                </c:pt>
              </c:numCache>
            </c:numRef>
          </c:xVal>
          <c:yVal>
            <c:numRef>
              <c:f>Sheet1!$B$171:$B$172</c:f>
              <c:numCache>
                <c:formatCode>General</c:formatCode>
                <c:ptCount val="2"/>
                <c:pt idx="0">
                  <c:v>0.20191721801395046</c:v>
                </c:pt>
                <c:pt idx="1">
                  <c:v>0.2019172180139504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261079756645478</c:v>
                </c:pt>
                <c:pt idx="1">
                  <c:v>0.2261079756645478</c:v>
                </c:pt>
              </c:numCache>
            </c:numRef>
          </c:xVal>
          <c:yVal>
            <c:numRef>
              <c:f>Sheet1!$B$175:$B$176</c:f>
              <c:numCache>
                <c:formatCode>General</c:formatCode>
                <c:ptCount val="2"/>
                <c:pt idx="0">
                  <c:v>0.2019172180139504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8767828417011428</c:v>
                </c:pt>
              </c:numCache>
            </c:numRef>
          </c:xVal>
          <c:yVal>
            <c:numRef>
              <c:f>Sheet1!$B$179:$B$180</c:f>
              <c:numCache>
                <c:formatCode>General</c:formatCode>
                <c:ptCount val="2"/>
                <c:pt idx="0">
                  <c:v>0.1890455314462401</c:v>
                </c:pt>
                <c:pt idx="1">
                  <c:v>0.189045531446240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8767828417011428</c:v>
                </c:pt>
                <c:pt idx="1">
                  <c:v>0.18767828417011428</c:v>
                </c:pt>
              </c:numCache>
            </c:numRef>
          </c:xVal>
          <c:yVal>
            <c:numRef>
              <c:f>Sheet1!$B$183:$B$184</c:f>
              <c:numCache>
                <c:formatCode>General</c:formatCode>
                <c:ptCount val="2"/>
                <c:pt idx="0">
                  <c:v>0.189045531446240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0402881678125429</c:v>
                </c:pt>
                <c:pt idx="1">
                  <c:v>0.21225427409752184</c:v>
                </c:pt>
                <c:pt idx="2">
                  <c:v>0.20417583464703704</c:v>
                </c:pt>
                <c:pt idx="3">
                  <c:v>0.2001481078487591</c:v>
                </c:pt>
                <c:pt idx="4">
                  <c:v>0.19683885106533397</c:v>
                </c:pt>
                <c:pt idx="5">
                  <c:v>0.19763158199612277</c:v>
                </c:pt>
                <c:pt idx="6">
                  <c:v>0.18589789589831954</c:v>
                </c:pt>
                <c:pt idx="7">
                  <c:v>0.17965146031680845</c:v>
                </c:pt>
                <c:pt idx="8">
                  <c:v>0.1907207743664692</c:v>
                </c:pt>
                <c:pt idx="9">
                  <c:v>0.18766636511718204</c:v>
                </c:pt>
                <c:pt idx="10">
                  <c:v>0.19318557985260362</c:v>
                </c:pt>
                <c:pt idx="11">
                  <c:v>0.18525692065921295</c:v>
                </c:pt>
                <c:pt idx="12">
                  <c:v>0.18367581132801641</c:v>
                </c:pt>
                <c:pt idx="13">
                  <c:v>0.18411800459109984</c:v>
                </c:pt>
                <c:pt idx="14">
                  <c:v>0.1819471542484282</c:v>
                </c:pt>
                <c:pt idx="15">
                  <c:v>0.1765107069700917</c:v>
                </c:pt>
                <c:pt idx="16">
                  <c:v>0.176439311750266</c:v>
                </c:pt>
                <c:pt idx="17">
                  <c:v>0.16712329709940824</c:v>
                </c:pt>
                <c:pt idx="18">
                  <c:v>0.16369516180948168</c:v>
                </c:pt>
                <c:pt idx="19">
                  <c:v>0.1794764011830318</c:v>
                </c:pt>
                <c:pt idx="20">
                  <c:v>0.16619684380242972</c:v>
                </c:pt>
                <c:pt idx="21">
                  <c:v>0.14293424398890564</c:v>
                </c:pt>
                <c:pt idx="22">
                  <c:v>0.16833284350967</c:v>
                </c:pt>
                <c:pt idx="23">
                  <c:v>0.1546801051826672</c:v>
                </c:pt>
                <c:pt idx="24">
                  <c:v>0.1497211903221742</c:v>
                </c:pt>
                <c:pt idx="25">
                  <c:v>0.15146463550108896</c:v>
                </c:pt>
                <c:pt idx="26">
                  <c:v>0.1504875559316994</c:v>
                </c:pt>
                <c:pt idx="27">
                  <c:v>0.15288029104985748</c:v>
                </c:pt>
                <c:pt idx="28">
                  <c:v>0.1623988845145003</c:v>
                </c:pt>
                <c:pt idx="29">
                  <c:v>0.15624101516313024</c:v>
                </c:pt>
                <c:pt idx="30">
                  <c:v>0.1514449239905117</c:v>
                </c:pt>
                <c:pt idx="31">
                  <c:v>0.15209445804099203</c:v>
                </c:pt>
                <c:pt idx="32">
                  <c:v>0.15036628171135177</c:v>
                </c:pt>
                <c:pt idx="33">
                  <c:v>0.15797818394483307</c:v>
                </c:pt>
                <c:pt idx="34">
                  <c:v>0.1731279331997188</c:v>
                </c:pt>
                <c:pt idx="35">
                  <c:v>0.16911326579490585</c:v>
                </c:pt>
                <c:pt idx="36">
                  <c:v>0.1516745167918956</c:v>
                </c:pt>
                <c:pt idx="37">
                  <c:v>0.16137967283727733</c:v>
                </c:pt>
                <c:pt idx="38">
                  <c:v>0.15294986699428276</c:v>
                </c:pt>
                <c:pt idx="39">
                  <c:v>0.1610442349822849</c:v>
                </c:pt>
                <c:pt idx="40">
                  <c:v>0.1616135544541468</c:v>
                </c:pt>
                <c:pt idx="41">
                  <c:v>0.1711761460322712</c:v>
                </c:pt>
                <c:pt idx="42">
                  <c:v>0.16732900137883397</c:v>
                </c:pt>
                <c:pt idx="43">
                  <c:v>0.1745474229285245</c:v>
                </c:pt>
                <c:pt idx="44">
                  <c:v>0.17462262264256845</c:v>
                </c:pt>
                <c:pt idx="45">
                  <c:v>0.1775927776975906</c:v>
                </c:pt>
                <c:pt idx="46">
                  <c:v>0.1680536737704798</c:v>
                </c:pt>
                <c:pt idx="47">
                  <c:v>0.1655921054111922</c:v>
                </c:pt>
                <c:pt idx="48">
                  <c:v>0.170714927767385</c:v>
                </c:pt>
                <c:pt idx="49">
                  <c:v>0.18634080233713132</c:v>
                </c:pt>
                <c:pt idx="50">
                  <c:v>0.19991370734908911</c:v>
                </c:pt>
                <c:pt idx="51">
                  <c:v>0.17419450154595836</c:v>
                </c:pt>
                <c:pt idx="52">
                  <c:v>0.2261079756645478</c:v>
                </c:pt>
                <c:pt idx="53">
                  <c:v>0.32814034575726236</c:v>
                </c:pt>
                <c:pt idx="54">
                  <c:v>0.18767828417011428</c:v>
                </c:pt>
              </c:numCache>
            </c:numRef>
          </c:xVal>
          <c:yVal>
            <c:numRef>
              <c:f>Sheet1!$B$187:$B$241</c:f>
              <c:numCache>
                <c:formatCode>General</c:formatCode>
                <c:ptCount val="55"/>
                <c:pt idx="0">
                  <c:v>0.19452199828220743</c:v>
                </c:pt>
                <c:pt idx="1">
                  <c:v>0.19727704273699864</c:v>
                </c:pt>
                <c:pt idx="2">
                  <c:v>0.19457124062099862</c:v>
                </c:pt>
                <c:pt idx="3">
                  <c:v>0.19322218901762284</c:v>
                </c:pt>
                <c:pt idx="4">
                  <c:v>0.19211378261538858</c:v>
                </c:pt>
                <c:pt idx="5">
                  <c:v>0.19237930085602084</c:v>
                </c:pt>
                <c:pt idx="6">
                  <c:v>0.1884492060813412</c:v>
                </c:pt>
                <c:pt idx="7">
                  <c:v>0.1863570175197377</c:v>
                </c:pt>
                <c:pt idx="8">
                  <c:v>0.1900645867305763</c:v>
                </c:pt>
                <c:pt idx="9">
                  <c:v>0.18904153926447748</c:v>
                </c:pt>
                <c:pt idx="10">
                  <c:v>0.190890151611119</c:v>
                </c:pt>
                <c:pt idx="11">
                  <c:v>0.18823451707254085</c:v>
                </c:pt>
                <c:pt idx="12">
                  <c:v>0.18770493843297797</c:v>
                </c:pt>
                <c:pt idx="13">
                  <c:v>0.18785304717034806</c:v>
                </c:pt>
                <c:pt idx="14">
                  <c:v>0.18712593997511273</c:v>
                </c:pt>
                <c:pt idx="15">
                  <c:v>0.18530504985896998</c:v>
                </c:pt>
                <c:pt idx="16">
                  <c:v>0.18528113665914214</c:v>
                </c:pt>
                <c:pt idx="17">
                  <c:v>0.18216081963386993</c:v>
                </c:pt>
                <c:pt idx="18">
                  <c:v>0.18101259592330401</c:v>
                </c:pt>
                <c:pt idx="19">
                  <c:v>0.18629838300529947</c:v>
                </c:pt>
                <c:pt idx="20">
                  <c:v>0.1818505122648905</c:v>
                </c:pt>
                <c:pt idx="21">
                  <c:v>0.1740589094206904</c:v>
                </c:pt>
                <c:pt idx="22">
                  <c:v>0.18256594654685188</c:v>
                </c:pt>
                <c:pt idx="23">
                  <c:v>0.17799308213648832</c:v>
                </c:pt>
                <c:pt idx="24">
                  <c:v>0.17633213729623445</c:v>
                </c:pt>
                <c:pt idx="25">
                  <c:v>0.17691608889767332</c:v>
                </c:pt>
                <c:pt idx="26">
                  <c:v>0.17658882470481044</c:v>
                </c:pt>
                <c:pt idx="27">
                  <c:v>0.17739025025060087</c:v>
                </c:pt>
                <c:pt idx="28">
                  <c:v>0.18057841926465829</c:v>
                </c:pt>
                <c:pt idx="29">
                  <c:v>0.17851589518149652</c:v>
                </c:pt>
                <c:pt idx="30">
                  <c:v>0.1769094867008807</c:v>
                </c:pt>
                <c:pt idx="31">
                  <c:v>0.17712704240814026</c:v>
                </c:pt>
                <c:pt idx="32">
                  <c:v>0.17654820497323429</c:v>
                </c:pt>
                <c:pt idx="33">
                  <c:v>0.1790977445589897</c:v>
                </c:pt>
                <c:pt idx="34">
                  <c:v>0.18417201958970492</c:v>
                </c:pt>
                <c:pt idx="35">
                  <c:v>0.18282734211510585</c:v>
                </c:pt>
                <c:pt idx="36">
                  <c:v>0.1769863867867959</c:v>
                </c:pt>
                <c:pt idx="37">
                  <c:v>0.18023704329349638</c:v>
                </c:pt>
                <c:pt idx="38">
                  <c:v>0.1774135541001627</c:v>
                </c:pt>
                <c:pt idx="39">
                  <c:v>0.18012469133946019</c:v>
                </c:pt>
                <c:pt idx="40">
                  <c:v>0.18031537988037033</c:v>
                </c:pt>
                <c:pt idx="41">
                  <c:v>0.18351828567487752</c:v>
                </c:pt>
                <c:pt idx="42">
                  <c:v>0.1822297184698335</c:v>
                </c:pt>
                <c:pt idx="43">
                  <c:v>0.1846474651674535</c:v>
                </c:pt>
                <c:pt idx="44">
                  <c:v>0.1846726526490989</c:v>
                </c:pt>
                <c:pt idx="45">
                  <c:v>0.18566747991517996</c:v>
                </c:pt>
                <c:pt idx="46">
                  <c:v>0.18247244110243357</c:v>
                </c:pt>
                <c:pt idx="47">
                  <c:v>0.18164796046900636</c:v>
                </c:pt>
                <c:pt idx="48">
                  <c:v>0.18336380468078006</c:v>
                </c:pt>
                <c:pt idx="49">
                  <c:v>0.18859755369063783</c:v>
                </c:pt>
                <c:pt idx="50">
                  <c:v>0.19314367863552667</c:v>
                </c:pt>
                <c:pt idx="51">
                  <c:v>0.18452925725990127</c:v>
                </c:pt>
                <c:pt idx="52">
                  <c:v>0.20191721801395046</c:v>
                </c:pt>
                <c:pt idx="53">
                  <c:v>0.23609206138432418</c:v>
                </c:pt>
                <c:pt idx="54">
                  <c:v>0.189045531446240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72528562742023"/>
          <c:min val="0.1210273009923761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2.0793</c:v>
                </c:pt>
                <c:pt idx="1">
                  <c:v>898.0923</c:v>
                </c:pt>
                <c:pt idx="2">
                  <c:v>933.1302</c:v>
                </c:pt>
                <c:pt idx="3">
                  <c:v>950.5945</c:v>
                </c:pt>
                <c:pt idx="4">
                  <c:v>945.88</c:v>
                </c:pt>
                <c:pt idx="5">
                  <c:v>940.4877</c:v>
                </c:pt>
                <c:pt idx="6">
                  <c:v>912.8367</c:v>
                </c:pt>
                <c:pt idx="7">
                  <c:v>928.7985</c:v>
                </c:pt>
                <c:pt idx="8">
                  <c:v>926.0689</c:v>
                </c:pt>
                <c:pt idx="9">
                  <c:v>895.5168</c:v>
                </c:pt>
                <c:pt idx="10">
                  <c:v>877.4496</c:v>
                </c:pt>
                <c:pt idx="11">
                  <c:v>892.3339</c:v>
                </c:pt>
                <c:pt idx="12">
                  <c:v>883.8966</c:v>
                </c:pt>
                <c:pt idx="13">
                  <c:v>867.6505</c:v>
                </c:pt>
                <c:pt idx="14">
                  <c:v>916.5349</c:v>
                </c:pt>
                <c:pt idx="15">
                  <c:v>927.2595</c:v>
                </c:pt>
                <c:pt idx="16">
                  <c:v>935.8397</c:v>
                </c:pt>
                <c:pt idx="17">
                  <c:v>952.7421</c:v>
                </c:pt>
                <c:pt idx="18">
                  <c:v>983.7015</c:v>
                </c:pt>
                <c:pt idx="19">
                  <c:v>1011.8266</c:v>
                </c:pt>
                <c:pt idx="20">
                  <c:v>1022.6555</c:v>
                </c:pt>
                <c:pt idx="21">
                  <c:v>1032.3699</c:v>
                </c:pt>
                <c:pt idx="22">
                  <c:v>1019.3834</c:v>
                </c:pt>
                <c:pt idx="23">
                  <c:v>1006.6252</c:v>
                </c:pt>
                <c:pt idx="24">
                  <c:v>999.2128</c:v>
                </c:pt>
                <c:pt idx="25">
                  <c:v>992.7928</c:v>
                </c:pt>
                <c:pt idx="26">
                  <c:v>996.5822</c:v>
                </c:pt>
                <c:pt idx="27">
                  <c:v>1017.7953</c:v>
                </c:pt>
                <c:pt idx="28">
                  <c:v>1017.9128</c:v>
                </c:pt>
                <c:pt idx="29">
                  <c:v>949.6234</c:v>
                </c:pt>
                <c:pt idx="30">
                  <c:v>975.2913</c:v>
                </c:pt>
                <c:pt idx="31">
                  <c:v>984.7113</c:v>
                </c:pt>
                <c:pt idx="32">
                  <c:v>965.6392</c:v>
                </c:pt>
                <c:pt idx="33">
                  <c:v>913.9941</c:v>
                </c:pt>
                <c:pt idx="34">
                  <c:v>975.6922</c:v>
                </c:pt>
                <c:pt idx="35">
                  <c:v>1029.8247</c:v>
                </c:pt>
                <c:pt idx="36">
                  <c:v>1079.3761</c:v>
                </c:pt>
                <c:pt idx="37">
                  <c:v>1095.4522</c:v>
                </c:pt>
                <c:pt idx="38">
                  <c:v>1123.0701</c:v>
                </c:pt>
                <c:pt idx="39">
                  <c:v>1140.4306</c:v>
                </c:pt>
                <c:pt idx="40">
                  <c:v>1168.4861</c:v>
                </c:pt>
                <c:pt idx="41">
                  <c:v>1173.1724</c:v>
                </c:pt>
                <c:pt idx="42">
                  <c:v>1196.5161</c:v>
                </c:pt>
                <c:pt idx="43">
                  <c:v>1194.1835</c:v>
                </c:pt>
                <c:pt idx="44">
                  <c:v>1077.0994</c:v>
                </c:pt>
                <c:pt idx="45">
                  <c:v>1030.341</c:v>
                </c:pt>
                <c:pt idx="46">
                  <c:v>1016.2726</c:v>
                </c:pt>
                <c:pt idx="47">
                  <c:v>996.3513</c:v>
                </c:pt>
                <c:pt idx="48">
                  <c:v>991.7153</c:v>
                </c:pt>
                <c:pt idx="49">
                  <c:v>960.2496</c:v>
                </c:pt>
                <c:pt idx="50">
                  <c:v>969.312</c:v>
                </c:pt>
                <c:pt idx="51">
                  <c:v>991.035</c:v>
                </c:pt>
                <c:pt idx="52">
                  <c:v>1003.8741</c:v>
                </c:pt>
                <c:pt idx="53">
                  <c:v>1076.7501</c:v>
                </c:pt>
                <c:pt idx="54">
                  <c:v>1090.5007</c:v>
                </c:pt>
                <c:pt idx="55">
                  <c:v>1091.1888</c:v>
                </c:pt>
                <c:pt idx="56">
                  <c:v>1108.0917</c:v>
                </c:pt>
                <c:pt idx="57">
                  <c:v>1087.2018</c:v>
                </c:pt>
                <c:pt idx="58">
                  <c:v>1071.9741</c:v>
                </c:pt>
                <c:pt idx="59">
                  <c:v>1078.1859</c:v>
                </c:pt>
                <c:pt idx="60">
                  <c:v>1098.0564</c:v>
                </c:pt>
                <c:pt idx="61">
                  <c:v>1082.2921</c:v>
                </c:pt>
                <c:pt idx="62">
                  <c:v>1035.29</c:v>
                </c:pt>
                <c:pt idx="63">
                  <c:v>1060.3345</c:v>
                </c:pt>
                <c:pt idx="64">
                  <c:v>1050.5276</c:v>
                </c:pt>
                <c:pt idx="65">
                  <c:v>1036.2601</c:v>
                </c:pt>
                <c:pt idx="66">
                  <c:v>1033.8859</c:v>
                </c:pt>
                <c:pt idx="67">
                  <c:v>1031.3079</c:v>
                </c:pt>
                <c:pt idx="68">
                  <c:v>1021.1138</c:v>
                </c:pt>
                <c:pt idx="69">
                  <c:v>1031.6969</c:v>
                </c:pt>
                <c:pt idx="70">
                  <c:v>1030.9094</c:v>
                </c:pt>
                <c:pt idx="71">
                  <c:v>1058.6699</c:v>
                </c:pt>
                <c:pt idx="72">
                  <c:v>1071.7634</c:v>
                </c:pt>
                <c:pt idx="73">
                  <c:v>1087.9704</c:v>
                </c:pt>
                <c:pt idx="74">
                  <c:v>1071.8278</c:v>
                </c:pt>
                <c:pt idx="75">
                  <c:v>1067.6917</c:v>
                </c:pt>
                <c:pt idx="76">
                  <c:v>1064.3747</c:v>
                </c:pt>
                <c:pt idx="77">
                  <c:v>1049.3514</c:v>
                </c:pt>
                <c:pt idx="78">
                  <c:v>1110.6592</c:v>
                </c:pt>
                <c:pt idx="79">
                  <c:v>811.7668</c:v>
                </c:pt>
                <c:pt idx="80">
                  <c:v>820.9709</c:v>
                </c:pt>
                <c:pt idx="81">
                  <c:v>1003.2159</c:v>
                </c:pt>
                <c:pt idx="82">
                  <c:v>1006.7705</c:v>
                </c:pt>
                <c:pt idx="83">
                  <c:v>1011.4731</c:v>
                </c:pt>
                <c:pt idx="84">
                  <c:v>1022.8312</c:v>
                </c:pt>
                <c:pt idx="85">
                  <c:v>1047.4643</c:v>
                </c:pt>
                <c:pt idx="86">
                  <c:v>1143.1328</c:v>
                </c:pt>
                <c:pt idx="87">
                  <c:v>1172.5488</c:v>
                </c:pt>
                <c:pt idx="88">
                  <c:v>1166.9299</c:v>
                </c:pt>
                <c:pt idx="89">
                  <c:v>1117.5828</c:v>
                </c:pt>
                <c:pt idx="90">
                  <c:v>1153.5831</c:v>
                </c:pt>
                <c:pt idx="91">
                  <c:v>1176.1614</c:v>
                </c:pt>
                <c:pt idx="92">
                  <c:v>1169.5088</c:v>
                </c:pt>
                <c:pt idx="93">
                  <c:v>1198.366</c:v>
                </c:pt>
                <c:pt idx="94">
                  <c:v>1188.7466</c:v>
                </c:pt>
                <c:pt idx="95">
                  <c:v>1187.3917</c:v>
                </c:pt>
                <c:pt idx="96">
                  <c:v>1134.213</c:v>
                </c:pt>
                <c:pt idx="97">
                  <c:v>1150.1076</c:v>
                </c:pt>
                <c:pt idx="98">
                  <c:v>1132.3011</c:v>
                </c:pt>
                <c:pt idx="99">
                  <c:v>1088.5472</c:v>
                </c:pt>
                <c:pt idx="100">
                  <c:v>1080.571</c:v>
                </c:pt>
                <c:pt idx="101">
                  <c:v>1123.449</c:v>
                </c:pt>
                <c:pt idx="102">
                  <c:v>1158.3854</c:v>
                </c:pt>
                <c:pt idx="103">
                  <c:v>1029.2894</c:v>
                </c:pt>
                <c:pt idx="104">
                  <c:v>1098.1199</c:v>
                </c:pt>
              </c:numCache>
            </c:numRef>
          </c:xVal>
          <c:yVal>
            <c:numRef>
              <c:f>Sheet1!$B$2:$B$106</c:f>
              <c:numCache>
                <c:formatCode>General</c:formatCode>
                <c:ptCount val="105"/>
                <c:pt idx="0">
                  <c:v>0.22760837033584377</c:v>
                </c:pt>
                <c:pt idx="1">
                  <c:v>0.2325046891924022</c:v>
                </c:pt>
                <c:pt idx="2">
                  <c:v>0.21503914608665006</c:v>
                </c:pt>
                <c:pt idx="3">
                  <c:v>0.21465353931534992</c:v>
                </c:pt>
                <c:pt idx="4">
                  <c:v>0.20793685458459427</c:v>
                </c:pt>
                <c:pt idx="5">
                  <c:v>0.19700700284590542</c:v>
                </c:pt>
                <c:pt idx="6">
                  <c:v>0.21223065621939274</c:v>
                </c:pt>
                <c:pt idx="7">
                  <c:v>0.2064143863499593</c:v>
                </c:pt>
                <c:pt idx="8">
                  <c:v>0.21617841896069484</c:v>
                </c:pt>
                <c:pt idx="9">
                  <c:v>0.2153190066059035</c:v>
                </c:pt>
                <c:pt idx="10">
                  <c:v>0.22748662238834064</c:v>
                </c:pt>
                <c:pt idx="11">
                  <c:v>0.2233351380617217</c:v>
                </c:pt>
                <c:pt idx="12">
                  <c:v>0.23061462494727178</c:v>
                </c:pt>
                <c:pt idx="13">
                  <c:v>0.23896447860407147</c:v>
                </c:pt>
                <c:pt idx="14">
                  <c:v>0.2310797703620206</c:v>
                </c:pt>
                <c:pt idx="15">
                  <c:v>0.22597676874340022</c:v>
                </c:pt>
                <c:pt idx="16">
                  <c:v>0.2103988603988604</c:v>
                </c:pt>
                <c:pt idx="17">
                  <c:v>0.2051552431165788</c:v>
                </c:pt>
                <c:pt idx="18">
                  <c:v>0.1855248858943708</c:v>
                </c:pt>
                <c:pt idx="19">
                  <c:v>0.17197875166002657</c:v>
                </c:pt>
                <c:pt idx="20">
                  <c:v>0.18437369082530372</c:v>
                </c:pt>
                <c:pt idx="21">
                  <c:v>0.1804080344936376</c:v>
                </c:pt>
                <c:pt idx="22">
                  <c:v>0.17943632567849688</c:v>
                </c:pt>
                <c:pt idx="23">
                  <c:v>0.179156462585034</c:v>
                </c:pt>
                <c:pt idx="24">
                  <c:v>0.18617021276595744</c:v>
                </c:pt>
                <c:pt idx="25">
                  <c:v>0.18273523102788566</c:v>
                </c:pt>
                <c:pt idx="26">
                  <c:v>0.18625585103646933</c:v>
                </c:pt>
                <c:pt idx="27">
                  <c:v>0.18023079259034316</c:v>
                </c:pt>
                <c:pt idx="28">
                  <c:v>0.17629820051413883</c:v>
                </c:pt>
                <c:pt idx="29">
                  <c:v>0.18736804276537442</c:v>
                </c:pt>
                <c:pt idx="30">
                  <c:v>0.17649434571890146</c:v>
                </c:pt>
                <c:pt idx="31">
                  <c:v>0.16942195231668916</c:v>
                </c:pt>
                <c:pt idx="32">
                  <c:v>0.1783959816746702</c:v>
                </c:pt>
                <c:pt idx="33">
                  <c:v>0.19256418079588544</c:v>
                </c:pt>
                <c:pt idx="34">
                  <c:v>0.1910329127599645</c:v>
                </c:pt>
                <c:pt idx="35">
                  <c:v>0.19439806453811292</c:v>
                </c:pt>
                <c:pt idx="36">
                  <c:v>0.1634170522141441</c:v>
                </c:pt>
                <c:pt idx="37">
                  <c:v>0.14788562611504893</c:v>
                </c:pt>
                <c:pt idx="38">
                  <c:v>0.1440997390547985</c:v>
                </c:pt>
                <c:pt idx="39">
                  <c:v>0.14272555140473875</c:v>
                </c:pt>
                <c:pt idx="40">
                  <c:v>0.14606043022340118</c:v>
                </c:pt>
                <c:pt idx="41">
                  <c:v>0.1362635345935034</c:v>
                </c:pt>
                <c:pt idx="42">
                  <c:v>0.14438356164383562</c:v>
                </c:pt>
                <c:pt idx="43">
                  <c:v>0.15096437880104258</c:v>
                </c:pt>
                <c:pt idx="44">
                  <c:v>0.16644399128050066</c:v>
                </c:pt>
                <c:pt idx="45">
                  <c:v>0.18401017919626764</c:v>
                </c:pt>
                <c:pt idx="46">
                  <c:v>0.191180093619118</c:v>
                </c:pt>
                <c:pt idx="47">
                  <c:v>0.19401514039465684</c:v>
                </c:pt>
                <c:pt idx="48">
                  <c:v>0.20776936606255259</c:v>
                </c:pt>
                <c:pt idx="49">
                  <c:v>0.24055718692688513</c:v>
                </c:pt>
                <c:pt idx="50">
                  <c:v>0.20537331455021132</c:v>
                </c:pt>
                <c:pt idx="51">
                  <c:v>0.18708201775103797</c:v>
                </c:pt>
                <c:pt idx="52">
                  <c:v>0.20016477944904512</c:v>
                </c:pt>
                <c:pt idx="53">
                  <c:v>0.19037838691839798</c:v>
                </c:pt>
                <c:pt idx="54">
                  <c:v>0.18361277154104097</c:v>
                </c:pt>
                <c:pt idx="55">
                  <c:v>0.180431336184978</c:v>
                </c:pt>
                <c:pt idx="56">
                  <c:v>0.1921937356391341</c:v>
                </c:pt>
                <c:pt idx="57">
                  <c:v>0.1869673664518811</c:v>
                </c:pt>
                <c:pt idx="58">
                  <c:v>0.20230027679679297</c:v>
                </c:pt>
                <c:pt idx="59">
                  <c:v>0.20680500793289244</c:v>
                </c:pt>
                <c:pt idx="60">
                  <c:v>0.21535680468279245</c:v>
                </c:pt>
                <c:pt idx="61">
                  <c:v>0.21254020047418953</c:v>
                </c:pt>
                <c:pt idx="62">
                  <c:v>0.21977724058468698</c:v>
                </c:pt>
                <c:pt idx="63">
                  <c:v>0.23405083253118153</c:v>
                </c:pt>
                <c:pt idx="64">
                  <c:v>0.22663326653306612</c:v>
                </c:pt>
                <c:pt idx="65">
                  <c:v>0.21906008068912877</c:v>
                </c:pt>
                <c:pt idx="66">
                  <c:v>0.21964273616223662</c:v>
                </c:pt>
                <c:pt idx="67">
                  <c:v>0.2167344705350558</c:v>
                </c:pt>
                <c:pt idx="68">
                  <c:v>0.19713190401817407</c:v>
                </c:pt>
                <c:pt idx="69">
                  <c:v>0.18215920174056568</c:v>
                </c:pt>
                <c:pt idx="70">
                  <c:v>0.17000035910511008</c:v>
                </c:pt>
                <c:pt idx="71">
                  <c:v>0.17906644531099186</c:v>
                </c:pt>
                <c:pt idx="72">
                  <c:v>0.18262489044697633</c:v>
                </c:pt>
                <c:pt idx="73">
                  <c:v>0.18369408930167488</c:v>
                </c:pt>
                <c:pt idx="74">
                  <c:v>0.17798172038966412</c:v>
                </c:pt>
                <c:pt idx="75">
                  <c:v>0.17587279337684525</c:v>
                </c:pt>
                <c:pt idx="76">
                  <c:v>0.17318383555244102</c:v>
                </c:pt>
                <c:pt idx="77">
                  <c:v>0.16938785339305495</c:v>
                </c:pt>
                <c:pt idx="78">
                  <c:v>0.16006449879064769</c:v>
                </c:pt>
                <c:pt idx="79">
                  <c:v>0.20537501191270371</c:v>
                </c:pt>
                <c:pt idx="80">
                  <c:v>0.1914609739826551</c:v>
                </c:pt>
                <c:pt idx="81">
                  <c:v>0.16176890156918688</c:v>
                </c:pt>
                <c:pt idx="82">
                  <c:v>0.1631413612565445</c:v>
                </c:pt>
                <c:pt idx="83">
                  <c:v>0.1470696419813634</c:v>
                </c:pt>
                <c:pt idx="84">
                  <c:v>0.14775611265861963</c:v>
                </c:pt>
                <c:pt idx="85">
                  <c:v>0.14966431963320778</c:v>
                </c:pt>
                <c:pt idx="86">
                  <c:v>0.1466328451026921</c:v>
                </c:pt>
                <c:pt idx="87">
                  <c:v>0.1682031189982331</c:v>
                </c:pt>
                <c:pt idx="88">
                  <c:v>0.15206499002772778</c:v>
                </c:pt>
                <c:pt idx="89">
                  <c:v>0.14356117420184272</c:v>
                </c:pt>
                <c:pt idx="90">
                  <c:v>0.13762376237623763</c:v>
                </c:pt>
                <c:pt idx="91">
                  <c:v>0.14078597981943708</c:v>
                </c:pt>
                <c:pt idx="92">
                  <c:v>0.14561866643958102</c:v>
                </c:pt>
                <c:pt idx="93">
                  <c:v>0.1377233240452385</c:v>
                </c:pt>
                <c:pt idx="94">
                  <c:v>0.13904559326736335</c:v>
                </c:pt>
                <c:pt idx="95">
                  <c:v>0.14864864864864866</c:v>
                </c:pt>
                <c:pt idx="96">
                  <c:v>0.145429833503228</c:v>
                </c:pt>
                <c:pt idx="97">
                  <c:v>0.15325840794124496</c:v>
                </c:pt>
                <c:pt idx="98">
                  <c:v>0.1700043933513949</c:v>
                </c:pt>
                <c:pt idx="99">
                  <c:v>0.17778411250475104</c:v>
                </c:pt>
                <c:pt idx="100">
                  <c:v>0.20069152307958277</c:v>
                </c:pt>
                <c:pt idx="101">
                  <c:v>0.18210413864050012</c:v>
                </c:pt>
                <c:pt idx="102">
                  <c:v>0.1514782002787179</c:v>
                </c:pt>
                <c:pt idx="103">
                  <c:v>0.17233793587643342</c:v>
                </c:pt>
                <c:pt idx="104">
                  <c:v>0.176800976800976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8.7574</c:v>
                </c:pt>
                <c:pt idx="1">
                  <c:v>1177.625</c:v>
                </c:pt>
                <c:pt idx="2">
                  <c:v>1172.3587</c:v>
                </c:pt>
                <c:pt idx="3">
                  <c:v>1185.1032</c:v>
                </c:pt>
                <c:pt idx="4">
                  <c:v>1176.6827</c:v>
                </c:pt>
                <c:pt idx="5">
                  <c:v>1196.7495</c:v>
                </c:pt>
                <c:pt idx="6">
                  <c:v>1124.6922</c:v>
                </c:pt>
                <c:pt idx="7">
                  <c:v>1148.3225</c:v>
                </c:pt>
                <c:pt idx="8">
                  <c:v>1215.8</c:v>
                </c:pt>
                <c:pt idx="9">
                  <c:v>1157.5194</c:v>
                </c:pt>
                <c:pt idx="10">
                  <c:v>1170.3049</c:v>
                </c:pt>
                <c:pt idx="11">
                  <c:v>1107.5445</c:v>
                </c:pt>
                <c:pt idx="12">
                  <c:v>1119.2117</c:v>
                </c:pt>
                <c:pt idx="13">
                  <c:v>1135.6077</c:v>
                </c:pt>
                <c:pt idx="14">
                  <c:v>1167.3303</c:v>
                </c:pt>
                <c:pt idx="15">
                  <c:v>1172.847</c:v>
                </c:pt>
                <c:pt idx="16">
                  <c:v>1208.7712</c:v>
                </c:pt>
                <c:pt idx="17">
                  <c:v>1169.8965</c:v>
                </c:pt>
                <c:pt idx="18">
                  <c:v>1144.1</c:v>
                </c:pt>
                <c:pt idx="19">
                  <c:v>1206.3775</c:v>
                </c:pt>
                <c:pt idx="20">
                  <c:v>1172.4313</c:v>
                </c:pt>
                <c:pt idx="21">
                  <c:v>1176.9614</c:v>
                </c:pt>
                <c:pt idx="22">
                  <c:v>1163.8238</c:v>
                </c:pt>
                <c:pt idx="23">
                  <c:v>1128.0798</c:v>
                </c:pt>
                <c:pt idx="24">
                  <c:v>1133.5848</c:v>
                </c:pt>
                <c:pt idx="25">
                  <c:v>1094.192</c:v>
                </c:pt>
                <c:pt idx="26">
                  <c:v>1155.4398</c:v>
                </c:pt>
                <c:pt idx="27">
                  <c:v>1199.0302</c:v>
                </c:pt>
                <c:pt idx="28">
                  <c:v>1215.877</c:v>
                </c:pt>
                <c:pt idx="29">
                  <c:v>1220.687</c:v>
                </c:pt>
                <c:pt idx="30">
                  <c:v>1218.6003</c:v>
                </c:pt>
                <c:pt idx="31">
                  <c:v>1137.6262</c:v>
                </c:pt>
                <c:pt idx="32">
                  <c:v>1162.0061</c:v>
                </c:pt>
                <c:pt idx="33">
                  <c:v>1208.5462</c:v>
                </c:pt>
                <c:pt idx="34">
                  <c:v>1257.7587</c:v>
                </c:pt>
                <c:pt idx="35">
                  <c:v>1244.7087</c:v>
                </c:pt>
                <c:pt idx="36">
                  <c:v>1226.9634</c:v>
                </c:pt>
                <c:pt idx="37">
                  <c:v>1277.8377</c:v>
                </c:pt>
                <c:pt idx="38">
                  <c:v>1252.4698</c:v>
                </c:pt>
                <c:pt idx="39">
                  <c:v>1245.7003</c:v>
                </c:pt>
                <c:pt idx="40">
                  <c:v>1264.5686</c:v>
                </c:pt>
                <c:pt idx="41">
                  <c:v>1309.5568</c:v>
                </c:pt>
                <c:pt idx="42">
                  <c:v>1291.1142</c:v>
                </c:pt>
                <c:pt idx="43">
                  <c:v>1290.0166</c:v>
                </c:pt>
                <c:pt idx="44">
                  <c:v>1219.665</c:v>
                </c:pt>
                <c:pt idx="45">
                  <c:v>1179.9205</c:v>
                </c:pt>
                <c:pt idx="46">
                  <c:v>1154.8166</c:v>
                </c:pt>
                <c:pt idx="47">
                  <c:v>1148.3691</c:v>
                </c:pt>
                <c:pt idx="48">
                  <c:v>1118.9358</c:v>
                </c:pt>
                <c:pt idx="49">
                  <c:v>1130.8266</c:v>
                </c:pt>
                <c:pt idx="50">
                  <c:v>1043.1016</c:v>
                </c:pt>
                <c:pt idx="51">
                  <c:v>1018.2941</c:v>
                </c:pt>
              </c:numCache>
            </c:numRef>
          </c:xVal>
          <c:yVal>
            <c:numRef>
              <c:f>Sheet1!$B$109:$B$160</c:f>
              <c:numCache>
                <c:formatCode>General</c:formatCode>
                <c:ptCount val="52"/>
                <c:pt idx="0">
                  <c:v>0.1756422924901186</c:v>
                </c:pt>
                <c:pt idx="1">
                  <c:v>0.17338159689434476</c:v>
                </c:pt>
                <c:pt idx="2">
                  <c:v>0.18069202200178647</c:v>
                </c:pt>
                <c:pt idx="3">
                  <c:v>0.1907962771458118</c:v>
                </c:pt>
                <c:pt idx="4">
                  <c:v>0.1789468549547572</c:v>
                </c:pt>
                <c:pt idx="5">
                  <c:v>0.17145237161897295</c:v>
                </c:pt>
                <c:pt idx="6">
                  <c:v>0.17660455486542442</c:v>
                </c:pt>
                <c:pt idx="7">
                  <c:v>0.1757968597589755</c:v>
                </c:pt>
                <c:pt idx="8">
                  <c:v>0.1740185341196293</c:v>
                </c:pt>
                <c:pt idx="9">
                  <c:v>0.18755431409062695</c:v>
                </c:pt>
                <c:pt idx="10">
                  <c:v>0.1889908801948727</c:v>
                </c:pt>
                <c:pt idx="11">
                  <c:v>0.19810960687905524</c:v>
                </c:pt>
                <c:pt idx="12">
                  <c:v>0.19908599707115082</c:v>
                </c:pt>
                <c:pt idx="13">
                  <c:v>0.1935764346313959</c:v>
                </c:pt>
                <c:pt idx="14">
                  <c:v>0.19270878721859114</c:v>
                </c:pt>
                <c:pt idx="15">
                  <c:v>0.18215705765407555</c:v>
                </c:pt>
                <c:pt idx="16">
                  <c:v>0.16933333333333334</c:v>
                </c:pt>
                <c:pt idx="17">
                  <c:v>0.15995926526609588</c:v>
                </c:pt>
                <c:pt idx="18">
                  <c:v>0.15850539009683903</c:v>
                </c:pt>
                <c:pt idx="19">
                  <c:v>0.16571620261657163</c:v>
                </c:pt>
                <c:pt idx="20">
                  <c:v>0.16150946908008004</c:v>
                </c:pt>
                <c:pt idx="21">
                  <c:v>0.15918625366358255</c:v>
                </c:pt>
                <c:pt idx="22">
                  <c:v>0.1599478369337189</c:v>
                </c:pt>
                <c:pt idx="23">
                  <c:v>0.16913998597803226</c:v>
                </c:pt>
                <c:pt idx="24">
                  <c:v>0.16763256242214158</c:v>
                </c:pt>
                <c:pt idx="25">
                  <c:v>0.1772223800056802</c:v>
                </c:pt>
                <c:pt idx="26">
                  <c:v>0.15735930735930737</c:v>
                </c:pt>
                <c:pt idx="27">
                  <c:v>0.14624699710741776</c:v>
                </c:pt>
                <c:pt idx="28">
                  <c:v>0.1447596217871887</c:v>
                </c:pt>
                <c:pt idx="29">
                  <c:v>0.14361219368960546</c:v>
                </c:pt>
                <c:pt idx="30">
                  <c:v>0.1505394283172061</c:v>
                </c:pt>
                <c:pt idx="31">
                  <c:v>0.1473225102980373</c:v>
                </c:pt>
                <c:pt idx="32">
                  <c:v>0.14749231258615206</c:v>
                </c:pt>
                <c:pt idx="33">
                  <c:v>0.17016471838469713</c:v>
                </c:pt>
                <c:pt idx="34">
                  <c:v>0.18908991039857187</c:v>
                </c:pt>
                <c:pt idx="35">
                  <c:v>0.1857666790291342</c:v>
                </c:pt>
                <c:pt idx="36">
                  <c:v>0.15440077947385514</c:v>
                </c:pt>
                <c:pt idx="37">
                  <c:v>0.14483357452966714</c:v>
                </c:pt>
                <c:pt idx="38">
                  <c:v>0.1463097713097713</c:v>
                </c:pt>
                <c:pt idx="39">
                  <c:v>0.16379760041731872</c:v>
                </c:pt>
                <c:pt idx="40">
                  <c:v>0.14710644400240552</c:v>
                </c:pt>
                <c:pt idx="41">
                  <c:v>0.1488095238095238</c:v>
                </c:pt>
                <c:pt idx="42">
                  <c:v>0.14745059770675775</c:v>
                </c:pt>
                <c:pt idx="43">
                  <c:v>0.14470626095040584</c:v>
                </c:pt>
                <c:pt idx="44">
                  <c:v>0.14358073488508272</c:v>
                </c:pt>
                <c:pt idx="45">
                  <c:v>0.16175077648302752</c:v>
                </c:pt>
                <c:pt idx="46">
                  <c:v>0.1573514269873538</c:v>
                </c:pt>
                <c:pt idx="47">
                  <c:v>0.15974718056760442</c:v>
                </c:pt>
                <c:pt idx="48">
                  <c:v>0.15152081775118426</c:v>
                </c:pt>
                <c:pt idx="49">
                  <c:v>0.16450183947743824</c:v>
                </c:pt>
                <c:pt idx="50">
                  <c:v>0.2032294470006077</c:v>
                </c:pt>
                <c:pt idx="51">
                  <c:v>0.1885073279752439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71.7260715720208</c:v>
                </c:pt>
              </c:numCache>
            </c:numRef>
          </c:xVal>
          <c:yVal>
            <c:numRef>
              <c:f>Sheet1!$B$163:$B$164</c:f>
              <c:numCache>
                <c:formatCode>General</c:formatCode>
                <c:ptCount val="2"/>
                <c:pt idx="0">
                  <c:v>0.21439700709897694</c:v>
                </c:pt>
                <c:pt idx="1">
                  <c:v>0.2143970070989769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71.7260715720208</c:v>
                </c:pt>
                <c:pt idx="1">
                  <c:v>871.7260715720208</c:v>
                </c:pt>
              </c:numCache>
            </c:numRef>
          </c:xVal>
          <c:yVal>
            <c:numRef>
              <c:f>Sheet1!$B$167:$B$168</c:f>
              <c:numCache>
                <c:formatCode>General</c:formatCode>
                <c:ptCount val="2"/>
                <c:pt idx="0">
                  <c:v>0.2143970070989769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9.1154785654794</c:v>
                </c:pt>
              </c:numCache>
            </c:numRef>
          </c:xVal>
          <c:yVal>
            <c:numRef>
              <c:f>Sheet1!$B$171:$B$172</c:f>
              <c:numCache>
                <c:formatCode>General</c:formatCode>
                <c:ptCount val="2"/>
                <c:pt idx="0">
                  <c:v>0.17818407629202085</c:v>
                </c:pt>
                <c:pt idx="1">
                  <c:v>0.1781840762920208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9.1154785654794</c:v>
                </c:pt>
                <c:pt idx="1">
                  <c:v>1109.1154785654794</c:v>
                </c:pt>
              </c:numCache>
            </c:numRef>
          </c:xVal>
          <c:yVal>
            <c:numRef>
              <c:f>Sheet1!$B$175:$B$176</c:f>
              <c:numCache>
                <c:formatCode>General</c:formatCode>
                <c:ptCount val="2"/>
                <c:pt idx="0">
                  <c:v>0.1781840762920208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27.28018667298</c:v>
                </c:pt>
              </c:numCache>
            </c:numRef>
          </c:xVal>
          <c:yVal>
            <c:numRef>
              <c:f>Sheet1!$B$179:$B$180</c:f>
              <c:numCache>
                <c:formatCode>General</c:formatCode>
                <c:ptCount val="2"/>
                <c:pt idx="0">
                  <c:v>0.16015845984722726</c:v>
                </c:pt>
                <c:pt idx="1">
                  <c:v>0.1601584598472272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27.28018667298</c:v>
                </c:pt>
                <c:pt idx="1">
                  <c:v>1227.28018667298</c:v>
                </c:pt>
              </c:numCache>
            </c:numRef>
          </c:xVal>
          <c:yVal>
            <c:numRef>
              <c:f>Sheet1!$B$183:$B$184</c:f>
              <c:numCache>
                <c:formatCode>General</c:formatCode>
                <c:ptCount val="2"/>
                <c:pt idx="0">
                  <c:v>0.1601584598472272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8.7574</c:v>
                </c:pt>
                <c:pt idx="1">
                  <c:v>1177.625</c:v>
                </c:pt>
                <c:pt idx="2">
                  <c:v>1172.3587</c:v>
                </c:pt>
                <c:pt idx="3">
                  <c:v>1185.1032</c:v>
                </c:pt>
                <c:pt idx="4">
                  <c:v>1176.6827</c:v>
                </c:pt>
                <c:pt idx="5">
                  <c:v>1196.7495</c:v>
                </c:pt>
                <c:pt idx="6">
                  <c:v>1124.6922</c:v>
                </c:pt>
                <c:pt idx="7">
                  <c:v>1148.3225</c:v>
                </c:pt>
                <c:pt idx="8">
                  <c:v>1215.8</c:v>
                </c:pt>
                <c:pt idx="9">
                  <c:v>1157.5194</c:v>
                </c:pt>
                <c:pt idx="10">
                  <c:v>1170.3049</c:v>
                </c:pt>
                <c:pt idx="11">
                  <c:v>1107.5445</c:v>
                </c:pt>
                <c:pt idx="12">
                  <c:v>1119.2117</c:v>
                </c:pt>
                <c:pt idx="13">
                  <c:v>1135.6077</c:v>
                </c:pt>
                <c:pt idx="14">
                  <c:v>1167.3303</c:v>
                </c:pt>
                <c:pt idx="15">
                  <c:v>1172.847</c:v>
                </c:pt>
                <c:pt idx="16">
                  <c:v>1208.7712</c:v>
                </c:pt>
                <c:pt idx="17">
                  <c:v>1169.8965</c:v>
                </c:pt>
                <c:pt idx="18">
                  <c:v>1144.1</c:v>
                </c:pt>
                <c:pt idx="19">
                  <c:v>1206.3775</c:v>
                </c:pt>
                <c:pt idx="20">
                  <c:v>1172.4313</c:v>
                </c:pt>
                <c:pt idx="21">
                  <c:v>1176.9614</c:v>
                </c:pt>
                <c:pt idx="22">
                  <c:v>1163.8238</c:v>
                </c:pt>
                <c:pt idx="23">
                  <c:v>1128.0798</c:v>
                </c:pt>
                <c:pt idx="24">
                  <c:v>1133.5848</c:v>
                </c:pt>
                <c:pt idx="25">
                  <c:v>1094.192</c:v>
                </c:pt>
                <c:pt idx="26">
                  <c:v>1155.4398</c:v>
                </c:pt>
                <c:pt idx="27">
                  <c:v>1199.0302</c:v>
                </c:pt>
                <c:pt idx="28">
                  <c:v>1215.877</c:v>
                </c:pt>
                <c:pt idx="29">
                  <c:v>1220.687</c:v>
                </c:pt>
                <c:pt idx="30">
                  <c:v>1218.6003</c:v>
                </c:pt>
                <c:pt idx="31">
                  <c:v>1137.6262</c:v>
                </c:pt>
                <c:pt idx="32">
                  <c:v>1162.0061</c:v>
                </c:pt>
                <c:pt idx="33">
                  <c:v>1208.5462</c:v>
                </c:pt>
                <c:pt idx="34">
                  <c:v>1257.7587</c:v>
                </c:pt>
                <c:pt idx="35">
                  <c:v>1244.7087</c:v>
                </c:pt>
                <c:pt idx="36">
                  <c:v>1226.9634</c:v>
                </c:pt>
                <c:pt idx="37">
                  <c:v>1277.8377</c:v>
                </c:pt>
                <c:pt idx="38">
                  <c:v>1252.4698</c:v>
                </c:pt>
                <c:pt idx="39">
                  <c:v>1245.7003</c:v>
                </c:pt>
                <c:pt idx="40">
                  <c:v>1264.5686</c:v>
                </c:pt>
                <c:pt idx="41">
                  <c:v>1309.5568</c:v>
                </c:pt>
                <c:pt idx="42">
                  <c:v>1291.1142</c:v>
                </c:pt>
                <c:pt idx="43">
                  <c:v>1290.0166</c:v>
                </c:pt>
                <c:pt idx="44">
                  <c:v>1219.665</c:v>
                </c:pt>
                <c:pt idx="45">
                  <c:v>1179.9205</c:v>
                </c:pt>
                <c:pt idx="46">
                  <c:v>1154.8166</c:v>
                </c:pt>
                <c:pt idx="47">
                  <c:v>1148.3691</c:v>
                </c:pt>
                <c:pt idx="48">
                  <c:v>1118.9358</c:v>
                </c:pt>
                <c:pt idx="49">
                  <c:v>1130.8266</c:v>
                </c:pt>
                <c:pt idx="50">
                  <c:v>1043.1016</c:v>
                </c:pt>
                <c:pt idx="51">
                  <c:v>1018.2941</c:v>
                </c:pt>
                <c:pt idx="52">
                  <c:v>1109.1154785654794</c:v>
                </c:pt>
                <c:pt idx="53">
                  <c:v>871.7260715720208</c:v>
                </c:pt>
                <c:pt idx="54">
                  <c:v>1227.28018667298</c:v>
                </c:pt>
              </c:numCache>
            </c:numRef>
          </c:xVal>
          <c:yVal>
            <c:numRef>
              <c:f>Sheet1!$B$187:$B$241</c:f>
              <c:numCache>
                <c:formatCode>General</c:formatCode>
                <c:ptCount val="55"/>
                <c:pt idx="0">
                  <c:v>0.16756044268464063</c:v>
                </c:pt>
                <c:pt idx="1">
                  <c:v>0.16773318637765186</c:v>
                </c:pt>
                <c:pt idx="2">
                  <c:v>0.1685365421799347</c:v>
                </c:pt>
                <c:pt idx="3">
                  <c:v>0.16659241290089752</c:v>
                </c:pt>
                <c:pt idx="4">
                  <c:v>0.1678769309749006</c:v>
                </c:pt>
                <c:pt idx="5">
                  <c:v>0.16481581022347194</c:v>
                </c:pt>
                <c:pt idx="6">
                  <c:v>0.17580790145485523</c:v>
                </c:pt>
                <c:pt idx="7">
                  <c:v>0.17220318113609562</c:v>
                </c:pt>
                <c:pt idx="8">
                  <c:v>0.1619097225126714</c:v>
                </c:pt>
                <c:pt idx="9">
                  <c:v>0.17080022593452815</c:v>
                </c:pt>
                <c:pt idx="10">
                  <c:v>0.16884984224767263</c:v>
                </c:pt>
                <c:pt idx="11">
                  <c:v>0.17842372362427306</c:v>
                </c:pt>
                <c:pt idx="12">
                  <c:v>0.17664393272432544</c:v>
                </c:pt>
                <c:pt idx="13">
                  <c:v>0.1741427797831278</c:v>
                </c:pt>
                <c:pt idx="14">
                  <c:v>0.16930360716221804</c:v>
                </c:pt>
                <c:pt idx="15">
                  <c:v>0.16846205370828388</c:v>
                </c:pt>
                <c:pt idx="16">
                  <c:v>0.1629819415778757</c:v>
                </c:pt>
                <c:pt idx="17">
                  <c:v>0.16891214225140436</c:v>
                </c:pt>
                <c:pt idx="18">
                  <c:v>0.17284730886811606</c:v>
                </c:pt>
                <c:pt idx="19">
                  <c:v>0.16334709221189284</c:v>
                </c:pt>
                <c:pt idx="20">
                  <c:v>0.16852546730170032</c:v>
                </c:pt>
                <c:pt idx="21">
                  <c:v>0.1678344162563893</c:v>
                </c:pt>
                <c:pt idx="22">
                  <c:v>0.16983851157721622</c:v>
                </c:pt>
                <c:pt idx="23">
                  <c:v>0.1752911348225302</c:v>
                </c:pt>
                <c:pt idx="24">
                  <c:v>0.1744513661630222</c:v>
                </c:pt>
                <c:pt idx="25">
                  <c:v>0.18046060119485988</c:v>
                </c:pt>
                <c:pt idx="26">
                  <c:v>0.17111746170279565</c:v>
                </c:pt>
                <c:pt idx="27">
                  <c:v>0.1644678973475882</c:v>
                </c:pt>
                <c:pt idx="28">
                  <c:v>0.16189797642969553</c:v>
                </c:pt>
                <c:pt idx="29">
                  <c:v>0.16116422761003463</c:v>
                </c:pt>
                <c:pt idx="30">
                  <c:v>0.16148254645868043</c:v>
                </c:pt>
                <c:pt idx="31">
                  <c:v>0.1738348646079749</c:v>
                </c:pt>
                <c:pt idx="32">
                  <c:v>0.17011579540871258</c:v>
                </c:pt>
                <c:pt idx="33">
                  <c:v>0.16301626454761037</c:v>
                </c:pt>
                <c:pt idx="34">
                  <c:v>0.15550906833397968</c:v>
                </c:pt>
                <c:pt idx="35">
                  <c:v>0.15749980057858992</c:v>
                </c:pt>
                <c:pt idx="36">
                  <c:v>0.16020678455562298</c:v>
                </c:pt>
                <c:pt idx="37">
                  <c:v>0.1524460865148587</c:v>
                </c:pt>
                <c:pt idx="38">
                  <c:v>0.15631587168788916</c:v>
                </c:pt>
                <c:pt idx="39">
                  <c:v>0.15734853543730595</c:v>
                </c:pt>
                <c:pt idx="40">
                  <c:v>0.15447024170466386</c:v>
                </c:pt>
                <c:pt idx="41">
                  <c:v>0.14760744780681148</c:v>
                </c:pt>
                <c:pt idx="42">
                  <c:v>0.1504208024807156</c:v>
                </c:pt>
                <c:pt idx="43">
                  <c:v>0.1505882375544079</c:v>
                </c:pt>
                <c:pt idx="44">
                  <c:v>0.16132013016589603</c:v>
                </c:pt>
                <c:pt idx="45">
                  <c:v>0.16738301581309228</c:v>
                </c:pt>
                <c:pt idx="46">
                  <c:v>0.17121252870163406</c:v>
                </c:pt>
                <c:pt idx="47">
                  <c:v>0.17219607246769725</c:v>
                </c:pt>
                <c:pt idx="48">
                  <c:v>0.17668602031254674</c:v>
                </c:pt>
                <c:pt idx="49">
                  <c:v>0.17487212000800947</c:v>
                </c:pt>
                <c:pt idx="50">
                  <c:v>0.18825426454122265</c:v>
                </c:pt>
                <c:pt idx="51">
                  <c:v>0.192038562637634</c:v>
                </c:pt>
                <c:pt idx="52">
                  <c:v>0.17818407629202085</c:v>
                </c:pt>
                <c:pt idx="53">
                  <c:v>0.21439700709897694</c:v>
                </c:pt>
                <c:pt idx="54">
                  <c:v>0.1601584598472272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1.0"/>
          <c:min val="64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866862431226215"/>
          <c:min val="0.1090108276748027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9612.0</c:v>
                </c:pt>
                <c:pt idx="2">
                  <c:v>13322.0</c:v>
                </c:pt>
                <c:pt idx="3">
                  <c:v>14209.0</c:v>
                </c:pt>
                <c:pt idx="4">
                  <c:v>6198.0</c:v>
                </c:pt>
                <c:pt idx="5">
                  <c:v>6366.25</c:v>
                </c:pt>
                <c:pt idx="6">
                  <c:v>6216.3333</c:v>
                </c:pt>
                <c:pt idx="7">
                  <c:v>6130.0</c:v>
                </c:pt>
                <c:pt idx="8">
                  <c:v>7577.25</c:v>
                </c:pt>
                <c:pt idx="9">
                  <c:v>5610.8889</c:v>
                </c:pt>
                <c:pt idx="10">
                  <c:v>5785.1111</c:v>
                </c:pt>
                <c:pt idx="11">
                  <c:v>6207.75</c:v>
                </c:pt>
                <c:pt idx="12">
                  <c:v>4815.3077</c:v>
                </c:pt>
                <c:pt idx="13">
                  <c:v>4687.0667</c:v>
                </c:pt>
                <c:pt idx="14">
                  <c:v>4610.6471</c:v>
                </c:pt>
                <c:pt idx="15">
                  <c:v>5356.5294</c:v>
                </c:pt>
                <c:pt idx="16">
                  <c:v>5044.3333</c:v>
                </c:pt>
              </c:numCache>
            </c:numRef>
          </c:xVal>
          <c:yVal>
            <c:numRef>
              <c:f>Sheet1!$B$4:$B$20</c:f>
              <c:numCache>
                <c:formatCode>General</c:formatCode>
                <c:ptCount val="17"/>
                <c:pt idx="0">
                  <c:v>0.0</c:v>
                </c:pt>
                <c:pt idx="1">
                  <c:v>0.025</c:v>
                </c:pt>
                <c:pt idx="2">
                  <c:v>0.0196078431372549</c:v>
                </c:pt>
                <c:pt idx="3">
                  <c:v>0.02564102564102564</c:v>
                </c:pt>
                <c:pt idx="4">
                  <c:v>0.08333333333333333</c:v>
                </c:pt>
                <c:pt idx="5">
                  <c:v>0.06153846153846154</c:v>
                </c:pt>
                <c:pt idx="6">
                  <c:v>0.08823529411764706</c:v>
                </c:pt>
                <c:pt idx="7">
                  <c:v>0.0821917808219178</c:v>
                </c:pt>
                <c:pt idx="8">
                  <c:v>0.038461538461538464</c:v>
                </c:pt>
                <c:pt idx="9">
                  <c:v>0.07627118644067797</c:v>
                </c:pt>
                <c:pt idx="10">
                  <c:v>0.06428571428571428</c:v>
                </c:pt>
                <c:pt idx="11">
                  <c:v>0.06060606060606061</c:v>
                </c:pt>
                <c:pt idx="12">
                  <c:v>0.08227848101265822</c:v>
                </c:pt>
                <c:pt idx="13">
                  <c:v>0.06912442396313365</c:v>
                </c:pt>
                <c:pt idx="14">
                  <c:v>0.09239130434782608</c:v>
                </c:pt>
                <c:pt idx="15">
                  <c:v>0.09826589595375723</c:v>
                </c:pt>
                <c:pt idx="16">
                  <c:v>0.06338028169014084</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602.1914313410126</c:v>
                </c:pt>
              </c:numCache>
            </c:numRef>
          </c:xVal>
          <c:yVal>
            <c:numRef>
              <c:f>Sheet1!$B$23:$B$24</c:f>
              <c:numCache>
                <c:formatCode>General</c:formatCode>
                <c:ptCount val="2"/>
                <c:pt idx="0">
                  <c:v>0.08079047648871446</c:v>
                </c:pt>
                <c:pt idx="1">
                  <c:v>0.08079047648871446</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602.1914313410126</c:v>
                </c:pt>
                <c:pt idx="1">
                  <c:v>-602.1914313410126</c:v>
                </c:pt>
              </c:numCache>
            </c:numRef>
          </c:xVal>
          <c:yVal>
            <c:numRef>
              <c:f>Sheet1!$B$27:$B$28</c:f>
              <c:numCache>
                <c:formatCode>General</c:formatCode>
                <c:ptCount val="2"/>
                <c:pt idx="0">
                  <c:v>0.0807904764887144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602.1914313410126</c:v>
                </c:pt>
              </c:numCache>
            </c:numRef>
          </c:xVal>
          <c:yVal>
            <c:numRef>
              <c:f>Sheet1!$B$31:$B$32</c:f>
              <c:numCache>
                <c:formatCode>General</c:formatCode>
                <c:ptCount val="2"/>
                <c:pt idx="0">
                  <c:v>0.08079047648871446</c:v>
                </c:pt>
                <c:pt idx="1">
                  <c:v>0.08079047648871446</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602.1914313410126</c:v>
                </c:pt>
                <c:pt idx="1">
                  <c:v>-602.1914313410126</c:v>
                </c:pt>
              </c:numCache>
            </c:numRef>
          </c:xVal>
          <c:yVal>
            <c:numRef>
              <c:f>Sheet1!$B$35:$B$36</c:f>
              <c:numCache>
                <c:formatCode>General</c:formatCode>
                <c:ptCount val="2"/>
                <c:pt idx="0">
                  <c:v>0.0807904764887144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1858.8126532876402</c:v>
                </c:pt>
              </c:numCache>
            </c:numRef>
          </c:xVal>
          <c:yVal>
            <c:numRef>
              <c:f>Sheet1!$B$39:$B$40</c:f>
              <c:numCache>
                <c:formatCode>General</c:formatCode>
                <c:ptCount val="2"/>
                <c:pt idx="0">
                  <c:v>0.07387413512098978</c:v>
                </c:pt>
                <c:pt idx="1">
                  <c:v>0.07387413512098978</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1858.8126532876402</c:v>
                </c:pt>
                <c:pt idx="1">
                  <c:v>1858.8126532876402</c:v>
                </c:pt>
              </c:numCache>
            </c:numRef>
          </c:xVal>
          <c:yVal>
            <c:numRef>
              <c:f>Sheet1!$B$43:$B$44</c:f>
              <c:numCache>
                <c:formatCode>General</c:formatCode>
                <c:ptCount val="2"/>
                <c:pt idx="0">
                  <c:v>0.073874135120989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9612.0</c:v>
                </c:pt>
                <c:pt idx="2">
                  <c:v>13322.0</c:v>
                </c:pt>
                <c:pt idx="3">
                  <c:v>14209.0</c:v>
                </c:pt>
                <c:pt idx="4">
                  <c:v>6198.0</c:v>
                </c:pt>
                <c:pt idx="5">
                  <c:v>6366.25</c:v>
                </c:pt>
                <c:pt idx="6">
                  <c:v>6216.3333</c:v>
                </c:pt>
                <c:pt idx="7">
                  <c:v>6130.0</c:v>
                </c:pt>
                <c:pt idx="8">
                  <c:v>7577.25</c:v>
                </c:pt>
                <c:pt idx="9">
                  <c:v>5610.8889</c:v>
                </c:pt>
                <c:pt idx="10">
                  <c:v>5785.1111</c:v>
                </c:pt>
                <c:pt idx="11">
                  <c:v>6207.75</c:v>
                </c:pt>
                <c:pt idx="12">
                  <c:v>4815.3077</c:v>
                </c:pt>
                <c:pt idx="13">
                  <c:v>4687.0667</c:v>
                </c:pt>
                <c:pt idx="14">
                  <c:v>4610.6471</c:v>
                </c:pt>
                <c:pt idx="15">
                  <c:v>5356.5294</c:v>
                </c:pt>
                <c:pt idx="16">
                  <c:v>5044.3333</c:v>
                </c:pt>
                <c:pt idx="17">
                  <c:v>-602.1914313410126</c:v>
                </c:pt>
                <c:pt idx="18">
                  <c:v>-602.1914313410126</c:v>
                </c:pt>
                <c:pt idx="19">
                  <c:v>1858.8126532876402</c:v>
                </c:pt>
              </c:numCache>
            </c:numRef>
          </c:xVal>
          <c:yVal>
            <c:numRef>
              <c:f>Sheet1!$B$47:$B$66</c:f>
              <c:numCache>
                <c:formatCode>General</c:formatCode>
                <c:ptCount val="20"/>
                <c:pt idx="0">
                  <c:v>0.07909809347566406</c:v>
                </c:pt>
                <c:pt idx="1">
                  <c:v>0.05208478064054907</c:v>
                </c:pt>
                <c:pt idx="2">
                  <c:v>0.04165829389291314</c:v>
                </c:pt>
                <c:pt idx="3">
                  <c:v>0.03916549234435436</c:v>
                </c:pt>
                <c:pt idx="4">
                  <c:v>0.061679396747403276</c:v>
                </c:pt>
                <c:pt idx="5">
                  <c:v>0.0612065513578373</c:v>
                </c:pt>
                <c:pt idx="6">
                  <c:v>0.06162787332166461</c:v>
                </c:pt>
                <c:pt idx="7">
                  <c:v>0.06187050216488016</c:v>
                </c:pt>
                <c:pt idx="8">
                  <c:v>0.057803188702476895</c:v>
                </c:pt>
                <c:pt idx="9">
                  <c:v>0.0633293983925623</c:v>
                </c:pt>
                <c:pt idx="10">
                  <c:v>0.06283976888866903</c:v>
                </c:pt>
                <c:pt idx="11">
                  <c:v>0.061651995602985635</c:v>
                </c:pt>
                <c:pt idx="12">
                  <c:v>0.06556527894201467</c:v>
                </c:pt>
                <c:pt idx="13">
                  <c:v>0.06592568408675956</c:v>
                </c:pt>
                <c:pt idx="14">
                  <c:v>0.06614045172736863</c:v>
                </c:pt>
                <c:pt idx="15">
                  <c:v>0.06404424366369041</c:v>
                </c:pt>
                <c:pt idx="16">
                  <c:v>0.06492163139935445</c:v>
                </c:pt>
                <c:pt idx="17">
                  <c:v>0.08079047648871446</c:v>
                </c:pt>
                <c:pt idx="18">
                  <c:v>0.08079047648871446</c:v>
                </c:pt>
                <c:pt idx="19">
                  <c:v>0.0738741351209897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5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1791907514450867"/>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891441406167154</c:v>
                </c:pt>
                <c:pt idx="1">
                  <c:v>0.7893202869130836</c:v>
                </c:pt>
                <c:pt idx="2">
                  <c:v>0.764359566438423</c:v>
                </c:pt>
                <c:pt idx="3">
                  <c:v>0.7721781070849636</c:v>
                </c:pt>
                <c:pt idx="4">
                  <c:v>0.7383135309502079</c:v>
                </c:pt>
                <c:pt idx="5">
                  <c:v>0.7475043955850693</c:v>
                </c:pt>
                <c:pt idx="6">
                  <c:v>0.7311833432087779</c:v>
                </c:pt>
                <c:pt idx="7">
                  <c:v>0.7200118101691976</c:v>
                </c:pt>
                <c:pt idx="8">
                  <c:v>0.7351591121615605</c:v>
                </c:pt>
                <c:pt idx="9">
                  <c:v>0.7654275202730051</c:v>
                </c:pt>
                <c:pt idx="10">
                  <c:v>0.7825531603269981</c:v>
                </c:pt>
                <c:pt idx="11">
                  <c:v>0.8238956210340507</c:v>
                </c:pt>
                <c:pt idx="12">
                  <c:v>0.8465374331194606</c:v>
                </c:pt>
                <c:pt idx="13">
                  <c:v>0.8583743220086977</c:v>
                </c:pt>
                <c:pt idx="14">
                  <c:v>0.8766052220224945</c:v>
                </c:pt>
                <c:pt idx="15">
                  <c:v>0.9048888339537157</c:v>
                </c:pt>
                <c:pt idx="16">
                  <c:v>0.9057542541056348</c:v>
                </c:pt>
                <c:pt idx="17">
                  <c:v>0.903044104832123</c:v>
                </c:pt>
                <c:pt idx="18">
                  <c:v>0.9570576039521077</c:v>
                </c:pt>
                <c:pt idx="19">
                  <c:v>0.9516343997852584</c:v>
                </c:pt>
                <c:pt idx="20">
                  <c:v>0.9645230439531638</c:v>
                </c:pt>
                <c:pt idx="21">
                  <c:v>0.8783410984871308</c:v>
                </c:pt>
                <c:pt idx="22">
                  <c:v>0.8193672231285394</c:v>
                </c:pt>
                <c:pt idx="23">
                  <c:v>0.8088104515336799</c:v>
                </c:pt>
                <c:pt idx="24">
                  <c:v>0.8067520648950041</c:v>
                </c:pt>
                <c:pt idx="25">
                  <c:v>0.7850832951852817</c:v>
                </c:pt>
                <c:pt idx="26">
                  <c:v>0.7817674622799031</c:v>
                </c:pt>
                <c:pt idx="27">
                  <c:v>0.8030871078648</c:v>
                </c:pt>
                <c:pt idx="28">
                  <c:v>0.7907018724856838</c:v>
                </c:pt>
                <c:pt idx="29">
                  <c:v>0.7730634128974142</c:v>
                </c:pt>
                <c:pt idx="30">
                  <c:v>0.7747030015625075</c:v>
                </c:pt>
                <c:pt idx="31">
                  <c:v>0.7738615914168663</c:v>
                </c:pt>
                <c:pt idx="32">
                  <c:v>0.7527786466019675</c:v>
                </c:pt>
                <c:pt idx="33">
                  <c:v>0.731571342573702</c:v>
                </c:pt>
                <c:pt idx="34">
                  <c:v>0.7829438253160891</c:v>
                </c:pt>
                <c:pt idx="35">
                  <c:v>0.8229407375527671</c:v>
                </c:pt>
                <c:pt idx="36">
                  <c:v>0.8975497598915011</c:v>
                </c:pt>
                <c:pt idx="37">
                  <c:v>0.9113413109483836</c:v>
                </c:pt>
                <c:pt idx="38">
                  <c:v>0.9376924016721597</c:v>
                </c:pt>
                <c:pt idx="39">
                  <c:v>0.9761608132744164</c:v>
                </c:pt>
                <c:pt idx="40">
                  <c:v>0.9335949177256649</c:v>
                </c:pt>
                <c:pt idx="41">
                  <c:v>0.9490001803342349</c:v>
                </c:pt>
                <c:pt idx="42">
                  <c:v>0.9473772890288334</c:v>
                </c:pt>
                <c:pt idx="43">
                  <c:v>0.9437166796421295</c:v>
                </c:pt>
                <c:pt idx="44">
                  <c:v>0.9617056891645305</c:v>
                </c:pt>
                <c:pt idx="45">
                  <c:v>0.9549085238851722</c:v>
                </c:pt>
                <c:pt idx="46">
                  <c:v>0.9506173216125803</c:v>
                </c:pt>
                <c:pt idx="47">
                  <c:v>0.974642635842931</c:v>
                </c:pt>
                <c:pt idx="48">
                  <c:v>0.9461382053990156</c:v>
                </c:pt>
                <c:pt idx="49">
                  <c:v>0.8933131567038058</c:v>
                </c:pt>
                <c:pt idx="50">
                  <c:v>0.8996001140543123</c:v>
                </c:pt>
                <c:pt idx="51">
                  <c:v>0.8946364141753946</c:v>
                </c:pt>
                <c:pt idx="52">
                  <c:v>0.8716096955125014</c:v>
                </c:pt>
                <c:pt idx="53">
                  <c:v>0.8766425310993758</c:v>
                </c:pt>
                <c:pt idx="54">
                  <c:v>0.8512962581289735</c:v>
                </c:pt>
                <c:pt idx="55">
                  <c:v>0.8841443774423206</c:v>
                </c:pt>
                <c:pt idx="56">
                  <c:v>0.8594306818837713</c:v>
                </c:pt>
                <c:pt idx="57">
                  <c:v>0.8565882372303412</c:v>
                </c:pt>
                <c:pt idx="58">
                  <c:v>0.852410066726089</c:v>
                </c:pt>
                <c:pt idx="59">
                  <c:v>0.8354780993312196</c:v>
                </c:pt>
                <c:pt idx="60">
                  <c:v>0.8390485900114546</c:v>
                </c:pt>
                <c:pt idx="61">
                  <c:v>0.9158869150199475</c:v>
                </c:pt>
                <c:pt idx="62">
                  <c:v>0.908464240130864</c:v>
                </c:pt>
                <c:pt idx="63">
                  <c:v>0.9151335561086377</c:v>
                </c:pt>
                <c:pt idx="64">
                  <c:v>0.9522711920147737</c:v>
                </c:pt>
                <c:pt idx="65">
                  <c:v>0.934051225550164</c:v>
                </c:pt>
                <c:pt idx="66">
                  <c:v>0.9614757570690364</c:v>
                </c:pt>
                <c:pt idx="67">
                  <c:v>0.9965105904006532</c:v>
                </c:pt>
                <c:pt idx="68">
                  <c:v>1.0222009326593386</c:v>
                </c:pt>
                <c:pt idx="69">
                  <c:v>1.04898665406689</c:v>
                </c:pt>
                <c:pt idx="70">
                  <c:v>1.0200157350923564</c:v>
                </c:pt>
                <c:pt idx="71">
                  <c:v>0.9777262573601411</c:v>
                </c:pt>
                <c:pt idx="72">
                  <c:v>1.0728342814746967</c:v>
                </c:pt>
                <c:pt idx="73">
                  <c:v>0.9901930596958347</c:v>
                </c:pt>
                <c:pt idx="74">
                  <c:v>0.9809673428105687</c:v>
                </c:pt>
                <c:pt idx="75">
                  <c:v>0.9461501076905734</c:v>
                </c:pt>
                <c:pt idx="76">
                  <c:v>0.9242111741695369</c:v>
                </c:pt>
                <c:pt idx="77">
                  <c:v>0.9377154324103434</c:v>
                </c:pt>
                <c:pt idx="78">
                  <c:v>0.9835832523749165</c:v>
                </c:pt>
                <c:pt idx="79">
                  <c:v>0.9904426250807556</c:v>
                </c:pt>
                <c:pt idx="80">
                  <c:v>1.0337662179714453</c:v>
                </c:pt>
                <c:pt idx="81">
                  <c:v>1.004667715579502</c:v>
                </c:pt>
                <c:pt idx="82">
                  <c:v>1.0162099339461195</c:v>
                </c:pt>
                <c:pt idx="83">
                  <c:v>0.9824930472402881</c:v>
                </c:pt>
                <c:pt idx="84">
                  <c:v>1.0165498281659102</c:v>
                </c:pt>
                <c:pt idx="85">
                  <c:v>0.988393544005071</c:v>
                </c:pt>
                <c:pt idx="86">
                  <c:v>1.0143723888352116</c:v>
                </c:pt>
                <c:pt idx="87">
                  <c:v>0.9914178586455272</c:v>
                </c:pt>
                <c:pt idx="88">
                  <c:v>0.9787937305392198</c:v>
                </c:pt>
                <c:pt idx="89">
                  <c:v>0.9824018185923084</c:v>
                </c:pt>
                <c:pt idx="90">
                  <c:v>0.9941838423912424</c:v>
                </c:pt>
                <c:pt idx="91">
                  <c:v>1.0065774187271097</c:v>
                </c:pt>
                <c:pt idx="92">
                  <c:v>0.9803887304819591</c:v>
                </c:pt>
                <c:pt idx="93">
                  <c:v>0.9748394875979014</c:v>
                </c:pt>
                <c:pt idx="94">
                  <c:v>1.0025800258597763</c:v>
                </c:pt>
                <c:pt idx="95">
                  <c:v>0.9854910268103984</c:v>
                </c:pt>
                <c:pt idx="96">
                  <c:v>0.9892173843954846</c:v>
                </c:pt>
                <c:pt idx="97">
                  <c:v>1.0274946439590296</c:v>
                </c:pt>
                <c:pt idx="98">
                  <c:v>1.000535176272405</c:v>
                </c:pt>
                <c:pt idx="99">
                  <c:v>0.9851882789425196</c:v>
                </c:pt>
                <c:pt idx="100">
                  <c:v>0.926250932845815</c:v>
                </c:pt>
                <c:pt idx="101">
                  <c:v>0.9116766934390779</c:v>
                </c:pt>
                <c:pt idx="102">
                  <c:v>0.9077903139685201</c:v>
                </c:pt>
                <c:pt idx="103">
                  <c:v>0.9198393443505286</c:v>
                </c:pt>
                <c:pt idx="104">
                  <c:v>0.9066221666746427</c:v>
                </c:pt>
              </c:numCache>
            </c:numRef>
          </c:xVal>
          <c:yVal>
            <c:numRef>
              <c:f>Sheet1!$B$2:$B$106</c:f>
              <c:numCache>
                <c:formatCode>General</c:formatCode>
                <c:ptCount val="105"/>
                <c:pt idx="0">
                  <c:v>0.37030952792668165</c:v>
                </c:pt>
                <c:pt idx="1">
                  <c:v>0.4069049306469576</c:v>
                </c:pt>
                <c:pt idx="2">
                  <c:v>0.43152882724355657</c:v>
                </c:pt>
                <c:pt idx="3">
                  <c:v>0.4367342392515037</c:v>
                </c:pt>
                <c:pt idx="4">
                  <c:v>0.4431122767578369</c:v>
                </c:pt>
                <c:pt idx="5">
                  <c:v>0.4262295081967213</c:v>
                </c:pt>
                <c:pt idx="6">
                  <c:v>0.4427332877024869</c:v>
                </c:pt>
                <c:pt idx="7">
                  <c:v>0.4605046626439934</c:v>
                </c:pt>
                <c:pt idx="8">
                  <c:v>0.4346170122725349</c:v>
                </c:pt>
                <c:pt idx="9">
                  <c:v>0.42073737478054324</c:v>
                </c:pt>
                <c:pt idx="10">
                  <c:v>0.40130850528434825</c:v>
                </c:pt>
                <c:pt idx="11">
                  <c:v>0.3633126462508902</c:v>
                </c:pt>
                <c:pt idx="12">
                  <c:v>0.3418999541073887</c:v>
                </c:pt>
                <c:pt idx="13">
                  <c:v>0.3294482564150766</c:v>
                </c:pt>
                <c:pt idx="14">
                  <c:v>0.3018034942701484</c:v>
                </c:pt>
                <c:pt idx="15">
                  <c:v>0.293961742336944</c:v>
                </c:pt>
                <c:pt idx="16">
                  <c:v>0.28739316239316237</c:v>
                </c:pt>
                <c:pt idx="17">
                  <c:v>0.28959741404642964</c:v>
                </c:pt>
                <c:pt idx="18">
                  <c:v>0.2712009593969505</c:v>
                </c:pt>
                <c:pt idx="19">
                  <c:v>0.28177019894437677</c:v>
                </c:pt>
                <c:pt idx="20">
                  <c:v>0.2843917492285204</c:v>
                </c:pt>
                <c:pt idx="21">
                  <c:v>0.31679389312977096</c:v>
                </c:pt>
                <c:pt idx="22">
                  <c:v>0.3662754786905497</c:v>
                </c:pt>
                <c:pt idx="23">
                  <c:v>0.3844984802431611</c:v>
                </c:pt>
                <c:pt idx="24">
                  <c:v>0.4016938898971567</c:v>
                </c:pt>
                <c:pt idx="25">
                  <c:v>0.3997255888406129</c:v>
                </c:pt>
                <c:pt idx="26">
                  <c:v>0.4001926782273603</c:v>
                </c:pt>
                <c:pt idx="27">
                  <c:v>0.3921604711078395</c:v>
                </c:pt>
                <c:pt idx="28">
                  <c:v>0.38458574181117533</c:v>
                </c:pt>
                <c:pt idx="29">
                  <c:v>0.3851161154116819</c:v>
                </c:pt>
                <c:pt idx="30">
                  <c:v>0.3902439024390244</c:v>
                </c:pt>
                <c:pt idx="31">
                  <c:v>0.40343527440301635</c:v>
                </c:pt>
                <c:pt idx="32">
                  <c:v>0.42004722043356946</c:v>
                </c:pt>
                <c:pt idx="33">
                  <c:v>0.4289111601834551</c:v>
                </c:pt>
                <c:pt idx="34">
                  <c:v>0.40476190476190477</c:v>
                </c:pt>
                <c:pt idx="35">
                  <c:v>0.3940037771482531</c:v>
                </c:pt>
                <c:pt idx="36">
                  <c:v>0.3576719576719577</c:v>
                </c:pt>
                <c:pt idx="37">
                  <c:v>0.36244302643573384</c:v>
                </c:pt>
                <c:pt idx="38">
                  <c:v>0.3499349563278201</c:v>
                </c:pt>
                <c:pt idx="39">
                  <c:v>0.3418654256350591</c:v>
                </c:pt>
                <c:pt idx="40">
                  <c:v>0.3519824478921799</c:v>
                </c:pt>
                <c:pt idx="41">
                  <c:v>0.3443092340730136</c:v>
                </c:pt>
                <c:pt idx="42">
                  <c:v>0.34311816684139584</c:v>
                </c:pt>
                <c:pt idx="43">
                  <c:v>0.3302997858672377</c:v>
                </c:pt>
                <c:pt idx="44">
                  <c:v>0.3194601654331737</c:v>
                </c:pt>
                <c:pt idx="45">
                  <c:v>0.324290418692175</c:v>
                </c:pt>
                <c:pt idx="46">
                  <c:v>0.33104087783015224</c:v>
                </c:pt>
                <c:pt idx="47">
                  <c:v>0.3215102072988098</c:v>
                </c:pt>
                <c:pt idx="48">
                  <c:v>0.325332726652258</c:v>
                </c:pt>
                <c:pt idx="49">
                  <c:v>0.34281414016671813</c:v>
                </c:pt>
                <c:pt idx="50">
                  <c:v>0.3323317307692308</c:v>
                </c:pt>
                <c:pt idx="51">
                  <c:v>0.3365947242206235</c:v>
                </c:pt>
                <c:pt idx="52">
                  <c:v>0.3415553809897879</c:v>
                </c:pt>
                <c:pt idx="53">
                  <c:v>0.34542242543905227</c:v>
                </c:pt>
                <c:pt idx="54">
                  <c:v>0.36003283687111526</c:v>
                </c:pt>
                <c:pt idx="55">
                  <c:v>0.3527413876758855</c:v>
                </c:pt>
                <c:pt idx="56">
                  <c:v>0.3605015673981191</c:v>
                </c:pt>
                <c:pt idx="57">
                  <c:v>0.35610401057734686</c:v>
                </c:pt>
                <c:pt idx="58">
                  <c:v>0.3576145884672252</c:v>
                </c:pt>
                <c:pt idx="59">
                  <c:v>0.3588378936822992</c:v>
                </c:pt>
                <c:pt idx="60">
                  <c:v>0.36460539801844893</c:v>
                </c:pt>
                <c:pt idx="61">
                  <c:v>0.3615302248612869</c:v>
                </c:pt>
                <c:pt idx="62">
                  <c:v>0.3779600110568506</c:v>
                </c:pt>
                <c:pt idx="63">
                  <c:v>0.3906262961426794</c:v>
                </c:pt>
                <c:pt idx="64">
                  <c:v>0.360973341599504</c:v>
                </c:pt>
                <c:pt idx="65">
                  <c:v>0.3396652719665272</c:v>
                </c:pt>
                <c:pt idx="66">
                  <c:v>0.3369966669669399</c:v>
                </c:pt>
                <c:pt idx="67">
                  <c:v>0.3277767009110293</c:v>
                </c:pt>
                <c:pt idx="68">
                  <c:v>0.32401767586289265</c:v>
                </c:pt>
                <c:pt idx="69">
                  <c:v>0.3059185242121445</c:v>
                </c:pt>
                <c:pt idx="70">
                  <c:v>0.3052820053715309</c:v>
                </c:pt>
                <c:pt idx="71">
                  <c:v>0.3185344116190791</c:v>
                </c:pt>
                <c:pt idx="72">
                  <c:v>0.30336740829825615</c:v>
                </c:pt>
                <c:pt idx="73">
                  <c:v>0.31850387213709014</c:v>
                </c:pt>
                <c:pt idx="74">
                  <c:v>0.3149102263856362</c:v>
                </c:pt>
                <c:pt idx="75">
                  <c:v>0.3324295010845987</c:v>
                </c:pt>
                <c:pt idx="76">
                  <c:v>0.32415005861664714</c:v>
                </c:pt>
                <c:pt idx="77">
                  <c:v>0.32843925985518907</c:v>
                </c:pt>
                <c:pt idx="78">
                  <c:v>0.3151487826871055</c:v>
                </c:pt>
                <c:pt idx="79">
                  <c:v>0.31277813095994916</c:v>
                </c:pt>
                <c:pt idx="80">
                  <c:v>0.29580665151828134</c:v>
                </c:pt>
                <c:pt idx="81">
                  <c:v>0.3069154399178364</c:v>
                </c:pt>
                <c:pt idx="82">
                  <c:v>0.3131584846446985</c:v>
                </c:pt>
                <c:pt idx="83">
                  <c:v>0.3096740273396425</c:v>
                </c:pt>
                <c:pt idx="84">
                  <c:v>0.3096486628211851</c:v>
                </c:pt>
                <c:pt idx="85">
                  <c:v>0.32209651350727314</c:v>
                </c:pt>
                <c:pt idx="86">
                  <c:v>0.31315657828914456</c:v>
                </c:pt>
                <c:pt idx="87">
                  <c:v>0.3334307422559907</c:v>
                </c:pt>
                <c:pt idx="88">
                  <c:v>0.3305391503143456</c:v>
                </c:pt>
                <c:pt idx="89">
                  <c:v>0.3295505117935024</c:v>
                </c:pt>
                <c:pt idx="90">
                  <c:v>0.3269098417068135</c:v>
                </c:pt>
                <c:pt idx="91">
                  <c:v>0.3</c:v>
                </c:pt>
                <c:pt idx="92">
                  <c:v>0.3097581317764804</c:v>
                </c:pt>
                <c:pt idx="93">
                  <c:v>0.290199203187251</c:v>
                </c:pt>
                <c:pt idx="94">
                  <c:v>0.292310424436157</c:v>
                </c:pt>
                <c:pt idx="95">
                  <c:v>0.28857791225416035</c:v>
                </c:pt>
                <c:pt idx="96">
                  <c:v>0.29556252801434335</c:v>
                </c:pt>
                <c:pt idx="97">
                  <c:v>0.2938514357053683</c:v>
                </c:pt>
                <c:pt idx="98">
                  <c:v>0.30278750336654997</c:v>
                </c:pt>
                <c:pt idx="99">
                  <c:v>0.3080873671782763</c:v>
                </c:pt>
                <c:pt idx="100">
                  <c:v>0.31036056595162026</c:v>
                </c:pt>
                <c:pt idx="101">
                  <c:v>0.31192590905640327</c:v>
                </c:pt>
                <c:pt idx="102">
                  <c:v>0.3031456621919455</c:v>
                </c:pt>
                <c:pt idx="103">
                  <c:v>0.2880230628112169</c:v>
                </c:pt>
                <c:pt idx="104">
                  <c:v>0.2986716479867164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053730242313928</c:v>
                </c:pt>
                <c:pt idx="1">
                  <c:v>0.8674195619623892</c:v>
                </c:pt>
                <c:pt idx="2">
                  <c:v>0.8807481763322156</c:v>
                </c:pt>
                <c:pt idx="3">
                  <c:v>0.8669340801960521</c:v>
                </c:pt>
                <c:pt idx="4">
                  <c:v>0.8696439935477787</c:v>
                </c:pt>
                <c:pt idx="5">
                  <c:v>0.8832525816913576</c:v>
                </c:pt>
                <c:pt idx="6">
                  <c:v>0.8788814526495295</c:v>
                </c:pt>
                <c:pt idx="7">
                  <c:v>0.9250837151609808</c:v>
                </c:pt>
                <c:pt idx="8">
                  <c:v>0.9262424211827897</c:v>
                </c:pt>
                <c:pt idx="9">
                  <c:v>0.8824479939435875</c:v>
                </c:pt>
                <c:pt idx="10">
                  <c:v>0.9175631646714442</c:v>
                </c:pt>
                <c:pt idx="11">
                  <c:v>0.878776611945777</c:v>
                </c:pt>
                <c:pt idx="12">
                  <c:v>0.8981877178599298</c:v>
                </c:pt>
                <c:pt idx="13">
                  <c:v>0.8727925885114284</c:v>
                </c:pt>
                <c:pt idx="14">
                  <c:v>0.8745887144623008</c:v>
                </c:pt>
                <c:pt idx="15">
                  <c:v>0.876624229900719</c:v>
                </c:pt>
                <c:pt idx="16">
                  <c:v>0.9316297119393432</c:v>
                </c:pt>
                <c:pt idx="17">
                  <c:v>0.9255967390659705</c:v>
                </c:pt>
                <c:pt idx="18">
                  <c:v>0.9122440769534511</c:v>
                </c:pt>
                <c:pt idx="19">
                  <c:v>0.9143049149980759</c:v>
                </c:pt>
                <c:pt idx="20">
                  <c:v>0.8776829521910625</c:v>
                </c:pt>
                <c:pt idx="21">
                  <c:v>0.8232954937488977</c:v>
                </c:pt>
                <c:pt idx="22">
                  <c:v>0.8767002953223488</c:v>
                </c:pt>
                <c:pt idx="23">
                  <c:v>0.8766815289409913</c:v>
                </c:pt>
                <c:pt idx="24">
                  <c:v>0.8956314402763578</c:v>
                </c:pt>
                <c:pt idx="25">
                  <c:v>0.9377777118208364</c:v>
                </c:pt>
                <c:pt idx="26">
                  <c:v>0.9621469280263293</c:v>
                </c:pt>
                <c:pt idx="27">
                  <c:v>0.9741287238273385</c:v>
                </c:pt>
                <c:pt idx="28">
                  <c:v>0.9682360848008933</c:v>
                </c:pt>
                <c:pt idx="29">
                  <c:v>0.9564860751234601</c:v>
                </c:pt>
                <c:pt idx="30">
                  <c:v>0.9202455808011937</c:v>
                </c:pt>
                <c:pt idx="31">
                  <c:v>0.9192110863893511</c:v>
                </c:pt>
                <c:pt idx="32">
                  <c:v>0.9242061111920216</c:v>
                </c:pt>
                <c:pt idx="33">
                  <c:v>0.9359555296736828</c:v>
                </c:pt>
                <c:pt idx="34">
                  <c:v>0.9355458047444177</c:v>
                </c:pt>
                <c:pt idx="35">
                  <c:v>0.9325153863634551</c:v>
                </c:pt>
                <c:pt idx="36">
                  <c:v>0.9139086214586569</c:v>
                </c:pt>
                <c:pt idx="37">
                  <c:v>0.8870236887060177</c:v>
                </c:pt>
                <c:pt idx="38">
                  <c:v>0.9161252392914153</c:v>
                </c:pt>
                <c:pt idx="39">
                  <c:v>0.9347016454385491</c:v>
                </c:pt>
                <c:pt idx="40">
                  <c:v>0.9725551753561515</c:v>
                </c:pt>
                <c:pt idx="41">
                  <c:v>0.980400428321421</c:v>
                </c:pt>
                <c:pt idx="42">
                  <c:v>0.9375155500822895</c:v>
                </c:pt>
                <c:pt idx="43">
                  <c:v>0.9747973515718438</c:v>
                </c:pt>
                <c:pt idx="44">
                  <c:v>0.9741746321678596</c:v>
                </c:pt>
                <c:pt idx="45">
                  <c:v>0.9512064256458065</c:v>
                </c:pt>
                <c:pt idx="46">
                  <c:v>0.9419789364176462</c:v>
                </c:pt>
                <c:pt idx="47">
                  <c:v>0.9354207121677417</c:v>
                </c:pt>
                <c:pt idx="48">
                  <c:v>0.9771997008934554</c:v>
                </c:pt>
                <c:pt idx="49">
                  <c:v>0.9892690825812887</c:v>
                </c:pt>
                <c:pt idx="50">
                  <c:v>0.9181152549680925</c:v>
                </c:pt>
                <c:pt idx="51">
                  <c:v>0.9266173636273705</c:v>
                </c:pt>
              </c:numCache>
            </c:numRef>
          </c:xVal>
          <c:yVal>
            <c:numRef>
              <c:f>Sheet1!$B$109:$B$160</c:f>
              <c:numCache>
                <c:formatCode>General</c:formatCode>
                <c:ptCount val="52"/>
                <c:pt idx="0">
                  <c:v>0.3088720636769559</c:v>
                </c:pt>
                <c:pt idx="1">
                  <c:v>0.31655492521918516</c:v>
                </c:pt>
                <c:pt idx="2">
                  <c:v>0.3249200142196943</c:v>
                </c:pt>
                <c:pt idx="3">
                  <c:v>0.33826774549466715</c:v>
                </c:pt>
                <c:pt idx="4">
                  <c:v>0.33544242188260487</c:v>
                </c:pt>
                <c:pt idx="5">
                  <c:v>0.3264796310530361</c:v>
                </c:pt>
                <c:pt idx="6">
                  <c:v>0.3376328458533927</c:v>
                </c:pt>
                <c:pt idx="7">
                  <c:v>0.32071637241204115</c:v>
                </c:pt>
                <c:pt idx="8">
                  <c:v>0.33232845248349124</c:v>
                </c:pt>
                <c:pt idx="9">
                  <c:v>0.3318170331058883</c:v>
                </c:pt>
                <c:pt idx="10">
                  <c:v>0.3252361673414305</c:v>
                </c:pt>
                <c:pt idx="11">
                  <c:v>0.3320771253286591</c:v>
                </c:pt>
                <c:pt idx="12">
                  <c:v>0.33480044013203963</c:v>
                </c:pt>
                <c:pt idx="13">
                  <c:v>0.3444373265001068</c:v>
                </c:pt>
                <c:pt idx="14">
                  <c:v>0.34308981470553523</c:v>
                </c:pt>
                <c:pt idx="15">
                  <c:v>0.33507453178748886</c:v>
                </c:pt>
                <c:pt idx="16">
                  <c:v>0.3097582811101164</c:v>
                </c:pt>
                <c:pt idx="17">
                  <c:v>0.31041956959281625</c:v>
                </c:pt>
                <c:pt idx="18">
                  <c:v>0.3261857168817009</c:v>
                </c:pt>
                <c:pt idx="19">
                  <c:v>0.3218253290035891</c:v>
                </c:pt>
                <c:pt idx="20">
                  <c:v>0.32333664349553126</c:v>
                </c:pt>
                <c:pt idx="21">
                  <c:v>0.34642254878342565</c:v>
                </c:pt>
                <c:pt idx="22">
                  <c:v>0.33713315546931844</c:v>
                </c:pt>
                <c:pt idx="23">
                  <c:v>0.3316276803118908</c:v>
                </c:pt>
                <c:pt idx="24">
                  <c:v>0.32457353619179347</c:v>
                </c:pt>
                <c:pt idx="25">
                  <c:v>0.3114639271538641</c:v>
                </c:pt>
                <c:pt idx="26">
                  <c:v>0.3097130242825607</c:v>
                </c:pt>
                <c:pt idx="27">
                  <c:v>0.3031977891827872</c:v>
                </c:pt>
                <c:pt idx="28">
                  <c:v>0.3062360801781737</c:v>
                </c:pt>
                <c:pt idx="29">
                  <c:v>0.31902394938996836</c:v>
                </c:pt>
                <c:pt idx="30">
                  <c:v>0.32297852900867974</c:v>
                </c:pt>
                <c:pt idx="31">
                  <c:v>0.3148806500761808</c:v>
                </c:pt>
                <c:pt idx="32">
                  <c:v>0.3185033082363678</c:v>
                </c:pt>
                <c:pt idx="33">
                  <c:v>0.3210992907801418</c:v>
                </c:pt>
                <c:pt idx="34">
                  <c:v>0.3414243798346226</c:v>
                </c:pt>
                <c:pt idx="35">
                  <c:v>0.3278271918678526</c:v>
                </c:pt>
                <c:pt idx="36">
                  <c:v>0.3286334056399132</c:v>
                </c:pt>
                <c:pt idx="37">
                  <c:v>0.3424323665610529</c:v>
                </c:pt>
                <c:pt idx="38">
                  <c:v>0.3354784555120313</c:v>
                </c:pt>
                <c:pt idx="39">
                  <c:v>0.33706070287539935</c:v>
                </c:pt>
                <c:pt idx="40">
                  <c:v>0.31732859118751233</c:v>
                </c:pt>
                <c:pt idx="41">
                  <c:v>0.316992259491338</c:v>
                </c:pt>
                <c:pt idx="42">
                  <c:v>0.3271578947368421</c:v>
                </c:pt>
                <c:pt idx="43">
                  <c:v>0.31994328922495274</c:v>
                </c:pt>
                <c:pt idx="44">
                  <c:v>0.3100735853844202</c:v>
                </c:pt>
                <c:pt idx="45">
                  <c:v>0.32093527128283833</c:v>
                </c:pt>
                <c:pt idx="46">
                  <c:v>0.33204092622509424</c:v>
                </c:pt>
                <c:pt idx="47">
                  <c:v>0.3322462693942089</c:v>
                </c:pt>
                <c:pt idx="48">
                  <c:v>0.31593362332850006</c:v>
                </c:pt>
                <c:pt idx="49">
                  <c:v>0.33039009915321704</c:v>
                </c:pt>
                <c:pt idx="50">
                  <c:v>0.3407763815574345</c:v>
                </c:pt>
                <c:pt idx="51">
                  <c:v>0.3400851063829787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2490432179863155</c:v>
                </c:pt>
              </c:numCache>
            </c:numRef>
          </c:xVal>
          <c:yVal>
            <c:numRef>
              <c:f>Sheet1!$B$163:$B$164</c:f>
              <c:numCache>
                <c:formatCode>General</c:formatCode>
                <c:ptCount val="2"/>
                <c:pt idx="0">
                  <c:v>0.42807491918247476</c:v>
                </c:pt>
                <c:pt idx="1">
                  <c:v>0.4280749191824747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2490432179863155</c:v>
                </c:pt>
                <c:pt idx="1">
                  <c:v>0.32490432179863155</c:v>
                </c:pt>
              </c:numCache>
            </c:numRef>
          </c:xVal>
          <c:yVal>
            <c:numRef>
              <c:f>Sheet1!$B$167:$B$168</c:f>
              <c:numCache>
                <c:formatCode>General</c:formatCode>
                <c:ptCount val="2"/>
                <c:pt idx="0">
                  <c:v>0.4280749191824747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854670476375746</c:v>
                </c:pt>
              </c:numCache>
            </c:numRef>
          </c:xVal>
          <c:yVal>
            <c:numRef>
              <c:f>Sheet1!$B$171:$B$172</c:f>
              <c:numCache>
                <c:formatCode>General</c:formatCode>
                <c:ptCount val="2"/>
                <c:pt idx="0">
                  <c:v>0.3317963026055326</c:v>
                </c:pt>
                <c:pt idx="1">
                  <c:v>0.331796302605532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854670476375746</c:v>
                </c:pt>
                <c:pt idx="1">
                  <c:v>0.8854670476375746</c:v>
                </c:pt>
              </c:numCache>
            </c:numRef>
          </c:xVal>
          <c:yVal>
            <c:numRef>
              <c:f>Sheet1!$B$175:$B$176</c:f>
              <c:numCache>
                <c:formatCode>General</c:formatCode>
                <c:ptCount val="2"/>
                <c:pt idx="0">
                  <c:v>0.331796302605532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178873605600009</c:v>
                </c:pt>
              </c:numCache>
            </c:numRef>
          </c:xVal>
          <c:yVal>
            <c:numRef>
              <c:f>Sheet1!$B$179:$B$180</c:f>
              <c:numCache>
                <c:formatCode>General</c:formatCode>
                <c:ptCount val="2"/>
                <c:pt idx="0">
                  <c:v>0.3262280000172874</c:v>
                </c:pt>
                <c:pt idx="1">
                  <c:v>0.326228000017287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178873605600009</c:v>
                </c:pt>
                <c:pt idx="1">
                  <c:v>0.9178873605600009</c:v>
                </c:pt>
              </c:numCache>
            </c:numRef>
          </c:xVal>
          <c:yVal>
            <c:numRef>
              <c:f>Sheet1!$B$183:$B$184</c:f>
              <c:numCache>
                <c:formatCode>General</c:formatCode>
                <c:ptCount val="2"/>
                <c:pt idx="0">
                  <c:v>0.326228000017287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053730242313928</c:v>
                </c:pt>
                <c:pt idx="1">
                  <c:v>0.8674195619623892</c:v>
                </c:pt>
                <c:pt idx="2">
                  <c:v>0.8807481763322156</c:v>
                </c:pt>
                <c:pt idx="3">
                  <c:v>0.8669340801960521</c:v>
                </c:pt>
                <c:pt idx="4">
                  <c:v>0.8696439935477787</c:v>
                </c:pt>
                <c:pt idx="5">
                  <c:v>0.8832525816913576</c:v>
                </c:pt>
                <c:pt idx="6">
                  <c:v>0.8788814526495295</c:v>
                </c:pt>
                <c:pt idx="7">
                  <c:v>0.9250837151609808</c:v>
                </c:pt>
                <c:pt idx="8">
                  <c:v>0.9262424211827897</c:v>
                </c:pt>
                <c:pt idx="9">
                  <c:v>0.8824479939435875</c:v>
                </c:pt>
                <c:pt idx="10">
                  <c:v>0.9175631646714442</c:v>
                </c:pt>
                <c:pt idx="11">
                  <c:v>0.878776611945777</c:v>
                </c:pt>
                <c:pt idx="12">
                  <c:v>0.8981877178599298</c:v>
                </c:pt>
                <c:pt idx="13">
                  <c:v>0.8727925885114284</c:v>
                </c:pt>
                <c:pt idx="14">
                  <c:v>0.8745887144623008</c:v>
                </c:pt>
                <c:pt idx="15">
                  <c:v>0.876624229900719</c:v>
                </c:pt>
                <c:pt idx="16">
                  <c:v>0.9316297119393432</c:v>
                </c:pt>
                <c:pt idx="17">
                  <c:v>0.9255967390659705</c:v>
                </c:pt>
                <c:pt idx="18">
                  <c:v>0.9122440769534511</c:v>
                </c:pt>
                <c:pt idx="19">
                  <c:v>0.9143049149980759</c:v>
                </c:pt>
                <c:pt idx="20">
                  <c:v>0.8776829521910625</c:v>
                </c:pt>
                <c:pt idx="21">
                  <c:v>0.8232954937488977</c:v>
                </c:pt>
                <c:pt idx="22">
                  <c:v>0.8767002953223488</c:v>
                </c:pt>
                <c:pt idx="23">
                  <c:v>0.8766815289409913</c:v>
                </c:pt>
                <c:pt idx="24">
                  <c:v>0.8956314402763578</c:v>
                </c:pt>
                <c:pt idx="25">
                  <c:v>0.9377777118208364</c:v>
                </c:pt>
                <c:pt idx="26">
                  <c:v>0.9621469280263293</c:v>
                </c:pt>
                <c:pt idx="27">
                  <c:v>0.9741287238273385</c:v>
                </c:pt>
                <c:pt idx="28">
                  <c:v>0.9682360848008933</c:v>
                </c:pt>
                <c:pt idx="29">
                  <c:v>0.9564860751234601</c:v>
                </c:pt>
                <c:pt idx="30">
                  <c:v>0.9202455808011937</c:v>
                </c:pt>
                <c:pt idx="31">
                  <c:v>0.9192110863893511</c:v>
                </c:pt>
                <c:pt idx="32">
                  <c:v>0.9242061111920216</c:v>
                </c:pt>
                <c:pt idx="33">
                  <c:v>0.9359555296736828</c:v>
                </c:pt>
                <c:pt idx="34">
                  <c:v>0.9355458047444177</c:v>
                </c:pt>
                <c:pt idx="35">
                  <c:v>0.9325153863634551</c:v>
                </c:pt>
                <c:pt idx="36">
                  <c:v>0.9139086214586569</c:v>
                </c:pt>
                <c:pt idx="37">
                  <c:v>0.8870236887060177</c:v>
                </c:pt>
                <c:pt idx="38">
                  <c:v>0.9161252392914153</c:v>
                </c:pt>
                <c:pt idx="39">
                  <c:v>0.9347016454385491</c:v>
                </c:pt>
                <c:pt idx="40">
                  <c:v>0.9725551753561515</c:v>
                </c:pt>
                <c:pt idx="41">
                  <c:v>0.980400428321421</c:v>
                </c:pt>
                <c:pt idx="42">
                  <c:v>0.9375155500822895</c:v>
                </c:pt>
                <c:pt idx="43">
                  <c:v>0.9747973515718438</c:v>
                </c:pt>
                <c:pt idx="44">
                  <c:v>0.9741746321678596</c:v>
                </c:pt>
                <c:pt idx="45">
                  <c:v>0.9512064256458065</c:v>
                </c:pt>
                <c:pt idx="46">
                  <c:v>0.9419789364176462</c:v>
                </c:pt>
                <c:pt idx="47">
                  <c:v>0.9354207121677417</c:v>
                </c:pt>
                <c:pt idx="48">
                  <c:v>0.9771997008934554</c:v>
                </c:pt>
                <c:pt idx="49">
                  <c:v>0.9892690825812887</c:v>
                </c:pt>
                <c:pt idx="50">
                  <c:v>0.9181152549680925</c:v>
                </c:pt>
                <c:pt idx="51">
                  <c:v>0.9266173636273705</c:v>
                </c:pt>
                <c:pt idx="52">
                  <c:v>0.8854670476375746</c:v>
                </c:pt>
                <c:pt idx="53">
                  <c:v>0.32490432179863155</c:v>
                </c:pt>
                <c:pt idx="54">
                  <c:v>0.9178873605600009</c:v>
                </c:pt>
              </c:numCache>
            </c:numRef>
          </c:xVal>
          <c:yVal>
            <c:numRef>
              <c:f>Sheet1!$B$187:$B$241</c:f>
              <c:numCache>
                <c:formatCode>General</c:formatCode>
                <c:ptCount val="55"/>
                <c:pt idx="0">
                  <c:v>0.3283773812257753</c:v>
                </c:pt>
                <c:pt idx="1">
                  <c:v>0.3348960216439302</c:v>
                </c:pt>
                <c:pt idx="2">
                  <c:v>0.3326067853225285</c:v>
                </c:pt>
                <c:pt idx="3">
                  <c:v>0.3349794048420662</c:v>
                </c:pt>
                <c:pt idx="4">
                  <c:v>0.33451396770805564</c:v>
                </c:pt>
                <c:pt idx="5">
                  <c:v>0.332176644907885</c:v>
                </c:pt>
                <c:pt idx="6">
                  <c:v>0.3329274016700237</c:v>
                </c:pt>
                <c:pt idx="7">
                  <c:v>0.32499200084459445</c:v>
                </c:pt>
                <c:pt idx="8">
                  <c:v>0.3247929890165565</c:v>
                </c:pt>
                <c:pt idx="9">
                  <c:v>0.33231483567887166</c:v>
                </c:pt>
                <c:pt idx="10">
                  <c:v>0.3262836817995598</c:v>
                </c:pt>
                <c:pt idx="11">
                  <c:v>0.33294540842904097</c:v>
                </c:pt>
                <c:pt idx="12">
                  <c:v>0.3296114828262529</c:v>
                </c:pt>
                <c:pt idx="13">
                  <c:v>0.3339731854667683</c:v>
                </c:pt>
                <c:pt idx="14">
                  <c:v>0.3336646945276158</c:v>
                </c:pt>
                <c:pt idx="15">
                  <c:v>0.3333150876033619</c:v>
                </c:pt>
                <c:pt idx="16">
                  <c:v>0.3238677029116653</c:v>
                </c:pt>
                <c:pt idx="17">
                  <c:v>0.32490388718743074</c:v>
                </c:pt>
                <c:pt idx="18">
                  <c:v>0.3271972537930835</c:v>
                </c:pt>
                <c:pt idx="19">
                  <c:v>0.32684329762229347</c:v>
                </c:pt>
                <c:pt idx="20">
                  <c:v>0.33313324833229574</c:v>
                </c:pt>
                <c:pt idx="21">
                  <c:v>0.3424744853011127</c:v>
                </c:pt>
                <c:pt idx="22">
                  <c:v>0.33330202310009355</c:v>
                </c:pt>
                <c:pt idx="23">
                  <c:v>0.33330524629198977</c:v>
                </c:pt>
                <c:pt idx="24">
                  <c:v>0.3300505324775914</c:v>
                </c:pt>
                <c:pt idx="25">
                  <c:v>0.3228117623433382</c:v>
                </c:pt>
                <c:pt idx="26">
                  <c:v>0.31862626388762505</c:v>
                </c:pt>
                <c:pt idx="27">
                  <c:v>0.3165683483847665</c:v>
                </c:pt>
                <c:pt idx="28">
                  <c:v>0.3175804298295404</c:v>
                </c:pt>
                <c:pt idx="29">
                  <c:v>0.3195985352517585</c:v>
                </c:pt>
                <c:pt idx="30">
                  <c:v>0.3258229674099802</c:v>
                </c:pt>
                <c:pt idx="31">
                  <c:v>0.3260006454578378</c:v>
                </c:pt>
                <c:pt idx="32">
                  <c:v>0.32514273240796654</c:v>
                </c:pt>
                <c:pt idx="33">
                  <c:v>0.3231247285256982</c:v>
                </c:pt>
                <c:pt idx="34">
                  <c:v>0.32319510022104714</c:v>
                </c:pt>
                <c:pt idx="35">
                  <c:v>0.32371558521928134</c:v>
                </c:pt>
                <c:pt idx="36">
                  <c:v>0.32691136242927205</c:v>
                </c:pt>
                <c:pt idx="37">
                  <c:v>0.33152894403588773</c:v>
                </c:pt>
                <c:pt idx="38">
                  <c:v>0.3265306505328498</c:v>
                </c:pt>
                <c:pt idx="39">
                  <c:v>0.32334008754609267</c:v>
                </c:pt>
                <c:pt idx="40">
                  <c:v>0.31683861086020293</c:v>
                </c:pt>
                <c:pt idx="41">
                  <c:v>0.3154911611148389</c:v>
                </c:pt>
                <c:pt idx="42">
                  <c:v>0.3228567895425136</c:v>
                </c:pt>
                <c:pt idx="43">
                  <c:v>0.3164535092217637</c:v>
                </c:pt>
                <c:pt idx="44">
                  <c:v>0.316560463466075</c:v>
                </c:pt>
                <c:pt idx="45">
                  <c:v>0.32050533358901667</c:v>
                </c:pt>
                <c:pt idx="46">
                  <c:v>0.3220901872662502</c:v>
                </c:pt>
                <c:pt idx="47">
                  <c:v>0.32321658531035347</c:v>
                </c:pt>
                <c:pt idx="48">
                  <c:v>0.31604089728993545</c:v>
                </c:pt>
                <c:pt idx="49">
                  <c:v>0.31396793860345734</c:v>
                </c:pt>
                <c:pt idx="50">
                  <c:v>0.32618885835244726</c:v>
                </c:pt>
                <c:pt idx="51">
                  <c:v>0.32472859133509063</c:v>
                </c:pt>
                <c:pt idx="52">
                  <c:v>0.3317963026055326</c:v>
                </c:pt>
                <c:pt idx="53">
                  <c:v>0.42807491918247476</c:v>
                </c:pt>
                <c:pt idx="54">
                  <c:v>0.32622800001728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526055951727921"/>
          <c:min val="0.216960767517560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72.0114</c:v>
                </c:pt>
                <c:pt idx="1">
                  <c:v>936.0378</c:v>
                </c:pt>
                <c:pt idx="2">
                  <c:v>964.8215</c:v>
                </c:pt>
                <c:pt idx="3">
                  <c:v>980.8587</c:v>
                </c:pt>
                <c:pt idx="4">
                  <c:v>965.7756</c:v>
                </c:pt>
                <c:pt idx="5">
                  <c:v>960.5726</c:v>
                </c:pt>
                <c:pt idx="6">
                  <c:v>929.0855</c:v>
                </c:pt>
                <c:pt idx="7">
                  <c:v>933.2585</c:v>
                </c:pt>
                <c:pt idx="8">
                  <c:v>943.9604</c:v>
                </c:pt>
                <c:pt idx="9">
                  <c:v>912.2604</c:v>
                </c:pt>
                <c:pt idx="10">
                  <c:v>913.6539</c:v>
                </c:pt>
                <c:pt idx="11">
                  <c:v>974.5713</c:v>
                </c:pt>
                <c:pt idx="12">
                  <c:v>984.9557</c:v>
                </c:pt>
                <c:pt idx="13">
                  <c:v>990.3874</c:v>
                </c:pt>
                <c:pt idx="14">
                  <c:v>1029.1724</c:v>
                </c:pt>
                <c:pt idx="15">
                  <c:v>1060.0608</c:v>
                </c:pt>
                <c:pt idx="16">
                  <c:v>1070.0367</c:v>
                </c:pt>
                <c:pt idx="17">
                  <c:v>1086.7631</c:v>
                </c:pt>
                <c:pt idx="18">
                  <c:v>1147.1592</c:v>
                </c:pt>
                <c:pt idx="19">
                  <c:v>1140.1448</c:v>
                </c:pt>
                <c:pt idx="20">
                  <c:v>1161.8144</c:v>
                </c:pt>
                <c:pt idx="21">
                  <c:v>1158.9009</c:v>
                </c:pt>
                <c:pt idx="22">
                  <c:v>1096.226</c:v>
                </c:pt>
                <c:pt idx="23">
                  <c:v>1092.8498</c:v>
                </c:pt>
                <c:pt idx="24">
                  <c:v>1094.0251</c:v>
                </c:pt>
                <c:pt idx="25">
                  <c:v>1067.0681</c:v>
                </c:pt>
                <c:pt idx="26">
                  <c:v>1062.0207</c:v>
                </c:pt>
                <c:pt idx="27">
                  <c:v>1069.4707</c:v>
                </c:pt>
                <c:pt idx="28">
                  <c:v>1080.1598</c:v>
                </c:pt>
                <c:pt idx="29">
                  <c:v>1067.4322</c:v>
                </c:pt>
                <c:pt idx="30">
                  <c:v>1070.0022</c:v>
                </c:pt>
                <c:pt idx="31">
                  <c:v>1034.0498</c:v>
                </c:pt>
                <c:pt idx="32">
                  <c:v>1025.28</c:v>
                </c:pt>
                <c:pt idx="33">
                  <c:v>980.7204</c:v>
                </c:pt>
                <c:pt idx="34">
                  <c:v>1007.6819</c:v>
                </c:pt>
                <c:pt idx="35">
                  <c:v>1037.7193</c:v>
                </c:pt>
                <c:pt idx="36">
                  <c:v>1114.197</c:v>
                </c:pt>
                <c:pt idx="37">
                  <c:v>1130.2259</c:v>
                </c:pt>
                <c:pt idx="38">
                  <c:v>1168.1455</c:v>
                </c:pt>
                <c:pt idx="39">
                  <c:v>1189.8758</c:v>
                </c:pt>
                <c:pt idx="40">
                  <c:v>1180.1972</c:v>
                </c:pt>
                <c:pt idx="41">
                  <c:v>1228.2562</c:v>
                </c:pt>
                <c:pt idx="42">
                  <c:v>1244.8656</c:v>
                </c:pt>
                <c:pt idx="43">
                  <c:v>1249.3951</c:v>
                </c:pt>
                <c:pt idx="44">
                  <c:v>1201.9114</c:v>
                </c:pt>
                <c:pt idx="45">
                  <c:v>1173.2157</c:v>
                </c:pt>
                <c:pt idx="46">
                  <c:v>1152.9739</c:v>
                </c:pt>
                <c:pt idx="47">
                  <c:v>1146.3427</c:v>
                </c:pt>
                <c:pt idx="48">
                  <c:v>1141.0159</c:v>
                </c:pt>
                <c:pt idx="49">
                  <c:v>1088.0347</c:v>
                </c:pt>
                <c:pt idx="50">
                  <c:v>1098.8825</c:v>
                </c:pt>
                <c:pt idx="51">
                  <c:v>1102.1841</c:v>
                </c:pt>
                <c:pt idx="52">
                  <c:v>1094.781</c:v>
                </c:pt>
                <c:pt idx="53">
                  <c:v>1202.8989</c:v>
                </c:pt>
                <c:pt idx="54">
                  <c:v>1189.1508</c:v>
                </c:pt>
                <c:pt idx="55">
                  <c:v>1214.3624</c:v>
                </c:pt>
                <c:pt idx="56">
                  <c:v>1220.9777</c:v>
                </c:pt>
                <c:pt idx="57">
                  <c:v>1191.8818</c:v>
                </c:pt>
                <c:pt idx="58">
                  <c:v>1191.4895</c:v>
                </c:pt>
                <c:pt idx="59">
                  <c:v>1161.4088</c:v>
                </c:pt>
                <c:pt idx="60">
                  <c:v>1180.4974</c:v>
                </c:pt>
                <c:pt idx="61">
                  <c:v>1211.5092</c:v>
                </c:pt>
                <c:pt idx="62">
                  <c:v>1142.3281</c:v>
                </c:pt>
                <c:pt idx="63">
                  <c:v>1153.6288</c:v>
                </c:pt>
                <c:pt idx="64">
                  <c:v>1162.8613</c:v>
                </c:pt>
                <c:pt idx="65">
                  <c:v>1160.9389</c:v>
                </c:pt>
                <c:pt idx="66">
                  <c:v>1214.9399</c:v>
                </c:pt>
                <c:pt idx="67">
                  <c:v>1230.4276</c:v>
                </c:pt>
                <c:pt idx="68">
                  <c:v>1243.3539</c:v>
                </c:pt>
                <c:pt idx="69">
                  <c:v>1274.1251</c:v>
                </c:pt>
                <c:pt idx="70">
                  <c:v>1263.2952</c:v>
                </c:pt>
                <c:pt idx="71">
                  <c:v>1311.5528</c:v>
                </c:pt>
                <c:pt idx="72">
                  <c:v>1366.1888</c:v>
                </c:pt>
                <c:pt idx="73">
                  <c:v>1341.3275</c:v>
                </c:pt>
                <c:pt idx="74">
                  <c:v>1344.5726</c:v>
                </c:pt>
                <c:pt idx="75">
                  <c:v>1294.2393</c:v>
                </c:pt>
                <c:pt idx="76">
                  <c:v>1275.2068</c:v>
                </c:pt>
                <c:pt idx="77">
                  <c:v>1257.1451</c:v>
                </c:pt>
                <c:pt idx="78">
                  <c:v>1342.3898</c:v>
                </c:pt>
                <c:pt idx="79">
                  <c:v>1325.6612</c:v>
                </c:pt>
                <c:pt idx="80">
                  <c:v>1342.9965</c:v>
                </c:pt>
                <c:pt idx="81">
                  <c:v>1315.4674</c:v>
                </c:pt>
                <c:pt idx="82">
                  <c:v>1344.5183</c:v>
                </c:pt>
                <c:pt idx="83">
                  <c:v>1286.9083</c:v>
                </c:pt>
                <c:pt idx="84">
                  <c:v>1311.6393</c:v>
                </c:pt>
                <c:pt idx="85">
                  <c:v>1290.4731</c:v>
                </c:pt>
                <c:pt idx="86">
                  <c:v>1320.2082</c:v>
                </c:pt>
                <c:pt idx="87">
                  <c:v>1303.9899</c:v>
                </c:pt>
                <c:pt idx="88">
                  <c:v>1353.1746</c:v>
                </c:pt>
                <c:pt idx="89">
                  <c:v>1352.3991</c:v>
                </c:pt>
                <c:pt idx="90">
                  <c:v>1385.4267</c:v>
                </c:pt>
                <c:pt idx="91">
                  <c:v>1386.2705</c:v>
                </c:pt>
                <c:pt idx="92">
                  <c:v>1318.44</c:v>
                </c:pt>
                <c:pt idx="93">
                  <c:v>1342.229</c:v>
                </c:pt>
                <c:pt idx="94">
                  <c:v>1313.9107</c:v>
                </c:pt>
                <c:pt idx="95">
                  <c:v>1281.8471</c:v>
                </c:pt>
                <c:pt idx="96">
                  <c:v>1259.9921</c:v>
                </c:pt>
                <c:pt idx="97">
                  <c:v>1254.5276</c:v>
                </c:pt>
                <c:pt idx="98">
                  <c:v>1221.7465</c:v>
                </c:pt>
                <c:pt idx="99">
                  <c:v>1193.1033</c:v>
                </c:pt>
                <c:pt idx="100">
                  <c:v>1158.5015</c:v>
                </c:pt>
                <c:pt idx="101">
                  <c:v>1211.9747</c:v>
                </c:pt>
                <c:pt idx="102">
                  <c:v>1226.3077</c:v>
                </c:pt>
                <c:pt idx="103">
                  <c:v>1209.9885</c:v>
                </c:pt>
                <c:pt idx="104">
                  <c:v>1242.7585</c:v>
                </c:pt>
              </c:numCache>
            </c:numRef>
          </c:xVal>
          <c:yVal>
            <c:numRef>
              <c:f>Sheet1!$B$2:$B$106</c:f>
              <c:numCache>
                <c:formatCode>General</c:formatCode>
                <c:ptCount val="105"/>
                <c:pt idx="0">
                  <c:v>0.37030952792668165</c:v>
                </c:pt>
                <c:pt idx="1">
                  <c:v>0.4069049306469576</c:v>
                </c:pt>
                <c:pt idx="2">
                  <c:v>0.43152882724355657</c:v>
                </c:pt>
                <c:pt idx="3">
                  <c:v>0.4367342392515037</c:v>
                </c:pt>
                <c:pt idx="4">
                  <c:v>0.4431122767578369</c:v>
                </c:pt>
                <c:pt idx="5">
                  <c:v>0.4262295081967213</c:v>
                </c:pt>
                <c:pt idx="6">
                  <c:v>0.4427332877024869</c:v>
                </c:pt>
                <c:pt idx="7">
                  <c:v>0.4605046626439934</c:v>
                </c:pt>
                <c:pt idx="8">
                  <c:v>0.4346170122725349</c:v>
                </c:pt>
                <c:pt idx="9">
                  <c:v>0.42073737478054324</c:v>
                </c:pt>
                <c:pt idx="10">
                  <c:v>0.40130850528434825</c:v>
                </c:pt>
                <c:pt idx="11">
                  <c:v>0.3633126462508902</c:v>
                </c:pt>
                <c:pt idx="12">
                  <c:v>0.3418999541073887</c:v>
                </c:pt>
                <c:pt idx="13">
                  <c:v>0.3294482564150766</c:v>
                </c:pt>
                <c:pt idx="14">
                  <c:v>0.3018034942701484</c:v>
                </c:pt>
                <c:pt idx="15">
                  <c:v>0.293961742336944</c:v>
                </c:pt>
                <c:pt idx="16">
                  <c:v>0.28739316239316237</c:v>
                </c:pt>
                <c:pt idx="17">
                  <c:v>0.28959741404642964</c:v>
                </c:pt>
                <c:pt idx="18">
                  <c:v>0.2712009593969505</c:v>
                </c:pt>
                <c:pt idx="19">
                  <c:v>0.28177019894437677</c:v>
                </c:pt>
                <c:pt idx="20">
                  <c:v>0.2843917492285204</c:v>
                </c:pt>
                <c:pt idx="21">
                  <c:v>0.31679389312977096</c:v>
                </c:pt>
                <c:pt idx="22">
                  <c:v>0.3662754786905497</c:v>
                </c:pt>
                <c:pt idx="23">
                  <c:v>0.3844984802431611</c:v>
                </c:pt>
                <c:pt idx="24">
                  <c:v>0.4016938898971567</c:v>
                </c:pt>
                <c:pt idx="25">
                  <c:v>0.3997255888406129</c:v>
                </c:pt>
                <c:pt idx="26">
                  <c:v>0.4001926782273603</c:v>
                </c:pt>
                <c:pt idx="27">
                  <c:v>0.3921604711078395</c:v>
                </c:pt>
                <c:pt idx="28">
                  <c:v>0.38458574181117533</c:v>
                </c:pt>
                <c:pt idx="29">
                  <c:v>0.3851161154116819</c:v>
                </c:pt>
                <c:pt idx="30">
                  <c:v>0.3902439024390244</c:v>
                </c:pt>
                <c:pt idx="31">
                  <c:v>0.40343527440301635</c:v>
                </c:pt>
                <c:pt idx="32">
                  <c:v>0.42004722043356946</c:v>
                </c:pt>
                <c:pt idx="33">
                  <c:v>0.4289111601834551</c:v>
                </c:pt>
                <c:pt idx="34">
                  <c:v>0.40476190476190477</c:v>
                </c:pt>
                <c:pt idx="35">
                  <c:v>0.3940037771482531</c:v>
                </c:pt>
                <c:pt idx="36">
                  <c:v>0.3576719576719577</c:v>
                </c:pt>
                <c:pt idx="37">
                  <c:v>0.36244302643573384</c:v>
                </c:pt>
                <c:pt idx="38">
                  <c:v>0.3499349563278201</c:v>
                </c:pt>
                <c:pt idx="39">
                  <c:v>0.3418654256350591</c:v>
                </c:pt>
                <c:pt idx="40">
                  <c:v>0.3519824478921799</c:v>
                </c:pt>
                <c:pt idx="41">
                  <c:v>0.3443092340730136</c:v>
                </c:pt>
                <c:pt idx="42">
                  <c:v>0.34311816684139584</c:v>
                </c:pt>
                <c:pt idx="43">
                  <c:v>0.3302997858672377</c:v>
                </c:pt>
                <c:pt idx="44">
                  <c:v>0.3194601654331737</c:v>
                </c:pt>
                <c:pt idx="45">
                  <c:v>0.324290418692175</c:v>
                </c:pt>
                <c:pt idx="46">
                  <c:v>0.33104087783015224</c:v>
                </c:pt>
                <c:pt idx="47">
                  <c:v>0.3215102072988098</c:v>
                </c:pt>
                <c:pt idx="48">
                  <c:v>0.325332726652258</c:v>
                </c:pt>
                <c:pt idx="49">
                  <c:v>0.34281414016671813</c:v>
                </c:pt>
                <c:pt idx="50">
                  <c:v>0.3323317307692308</c:v>
                </c:pt>
                <c:pt idx="51">
                  <c:v>0.3365947242206235</c:v>
                </c:pt>
                <c:pt idx="52">
                  <c:v>0.3415553809897879</c:v>
                </c:pt>
                <c:pt idx="53">
                  <c:v>0.34542242543905227</c:v>
                </c:pt>
                <c:pt idx="54">
                  <c:v>0.36003283687111526</c:v>
                </c:pt>
                <c:pt idx="55">
                  <c:v>0.3527413876758855</c:v>
                </c:pt>
                <c:pt idx="56">
                  <c:v>0.3605015673981191</c:v>
                </c:pt>
                <c:pt idx="57">
                  <c:v>0.35610401057734686</c:v>
                </c:pt>
                <c:pt idx="58">
                  <c:v>0.3576145884672252</c:v>
                </c:pt>
                <c:pt idx="59">
                  <c:v>0.3588378936822992</c:v>
                </c:pt>
                <c:pt idx="60">
                  <c:v>0.36460539801844893</c:v>
                </c:pt>
                <c:pt idx="61">
                  <c:v>0.3615302248612869</c:v>
                </c:pt>
                <c:pt idx="62">
                  <c:v>0.3779600110568506</c:v>
                </c:pt>
                <c:pt idx="63">
                  <c:v>0.3906262961426794</c:v>
                </c:pt>
                <c:pt idx="64">
                  <c:v>0.360973341599504</c:v>
                </c:pt>
                <c:pt idx="65">
                  <c:v>0.3396652719665272</c:v>
                </c:pt>
                <c:pt idx="66">
                  <c:v>0.3369966669669399</c:v>
                </c:pt>
                <c:pt idx="67">
                  <c:v>0.3277767009110293</c:v>
                </c:pt>
                <c:pt idx="68">
                  <c:v>0.32401767586289265</c:v>
                </c:pt>
                <c:pt idx="69">
                  <c:v>0.3059185242121445</c:v>
                </c:pt>
                <c:pt idx="70">
                  <c:v>0.3052820053715309</c:v>
                </c:pt>
                <c:pt idx="71">
                  <c:v>0.3185344116190791</c:v>
                </c:pt>
                <c:pt idx="72">
                  <c:v>0.30336740829825615</c:v>
                </c:pt>
                <c:pt idx="73">
                  <c:v>0.31850387213709014</c:v>
                </c:pt>
                <c:pt idx="74">
                  <c:v>0.3149102263856362</c:v>
                </c:pt>
                <c:pt idx="75">
                  <c:v>0.3324295010845987</c:v>
                </c:pt>
                <c:pt idx="76">
                  <c:v>0.32415005861664714</c:v>
                </c:pt>
                <c:pt idx="77">
                  <c:v>0.32843925985518907</c:v>
                </c:pt>
                <c:pt idx="78">
                  <c:v>0.3151487826871055</c:v>
                </c:pt>
                <c:pt idx="79">
                  <c:v>0.31277813095994916</c:v>
                </c:pt>
                <c:pt idx="80">
                  <c:v>0.29580665151828134</c:v>
                </c:pt>
                <c:pt idx="81">
                  <c:v>0.3069154399178364</c:v>
                </c:pt>
                <c:pt idx="82">
                  <c:v>0.3131584846446985</c:v>
                </c:pt>
                <c:pt idx="83">
                  <c:v>0.3096740273396425</c:v>
                </c:pt>
                <c:pt idx="84">
                  <c:v>0.3096486628211851</c:v>
                </c:pt>
                <c:pt idx="85">
                  <c:v>0.32209651350727314</c:v>
                </c:pt>
                <c:pt idx="86">
                  <c:v>0.31315657828914456</c:v>
                </c:pt>
                <c:pt idx="87">
                  <c:v>0.3334307422559907</c:v>
                </c:pt>
                <c:pt idx="88">
                  <c:v>0.3305391503143456</c:v>
                </c:pt>
                <c:pt idx="89">
                  <c:v>0.3295505117935024</c:v>
                </c:pt>
                <c:pt idx="90">
                  <c:v>0.3269098417068135</c:v>
                </c:pt>
                <c:pt idx="91">
                  <c:v>0.3</c:v>
                </c:pt>
                <c:pt idx="92">
                  <c:v>0.3097581317764804</c:v>
                </c:pt>
                <c:pt idx="93">
                  <c:v>0.290199203187251</c:v>
                </c:pt>
                <c:pt idx="94">
                  <c:v>0.292310424436157</c:v>
                </c:pt>
                <c:pt idx="95">
                  <c:v>0.28857791225416035</c:v>
                </c:pt>
                <c:pt idx="96">
                  <c:v>0.29556252801434335</c:v>
                </c:pt>
                <c:pt idx="97">
                  <c:v>0.2938514357053683</c:v>
                </c:pt>
                <c:pt idx="98">
                  <c:v>0.30278750336654997</c:v>
                </c:pt>
                <c:pt idx="99">
                  <c:v>0.3080873671782763</c:v>
                </c:pt>
                <c:pt idx="100">
                  <c:v>0.31036056595162026</c:v>
                </c:pt>
                <c:pt idx="101">
                  <c:v>0.31192590905640327</c:v>
                </c:pt>
                <c:pt idx="102">
                  <c:v>0.3031456621919455</c:v>
                </c:pt>
                <c:pt idx="103">
                  <c:v>0.2880230628112169</c:v>
                </c:pt>
                <c:pt idx="104">
                  <c:v>0.2986716479867164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93.8991</c:v>
                </c:pt>
                <c:pt idx="1">
                  <c:v>1294.2056</c:v>
                </c:pt>
                <c:pt idx="2">
                  <c:v>1300.0405</c:v>
                </c:pt>
                <c:pt idx="3">
                  <c:v>1318.663</c:v>
                </c:pt>
                <c:pt idx="4">
                  <c:v>1311.0525</c:v>
                </c:pt>
                <c:pt idx="5">
                  <c:v>1299.2755</c:v>
                </c:pt>
                <c:pt idx="6">
                  <c:v>1208.7711</c:v>
                </c:pt>
                <c:pt idx="7">
                  <c:v>1270.3232</c:v>
                </c:pt>
                <c:pt idx="8">
                  <c:v>1302.6553</c:v>
                </c:pt>
                <c:pt idx="9">
                  <c:v>1219.7235</c:v>
                </c:pt>
                <c:pt idx="10">
                  <c:v>1267.2686</c:v>
                </c:pt>
                <c:pt idx="11">
                  <c:v>1147.7334</c:v>
                </c:pt>
                <c:pt idx="12">
                  <c:v>1201.5058</c:v>
                </c:pt>
                <c:pt idx="13">
                  <c:v>1233.252</c:v>
                </c:pt>
                <c:pt idx="14">
                  <c:v>1234.366</c:v>
                </c:pt>
                <c:pt idx="15">
                  <c:v>1243.5076</c:v>
                </c:pt>
                <c:pt idx="16">
                  <c:v>1309.7702</c:v>
                </c:pt>
                <c:pt idx="17">
                  <c:v>1282.8843</c:v>
                </c:pt>
                <c:pt idx="18">
                  <c:v>1227.912</c:v>
                </c:pt>
                <c:pt idx="19">
                  <c:v>1332.3595</c:v>
                </c:pt>
                <c:pt idx="20">
                  <c:v>1304.9183</c:v>
                </c:pt>
                <c:pt idx="21">
                  <c:v>1214.6933</c:v>
                </c:pt>
                <c:pt idx="22">
                  <c:v>1277.9619</c:v>
                </c:pt>
                <c:pt idx="23">
                  <c:v>1304.9309</c:v>
                </c:pt>
                <c:pt idx="24">
                  <c:v>1324.233</c:v>
                </c:pt>
                <c:pt idx="25">
                  <c:v>1314.3778</c:v>
                </c:pt>
                <c:pt idx="26">
                  <c:v>1323.1967</c:v>
                </c:pt>
                <c:pt idx="27">
                  <c:v>1314.847</c:v>
                </c:pt>
                <c:pt idx="28">
                  <c:v>1335.9188</c:v>
                </c:pt>
                <c:pt idx="29">
                  <c:v>1346.3322</c:v>
                </c:pt>
                <c:pt idx="30">
                  <c:v>1324.3579</c:v>
                </c:pt>
                <c:pt idx="31">
                  <c:v>1298.7766</c:v>
                </c:pt>
                <c:pt idx="32">
                  <c:v>1318.6741</c:v>
                </c:pt>
                <c:pt idx="33">
                  <c:v>1329.4975</c:v>
                </c:pt>
                <c:pt idx="34">
                  <c:v>1346.882</c:v>
                </c:pt>
                <c:pt idx="35">
                  <c:v>1367.6943</c:v>
                </c:pt>
                <c:pt idx="36">
                  <c:v>1390.0594</c:v>
                </c:pt>
                <c:pt idx="37">
                  <c:v>1366.1922</c:v>
                </c:pt>
                <c:pt idx="38">
                  <c:v>1383.9041</c:v>
                </c:pt>
                <c:pt idx="39">
                  <c:v>1348.077</c:v>
                </c:pt>
                <c:pt idx="40">
                  <c:v>1381.5262</c:v>
                </c:pt>
                <c:pt idx="41">
                  <c:v>1404.6744</c:v>
                </c:pt>
                <c:pt idx="42">
                  <c:v>1377.6281</c:v>
                </c:pt>
                <c:pt idx="43">
                  <c:v>1390.967</c:v>
                </c:pt>
                <c:pt idx="44">
                  <c:v>1305.2283</c:v>
                </c:pt>
                <c:pt idx="45">
                  <c:v>1270.5834</c:v>
                </c:pt>
                <c:pt idx="46">
                  <c:v>1268.3785</c:v>
                </c:pt>
                <c:pt idx="47">
                  <c:v>1227.2745</c:v>
                </c:pt>
                <c:pt idx="48">
                  <c:v>1211.296</c:v>
                </c:pt>
                <c:pt idx="49">
                  <c:v>1224.5422</c:v>
                </c:pt>
                <c:pt idx="50">
                  <c:v>1168.5793</c:v>
                </c:pt>
                <c:pt idx="51">
                  <c:v>1148.3834</c:v>
                </c:pt>
              </c:numCache>
            </c:numRef>
          </c:xVal>
          <c:yVal>
            <c:numRef>
              <c:f>Sheet1!$B$109:$B$160</c:f>
              <c:numCache>
                <c:formatCode>General</c:formatCode>
                <c:ptCount val="52"/>
                <c:pt idx="0">
                  <c:v>0.3088720636769559</c:v>
                </c:pt>
                <c:pt idx="1">
                  <c:v>0.31655492521918516</c:v>
                </c:pt>
                <c:pt idx="2">
                  <c:v>0.3249200142196943</c:v>
                </c:pt>
                <c:pt idx="3">
                  <c:v>0.33826774549466715</c:v>
                </c:pt>
                <c:pt idx="4">
                  <c:v>0.33544242188260487</c:v>
                </c:pt>
                <c:pt idx="5">
                  <c:v>0.3264796310530361</c:v>
                </c:pt>
                <c:pt idx="6">
                  <c:v>0.3376328458533927</c:v>
                </c:pt>
                <c:pt idx="7">
                  <c:v>0.32071637241204115</c:v>
                </c:pt>
                <c:pt idx="8">
                  <c:v>0.33232845248349124</c:v>
                </c:pt>
                <c:pt idx="9">
                  <c:v>0.3318170331058883</c:v>
                </c:pt>
                <c:pt idx="10">
                  <c:v>0.3252361673414305</c:v>
                </c:pt>
                <c:pt idx="11">
                  <c:v>0.3320771253286591</c:v>
                </c:pt>
                <c:pt idx="12">
                  <c:v>0.33480044013203963</c:v>
                </c:pt>
                <c:pt idx="13">
                  <c:v>0.3444373265001068</c:v>
                </c:pt>
                <c:pt idx="14">
                  <c:v>0.34308981470553523</c:v>
                </c:pt>
                <c:pt idx="15">
                  <c:v>0.33507453178748886</c:v>
                </c:pt>
                <c:pt idx="16">
                  <c:v>0.3097582811101164</c:v>
                </c:pt>
                <c:pt idx="17">
                  <c:v>0.31041956959281625</c:v>
                </c:pt>
                <c:pt idx="18">
                  <c:v>0.3261857168817009</c:v>
                </c:pt>
                <c:pt idx="19">
                  <c:v>0.3218253290035891</c:v>
                </c:pt>
                <c:pt idx="20">
                  <c:v>0.32333664349553126</c:v>
                </c:pt>
                <c:pt idx="21">
                  <c:v>0.34642254878342565</c:v>
                </c:pt>
                <c:pt idx="22">
                  <c:v>0.33713315546931844</c:v>
                </c:pt>
                <c:pt idx="23">
                  <c:v>0.3316276803118908</c:v>
                </c:pt>
                <c:pt idx="24">
                  <c:v>0.32457353619179347</c:v>
                </c:pt>
                <c:pt idx="25">
                  <c:v>0.3114639271538641</c:v>
                </c:pt>
                <c:pt idx="26">
                  <c:v>0.3097130242825607</c:v>
                </c:pt>
                <c:pt idx="27">
                  <c:v>0.3031977891827872</c:v>
                </c:pt>
                <c:pt idx="28">
                  <c:v>0.3062360801781737</c:v>
                </c:pt>
                <c:pt idx="29">
                  <c:v>0.31902394938996836</c:v>
                </c:pt>
                <c:pt idx="30">
                  <c:v>0.32297852900867974</c:v>
                </c:pt>
                <c:pt idx="31">
                  <c:v>0.3148806500761808</c:v>
                </c:pt>
                <c:pt idx="32">
                  <c:v>0.3185033082363678</c:v>
                </c:pt>
                <c:pt idx="33">
                  <c:v>0.3210992907801418</c:v>
                </c:pt>
                <c:pt idx="34">
                  <c:v>0.3414243798346226</c:v>
                </c:pt>
                <c:pt idx="35">
                  <c:v>0.3278271918678526</c:v>
                </c:pt>
                <c:pt idx="36">
                  <c:v>0.3286334056399132</c:v>
                </c:pt>
                <c:pt idx="37">
                  <c:v>0.3424323665610529</c:v>
                </c:pt>
                <c:pt idx="38">
                  <c:v>0.3354784555120313</c:v>
                </c:pt>
                <c:pt idx="39">
                  <c:v>0.33706070287539935</c:v>
                </c:pt>
                <c:pt idx="40">
                  <c:v>0.31732859118751233</c:v>
                </c:pt>
                <c:pt idx="41">
                  <c:v>0.316992259491338</c:v>
                </c:pt>
                <c:pt idx="42">
                  <c:v>0.3271578947368421</c:v>
                </c:pt>
                <c:pt idx="43">
                  <c:v>0.31994328922495274</c:v>
                </c:pt>
                <c:pt idx="44">
                  <c:v>0.3100735853844202</c:v>
                </c:pt>
                <c:pt idx="45">
                  <c:v>0.32093527128283833</c:v>
                </c:pt>
                <c:pt idx="46">
                  <c:v>0.33204092622509424</c:v>
                </c:pt>
                <c:pt idx="47">
                  <c:v>0.3322462693942089</c:v>
                </c:pt>
                <c:pt idx="48">
                  <c:v>0.31593362332850006</c:v>
                </c:pt>
                <c:pt idx="49">
                  <c:v>0.33039009915321704</c:v>
                </c:pt>
                <c:pt idx="50">
                  <c:v>0.3407763815574345</c:v>
                </c:pt>
                <c:pt idx="51">
                  <c:v>0.3400851063829787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7.385091931898</c:v>
                </c:pt>
              </c:numCache>
            </c:numRef>
          </c:xVal>
          <c:yVal>
            <c:numRef>
              <c:f>Sheet1!$B$163:$B$164</c:f>
              <c:numCache>
                <c:formatCode>General</c:formatCode>
                <c:ptCount val="2"/>
                <c:pt idx="0">
                  <c:v>0.42807491918247476</c:v>
                </c:pt>
                <c:pt idx="1">
                  <c:v>0.4280749191824747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7.385091931898</c:v>
                </c:pt>
                <c:pt idx="1">
                  <c:v>-357.385091931898</c:v>
                </c:pt>
              </c:numCache>
            </c:numRef>
          </c:xVal>
          <c:yVal>
            <c:numRef>
              <c:f>Sheet1!$B$167:$B$168</c:f>
              <c:numCache>
                <c:formatCode>General</c:formatCode>
                <c:ptCount val="2"/>
                <c:pt idx="0">
                  <c:v>0.4280749191824747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02.0779677453352</c:v>
                </c:pt>
              </c:numCache>
            </c:numRef>
          </c:xVal>
          <c:yVal>
            <c:numRef>
              <c:f>Sheet1!$B$171:$B$172</c:f>
              <c:numCache>
                <c:formatCode>General</c:formatCode>
                <c:ptCount val="2"/>
                <c:pt idx="0">
                  <c:v>0.3317963026055326</c:v>
                </c:pt>
                <c:pt idx="1">
                  <c:v>0.331796302605532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02.0779677453352</c:v>
                </c:pt>
                <c:pt idx="1">
                  <c:v>1202.0779677453352</c:v>
                </c:pt>
              </c:numCache>
            </c:numRef>
          </c:xVal>
          <c:yVal>
            <c:numRef>
              <c:f>Sheet1!$B$175:$B$176</c:f>
              <c:numCache>
                <c:formatCode>General</c:formatCode>
                <c:ptCount val="2"/>
                <c:pt idx="0">
                  <c:v>0.331796302605532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92.2699802628183</c:v>
                </c:pt>
              </c:numCache>
            </c:numRef>
          </c:xVal>
          <c:yVal>
            <c:numRef>
              <c:f>Sheet1!$B$179:$B$180</c:f>
              <c:numCache>
                <c:formatCode>General</c:formatCode>
                <c:ptCount val="2"/>
                <c:pt idx="0">
                  <c:v>0.3262280000172874</c:v>
                </c:pt>
                <c:pt idx="1">
                  <c:v>0.326228000017287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92.2699802628183</c:v>
                </c:pt>
                <c:pt idx="1">
                  <c:v>1292.2699802628183</c:v>
                </c:pt>
              </c:numCache>
            </c:numRef>
          </c:xVal>
          <c:yVal>
            <c:numRef>
              <c:f>Sheet1!$B$183:$B$184</c:f>
              <c:numCache>
                <c:formatCode>General</c:formatCode>
                <c:ptCount val="2"/>
                <c:pt idx="0">
                  <c:v>0.326228000017287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93.8991</c:v>
                </c:pt>
                <c:pt idx="1">
                  <c:v>1294.2056</c:v>
                </c:pt>
                <c:pt idx="2">
                  <c:v>1300.0405</c:v>
                </c:pt>
                <c:pt idx="3">
                  <c:v>1318.663</c:v>
                </c:pt>
                <c:pt idx="4">
                  <c:v>1311.0525</c:v>
                </c:pt>
                <c:pt idx="5">
                  <c:v>1299.2755</c:v>
                </c:pt>
                <c:pt idx="6">
                  <c:v>1208.7711</c:v>
                </c:pt>
                <c:pt idx="7">
                  <c:v>1270.3232</c:v>
                </c:pt>
                <c:pt idx="8">
                  <c:v>1302.6553</c:v>
                </c:pt>
                <c:pt idx="9">
                  <c:v>1219.7235</c:v>
                </c:pt>
                <c:pt idx="10">
                  <c:v>1267.2686</c:v>
                </c:pt>
                <c:pt idx="11">
                  <c:v>1147.7334</c:v>
                </c:pt>
                <c:pt idx="12">
                  <c:v>1201.5058</c:v>
                </c:pt>
                <c:pt idx="13">
                  <c:v>1233.252</c:v>
                </c:pt>
                <c:pt idx="14">
                  <c:v>1234.366</c:v>
                </c:pt>
                <c:pt idx="15">
                  <c:v>1243.5076</c:v>
                </c:pt>
                <c:pt idx="16">
                  <c:v>1309.7702</c:v>
                </c:pt>
                <c:pt idx="17">
                  <c:v>1282.8843</c:v>
                </c:pt>
                <c:pt idx="18">
                  <c:v>1227.912</c:v>
                </c:pt>
                <c:pt idx="19">
                  <c:v>1332.3595</c:v>
                </c:pt>
                <c:pt idx="20">
                  <c:v>1304.9183</c:v>
                </c:pt>
                <c:pt idx="21">
                  <c:v>1214.6933</c:v>
                </c:pt>
                <c:pt idx="22">
                  <c:v>1277.9619</c:v>
                </c:pt>
                <c:pt idx="23">
                  <c:v>1304.9309</c:v>
                </c:pt>
                <c:pt idx="24">
                  <c:v>1324.233</c:v>
                </c:pt>
                <c:pt idx="25">
                  <c:v>1314.3778</c:v>
                </c:pt>
                <c:pt idx="26">
                  <c:v>1323.1967</c:v>
                </c:pt>
                <c:pt idx="27">
                  <c:v>1314.847</c:v>
                </c:pt>
                <c:pt idx="28">
                  <c:v>1335.9188</c:v>
                </c:pt>
                <c:pt idx="29">
                  <c:v>1346.3322</c:v>
                </c:pt>
                <c:pt idx="30">
                  <c:v>1324.3579</c:v>
                </c:pt>
                <c:pt idx="31">
                  <c:v>1298.7766</c:v>
                </c:pt>
                <c:pt idx="32">
                  <c:v>1318.6741</c:v>
                </c:pt>
                <c:pt idx="33">
                  <c:v>1329.4975</c:v>
                </c:pt>
                <c:pt idx="34">
                  <c:v>1346.882</c:v>
                </c:pt>
                <c:pt idx="35">
                  <c:v>1367.6943</c:v>
                </c:pt>
                <c:pt idx="36">
                  <c:v>1390.0594</c:v>
                </c:pt>
                <c:pt idx="37">
                  <c:v>1366.1922</c:v>
                </c:pt>
                <c:pt idx="38">
                  <c:v>1383.9041</c:v>
                </c:pt>
                <c:pt idx="39">
                  <c:v>1348.077</c:v>
                </c:pt>
                <c:pt idx="40">
                  <c:v>1381.5262</c:v>
                </c:pt>
                <c:pt idx="41">
                  <c:v>1404.6744</c:v>
                </c:pt>
                <c:pt idx="42">
                  <c:v>1377.6281</c:v>
                </c:pt>
                <c:pt idx="43">
                  <c:v>1390.967</c:v>
                </c:pt>
                <c:pt idx="44">
                  <c:v>1305.2283</c:v>
                </c:pt>
                <c:pt idx="45">
                  <c:v>1270.5834</c:v>
                </c:pt>
                <c:pt idx="46">
                  <c:v>1268.3785</c:v>
                </c:pt>
                <c:pt idx="47">
                  <c:v>1227.2745</c:v>
                </c:pt>
                <c:pt idx="48">
                  <c:v>1211.296</c:v>
                </c:pt>
                <c:pt idx="49">
                  <c:v>1224.5422</c:v>
                </c:pt>
                <c:pt idx="50">
                  <c:v>1168.5793</c:v>
                </c:pt>
                <c:pt idx="51">
                  <c:v>1148.3834</c:v>
                </c:pt>
                <c:pt idx="52">
                  <c:v>1202.0779677453352</c:v>
                </c:pt>
                <c:pt idx="53">
                  <c:v>-357.385091931898</c:v>
                </c:pt>
                <c:pt idx="54">
                  <c:v>1292.2699802628183</c:v>
                </c:pt>
              </c:numCache>
            </c:numRef>
          </c:xVal>
          <c:yVal>
            <c:numRef>
              <c:f>Sheet1!$B$187:$B$241</c:f>
              <c:numCache>
                <c:formatCode>General</c:formatCode>
                <c:ptCount val="55"/>
                <c:pt idx="0">
                  <c:v>0.3261274209150376</c:v>
                </c:pt>
                <c:pt idx="1">
                  <c:v>0.32610849812247916</c:v>
                </c:pt>
                <c:pt idx="2">
                  <c:v>0.3257482612471145</c:v>
                </c:pt>
                <c:pt idx="3">
                  <c:v>0.32459853953612045</c:v>
                </c:pt>
                <c:pt idx="4">
                  <c:v>0.32506839895786943</c:v>
                </c:pt>
                <c:pt idx="5">
                  <c:v>0.3257954910556209</c:v>
                </c:pt>
                <c:pt idx="6">
                  <c:v>0.3313830799196557</c:v>
                </c:pt>
                <c:pt idx="7">
                  <c:v>0.3275829571795684</c:v>
                </c:pt>
                <c:pt idx="8">
                  <c:v>0.32558682790949023</c:v>
                </c:pt>
                <c:pt idx="9">
                  <c:v>0.3307068972337923</c:v>
                </c:pt>
                <c:pt idx="10">
                  <c:v>0.3277715430267104</c:v>
                </c:pt>
                <c:pt idx="11">
                  <c:v>0.33515144447216694</c:v>
                </c:pt>
                <c:pt idx="12">
                  <c:v>0.33183162727618065</c:v>
                </c:pt>
                <c:pt idx="13">
                  <c:v>0.3298716704829703</c:v>
                </c:pt>
                <c:pt idx="14">
                  <c:v>0.3298028940036551</c:v>
                </c:pt>
                <c:pt idx="15">
                  <c:v>0.3292385070527504</c:v>
                </c:pt>
                <c:pt idx="16">
                  <c:v>0.325147565995056</c:v>
                </c:pt>
                <c:pt idx="17">
                  <c:v>0.32680745607155565</c:v>
                </c:pt>
                <c:pt idx="18">
                  <c:v>0.3302013530678385</c:v>
                </c:pt>
                <c:pt idx="19">
                  <c:v>0.3237529407489206</c:v>
                </c:pt>
                <c:pt idx="20">
                  <c:v>0.32544711410994775</c:v>
                </c:pt>
                <c:pt idx="21">
                  <c:v>0.33101745328967325</c:v>
                </c:pt>
                <c:pt idx="22">
                  <c:v>0.3271113567374274</c:v>
                </c:pt>
                <c:pt idx="23">
                  <c:v>0.3254463362072194</c:v>
                </c:pt>
                <c:pt idx="24">
                  <c:v>0.32425465713954443</c:v>
                </c:pt>
                <c:pt idx="25">
                  <c:v>0.32486310054973044</c:v>
                </c:pt>
                <c:pt idx="26">
                  <c:v>0.32431863655203486</c:v>
                </c:pt>
                <c:pt idx="27">
                  <c:v>0.3248341329338465</c:v>
                </c:pt>
                <c:pt idx="28">
                  <c:v>0.32353319557582666</c:v>
                </c:pt>
                <c:pt idx="29">
                  <c:v>0.32289028984000895</c:v>
                </c:pt>
                <c:pt idx="30">
                  <c:v>0.32424694602440396</c:v>
                </c:pt>
                <c:pt idx="31">
                  <c:v>0.32582629229936444</c:v>
                </c:pt>
                <c:pt idx="32">
                  <c:v>0.32459785424085974</c:v>
                </c:pt>
                <c:pt idx="33">
                  <c:v>0.3239296357972151</c:v>
                </c:pt>
                <c:pt idx="34">
                  <c:v>0.3228563461161961</c:v>
                </c:pt>
                <c:pt idx="35">
                  <c:v>0.3215714298500814</c:v>
                </c:pt>
                <c:pt idx="36">
                  <c:v>0.32019064633344546</c:v>
                </c:pt>
                <c:pt idx="37">
                  <c:v>0.3216641669681957</c:v>
                </c:pt>
                <c:pt idx="38">
                  <c:v>0.32057066416390223</c:v>
                </c:pt>
                <c:pt idx="39">
                  <c:v>0.3227825688336273</c:v>
                </c:pt>
                <c:pt idx="40">
                  <c:v>0.32071747169546744</c:v>
                </c:pt>
                <c:pt idx="41">
                  <c:v>0.319288340906882</c:v>
                </c:pt>
                <c:pt idx="42">
                  <c:v>0.32095813380859006</c:v>
                </c:pt>
                <c:pt idx="43">
                  <c:v>0.3201346126416802</c:v>
                </c:pt>
                <c:pt idx="44">
                  <c:v>0.32542797523329814</c:v>
                </c:pt>
                <c:pt idx="45">
                  <c:v>0.32756689287084506</c:v>
                </c:pt>
                <c:pt idx="46">
                  <c:v>0.32770301967447346</c:v>
                </c:pt>
                <c:pt idx="47">
                  <c:v>0.3302407112415938</c:v>
                </c:pt>
                <c:pt idx="48">
                  <c:v>0.3312271968562599</c:v>
                </c:pt>
                <c:pt idx="49">
                  <c:v>0.3304093988308514</c:v>
                </c:pt>
                <c:pt idx="50">
                  <c:v>0.33386445379877666</c:v>
                </c:pt>
                <c:pt idx="51">
                  <c:v>0.3351113145695145</c:v>
                </c:pt>
                <c:pt idx="52">
                  <c:v>0.3317963026055326</c:v>
                </c:pt>
                <c:pt idx="53">
                  <c:v>0.42807491918247476</c:v>
                </c:pt>
                <c:pt idx="54">
                  <c:v>0.32622800001728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8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526055951727921"/>
          <c:min val="0.216960767517560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871570325245394</c:v>
                </c:pt>
                <c:pt idx="1">
                  <c:v>0.3928423653980623</c:v>
                </c:pt>
                <c:pt idx="2">
                  <c:v>0.35552544350976567</c:v>
                </c:pt>
                <c:pt idx="3">
                  <c:v>0.3335228782389958</c:v>
                </c:pt>
                <c:pt idx="4">
                  <c:v>0.33087962998650994</c:v>
                </c:pt>
                <c:pt idx="5">
                  <c:v>0.20846811842108176</c:v>
                </c:pt>
                <c:pt idx="6">
                  <c:v>0.21339832571000264</c:v>
                </c:pt>
                <c:pt idx="7">
                  <c:v>0.26828151165833175</c:v>
                </c:pt>
                <c:pt idx="8">
                  <c:v>0.2037087642661193</c:v>
                </c:pt>
                <c:pt idx="9">
                  <c:v>0.2577643909158337</c:v>
                </c:pt>
                <c:pt idx="10">
                  <c:v>0.24738085805335316</c:v>
                </c:pt>
                <c:pt idx="11">
                  <c:v>0.2696695874722419</c:v>
                </c:pt>
                <c:pt idx="12">
                  <c:v>0.25917518799334965</c:v>
                </c:pt>
                <c:pt idx="13">
                  <c:v>0.29830453400949886</c:v>
                </c:pt>
                <c:pt idx="14">
                  <c:v>0.3463394485490068</c:v>
                </c:pt>
                <c:pt idx="15">
                  <c:v>0.3334758284000354</c:v>
                </c:pt>
                <c:pt idx="16">
                  <c:v>0.34495829790647153</c:v>
                </c:pt>
                <c:pt idx="17">
                  <c:v>0.3747224053333484</c:v>
                </c:pt>
                <c:pt idx="18">
                  <c:v>0.4683311821802466</c:v>
                </c:pt>
                <c:pt idx="19">
                  <c:v>0.40921953584175064</c:v>
                </c:pt>
                <c:pt idx="20">
                  <c:v>0.3945798483117741</c:v>
                </c:pt>
                <c:pt idx="21">
                  <c:v>0.3651310370119834</c:v>
                </c:pt>
                <c:pt idx="22">
                  <c:v>0.3120784624422251</c:v>
                </c:pt>
                <c:pt idx="23">
                  <c:v>0.36396039739813474</c:v>
                </c:pt>
                <c:pt idx="24">
                  <c:v>0.28197831342691154</c:v>
                </c:pt>
                <c:pt idx="25">
                  <c:v>0.25335664255634643</c:v>
                </c:pt>
                <c:pt idx="26">
                  <c:v>0.30245698793741316</c:v>
                </c:pt>
                <c:pt idx="27">
                  <c:v>0.20990958998283601</c:v>
                </c:pt>
                <c:pt idx="28">
                  <c:v>0.18073451016481218</c:v>
                </c:pt>
                <c:pt idx="29">
                  <c:v>0.1757838605509869</c:v>
                </c:pt>
                <c:pt idx="30">
                  <c:v>0.20115254153551748</c:v>
                </c:pt>
                <c:pt idx="31">
                  <c:v>0.1612844826267154</c:v>
                </c:pt>
                <c:pt idx="32">
                  <c:v>0.14388279210755284</c:v>
                </c:pt>
                <c:pt idx="33">
                  <c:v>0.1358644293210037</c:v>
                </c:pt>
                <c:pt idx="34">
                  <c:v>0.11769411216832282</c:v>
                </c:pt>
                <c:pt idx="35">
                  <c:v>0.15769228314485173</c:v>
                </c:pt>
                <c:pt idx="36">
                  <c:v>0.20446661477117997</c:v>
                </c:pt>
                <c:pt idx="37">
                  <c:v>0.15795678151607556</c:v>
                </c:pt>
                <c:pt idx="38">
                  <c:v>0.16711602115413862</c:v>
                </c:pt>
                <c:pt idx="39">
                  <c:v>0.12353361710963455</c:v>
                </c:pt>
                <c:pt idx="40">
                  <c:v>0.15034838052167268</c:v>
                </c:pt>
                <c:pt idx="41">
                  <c:v>0.1286875596863143</c:v>
                </c:pt>
                <c:pt idx="42">
                  <c:v>0.1814756772503289</c:v>
                </c:pt>
                <c:pt idx="43">
                  <c:v>0.21155442534936544</c:v>
                </c:pt>
                <c:pt idx="44">
                  <c:v>0.22074127335045948</c:v>
                </c:pt>
                <c:pt idx="45">
                  <c:v>0.17890414140313593</c:v>
                </c:pt>
                <c:pt idx="46">
                  <c:v>0.15191048025009696</c:v>
                </c:pt>
                <c:pt idx="47">
                  <c:v>0.15672274232571823</c:v>
                </c:pt>
                <c:pt idx="48">
                  <c:v>0.17200927414047554</c:v>
                </c:pt>
                <c:pt idx="49">
                  <c:v>0.22185730442388318</c:v>
                </c:pt>
                <c:pt idx="50">
                  <c:v>0.12215662015384886</c:v>
                </c:pt>
                <c:pt idx="51">
                  <c:v>0.1188777634867862</c:v>
                </c:pt>
                <c:pt idx="52">
                  <c:v>0.12606373157309322</c:v>
                </c:pt>
                <c:pt idx="53">
                  <c:v>0.129298189231432</c:v>
                </c:pt>
                <c:pt idx="54">
                  <c:v>0.12506589053332776</c:v>
                </c:pt>
                <c:pt idx="55">
                  <c:v>0.12261707925838199</c:v>
                </c:pt>
                <c:pt idx="56">
                  <c:v>0.1225125103762516</c:v>
                </c:pt>
                <c:pt idx="57">
                  <c:v>0.12093122339775579</c:v>
                </c:pt>
                <c:pt idx="58">
                  <c:v>0.13495635094836753</c:v>
                </c:pt>
                <c:pt idx="59">
                  <c:v>0.1486765385655301</c:v>
                </c:pt>
                <c:pt idx="60">
                  <c:v>0.11277560069810018</c:v>
                </c:pt>
                <c:pt idx="61">
                  <c:v>0.10443460894074491</c:v>
                </c:pt>
                <c:pt idx="62">
                  <c:v>0.0888114692242476</c:v>
                </c:pt>
                <c:pt idx="63">
                  <c:v>0.11402956874215993</c:v>
                </c:pt>
                <c:pt idx="64">
                  <c:v>0.11233404095154012</c:v>
                </c:pt>
                <c:pt idx="65">
                  <c:v>0.09130629311529576</c:v>
                </c:pt>
                <c:pt idx="66">
                  <c:v>0.08631380897014918</c:v>
                </c:pt>
                <c:pt idx="67">
                  <c:v>0.08536268552421884</c:v>
                </c:pt>
                <c:pt idx="68">
                  <c:v>0.0902434844096532</c:v>
                </c:pt>
                <c:pt idx="69">
                  <c:v>0.08448013022188774</c:v>
                </c:pt>
                <c:pt idx="70">
                  <c:v>0.09172730490452799</c:v>
                </c:pt>
                <c:pt idx="71">
                  <c:v>0.07286494392169664</c:v>
                </c:pt>
                <c:pt idx="72">
                  <c:v>0.08011226551826651</c:v>
                </c:pt>
                <c:pt idx="73">
                  <c:v>0.091517898263222</c:v>
                </c:pt>
                <c:pt idx="74">
                  <c:v>0.06738136097256887</c:v>
                </c:pt>
                <c:pt idx="75">
                  <c:v>0.09759040456215179</c:v>
                </c:pt>
                <c:pt idx="76">
                  <c:v>0.0900619988663916</c:v>
                </c:pt>
                <c:pt idx="77">
                  <c:v>0.0702247697992462</c:v>
                </c:pt>
                <c:pt idx="78">
                  <c:v>0.0821263983083008</c:v>
                </c:pt>
                <c:pt idx="79">
                  <c:v>0.08198249151026261</c:v>
                </c:pt>
                <c:pt idx="80">
                  <c:v>0.07287935699423084</c:v>
                </c:pt>
                <c:pt idx="81">
                  <c:v>0.10064656635175127</c:v>
                </c:pt>
                <c:pt idx="82">
                  <c:v>0.0963797381394214</c:v>
                </c:pt>
                <c:pt idx="83">
                  <c:v>0.08659576343608481</c:v>
                </c:pt>
                <c:pt idx="84">
                  <c:v>0.06738657754670065</c:v>
                </c:pt>
                <c:pt idx="85">
                  <c:v>0.07225934645694568</c:v>
                </c:pt>
                <c:pt idx="86">
                  <c:v>0.07103183472426974</c:v>
                </c:pt>
                <c:pt idx="87">
                  <c:v>0.07200511536253074</c:v>
                </c:pt>
                <c:pt idx="88">
                  <c:v>0.09988337739851105</c:v>
                </c:pt>
                <c:pt idx="89">
                  <c:v>0.0805225421083489</c:v>
                </c:pt>
                <c:pt idx="90">
                  <c:v>0.09813133323232814</c:v>
                </c:pt>
                <c:pt idx="91">
                  <c:v>0.0861200724360826</c:v>
                </c:pt>
                <c:pt idx="92">
                  <c:v>0.08131992845247642</c:v>
                </c:pt>
                <c:pt idx="93">
                  <c:v>0.07655917050986216</c:v>
                </c:pt>
                <c:pt idx="94">
                  <c:v>0.07672354352277341</c:v>
                </c:pt>
                <c:pt idx="95">
                  <c:v>0.08018650202109727</c:v>
                </c:pt>
                <c:pt idx="96">
                  <c:v>0.06706537637751017</c:v>
                </c:pt>
                <c:pt idx="97">
                  <c:v>0.07295090532436851</c:v>
                </c:pt>
                <c:pt idx="98">
                  <c:v>0.06537744770882173</c:v>
                </c:pt>
                <c:pt idx="99">
                  <c:v>0.07252437314596749</c:v>
                </c:pt>
                <c:pt idx="100">
                  <c:v>0.05460328420536653</c:v>
                </c:pt>
                <c:pt idx="101">
                  <c:v>0.06613604731943068</c:v>
                </c:pt>
                <c:pt idx="102">
                  <c:v>0.07646847705818544</c:v>
                </c:pt>
                <c:pt idx="103">
                  <c:v>0.060988399492934595</c:v>
                </c:pt>
                <c:pt idx="104">
                  <c:v>0.07104241504715791</c:v>
                </c:pt>
              </c:numCache>
            </c:numRef>
          </c:xVal>
          <c:yVal>
            <c:numRef>
              <c:f>Sheet1!$B$2:$B$106</c:f>
              <c:numCache>
                <c:formatCode>General</c:formatCode>
                <c:ptCount val="105"/>
                <c:pt idx="0">
                  <c:v>0.37030952792668165</c:v>
                </c:pt>
                <c:pt idx="1">
                  <c:v>0.4069049306469576</c:v>
                </c:pt>
                <c:pt idx="2">
                  <c:v>0.43152882724355657</c:v>
                </c:pt>
                <c:pt idx="3">
                  <c:v>0.4367342392515037</c:v>
                </c:pt>
                <c:pt idx="4">
                  <c:v>0.4431122767578369</c:v>
                </c:pt>
                <c:pt idx="5">
                  <c:v>0.4262295081967213</c:v>
                </c:pt>
                <c:pt idx="6">
                  <c:v>0.4427332877024869</c:v>
                </c:pt>
                <c:pt idx="7">
                  <c:v>0.4605046626439934</c:v>
                </c:pt>
                <c:pt idx="8">
                  <c:v>0.4346170122725349</c:v>
                </c:pt>
                <c:pt idx="9">
                  <c:v>0.42073737478054324</c:v>
                </c:pt>
                <c:pt idx="10">
                  <c:v>0.40130850528434825</c:v>
                </c:pt>
                <c:pt idx="11">
                  <c:v>0.3633126462508902</c:v>
                </c:pt>
                <c:pt idx="12">
                  <c:v>0.3418999541073887</c:v>
                </c:pt>
                <c:pt idx="13">
                  <c:v>0.3294482564150766</c:v>
                </c:pt>
                <c:pt idx="14">
                  <c:v>0.3018034942701484</c:v>
                </c:pt>
                <c:pt idx="15">
                  <c:v>0.293961742336944</c:v>
                </c:pt>
                <c:pt idx="16">
                  <c:v>0.28739316239316237</c:v>
                </c:pt>
                <c:pt idx="17">
                  <c:v>0.28959741404642964</c:v>
                </c:pt>
                <c:pt idx="18">
                  <c:v>0.2712009593969505</c:v>
                </c:pt>
                <c:pt idx="19">
                  <c:v>0.28177019894437677</c:v>
                </c:pt>
                <c:pt idx="20">
                  <c:v>0.2843917492285204</c:v>
                </c:pt>
                <c:pt idx="21">
                  <c:v>0.31679389312977096</c:v>
                </c:pt>
                <c:pt idx="22">
                  <c:v>0.3662754786905497</c:v>
                </c:pt>
                <c:pt idx="23">
                  <c:v>0.3844984802431611</c:v>
                </c:pt>
                <c:pt idx="24">
                  <c:v>0.4016938898971567</c:v>
                </c:pt>
                <c:pt idx="25">
                  <c:v>0.3997255888406129</c:v>
                </c:pt>
                <c:pt idx="26">
                  <c:v>0.4001926782273603</c:v>
                </c:pt>
                <c:pt idx="27">
                  <c:v>0.3921604711078395</c:v>
                </c:pt>
                <c:pt idx="28">
                  <c:v>0.38458574181117533</c:v>
                </c:pt>
                <c:pt idx="29">
                  <c:v>0.3851161154116819</c:v>
                </c:pt>
                <c:pt idx="30">
                  <c:v>0.3902439024390244</c:v>
                </c:pt>
                <c:pt idx="31">
                  <c:v>0.40343527440301635</c:v>
                </c:pt>
                <c:pt idx="32">
                  <c:v>0.42004722043356946</c:v>
                </c:pt>
                <c:pt idx="33">
                  <c:v>0.4289111601834551</c:v>
                </c:pt>
                <c:pt idx="34">
                  <c:v>0.40476190476190477</c:v>
                </c:pt>
                <c:pt idx="35">
                  <c:v>0.3940037771482531</c:v>
                </c:pt>
                <c:pt idx="36">
                  <c:v>0.3576719576719577</c:v>
                </c:pt>
                <c:pt idx="37">
                  <c:v>0.36244302643573384</c:v>
                </c:pt>
                <c:pt idx="38">
                  <c:v>0.3499349563278201</c:v>
                </c:pt>
                <c:pt idx="39">
                  <c:v>0.3418654256350591</c:v>
                </c:pt>
                <c:pt idx="40">
                  <c:v>0.3519824478921799</c:v>
                </c:pt>
                <c:pt idx="41">
                  <c:v>0.3443092340730136</c:v>
                </c:pt>
                <c:pt idx="42">
                  <c:v>0.34311816684139584</c:v>
                </c:pt>
                <c:pt idx="43">
                  <c:v>0.3302997858672377</c:v>
                </c:pt>
                <c:pt idx="44">
                  <c:v>0.3194601654331737</c:v>
                </c:pt>
                <c:pt idx="45">
                  <c:v>0.324290418692175</c:v>
                </c:pt>
                <c:pt idx="46">
                  <c:v>0.33104087783015224</c:v>
                </c:pt>
                <c:pt idx="47">
                  <c:v>0.3215102072988098</c:v>
                </c:pt>
                <c:pt idx="48">
                  <c:v>0.325332726652258</c:v>
                </c:pt>
                <c:pt idx="49">
                  <c:v>0.34281414016671813</c:v>
                </c:pt>
                <c:pt idx="50">
                  <c:v>0.3323317307692308</c:v>
                </c:pt>
                <c:pt idx="51">
                  <c:v>0.3365947242206235</c:v>
                </c:pt>
                <c:pt idx="52">
                  <c:v>0.3415553809897879</c:v>
                </c:pt>
                <c:pt idx="53">
                  <c:v>0.34542242543905227</c:v>
                </c:pt>
                <c:pt idx="54">
                  <c:v>0.36003283687111526</c:v>
                </c:pt>
                <c:pt idx="55">
                  <c:v>0.3527413876758855</c:v>
                </c:pt>
                <c:pt idx="56">
                  <c:v>0.3605015673981191</c:v>
                </c:pt>
                <c:pt idx="57">
                  <c:v>0.35610401057734686</c:v>
                </c:pt>
                <c:pt idx="58">
                  <c:v>0.3576145884672252</c:v>
                </c:pt>
                <c:pt idx="59">
                  <c:v>0.3588378936822992</c:v>
                </c:pt>
                <c:pt idx="60">
                  <c:v>0.36460539801844893</c:v>
                </c:pt>
                <c:pt idx="61">
                  <c:v>0.3615302248612869</c:v>
                </c:pt>
                <c:pt idx="62">
                  <c:v>0.3779600110568506</c:v>
                </c:pt>
                <c:pt idx="63">
                  <c:v>0.3906262961426794</c:v>
                </c:pt>
                <c:pt idx="64">
                  <c:v>0.360973341599504</c:v>
                </c:pt>
                <c:pt idx="65">
                  <c:v>0.3396652719665272</c:v>
                </c:pt>
                <c:pt idx="66">
                  <c:v>0.3369966669669399</c:v>
                </c:pt>
                <c:pt idx="67">
                  <c:v>0.3277767009110293</c:v>
                </c:pt>
                <c:pt idx="68">
                  <c:v>0.32401767586289265</c:v>
                </c:pt>
                <c:pt idx="69">
                  <c:v>0.3059185242121445</c:v>
                </c:pt>
                <c:pt idx="70">
                  <c:v>0.3052820053715309</c:v>
                </c:pt>
                <c:pt idx="71">
                  <c:v>0.3185344116190791</c:v>
                </c:pt>
                <c:pt idx="72">
                  <c:v>0.30336740829825615</c:v>
                </c:pt>
                <c:pt idx="73">
                  <c:v>0.31850387213709014</c:v>
                </c:pt>
                <c:pt idx="74">
                  <c:v>0.3149102263856362</c:v>
                </c:pt>
                <c:pt idx="75">
                  <c:v>0.3324295010845987</c:v>
                </c:pt>
                <c:pt idx="76">
                  <c:v>0.32415005861664714</c:v>
                </c:pt>
                <c:pt idx="77">
                  <c:v>0.32843925985518907</c:v>
                </c:pt>
                <c:pt idx="78">
                  <c:v>0.3151487826871055</c:v>
                </c:pt>
                <c:pt idx="79">
                  <c:v>0.31277813095994916</c:v>
                </c:pt>
                <c:pt idx="80">
                  <c:v>0.29580665151828134</c:v>
                </c:pt>
                <c:pt idx="81">
                  <c:v>0.3069154399178364</c:v>
                </c:pt>
                <c:pt idx="82">
                  <c:v>0.3131584846446985</c:v>
                </c:pt>
                <c:pt idx="83">
                  <c:v>0.3096740273396425</c:v>
                </c:pt>
                <c:pt idx="84">
                  <c:v>0.3096486628211851</c:v>
                </c:pt>
                <c:pt idx="85">
                  <c:v>0.32209651350727314</c:v>
                </c:pt>
                <c:pt idx="86">
                  <c:v>0.31315657828914456</c:v>
                </c:pt>
                <c:pt idx="87">
                  <c:v>0.3334307422559907</c:v>
                </c:pt>
                <c:pt idx="88">
                  <c:v>0.3305391503143456</c:v>
                </c:pt>
                <c:pt idx="89">
                  <c:v>0.3295505117935024</c:v>
                </c:pt>
                <c:pt idx="90">
                  <c:v>0.3269098417068135</c:v>
                </c:pt>
                <c:pt idx="91">
                  <c:v>0.3</c:v>
                </c:pt>
                <c:pt idx="92">
                  <c:v>0.3097581317764804</c:v>
                </c:pt>
                <c:pt idx="93">
                  <c:v>0.290199203187251</c:v>
                </c:pt>
                <c:pt idx="94">
                  <c:v>0.292310424436157</c:v>
                </c:pt>
                <c:pt idx="95">
                  <c:v>0.28857791225416035</c:v>
                </c:pt>
                <c:pt idx="96">
                  <c:v>0.29556252801434335</c:v>
                </c:pt>
                <c:pt idx="97">
                  <c:v>0.2938514357053683</c:v>
                </c:pt>
                <c:pt idx="98">
                  <c:v>0.30278750336654997</c:v>
                </c:pt>
                <c:pt idx="99">
                  <c:v>0.3080873671782763</c:v>
                </c:pt>
                <c:pt idx="100">
                  <c:v>0.31036056595162026</c:v>
                </c:pt>
                <c:pt idx="101">
                  <c:v>0.31192590905640327</c:v>
                </c:pt>
                <c:pt idx="102">
                  <c:v>0.3031456621919455</c:v>
                </c:pt>
                <c:pt idx="103">
                  <c:v>0.2880230628112169</c:v>
                </c:pt>
                <c:pt idx="104">
                  <c:v>0.2986716479867164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06032931689037596</c:v>
                </c:pt>
                <c:pt idx="1">
                  <c:v>0.07462030927015012</c:v>
                </c:pt>
                <c:pt idx="2">
                  <c:v>0.0974244483637995</c:v>
                </c:pt>
                <c:pt idx="3">
                  <c:v>0.107307374196822</c:v>
                </c:pt>
                <c:pt idx="4">
                  <c:v>0.11725995966973439</c:v>
                </c:pt>
                <c:pt idx="5">
                  <c:v>0.1125356941404912</c:v>
                </c:pt>
                <c:pt idx="6">
                  <c:v>0.09638686075336361</c:v>
                </c:pt>
                <c:pt idx="7">
                  <c:v>0.09265083147515393</c:v>
                </c:pt>
                <c:pt idx="8">
                  <c:v>0.13088808740782745</c:v>
                </c:pt>
                <c:pt idx="9">
                  <c:v>0.10564998329918768</c:v>
                </c:pt>
                <c:pt idx="10">
                  <c:v>0.12515357567628135</c:v>
                </c:pt>
                <c:pt idx="11">
                  <c:v>0.11594948988356252</c:v>
                </c:pt>
                <c:pt idx="12">
                  <c:v>0.14947377585145183</c:v>
                </c:pt>
                <c:pt idx="13">
                  <c:v>0.12172690624470205</c:v>
                </c:pt>
                <c:pt idx="14">
                  <c:v>0.10286164066602646</c:v>
                </c:pt>
                <c:pt idx="15">
                  <c:v>0.10253132504540084</c:v>
                </c:pt>
                <c:pt idx="16">
                  <c:v>0.07443115668865082</c:v>
                </c:pt>
                <c:pt idx="17">
                  <c:v>0.0742871692907294</c:v>
                </c:pt>
                <c:pt idx="18">
                  <c:v>0.08955157459906918</c:v>
                </c:pt>
                <c:pt idx="19">
                  <c:v>0.11588337926379584</c:v>
                </c:pt>
                <c:pt idx="20">
                  <c:v>0.10066283413735318</c:v>
                </c:pt>
                <c:pt idx="21">
                  <c:v>0.07480506635640734</c:v>
                </c:pt>
                <c:pt idx="22">
                  <c:v>0.0911859670801995</c:v>
                </c:pt>
                <c:pt idx="23">
                  <c:v>0.08614997491285518</c:v>
                </c:pt>
                <c:pt idx="24">
                  <c:v>0.08867276807425988</c:v>
                </c:pt>
                <c:pt idx="25">
                  <c:v>0.11541153159800537</c:v>
                </c:pt>
                <c:pt idx="26">
                  <c:v>0.0966756569212023</c:v>
                </c:pt>
                <c:pt idx="27">
                  <c:v>0.11492757701828157</c:v>
                </c:pt>
                <c:pt idx="28">
                  <c:v>0.11530578865063139</c:v>
                </c:pt>
                <c:pt idx="29">
                  <c:v>0.12294198325486774</c:v>
                </c:pt>
                <c:pt idx="30">
                  <c:v>0.13148793293783106</c:v>
                </c:pt>
                <c:pt idx="31">
                  <c:v>0.1008935399463311</c:v>
                </c:pt>
                <c:pt idx="32">
                  <c:v>0.10243284454084746</c:v>
                </c:pt>
                <c:pt idx="33">
                  <c:v>0.12310364702115187</c:v>
                </c:pt>
                <c:pt idx="34">
                  <c:v>0.1032452028302457</c:v>
                </c:pt>
                <c:pt idx="35">
                  <c:v>0.11901020478689982</c:v>
                </c:pt>
                <c:pt idx="36">
                  <c:v>0.09677662532494845</c:v>
                </c:pt>
                <c:pt idx="37">
                  <c:v>0.11091398099170963</c:v>
                </c:pt>
                <c:pt idx="38">
                  <c:v>0.10014246759701752</c:v>
                </c:pt>
                <c:pt idx="39">
                  <c:v>0.12106106150764785</c:v>
                </c:pt>
                <c:pt idx="40">
                  <c:v>0.11444219908754476</c:v>
                </c:pt>
                <c:pt idx="41">
                  <c:v>0.12319262050914834</c:v>
                </c:pt>
                <c:pt idx="42">
                  <c:v>0.11722249781956645</c:v>
                </c:pt>
                <c:pt idx="43">
                  <c:v>0.13543017055230175</c:v>
                </c:pt>
                <c:pt idx="44">
                  <c:v>0.1256351804991014</c:v>
                </c:pt>
                <c:pt idx="45">
                  <c:v>0.12381574312308137</c:v>
                </c:pt>
                <c:pt idx="46">
                  <c:v>0.09913095133031709</c:v>
                </c:pt>
                <c:pt idx="47">
                  <c:v>0.10768879770527277</c:v>
                </c:pt>
                <c:pt idx="48">
                  <c:v>0.12846582189619085</c:v>
                </c:pt>
                <c:pt idx="49">
                  <c:v>0.12132105225488682</c:v>
                </c:pt>
                <c:pt idx="50">
                  <c:v>0.14134514531665623</c:v>
                </c:pt>
                <c:pt idx="51">
                  <c:v>0.12437450249886</c:v>
                </c:pt>
              </c:numCache>
            </c:numRef>
          </c:xVal>
          <c:yVal>
            <c:numRef>
              <c:f>Sheet1!$B$109:$B$160</c:f>
              <c:numCache>
                <c:formatCode>General</c:formatCode>
                <c:ptCount val="52"/>
                <c:pt idx="0">
                  <c:v>0.3088720636769559</c:v>
                </c:pt>
                <c:pt idx="1">
                  <c:v>0.31655492521918516</c:v>
                </c:pt>
                <c:pt idx="2">
                  <c:v>0.3249200142196943</c:v>
                </c:pt>
                <c:pt idx="3">
                  <c:v>0.33826774549466715</c:v>
                </c:pt>
                <c:pt idx="4">
                  <c:v>0.33544242188260487</c:v>
                </c:pt>
                <c:pt idx="5">
                  <c:v>0.3264796310530361</c:v>
                </c:pt>
                <c:pt idx="6">
                  <c:v>0.3376328458533927</c:v>
                </c:pt>
                <c:pt idx="7">
                  <c:v>0.32071637241204115</c:v>
                </c:pt>
                <c:pt idx="8">
                  <c:v>0.33232845248349124</c:v>
                </c:pt>
                <c:pt idx="9">
                  <c:v>0.3318170331058883</c:v>
                </c:pt>
                <c:pt idx="10">
                  <c:v>0.3252361673414305</c:v>
                </c:pt>
                <c:pt idx="11">
                  <c:v>0.3320771253286591</c:v>
                </c:pt>
                <c:pt idx="12">
                  <c:v>0.33480044013203963</c:v>
                </c:pt>
                <c:pt idx="13">
                  <c:v>0.3444373265001068</c:v>
                </c:pt>
                <c:pt idx="14">
                  <c:v>0.34308981470553523</c:v>
                </c:pt>
                <c:pt idx="15">
                  <c:v>0.33507453178748886</c:v>
                </c:pt>
                <c:pt idx="16">
                  <c:v>0.3097582811101164</c:v>
                </c:pt>
                <c:pt idx="17">
                  <c:v>0.31041956959281625</c:v>
                </c:pt>
                <c:pt idx="18">
                  <c:v>0.3261857168817009</c:v>
                </c:pt>
                <c:pt idx="19">
                  <c:v>0.3218253290035891</c:v>
                </c:pt>
                <c:pt idx="20">
                  <c:v>0.32333664349553126</c:v>
                </c:pt>
                <c:pt idx="21">
                  <c:v>0.34642254878342565</c:v>
                </c:pt>
                <c:pt idx="22">
                  <c:v>0.33713315546931844</c:v>
                </c:pt>
                <c:pt idx="23">
                  <c:v>0.3316276803118908</c:v>
                </c:pt>
                <c:pt idx="24">
                  <c:v>0.32457353619179347</c:v>
                </c:pt>
                <c:pt idx="25">
                  <c:v>0.3114639271538641</c:v>
                </c:pt>
                <c:pt idx="26">
                  <c:v>0.3097130242825607</c:v>
                </c:pt>
                <c:pt idx="27">
                  <c:v>0.3031977891827872</c:v>
                </c:pt>
                <c:pt idx="28">
                  <c:v>0.3062360801781737</c:v>
                </c:pt>
                <c:pt idx="29">
                  <c:v>0.31902394938996836</c:v>
                </c:pt>
                <c:pt idx="30">
                  <c:v>0.32297852900867974</c:v>
                </c:pt>
                <c:pt idx="31">
                  <c:v>0.3148806500761808</c:v>
                </c:pt>
                <c:pt idx="32">
                  <c:v>0.3185033082363678</c:v>
                </c:pt>
                <c:pt idx="33">
                  <c:v>0.3210992907801418</c:v>
                </c:pt>
                <c:pt idx="34">
                  <c:v>0.3414243798346226</c:v>
                </c:pt>
                <c:pt idx="35">
                  <c:v>0.3278271918678526</c:v>
                </c:pt>
                <c:pt idx="36">
                  <c:v>0.3286334056399132</c:v>
                </c:pt>
                <c:pt idx="37">
                  <c:v>0.3424323665610529</c:v>
                </c:pt>
                <c:pt idx="38">
                  <c:v>0.3354784555120313</c:v>
                </c:pt>
                <c:pt idx="39">
                  <c:v>0.33706070287539935</c:v>
                </c:pt>
                <c:pt idx="40">
                  <c:v>0.31732859118751233</c:v>
                </c:pt>
                <c:pt idx="41">
                  <c:v>0.316992259491338</c:v>
                </c:pt>
                <c:pt idx="42">
                  <c:v>0.3271578947368421</c:v>
                </c:pt>
                <c:pt idx="43">
                  <c:v>0.31994328922495274</c:v>
                </c:pt>
                <c:pt idx="44">
                  <c:v>0.3100735853844202</c:v>
                </c:pt>
                <c:pt idx="45">
                  <c:v>0.32093527128283833</c:v>
                </c:pt>
                <c:pt idx="46">
                  <c:v>0.33204092622509424</c:v>
                </c:pt>
                <c:pt idx="47">
                  <c:v>0.3322462693942089</c:v>
                </c:pt>
                <c:pt idx="48">
                  <c:v>0.31593362332850006</c:v>
                </c:pt>
                <c:pt idx="49">
                  <c:v>0.33039009915321704</c:v>
                </c:pt>
                <c:pt idx="50">
                  <c:v>0.3407763815574345</c:v>
                </c:pt>
                <c:pt idx="51">
                  <c:v>0.3400851063829787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3756658739857928</c:v>
                </c:pt>
              </c:numCache>
            </c:numRef>
          </c:xVal>
          <c:yVal>
            <c:numRef>
              <c:f>Sheet1!$B$163:$B$164</c:f>
              <c:numCache>
                <c:formatCode>General</c:formatCode>
                <c:ptCount val="2"/>
                <c:pt idx="0">
                  <c:v>0.42807491918247476</c:v>
                </c:pt>
                <c:pt idx="1">
                  <c:v>0.4280749191824747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3756658739857928</c:v>
                </c:pt>
                <c:pt idx="1">
                  <c:v>1.3756658739857928</c:v>
                </c:pt>
              </c:numCache>
            </c:numRef>
          </c:xVal>
          <c:yVal>
            <c:numRef>
              <c:f>Sheet1!$B$167:$B$168</c:f>
              <c:numCache>
                <c:formatCode>General</c:formatCode>
                <c:ptCount val="2"/>
                <c:pt idx="0">
                  <c:v>0.4280749191824747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7804992989361276</c:v>
                </c:pt>
              </c:numCache>
            </c:numRef>
          </c:xVal>
          <c:yVal>
            <c:numRef>
              <c:f>Sheet1!$B$171:$B$172</c:f>
              <c:numCache>
                <c:formatCode>General</c:formatCode>
                <c:ptCount val="2"/>
                <c:pt idx="0">
                  <c:v>0.3317963026055326</c:v>
                </c:pt>
                <c:pt idx="1">
                  <c:v>0.331796302605532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7804992989361276</c:v>
                </c:pt>
                <c:pt idx="1">
                  <c:v>0.17804992989361276</c:v>
                </c:pt>
              </c:numCache>
            </c:numRef>
          </c:xVal>
          <c:yVal>
            <c:numRef>
              <c:f>Sheet1!$B$175:$B$176</c:f>
              <c:numCache>
                <c:formatCode>General</c:formatCode>
                <c:ptCount val="2"/>
                <c:pt idx="0">
                  <c:v>0.331796302605532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0878545354041498</c:v>
                </c:pt>
              </c:numCache>
            </c:numRef>
          </c:xVal>
          <c:yVal>
            <c:numRef>
              <c:f>Sheet1!$B$179:$B$180</c:f>
              <c:numCache>
                <c:formatCode>General</c:formatCode>
                <c:ptCount val="2"/>
                <c:pt idx="0">
                  <c:v>0.3262280000172874</c:v>
                </c:pt>
                <c:pt idx="1">
                  <c:v>0.326228000017287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0878545354041498</c:v>
                </c:pt>
                <c:pt idx="1">
                  <c:v>0.10878545354041498</c:v>
                </c:pt>
              </c:numCache>
            </c:numRef>
          </c:xVal>
          <c:yVal>
            <c:numRef>
              <c:f>Sheet1!$B$183:$B$184</c:f>
              <c:numCache>
                <c:formatCode>General</c:formatCode>
                <c:ptCount val="2"/>
                <c:pt idx="0">
                  <c:v>0.326228000017287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06032931689037596</c:v>
                </c:pt>
                <c:pt idx="1">
                  <c:v>0.07462030927015012</c:v>
                </c:pt>
                <c:pt idx="2">
                  <c:v>0.0974244483637995</c:v>
                </c:pt>
                <c:pt idx="3">
                  <c:v>0.107307374196822</c:v>
                </c:pt>
                <c:pt idx="4">
                  <c:v>0.11725995966973439</c:v>
                </c:pt>
                <c:pt idx="5">
                  <c:v>0.1125356941404912</c:v>
                </c:pt>
                <c:pt idx="6">
                  <c:v>0.09638686075336361</c:v>
                </c:pt>
                <c:pt idx="7">
                  <c:v>0.09265083147515393</c:v>
                </c:pt>
                <c:pt idx="8">
                  <c:v>0.13088808740782745</c:v>
                </c:pt>
                <c:pt idx="9">
                  <c:v>0.10564998329918768</c:v>
                </c:pt>
                <c:pt idx="10">
                  <c:v>0.12515357567628135</c:v>
                </c:pt>
                <c:pt idx="11">
                  <c:v>0.11594948988356252</c:v>
                </c:pt>
                <c:pt idx="12">
                  <c:v>0.14947377585145183</c:v>
                </c:pt>
                <c:pt idx="13">
                  <c:v>0.12172690624470205</c:v>
                </c:pt>
                <c:pt idx="14">
                  <c:v>0.10286164066602646</c:v>
                </c:pt>
                <c:pt idx="15">
                  <c:v>0.10253132504540084</c:v>
                </c:pt>
                <c:pt idx="16">
                  <c:v>0.07443115668865082</c:v>
                </c:pt>
                <c:pt idx="17">
                  <c:v>0.0742871692907294</c:v>
                </c:pt>
                <c:pt idx="18">
                  <c:v>0.08955157459906918</c:v>
                </c:pt>
                <c:pt idx="19">
                  <c:v>0.11588337926379584</c:v>
                </c:pt>
                <c:pt idx="20">
                  <c:v>0.10066283413735318</c:v>
                </c:pt>
                <c:pt idx="21">
                  <c:v>0.07480506635640734</c:v>
                </c:pt>
                <c:pt idx="22">
                  <c:v>0.0911859670801995</c:v>
                </c:pt>
                <c:pt idx="23">
                  <c:v>0.08614997491285518</c:v>
                </c:pt>
                <c:pt idx="24">
                  <c:v>0.08867276807425988</c:v>
                </c:pt>
                <c:pt idx="25">
                  <c:v>0.11541153159800537</c:v>
                </c:pt>
                <c:pt idx="26">
                  <c:v>0.0966756569212023</c:v>
                </c:pt>
                <c:pt idx="27">
                  <c:v>0.11492757701828157</c:v>
                </c:pt>
                <c:pt idx="28">
                  <c:v>0.11530578865063139</c:v>
                </c:pt>
                <c:pt idx="29">
                  <c:v>0.12294198325486774</c:v>
                </c:pt>
                <c:pt idx="30">
                  <c:v>0.13148793293783106</c:v>
                </c:pt>
                <c:pt idx="31">
                  <c:v>0.1008935399463311</c:v>
                </c:pt>
                <c:pt idx="32">
                  <c:v>0.10243284454084746</c:v>
                </c:pt>
                <c:pt idx="33">
                  <c:v>0.12310364702115187</c:v>
                </c:pt>
                <c:pt idx="34">
                  <c:v>0.1032452028302457</c:v>
                </c:pt>
                <c:pt idx="35">
                  <c:v>0.11901020478689982</c:v>
                </c:pt>
                <c:pt idx="36">
                  <c:v>0.09677662532494845</c:v>
                </c:pt>
                <c:pt idx="37">
                  <c:v>0.11091398099170963</c:v>
                </c:pt>
                <c:pt idx="38">
                  <c:v>0.10014246759701752</c:v>
                </c:pt>
                <c:pt idx="39">
                  <c:v>0.12106106150764785</c:v>
                </c:pt>
                <c:pt idx="40">
                  <c:v>0.11444219908754476</c:v>
                </c:pt>
                <c:pt idx="41">
                  <c:v>0.12319262050914834</c:v>
                </c:pt>
                <c:pt idx="42">
                  <c:v>0.11722249781956645</c:v>
                </c:pt>
                <c:pt idx="43">
                  <c:v>0.13543017055230175</c:v>
                </c:pt>
                <c:pt idx="44">
                  <c:v>0.1256351804991014</c:v>
                </c:pt>
                <c:pt idx="45">
                  <c:v>0.12381574312308137</c:v>
                </c:pt>
                <c:pt idx="46">
                  <c:v>0.09913095133031709</c:v>
                </c:pt>
                <c:pt idx="47">
                  <c:v>0.10768879770527277</c:v>
                </c:pt>
                <c:pt idx="48">
                  <c:v>0.12846582189619085</c:v>
                </c:pt>
                <c:pt idx="49">
                  <c:v>0.12132105225488682</c:v>
                </c:pt>
                <c:pt idx="50">
                  <c:v>0.14134514531665623</c:v>
                </c:pt>
                <c:pt idx="51">
                  <c:v>0.12437450249886</c:v>
                </c:pt>
                <c:pt idx="52">
                  <c:v>0.17804992989361276</c:v>
                </c:pt>
                <c:pt idx="53">
                  <c:v>1.3756658739857928</c:v>
                </c:pt>
                <c:pt idx="54">
                  <c:v>0.10878545354041498</c:v>
                </c:pt>
              </c:numCache>
            </c:numRef>
          </c:xVal>
          <c:yVal>
            <c:numRef>
              <c:f>Sheet1!$B$187:$B$241</c:f>
              <c:numCache>
                <c:formatCode>General</c:formatCode>
                <c:ptCount val="55"/>
                <c:pt idx="0">
                  <c:v>0.32233251931302426</c:v>
                </c:pt>
                <c:pt idx="1">
                  <c:v>0.32348139928796416</c:v>
                </c:pt>
                <c:pt idx="2">
                  <c:v>0.3253146672692359</c:v>
                </c:pt>
                <c:pt idx="3">
                  <c:v>0.3261091744162305</c:v>
                </c:pt>
                <c:pt idx="4">
                  <c:v>0.3269092816337594</c:v>
                </c:pt>
                <c:pt idx="5">
                  <c:v>0.32652948897005823</c:v>
                </c:pt>
                <c:pt idx="6">
                  <c:v>0.32523125363383554</c:v>
                </c:pt>
                <c:pt idx="7">
                  <c:v>0.324930907156176</c:v>
                </c:pt>
                <c:pt idx="8">
                  <c:v>0.3280048726632793</c:v>
                </c:pt>
                <c:pt idx="9">
                  <c:v>0.32597593361934685</c:v>
                </c:pt>
                <c:pt idx="10">
                  <c:v>0.3275438643918204</c:v>
                </c:pt>
                <c:pt idx="11">
                  <c:v>0.32680393048283246</c:v>
                </c:pt>
                <c:pt idx="12">
                  <c:v>0.3294990113980793</c:v>
                </c:pt>
                <c:pt idx="13">
                  <c:v>0.32726838793881696</c:v>
                </c:pt>
                <c:pt idx="14">
                  <c:v>0.32575177346801654</c:v>
                </c:pt>
                <c:pt idx="15">
                  <c:v>0.3257252187689542</c:v>
                </c:pt>
                <c:pt idx="16">
                  <c:v>0.3234661929532802</c:v>
                </c:pt>
                <c:pt idx="17">
                  <c:v>0.323454617533343</c:v>
                </c:pt>
                <c:pt idx="18">
                  <c:v>0.32468175201932437</c:v>
                </c:pt>
                <c:pt idx="19">
                  <c:v>0.3267986157247553</c:v>
                </c:pt>
                <c:pt idx="20">
                  <c:v>0.3255750072419611</c:v>
                </c:pt>
                <c:pt idx="21">
                  <c:v>0.3234962522604512</c:v>
                </c:pt>
                <c:pt idx="22">
                  <c:v>0.3248131439298974</c:v>
                </c:pt>
                <c:pt idx="23">
                  <c:v>0.3244082909706862</c:v>
                </c:pt>
                <c:pt idx="24">
                  <c:v>0.32461110309646657</c:v>
                </c:pt>
                <c:pt idx="25">
                  <c:v>0.3267606829962195</c:v>
                </c:pt>
                <c:pt idx="26">
                  <c:v>0.32525447050536216</c:v>
                </c:pt>
                <c:pt idx="27">
                  <c:v>0.32672177696991644</c:v>
                </c:pt>
                <c:pt idx="28">
                  <c:v>0.32675218212017815</c:v>
                </c:pt>
                <c:pt idx="29">
                  <c:v>0.3273660702836039</c:v>
                </c:pt>
                <c:pt idx="30">
                  <c:v>0.3280530953828193</c:v>
                </c:pt>
                <c:pt idx="31">
                  <c:v>0.3255935541193922</c:v>
                </c:pt>
                <c:pt idx="32">
                  <c:v>0.3257173017344617</c:v>
                </c:pt>
                <c:pt idx="33">
                  <c:v>0.3273790667403105</c:v>
                </c:pt>
                <c:pt idx="34">
                  <c:v>0.3257826087576805</c:v>
                </c:pt>
                <c:pt idx="35">
                  <c:v>0.3270499871574145</c:v>
                </c:pt>
                <c:pt idx="36">
                  <c:v>0.3252625875467882</c:v>
                </c:pt>
                <c:pt idx="37">
                  <c:v>0.32639911637505437</c:v>
                </c:pt>
                <c:pt idx="38">
                  <c:v>0.3255331739891027</c:v>
                </c:pt>
                <c:pt idx="39">
                  <c:v>0.32721485941787926</c:v>
                </c:pt>
                <c:pt idx="40">
                  <c:v>0.3266827565177265</c:v>
                </c:pt>
                <c:pt idx="41">
                  <c:v>0.3273862194877155</c:v>
                </c:pt>
                <c:pt idx="42">
                  <c:v>0.32690627000459194</c:v>
                </c:pt>
                <c:pt idx="43">
                  <c:v>0.32837001933962795</c:v>
                </c:pt>
                <c:pt idx="44">
                  <c:v>0.3275825815167106</c:v>
                </c:pt>
                <c:pt idx="45">
                  <c:v>0.32743631349616886</c:v>
                </c:pt>
                <c:pt idx="46">
                  <c:v>0.3254518562784598</c:v>
                </c:pt>
                <c:pt idx="47">
                  <c:v>0.3261398377753021</c:v>
                </c:pt>
                <c:pt idx="48">
                  <c:v>0.3278101421458769</c:v>
                </c:pt>
                <c:pt idx="49">
                  <c:v>0.3272357605670252</c:v>
                </c:pt>
                <c:pt idx="50">
                  <c:v>0.32884553537647504</c:v>
                </c:pt>
                <c:pt idx="51">
                  <c:v>0.32748123322186623</c:v>
                </c:pt>
                <c:pt idx="52">
                  <c:v>0.3317963026055326</c:v>
                </c:pt>
                <c:pt idx="53">
                  <c:v>0.42807491918247476</c:v>
                </c:pt>
                <c:pt idx="54">
                  <c:v>0.32622800001728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526055951727921"/>
          <c:min val="0.216960767517560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72.0114</c:v>
                </c:pt>
                <c:pt idx="1">
                  <c:v>936.0378</c:v>
                </c:pt>
                <c:pt idx="2">
                  <c:v>964.8215</c:v>
                </c:pt>
                <c:pt idx="3">
                  <c:v>980.8587</c:v>
                </c:pt>
                <c:pt idx="4">
                  <c:v>965.7756</c:v>
                </c:pt>
                <c:pt idx="5">
                  <c:v>960.5726</c:v>
                </c:pt>
                <c:pt idx="6">
                  <c:v>929.0855</c:v>
                </c:pt>
                <c:pt idx="7">
                  <c:v>933.2585</c:v>
                </c:pt>
                <c:pt idx="8">
                  <c:v>943.9604</c:v>
                </c:pt>
                <c:pt idx="9">
                  <c:v>912.2604</c:v>
                </c:pt>
                <c:pt idx="10">
                  <c:v>913.6539</c:v>
                </c:pt>
                <c:pt idx="11">
                  <c:v>974.5713</c:v>
                </c:pt>
                <c:pt idx="12">
                  <c:v>984.9557</c:v>
                </c:pt>
                <c:pt idx="13">
                  <c:v>990.3874</c:v>
                </c:pt>
                <c:pt idx="14">
                  <c:v>1029.1724</c:v>
                </c:pt>
                <c:pt idx="15">
                  <c:v>1060.0608</c:v>
                </c:pt>
                <c:pt idx="16">
                  <c:v>1070.0367</c:v>
                </c:pt>
                <c:pt idx="17">
                  <c:v>1086.7631</c:v>
                </c:pt>
                <c:pt idx="18">
                  <c:v>1147.1592</c:v>
                </c:pt>
                <c:pt idx="19">
                  <c:v>1140.1448</c:v>
                </c:pt>
                <c:pt idx="20">
                  <c:v>1161.8144</c:v>
                </c:pt>
                <c:pt idx="21">
                  <c:v>1158.9009</c:v>
                </c:pt>
                <c:pt idx="22">
                  <c:v>1096.226</c:v>
                </c:pt>
                <c:pt idx="23">
                  <c:v>1092.8498</c:v>
                </c:pt>
                <c:pt idx="24">
                  <c:v>1094.0251</c:v>
                </c:pt>
                <c:pt idx="25">
                  <c:v>1067.0681</c:v>
                </c:pt>
                <c:pt idx="26">
                  <c:v>1062.0207</c:v>
                </c:pt>
                <c:pt idx="27">
                  <c:v>1069.4707</c:v>
                </c:pt>
                <c:pt idx="28">
                  <c:v>1080.1598</c:v>
                </c:pt>
                <c:pt idx="29">
                  <c:v>1067.4322</c:v>
                </c:pt>
                <c:pt idx="30">
                  <c:v>1070.0022</c:v>
                </c:pt>
                <c:pt idx="31">
                  <c:v>1034.0498</c:v>
                </c:pt>
                <c:pt idx="32">
                  <c:v>1025.28</c:v>
                </c:pt>
                <c:pt idx="33">
                  <c:v>980.7204</c:v>
                </c:pt>
                <c:pt idx="34">
                  <c:v>1007.6819</c:v>
                </c:pt>
                <c:pt idx="35">
                  <c:v>1037.7193</c:v>
                </c:pt>
                <c:pt idx="36">
                  <c:v>1114.197</c:v>
                </c:pt>
                <c:pt idx="37">
                  <c:v>1130.2259</c:v>
                </c:pt>
                <c:pt idx="38">
                  <c:v>1168.1455</c:v>
                </c:pt>
                <c:pt idx="39">
                  <c:v>1189.8758</c:v>
                </c:pt>
                <c:pt idx="40">
                  <c:v>1180.1972</c:v>
                </c:pt>
                <c:pt idx="41">
                  <c:v>1228.2562</c:v>
                </c:pt>
                <c:pt idx="42">
                  <c:v>1244.8656</c:v>
                </c:pt>
                <c:pt idx="43">
                  <c:v>1249.3951</c:v>
                </c:pt>
                <c:pt idx="44">
                  <c:v>1201.9114</c:v>
                </c:pt>
                <c:pt idx="45">
                  <c:v>1173.2157</c:v>
                </c:pt>
                <c:pt idx="46">
                  <c:v>1152.9739</c:v>
                </c:pt>
                <c:pt idx="47">
                  <c:v>1146.3427</c:v>
                </c:pt>
                <c:pt idx="48">
                  <c:v>1141.0159</c:v>
                </c:pt>
                <c:pt idx="49">
                  <c:v>1088.0347</c:v>
                </c:pt>
                <c:pt idx="50">
                  <c:v>1098.8825</c:v>
                </c:pt>
                <c:pt idx="51">
                  <c:v>1102.1841</c:v>
                </c:pt>
                <c:pt idx="52">
                  <c:v>1094.781</c:v>
                </c:pt>
                <c:pt idx="53">
                  <c:v>1202.8989</c:v>
                </c:pt>
                <c:pt idx="54">
                  <c:v>1189.1508</c:v>
                </c:pt>
                <c:pt idx="55">
                  <c:v>1214.3624</c:v>
                </c:pt>
                <c:pt idx="56">
                  <c:v>1220.9777</c:v>
                </c:pt>
                <c:pt idx="57">
                  <c:v>1191.8818</c:v>
                </c:pt>
                <c:pt idx="58">
                  <c:v>1191.4895</c:v>
                </c:pt>
                <c:pt idx="59">
                  <c:v>1161.4088</c:v>
                </c:pt>
                <c:pt idx="60">
                  <c:v>1180.4974</c:v>
                </c:pt>
                <c:pt idx="61">
                  <c:v>1211.5092</c:v>
                </c:pt>
                <c:pt idx="62">
                  <c:v>1142.3281</c:v>
                </c:pt>
                <c:pt idx="63">
                  <c:v>1153.6288</c:v>
                </c:pt>
                <c:pt idx="64">
                  <c:v>1162.8613</c:v>
                </c:pt>
                <c:pt idx="65">
                  <c:v>1160.9389</c:v>
                </c:pt>
                <c:pt idx="66">
                  <c:v>1214.9399</c:v>
                </c:pt>
                <c:pt idx="67">
                  <c:v>1230.4276</c:v>
                </c:pt>
                <c:pt idx="68">
                  <c:v>1243.3539</c:v>
                </c:pt>
                <c:pt idx="69">
                  <c:v>1274.1251</c:v>
                </c:pt>
                <c:pt idx="70">
                  <c:v>1263.2952</c:v>
                </c:pt>
                <c:pt idx="71">
                  <c:v>1311.5528</c:v>
                </c:pt>
                <c:pt idx="72">
                  <c:v>1366.1888</c:v>
                </c:pt>
                <c:pt idx="73">
                  <c:v>1341.3275</c:v>
                </c:pt>
                <c:pt idx="74">
                  <c:v>1344.5726</c:v>
                </c:pt>
                <c:pt idx="75">
                  <c:v>1294.2393</c:v>
                </c:pt>
                <c:pt idx="76">
                  <c:v>1275.2068</c:v>
                </c:pt>
                <c:pt idx="77">
                  <c:v>1257.1451</c:v>
                </c:pt>
                <c:pt idx="78">
                  <c:v>1342.3898</c:v>
                </c:pt>
                <c:pt idx="79">
                  <c:v>1325.6612</c:v>
                </c:pt>
                <c:pt idx="80">
                  <c:v>1342.9965</c:v>
                </c:pt>
                <c:pt idx="81">
                  <c:v>1315.4674</c:v>
                </c:pt>
                <c:pt idx="82">
                  <c:v>1344.5183</c:v>
                </c:pt>
                <c:pt idx="83">
                  <c:v>1286.9083</c:v>
                </c:pt>
                <c:pt idx="84">
                  <c:v>1311.6393</c:v>
                </c:pt>
                <c:pt idx="85">
                  <c:v>1290.4731</c:v>
                </c:pt>
                <c:pt idx="86">
                  <c:v>1320.2082</c:v>
                </c:pt>
                <c:pt idx="87">
                  <c:v>1303.9899</c:v>
                </c:pt>
                <c:pt idx="88">
                  <c:v>1353.1746</c:v>
                </c:pt>
                <c:pt idx="89">
                  <c:v>1352.3991</c:v>
                </c:pt>
                <c:pt idx="90">
                  <c:v>1385.4267</c:v>
                </c:pt>
                <c:pt idx="91">
                  <c:v>1386.2705</c:v>
                </c:pt>
                <c:pt idx="92">
                  <c:v>1318.44</c:v>
                </c:pt>
                <c:pt idx="93">
                  <c:v>1342.229</c:v>
                </c:pt>
                <c:pt idx="94">
                  <c:v>1313.9107</c:v>
                </c:pt>
                <c:pt idx="95">
                  <c:v>1281.8471</c:v>
                </c:pt>
                <c:pt idx="96">
                  <c:v>1259.9921</c:v>
                </c:pt>
                <c:pt idx="97">
                  <c:v>1254.5276</c:v>
                </c:pt>
                <c:pt idx="98">
                  <c:v>1221.7465</c:v>
                </c:pt>
                <c:pt idx="99">
                  <c:v>1193.1033</c:v>
                </c:pt>
                <c:pt idx="100">
                  <c:v>1158.5015</c:v>
                </c:pt>
                <c:pt idx="101">
                  <c:v>1211.9747</c:v>
                </c:pt>
                <c:pt idx="102">
                  <c:v>1226.3077</c:v>
                </c:pt>
                <c:pt idx="103">
                  <c:v>1209.9885</c:v>
                </c:pt>
                <c:pt idx="104">
                  <c:v>1242.7585</c:v>
                </c:pt>
              </c:numCache>
            </c:numRef>
          </c:xVal>
          <c:yVal>
            <c:numRef>
              <c:f>Sheet1!$B$2:$B$106</c:f>
              <c:numCache>
                <c:formatCode>General</c:formatCode>
                <c:ptCount val="105"/>
                <c:pt idx="0">
                  <c:v>0.37030952792668165</c:v>
                </c:pt>
                <c:pt idx="1">
                  <c:v>0.4069049306469576</c:v>
                </c:pt>
                <c:pt idx="2">
                  <c:v>0.43152882724355657</c:v>
                </c:pt>
                <c:pt idx="3">
                  <c:v>0.4367342392515037</c:v>
                </c:pt>
                <c:pt idx="4">
                  <c:v>0.4431122767578369</c:v>
                </c:pt>
                <c:pt idx="5">
                  <c:v>0.4262295081967213</c:v>
                </c:pt>
                <c:pt idx="6">
                  <c:v>0.4427332877024869</c:v>
                </c:pt>
                <c:pt idx="7">
                  <c:v>0.4605046626439934</c:v>
                </c:pt>
                <c:pt idx="8">
                  <c:v>0.4346170122725349</c:v>
                </c:pt>
                <c:pt idx="9">
                  <c:v>0.42073737478054324</c:v>
                </c:pt>
                <c:pt idx="10">
                  <c:v>0.40130850528434825</c:v>
                </c:pt>
                <c:pt idx="11">
                  <c:v>0.3633126462508902</c:v>
                </c:pt>
                <c:pt idx="12">
                  <c:v>0.3418999541073887</c:v>
                </c:pt>
                <c:pt idx="13">
                  <c:v>0.3294482564150766</c:v>
                </c:pt>
                <c:pt idx="14">
                  <c:v>0.3018034942701484</c:v>
                </c:pt>
                <c:pt idx="15">
                  <c:v>0.293961742336944</c:v>
                </c:pt>
                <c:pt idx="16">
                  <c:v>0.28739316239316237</c:v>
                </c:pt>
                <c:pt idx="17">
                  <c:v>0.28959741404642964</c:v>
                </c:pt>
                <c:pt idx="18">
                  <c:v>0.2712009593969505</c:v>
                </c:pt>
                <c:pt idx="19">
                  <c:v>0.28177019894437677</c:v>
                </c:pt>
                <c:pt idx="20">
                  <c:v>0.2843917492285204</c:v>
                </c:pt>
                <c:pt idx="21">
                  <c:v>0.31679389312977096</c:v>
                </c:pt>
                <c:pt idx="22">
                  <c:v>0.3662754786905497</c:v>
                </c:pt>
                <c:pt idx="23">
                  <c:v>0.3844984802431611</c:v>
                </c:pt>
                <c:pt idx="24">
                  <c:v>0.4016938898971567</c:v>
                </c:pt>
                <c:pt idx="25">
                  <c:v>0.3997255888406129</c:v>
                </c:pt>
                <c:pt idx="26">
                  <c:v>0.4001926782273603</c:v>
                </c:pt>
                <c:pt idx="27">
                  <c:v>0.3921604711078395</c:v>
                </c:pt>
                <c:pt idx="28">
                  <c:v>0.38458574181117533</c:v>
                </c:pt>
                <c:pt idx="29">
                  <c:v>0.3851161154116819</c:v>
                </c:pt>
                <c:pt idx="30">
                  <c:v>0.3902439024390244</c:v>
                </c:pt>
                <c:pt idx="31">
                  <c:v>0.40343527440301635</c:v>
                </c:pt>
                <c:pt idx="32">
                  <c:v>0.42004722043356946</c:v>
                </c:pt>
                <c:pt idx="33">
                  <c:v>0.4289111601834551</c:v>
                </c:pt>
                <c:pt idx="34">
                  <c:v>0.40476190476190477</c:v>
                </c:pt>
                <c:pt idx="35">
                  <c:v>0.3940037771482531</c:v>
                </c:pt>
                <c:pt idx="36">
                  <c:v>0.3576719576719577</c:v>
                </c:pt>
                <c:pt idx="37">
                  <c:v>0.36244302643573384</c:v>
                </c:pt>
                <c:pt idx="38">
                  <c:v>0.3499349563278201</c:v>
                </c:pt>
                <c:pt idx="39">
                  <c:v>0.3418654256350591</c:v>
                </c:pt>
                <c:pt idx="40">
                  <c:v>0.3519824478921799</c:v>
                </c:pt>
                <c:pt idx="41">
                  <c:v>0.3443092340730136</c:v>
                </c:pt>
                <c:pt idx="42">
                  <c:v>0.34311816684139584</c:v>
                </c:pt>
                <c:pt idx="43">
                  <c:v>0.3302997858672377</c:v>
                </c:pt>
                <c:pt idx="44">
                  <c:v>0.3194601654331737</c:v>
                </c:pt>
                <c:pt idx="45">
                  <c:v>0.324290418692175</c:v>
                </c:pt>
                <c:pt idx="46">
                  <c:v>0.33104087783015224</c:v>
                </c:pt>
                <c:pt idx="47">
                  <c:v>0.3215102072988098</c:v>
                </c:pt>
                <c:pt idx="48">
                  <c:v>0.325332726652258</c:v>
                </c:pt>
                <c:pt idx="49">
                  <c:v>0.34281414016671813</c:v>
                </c:pt>
                <c:pt idx="50">
                  <c:v>0.3323317307692308</c:v>
                </c:pt>
                <c:pt idx="51">
                  <c:v>0.3365947242206235</c:v>
                </c:pt>
                <c:pt idx="52">
                  <c:v>0.3415553809897879</c:v>
                </c:pt>
                <c:pt idx="53">
                  <c:v>0.34542242543905227</c:v>
                </c:pt>
                <c:pt idx="54">
                  <c:v>0.36003283687111526</c:v>
                </c:pt>
                <c:pt idx="55">
                  <c:v>0.3527413876758855</c:v>
                </c:pt>
                <c:pt idx="56">
                  <c:v>0.3605015673981191</c:v>
                </c:pt>
                <c:pt idx="57">
                  <c:v>0.35610401057734686</c:v>
                </c:pt>
                <c:pt idx="58">
                  <c:v>0.3576145884672252</c:v>
                </c:pt>
                <c:pt idx="59">
                  <c:v>0.3588378936822992</c:v>
                </c:pt>
                <c:pt idx="60">
                  <c:v>0.36460539801844893</c:v>
                </c:pt>
                <c:pt idx="61">
                  <c:v>0.3615302248612869</c:v>
                </c:pt>
                <c:pt idx="62">
                  <c:v>0.3779600110568506</c:v>
                </c:pt>
                <c:pt idx="63">
                  <c:v>0.3906262961426794</c:v>
                </c:pt>
                <c:pt idx="64">
                  <c:v>0.360973341599504</c:v>
                </c:pt>
                <c:pt idx="65">
                  <c:v>0.3396652719665272</c:v>
                </c:pt>
                <c:pt idx="66">
                  <c:v>0.3369966669669399</c:v>
                </c:pt>
                <c:pt idx="67">
                  <c:v>0.3277767009110293</c:v>
                </c:pt>
                <c:pt idx="68">
                  <c:v>0.32401767586289265</c:v>
                </c:pt>
                <c:pt idx="69">
                  <c:v>0.3059185242121445</c:v>
                </c:pt>
                <c:pt idx="70">
                  <c:v>0.3052820053715309</c:v>
                </c:pt>
                <c:pt idx="71">
                  <c:v>0.3185344116190791</c:v>
                </c:pt>
                <c:pt idx="72">
                  <c:v>0.30336740829825615</c:v>
                </c:pt>
                <c:pt idx="73">
                  <c:v>0.31850387213709014</c:v>
                </c:pt>
                <c:pt idx="74">
                  <c:v>0.3149102263856362</c:v>
                </c:pt>
                <c:pt idx="75">
                  <c:v>0.3324295010845987</c:v>
                </c:pt>
                <c:pt idx="76">
                  <c:v>0.32415005861664714</c:v>
                </c:pt>
                <c:pt idx="77">
                  <c:v>0.32843925985518907</c:v>
                </c:pt>
                <c:pt idx="78">
                  <c:v>0.3151487826871055</c:v>
                </c:pt>
                <c:pt idx="79">
                  <c:v>0.31277813095994916</c:v>
                </c:pt>
                <c:pt idx="80">
                  <c:v>0.29580665151828134</c:v>
                </c:pt>
                <c:pt idx="81">
                  <c:v>0.3069154399178364</c:v>
                </c:pt>
                <c:pt idx="82">
                  <c:v>0.3131584846446985</c:v>
                </c:pt>
                <c:pt idx="83">
                  <c:v>0.3096740273396425</c:v>
                </c:pt>
                <c:pt idx="84">
                  <c:v>0.3096486628211851</c:v>
                </c:pt>
                <c:pt idx="85">
                  <c:v>0.32209651350727314</c:v>
                </c:pt>
                <c:pt idx="86">
                  <c:v>0.31315657828914456</c:v>
                </c:pt>
                <c:pt idx="87">
                  <c:v>0.3334307422559907</c:v>
                </c:pt>
                <c:pt idx="88">
                  <c:v>0.3305391503143456</c:v>
                </c:pt>
                <c:pt idx="89">
                  <c:v>0.3295505117935024</c:v>
                </c:pt>
                <c:pt idx="90">
                  <c:v>0.3269098417068135</c:v>
                </c:pt>
                <c:pt idx="91">
                  <c:v>0.3</c:v>
                </c:pt>
                <c:pt idx="92">
                  <c:v>0.3097581317764804</c:v>
                </c:pt>
                <c:pt idx="93">
                  <c:v>0.290199203187251</c:v>
                </c:pt>
                <c:pt idx="94">
                  <c:v>0.292310424436157</c:v>
                </c:pt>
                <c:pt idx="95">
                  <c:v>0.28857791225416035</c:v>
                </c:pt>
                <c:pt idx="96">
                  <c:v>0.29556252801434335</c:v>
                </c:pt>
                <c:pt idx="97">
                  <c:v>0.2938514357053683</c:v>
                </c:pt>
                <c:pt idx="98">
                  <c:v>0.30278750336654997</c:v>
                </c:pt>
                <c:pt idx="99">
                  <c:v>0.3080873671782763</c:v>
                </c:pt>
                <c:pt idx="100">
                  <c:v>0.31036056595162026</c:v>
                </c:pt>
                <c:pt idx="101">
                  <c:v>0.31192590905640327</c:v>
                </c:pt>
                <c:pt idx="102">
                  <c:v>0.3031456621919455</c:v>
                </c:pt>
                <c:pt idx="103">
                  <c:v>0.2880230628112169</c:v>
                </c:pt>
                <c:pt idx="104">
                  <c:v>0.2986716479867164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93.8991</c:v>
                </c:pt>
                <c:pt idx="1">
                  <c:v>1294.2056</c:v>
                </c:pt>
                <c:pt idx="2">
                  <c:v>1300.0405</c:v>
                </c:pt>
                <c:pt idx="3">
                  <c:v>1318.663</c:v>
                </c:pt>
                <c:pt idx="4">
                  <c:v>1311.0525</c:v>
                </c:pt>
                <c:pt idx="5">
                  <c:v>1299.2755</c:v>
                </c:pt>
                <c:pt idx="6">
                  <c:v>1208.7711</c:v>
                </c:pt>
                <c:pt idx="7">
                  <c:v>1270.3232</c:v>
                </c:pt>
                <c:pt idx="8">
                  <c:v>1302.6553</c:v>
                </c:pt>
                <c:pt idx="9">
                  <c:v>1219.7235</c:v>
                </c:pt>
                <c:pt idx="10">
                  <c:v>1267.2686</c:v>
                </c:pt>
                <c:pt idx="11">
                  <c:v>1147.7334</c:v>
                </c:pt>
                <c:pt idx="12">
                  <c:v>1201.5058</c:v>
                </c:pt>
                <c:pt idx="13">
                  <c:v>1233.252</c:v>
                </c:pt>
                <c:pt idx="14">
                  <c:v>1234.366</c:v>
                </c:pt>
                <c:pt idx="15">
                  <c:v>1243.5076</c:v>
                </c:pt>
                <c:pt idx="16">
                  <c:v>1309.7702</c:v>
                </c:pt>
                <c:pt idx="17">
                  <c:v>1282.8843</c:v>
                </c:pt>
                <c:pt idx="18">
                  <c:v>1227.912</c:v>
                </c:pt>
                <c:pt idx="19">
                  <c:v>1332.3595</c:v>
                </c:pt>
                <c:pt idx="20">
                  <c:v>1304.9183</c:v>
                </c:pt>
                <c:pt idx="21">
                  <c:v>1214.6933</c:v>
                </c:pt>
                <c:pt idx="22">
                  <c:v>1277.9619</c:v>
                </c:pt>
                <c:pt idx="23">
                  <c:v>1304.9309</c:v>
                </c:pt>
                <c:pt idx="24">
                  <c:v>1324.233</c:v>
                </c:pt>
                <c:pt idx="25">
                  <c:v>1314.3778</c:v>
                </c:pt>
                <c:pt idx="26">
                  <c:v>1323.1967</c:v>
                </c:pt>
                <c:pt idx="27">
                  <c:v>1314.847</c:v>
                </c:pt>
                <c:pt idx="28">
                  <c:v>1335.9188</c:v>
                </c:pt>
                <c:pt idx="29">
                  <c:v>1346.3322</c:v>
                </c:pt>
                <c:pt idx="30">
                  <c:v>1324.3579</c:v>
                </c:pt>
                <c:pt idx="31">
                  <c:v>1298.7766</c:v>
                </c:pt>
                <c:pt idx="32">
                  <c:v>1318.6741</c:v>
                </c:pt>
                <c:pt idx="33">
                  <c:v>1329.4975</c:v>
                </c:pt>
                <c:pt idx="34">
                  <c:v>1346.882</c:v>
                </c:pt>
                <c:pt idx="35">
                  <c:v>1367.6943</c:v>
                </c:pt>
                <c:pt idx="36">
                  <c:v>1390.0594</c:v>
                </c:pt>
                <c:pt idx="37">
                  <c:v>1366.1922</c:v>
                </c:pt>
                <c:pt idx="38">
                  <c:v>1383.9041</c:v>
                </c:pt>
                <c:pt idx="39">
                  <c:v>1348.077</c:v>
                </c:pt>
                <c:pt idx="40">
                  <c:v>1381.5262</c:v>
                </c:pt>
                <c:pt idx="41">
                  <c:v>1404.6744</c:v>
                </c:pt>
                <c:pt idx="42">
                  <c:v>1377.6281</c:v>
                </c:pt>
                <c:pt idx="43">
                  <c:v>1390.967</c:v>
                </c:pt>
                <c:pt idx="44">
                  <c:v>1305.2283</c:v>
                </c:pt>
                <c:pt idx="45">
                  <c:v>1270.5834</c:v>
                </c:pt>
                <c:pt idx="46">
                  <c:v>1268.3785</c:v>
                </c:pt>
                <c:pt idx="47">
                  <c:v>1227.2745</c:v>
                </c:pt>
                <c:pt idx="48">
                  <c:v>1211.296</c:v>
                </c:pt>
                <c:pt idx="49">
                  <c:v>1224.5422</c:v>
                </c:pt>
                <c:pt idx="50">
                  <c:v>1168.5793</c:v>
                </c:pt>
                <c:pt idx="51">
                  <c:v>1148.3834</c:v>
                </c:pt>
              </c:numCache>
            </c:numRef>
          </c:xVal>
          <c:yVal>
            <c:numRef>
              <c:f>Sheet1!$B$109:$B$160</c:f>
              <c:numCache>
                <c:formatCode>General</c:formatCode>
                <c:ptCount val="52"/>
                <c:pt idx="0">
                  <c:v>0.3088720636769559</c:v>
                </c:pt>
                <c:pt idx="1">
                  <c:v>0.31655492521918516</c:v>
                </c:pt>
                <c:pt idx="2">
                  <c:v>0.3249200142196943</c:v>
                </c:pt>
                <c:pt idx="3">
                  <c:v>0.33826774549466715</c:v>
                </c:pt>
                <c:pt idx="4">
                  <c:v>0.33544242188260487</c:v>
                </c:pt>
                <c:pt idx="5">
                  <c:v>0.3264796310530361</c:v>
                </c:pt>
                <c:pt idx="6">
                  <c:v>0.3376328458533927</c:v>
                </c:pt>
                <c:pt idx="7">
                  <c:v>0.32071637241204115</c:v>
                </c:pt>
                <c:pt idx="8">
                  <c:v>0.33232845248349124</c:v>
                </c:pt>
                <c:pt idx="9">
                  <c:v>0.3318170331058883</c:v>
                </c:pt>
                <c:pt idx="10">
                  <c:v>0.3252361673414305</c:v>
                </c:pt>
                <c:pt idx="11">
                  <c:v>0.3320771253286591</c:v>
                </c:pt>
                <c:pt idx="12">
                  <c:v>0.33480044013203963</c:v>
                </c:pt>
                <c:pt idx="13">
                  <c:v>0.3444373265001068</c:v>
                </c:pt>
                <c:pt idx="14">
                  <c:v>0.34308981470553523</c:v>
                </c:pt>
                <c:pt idx="15">
                  <c:v>0.33507453178748886</c:v>
                </c:pt>
                <c:pt idx="16">
                  <c:v>0.3097582811101164</c:v>
                </c:pt>
                <c:pt idx="17">
                  <c:v>0.31041956959281625</c:v>
                </c:pt>
                <c:pt idx="18">
                  <c:v>0.3261857168817009</c:v>
                </c:pt>
                <c:pt idx="19">
                  <c:v>0.3218253290035891</c:v>
                </c:pt>
                <c:pt idx="20">
                  <c:v>0.32333664349553126</c:v>
                </c:pt>
                <c:pt idx="21">
                  <c:v>0.34642254878342565</c:v>
                </c:pt>
                <c:pt idx="22">
                  <c:v>0.33713315546931844</c:v>
                </c:pt>
                <c:pt idx="23">
                  <c:v>0.3316276803118908</c:v>
                </c:pt>
                <c:pt idx="24">
                  <c:v>0.32457353619179347</c:v>
                </c:pt>
                <c:pt idx="25">
                  <c:v>0.3114639271538641</c:v>
                </c:pt>
                <c:pt idx="26">
                  <c:v>0.3097130242825607</c:v>
                </c:pt>
                <c:pt idx="27">
                  <c:v>0.3031977891827872</c:v>
                </c:pt>
                <c:pt idx="28">
                  <c:v>0.3062360801781737</c:v>
                </c:pt>
                <c:pt idx="29">
                  <c:v>0.31902394938996836</c:v>
                </c:pt>
                <c:pt idx="30">
                  <c:v>0.32297852900867974</c:v>
                </c:pt>
                <c:pt idx="31">
                  <c:v>0.3148806500761808</c:v>
                </c:pt>
                <c:pt idx="32">
                  <c:v>0.3185033082363678</c:v>
                </c:pt>
                <c:pt idx="33">
                  <c:v>0.3210992907801418</c:v>
                </c:pt>
                <c:pt idx="34">
                  <c:v>0.3414243798346226</c:v>
                </c:pt>
                <c:pt idx="35">
                  <c:v>0.3278271918678526</c:v>
                </c:pt>
                <c:pt idx="36">
                  <c:v>0.3286334056399132</c:v>
                </c:pt>
                <c:pt idx="37">
                  <c:v>0.3424323665610529</c:v>
                </c:pt>
                <c:pt idx="38">
                  <c:v>0.3354784555120313</c:v>
                </c:pt>
                <c:pt idx="39">
                  <c:v>0.33706070287539935</c:v>
                </c:pt>
                <c:pt idx="40">
                  <c:v>0.31732859118751233</c:v>
                </c:pt>
                <c:pt idx="41">
                  <c:v>0.316992259491338</c:v>
                </c:pt>
                <c:pt idx="42">
                  <c:v>0.3271578947368421</c:v>
                </c:pt>
                <c:pt idx="43">
                  <c:v>0.31994328922495274</c:v>
                </c:pt>
                <c:pt idx="44">
                  <c:v>0.3100735853844202</c:v>
                </c:pt>
                <c:pt idx="45">
                  <c:v>0.32093527128283833</c:v>
                </c:pt>
                <c:pt idx="46">
                  <c:v>0.33204092622509424</c:v>
                </c:pt>
                <c:pt idx="47">
                  <c:v>0.3322462693942089</c:v>
                </c:pt>
                <c:pt idx="48">
                  <c:v>0.31593362332850006</c:v>
                </c:pt>
                <c:pt idx="49">
                  <c:v>0.33039009915321704</c:v>
                </c:pt>
                <c:pt idx="50">
                  <c:v>0.3407763815574345</c:v>
                </c:pt>
                <c:pt idx="51">
                  <c:v>0.3400851063829787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7.385091931898</c:v>
                </c:pt>
              </c:numCache>
            </c:numRef>
          </c:xVal>
          <c:yVal>
            <c:numRef>
              <c:f>Sheet1!$B$163:$B$164</c:f>
              <c:numCache>
                <c:formatCode>General</c:formatCode>
                <c:ptCount val="2"/>
                <c:pt idx="0">
                  <c:v>0.42807491918247476</c:v>
                </c:pt>
                <c:pt idx="1">
                  <c:v>0.4280749191824747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7.385091931898</c:v>
                </c:pt>
                <c:pt idx="1">
                  <c:v>-357.385091931898</c:v>
                </c:pt>
              </c:numCache>
            </c:numRef>
          </c:xVal>
          <c:yVal>
            <c:numRef>
              <c:f>Sheet1!$B$167:$B$168</c:f>
              <c:numCache>
                <c:formatCode>General</c:formatCode>
                <c:ptCount val="2"/>
                <c:pt idx="0">
                  <c:v>0.4280749191824747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02.0779677453352</c:v>
                </c:pt>
              </c:numCache>
            </c:numRef>
          </c:xVal>
          <c:yVal>
            <c:numRef>
              <c:f>Sheet1!$B$171:$B$172</c:f>
              <c:numCache>
                <c:formatCode>General</c:formatCode>
                <c:ptCount val="2"/>
                <c:pt idx="0">
                  <c:v>0.3317963026055326</c:v>
                </c:pt>
                <c:pt idx="1">
                  <c:v>0.331796302605532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02.0779677453352</c:v>
                </c:pt>
                <c:pt idx="1">
                  <c:v>1202.0779677453352</c:v>
                </c:pt>
              </c:numCache>
            </c:numRef>
          </c:xVal>
          <c:yVal>
            <c:numRef>
              <c:f>Sheet1!$B$175:$B$176</c:f>
              <c:numCache>
                <c:formatCode>General</c:formatCode>
                <c:ptCount val="2"/>
                <c:pt idx="0">
                  <c:v>0.331796302605532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92.2699802628183</c:v>
                </c:pt>
              </c:numCache>
            </c:numRef>
          </c:xVal>
          <c:yVal>
            <c:numRef>
              <c:f>Sheet1!$B$179:$B$180</c:f>
              <c:numCache>
                <c:formatCode>General</c:formatCode>
                <c:ptCount val="2"/>
                <c:pt idx="0">
                  <c:v>0.3262280000172874</c:v>
                </c:pt>
                <c:pt idx="1">
                  <c:v>0.326228000017287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92.2699802628183</c:v>
                </c:pt>
                <c:pt idx="1">
                  <c:v>1292.2699802628183</c:v>
                </c:pt>
              </c:numCache>
            </c:numRef>
          </c:xVal>
          <c:yVal>
            <c:numRef>
              <c:f>Sheet1!$B$183:$B$184</c:f>
              <c:numCache>
                <c:formatCode>General</c:formatCode>
                <c:ptCount val="2"/>
                <c:pt idx="0">
                  <c:v>0.326228000017287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93.8991</c:v>
                </c:pt>
                <c:pt idx="1">
                  <c:v>1294.2056</c:v>
                </c:pt>
                <c:pt idx="2">
                  <c:v>1300.0405</c:v>
                </c:pt>
                <c:pt idx="3">
                  <c:v>1318.663</c:v>
                </c:pt>
                <c:pt idx="4">
                  <c:v>1311.0525</c:v>
                </c:pt>
                <c:pt idx="5">
                  <c:v>1299.2755</c:v>
                </c:pt>
                <c:pt idx="6">
                  <c:v>1208.7711</c:v>
                </c:pt>
                <c:pt idx="7">
                  <c:v>1270.3232</c:v>
                </c:pt>
                <c:pt idx="8">
                  <c:v>1302.6553</c:v>
                </c:pt>
                <c:pt idx="9">
                  <c:v>1219.7235</c:v>
                </c:pt>
                <c:pt idx="10">
                  <c:v>1267.2686</c:v>
                </c:pt>
                <c:pt idx="11">
                  <c:v>1147.7334</c:v>
                </c:pt>
                <c:pt idx="12">
                  <c:v>1201.5058</c:v>
                </c:pt>
                <c:pt idx="13">
                  <c:v>1233.252</c:v>
                </c:pt>
                <c:pt idx="14">
                  <c:v>1234.366</c:v>
                </c:pt>
                <c:pt idx="15">
                  <c:v>1243.5076</c:v>
                </c:pt>
                <c:pt idx="16">
                  <c:v>1309.7702</c:v>
                </c:pt>
                <c:pt idx="17">
                  <c:v>1282.8843</c:v>
                </c:pt>
                <c:pt idx="18">
                  <c:v>1227.912</c:v>
                </c:pt>
                <c:pt idx="19">
                  <c:v>1332.3595</c:v>
                </c:pt>
                <c:pt idx="20">
                  <c:v>1304.9183</c:v>
                </c:pt>
                <c:pt idx="21">
                  <c:v>1214.6933</c:v>
                </c:pt>
                <c:pt idx="22">
                  <c:v>1277.9619</c:v>
                </c:pt>
                <c:pt idx="23">
                  <c:v>1304.9309</c:v>
                </c:pt>
                <c:pt idx="24">
                  <c:v>1324.233</c:v>
                </c:pt>
                <c:pt idx="25">
                  <c:v>1314.3778</c:v>
                </c:pt>
                <c:pt idx="26">
                  <c:v>1323.1967</c:v>
                </c:pt>
                <c:pt idx="27">
                  <c:v>1314.847</c:v>
                </c:pt>
                <c:pt idx="28">
                  <c:v>1335.9188</c:v>
                </c:pt>
                <c:pt idx="29">
                  <c:v>1346.3322</c:v>
                </c:pt>
                <c:pt idx="30">
                  <c:v>1324.3579</c:v>
                </c:pt>
                <c:pt idx="31">
                  <c:v>1298.7766</c:v>
                </c:pt>
                <c:pt idx="32">
                  <c:v>1318.6741</c:v>
                </c:pt>
                <c:pt idx="33">
                  <c:v>1329.4975</c:v>
                </c:pt>
                <c:pt idx="34">
                  <c:v>1346.882</c:v>
                </c:pt>
                <c:pt idx="35">
                  <c:v>1367.6943</c:v>
                </c:pt>
                <c:pt idx="36">
                  <c:v>1390.0594</c:v>
                </c:pt>
                <c:pt idx="37">
                  <c:v>1366.1922</c:v>
                </c:pt>
                <c:pt idx="38">
                  <c:v>1383.9041</c:v>
                </c:pt>
                <c:pt idx="39">
                  <c:v>1348.077</c:v>
                </c:pt>
                <c:pt idx="40">
                  <c:v>1381.5262</c:v>
                </c:pt>
                <c:pt idx="41">
                  <c:v>1404.6744</c:v>
                </c:pt>
                <c:pt idx="42">
                  <c:v>1377.6281</c:v>
                </c:pt>
                <c:pt idx="43">
                  <c:v>1390.967</c:v>
                </c:pt>
                <c:pt idx="44">
                  <c:v>1305.2283</c:v>
                </c:pt>
                <c:pt idx="45">
                  <c:v>1270.5834</c:v>
                </c:pt>
                <c:pt idx="46">
                  <c:v>1268.3785</c:v>
                </c:pt>
                <c:pt idx="47">
                  <c:v>1227.2745</c:v>
                </c:pt>
                <c:pt idx="48">
                  <c:v>1211.296</c:v>
                </c:pt>
                <c:pt idx="49">
                  <c:v>1224.5422</c:v>
                </c:pt>
                <c:pt idx="50">
                  <c:v>1168.5793</c:v>
                </c:pt>
                <c:pt idx="51">
                  <c:v>1148.3834</c:v>
                </c:pt>
                <c:pt idx="52">
                  <c:v>1202.0779677453352</c:v>
                </c:pt>
                <c:pt idx="53">
                  <c:v>-357.385091931898</c:v>
                </c:pt>
                <c:pt idx="54">
                  <c:v>1292.2699802628183</c:v>
                </c:pt>
              </c:numCache>
            </c:numRef>
          </c:xVal>
          <c:yVal>
            <c:numRef>
              <c:f>Sheet1!$B$187:$B$241</c:f>
              <c:numCache>
                <c:formatCode>General</c:formatCode>
                <c:ptCount val="55"/>
                <c:pt idx="0">
                  <c:v>0.3261274209150376</c:v>
                </c:pt>
                <c:pt idx="1">
                  <c:v>0.32610849812247916</c:v>
                </c:pt>
                <c:pt idx="2">
                  <c:v>0.3257482612471145</c:v>
                </c:pt>
                <c:pt idx="3">
                  <c:v>0.32459853953612045</c:v>
                </c:pt>
                <c:pt idx="4">
                  <c:v>0.32506839895786943</c:v>
                </c:pt>
                <c:pt idx="5">
                  <c:v>0.3257954910556209</c:v>
                </c:pt>
                <c:pt idx="6">
                  <c:v>0.3313830799196557</c:v>
                </c:pt>
                <c:pt idx="7">
                  <c:v>0.3275829571795684</c:v>
                </c:pt>
                <c:pt idx="8">
                  <c:v>0.32558682790949023</c:v>
                </c:pt>
                <c:pt idx="9">
                  <c:v>0.3307068972337923</c:v>
                </c:pt>
                <c:pt idx="10">
                  <c:v>0.3277715430267104</c:v>
                </c:pt>
                <c:pt idx="11">
                  <c:v>0.33515144447216694</c:v>
                </c:pt>
                <c:pt idx="12">
                  <c:v>0.33183162727618065</c:v>
                </c:pt>
                <c:pt idx="13">
                  <c:v>0.3298716704829703</c:v>
                </c:pt>
                <c:pt idx="14">
                  <c:v>0.3298028940036551</c:v>
                </c:pt>
                <c:pt idx="15">
                  <c:v>0.3292385070527504</c:v>
                </c:pt>
                <c:pt idx="16">
                  <c:v>0.325147565995056</c:v>
                </c:pt>
                <c:pt idx="17">
                  <c:v>0.32680745607155565</c:v>
                </c:pt>
                <c:pt idx="18">
                  <c:v>0.3302013530678385</c:v>
                </c:pt>
                <c:pt idx="19">
                  <c:v>0.3237529407489206</c:v>
                </c:pt>
                <c:pt idx="20">
                  <c:v>0.32544711410994775</c:v>
                </c:pt>
                <c:pt idx="21">
                  <c:v>0.33101745328967325</c:v>
                </c:pt>
                <c:pt idx="22">
                  <c:v>0.3271113567374274</c:v>
                </c:pt>
                <c:pt idx="23">
                  <c:v>0.3254463362072194</c:v>
                </c:pt>
                <c:pt idx="24">
                  <c:v>0.32425465713954443</c:v>
                </c:pt>
                <c:pt idx="25">
                  <c:v>0.32486310054973044</c:v>
                </c:pt>
                <c:pt idx="26">
                  <c:v>0.32431863655203486</c:v>
                </c:pt>
                <c:pt idx="27">
                  <c:v>0.3248341329338465</c:v>
                </c:pt>
                <c:pt idx="28">
                  <c:v>0.32353319557582666</c:v>
                </c:pt>
                <c:pt idx="29">
                  <c:v>0.32289028984000895</c:v>
                </c:pt>
                <c:pt idx="30">
                  <c:v>0.32424694602440396</c:v>
                </c:pt>
                <c:pt idx="31">
                  <c:v>0.32582629229936444</c:v>
                </c:pt>
                <c:pt idx="32">
                  <c:v>0.32459785424085974</c:v>
                </c:pt>
                <c:pt idx="33">
                  <c:v>0.3239296357972151</c:v>
                </c:pt>
                <c:pt idx="34">
                  <c:v>0.3228563461161961</c:v>
                </c:pt>
                <c:pt idx="35">
                  <c:v>0.3215714298500814</c:v>
                </c:pt>
                <c:pt idx="36">
                  <c:v>0.32019064633344546</c:v>
                </c:pt>
                <c:pt idx="37">
                  <c:v>0.3216641669681957</c:v>
                </c:pt>
                <c:pt idx="38">
                  <c:v>0.32057066416390223</c:v>
                </c:pt>
                <c:pt idx="39">
                  <c:v>0.3227825688336273</c:v>
                </c:pt>
                <c:pt idx="40">
                  <c:v>0.32071747169546744</c:v>
                </c:pt>
                <c:pt idx="41">
                  <c:v>0.319288340906882</c:v>
                </c:pt>
                <c:pt idx="42">
                  <c:v>0.32095813380859006</c:v>
                </c:pt>
                <c:pt idx="43">
                  <c:v>0.3201346126416802</c:v>
                </c:pt>
                <c:pt idx="44">
                  <c:v>0.32542797523329814</c:v>
                </c:pt>
                <c:pt idx="45">
                  <c:v>0.32756689287084506</c:v>
                </c:pt>
                <c:pt idx="46">
                  <c:v>0.32770301967447346</c:v>
                </c:pt>
                <c:pt idx="47">
                  <c:v>0.3302407112415938</c:v>
                </c:pt>
                <c:pt idx="48">
                  <c:v>0.3312271968562599</c:v>
                </c:pt>
                <c:pt idx="49">
                  <c:v>0.3304093988308514</c:v>
                </c:pt>
                <c:pt idx="50">
                  <c:v>0.33386445379877666</c:v>
                </c:pt>
                <c:pt idx="51">
                  <c:v>0.3351113145695145</c:v>
                </c:pt>
                <c:pt idx="52">
                  <c:v>0.3317963026055326</c:v>
                </c:pt>
                <c:pt idx="53">
                  <c:v>0.42807491918247476</c:v>
                </c:pt>
                <c:pt idx="54">
                  <c:v>0.32622800001728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8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526055951727921"/>
          <c:min val="0.216960767517560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076734494773519</c:v>
                </c:pt>
                <c:pt idx="1">
                  <c:v>0.652291149825784</c:v>
                </c:pt>
                <c:pt idx="2">
                  <c:v>0.7006692084241104</c:v>
                </c:pt>
                <c:pt idx="3">
                  <c:v>0.6330162633107455</c:v>
                </c:pt>
                <c:pt idx="4">
                  <c:v>0.9614490791438527</c:v>
                </c:pt>
                <c:pt idx="5">
                  <c:v>0.0</c:v>
                </c:pt>
                <c:pt idx="6">
                  <c:v>0.0</c:v>
                </c:pt>
                <c:pt idx="7">
                  <c:v>0.33188424608819345</c:v>
                </c:pt>
                <c:pt idx="8">
                  <c:v>0.5060093272581078</c:v>
                </c:pt>
                <c:pt idx="9">
                  <c:v>0.6357215331010453</c:v>
                </c:pt>
                <c:pt idx="10">
                  <c:v>0.5968993119142136</c:v>
                </c:pt>
                <c:pt idx="11">
                  <c:v>0.7074414198606271</c:v>
                </c:pt>
                <c:pt idx="12">
                  <c:v>0.5493339096486336</c:v>
                </c:pt>
                <c:pt idx="13">
                  <c:v>0.7189223286875726</c:v>
                </c:pt>
                <c:pt idx="14">
                  <c:v>0.69644554220944</c:v>
                </c:pt>
                <c:pt idx="15">
                  <c:v>0.8690803853248616</c:v>
                </c:pt>
                <c:pt idx="16">
                  <c:v>0.753281731784583</c:v>
                </c:pt>
                <c:pt idx="17">
                  <c:v>0.7573262020905923</c:v>
                </c:pt>
                <c:pt idx="18">
                  <c:v>0.5710100547536088</c:v>
                </c:pt>
                <c:pt idx="19">
                  <c:v>0.794525993031359</c:v>
                </c:pt>
                <c:pt idx="20">
                  <c:v>0.8837330404733001</c:v>
                </c:pt>
                <c:pt idx="21">
                  <c:v>0.46976120794487236</c:v>
                </c:pt>
                <c:pt idx="22">
                  <c:v>0.8974424887433484</c:v>
                </c:pt>
                <c:pt idx="23">
                  <c:v>0.983073253880862</c:v>
                </c:pt>
                <c:pt idx="24">
                  <c:v>1.1463763236596691</c:v>
                </c:pt>
                <c:pt idx="25">
                  <c:v>1.4152096816976127</c:v>
                </c:pt>
                <c:pt idx="26">
                  <c:v>0.8758933608247423</c:v>
                </c:pt>
                <c:pt idx="27">
                  <c:v>0.5323398208063713</c:v>
                </c:pt>
                <c:pt idx="28">
                  <c:v>0.5126529663028001</c:v>
                </c:pt>
                <c:pt idx="29">
                  <c:v>0.8238478306187849</c:v>
                </c:pt>
                <c:pt idx="30">
                  <c:v>0.8284957026713123</c:v>
                </c:pt>
                <c:pt idx="31">
                  <c:v>0.7433859094176851</c:v>
                </c:pt>
                <c:pt idx="32">
                  <c:v>1.190801393728223</c:v>
                </c:pt>
                <c:pt idx="33">
                  <c:v>0.6834288501742161</c:v>
                </c:pt>
                <c:pt idx="34">
                  <c:v>0.6549059000237024</c:v>
                </c:pt>
                <c:pt idx="35">
                  <c:v>0.7950653539687403</c:v>
                </c:pt>
                <c:pt idx="36">
                  <c:v>0.7885329087048831</c:v>
                </c:pt>
                <c:pt idx="37">
                  <c:v>0.6040758417958311</c:v>
                </c:pt>
                <c:pt idx="38">
                  <c:v>0.9145189434895341</c:v>
                </c:pt>
                <c:pt idx="39">
                  <c:v>1.0956499079189688</c:v>
                </c:pt>
                <c:pt idx="40">
                  <c:v>0.9600302863348776</c:v>
                </c:pt>
                <c:pt idx="41">
                  <c:v>1.0125772464962903</c:v>
                </c:pt>
                <c:pt idx="42">
                  <c:v>0.9996244378914465</c:v>
                </c:pt>
                <c:pt idx="43">
                  <c:v>0.8649325718241606</c:v>
                </c:pt>
                <c:pt idx="44">
                  <c:v>0.8816514945901338</c:v>
                </c:pt>
                <c:pt idx="45">
                  <c:v>0.4542066202090592</c:v>
                </c:pt>
                <c:pt idx="46">
                  <c:v>0.6695551103368176</c:v>
                </c:pt>
                <c:pt idx="47">
                  <c:v>0.7988450871080138</c:v>
                </c:pt>
                <c:pt idx="48">
                  <c:v>0.8043820232640113</c:v>
                </c:pt>
                <c:pt idx="49">
                  <c:v>0.761715695883506</c:v>
                </c:pt>
                <c:pt idx="50">
                  <c:v>0.6546812630324694</c:v>
                </c:pt>
                <c:pt idx="51">
                  <c:v>0.5909834316353887</c:v>
                </c:pt>
                <c:pt idx="52">
                  <c:v>0.6422886476972719</c:v>
                </c:pt>
                <c:pt idx="53">
                  <c:v>0.7153725245316681</c:v>
                </c:pt>
                <c:pt idx="54">
                  <c:v>0.8413803028627429</c:v>
                </c:pt>
                <c:pt idx="55">
                  <c:v>0.784471834625323</c:v>
                </c:pt>
                <c:pt idx="56">
                  <c:v>0.9983464431725265</c:v>
                </c:pt>
                <c:pt idx="57">
                  <c:v>0.8961517293233083</c:v>
                </c:pt>
                <c:pt idx="58">
                  <c:v>1.0454718910362126</c:v>
                </c:pt>
                <c:pt idx="59">
                  <c:v>0.9516624057686003</c:v>
                </c:pt>
                <c:pt idx="60">
                  <c:v>0.8665261283710821</c:v>
                </c:pt>
                <c:pt idx="61">
                  <c:v>0.961260961683707</c:v>
                </c:pt>
                <c:pt idx="62">
                  <c:v>0.8737106526288995</c:v>
                </c:pt>
                <c:pt idx="63">
                  <c:v>0.9676740677289509</c:v>
                </c:pt>
                <c:pt idx="64">
                  <c:v>0.9561431507975662</c:v>
                </c:pt>
                <c:pt idx="65">
                  <c:v>1.0018300541016703</c:v>
                </c:pt>
                <c:pt idx="66">
                  <c:v>0.9675977302140369</c:v>
                </c:pt>
                <c:pt idx="67">
                  <c:v>0.9799323842707814</c:v>
                </c:pt>
                <c:pt idx="68">
                  <c:v>0.9509803246700204</c:v>
                </c:pt>
                <c:pt idx="69">
                  <c:v>1.1098650696864112</c:v>
                </c:pt>
                <c:pt idx="70">
                  <c:v>1.0992822833275322</c:v>
                </c:pt>
                <c:pt idx="71">
                  <c:v>1.034075822183333</c:v>
                </c:pt>
                <c:pt idx="72">
                  <c:v>0.9564469336320357</c:v>
                </c:pt>
                <c:pt idx="73">
                  <c:v>0.9491084379975235</c:v>
                </c:pt>
                <c:pt idx="74">
                  <c:v>1.2258211737891738</c:v>
                </c:pt>
                <c:pt idx="75">
                  <c:v>1.541984930182086</c:v>
                </c:pt>
                <c:pt idx="76">
                  <c:v>1.4308517000586385</c:v>
                </c:pt>
                <c:pt idx="77">
                  <c:v>1.0720395658885853</c:v>
                </c:pt>
                <c:pt idx="78">
                  <c:v>1.3931399375282412</c:v>
                </c:pt>
                <c:pt idx="79">
                  <c:v>1.190001077199282</c:v>
                </c:pt>
                <c:pt idx="80">
                  <c:v>1.3556491804963264</c:v>
                </c:pt>
                <c:pt idx="81">
                  <c:v>1.1239042196280318</c:v>
                </c:pt>
                <c:pt idx="82">
                  <c:v>1.196510011568924</c:v>
                </c:pt>
                <c:pt idx="83">
                  <c:v>1.0117203616352202</c:v>
                </c:pt>
                <c:pt idx="84">
                  <c:v>1.075617957459748</c:v>
                </c:pt>
                <c:pt idx="85">
                  <c:v>0.9250703225806451</c:v>
                </c:pt>
                <c:pt idx="86">
                  <c:v>1.0615450264930306</c:v>
                </c:pt>
                <c:pt idx="87">
                  <c:v>1.0035102351910679</c:v>
                </c:pt>
                <c:pt idx="88">
                  <c:v>1.0622298453567784</c:v>
                </c:pt>
                <c:pt idx="89">
                  <c:v>0.8763602255054432</c:v>
                </c:pt>
                <c:pt idx="90">
                  <c:v>1.052036373300934</c:v>
                </c:pt>
                <c:pt idx="91">
                  <c:v>1.1040481831757094</c:v>
                </c:pt>
                <c:pt idx="92">
                  <c:v>0.9922200686977161</c:v>
                </c:pt>
                <c:pt idx="93">
                  <c:v>1.0964927938321938</c:v>
                </c:pt>
                <c:pt idx="94">
                  <c:v>0.9631364169476615</c:v>
                </c:pt>
                <c:pt idx="95">
                  <c:v>0.8293677665101722</c:v>
                </c:pt>
                <c:pt idx="96">
                  <c:v>0.8748595182048993</c:v>
                </c:pt>
                <c:pt idx="97">
                  <c:v>0.8986587392550143</c:v>
                </c:pt>
                <c:pt idx="98">
                  <c:v>0.8552653132656632</c:v>
                </c:pt>
                <c:pt idx="99">
                  <c:v>0.9897986560477848</c:v>
                </c:pt>
                <c:pt idx="100">
                  <c:v>0.8970201316298878</c:v>
                </c:pt>
                <c:pt idx="101">
                  <c:v>0.9482442640586797</c:v>
                </c:pt>
                <c:pt idx="102">
                  <c:v>0.776881659803611</c:v>
                </c:pt>
                <c:pt idx="103">
                  <c:v>0.8757455759771875</c:v>
                </c:pt>
                <c:pt idx="104">
                  <c:v>0.8357488231338265</c:v>
                </c:pt>
              </c:numCache>
            </c:numRef>
          </c:xVal>
          <c:yVal>
            <c:numRef>
              <c:f>Sheet1!$B$2:$B$106</c:f>
              <c:numCache>
                <c:formatCode>General</c:formatCode>
                <c:ptCount val="105"/>
                <c:pt idx="0">
                  <c:v>0.37030952792668165</c:v>
                </c:pt>
                <c:pt idx="1">
                  <c:v>0.4069049306469576</c:v>
                </c:pt>
                <c:pt idx="2">
                  <c:v>0.43152882724355657</c:v>
                </c:pt>
                <c:pt idx="3">
                  <c:v>0.4367342392515037</c:v>
                </c:pt>
                <c:pt idx="4">
                  <c:v>0.4431122767578369</c:v>
                </c:pt>
                <c:pt idx="5">
                  <c:v>0.4262295081967213</c:v>
                </c:pt>
                <c:pt idx="6">
                  <c:v>0.4427332877024869</c:v>
                </c:pt>
                <c:pt idx="7">
                  <c:v>0.4605046626439934</c:v>
                </c:pt>
                <c:pt idx="8">
                  <c:v>0.4346170122725349</c:v>
                </c:pt>
                <c:pt idx="9">
                  <c:v>0.42073737478054324</c:v>
                </c:pt>
                <c:pt idx="10">
                  <c:v>0.40130850528434825</c:v>
                </c:pt>
                <c:pt idx="11">
                  <c:v>0.3633126462508902</c:v>
                </c:pt>
                <c:pt idx="12">
                  <c:v>0.3418999541073887</c:v>
                </c:pt>
                <c:pt idx="13">
                  <c:v>0.3294482564150766</c:v>
                </c:pt>
                <c:pt idx="14">
                  <c:v>0.3018034942701484</c:v>
                </c:pt>
                <c:pt idx="15">
                  <c:v>0.293961742336944</c:v>
                </c:pt>
                <c:pt idx="16">
                  <c:v>0.28739316239316237</c:v>
                </c:pt>
                <c:pt idx="17">
                  <c:v>0.28959741404642964</c:v>
                </c:pt>
                <c:pt idx="18">
                  <c:v>0.2712009593969505</c:v>
                </c:pt>
                <c:pt idx="19">
                  <c:v>0.28177019894437677</c:v>
                </c:pt>
                <c:pt idx="20">
                  <c:v>0.2843917492285204</c:v>
                </c:pt>
                <c:pt idx="21">
                  <c:v>0.31679389312977096</c:v>
                </c:pt>
                <c:pt idx="22">
                  <c:v>0.3662754786905497</c:v>
                </c:pt>
                <c:pt idx="23">
                  <c:v>0.3844984802431611</c:v>
                </c:pt>
                <c:pt idx="24">
                  <c:v>0.4016938898971567</c:v>
                </c:pt>
                <c:pt idx="25">
                  <c:v>0.3997255888406129</c:v>
                </c:pt>
                <c:pt idx="26">
                  <c:v>0.4001926782273603</c:v>
                </c:pt>
                <c:pt idx="27">
                  <c:v>0.3921604711078395</c:v>
                </c:pt>
                <c:pt idx="28">
                  <c:v>0.38458574181117533</c:v>
                </c:pt>
                <c:pt idx="29">
                  <c:v>0.3851161154116819</c:v>
                </c:pt>
                <c:pt idx="30">
                  <c:v>0.3902439024390244</c:v>
                </c:pt>
                <c:pt idx="31">
                  <c:v>0.40343527440301635</c:v>
                </c:pt>
                <c:pt idx="32">
                  <c:v>0.42004722043356946</c:v>
                </c:pt>
                <c:pt idx="33">
                  <c:v>0.4289111601834551</c:v>
                </c:pt>
                <c:pt idx="34">
                  <c:v>0.40476190476190477</c:v>
                </c:pt>
                <c:pt idx="35">
                  <c:v>0.3940037771482531</c:v>
                </c:pt>
                <c:pt idx="36">
                  <c:v>0.3576719576719577</c:v>
                </c:pt>
                <c:pt idx="37">
                  <c:v>0.36244302643573384</c:v>
                </c:pt>
                <c:pt idx="38">
                  <c:v>0.3499349563278201</c:v>
                </c:pt>
                <c:pt idx="39">
                  <c:v>0.3418654256350591</c:v>
                </c:pt>
                <c:pt idx="40">
                  <c:v>0.3519824478921799</c:v>
                </c:pt>
                <c:pt idx="41">
                  <c:v>0.3443092340730136</c:v>
                </c:pt>
                <c:pt idx="42">
                  <c:v>0.34311816684139584</c:v>
                </c:pt>
                <c:pt idx="43">
                  <c:v>0.3302997858672377</c:v>
                </c:pt>
                <c:pt idx="44">
                  <c:v>0.3194601654331737</c:v>
                </c:pt>
                <c:pt idx="45">
                  <c:v>0.324290418692175</c:v>
                </c:pt>
                <c:pt idx="46">
                  <c:v>0.33104087783015224</c:v>
                </c:pt>
                <c:pt idx="47">
                  <c:v>0.3215102072988098</c:v>
                </c:pt>
                <c:pt idx="48">
                  <c:v>0.325332726652258</c:v>
                </c:pt>
                <c:pt idx="49">
                  <c:v>0.34281414016671813</c:v>
                </c:pt>
                <c:pt idx="50">
                  <c:v>0.3323317307692308</c:v>
                </c:pt>
                <c:pt idx="51">
                  <c:v>0.3365947242206235</c:v>
                </c:pt>
                <c:pt idx="52">
                  <c:v>0.3415553809897879</c:v>
                </c:pt>
                <c:pt idx="53">
                  <c:v>0.34542242543905227</c:v>
                </c:pt>
                <c:pt idx="54">
                  <c:v>0.36003283687111526</c:v>
                </c:pt>
                <c:pt idx="55">
                  <c:v>0.3527413876758855</c:v>
                </c:pt>
                <c:pt idx="56">
                  <c:v>0.3605015673981191</c:v>
                </c:pt>
                <c:pt idx="57">
                  <c:v>0.35610401057734686</c:v>
                </c:pt>
                <c:pt idx="58">
                  <c:v>0.3576145884672252</c:v>
                </c:pt>
                <c:pt idx="59">
                  <c:v>0.3588378936822992</c:v>
                </c:pt>
                <c:pt idx="60">
                  <c:v>0.36460539801844893</c:v>
                </c:pt>
                <c:pt idx="61">
                  <c:v>0.3615302248612869</c:v>
                </c:pt>
                <c:pt idx="62">
                  <c:v>0.3779600110568506</c:v>
                </c:pt>
                <c:pt idx="63">
                  <c:v>0.3906262961426794</c:v>
                </c:pt>
                <c:pt idx="64">
                  <c:v>0.360973341599504</c:v>
                </c:pt>
                <c:pt idx="65">
                  <c:v>0.3396652719665272</c:v>
                </c:pt>
                <c:pt idx="66">
                  <c:v>0.3369966669669399</c:v>
                </c:pt>
                <c:pt idx="67">
                  <c:v>0.3277767009110293</c:v>
                </c:pt>
                <c:pt idx="68">
                  <c:v>0.32401767586289265</c:v>
                </c:pt>
                <c:pt idx="69">
                  <c:v>0.3059185242121445</c:v>
                </c:pt>
                <c:pt idx="70">
                  <c:v>0.3052820053715309</c:v>
                </c:pt>
                <c:pt idx="71">
                  <c:v>0.3185344116190791</c:v>
                </c:pt>
                <c:pt idx="72">
                  <c:v>0.30336740829825615</c:v>
                </c:pt>
                <c:pt idx="73">
                  <c:v>0.31850387213709014</c:v>
                </c:pt>
                <c:pt idx="74">
                  <c:v>0.3149102263856362</c:v>
                </c:pt>
                <c:pt idx="75">
                  <c:v>0.3324295010845987</c:v>
                </c:pt>
                <c:pt idx="76">
                  <c:v>0.32415005861664714</c:v>
                </c:pt>
                <c:pt idx="77">
                  <c:v>0.32843925985518907</c:v>
                </c:pt>
                <c:pt idx="78">
                  <c:v>0.3151487826871055</c:v>
                </c:pt>
                <c:pt idx="79">
                  <c:v>0.31277813095994916</c:v>
                </c:pt>
                <c:pt idx="80">
                  <c:v>0.29580665151828134</c:v>
                </c:pt>
                <c:pt idx="81">
                  <c:v>0.3069154399178364</c:v>
                </c:pt>
                <c:pt idx="82">
                  <c:v>0.3131584846446985</c:v>
                </c:pt>
                <c:pt idx="83">
                  <c:v>0.3096740273396425</c:v>
                </c:pt>
                <c:pt idx="84">
                  <c:v>0.3096486628211851</c:v>
                </c:pt>
                <c:pt idx="85">
                  <c:v>0.32209651350727314</c:v>
                </c:pt>
                <c:pt idx="86">
                  <c:v>0.31315657828914456</c:v>
                </c:pt>
                <c:pt idx="87">
                  <c:v>0.3334307422559907</c:v>
                </c:pt>
                <c:pt idx="88">
                  <c:v>0.3305391503143456</c:v>
                </c:pt>
                <c:pt idx="89">
                  <c:v>0.3295505117935024</c:v>
                </c:pt>
                <c:pt idx="90">
                  <c:v>0.3269098417068135</c:v>
                </c:pt>
                <c:pt idx="91">
                  <c:v>0.3</c:v>
                </c:pt>
                <c:pt idx="92">
                  <c:v>0.3097581317764804</c:v>
                </c:pt>
                <c:pt idx="93">
                  <c:v>0.290199203187251</c:v>
                </c:pt>
                <c:pt idx="94">
                  <c:v>0.292310424436157</c:v>
                </c:pt>
                <c:pt idx="95">
                  <c:v>0.28857791225416035</c:v>
                </c:pt>
                <c:pt idx="96">
                  <c:v>0.29556252801434335</c:v>
                </c:pt>
                <c:pt idx="97">
                  <c:v>0.2938514357053683</c:v>
                </c:pt>
                <c:pt idx="98">
                  <c:v>0.30278750336654997</c:v>
                </c:pt>
                <c:pt idx="99">
                  <c:v>0.3080873671782763</c:v>
                </c:pt>
                <c:pt idx="100">
                  <c:v>0.31036056595162026</c:v>
                </c:pt>
                <c:pt idx="101">
                  <c:v>0.31192590905640327</c:v>
                </c:pt>
                <c:pt idx="102">
                  <c:v>0.3031456621919455</c:v>
                </c:pt>
                <c:pt idx="103">
                  <c:v>0.2880230628112169</c:v>
                </c:pt>
                <c:pt idx="104">
                  <c:v>0.2986716479867164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453173378632984</c:v>
                </c:pt>
                <c:pt idx="1">
                  <c:v>1.0578760830472453</c:v>
                </c:pt>
                <c:pt idx="2">
                  <c:v>0.919984635319898</c:v>
                </c:pt>
                <c:pt idx="3">
                  <c:v>0.8965160193762216</c:v>
                </c:pt>
                <c:pt idx="4">
                  <c:v>0.9561196573392701</c:v>
                </c:pt>
                <c:pt idx="5">
                  <c:v>0.8488297942328006</c:v>
                </c:pt>
                <c:pt idx="6">
                  <c:v>0.8866833669539702</c:v>
                </c:pt>
                <c:pt idx="7">
                  <c:v>1.0414619389219102</c:v>
                </c:pt>
                <c:pt idx="8">
                  <c:v>1.0080242317933257</c:v>
                </c:pt>
                <c:pt idx="9">
                  <c:v>1.1086715313233895</c:v>
                </c:pt>
                <c:pt idx="10">
                  <c:v>1.1038925087108016</c:v>
                </c:pt>
                <c:pt idx="11">
                  <c:v>0.7998142160278746</c:v>
                </c:pt>
                <c:pt idx="12">
                  <c:v>1.0853710930442637</c:v>
                </c:pt>
                <c:pt idx="13">
                  <c:v>0.7863456065110649</c:v>
                </c:pt>
                <c:pt idx="14">
                  <c:v>0.9711770259638081</c:v>
                </c:pt>
                <c:pt idx="15">
                  <c:v>0.9135880980806318</c:v>
                </c:pt>
                <c:pt idx="16">
                  <c:v>0.9693026456984273</c:v>
                </c:pt>
                <c:pt idx="17">
                  <c:v>1.0985949903660885</c:v>
                </c:pt>
                <c:pt idx="18">
                  <c:v>0.8556878048780489</c:v>
                </c:pt>
                <c:pt idx="19">
                  <c:v>0.8985227806793926</c:v>
                </c:pt>
                <c:pt idx="20">
                  <c:v>0.7577922764227643</c:v>
                </c:pt>
                <c:pt idx="21">
                  <c:v>0.8795751629254163</c:v>
                </c:pt>
                <c:pt idx="22">
                  <c:v>0.49475876887340303</c:v>
                </c:pt>
                <c:pt idx="23">
                  <c:v>0.4133452328159645</c:v>
                </c:pt>
                <c:pt idx="24">
                  <c:v>0.49009363434492964</c:v>
                </c:pt>
                <c:pt idx="25">
                  <c:v>0.9641502292316156</c:v>
                </c:pt>
                <c:pt idx="26">
                  <c:v>0.862204607684522</c:v>
                </c:pt>
                <c:pt idx="27">
                  <c:v>1.0330350408548084</c:v>
                </c:pt>
                <c:pt idx="28">
                  <c:v>1.1776435119887163</c:v>
                </c:pt>
                <c:pt idx="29">
                  <c:v>0.9382105923344948</c:v>
                </c:pt>
                <c:pt idx="30">
                  <c:v>1.0474407513593673</c:v>
                </c:pt>
                <c:pt idx="31">
                  <c:v>0.8905896889277642</c:v>
                </c:pt>
                <c:pt idx="32">
                  <c:v>0.8108264769589357</c:v>
                </c:pt>
                <c:pt idx="33">
                  <c:v>0.9584266260140183</c:v>
                </c:pt>
                <c:pt idx="34">
                  <c:v>0.9218331316689469</c:v>
                </c:pt>
                <c:pt idx="35">
                  <c:v>1.0235620061360093</c:v>
                </c:pt>
                <c:pt idx="36">
                  <c:v>1.2108531358885017</c:v>
                </c:pt>
                <c:pt idx="37">
                  <c:v>1.0818753563509662</c:v>
                </c:pt>
                <c:pt idx="38">
                  <c:v>0.8929565750419409</c:v>
                </c:pt>
                <c:pt idx="39">
                  <c:v>1.0479997680227977</c:v>
                </c:pt>
                <c:pt idx="40">
                  <c:v>1.1004669428070735</c:v>
                </c:pt>
                <c:pt idx="41">
                  <c:v>1.040242731183479</c:v>
                </c:pt>
                <c:pt idx="42">
                  <c:v>1.098003238629032</c:v>
                </c:pt>
                <c:pt idx="43">
                  <c:v>1.168143606970397</c:v>
                </c:pt>
                <c:pt idx="44">
                  <c:v>1.0323203705010173</c:v>
                </c:pt>
                <c:pt idx="45">
                  <c:v>1.0176879455346415</c:v>
                </c:pt>
                <c:pt idx="46">
                  <c:v>0.9386126279874847</c:v>
                </c:pt>
                <c:pt idx="47">
                  <c:v>0.9214761103124351</c:v>
                </c:pt>
                <c:pt idx="48">
                  <c:v>1.2018315763363512</c:v>
                </c:pt>
                <c:pt idx="49">
                  <c:v>1.0418089161136634</c:v>
                </c:pt>
                <c:pt idx="50">
                  <c:v>0.9828253153910851</c:v>
                </c:pt>
                <c:pt idx="51">
                  <c:v>0.8651537056219982</c:v>
                </c:pt>
              </c:numCache>
            </c:numRef>
          </c:xVal>
          <c:yVal>
            <c:numRef>
              <c:f>Sheet1!$B$109:$B$160</c:f>
              <c:numCache>
                <c:formatCode>General</c:formatCode>
                <c:ptCount val="52"/>
                <c:pt idx="0">
                  <c:v>0.3088720636769559</c:v>
                </c:pt>
                <c:pt idx="1">
                  <c:v>0.31655492521918516</c:v>
                </c:pt>
                <c:pt idx="2">
                  <c:v>0.3249200142196943</c:v>
                </c:pt>
                <c:pt idx="3">
                  <c:v>0.33826774549466715</c:v>
                </c:pt>
                <c:pt idx="4">
                  <c:v>0.33544242188260487</c:v>
                </c:pt>
                <c:pt idx="5">
                  <c:v>0.3264796310530361</c:v>
                </c:pt>
                <c:pt idx="6">
                  <c:v>0.3376328458533927</c:v>
                </c:pt>
                <c:pt idx="7">
                  <c:v>0.32071637241204115</c:v>
                </c:pt>
                <c:pt idx="8">
                  <c:v>0.33232845248349124</c:v>
                </c:pt>
                <c:pt idx="9">
                  <c:v>0.3318170331058883</c:v>
                </c:pt>
                <c:pt idx="10">
                  <c:v>0.3252361673414305</c:v>
                </c:pt>
                <c:pt idx="11">
                  <c:v>0.3320771253286591</c:v>
                </c:pt>
                <c:pt idx="12">
                  <c:v>0.33480044013203963</c:v>
                </c:pt>
                <c:pt idx="13">
                  <c:v>0.3444373265001068</c:v>
                </c:pt>
                <c:pt idx="14">
                  <c:v>0.34308981470553523</c:v>
                </c:pt>
                <c:pt idx="15">
                  <c:v>0.33507453178748886</c:v>
                </c:pt>
                <c:pt idx="16">
                  <c:v>0.3097582811101164</c:v>
                </c:pt>
                <c:pt idx="17">
                  <c:v>0.31041956959281625</c:v>
                </c:pt>
                <c:pt idx="18">
                  <c:v>0.3261857168817009</c:v>
                </c:pt>
                <c:pt idx="19">
                  <c:v>0.3218253290035891</c:v>
                </c:pt>
                <c:pt idx="20">
                  <c:v>0.32333664349553126</c:v>
                </c:pt>
                <c:pt idx="21">
                  <c:v>0.34642254878342565</c:v>
                </c:pt>
                <c:pt idx="22">
                  <c:v>0.33713315546931844</c:v>
                </c:pt>
                <c:pt idx="23">
                  <c:v>0.3316276803118908</c:v>
                </c:pt>
                <c:pt idx="24">
                  <c:v>0.32457353619179347</c:v>
                </c:pt>
                <c:pt idx="25">
                  <c:v>0.3114639271538641</c:v>
                </c:pt>
                <c:pt idx="26">
                  <c:v>0.3097130242825607</c:v>
                </c:pt>
                <c:pt idx="27">
                  <c:v>0.3031977891827872</c:v>
                </c:pt>
                <c:pt idx="28">
                  <c:v>0.3062360801781737</c:v>
                </c:pt>
                <c:pt idx="29">
                  <c:v>0.31902394938996836</c:v>
                </c:pt>
                <c:pt idx="30">
                  <c:v>0.32297852900867974</c:v>
                </c:pt>
                <c:pt idx="31">
                  <c:v>0.3148806500761808</c:v>
                </c:pt>
                <c:pt idx="32">
                  <c:v>0.3185033082363678</c:v>
                </c:pt>
                <c:pt idx="33">
                  <c:v>0.3210992907801418</c:v>
                </c:pt>
                <c:pt idx="34">
                  <c:v>0.3414243798346226</c:v>
                </c:pt>
                <c:pt idx="35">
                  <c:v>0.3278271918678526</c:v>
                </c:pt>
                <c:pt idx="36">
                  <c:v>0.3286334056399132</c:v>
                </c:pt>
                <c:pt idx="37">
                  <c:v>0.3424323665610529</c:v>
                </c:pt>
                <c:pt idx="38">
                  <c:v>0.3354784555120313</c:v>
                </c:pt>
                <c:pt idx="39">
                  <c:v>0.33706070287539935</c:v>
                </c:pt>
                <c:pt idx="40">
                  <c:v>0.31732859118751233</c:v>
                </c:pt>
                <c:pt idx="41">
                  <c:v>0.316992259491338</c:v>
                </c:pt>
                <c:pt idx="42">
                  <c:v>0.3271578947368421</c:v>
                </c:pt>
                <c:pt idx="43">
                  <c:v>0.31994328922495274</c:v>
                </c:pt>
                <c:pt idx="44">
                  <c:v>0.3100735853844202</c:v>
                </c:pt>
                <c:pt idx="45">
                  <c:v>0.32093527128283833</c:v>
                </c:pt>
                <c:pt idx="46">
                  <c:v>0.33204092622509424</c:v>
                </c:pt>
                <c:pt idx="47">
                  <c:v>0.3322462693942089</c:v>
                </c:pt>
                <c:pt idx="48">
                  <c:v>0.31593362332850006</c:v>
                </c:pt>
                <c:pt idx="49">
                  <c:v>0.33039009915321704</c:v>
                </c:pt>
                <c:pt idx="50">
                  <c:v>0.3407763815574345</c:v>
                </c:pt>
                <c:pt idx="51">
                  <c:v>0.3400851063829787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5.298427089092383</c:v>
                </c:pt>
              </c:numCache>
            </c:numRef>
          </c:xVal>
          <c:yVal>
            <c:numRef>
              <c:f>Sheet1!$B$163:$B$164</c:f>
              <c:numCache>
                <c:formatCode>General</c:formatCode>
                <c:ptCount val="2"/>
                <c:pt idx="0">
                  <c:v>0.42807491918247476</c:v>
                </c:pt>
                <c:pt idx="1">
                  <c:v>0.4280749191824747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5.298427089092383</c:v>
                </c:pt>
                <c:pt idx="1">
                  <c:v>-5.298427089092383</c:v>
                </c:pt>
              </c:numCache>
            </c:numRef>
          </c:xVal>
          <c:yVal>
            <c:numRef>
              <c:f>Sheet1!$B$167:$B$168</c:f>
              <c:numCache>
                <c:formatCode>General</c:formatCode>
                <c:ptCount val="2"/>
                <c:pt idx="0">
                  <c:v>0.4280749191824747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065241817200027</c:v>
                </c:pt>
              </c:numCache>
            </c:numRef>
          </c:xVal>
          <c:yVal>
            <c:numRef>
              <c:f>Sheet1!$B$171:$B$172</c:f>
              <c:numCache>
                <c:formatCode>General</c:formatCode>
                <c:ptCount val="2"/>
                <c:pt idx="0">
                  <c:v>0.3317963026055326</c:v>
                </c:pt>
                <c:pt idx="1">
                  <c:v>0.331796302605532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065241817200027</c:v>
                </c:pt>
                <c:pt idx="1">
                  <c:v>0.6065241817200027</c:v>
                </c:pt>
              </c:numCache>
            </c:numRef>
          </c:xVal>
          <c:yVal>
            <c:numRef>
              <c:f>Sheet1!$B$175:$B$176</c:f>
              <c:numCache>
                <c:formatCode>General</c:formatCode>
                <c:ptCount val="2"/>
                <c:pt idx="0">
                  <c:v>0.331796302605532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480388047354832</c:v>
                </c:pt>
              </c:numCache>
            </c:numRef>
          </c:xVal>
          <c:yVal>
            <c:numRef>
              <c:f>Sheet1!$B$179:$B$180</c:f>
              <c:numCache>
                <c:formatCode>General</c:formatCode>
                <c:ptCount val="2"/>
                <c:pt idx="0">
                  <c:v>0.3262280000172874</c:v>
                </c:pt>
                <c:pt idx="1">
                  <c:v>0.326228000017287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480388047354832</c:v>
                </c:pt>
                <c:pt idx="1">
                  <c:v>0.9480388047354832</c:v>
                </c:pt>
              </c:numCache>
            </c:numRef>
          </c:xVal>
          <c:yVal>
            <c:numRef>
              <c:f>Sheet1!$B$183:$B$184</c:f>
              <c:numCache>
                <c:formatCode>General</c:formatCode>
                <c:ptCount val="2"/>
                <c:pt idx="0">
                  <c:v>0.326228000017287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453173378632984</c:v>
                </c:pt>
                <c:pt idx="1">
                  <c:v>1.0578760830472453</c:v>
                </c:pt>
                <c:pt idx="2">
                  <c:v>0.919984635319898</c:v>
                </c:pt>
                <c:pt idx="3">
                  <c:v>0.8965160193762216</c:v>
                </c:pt>
                <c:pt idx="4">
                  <c:v>0.9561196573392701</c:v>
                </c:pt>
                <c:pt idx="5">
                  <c:v>0.8488297942328006</c:v>
                </c:pt>
                <c:pt idx="6">
                  <c:v>0.8866833669539702</c:v>
                </c:pt>
                <c:pt idx="7">
                  <c:v>1.0414619389219102</c:v>
                </c:pt>
                <c:pt idx="8">
                  <c:v>1.0080242317933257</c:v>
                </c:pt>
                <c:pt idx="9">
                  <c:v>1.1086715313233895</c:v>
                </c:pt>
                <c:pt idx="10">
                  <c:v>1.1038925087108016</c:v>
                </c:pt>
                <c:pt idx="11">
                  <c:v>0.7998142160278746</c:v>
                </c:pt>
                <c:pt idx="12">
                  <c:v>1.0853710930442637</c:v>
                </c:pt>
                <c:pt idx="13">
                  <c:v>0.7863456065110649</c:v>
                </c:pt>
                <c:pt idx="14">
                  <c:v>0.9711770259638081</c:v>
                </c:pt>
                <c:pt idx="15">
                  <c:v>0.9135880980806318</c:v>
                </c:pt>
                <c:pt idx="16">
                  <c:v>0.9693026456984273</c:v>
                </c:pt>
                <c:pt idx="17">
                  <c:v>1.0985949903660885</c:v>
                </c:pt>
                <c:pt idx="18">
                  <c:v>0.8556878048780489</c:v>
                </c:pt>
                <c:pt idx="19">
                  <c:v>0.8985227806793926</c:v>
                </c:pt>
                <c:pt idx="20">
                  <c:v>0.7577922764227643</c:v>
                </c:pt>
                <c:pt idx="21">
                  <c:v>0.8795751629254163</c:v>
                </c:pt>
                <c:pt idx="22">
                  <c:v>0.49475876887340303</c:v>
                </c:pt>
                <c:pt idx="23">
                  <c:v>0.4133452328159645</c:v>
                </c:pt>
                <c:pt idx="24">
                  <c:v>0.49009363434492964</c:v>
                </c:pt>
                <c:pt idx="25">
                  <c:v>0.9641502292316156</c:v>
                </c:pt>
                <c:pt idx="26">
                  <c:v>0.862204607684522</c:v>
                </c:pt>
                <c:pt idx="27">
                  <c:v>1.0330350408548084</c:v>
                </c:pt>
                <c:pt idx="28">
                  <c:v>1.1776435119887163</c:v>
                </c:pt>
                <c:pt idx="29">
                  <c:v>0.9382105923344948</c:v>
                </c:pt>
                <c:pt idx="30">
                  <c:v>1.0474407513593673</c:v>
                </c:pt>
                <c:pt idx="31">
                  <c:v>0.8905896889277642</c:v>
                </c:pt>
                <c:pt idx="32">
                  <c:v>0.8108264769589357</c:v>
                </c:pt>
                <c:pt idx="33">
                  <c:v>0.9584266260140183</c:v>
                </c:pt>
                <c:pt idx="34">
                  <c:v>0.9218331316689469</c:v>
                </c:pt>
                <c:pt idx="35">
                  <c:v>1.0235620061360093</c:v>
                </c:pt>
                <c:pt idx="36">
                  <c:v>1.2108531358885017</c:v>
                </c:pt>
                <c:pt idx="37">
                  <c:v>1.0818753563509662</c:v>
                </c:pt>
                <c:pt idx="38">
                  <c:v>0.8929565750419409</c:v>
                </c:pt>
                <c:pt idx="39">
                  <c:v>1.0479997680227977</c:v>
                </c:pt>
                <c:pt idx="40">
                  <c:v>1.1004669428070735</c:v>
                </c:pt>
                <c:pt idx="41">
                  <c:v>1.040242731183479</c:v>
                </c:pt>
                <c:pt idx="42">
                  <c:v>1.098003238629032</c:v>
                </c:pt>
                <c:pt idx="43">
                  <c:v>1.168143606970397</c:v>
                </c:pt>
                <c:pt idx="44">
                  <c:v>1.0323203705010173</c:v>
                </c:pt>
                <c:pt idx="45">
                  <c:v>1.0176879455346415</c:v>
                </c:pt>
                <c:pt idx="46">
                  <c:v>0.9386126279874847</c:v>
                </c:pt>
                <c:pt idx="47">
                  <c:v>0.9214761103124351</c:v>
                </c:pt>
                <c:pt idx="48">
                  <c:v>1.2018315763363512</c:v>
                </c:pt>
                <c:pt idx="49">
                  <c:v>1.0418089161136634</c:v>
                </c:pt>
                <c:pt idx="50">
                  <c:v>0.9828253153910851</c:v>
                </c:pt>
                <c:pt idx="51">
                  <c:v>0.8651537056219982</c:v>
                </c:pt>
                <c:pt idx="52">
                  <c:v>0.6065241817200027</c:v>
                </c:pt>
                <c:pt idx="53">
                  <c:v>-5.298427089092383</c:v>
                </c:pt>
                <c:pt idx="54">
                  <c:v>0.9480388047354832</c:v>
                </c:pt>
              </c:numCache>
            </c:numRef>
          </c:xVal>
          <c:yVal>
            <c:numRef>
              <c:f>Sheet1!$B$187:$B$241</c:f>
              <c:numCache>
                <c:formatCode>General</c:formatCode>
                <c:ptCount val="55"/>
                <c:pt idx="0">
                  <c:v>0.32790284545963555</c:v>
                </c:pt>
                <c:pt idx="1">
                  <c:v>0.3244371332142531</c:v>
                </c:pt>
                <c:pt idx="2">
                  <c:v>0.3266854155820692</c:v>
                </c:pt>
                <c:pt idx="3">
                  <c:v>0.32706806495077806</c:v>
                </c:pt>
                <c:pt idx="4">
                  <c:v>0.32609624392417613</c:v>
                </c:pt>
                <c:pt idx="5">
                  <c:v>0.3278455758185271</c:v>
                </c:pt>
                <c:pt idx="6">
                  <c:v>0.3272283836611416</c:v>
                </c:pt>
                <c:pt idx="7">
                  <c:v>0.3247047613480352</c:v>
                </c:pt>
                <c:pt idx="8">
                  <c:v>0.3252499540238424</c:v>
                </c:pt>
                <c:pt idx="9">
                  <c:v>0.3236089273131128</c:v>
                </c:pt>
                <c:pt idx="10">
                  <c:v>0.3236868479706472</c:v>
                </c:pt>
                <c:pt idx="11">
                  <c:v>0.3286447614246159</c:v>
                </c:pt>
                <c:pt idx="12">
                  <c:v>0.3239888345909661</c:v>
                </c:pt>
                <c:pt idx="13">
                  <c:v>0.32886436342165576</c:v>
                </c:pt>
                <c:pt idx="14">
                  <c:v>0.3258507376441116</c:v>
                </c:pt>
                <c:pt idx="15">
                  <c:v>0.3267897093735055</c:v>
                </c:pt>
                <c:pt idx="16">
                  <c:v>0.3258812989020481</c:v>
                </c:pt>
                <c:pt idx="17">
                  <c:v>0.3237732225593827</c:v>
                </c:pt>
                <c:pt idx="18">
                  <c:v>0.32773375782933245</c:v>
                </c:pt>
                <c:pt idx="19">
                  <c:v>0.32703534525620165</c:v>
                </c:pt>
                <c:pt idx="20">
                  <c:v>0.32932991766477965</c:v>
                </c:pt>
                <c:pt idx="21">
                  <c:v>0.3273442809850702</c:v>
                </c:pt>
                <c:pt idx="22">
                  <c:v>0.33361860711517527</c:v>
                </c:pt>
                <c:pt idx="23">
                  <c:v>0.3349460325693008</c:v>
                </c:pt>
                <c:pt idx="24">
                  <c:v>0.3336946708586251</c:v>
                </c:pt>
                <c:pt idx="25">
                  <c:v>0.3259653076443226</c:v>
                </c:pt>
                <c:pt idx="26">
                  <c:v>0.3276275031406929</c:v>
                </c:pt>
                <c:pt idx="27">
                  <c:v>0.3248421596178475</c:v>
                </c:pt>
                <c:pt idx="28">
                  <c:v>0.3224843580192301</c:v>
                </c:pt>
                <c:pt idx="29">
                  <c:v>0.3263882463343178</c:v>
                </c:pt>
                <c:pt idx="30">
                  <c:v>0.3246072784453233</c:v>
                </c:pt>
                <c:pt idx="31">
                  <c:v>0.3271646921490033</c:v>
                </c:pt>
                <c:pt idx="32">
                  <c:v>0.3284652095199173</c:v>
                </c:pt>
                <c:pt idx="33">
                  <c:v>0.32605862943045644</c:v>
                </c:pt>
                <c:pt idx="34">
                  <c:v>0.3266552763543141</c:v>
                </c:pt>
                <c:pt idx="35">
                  <c:v>0.3249966148598441</c:v>
                </c:pt>
                <c:pt idx="36">
                  <c:v>0.32194288417813066</c:v>
                </c:pt>
                <c:pt idx="37">
                  <c:v>0.32404583162232375</c:v>
                </c:pt>
                <c:pt idx="38">
                  <c:v>0.3271261007178099</c:v>
                </c:pt>
                <c:pt idx="39">
                  <c:v>0.324598163831412</c:v>
                </c:pt>
                <c:pt idx="40">
                  <c:v>0.3237427008864594</c:v>
                </c:pt>
                <c:pt idx="41">
                  <c:v>0.3247246401969863</c:v>
                </c:pt>
                <c:pt idx="42">
                  <c:v>0.3237828709097226</c:v>
                </c:pt>
                <c:pt idx="43">
                  <c:v>0.32263925137411636</c:v>
                </c:pt>
                <c:pt idx="44">
                  <c:v>0.32485381212263814</c:v>
                </c:pt>
                <c:pt idx="45">
                  <c:v>0.32509238981249855</c:v>
                </c:pt>
                <c:pt idx="46">
                  <c:v>0.3263816912528769</c:v>
                </c:pt>
                <c:pt idx="47">
                  <c:v>0.3266610974899538</c:v>
                </c:pt>
                <c:pt idx="48">
                  <c:v>0.32208997824092855</c:v>
                </c:pt>
                <c:pt idx="49">
                  <c:v>0.3246991039797567</c:v>
                </c:pt>
                <c:pt idx="50">
                  <c:v>0.32566081546861636</c:v>
                </c:pt>
                <c:pt idx="51">
                  <c:v>0.32757941890484604</c:v>
                </c:pt>
                <c:pt idx="52">
                  <c:v>0.3317963026055326</c:v>
                </c:pt>
                <c:pt idx="53">
                  <c:v>0.42807491918247476</c:v>
                </c:pt>
                <c:pt idx="54">
                  <c:v>0.32622800001728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526055951727921"/>
          <c:min val="0.216960767517560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72.0114</c:v>
                </c:pt>
                <c:pt idx="1">
                  <c:v>936.0378</c:v>
                </c:pt>
                <c:pt idx="2">
                  <c:v>964.8215</c:v>
                </c:pt>
                <c:pt idx="3">
                  <c:v>980.8587</c:v>
                </c:pt>
                <c:pt idx="4">
                  <c:v>965.7756</c:v>
                </c:pt>
                <c:pt idx="5">
                  <c:v>960.5726</c:v>
                </c:pt>
                <c:pt idx="6">
                  <c:v>929.0855</c:v>
                </c:pt>
                <c:pt idx="7">
                  <c:v>933.2585</c:v>
                </c:pt>
                <c:pt idx="8">
                  <c:v>943.9604</c:v>
                </c:pt>
                <c:pt idx="9">
                  <c:v>912.2604</c:v>
                </c:pt>
                <c:pt idx="10">
                  <c:v>913.6539</c:v>
                </c:pt>
                <c:pt idx="11">
                  <c:v>974.5713</c:v>
                </c:pt>
                <c:pt idx="12">
                  <c:v>984.9557</c:v>
                </c:pt>
                <c:pt idx="13">
                  <c:v>990.3874</c:v>
                </c:pt>
                <c:pt idx="14">
                  <c:v>1029.1724</c:v>
                </c:pt>
                <c:pt idx="15">
                  <c:v>1060.0608</c:v>
                </c:pt>
                <c:pt idx="16">
                  <c:v>1070.0367</c:v>
                </c:pt>
                <c:pt idx="17">
                  <c:v>1086.7631</c:v>
                </c:pt>
                <c:pt idx="18">
                  <c:v>1147.1592</c:v>
                </c:pt>
                <c:pt idx="19">
                  <c:v>1140.1448</c:v>
                </c:pt>
                <c:pt idx="20">
                  <c:v>1161.8144</c:v>
                </c:pt>
                <c:pt idx="21">
                  <c:v>1158.9009</c:v>
                </c:pt>
                <c:pt idx="22">
                  <c:v>1096.226</c:v>
                </c:pt>
                <c:pt idx="23">
                  <c:v>1092.8498</c:v>
                </c:pt>
                <c:pt idx="24">
                  <c:v>1094.0251</c:v>
                </c:pt>
                <c:pt idx="25">
                  <c:v>1067.0681</c:v>
                </c:pt>
                <c:pt idx="26">
                  <c:v>1062.0207</c:v>
                </c:pt>
                <c:pt idx="27">
                  <c:v>1069.4707</c:v>
                </c:pt>
                <c:pt idx="28">
                  <c:v>1080.1598</c:v>
                </c:pt>
                <c:pt idx="29">
                  <c:v>1067.4322</c:v>
                </c:pt>
                <c:pt idx="30">
                  <c:v>1070.0022</c:v>
                </c:pt>
                <c:pt idx="31">
                  <c:v>1034.0498</c:v>
                </c:pt>
                <c:pt idx="32">
                  <c:v>1025.28</c:v>
                </c:pt>
                <c:pt idx="33">
                  <c:v>980.7204</c:v>
                </c:pt>
                <c:pt idx="34">
                  <c:v>1007.6819</c:v>
                </c:pt>
                <c:pt idx="35">
                  <c:v>1037.7193</c:v>
                </c:pt>
                <c:pt idx="36">
                  <c:v>1114.197</c:v>
                </c:pt>
                <c:pt idx="37">
                  <c:v>1130.2259</c:v>
                </c:pt>
                <c:pt idx="38">
                  <c:v>1168.1455</c:v>
                </c:pt>
                <c:pt idx="39">
                  <c:v>1189.8758</c:v>
                </c:pt>
                <c:pt idx="40">
                  <c:v>1180.1972</c:v>
                </c:pt>
                <c:pt idx="41">
                  <c:v>1228.2562</c:v>
                </c:pt>
                <c:pt idx="42">
                  <c:v>1244.8656</c:v>
                </c:pt>
                <c:pt idx="43">
                  <c:v>1249.3951</c:v>
                </c:pt>
                <c:pt idx="44">
                  <c:v>1201.9114</c:v>
                </c:pt>
                <c:pt idx="45">
                  <c:v>1173.2157</c:v>
                </c:pt>
                <c:pt idx="46">
                  <c:v>1152.9739</c:v>
                </c:pt>
                <c:pt idx="47">
                  <c:v>1146.3427</c:v>
                </c:pt>
                <c:pt idx="48">
                  <c:v>1141.0159</c:v>
                </c:pt>
                <c:pt idx="49">
                  <c:v>1088.0347</c:v>
                </c:pt>
                <c:pt idx="50">
                  <c:v>1098.8825</c:v>
                </c:pt>
                <c:pt idx="51">
                  <c:v>1102.1841</c:v>
                </c:pt>
                <c:pt idx="52">
                  <c:v>1094.781</c:v>
                </c:pt>
                <c:pt idx="53">
                  <c:v>1202.8989</c:v>
                </c:pt>
                <c:pt idx="54">
                  <c:v>1189.1508</c:v>
                </c:pt>
                <c:pt idx="55">
                  <c:v>1214.3624</c:v>
                </c:pt>
                <c:pt idx="56">
                  <c:v>1220.9777</c:v>
                </c:pt>
                <c:pt idx="57">
                  <c:v>1191.8818</c:v>
                </c:pt>
                <c:pt idx="58">
                  <c:v>1191.4895</c:v>
                </c:pt>
                <c:pt idx="59">
                  <c:v>1161.4088</c:v>
                </c:pt>
                <c:pt idx="60">
                  <c:v>1180.4974</c:v>
                </c:pt>
                <c:pt idx="61">
                  <c:v>1211.5092</c:v>
                </c:pt>
                <c:pt idx="62">
                  <c:v>1142.3281</c:v>
                </c:pt>
                <c:pt idx="63">
                  <c:v>1153.6288</c:v>
                </c:pt>
                <c:pt idx="64">
                  <c:v>1162.8613</c:v>
                </c:pt>
                <c:pt idx="65">
                  <c:v>1160.9389</c:v>
                </c:pt>
                <c:pt idx="66">
                  <c:v>1214.9399</c:v>
                </c:pt>
                <c:pt idx="67">
                  <c:v>1230.4276</c:v>
                </c:pt>
                <c:pt idx="68">
                  <c:v>1243.3539</c:v>
                </c:pt>
                <c:pt idx="69">
                  <c:v>1274.1251</c:v>
                </c:pt>
                <c:pt idx="70">
                  <c:v>1263.2952</c:v>
                </c:pt>
                <c:pt idx="71">
                  <c:v>1311.5528</c:v>
                </c:pt>
                <c:pt idx="72">
                  <c:v>1366.1888</c:v>
                </c:pt>
                <c:pt idx="73">
                  <c:v>1341.3275</c:v>
                </c:pt>
                <c:pt idx="74">
                  <c:v>1344.5726</c:v>
                </c:pt>
                <c:pt idx="75">
                  <c:v>1294.2393</c:v>
                </c:pt>
                <c:pt idx="76">
                  <c:v>1275.2068</c:v>
                </c:pt>
                <c:pt idx="77">
                  <c:v>1257.1451</c:v>
                </c:pt>
                <c:pt idx="78">
                  <c:v>1342.3898</c:v>
                </c:pt>
                <c:pt idx="79">
                  <c:v>1325.6612</c:v>
                </c:pt>
                <c:pt idx="80">
                  <c:v>1342.9965</c:v>
                </c:pt>
                <c:pt idx="81">
                  <c:v>1315.4674</c:v>
                </c:pt>
                <c:pt idx="82">
                  <c:v>1344.5183</c:v>
                </c:pt>
                <c:pt idx="83">
                  <c:v>1286.9083</c:v>
                </c:pt>
                <c:pt idx="84">
                  <c:v>1311.6393</c:v>
                </c:pt>
                <c:pt idx="85">
                  <c:v>1290.4731</c:v>
                </c:pt>
                <c:pt idx="86">
                  <c:v>1320.2082</c:v>
                </c:pt>
                <c:pt idx="87">
                  <c:v>1303.9899</c:v>
                </c:pt>
                <c:pt idx="88">
                  <c:v>1353.1746</c:v>
                </c:pt>
                <c:pt idx="89">
                  <c:v>1352.3991</c:v>
                </c:pt>
                <c:pt idx="90">
                  <c:v>1385.4267</c:v>
                </c:pt>
                <c:pt idx="91">
                  <c:v>1386.2705</c:v>
                </c:pt>
                <c:pt idx="92">
                  <c:v>1318.44</c:v>
                </c:pt>
                <c:pt idx="93">
                  <c:v>1342.229</c:v>
                </c:pt>
                <c:pt idx="94">
                  <c:v>1313.9107</c:v>
                </c:pt>
                <c:pt idx="95">
                  <c:v>1281.8471</c:v>
                </c:pt>
                <c:pt idx="96">
                  <c:v>1259.9921</c:v>
                </c:pt>
                <c:pt idx="97">
                  <c:v>1254.5276</c:v>
                </c:pt>
                <c:pt idx="98">
                  <c:v>1221.7465</c:v>
                </c:pt>
                <c:pt idx="99">
                  <c:v>1193.1033</c:v>
                </c:pt>
                <c:pt idx="100">
                  <c:v>1158.5015</c:v>
                </c:pt>
                <c:pt idx="101">
                  <c:v>1211.9747</c:v>
                </c:pt>
                <c:pt idx="102">
                  <c:v>1226.3077</c:v>
                </c:pt>
                <c:pt idx="103">
                  <c:v>1209.9885</c:v>
                </c:pt>
                <c:pt idx="104">
                  <c:v>1242.7585</c:v>
                </c:pt>
              </c:numCache>
            </c:numRef>
          </c:xVal>
          <c:yVal>
            <c:numRef>
              <c:f>Sheet1!$B$2:$B$106</c:f>
              <c:numCache>
                <c:formatCode>General</c:formatCode>
                <c:ptCount val="105"/>
                <c:pt idx="0">
                  <c:v>0.37030952792668165</c:v>
                </c:pt>
                <c:pt idx="1">
                  <c:v>0.4069049306469576</c:v>
                </c:pt>
                <c:pt idx="2">
                  <c:v>0.43152882724355657</c:v>
                </c:pt>
                <c:pt idx="3">
                  <c:v>0.4367342392515037</c:v>
                </c:pt>
                <c:pt idx="4">
                  <c:v>0.4431122767578369</c:v>
                </c:pt>
                <c:pt idx="5">
                  <c:v>0.4262295081967213</c:v>
                </c:pt>
                <c:pt idx="6">
                  <c:v>0.4427332877024869</c:v>
                </c:pt>
                <c:pt idx="7">
                  <c:v>0.4605046626439934</c:v>
                </c:pt>
                <c:pt idx="8">
                  <c:v>0.4346170122725349</c:v>
                </c:pt>
                <c:pt idx="9">
                  <c:v>0.42073737478054324</c:v>
                </c:pt>
                <c:pt idx="10">
                  <c:v>0.40130850528434825</c:v>
                </c:pt>
                <c:pt idx="11">
                  <c:v>0.3633126462508902</c:v>
                </c:pt>
                <c:pt idx="12">
                  <c:v>0.3418999541073887</c:v>
                </c:pt>
                <c:pt idx="13">
                  <c:v>0.3294482564150766</c:v>
                </c:pt>
                <c:pt idx="14">
                  <c:v>0.3018034942701484</c:v>
                </c:pt>
                <c:pt idx="15">
                  <c:v>0.293961742336944</c:v>
                </c:pt>
                <c:pt idx="16">
                  <c:v>0.28739316239316237</c:v>
                </c:pt>
                <c:pt idx="17">
                  <c:v>0.28959741404642964</c:v>
                </c:pt>
                <c:pt idx="18">
                  <c:v>0.2712009593969505</c:v>
                </c:pt>
                <c:pt idx="19">
                  <c:v>0.28177019894437677</c:v>
                </c:pt>
                <c:pt idx="20">
                  <c:v>0.2843917492285204</c:v>
                </c:pt>
                <c:pt idx="21">
                  <c:v>0.31679389312977096</c:v>
                </c:pt>
                <c:pt idx="22">
                  <c:v>0.3662754786905497</c:v>
                </c:pt>
                <c:pt idx="23">
                  <c:v>0.3844984802431611</c:v>
                </c:pt>
                <c:pt idx="24">
                  <c:v>0.4016938898971567</c:v>
                </c:pt>
                <c:pt idx="25">
                  <c:v>0.3997255888406129</c:v>
                </c:pt>
                <c:pt idx="26">
                  <c:v>0.4001926782273603</c:v>
                </c:pt>
                <c:pt idx="27">
                  <c:v>0.3921604711078395</c:v>
                </c:pt>
                <c:pt idx="28">
                  <c:v>0.38458574181117533</c:v>
                </c:pt>
                <c:pt idx="29">
                  <c:v>0.3851161154116819</c:v>
                </c:pt>
                <c:pt idx="30">
                  <c:v>0.3902439024390244</c:v>
                </c:pt>
                <c:pt idx="31">
                  <c:v>0.40343527440301635</c:v>
                </c:pt>
                <c:pt idx="32">
                  <c:v>0.42004722043356946</c:v>
                </c:pt>
                <c:pt idx="33">
                  <c:v>0.4289111601834551</c:v>
                </c:pt>
                <c:pt idx="34">
                  <c:v>0.40476190476190477</c:v>
                </c:pt>
                <c:pt idx="35">
                  <c:v>0.3940037771482531</c:v>
                </c:pt>
                <c:pt idx="36">
                  <c:v>0.3576719576719577</c:v>
                </c:pt>
                <c:pt idx="37">
                  <c:v>0.36244302643573384</c:v>
                </c:pt>
                <c:pt idx="38">
                  <c:v>0.3499349563278201</c:v>
                </c:pt>
                <c:pt idx="39">
                  <c:v>0.3418654256350591</c:v>
                </c:pt>
                <c:pt idx="40">
                  <c:v>0.3519824478921799</c:v>
                </c:pt>
                <c:pt idx="41">
                  <c:v>0.3443092340730136</c:v>
                </c:pt>
                <c:pt idx="42">
                  <c:v>0.34311816684139584</c:v>
                </c:pt>
                <c:pt idx="43">
                  <c:v>0.3302997858672377</c:v>
                </c:pt>
                <c:pt idx="44">
                  <c:v>0.3194601654331737</c:v>
                </c:pt>
                <c:pt idx="45">
                  <c:v>0.324290418692175</c:v>
                </c:pt>
                <c:pt idx="46">
                  <c:v>0.33104087783015224</c:v>
                </c:pt>
                <c:pt idx="47">
                  <c:v>0.3215102072988098</c:v>
                </c:pt>
                <c:pt idx="48">
                  <c:v>0.325332726652258</c:v>
                </c:pt>
                <c:pt idx="49">
                  <c:v>0.34281414016671813</c:v>
                </c:pt>
                <c:pt idx="50">
                  <c:v>0.3323317307692308</c:v>
                </c:pt>
                <c:pt idx="51">
                  <c:v>0.3365947242206235</c:v>
                </c:pt>
                <c:pt idx="52">
                  <c:v>0.3415553809897879</c:v>
                </c:pt>
                <c:pt idx="53">
                  <c:v>0.34542242543905227</c:v>
                </c:pt>
                <c:pt idx="54">
                  <c:v>0.36003283687111526</c:v>
                </c:pt>
                <c:pt idx="55">
                  <c:v>0.3527413876758855</c:v>
                </c:pt>
                <c:pt idx="56">
                  <c:v>0.3605015673981191</c:v>
                </c:pt>
                <c:pt idx="57">
                  <c:v>0.35610401057734686</c:v>
                </c:pt>
                <c:pt idx="58">
                  <c:v>0.3576145884672252</c:v>
                </c:pt>
                <c:pt idx="59">
                  <c:v>0.3588378936822992</c:v>
                </c:pt>
                <c:pt idx="60">
                  <c:v>0.36460539801844893</c:v>
                </c:pt>
                <c:pt idx="61">
                  <c:v>0.3615302248612869</c:v>
                </c:pt>
                <c:pt idx="62">
                  <c:v>0.3779600110568506</c:v>
                </c:pt>
                <c:pt idx="63">
                  <c:v>0.3906262961426794</c:v>
                </c:pt>
                <c:pt idx="64">
                  <c:v>0.360973341599504</c:v>
                </c:pt>
                <c:pt idx="65">
                  <c:v>0.3396652719665272</c:v>
                </c:pt>
                <c:pt idx="66">
                  <c:v>0.3369966669669399</c:v>
                </c:pt>
                <c:pt idx="67">
                  <c:v>0.3277767009110293</c:v>
                </c:pt>
                <c:pt idx="68">
                  <c:v>0.32401767586289265</c:v>
                </c:pt>
                <c:pt idx="69">
                  <c:v>0.3059185242121445</c:v>
                </c:pt>
                <c:pt idx="70">
                  <c:v>0.3052820053715309</c:v>
                </c:pt>
                <c:pt idx="71">
                  <c:v>0.3185344116190791</c:v>
                </c:pt>
                <c:pt idx="72">
                  <c:v>0.30336740829825615</c:v>
                </c:pt>
                <c:pt idx="73">
                  <c:v>0.31850387213709014</c:v>
                </c:pt>
                <c:pt idx="74">
                  <c:v>0.3149102263856362</c:v>
                </c:pt>
                <c:pt idx="75">
                  <c:v>0.3324295010845987</c:v>
                </c:pt>
                <c:pt idx="76">
                  <c:v>0.32415005861664714</c:v>
                </c:pt>
                <c:pt idx="77">
                  <c:v>0.32843925985518907</c:v>
                </c:pt>
                <c:pt idx="78">
                  <c:v>0.3151487826871055</c:v>
                </c:pt>
                <c:pt idx="79">
                  <c:v>0.31277813095994916</c:v>
                </c:pt>
                <c:pt idx="80">
                  <c:v>0.29580665151828134</c:v>
                </c:pt>
                <c:pt idx="81">
                  <c:v>0.3069154399178364</c:v>
                </c:pt>
                <c:pt idx="82">
                  <c:v>0.3131584846446985</c:v>
                </c:pt>
                <c:pt idx="83">
                  <c:v>0.3096740273396425</c:v>
                </c:pt>
                <c:pt idx="84">
                  <c:v>0.3096486628211851</c:v>
                </c:pt>
                <c:pt idx="85">
                  <c:v>0.32209651350727314</c:v>
                </c:pt>
                <c:pt idx="86">
                  <c:v>0.31315657828914456</c:v>
                </c:pt>
                <c:pt idx="87">
                  <c:v>0.3334307422559907</c:v>
                </c:pt>
                <c:pt idx="88">
                  <c:v>0.3305391503143456</c:v>
                </c:pt>
                <c:pt idx="89">
                  <c:v>0.3295505117935024</c:v>
                </c:pt>
                <c:pt idx="90">
                  <c:v>0.3269098417068135</c:v>
                </c:pt>
                <c:pt idx="91">
                  <c:v>0.3</c:v>
                </c:pt>
                <c:pt idx="92">
                  <c:v>0.3097581317764804</c:v>
                </c:pt>
                <c:pt idx="93">
                  <c:v>0.290199203187251</c:v>
                </c:pt>
                <c:pt idx="94">
                  <c:v>0.292310424436157</c:v>
                </c:pt>
                <c:pt idx="95">
                  <c:v>0.28857791225416035</c:v>
                </c:pt>
                <c:pt idx="96">
                  <c:v>0.29556252801434335</c:v>
                </c:pt>
                <c:pt idx="97">
                  <c:v>0.2938514357053683</c:v>
                </c:pt>
                <c:pt idx="98">
                  <c:v>0.30278750336654997</c:v>
                </c:pt>
                <c:pt idx="99">
                  <c:v>0.3080873671782763</c:v>
                </c:pt>
                <c:pt idx="100">
                  <c:v>0.31036056595162026</c:v>
                </c:pt>
                <c:pt idx="101">
                  <c:v>0.31192590905640327</c:v>
                </c:pt>
                <c:pt idx="102">
                  <c:v>0.3031456621919455</c:v>
                </c:pt>
                <c:pt idx="103">
                  <c:v>0.2880230628112169</c:v>
                </c:pt>
                <c:pt idx="104">
                  <c:v>0.2986716479867164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93.8991</c:v>
                </c:pt>
                <c:pt idx="1">
                  <c:v>1294.2056</c:v>
                </c:pt>
                <c:pt idx="2">
                  <c:v>1300.0405</c:v>
                </c:pt>
                <c:pt idx="3">
                  <c:v>1318.663</c:v>
                </c:pt>
                <c:pt idx="4">
                  <c:v>1311.0525</c:v>
                </c:pt>
                <c:pt idx="5">
                  <c:v>1299.2755</c:v>
                </c:pt>
                <c:pt idx="6">
                  <c:v>1208.7711</c:v>
                </c:pt>
                <c:pt idx="7">
                  <c:v>1270.3232</c:v>
                </c:pt>
                <c:pt idx="8">
                  <c:v>1302.6553</c:v>
                </c:pt>
                <c:pt idx="9">
                  <c:v>1219.7235</c:v>
                </c:pt>
                <c:pt idx="10">
                  <c:v>1267.2686</c:v>
                </c:pt>
                <c:pt idx="11">
                  <c:v>1147.7334</c:v>
                </c:pt>
                <c:pt idx="12">
                  <c:v>1201.5058</c:v>
                </c:pt>
                <c:pt idx="13">
                  <c:v>1233.252</c:v>
                </c:pt>
                <c:pt idx="14">
                  <c:v>1234.366</c:v>
                </c:pt>
                <c:pt idx="15">
                  <c:v>1243.5076</c:v>
                </c:pt>
                <c:pt idx="16">
                  <c:v>1309.7702</c:v>
                </c:pt>
                <c:pt idx="17">
                  <c:v>1282.8843</c:v>
                </c:pt>
                <c:pt idx="18">
                  <c:v>1227.912</c:v>
                </c:pt>
                <c:pt idx="19">
                  <c:v>1332.3595</c:v>
                </c:pt>
                <c:pt idx="20">
                  <c:v>1304.9183</c:v>
                </c:pt>
                <c:pt idx="21">
                  <c:v>1214.6933</c:v>
                </c:pt>
                <c:pt idx="22">
                  <c:v>1277.9619</c:v>
                </c:pt>
                <c:pt idx="23">
                  <c:v>1304.9309</c:v>
                </c:pt>
                <c:pt idx="24">
                  <c:v>1324.233</c:v>
                </c:pt>
                <c:pt idx="25">
                  <c:v>1314.3778</c:v>
                </c:pt>
                <c:pt idx="26">
                  <c:v>1323.1967</c:v>
                </c:pt>
                <c:pt idx="27">
                  <c:v>1314.847</c:v>
                </c:pt>
                <c:pt idx="28">
                  <c:v>1335.9188</c:v>
                </c:pt>
                <c:pt idx="29">
                  <c:v>1346.3322</c:v>
                </c:pt>
                <c:pt idx="30">
                  <c:v>1324.3579</c:v>
                </c:pt>
                <c:pt idx="31">
                  <c:v>1298.7766</c:v>
                </c:pt>
                <c:pt idx="32">
                  <c:v>1318.6741</c:v>
                </c:pt>
                <c:pt idx="33">
                  <c:v>1329.4975</c:v>
                </c:pt>
                <c:pt idx="34">
                  <c:v>1346.882</c:v>
                </c:pt>
                <c:pt idx="35">
                  <c:v>1367.6943</c:v>
                </c:pt>
                <c:pt idx="36">
                  <c:v>1390.0594</c:v>
                </c:pt>
                <c:pt idx="37">
                  <c:v>1366.1922</c:v>
                </c:pt>
                <c:pt idx="38">
                  <c:v>1383.9041</c:v>
                </c:pt>
                <c:pt idx="39">
                  <c:v>1348.077</c:v>
                </c:pt>
                <c:pt idx="40">
                  <c:v>1381.5262</c:v>
                </c:pt>
                <c:pt idx="41">
                  <c:v>1404.6744</c:v>
                </c:pt>
                <c:pt idx="42">
                  <c:v>1377.6281</c:v>
                </c:pt>
                <c:pt idx="43">
                  <c:v>1390.967</c:v>
                </c:pt>
                <c:pt idx="44">
                  <c:v>1305.2283</c:v>
                </c:pt>
                <c:pt idx="45">
                  <c:v>1270.5834</c:v>
                </c:pt>
                <c:pt idx="46">
                  <c:v>1268.3785</c:v>
                </c:pt>
                <c:pt idx="47">
                  <c:v>1227.2745</c:v>
                </c:pt>
                <c:pt idx="48">
                  <c:v>1211.296</c:v>
                </c:pt>
                <c:pt idx="49">
                  <c:v>1224.5422</c:v>
                </c:pt>
                <c:pt idx="50">
                  <c:v>1168.5793</c:v>
                </c:pt>
                <c:pt idx="51">
                  <c:v>1148.3834</c:v>
                </c:pt>
              </c:numCache>
            </c:numRef>
          </c:xVal>
          <c:yVal>
            <c:numRef>
              <c:f>Sheet1!$B$109:$B$160</c:f>
              <c:numCache>
                <c:formatCode>General</c:formatCode>
                <c:ptCount val="52"/>
                <c:pt idx="0">
                  <c:v>0.3088720636769559</c:v>
                </c:pt>
                <c:pt idx="1">
                  <c:v>0.31655492521918516</c:v>
                </c:pt>
                <c:pt idx="2">
                  <c:v>0.3249200142196943</c:v>
                </c:pt>
                <c:pt idx="3">
                  <c:v>0.33826774549466715</c:v>
                </c:pt>
                <c:pt idx="4">
                  <c:v>0.33544242188260487</c:v>
                </c:pt>
                <c:pt idx="5">
                  <c:v>0.3264796310530361</c:v>
                </c:pt>
                <c:pt idx="6">
                  <c:v>0.3376328458533927</c:v>
                </c:pt>
                <c:pt idx="7">
                  <c:v>0.32071637241204115</c:v>
                </c:pt>
                <c:pt idx="8">
                  <c:v>0.33232845248349124</c:v>
                </c:pt>
                <c:pt idx="9">
                  <c:v>0.3318170331058883</c:v>
                </c:pt>
                <c:pt idx="10">
                  <c:v>0.3252361673414305</c:v>
                </c:pt>
                <c:pt idx="11">
                  <c:v>0.3320771253286591</c:v>
                </c:pt>
                <c:pt idx="12">
                  <c:v>0.33480044013203963</c:v>
                </c:pt>
                <c:pt idx="13">
                  <c:v>0.3444373265001068</c:v>
                </c:pt>
                <c:pt idx="14">
                  <c:v>0.34308981470553523</c:v>
                </c:pt>
                <c:pt idx="15">
                  <c:v>0.33507453178748886</c:v>
                </c:pt>
                <c:pt idx="16">
                  <c:v>0.3097582811101164</c:v>
                </c:pt>
                <c:pt idx="17">
                  <c:v>0.31041956959281625</c:v>
                </c:pt>
                <c:pt idx="18">
                  <c:v>0.3261857168817009</c:v>
                </c:pt>
                <c:pt idx="19">
                  <c:v>0.3218253290035891</c:v>
                </c:pt>
                <c:pt idx="20">
                  <c:v>0.32333664349553126</c:v>
                </c:pt>
                <c:pt idx="21">
                  <c:v>0.34642254878342565</c:v>
                </c:pt>
                <c:pt idx="22">
                  <c:v>0.33713315546931844</c:v>
                </c:pt>
                <c:pt idx="23">
                  <c:v>0.3316276803118908</c:v>
                </c:pt>
                <c:pt idx="24">
                  <c:v>0.32457353619179347</c:v>
                </c:pt>
                <c:pt idx="25">
                  <c:v>0.3114639271538641</c:v>
                </c:pt>
                <c:pt idx="26">
                  <c:v>0.3097130242825607</c:v>
                </c:pt>
                <c:pt idx="27">
                  <c:v>0.3031977891827872</c:v>
                </c:pt>
                <c:pt idx="28">
                  <c:v>0.3062360801781737</c:v>
                </c:pt>
                <c:pt idx="29">
                  <c:v>0.31902394938996836</c:v>
                </c:pt>
                <c:pt idx="30">
                  <c:v>0.32297852900867974</c:v>
                </c:pt>
                <c:pt idx="31">
                  <c:v>0.3148806500761808</c:v>
                </c:pt>
                <c:pt idx="32">
                  <c:v>0.3185033082363678</c:v>
                </c:pt>
                <c:pt idx="33">
                  <c:v>0.3210992907801418</c:v>
                </c:pt>
                <c:pt idx="34">
                  <c:v>0.3414243798346226</c:v>
                </c:pt>
                <c:pt idx="35">
                  <c:v>0.3278271918678526</c:v>
                </c:pt>
                <c:pt idx="36">
                  <c:v>0.3286334056399132</c:v>
                </c:pt>
                <c:pt idx="37">
                  <c:v>0.3424323665610529</c:v>
                </c:pt>
                <c:pt idx="38">
                  <c:v>0.3354784555120313</c:v>
                </c:pt>
                <c:pt idx="39">
                  <c:v>0.33706070287539935</c:v>
                </c:pt>
                <c:pt idx="40">
                  <c:v>0.31732859118751233</c:v>
                </c:pt>
                <c:pt idx="41">
                  <c:v>0.316992259491338</c:v>
                </c:pt>
                <c:pt idx="42">
                  <c:v>0.3271578947368421</c:v>
                </c:pt>
                <c:pt idx="43">
                  <c:v>0.31994328922495274</c:v>
                </c:pt>
                <c:pt idx="44">
                  <c:v>0.3100735853844202</c:v>
                </c:pt>
                <c:pt idx="45">
                  <c:v>0.32093527128283833</c:v>
                </c:pt>
                <c:pt idx="46">
                  <c:v>0.33204092622509424</c:v>
                </c:pt>
                <c:pt idx="47">
                  <c:v>0.3322462693942089</c:v>
                </c:pt>
                <c:pt idx="48">
                  <c:v>0.31593362332850006</c:v>
                </c:pt>
                <c:pt idx="49">
                  <c:v>0.33039009915321704</c:v>
                </c:pt>
                <c:pt idx="50">
                  <c:v>0.3407763815574345</c:v>
                </c:pt>
                <c:pt idx="51">
                  <c:v>0.3400851063829787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57.385091931898</c:v>
                </c:pt>
              </c:numCache>
            </c:numRef>
          </c:xVal>
          <c:yVal>
            <c:numRef>
              <c:f>Sheet1!$B$163:$B$164</c:f>
              <c:numCache>
                <c:formatCode>General</c:formatCode>
                <c:ptCount val="2"/>
                <c:pt idx="0">
                  <c:v>0.42807491918247476</c:v>
                </c:pt>
                <c:pt idx="1">
                  <c:v>0.4280749191824747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57.385091931898</c:v>
                </c:pt>
                <c:pt idx="1">
                  <c:v>-357.385091931898</c:v>
                </c:pt>
              </c:numCache>
            </c:numRef>
          </c:xVal>
          <c:yVal>
            <c:numRef>
              <c:f>Sheet1!$B$167:$B$168</c:f>
              <c:numCache>
                <c:formatCode>General</c:formatCode>
                <c:ptCount val="2"/>
                <c:pt idx="0">
                  <c:v>0.4280749191824747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02.0779677453352</c:v>
                </c:pt>
              </c:numCache>
            </c:numRef>
          </c:xVal>
          <c:yVal>
            <c:numRef>
              <c:f>Sheet1!$B$171:$B$172</c:f>
              <c:numCache>
                <c:formatCode>General</c:formatCode>
                <c:ptCount val="2"/>
                <c:pt idx="0">
                  <c:v>0.3317963026055326</c:v>
                </c:pt>
                <c:pt idx="1">
                  <c:v>0.331796302605532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02.0779677453352</c:v>
                </c:pt>
                <c:pt idx="1">
                  <c:v>1202.0779677453352</c:v>
                </c:pt>
              </c:numCache>
            </c:numRef>
          </c:xVal>
          <c:yVal>
            <c:numRef>
              <c:f>Sheet1!$B$175:$B$176</c:f>
              <c:numCache>
                <c:formatCode>General</c:formatCode>
                <c:ptCount val="2"/>
                <c:pt idx="0">
                  <c:v>0.331796302605532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92.2699802628183</c:v>
                </c:pt>
              </c:numCache>
            </c:numRef>
          </c:xVal>
          <c:yVal>
            <c:numRef>
              <c:f>Sheet1!$B$179:$B$180</c:f>
              <c:numCache>
                <c:formatCode>General</c:formatCode>
                <c:ptCount val="2"/>
                <c:pt idx="0">
                  <c:v>0.3262280000172874</c:v>
                </c:pt>
                <c:pt idx="1">
                  <c:v>0.326228000017287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92.2699802628183</c:v>
                </c:pt>
                <c:pt idx="1">
                  <c:v>1292.2699802628183</c:v>
                </c:pt>
              </c:numCache>
            </c:numRef>
          </c:xVal>
          <c:yVal>
            <c:numRef>
              <c:f>Sheet1!$B$183:$B$184</c:f>
              <c:numCache>
                <c:formatCode>General</c:formatCode>
                <c:ptCount val="2"/>
                <c:pt idx="0">
                  <c:v>0.326228000017287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93.8991</c:v>
                </c:pt>
                <c:pt idx="1">
                  <c:v>1294.2056</c:v>
                </c:pt>
                <c:pt idx="2">
                  <c:v>1300.0405</c:v>
                </c:pt>
                <c:pt idx="3">
                  <c:v>1318.663</c:v>
                </c:pt>
                <c:pt idx="4">
                  <c:v>1311.0525</c:v>
                </c:pt>
                <c:pt idx="5">
                  <c:v>1299.2755</c:v>
                </c:pt>
                <c:pt idx="6">
                  <c:v>1208.7711</c:v>
                </c:pt>
                <c:pt idx="7">
                  <c:v>1270.3232</c:v>
                </c:pt>
                <c:pt idx="8">
                  <c:v>1302.6553</c:v>
                </c:pt>
                <c:pt idx="9">
                  <c:v>1219.7235</c:v>
                </c:pt>
                <c:pt idx="10">
                  <c:v>1267.2686</c:v>
                </c:pt>
                <c:pt idx="11">
                  <c:v>1147.7334</c:v>
                </c:pt>
                <c:pt idx="12">
                  <c:v>1201.5058</c:v>
                </c:pt>
                <c:pt idx="13">
                  <c:v>1233.252</c:v>
                </c:pt>
                <c:pt idx="14">
                  <c:v>1234.366</c:v>
                </c:pt>
                <c:pt idx="15">
                  <c:v>1243.5076</c:v>
                </c:pt>
                <c:pt idx="16">
                  <c:v>1309.7702</c:v>
                </c:pt>
                <c:pt idx="17">
                  <c:v>1282.8843</c:v>
                </c:pt>
                <c:pt idx="18">
                  <c:v>1227.912</c:v>
                </c:pt>
                <c:pt idx="19">
                  <c:v>1332.3595</c:v>
                </c:pt>
                <c:pt idx="20">
                  <c:v>1304.9183</c:v>
                </c:pt>
                <c:pt idx="21">
                  <c:v>1214.6933</c:v>
                </c:pt>
                <c:pt idx="22">
                  <c:v>1277.9619</c:v>
                </c:pt>
                <c:pt idx="23">
                  <c:v>1304.9309</c:v>
                </c:pt>
                <c:pt idx="24">
                  <c:v>1324.233</c:v>
                </c:pt>
                <c:pt idx="25">
                  <c:v>1314.3778</c:v>
                </c:pt>
                <c:pt idx="26">
                  <c:v>1323.1967</c:v>
                </c:pt>
                <c:pt idx="27">
                  <c:v>1314.847</c:v>
                </c:pt>
                <c:pt idx="28">
                  <c:v>1335.9188</c:v>
                </c:pt>
                <c:pt idx="29">
                  <c:v>1346.3322</c:v>
                </c:pt>
                <c:pt idx="30">
                  <c:v>1324.3579</c:v>
                </c:pt>
                <c:pt idx="31">
                  <c:v>1298.7766</c:v>
                </c:pt>
                <c:pt idx="32">
                  <c:v>1318.6741</c:v>
                </c:pt>
                <c:pt idx="33">
                  <c:v>1329.4975</c:v>
                </c:pt>
                <c:pt idx="34">
                  <c:v>1346.882</c:v>
                </c:pt>
                <c:pt idx="35">
                  <c:v>1367.6943</c:v>
                </c:pt>
                <c:pt idx="36">
                  <c:v>1390.0594</c:v>
                </c:pt>
                <c:pt idx="37">
                  <c:v>1366.1922</c:v>
                </c:pt>
                <c:pt idx="38">
                  <c:v>1383.9041</c:v>
                </c:pt>
                <c:pt idx="39">
                  <c:v>1348.077</c:v>
                </c:pt>
                <c:pt idx="40">
                  <c:v>1381.5262</c:v>
                </c:pt>
                <c:pt idx="41">
                  <c:v>1404.6744</c:v>
                </c:pt>
                <c:pt idx="42">
                  <c:v>1377.6281</c:v>
                </c:pt>
                <c:pt idx="43">
                  <c:v>1390.967</c:v>
                </c:pt>
                <c:pt idx="44">
                  <c:v>1305.2283</c:v>
                </c:pt>
                <c:pt idx="45">
                  <c:v>1270.5834</c:v>
                </c:pt>
                <c:pt idx="46">
                  <c:v>1268.3785</c:v>
                </c:pt>
                <c:pt idx="47">
                  <c:v>1227.2745</c:v>
                </c:pt>
                <c:pt idx="48">
                  <c:v>1211.296</c:v>
                </c:pt>
                <c:pt idx="49">
                  <c:v>1224.5422</c:v>
                </c:pt>
                <c:pt idx="50">
                  <c:v>1168.5793</c:v>
                </c:pt>
                <c:pt idx="51">
                  <c:v>1148.3834</c:v>
                </c:pt>
                <c:pt idx="52">
                  <c:v>1202.0779677453352</c:v>
                </c:pt>
                <c:pt idx="53">
                  <c:v>-357.385091931898</c:v>
                </c:pt>
                <c:pt idx="54">
                  <c:v>1292.2699802628183</c:v>
                </c:pt>
              </c:numCache>
            </c:numRef>
          </c:xVal>
          <c:yVal>
            <c:numRef>
              <c:f>Sheet1!$B$187:$B$241</c:f>
              <c:numCache>
                <c:formatCode>General</c:formatCode>
                <c:ptCount val="55"/>
                <c:pt idx="0">
                  <c:v>0.3261274209150376</c:v>
                </c:pt>
                <c:pt idx="1">
                  <c:v>0.32610849812247916</c:v>
                </c:pt>
                <c:pt idx="2">
                  <c:v>0.3257482612471145</c:v>
                </c:pt>
                <c:pt idx="3">
                  <c:v>0.32459853953612045</c:v>
                </c:pt>
                <c:pt idx="4">
                  <c:v>0.32506839895786943</c:v>
                </c:pt>
                <c:pt idx="5">
                  <c:v>0.3257954910556209</c:v>
                </c:pt>
                <c:pt idx="6">
                  <c:v>0.3313830799196557</c:v>
                </c:pt>
                <c:pt idx="7">
                  <c:v>0.3275829571795684</c:v>
                </c:pt>
                <c:pt idx="8">
                  <c:v>0.32558682790949023</c:v>
                </c:pt>
                <c:pt idx="9">
                  <c:v>0.3307068972337923</c:v>
                </c:pt>
                <c:pt idx="10">
                  <c:v>0.3277715430267104</c:v>
                </c:pt>
                <c:pt idx="11">
                  <c:v>0.33515144447216694</c:v>
                </c:pt>
                <c:pt idx="12">
                  <c:v>0.33183162727618065</c:v>
                </c:pt>
                <c:pt idx="13">
                  <c:v>0.3298716704829703</c:v>
                </c:pt>
                <c:pt idx="14">
                  <c:v>0.3298028940036551</c:v>
                </c:pt>
                <c:pt idx="15">
                  <c:v>0.3292385070527504</c:v>
                </c:pt>
                <c:pt idx="16">
                  <c:v>0.325147565995056</c:v>
                </c:pt>
                <c:pt idx="17">
                  <c:v>0.32680745607155565</c:v>
                </c:pt>
                <c:pt idx="18">
                  <c:v>0.3302013530678385</c:v>
                </c:pt>
                <c:pt idx="19">
                  <c:v>0.3237529407489206</c:v>
                </c:pt>
                <c:pt idx="20">
                  <c:v>0.32544711410994775</c:v>
                </c:pt>
                <c:pt idx="21">
                  <c:v>0.33101745328967325</c:v>
                </c:pt>
                <c:pt idx="22">
                  <c:v>0.3271113567374274</c:v>
                </c:pt>
                <c:pt idx="23">
                  <c:v>0.3254463362072194</c:v>
                </c:pt>
                <c:pt idx="24">
                  <c:v>0.32425465713954443</c:v>
                </c:pt>
                <c:pt idx="25">
                  <c:v>0.32486310054973044</c:v>
                </c:pt>
                <c:pt idx="26">
                  <c:v>0.32431863655203486</c:v>
                </c:pt>
                <c:pt idx="27">
                  <c:v>0.3248341329338465</c:v>
                </c:pt>
                <c:pt idx="28">
                  <c:v>0.32353319557582666</c:v>
                </c:pt>
                <c:pt idx="29">
                  <c:v>0.32289028984000895</c:v>
                </c:pt>
                <c:pt idx="30">
                  <c:v>0.32424694602440396</c:v>
                </c:pt>
                <c:pt idx="31">
                  <c:v>0.32582629229936444</c:v>
                </c:pt>
                <c:pt idx="32">
                  <c:v>0.32459785424085974</c:v>
                </c:pt>
                <c:pt idx="33">
                  <c:v>0.3239296357972151</c:v>
                </c:pt>
                <c:pt idx="34">
                  <c:v>0.3228563461161961</c:v>
                </c:pt>
                <c:pt idx="35">
                  <c:v>0.3215714298500814</c:v>
                </c:pt>
                <c:pt idx="36">
                  <c:v>0.32019064633344546</c:v>
                </c:pt>
                <c:pt idx="37">
                  <c:v>0.3216641669681957</c:v>
                </c:pt>
                <c:pt idx="38">
                  <c:v>0.32057066416390223</c:v>
                </c:pt>
                <c:pt idx="39">
                  <c:v>0.3227825688336273</c:v>
                </c:pt>
                <c:pt idx="40">
                  <c:v>0.32071747169546744</c:v>
                </c:pt>
                <c:pt idx="41">
                  <c:v>0.319288340906882</c:v>
                </c:pt>
                <c:pt idx="42">
                  <c:v>0.32095813380859006</c:v>
                </c:pt>
                <c:pt idx="43">
                  <c:v>0.3201346126416802</c:v>
                </c:pt>
                <c:pt idx="44">
                  <c:v>0.32542797523329814</c:v>
                </c:pt>
                <c:pt idx="45">
                  <c:v>0.32756689287084506</c:v>
                </c:pt>
                <c:pt idx="46">
                  <c:v>0.32770301967447346</c:v>
                </c:pt>
                <c:pt idx="47">
                  <c:v>0.3302407112415938</c:v>
                </c:pt>
                <c:pt idx="48">
                  <c:v>0.3312271968562599</c:v>
                </c:pt>
                <c:pt idx="49">
                  <c:v>0.3304093988308514</c:v>
                </c:pt>
                <c:pt idx="50">
                  <c:v>0.33386445379877666</c:v>
                </c:pt>
                <c:pt idx="51">
                  <c:v>0.3351113145695145</c:v>
                </c:pt>
                <c:pt idx="52">
                  <c:v>0.3317963026055326</c:v>
                </c:pt>
                <c:pt idx="53">
                  <c:v>0.42807491918247476</c:v>
                </c:pt>
                <c:pt idx="54">
                  <c:v>0.32622800001728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8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526055951727921"/>
          <c:min val="0.216960767517560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9755576247599751</c:v>
                </c:pt>
                <c:pt idx="1">
                  <c:v>0.9101656552784548</c:v>
                </c:pt>
                <c:pt idx="2">
                  <c:v>0.8978621146033711</c:v>
                </c:pt>
                <c:pt idx="3">
                  <c:v>0.903936180086854</c:v>
                </c:pt>
                <c:pt idx="4">
                  <c:v>0.8675394755058795</c:v>
                </c:pt>
                <c:pt idx="5">
                  <c:v>0.8579291031854744</c:v>
                </c:pt>
                <c:pt idx="6">
                  <c:v>0.8691431327701248</c:v>
                </c:pt>
                <c:pt idx="7">
                  <c:v>0.8621648021623071</c:v>
                </c:pt>
                <c:pt idx="8">
                  <c:v>0.8409263891838605</c:v>
                </c:pt>
                <c:pt idx="9">
                  <c:v>0.8998489886822899</c:v>
                </c:pt>
                <c:pt idx="10">
                  <c:v>0.8979076759944822</c:v>
                </c:pt>
                <c:pt idx="11">
                  <c:v>0.8622155041669414</c:v>
                </c:pt>
                <c:pt idx="12">
                  <c:v>0.8808655112959387</c:v>
                </c:pt>
                <c:pt idx="13">
                  <c:v>0.8809914384219093</c:v>
                </c:pt>
                <c:pt idx="14">
                  <c:v>0.9339876079517345</c:v>
                </c:pt>
                <c:pt idx="15">
                  <c:v>0.9284045215213756</c:v>
                </c:pt>
                <c:pt idx="16">
                  <c:v>0.9247035915056369</c:v>
                </c:pt>
                <c:pt idx="17">
                  <c:v>0.9357397655611923</c:v>
                </c:pt>
                <c:pt idx="18">
                  <c:v>0.9775117669628685</c:v>
                </c:pt>
                <c:pt idx="19">
                  <c:v>1.0258300870584809</c:v>
                </c:pt>
                <c:pt idx="20">
                  <c:v>1.0233977372925167</c:v>
                </c:pt>
                <c:pt idx="21">
                  <c:v>0.9354376972125861</c:v>
                </c:pt>
                <c:pt idx="22">
                  <c:v>0.9256441507223221</c:v>
                </c:pt>
                <c:pt idx="23">
                  <c:v>0.9099161060215741</c:v>
                </c:pt>
                <c:pt idx="24">
                  <c:v>0.9155759970662625</c:v>
                </c:pt>
                <c:pt idx="25">
                  <c:v>0.8984989606219405</c:v>
                </c:pt>
                <c:pt idx="26">
                  <c:v>0.8990818239148016</c:v>
                </c:pt>
                <c:pt idx="27">
                  <c:v>0.8984229550285181</c:v>
                </c:pt>
                <c:pt idx="28">
                  <c:v>0.8796516770794506</c:v>
                </c:pt>
                <c:pt idx="29">
                  <c:v>0.868143940441874</c:v>
                </c:pt>
                <c:pt idx="30">
                  <c:v>0.8897557178213108</c:v>
                </c:pt>
                <c:pt idx="31">
                  <c:v>0.8831060529975364</c:v>
                </c:pt>
                <c:pt idx="32">
                  <c:v>0.9108029844478023</c:v>
                </c:pt>
                <c:pt idx="33">
                  <c:v>0.9096718030505003</c:v>
                </c:pt>
                <c:pt idx="34">
                  <c:v>0.9614265233219977</c:v>
                </c:pt>
                <c:pt idx="35">
                  <c:v>1.025108147247268</c:v>
                </c:pt>
                <c:pt idx="36">
                  <c:v>1.0889395906785073</c:v>
                </c:pt>
                <c:pt idx="37">
                  <c:v>1.1121496623268345</c:v>
                </c:pt>
                <c:pt idx="38">
                  <c:v>1.1537905748285673</c:v>
                </c:pt>
                <c:pt idx="39">
                  <c:v>1.1276885987775223</c:v>
                </c:pt>
                <c:pt idx="40">
                  <c:v>1.124919836977265</c:v>
                </c:pt>
                <c:pt idx="41">
                  <c:v>1.0801934907531188</c:v>
                </c:pt>
                <c:pt idx="42">
                  <c:v>1.1058015049324112</c:v>
                </c:pt>
                <c:pt idx="43">
                  <c:v>1.0943361594840613</c:v>
                </c:pt>
                <c:pt idx="44">
                  <c:v>1.0227936249095333</c:v>
                </c:pt>
                <c:pt idx="45">
                  <c:v>0.9885817844764815</c:v>
                </c:pt>
                <c:pt idx="46">
                  <c:v>1.0061835222710853</c:v>
                </c:pt>
                <c:pt idx="47">
                  <c:v>1.0341889316416917</c:v>
                </c:pt>
                <c:pt idx="48">
                  <c:v>0.9803759076601879</c:v>
                </c:pt>
                <c:pt idx="49">
                  <c:v>0.9395173208553728</c:v>
                </c:pt>
                <c:pt idx="50">
                  <c:v>0.9553166116438383</c:v>
                </c:pt>
                <c:pt idx="51">
                  <c:v>0.9703635846070642</c:v>
                </c:pt>
                <c:pt idx="52">
                  <c:v>0.9394233486857557</c:v>
                </c:pt>
                <c:pt idx="53">
                  <c:v>0.9935154337762974</c:v>
                </c:pt>
                <c:pt idx="54">
                  <c:v>0.9919151428976211</c:v>
                </c:pt>
                <c:pt idx="55">
                  <c:v>1.0118563762587653</c:v>
                </c:pt>
                <c:pt idx="56">
                  <c:v>0.98951897750517</c:v>
                </c:pt>
                <c:pt idx="57">
                  <c:v>0.9913462353202185</c:v>
                </c:pt>
                <c:pt idx="58">
                  <c:v>0.9709881125843662</c:v>
                </c:pt>
                <c:pt idx="59">
                  <c:v>0.955615832038954</c:v>
                </c:pt>
                <c:pt idx="60">
                  <c:v>0.932121423711871</c:v>
                </c:pt>
                <c:pt idx="61">
                  <c:v>0.9692187222646752</c:v>
                </c:pt>
                <c:pt idx="62">
                  <c:v>0.9839868328015997</c:v>
                </c:pt>
                <c:pt idx="63">
                  <c:v>0.9818358932661703</c:v>
                </c:pt>
                <c:pt idx="64">
                  <c:v>1.012093566931563</c:v>
                </c:pt>
                <c:pt idx="65">
                  <c:v>0.9883188373451243</c:v>
                </c:pt>
                <c:pt idx="66">
                  <c:v>1.0389481045684703</c:v>
                </c:pt>
                <c:pt idx="67">
                  <c:v>1.111998426222413</c:v>
                </c:pt>
                <c:pt idx="68">
                  <c:v>1.1525034163692056</c:v>
                </c:pt>
                <c:pt idx="69">
                  <c:v>1.1609824829019202</c:v>
                </c:pt>
                <c:pt idx="70">
                  <c:v>1.1470131422901924</c:v>
                </c:pt>
                <c:pt idx="71">
                  <c:v>1.0691234699647354</c:v>
                </c:pt>
                <c:pt idx="72">
                  <c:v>1.1562543877255822</c:v>
                </c:pt>
                <c:pt idx="73">
                  <c:v>1.049727372138489</c:v>
                </c:pt>
                <c:pt idx="74">
                  <c:v>0.9602053726092081</c:v>
                </c:pt>
                <c:pt idx="75">
                  <c:v>0.9647252877877238</c:v>
                </c:pt>
                <c:pt idx="76">
                  <c:v>0.9547100527577396</c:v>
                </c:pt>
                <c:pt idx="77">
                  <c:v>0.9684504500701042</c:v>
                </c:pt>
                <c:pt idx="78">
                  <c:v>0.9941352377166011</c:v>
                </c:pt>
                <c:pt idx="79">
                  <c:v>1.0226452428336499</c:v>
                </c:pt>
                <c:pt idx="80">
                  <c:v>1.0707913866651355</c:v>
                </c:pt>
                <c:pt idx="81">
                  <c:v>1.0810535288462868</c:v>
                </c:pt>
                <c:pt idx="82">
                  <c:v>1.0569633656959103</c:v>
                </c:pt>
                <c:pt idx="83">
                  <c:v>1.0750397987662</c:v>
                </c:pt>
                <c:pt idx="84">
                  <c:v>1.0823769750767525</c:v>
                </c:pt>
                <c:pt idx="85">
                  <c:v>1.065025702597404</c:v>
                </c:pt>
                <c:pt idx="86">
                  <c:v>1.047364334682415</c:v>
                </c:pt>
                <c:pt idx="87">
                  <c:v>1.0352217607565488</c:v>
                </c:pt>
                <c:pt idx="88">
                  <c:v>0.9822581264659668</c:v>
                </c:pt>
                <c:pt idx="89">
                  <c:v>0.96911635788739</c:v>
                </c:pt>
                <c:pt idx="90">
                  <c:v>0.9769866735001436</c:v>
                </c:pt>
                <c:pt idx="91">
                  <c:v>0.9898167457152566</c:v>
                </c:pt>
                <c:pt idx="92">
                  <c:v>0.9865542694210016</c:v>
                </c:pt>
                <c:pt idx="93">
                  <c:v>0.9650735820139538</c:v>
                </c:pt>
                <c:pt idx="94">
                  <c:v>1.0542654705598002</c:v>
                </c:pt>
                <c:pt idx="95">
                  <c:v>1.0227547190815667</c:v>
                </c:pt>
                <c:pt idx="96">
                  <c:v>0.959181572931451</c:v>
                </c:pt>
                <c:pt idx="97">
                  <c:v>1.028426781007501</c:v>
                </c:pt>
                <c:pt idx="98">
                  <c:v>1.0078971871921303</c:v>
                </c:pt>
                <c:pt idx="99">
                  <c:v>1.0037085452687848</c:v>
                </c:pt>
                <c:pt idx="100">
                  <c:v>0.9791209638178151</c:v>
                </c:pt>
                <c:pt idx="101">
                  <c:v>0.9543664696365832</c:v>
                </c:pt>
                <c:pt idx="102">
                  <c:v>0.9768720346449044</c:v>
                </c:pt>
                <c:pt idx="103">
                  <c:v>0.7392634343052858</c:v>
                </c:pt>
                <c:pt idx="104">
                  <c:v>0.7937035220252053</c:v>
                </c:pt>
              </c:numCache>
            </c:numRef>
          </c:xVal>
          <c:yVal>
            <c:numRef>
              <c:f>Sheet1!$B$2:$B$106</c:f>
              <c:numCache>
                <c:formatCode>General</c:formatCode>
                <c:ptCount val="105"/>
                <c:pt idx="0">
                  <c:v>0.1705862009337714</c:v>
                </c:pt>
                <c:pt idx="1">
                  <c:v>0.17485066315682898</c:v>
                </c:pt>
                <c:pt idx="2">
                  <c:v>0.1713073180830142</c:v>
                </c:pt>
                <c:pt idx="3">
                  <c:v>0.1777678770327467</c:v>
                </c:pt>
                <c:pt idx="4">
                  <c:v>0.17846883976520544</c:v>
                </c:pt>
                <c:pt idx="5">
                  <c:v>0.1736718846296068</c:v>
                </c:pt>
                <c:pt idx="6">
                  <c:v>0.17488021902806297</c:v>
                </c:pt>
                <c:pt idx="7">
                  <c:v>0.17320351069665388</c:v>
                </c:pt>
                <c:pt idx="8">
                  <c:v>0.19692481309070392</c:v>
                </c:pt>
                <c:pt idx="9">
                  <c:v>0.1698853661055458</c:v>
                </c:pt>
                <c:pt idx="10">
                  <c:v>0.17614494212380474</c:v>
                </c:pt>
                <c:pt idx="11">
                  <c:v>0.18374198799470953</c:v>
                </c:pt>
                <c:pt idx="12">
                  <c:v>0.18136759981642955</c:v>
                </c:pt>
                <c:pt idx="13">
                  <c:v>0.1837578719804493</c:v>
                </c:pt>
                <c:pt idx="14">
                  <c:v>0.1764982152921285</c:v>
                </c:pt>
                <c:pt idx="15">
                  <c:v>0.1886379350080664</c:v>
                </c:pt>
                <c:pt idx="16">
                  <c:v>0.17080662393162394</c:v>
                </c:pt>
                <c:pt idx="17">
                  <c:v>0.18086982074640023</c:v>
                </c:pt>
                <c:pt idx="18">
                  <c:v>0.16189823539489465</c:v>
                </c:pt>
                <c:pt idx="19">
                  <c:v>0.14413317092976047</c:v>
                </c:pt>
                <c:pt idx="20">
                  <c:v>0.15137242163391262</c:v>
                </c:pt>
                <c:pt idx="21">
                  <c:v>0.15139949109414758</c:v>
                </c:pt>
                <c:pt idx="22">
                  <c:v>0.13053325097796994</c:v>
                </c:pt>
                <c:pt idx="23">
                  <c:v>0.12831089882761615</c:v>
                </c:pt>
                <c:pt idx="24">
                  <c:v>0.12643678160919541</c:v>
                </c:pt>
                <c:pt idx="25">
                  <c:v>0.1287445689458038</c:v>
                </c:pt>
                <c:pt idx="26">
                  <c:v>0.12870905587668593</c:v>
                </c:pt>
                <c:pt idx="27">
                  <c:v>0.1264262053735738</c:v>
                </c:pt>
                <c:pt idx="28">
                  <c:v>0.12986512524084778</c:v>
                </c:pt>
                <c:pt idx="29">
                  <c:v>0.13212526389866291</c:v>
                </c:pt>
                <c:pt idx="30">
                  <c:v>0.12151567944250871</c:v>
                </c:pt>
                <c:pt idx="31">
                  <c:v>0.1110180142438207</c:v>
                </c:pt>
                <c:pt idx="32">
                  <c:v>0.10474350719038421</c:v>
                </c:pt>
                <c:pt idx="33">
                  <c:v>0.11347035841685069</c:v>
                </c:pt>
                <c:pt idx="34">
                  <c:v>0.11454703832752614</c:v>
                </c:pt>
                <c:pt idx="35">
                  <c:v>0.11980642115203022</c:v>
                </c:pt>
                <c:pt idx="36">
                  <c:v>0.10627362055933484</c:v>
                </c:pt>
                <c:pt idx="37">
                  <c:v>0.09389243391066546</c:v>
                </c:pt>
                <c:pt idx="38">
                  <c:v>0.08994610667162238</c:v>
                </c:pt>
                <c:pt idx="39">
                  <c:v>0.10665115377157262</c:v>
                </c:pt>
                <c:pt idx="40">
                  <c:v>0.10593950791412005</c:v>
                </c:pt>
                <c:pt idx="41">
                  <c:v>0.10755189692197566</c:v>
                </c:pt>
                <c:pt idx="42">
                  <c:v>0.10918076980679946</c:v>
                </c:pt>
                <c:pt idx="43">
                  <c:v>0.11603319057815846</c:v>
                </c:pt>
                <c:pt idx="44">
                  <c:v>0.1194601654331737</c:v>
                </c:pt>
                <c:pt idx="45">
                  <c:v>0.13580053316606555</c:v>
                </c:pt>
                <c:pt idx="46">
                  <c:v>0.13886098446797002</c:v>
                </c:pt>
                <c:pt idx="47">
                  <c:v>0.13304957830850478</c:v>
                </c:pt>
                <c:pt idx="48">
                  <c:v>0.1489022864293027</c:v>
                </c:pt>
                <c:pt idx="49">
                  <c:v>0.16941957394257487</c:v>
                </c:pt>
                <c:pt idx="50">
                  <c:v>0.15279447115384615</c:v>
                </c:pt>
                <c:pt idx="51">
                  <c:v>0.14129496402877698</c:v>
                </c:pt>
                <c:pt idx="52">
                  <c:v>0.1494893951296151</c:v>
                </c:pt>
                <c:pt idx="53">
                  <c:v>0.13613218331081783</c:v>
                </c:pt>
                <c:pt idx="54">
                  <c:v>0.1284156209686877</c:v>
                </c:pt>
                <c:pt idx="55">
                  <c:v>0.12954876273653565</c:v>
                </c:pt>
                <c:pt idx="56">
                  <c:v>0.1469592476489028</c:v>
                </c:pt>
                <c:pt idx="57">
                  <c:v>0.1371749669457911</c:v>
                </c:pt>
                <c:pt idx="58">
                  <c:v>0.14578610152784624</c:v>
                </c:pt>
                <c:pt idx="59">
                  <c:v>0.1426961367478555</c:v>
                </c:pt>
                <c:pt idx="60">
                  <c:v>0.16009566108643664</c:v>
                </c:pt>
                <c:pt idx="61">
                  <c:v>0.17161491287841915</c:v>
                </c:pt>
                <c:pt idx="62">
                  <c:v>0.16898553395374552</c:v>
                </c:pt>
                <c:pt idx="63">
                  <c:v>0.17295727913728742</c:v>
                </c:pt>
                <c:pt idx="64">
                  <c:v>0.15607563546187228</c:v>
                </c:pt>
                <c:pt idx="65">
                  <c:v>0.15121338912133891</c:v>
                </c:pt>
                <c:pt idx="66">
                  <c:v>0.14350058553283487</c:v>
                </c:pt>
                <c:pt idx="67">
                  <c:v>0.14169412676875365</c:v>
                </c:pt>
                <c:pt idx="68">
                  <c:v>0.12122297862176042</c:v>
                </c:pt>
                <c:pt idx="69">
                  <c:v>0.1177555726364335</c:v>
                </c:pt>
                <c:pt idx="70">
                  <c:v>0.11250373022978215</c:v>
                </c:pt>
                <c:pt idx="71">
                  <c:v>0.12279254002310612</c:v>
                </c:pt>
                <c:pt idx="72">
                  <c:v>0.12372218881539386</c:v>
                </c:pt>
                <c:pt idx="73">
                  <c:v>0.1362662712143681</c:v>
                </c:pt>
                <c:pt idx="74">
                  <c:v>0.14113973458235754</c:v>
                </c:pt>
                <c:pt idx="75">
                  <c:v>0.1279826464208243</c:v>
                </c:pt>
                <c:pt idx="76">
                  <c:v>0.13208284486127395</c:v>
                </c:pt>
                <c:pt idx="77">
                  <c:v>0.1253016894609815</c:v>
                </c:pt>
                <c:pt idx="78">
                  <c:v>0.12195671776375112</c:v>
                </c:pt>
                <c:pt idx="79">
                  <c:v>0.11888111888111888</c:v>
                </c:pt>
                <c:pt idx="80">
                  <c:v>0.10225160090890312</c:v>
                </c:pt>
                <c:pt idx="81">
                  <c:v>0.10407394727832935</c:v>
                </c:pt>
                <c:pt idx="82">
                  <c:v>0.10849585294776956</c:v>
                </c:pt>
                <c:pt idx="83">
                  <c:v>0.09726603575184017</c:v>
                </c:pt>
                <c:pt idx="84">
                  <c:v>0.10120608285264814</c:v>
                </c:pt>
                <c:pt idx="85">
                  <c:v>0.10182405910875086</c:v>
                </c:pt>
                <c:pt idx="86">
                  <c:v>0.10638652659663166</c:v>
                </c:pt>
                <c:pt idx="87">
                  <c:v>0.12478082992402104</c:v>
                </c:pt>
                <c:pt idx="88">
                  <c:v>0.11678414936178319</c:v>
                </c:pt>
                <c:pt idx="89">
                  <c:v>0.11326212728081887</c:v>
                </c:pt>
                <c:pt idx="90">
                  <c:v>0.10828171598990594</c:v>
                </c:pt>
                <c:pt idx="91">
                  <c:v>0.11352549889135255</c:v>
                </c:pt>
                <c:pt idx="92">
                  <c:v>0.12176814011676397</c:v>
                </c:pt>
                <c:pt idx="93">
                  <c:v>0.1099601593625498</c:v>
                </c:pt>
                <c:pt idx="94">
                  <c:v>0.10033741786538804</c:v>
                </c:pt>
                <c:pt idx="95">
                  <c:v>0.11384266263237519</c:v>
                </c:pt>
                <c:pt idx="96">
                  <c:v>0.10811295383236216</c:v>
                </c:pt>
                <c:pt idx="97">
                  <c:v>0.11181335830212234</c:v>
                </c:pt>
                <c:pt idx="98">
                  <c:v>0.12584163748990035</c:v>
                </c:pt>
                <c:pt idx="99">
                  <c:v>0.12591499409681228</c:v>
                </c:pt>
                <c:pt idx="100">
                  <c:v>0.14343803161694535</c:v>
                </c:pt>
                <c:pt idx="101">
                  <c:v>0.13998329917254992</c:v>
                </c:pt>
                <c:pt idx="102">
                  <c:v>0.12312161891404529</c:v>
                </c:pt>
                <c:pt idx="103">
                  <c:v>0.16074080545120992</c:v>
                </c:pt>
                <c:pt idx="104">
                  <c:v>0.1544209215442092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861820276157507</c:v>
                </c:pt>
                <c:pt idx="1">
                  <c:v>0.8112254677892626</c:v>
                </c:pt>
                <c:pt idx="2">
                  <c:v>0.8121936870208456</c:v>
                </c:pt>
                <c:pt idx="3">
                  <c:v>0.8177877222727314</c:v>
                </c:pt>
                <c:pt idx="4">
                  <c:v>0.8085598197580776</c:v>
                </c:pt>
                <c:pt idx="5">
                  <c:v>0.8294926677708494</c:v>
                </c:pt>
                <c:pt idx="6">
                  <c:v>0.8595050269687382</c:v>
                </c:pt>
                <c:pt idx="7">
                  <c:v>0.9242311797547637</c:v>
                </c:pt>
                <c:pt idx="8">
                  <c:v>0.9949431415392777</c:v>
                </c:pt>
                <c:pt idx="9">
                  <c:v>0.9458029507068563</c:v>
                </c:pt>
                <c:pt idx="10">
                  <c:v>0.9756333265055617</c:v>
                </c:pt>
                <c:pt idx="11">
                  <c:v>0.9880584188361592</c:v>
                </c:pt>
                <c:pt idx="12">
                  <c:v>0.9887691568536177</c:v>
                </c:pt>
                <c:pt idx="13">
                  <c:v>0.9415193466645859</c:v>
                </c:pt>
                <c:pt idx="14">
                  <c:v>0.9512486968311723</c:v>
                </c:pt>
                <c:pt idx="15">
                  <c:v>0.9418375538872108</c:v>
                </c:pt>
                <c:pt idx="16">
                  <c:v>0.9536380263795624</c:v>
                </c:pt>
                <c:pt idx="17">
                  <c:v>0.9133659998161625</c:v>
                </c:pt>
                <c:pt idx="18">
                  <c:v>0.994155796155299</c:v>
                </c:pt>
                <c:pt idx="19">
                  <c:v>0.9504415065875325</c:v>
                </c:pt>
                <c:pt idx="20">
                  <c:v>0.9224864613132142</c:v>
                </c:pt>
                <c:pt idx="21">
                  <c:v>0.8921765011043078</c:v>
                </c:pt>
                <c:pt idx="22">
                  <c:v>0.8854899923186964</c:v>
                </c:pt>
                <c:pt idx="23">
                  <c:v>0.8288025757125128</c:v>
                </c:pt>
                <c:pt idx="24">
                  <c:v>0.8467773897992271</c:v>
                </c:pt>
                <c:pt idx="25">
                  <c:v>0.8758884031382121</c:v>
                </c:pt>
                <c:pt idx="26">
                  <c:v>0.9038598170534715</c:v>
                </c:pt>
                <c:pt idx="27">
                  <c:v>0.9655701368354485</c:v>
                </c:pt>
                <c:pt idx="28">
                  <c:v>0.9912378005528413</c:v>
                </c:pt>
                <c:pt idx="29">
                  <c:v>0.9814073301327612</c:v>
                </c:pt>
                <c:pt idx="30">
                  <c:v>0.9482960358209546</c:v>
                </c:pt>
                <c:pt idx="31">
                  <c:v>0.9082015163858981</c:v>
                </c:pt>
                <c:pt idx="32">
                  <c:v>0.8861367201511727</c:v>
                </c:pt>
                <c:pt idx="33">
                  <c:v>0.9214891992147954</c:v>
                </c:pt>
                <c:pt idx="34">
                  <c:v>0.9347286759352857</c:v>
                </c:pt>
                <c:pt idx="35">
                  <c:v>0.9109665343739749</c:v>
                </c:pt>
                <c:pt idx="36">
                  <c:v>0.827520662656686</c:v>
                </c:pt>
                <c:pt idx="37">
                  <c:v>0.9133545223825429</c:v>
                </c:pt>
                <c:pt idx="38">
                  <c:v>0.9351927551185093</c:v>
                </c:pt>
                <c:pt idx="39">
                  <c:v>0.9746646533363268</c:v>
                </c:pt>
                <c:pt idx="40">
                  <c:v>1.000352830553549</c:v>
                </c:pt>
                <c:pt idx="41">
                  <c:v>1.026799612327516</c:v>
                </c:pt>
                <c:pt idx="42">
                  <c:v>0.985521138040088</c:v>
                </c:pt>
                <c:pt idx="43">
                  <c:v>1.019456113245687</c:v>
                </c:pt>
                <c:pt idx="44">
                  <c:v>1.0224830778892158</c:v>
                </c:pt>
                <c:pt idx="45">
                  <c:v>0.9748326776391475</c:v>
                </c:pt>
                <c:pt idx="46">
                  <c:v>0.9449717234429512</c:v>
                </c:pt>
                <c:pt idx="47">
                  <c:v>0.9803477538575188</c:v>
                </c:pt>
                <c:pt idx="48">
                  <c:v>1.0096620707553652</c:v>
                </c:pt>
                <c:pt idx="49">
                  <c:v>0.9991951206034584</c:v>
                </c:pt>
                <c:pt idx="50">
                  <c:v>0.8915038186603043</c:v>
                </c:pt>
                <c:pt idx="51">
                  <c:v>0.9202667476567553</c:v>
                </c:pt>
              </c:numCache>
            </c:numRef>
          </c:xVal>
          <c:yVal>
            <c:numRef>
              <c:f>Sheet1!$B$109:$B$160</c:f>
              <c:numCache>
                <c:formatCode>General</c:formatCode>
                <c:ptCount val="52"/>
                <c:pt idx="0">
                  <c:v>0.13968161522034556</c:v>
                </c:pt>
                <c:pt idx="1">
                  <c:v>0.15771015987622486</c:v>
                </c:pt>
                <c:pt idx="2">
                  <c:v>0.15615001777461784</c:v>
                </c:pt>
                <c:pt idx="3">
                  <c:v>0.15722692166237587</c:v>
                </c:pt>
                <c:pt idx="4">
                  <c:v>0.15798695609851066</c:v>
                </c:pt>
                <c:pt idx="5">
                  <c:v>0.15055726364335126</c:v>
                </c:pt>
                <c:pt idx="6">
                  <c:v>0.1455173040239804</c:v>
                </c:pt>
                <c:pt idx="7">
                  <c:v>0.1449256954147085</c:v>
                </c:pt>
                <c:pt idx="8">
                  <c:v>0.13881711168532873</c:v>
                </c:pt>
                <c:pt idx="9">
                  <c:v>0.1599696739954511</c:v>
                </c:pt>
                <c:pt idx="10">
                  <c:v>0.1529873635136793</c:v>
                </c:pt>
                <c:pt idx="11">
                  <c:v>0.14329535495179668</c:v>
                </c:pt>
                <c:pt idx="12">
                  <c:v>0.13794138241472442</c:v>
                </c:pt>
                <c:pt idx="13">
                  <c:v>0.14104206705103567</c:v>
                </c:pt>
                <c:pt idx="14">
                  <c:v>0.1469373303434439</c:v>
                </c:pt>
                <c:pt idx="15">
                  <c:v>0.14651547967894</c:v>
                </c:pt>
                <c:pt idx="16">
                  <c:v>0.13548194568785438</c:v>
                </c:pt>
                <c:pt idx="17">
                  <c:v>0.13516024152345565</c:v>
                </c:pt>
                <c:pt idx="18">
                  <c:v>0.11793567145193531</c:v>
                </c:pt>
                <c:pt idx="19">
                  <c:v>0.1341650999829089</c:v>
                </c:pt>
                <c:pt idx="20">
                  <c:v>0.1342601787487587</c:v>
                </c:pt>
                <c:pt idx="21">
                  <c:v>0.13900264996386413</c:v>
                </c:pt>
                <c:pt idx="22">
                  <c:v>0.1452825612418142</c:v>
                </c:pt>
                <c:pt idx="23">
                  <c:v>0.1608187134502924</c:v>
                </c:pt>
                <c:pt idx="24">
                  <c:v>0.16136468418626096</c:v>
                </c:pt>
                <c:pt idx="25">
                  <c:v>0.16670558020079385</c:v>
                </c:pt>
                <c:pt idx="26">
                  <c:v>0.15474613686534217</c:v>
                </c:pt>
                <c:pt idx="27">
                  <c:v>0.12652980655349388</c:v>
                </c:pt>
                <c:pt idx="28">
                  <c:v>0.12490720118782479</c:v>
                </c:pt>
                <c:pt idx="29">
                  <c:v>0.12426570266606417</c:v>
                </c:pt>
                <c:pt idx="30">
                  <c:v>0.1327089995431704</c:v>
                </c:pt>
                <c:pt idx="31">
                  <c:v>0.12417470797359066</c:v>
                </c:pt>
                <c:pt idx="32">
                  <c:v>0.13073237508555785</c:v>
                </c:pt>
                <c:pt idx="33">
                  <c:v>0.14113475177304965</c:v>
                </c:pt>
                <c:pt idx="34">
                  <c:v>0.15177380634835957</c:v>
                </c:pt>
                <c:pt idx="35">
                  <c:v>0.1567662007623888</c:v>
                </c:pt>
                <c:pt idx="36">
                  <c:v>0.1447939262472885</c:v>
                </c:pt>
                <c:pt idx="37">
                  <c:v>0.11942481111381915</c:v>
                </c:pt>
                <c:pt idx="38">
                  <c:v>0.12534974818130945</c:v>
                </c:pt>
                <c:pt idx="39">
                  <c:v>0.1297923322683706</c:v>
                </c:pt>
                <c:pt idx="40">
                  <c:v>0.12092471843509188</c:v>
                </c:pt>
                <c:pt idx="41">
                  <c:v>0.12034647991153705</c:v>
                </c:pt>
                <c:pt idx="42">
                  <c:v>0.12526315789473685</c:v>
                </c:pt>
                <c:pt idx="43">
                  <c:v>0.12066792690611217</c:v>
                </c:pt>
                <c:pt idx="44">
                  <c:v>0.11443795990865263</c:v>
                </c:pt>
                <c:pt idx="45">
                  <c:v>0.12358941951792002</c:v>
                </c:pt>
                <c:pt idx="46">
                  <c:v>0.11922455573505654</c:v>
                </c:pt>
                <c:pt idx="47">
                  <c:v>0.1160193695029153</c:v>
                </c:pt>
                <c:pt idx="48">
                  <c:v>0.10238440470436604</c:v>
                </c:pt>
                <c:pt idx="49">
                  <c:v>0.11883911123977708</c:v>
                </c:pt>
                <c:pt idx="50">
                  <c:v>0.1522399215209978</c:v>
                </c:pt>
                <c:pt idx="51">
                  <c:v>0.1450212765957446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099270260062589</c:v>
                </c:pt>
              </c:numCache>
            </c:numRef>
          </c:xVal>
          <c:yVal>
            <c:numRef>
              <c:f>Sheet1!$B$163:$B$164</c:f>
              <c:numCache>
                <c:formatCode>General</c:formatCode>
                <c:ptCount val="2"/>
                <c:pt idx="0">
                  <c:v>0.17685125849073272</c:v>
                </c:pt>
                <c:pt idx="1">
                  <c:v>0.1768512584907327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099270260062589</c:v>
                </c:pt>
                <c:pt idx="1">
                  <c:v>0.7099270260062589</c:v>
                </c:pt>
              </c:numCache>
            </c:numRef>
          </c:xVal>
          <c:yVal>
            <c:numRef>
              <c:f>Sheet1!$B$167:$B$168</c:f>
              <c:numCache>
                <c:formatCode>General</c:formatCode>
                <c:ptCount val="2"/>
                <c:pt idx="0">
                  <c:v>0.1768512584907327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621771201552181</c:v>
                </c:pt>
              </c:numCache>
            </c:numRef>
          </c:xVal>
          <c:yVal>
            <c:numRef>
              <c:f>Sheet1!$B$171:$B$172</c:f>
              <c:numCache>
                <c:formatCode>General</c:formatCode>
                <c:ptCount val="2"/>
                <c:pt idx="0">
                  <c:v>0.14984144948882708</c:v>
                </c:pt>
                <c:pt idx="1">
                  <c:v>0.1498414494888270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621771201552181</c:v>
                </c:pt>
                <c:pt idx="1">
                  <c:v>0.8621771201552181</c:v>
                </c:pt>
              </c:numCache>
            </c:numRef>
          </c:xVal>
          <c:yVal>
            <c:numRef>
              <c:f>Sheet1!$B$175:$B$176</c:f>
              <c:numCache>
                <c:formatCode>General</c:formatCode>
                <c:ptCount val="2"/>
                <c:pt idx="0">
                  <c:v>0.1498414494888270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0092502895397888</c:v>
                </c:pt>
              </c:numCache>
            </c:numRef>
          </c:xVal>
          <c:yVal>
            <c:numRef>
              <c:f>Sheet1!$B$179:$B$180</c:f>
              <c:numCache>
                <c:formatCode>General</c:formatCode>
                <c:ptCount val="2"/>
                <c:pt idx="0">
                  <c:v>0.12375004878009835</c:v>
                </c:pt>
                <c:pt idx="1">
                  <c:v>0.1237500487800983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0092502895397888</c:v>
                </c:pt>
                <c:pt idx="1">
                  <c:v>1.0092502895397888</c:v>
                </c:pt>
              </c:numCache>
            </c:numRef>
          </c:xVal>
          <c:yVal>
            <c:numRef>
              <c:f>Sheet1!$B$183:$B$184</c:f>
              <c:numCache>
                <c:formatCode>General</c:formatCode>
                <c:ptCount val="2"/>
                <c:pt idx="0">
                  <c:v>0.1237500487800983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861820276157507</c:v>
                </c:pt>
                <c:pt idx="1">
                  <c:v>0.8112254677892626</c:v>
                </c:pt>
                <c:pt idx="2">
                  <c:v>0.8121936870208456</c:v>
                </c:pt>
                <c:pt idx="3">
                  <c:v>0.8177877222727314</c:v>
                </c:pt>
                <c:pt idx="4">
                  <c:v>0.8085598197580776</c:v>
                </c:pt>
                <c:pt idx="5">
                  <c:v>0.8294926677708494</c:v>
                </c:pt>
                <c:pt idx="6">
                  <c:v>0.8595050269687382</c:v>
                </c:pt>
                <c:pt idx="7">
                  <c:v>0.9242311797547637</c:v>
                </c:pt>
                <c:pt idx="8">
                  <c:v>0.9949431415392777</c:v>
                </c:pt>
                <c:pt idx="9">
                  <c:v>0.9458029507068563</c:v>
                </c:pt>
                <c:pt idx="10">
                  <c:v>0.9756333265055617</c:v>
                </c:pt>
                <c:pt idx="11">
                  <c:v>0.9880584188361592</c:v>
                </c:pt>
                <c:pt idx="12">
                  <c:v>0.9887691568536177</c:v>
                </c:pt>
                <c:pt idx="13">
                  <c:v>0.9415193466645859</c:v>
                </c:pt>
                <c:pt idx="14">
                  <c:v>0.9512486968311723</c:v>
                </c:pt>
                <c:pt idx="15">
                  <c:v>0.9418375538872108</c:v>
                </c:pt>
                <c:pt idx="16">
                  <c:v>0.9536380263795624</c:v>
                </c:pt>
                <c:pt idx="17">
                  <c:v>0.9133659998161625</c:v>
                </c:pt>
                <c:pt idx="18">
                  <c:v>0.994155796155299</c:v>
                </c:pt>
                <c:pt idx="19">
                  <c:v>0.9504415065875325</c:v>
                </c:pt>
                <c:pt idx="20">
                  <c:v>0.9224864613132142</c:v>
                </c:pt>
                <c:pt idx="21">
                  <c:v>0.8921765011043078</c:v>
                </c:pt>
                <c:pt idx="22">
                  <c:v>0.8854899923186964</c:v>
                </c:pt>
                <c:pt idx="23">
                  <c:v>0.8288025757125128</c:v>
                </c:pt>
                <c:pt idx="24">
                  <c:v>0.8467773897992271</c:v>
                </c:pt>
                <c:pt idx="25">
                  <c:v>0.8758884031382121</c:v>
                </c:pt>
                <c:pt idx="26">
                  <c:v>0.9038598170534715</c:v>
                </c:pt>
                <c:pt idx="27">
                  <c:v>0.9655701368354485</c:v>
                </c:pt>
                <c:pt idx="28">
                  <c:v>0.9912378005528413</c:v>
                </c:pt>
                <c:pt idx="29">
                  <c:v>0.9814073301327612</c:v>
                </c:pt>
                <c:pt idx="30">
                  <c:v>0.9482960358209546</c:v>
                </c:pt>
                <c:pt idx="31">
                  <c:v>0.9082015163858981</c:v>
                </c:pt>
                <c:pt idx="32">
                  <c:v>0.8861367201511727</c:v>
                </c:pt>
                <c:pt idx="33">
                  <c:v>0.9214891992147954</c:v>
                </c:pt>
                <c:pt idx="34">
                  <c:v>0.9347286759352857</c:v>
                </c:pt>
                <c:pt idx="35">
                  <c:v>0.9109665343739749</c:v>
                </c:pt>
                <c:pt idx="36">
                  <c:v>0.827520662656686</c:v>
                </c:pt>
                <c:pt idx="37">
                  <c:v>0.9133545223825429</c:v>
                </c:pt>
                <c:pt idx="38">
                  <c:v>0.9351927551185093</c:v>
                </c:pt>
                <c:pt idx="39">
                  <c:v>0.9746646533363268</c:v>
                </c:pt>
                <c:pt idx="40">
                  <c:v>1.000352830553549</c:v>
                </c:pt>
                <c:pt idx="41">
                  <c:v>1.026799612327516</c:v>
                </c:pt>
                <c:pt idx="42">
                  <c:v>0.985521138040088</c:v>
                </c:pt>
                <c:pt idx="43">
                  <c:v>1.019456113245687</c:v>
                </c:pt>
                <c:pt idx="44">
                  <c:v>1.0224830778892158</c:v>
                </c:pt>
                <c:pt idx="45">
                  <c:v>0.9748326776391475</c:v>
                </c:pt>
                <c:pt idx="46">
                  <c:v>0.9449717234429512</c:v>
                </c:pt>
                <c:pt idx="47">
                  <c:v>0.9803477538575188</c:v>
                </c:pt>
                <c:pt idx="48">
                  <c:v>1.0096620707553652</c:v>
                </c:pt>
                <c:pt idx="49">
                  <c:v>0.9991951206034584</c:v>
                </c:pt>
                <c:pt idx="50">
                  <c:v>0.8915038186603043</c:v>
                </c:pt>
                <c:pt idx="51">
                  <c:v>0.9202667476567553</c:v>
                </c:pt>
                <c:pt idx="52">
                  <c:v>0.8621771201552181</c:v>
                </c:pt>
                <c:pt idx="53">
                  <c:v>0.7099270260062589</c:v>
                </c:pt>
                <c:pt idx="54">
                  <c:v>1.0092502895397888</c:v>
                </c:pt>
              </c:numCache>
            </c:numRef>
          </c:xVal>
          <c:yVal>
            <c:numRef>
              <c:f>Sheet1!$B$187:$B$241</c:f>
              <c:numCache>
                <c:formatCode>General</c:formatCode>
                <c:ptCount val="55"/>
                <c:pt idx="0">
                  <c:v>0.1455828776354458</c:v>
                </c:pt>
                <c:pt idx="1">
                  <c:v>0.1588804875690893</c:v>
                </c:pt>
                <c:pt idx="2">
                  <c:v>0.15870872139276468</c:v>
                </c:pt>
                <c:pt idx="3">
                  <c:v>0.15771631593943514</c:v>
                </c:pt>
                <c:pt idx="4">
                  <c:v>0.15935338477543304</c:v>
                </c:pt>
                <c:pt idx="5">
                  <c:v>0.1556398092282303</c:v>
                </c:pt>
                <c:pt idx="6">
                  <c:v>0.1503154900929104</c:v>
                </c:pt>
                <c:pt idx="7">
                  <c:v>0.13883279752742497</c:v>
                </c:pt>
                <c:pt idx="8">
                  <c:v>0.12628819719318057</c:v>
                </c:pt>
                <c:pt idx="9">
                  <c:v>0.1350058743553524</c:v>
                </c:pt>
                <c:pt idx="10">
                  <c:v>0.1297138398427839</c:v>
                </c:pt>
                <c:pt idx="11">
                  <c:v>0.12750957604540233</c:v>
                </c:pt>
                <c:pt idx="12">
                  <c:v>0.1273834881227035</c:v>
                </c:pt>
                <c:pt idx="13">
                  <c:v>0.1357658037837593</c:v>
                </c:pt>
                <c:pt idx="14">
                  <c:v>0.13403977601884345</c:v>
                </c:pt>
                <c:pt idx="15">
                  <c:v>0.13570935248003982</c:v>
                </c:pt>
                <c:pt idx="16">
                  <c:v>0.1336158988770567</c:v>
                </c:pt>
                <c:pt idx="17">
                  <c:v>0.14076032628563925</c:v>
                </c:pt>
                <c:pt idx="18">
                  <c:v>0.1264278755858848</c:v>
                </c:pt>
                <c:pt idx="19">
                  <c:v>0.1341829749733714</c:v>
                </c:pt>
                <c:pt idx="20">
                  <c:v>0.1391423179394271</c:v>
                </c:pt>
                <c:pt idx="21">
                  <c:v>0.14451943274959567</c:v>
                </c:pt>
                <c:pt idx="22">
                  <c:v>0.14570564761664348</c:v>
                </c:pt>
                <c:pt idx="23">
                  <c:v>0.1557622344706815</c:v>
                </c:pt>
                <c:pt idx="24">
                  <c:v>0.1525734266210659</c:v>
                </c:pt>
                <c:pt idx="25">
                  <c:v>0.14740901004363755</c:v>
                </c:pt>
                <c:pt idx="26">
                  <c:v>0.14244676321162422</c:v>
                </c:pt>
                <c:pt idx="27">
                  <c:v>0.1314990921439994</c:v>
                </c:pt>
                <c:pt idx="28">
                  <c:v>0.126945540315955</c:v>
                </c:pt>
                <c:pt idx="29">
                  <c:v>0.12868950724043826</c:v>
                </c:pt>
                <c:pt idx="30">
                  <c:v>0.1345635905384938</c:v>
                </c:pt>
                <c:pt idx="31">
                  <c:v>0.1416765274336561</c:v>
                </c:pt>
                <c:pt idx="32">
                  <c:v>0.14559091537080127</c:v>
                </c:pt>
                <c:pt idx="33">
                  <c:v>0.139319236442852</c:v>
                </c:pt>
                <c:pt idx="34">
                  <c:v>0.13697049741904718</c:v>
                </c:pt>
                <c:pt idx="35">
                  <c:v>0.14118600157774616</c:v>
                </c:pt>
                <c:pt idx="36">
                  <c:v>0.15598965125481207</c:v>
                </c:pt>
                <c:pt idx="37">
                  <c:v>0.1407623624307834</c:v>
                </c:pt>
                <c:pt idx="38">
                  <c:v>0.13688816781412513</c:v>
                </c:pt>
                <c:pt idx="39">
                  <c:v>0.12988568654956298</c:v>
                </c:pt>
                <c:pt idx="40">
                  <c:v>0.12532849554010822</c:v>
                </c:pt>
                <c:pt idx="41">
                  <c:v>0.1206367248819499</c:v>
                </c:pt>
                <c:pt idx="42">
                  <c:v>0.127959700362692</c:v>
                </c:pt>
                <c:pt idx="43">
                  <c:v>0.12193949259920212</c:v>
                </c:pt>
                <c:pt idx="44">
                  <c:v>0.12140249630153646</c:v>
                </c:pt>
                <c:pt idx="45">
                  <c:v>0.1298558783293958</c:v>
                </c:pt>
                <c:pt idx="46">
                  <c:v>0.13515333757868078</c:v>
                </c:pt>
                <c:pt idx="47">
                  <c:v>0.12887748054171744</c:v>
                </c:pt>
                <c:pt idx="48">
                  <c:v>0.12367699705526716</c:v>
                </c:pt>
                <c:pt idx="49">
                  <c:v>0.1255338781693036</c:v>
                </c:pt>
                <c:pt idx="50">
                  <c:v>0.14463876945301796</c:v>
                </c:pt>
                <c:pt idx="51">
                  <c:v>0.13953610450642404</c:v>
                </c:pt>
                <c:pt idx="52">
                  <c:v>0.14984144948882708</c:v>
                </c:pt>
                <c:pt idx="53">
                  <c:v>0.17685125849073272</c:v>
                </c:pt>
                <c:pt idx="54">
                  <c:v>0.1237500487800983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63097757088447"/>
          <c:min val="0.0719568853372979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56.7598</c:v>
                </c:pt>
                <c:pt idx="1">
                  <c:v>1079.3457</c:v>
                </c:pt>
                <c:pt idx="2">
                  <c:v>1133.3366</c:v>
                </c:pt>
                <c:pt idx="3">
                  <c:v>1148.2243</c:v>
                </c:pt>
                <c:pt idx="4">
                  <c:v>1134.8139</c:v>
                </c:pt>
                <c:pt idx="5">
                  <c:v>1102.4727</c:v>
                </c:pt>
                <c:pt idx="6">
                  <c:v>1104.3855</c:v>
                </c:pt>
                <c:pt idx="7">
                  <c:v>1117.5131</c:v>
                </c:pt>
                <c:pt idx="8">
                  <c:v>1079.7679</c:v>
                </c:pt>
                <c:pt idx="9">
                  <c:v>1072.4681</c:v>
                </c:pt>
                <c:pt idx="10">
                  <c:v>1048.3337</c:v>
                </c:pt>
                <c:pt idx="11">
                  <c:v>1019.8992</c:v>
                </c:pt>
                <c:pt idx="12">
                  <c:v>1024.8968</c:v>
                </c:pt>
                <c:pt idx="13">
                  <c:v>1016.4829</c:v>
                </c:pt>
                <c:pt idx="14">
                  <c:v>1096.5418</c:v>
                </c:pt>
                <c:pt idx="15">
                  <c:v>1087.609</c:v>
                </c:pt>
                <c:pt idx="16">
                  <c:v>1092.423</c:v>
                </c:pt>
                <c:pt idx="17">
                  <c:v>1126.1105</c:v>
                </c:pt>
                <c:pt idx="18">
                  <c:v>1171.6762</c:v>
                </c:pt>
                <c:pt idx="19">
                  <c:v>1229.038</c:v>
                </c:pt>
                <c:pt idx="20">
                  <c:v>1232.7318</c:v>
                </c:pt>
                <c:pt idx="21">
                  <c:v>1234.2353</c:v>
                </c:pt>
                <c:pt idx="22">
                  <c:v>1238.4132</c:v>
                </c:pt>
                <c:pt idx="23">
                  <c:v>1229.4619</c:v>
                </c:pt>
                <c:pt idx="24">
                  <c:v>1241.5997</c:v>
                </c:pt>
                <c:pt idx="25">
                  <c:v>1221.2202</c:v>
                </c:pt>
                <c:pt idx="26">
                  <c:v>1221.3907</c:v>
                </c:pt>
                <c:pt idx="27">
                  <c:v>1196.4294</c:v>
                </c:pt>
                <c:pt idx="28">
                  <c:v>1201.6721</c:v>
                </c:pt>
                <c:pt idx="29">
                  <c:v>1198.7177</c:v>
                </c:pt>
                <c:pt idx="30">
                  <c:v>1228.9104</c:v>
                </c:pt>
                <c:pt idx="31">
                  <c:v>1180.0245</c:v>
                </c:pt>
                <c:pt idx="32">
                  <c:v>1240.5082</c:v>
                </c:pt>
                <c:pt idx="33">
                  <c:v>1219.476</c:v>
                </c:pt>
                <c:pt idx="34">
                  <c:v>1237.3967</c:v>
                </c:pt>
                <c:pt idx="35">
                  <c:v>1292.6502</c:v>
                </c:pt>
                <c:pt idx="36">
                  <c:v>1351.7838</c:v>
                </c:pt>
                <c:pt idx="37">
                  <c:v>1379.2641</c:v>
                </c:pt>
                <c:pt idx="38">
                  <c:v>1437.3533</c:v>
                </c:pt>
                <c:pt idx="39">
                  <c:v>1374.5782</c:v>
                </c:pt>
                <c:pt idx="40">
                  <c:v>1422.0592</c:v>
                </c:pt>
                <c:pt idx="41">
                  <c:v>1398.0549</c:v>
                </c:pt>
                <c:pt idx="42">
                  <c:v>1453.037</c:v>
                </c:pt>
                <c:pt idx="43">
                  <c:v>1448.8016</c:v>
                </c:pt>
                <c:pt idx="44">
                  <c:v>1278.2573</c:v>
                </c:pt>
                <c:pt idx="45">
                  <c:v>1214.5872</c:v>
                </c:pt>
                <c:pt idx="46">
                  <c:v>1220.3684</c:v>
                </c:pt>
                <c:pt idx="47">
                  <c:v>1216.3791</c:v>
                </c:pt>
                <c:pt idx="48">
                  <c:v>1182.3056</c:v>
                </c:pt>
                <c:pt idx="49">
                  <c:v>1144.3103</c:v>
                </c:pt>
                <c:pt idx="50">
                  <c:v>1166.9415</c:v>
                </c:pt>
                <c:pt idx="51">
                  <c:v>1195.4793</c:v>
                </c:pt>
                <c:pt idx="52">
                  <c:v>1179.958</c:v>
                </c:pt>
                <c:pt idx="53">
                  <c:v>1363.2679</c:v>
                </c:pt>
                <c:pt idx="54">
                  <c:v>1385.5772</c:v>
                </c:pt>
                <c:pt idx="55">
                  <c:v>1389.7734</c:v>
                </c:pt>
                <c:pt idx="56">
                  <c:v>1405.7918</c:v>
                </c:pt>
                <c:pt idx="57">
                  <c:v>1379.388</c:v>
                </c:pt>
                <c:pt idx="58">
                  <c:v>1357.2366</c:v>
                </c:pt>
                <c:pt idx="59">
                  <c:v>1328.4138</c:v>
                </c:pt>
                <c:pt idx="60">
                  <c:v>1311.446</c:v>
                </c:pt>
                <c:pt idx="61">
                  <c:v>1282.055</c:v>
                </c:pt>
                <c:pt idx="62">
                  <c:v>1237.2923</c:v>
                </c:pt>
                <c:pt idx="63">
                  <c:v>1237.7146</c:v>
                </c:pt>
                <c:pt idx="64">
                  <c:v>1235.9131</c:v>
                </c:pt>
                <c:pt idx="65">
                  <c:v>1228.3885</c:v>
                </c:pt>
                <c:pt idx="66">
                  <c:v>1312.8355</c:v>
                </c:pt>
                <c:pt idx="67">
                  <c:v>1373.0246</c:v>
                </c:pt>
                <c:pt idx="68">
                  <c:v>1401.8473</c:v>
                </c:pt>
                <c:pt idx="69">
                  <c:v>1410.158</c:v>
                </c:pt>
                <c:pt idx="70">
                  <c:v>1420.5822</c:v>
                </c:pt>
                <c:pt idx="71">
                  <c:v>1434.1559</c:v>
                </c:pt>
                <c:pt idx="72">
                  <c:v>1472.4192</c:v>
                </c:pt>
                <c:pt idx="73">
                  <c:v>1421.9734</c:v>
                </c:pt>
                <c:pt idx="74">
                  <c:v>1316.115</c:v>
                </c:pt>
                <c:pt idx="75">
                  <c:v>1319.6483</c:v>
                </c:pt>
                <c:pt idx="76">
                  <c:v>1317.2885</c:v>
                </c:pt>
                <c:pt idx="77">
                  <c:v>1298.3499</c:v>
                </c:pt>
                <c:pt idx="78">
                  <c:v>1356.7911</c:v>
                </c:pt>
                <c:pt idx="79">
                  <c:v>1368.7629</c:v>
                </c:pt>
                <c:pt idx="80">
                  <c:v>1391.097</c:v>
                </c:pt>
                <c:pt idx="81">
                  <c:v>1415.4836</c:v>
                </c:pt>
                <c:pt idx="82">
                  <c:v>1398.438</c:v>
                </c:pt>
                <c:pt idx="83">
                  <c:v>1408.1297</c:v>
                </c:pt>
                <c:pt idx="84">
                  <c:v>1396.5751</c:v>
                </c:pt>
                <c:pt idx="85">
                  <c:v>1390.5261</c:v>
                </c:pt>
                <c:pt idx="86">
                  <c:v>1363.1473</c:v>
                </c:pt>
                <c:pt idx="87">
                  <c:v>1361.6042</c:v>
                </c:pt>
                <c:pt idx="88">
                  <c:v>1357.9641</c:v>
                </c:pt>
                <c:pt idx="89">
                  <c:v>1334.11</c:v>
                </c:pt>
                <c:pt idx="90">
                  <c:v>1361.4619</c:v>
                </c:pt>
                <c:pt idx="91">
                  <c:v>1363.1875</c:v>
                </c:pt>
                <c:pt idx="92">
                  <c:v>1326.7315</c:v>
                </c:pt>
                <c:pt idx="93">
                  <c:v>1328.7826</c:v>
                </c:pt>
                <c:pt idx="94">
                  <c:v>1381.646</c:v>
                </c:pt>
                <c:pt idx="95">
                  <c:v>1330.3167</c:v>
                </c:pt>
                <c:pt idx="96">
                  <c:v>1221.7347</c:v>
                </c:pt>
                <c:pt idx="97">
                  <c:v>1255.6657</c:v>
                </c:pt>
                <c:pt idx="98">
                  <c:v>1230.7362</c:v>
                </c:pt>
                <c:pt idx="99">
                  <c:v>1215.5321</c:v>
                </c:pt>
                <c:pt idx="100">
                  <c:v>1224.6283</c:v>
                </c:pt>
                <c:pt idx="101">
                  <c:v>1268.7261</c:v>
                </c:pt>
                <c:pt idx="102">
                  <c:v>1319.6282</c:v>
                </c:pt>
                <c:pt idx="103">
                  <c:v>972.4527</c:v>
                </c:pt>
                <c:pt idx="104">
                  <c:v>1087.9745</c:v>
                </c:pt>
              </c:numCache>
            </c:numRef>
          </c:xVal>
          <c:yVal>
            <c:numRef>
              <c:f>Sheet1!$B$2:$B$106</c:f>
              <c:numCache>
                <c:formatCode>General</c:formatCode>
                <c:ptCount val="105"/>
                <c:pt idx="0">
                  <c:v>0.1705862009337714</c:v>
                </c:pt>
                <c:pt idx="1">
                  <c:v>0.17485066315682898</c:v>
                </c:pt>
                <c:pt idx="2">
                  <c:v>0.1713073180830142</c:v>
                </c:pt>
                <c:pt idx="3">
                  <c:v>0.1777678770327467</c:v>
                </c:pt>
                <c:pt idx="4">
                  <c:v>0.17846883976520544</c:v>
                </c:pt>
                <c:pt idx="5">
                  <c:v>0.1736718846296068</c:v>
                </c:pt>
                <c:pt idx="6">
                  <c:v>0.17488021902806297</c:v>
                </c:pt>
                <c:pt idx="7">
                  <c:v>0.17320351069665388</c:v>
                </c:pt>
                <c:pt idx="8">
                  <c:v>0.19692481309070392</c:v>
                </c:pt>
                <c:pt idx="9">
                  <c:v>0.1698853661055458</c:v>
                </c:pt>
                <c:pt idx="10">
                  <c:v>0.17614494212380474</c:v>
                </c:pt>
                <c:pt idx="11">
                  <c:v>0.18374198799470953</c:v>
                </c:pt>
                <c:pt idx="12">
                  <c:v>0.18136759981642955</c:v>
                </c:pt>
                <c:pt idx="13">
                  <c:v>0.1837578719804493</c:v>
                </c:pt>
                <c:pt idx="14">
                  <c:v>0.1764982152921285</c:v>
                </c:pt>
                <c:pt idx="15">
                  <c:v>0.1886379350080664</c:v>
                </c:pt>
                <c:pt idx="16">
                  <c:v>0.17080662393162394</c:v>
                </c:pt>
                <c:pt idx="17">
                  <c:v>0.18086982074640023</c:v>
                </c:pt>
                <c:pt idx="18">
                  <c:v>0.16189823539489465</c:v>
                </c:pt>
                <c:pt idx="19">
                  <c:v>0.14413317092976047</c:v>
                </c:pt>
                <c:pt idx="20">
                  <c:v>0.15137242163391262</c:v>
                </c:pt>
                <c:pt idx="21">
                  <c:v>0.15139949109414758</c:v>
                </c:pt>
                <c:pt idx="22">
                  <c:v>0.13053325097796994</c:v>
                </c:pt>
                <c:pt idx="23">
                  <c:v>0.12831089882761615</c:v>
                </c:pt>
                <c:pt idx="24">
                  <c:v>0.12643678160919541</c:v>
                </c:pt>
                <c:pt idx="25">
                  <c:v>0.1287445689458038</c:v>
                </c:pt>
                <c:pt idx="26">
                  <c:v>0.12870905587668593</c:v>
                </c:pt>
                <c:pt idx="27">
                  <c:v>0.1264262053735738</c:v>
                </c:pt>
                <c:pt idx="28">
                  <c:v>0.12986512524084778</c:v>
                </c:pt>
                <c:pt idx="29">
                  <c:v>0.13212526389866291</c:v>
                </c:pt>
                <c:pt idx="30">
                  <c:v>0.12151567944250871</c:v>
                </c:pt>
                <c:pt idx="31">
                  <c:v>0.1110180142438207</c:v>
                </c:pt>
                <c:pt idx="32">
                  <c:v>0.10474350719038421</c:v>
                </c:pt>
                <c:pt idx="33">
                  <c:v>0.11347035841685069</c:v>
                </c:pt>
                <c:pt idx="34">
                  <c:v>0.11454703832752614</c:v>
                </c:pt>
                <c:pt idx="35">
                  <c:v>0.11980642115203022</c:v>
                </c:pt>
                <c:pt idx="36">
                  <c:v>0.10627362055933484</c:v>
                </c:pt>
                <c:pt idx="37">
                  <c:v>0.09389243391066546</c:v>
                </c:pt>
                <c:pt idx="38">
                  <c:v>0.08994610667162238</c:v>
                </c:pt>
                <c:pt idx="39">
                  <c:v>0.10665115377157262</c:v>
                </c:pt>
                <c:pt idx="40">
                  <c:v>0.10593950791412005</c:v>
                </c:pt>
                <c:pt idx="41">
                  <c:v>0.10755189692197566</c:v>
                </c:pt>
                <c:pt idx="42">
                  <c:v>0.10918076980679946</c:v>
                </c:pt>
                <c:pt idx="43">
                  <c:v>0.11603319057815846</c:v>
                </c:pt>
                <c:pt idx="44">
                  <c:v>0.1194601654331737</c:v>
                </c:pt>
                <c:pt idx="45">
                  <c:v>0.13580053316606555</c:v>
                </c:pt>
                <c:pt idx="46">
                  <c:v>0.13886098446797002</c:v>
                </c:pt>
                <c:pt idx="47">
                  <c:v>0.13304957830850478</c:v>
                </c:pt>
                <c:pt idx="48">
                  <c:v>0.1489022864293027</c:v>
                </c:pt>
                <c:pt idx="49">
                  <c:v>0.16941957394257487</c:v>
                </c:pt>
                <c:pt idx="50">
                  <c:v>0.15279447115384615</c:v>
                </c:pt>
                <c:pt idx="51">
                  <c:v>0.14129496402877698</c:v>
                </c:pt>
                <c:pt idx="52">
                  <c:v>0.1494893951296151</c:v>
                </c:pt>
                <c:pt idx="53">
                  <c:v>0.13613218331081783</c:v>
                </c:pt>
                <c:pt idx="54">
                  <c:v>0.1284156209686877</c:v>
                </c:pt>
                <c:pt idx="55">
                  <c:v>0.12954876273653565</c:v>
                </c:pt>
                <c:pt idx="56">
                  <c:v>0.1469592476489028</c:v>
                </c:pt>
                <c:pt idx="57">
                  <c:v>0.1371749669457911</c:v>
                </c:pt>
                <c:pt idx="58">
                  <c:v>0.14578610152784624</c:v>
                </c:pt>
                <c:pt idx="59">
                  <c:v>0.1426961367478555</c:v>
                </c:pt>
                <c:pt idx="60">
                  <c:v>0.16009566108643664</c:v>
                </c:pt>
                <c:pt idx="61">
                  <c:v>0.17161491287841915</c:v>
                </c:pt>
                <c:pt idx="62">
                  <c:v>0.16898553395374552</c:v>
                </c:pt>
                <c:pt idx="63">
                  <c:v>0.17295727913728742</c:v>
                </c:pt>
                <c:pt idx="64">
                  <c:v>0.15607563546187228</c:v>
                </c:pt>
                <c:pt idx="65">
                  <c:v>0.15121338912133891</c:v>
                </c:pt>
                <c:pt idx="66">
                  <c:v>0.14350058553283487</c:v>
                </c:pt>
                <c:pt idx="67">
                  <c:v>0.14169412676875365</c:v>
                </c:pt>
                <c:pt idx="68">
                  <c:v>0.12122297862176042</c:v>
                </c:pt>
                <c:pt idx="69">
                  <c:v>0.1177555726364335</c:v>
                </c:pt>
                <c:pt idx="70">
                  <c:v>0.11250373022978215</c:v>
                </c:pt>
                <c:pt idx="71">
                  <c:v>0.12279254002310612</c:v>
                </c:pt>
                <c:pt idx="72">
                  <c:v>0.12372218881539386</c:v>
                </c:pt>
                <c:pt idx="73">
                  <c:v>0.1362662712143681</c:v>
                </c:pt>
                <c:pt idx="74">
                  <c:v>0.14113973458235754</c:v>
                </c:pt>
                <c:pt idx="75">
                  <c:v>0.1279826464208243</c:v>
                </c:pt>
                <c:pt idx="76">
                  <c:v>0.13208284486127395</c:v>
                </c:pt>
                <c:pt idx="77">
                  <c:v>0.1253016894609815</c:v>
                </c:pt>
                <c:pt idx="78">
                  <c:v>0.12195671776375112</c:v>
                </c:pt>
                <c:pt idx="79">
                  <c:v>0.11888111888111888</c:v>
                </c:pt>
                <c:pt idx="80">
                  <c:v>0.10225160090890312</c:v>
                </c:pt>
                <c:pt idx="81">
                  <c:v>0.10407394727832935</c:v>
                </c:pt>
                <c:pt idx="82">
                  <c:v>0.10849585294776956</c:v>
                </c:pt>
                <c:pt idx="83">
                  <c:v>0.09726603575184017</c:v>
                </c:pt>
                <c:pt idx="84">
                  <c:v>0.10120608285264814</c:v>
                </c:pt>
                <c:pt idx="85">
                  <c:v>0.10182405910875086</c:v>
                </c:pt>
                <c:pt idx="86">
                  <c:v>0.10638652659663166</c:v>
                </c:pt>
                <c:pt idx="87">
                  <c:v>0.12478082992402104</c:v>
                </c:pt>
                <c:pt idx="88">
                  <c:v>0.11678414936178319</c:v>
                </c:pt>
                <c:pt idx="89">
                  <c:v>0.11326212728081887</c:v>
                </c:pt>
                <c:pt idx="90">
                  <c:v>0.10828171598990594</c:v>
                </c:pt>
                <c:pt idx="91">
                  <c:v>0.11352549889135255</c:v>
                </c:pt>
                <c:pt idx="92">
                  <c:v>0.12176814011676397</c:v>
                </c:pt>
                <c:pt idx="93">
                  <c:v>0.1099601593625498</c:v>
                </c:pt>
                <c:pt idx="94">
                  <c:v>0.10033741786538804</c:v>
                </c:pt>
                <c:pt idx="95">
                  <c:v>0.11384266263237519</c:v>
                </c:pt>
                <c:pt idx="96">
                  <c:v>0.10811295383236216</c:v>
                </c:pt>
                <c:pt idx="97">
                  <c:v>0.11181335830212234</c:v>
                </c:pt>
                <c:pt idx="98">
                  <c:v>0.12584163748990035</c:v>
                </c:pt>
                <c:pt idx="99">
                  <c:v>0.12591499409681228</c:v>
                </c:pt>
                <c:pt idx="100">
                  <c:v>0.14343803161694535</c:v>
                </c:pt>
                <c:pt idx="101">
                  <c:v>0.13998329917254992</c:v>
                </c:pt>
                <c:pt idx="102">
                  <c:v>0.12312161891404529</c:v>
                </c:pt>
                <c:pt idx="103">
                  <c:v>0.16074080545120992</c:v>
                </c:pt>
                <c:pt idx="104">
                  <c:v>0.1544209215442092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66.4726</c:v>
                </c:pt>
                <c:pt idx="1">
                  <c:v>1210.363</c:v>
                </c:pt>
                <c:pt idx="2">
                  <c:v>1198.8497</c:v>
                </c:pt>
                <c:pt idx="3">
                  <c:v>1243.9082</c:v>
                </c:pt>
                <c:pt idx="4">
                  <c:v>1218.9636</c:v>
                </c:pt>
                <c:pt idx="5">
                  <c:v>1220.194</c:v>
                </c:pt>
                <c:pt idx="6">
                  <c:v>1182.1217</c:v>
                </c:pt>
                <c:pt idx="7">
                  <c:v>1269.1525</c:v>
                </c:pt>
                <c:pt idx="8">
                  <c:v>1399.2751</c:v>
                </c:pt>
                <c:pt idx="9">
                  <c:v>1307.293</c:v>
                </c:pt>
                <c:pt idx="10">
                  <c:v>1347.4707</c:v>
                </c:pt>
                <c:pt idx="11">
                  <c:v>1290.4618</c:v>
                </c:pt>
                <c:pt idx="12">
                  <c:v>1322.6766</c:v>
                </c:pt>
                <c:pt idx="13">
                  <c:v>1330.3626</c:v>
                </c:pt>
                <c:pt idx="14">
                  <c:v>1342.5614</c:v>
                </c:pt>
                <c:pt idx="15">
                  <c:v>1336.0139</c:v>
                </c:pt>
                <c:pt idx="16">
                  <c:v>1340.7115</c:v>
                </c:pt>
                <c:pt idx="17">
                  <c:v>1265.9324</c:v>
                </c:pt>
                <c:pt idx="18">
                  <c:v>1338.168</c:v>
                </c:pt>
                <c:pt idx="19">
                  <c:v>1385.0191</c:v>
                </c:pt>
                <c:pt idx="20">
                  <c:v>1371.5311</c:v>
                </c:pt>
                <c:pt idx="21">
                  <c:v>1316.3206</c:v>
                </c:pt>
                <c:pt idx="22">
                  <c:v>1290.7746</c:v>
                </c:pt>
                <c:pt idx="23">
                  <c:v>1233.6636</c:v>
                </c:pt>
                <c:pt idx="24">
                  <c:v>1252.0</c:v>
                </c:pt>
                <c:pt idx="25">
                  <c:v>1227.6345</c:v>
                </c:pt>
                <c:pt idx="26">
                  <c:v>1243.0371</c:v>
                </c:pt>
                <c:pt idx="27">
                  <c:v>1303.2949</c:v>
                </c:pt>
                <c:pt idx="28">
                  <c:v>1367.6553</c:v>
                </c:pt>
                <c:pt idx="29">
                  <c:v>1381.4109</c:v>
                </c:pt>
                <c:pt idx="30">
                  <c:v>1364.7263</c:v>
                </c:pt>
                <c:pt idx="31">
                  <c:v>1283.2209</c:v>
                </c:pt>
                <c:pt idx="32">
                  <c:v>1264.356</c:v>
                </c:pt>
                <c:pt idx="33">
                  <c:v>1308.9485</c:v>
                </c:pt>
                <c:pt idx="34">
                  <c:v>1345.7056</c:v>
                </c:pt>
                <c:pt idx="35">
                  <c:v>1336.0892</c:v>
                </c:pt>
                <c:pt idx="36">
                  <c:v>1258.6629</c:v>
                </c:pt>
                <c:pt idx="37">
                  <c:v>1406.7469</c:v>
                </c:pt>
                <c:pt idx="38">
                  <c:v>1412.7076</c:v>
                </c:pt>
                <c:pt idx="39">
                  <c:v>1405.7138</c:v>
                </c:pt>
                <c:pt idx="40">
                  <c:v>1421.0131</c:v>
                </c:pt>
                <c:pt idx="41">
                  <c:v>1471.1531</c:v>
                </c:pt>
                <c:pt idx="42">
                  <c:v>1448.1697</c:v>
                </c:pt>
                <c:pt idx="43">
                  <c:v>1454.6919</c:v>
                </c:pt>
                <c:pt idx="44">
                  <c:v>1369.9534</c:v>
                </c:pt>
                <c:pt idx="45">
                  <c:v>1302.1424</c:v>
                </c:pt>
                <c:pt idx="46">
                  <c:v>1272.4083</c:v>
                </c:pt>
                <c:pt idx="47">
                  <c:v>1286.2189</c:v>
                </c:pt>
                <c:pt idx="48">
                  <c:v>1251.535</c:v>
                </c:pt>
                <c:pt idx="49">
                  <c:v>1236.8289</c:v>
                </c:pt>
                <c:pt idx="50">
                  <c:v>1134.7082</c:v>
                </c:pt>
                <c:pt idx="51">
                  <c:v>1140.5129</c:v>
                </c:pt>
              </c:numCache>
            </c:numRef>
          </c:xVal>
          <c:yVal>
            <c:numRef>
              <c:f>Sheet1!$B$109:$B$160</c:f>
              <c:numCache>
                <c:formatCode>General</c:formatCode>
                <c:ptCount val="52"/>
                <c:pt idx="0">
                  <c:v>0.13968161522034556</c:v>
                </c:pt>
                <c:pt idx="1">
                  <c:v>0.15771015987622486</c:v>
                </c:pt>
                <c:pt idx="2">
                  <c:v>0.15615001777461784</c:v>
                </c:pt>
                <c:pt idx="3">
                  <c:v>0.15722692166237587</c:v>
                </c:pt>
                <c:pt idx="4">
                  <c:v>0.15798695609851066</c:v>
                </c:pt>
                <c:pt idx="5">
                  <c:v>0.15055726364335126</c:v>
                </c:pt>
                <c:pt idx="6">
                  <c:v>0.1455173040239804</c:v>
                </c:pt>
                <c:pt idx="7">
                  <c:v>0.1449256954147085</c:v>
                </c:pt>
                <c:pt idx="8">
                  <c:v>0.13881711168532873</c:v>
                </c:pt>
                <c:pt idx="9">
                  <c:v>0.1599696739954511</c:v>
                </c:pt>
                <c:pt idx="10">
                  <c:v>0.1529873635136793</c:v>
                </c:pt>
                <c:pt idx="11">
                  <c:v>0.14329535495179668</c:v>
                </c:pt>
                <c:pt idx="12">
                  <c:v>0.13794138241472442</c:v>
                </c:pt>
                <c:pt idx="13">
                  <c:v>0.14104206705103567</c:v>
                </c:pt>
                <c:pt idx="14">
                  <c:v>0.1469373303434439</c:v>
                </c:pt>
                <c:pt idx="15">
                  <c:v>0.14651547967894</c:v>
                </c:pt>
                <c:pt idx="16">
                  <c:v>0.13548194568785438</c:v>
                </c:pt>
                <c:pt idx="17">
                  <c:v>0.13516024152345565</c:v>
                </c:pt>
                <c:pt idx="18">
                  <c:v>0.11793567145193531</c:v>
                </c:pt>
                <c:pt idx="19">
                  <c:v>0.1341650999829089</c:v>
                </c:pt>
                <c:pt idx="20">
                  <c:v>0.1342601787487587</c:v>
                </c:pt>
                <c:pt idx="21">
                  <c:v>0.13900264996386413</c:v>
                </c:pt>
                <c:pt idx="22">
                  <c:v>0.1452825612418142</c:v>
                </c:pt>
                <c:pt idx="23">
                  <c:v>0.1608187134502924</c:v>
                </c:pt>
                <c:pt idx="24">
                  <c:v>0.16136468418626096</c:v>
                </c:pt>
                <c:pt idx="25">
                  <c:v>0.16670558020079385</c:v>
                </c:pt>
                <c:pt idx="26">
                  <c:v>0.15474613686534217</c:v>
                </c:pt>
                <c:pt idx="27">
                  <c:v>0.12652980655349388</c:v>
                </c:pt>
                <c:pt idx="28">
                  <c:v>0.12490720118782479</c:v>
                </c:pt>
                <c:pt idx="29">
                  <c:v>0.12426570266606417</c:v>
                </c:pt>
                <c:pt idx="30">
                  <c:v>0.1327089995431704</c:v>
                </c:pt>
                <c:pt idx="31">
                  <c:v>0.12417470797359066</c:v>
                </c:pt>
                <c:pt idx="32">
                  <c:v>0.13073237508555785</c:v>
                </c:pt>
                <c:pt idx="33">
                  <c:v>0.14113475177304965</c:v>
                </c:pt>
                <c:pt idx="34">
                  <c:v>0.15177380634835957</c:v>
                </c:pt>
                <c:pt idx="35">
                  <c:v>0.1567662007623888</c:v>
                </c:pt>
                <c:pt idx="36">
                  <c:v>0.1447939262472885</c:v>
                </c:pt>
                <c:pt idx="37">
                  <c:v>0.11942481111381915</c:v>
                </c:pt>
                <c:pt idx="38">
                  <c:v>0.12534974818130945</c:v>
                </c:pt>
                <c:pt idx="39">
                  <c:v>0.1297923322683706</c:v>
                </c:pt>
                <c:pt idx="40">
                  <c:v>0.12092471843509188</c:v>
                </c:pt>
                <c:pt idx="41">
                  <c:v>0.12034647991153705</c:v>
                </c:pt>
                <c:pt idx="42">
                  <c:v>0.12526315789473685</c:v>
                </c:pt>
                <c:pt idx="43">
                  <c:v>0.12066792690611217</c:v>
                </c:pt>
                <c:pt idx="44">
                  <c:v>0.11443795990865263</c:v>
                </c:pt>
                <c:pt idx="45">
                  <c:v>0.12358941951792002</c:v>
                </c:pt>
                <c:pt idx="46">
                  <c:v>0.11922455573505654</c:v>
                </c:pt>
                <c:pt idx="47">
                  <c:v>0.1160193695029153</c:v>
                </c:pt>
                <c:pt idx="48">
                  <c:v>0.10238440470436604</c:v>
                </c:pt>
                <c:pt idx="49">
                  <c:v>0.11883911123977708</c:v>
                </c:pt>
                <c:pt idx="50">
                  <c:v>0.1522399215209978</c:v>
                </c:pt>
                <c:pt idx="51">
                  <c:v>0.1450212765957446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07.1726615135032</c:v>
                </c:pt>
              </c:numCache>
            </c:numRef>
          </c:xVal>
          <c:yVal>
            <c:numRef>
              <c:f>Sheet1!$B$163:$B$164</c:f>
              <c:numCache>
                <c:formatCode>General</c:formatCode>
                <c:ptCount val="2"/>
                <c:pt idx="0">
                  <c:v>0.17685125849073272</c:v>
                </c:pt>
                <c:pt idx="1">
                  <c:v>0.1768512584907327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07.1726615135032</c:v>
                </c:pt>
                <c:pt idx="1">
                  <c:v>907.1726615135032</c:v>
                </c:pt>
              </c:numCache>
            </c:numRef>
          </c:xVal>
          <c:yVal>
            <c:numRef>
              <c:f>Sheet1!$B$167:$B$168</c:f>
              <c:numCache>
                <c:formatCode>General</c:formatCode>
                <c:ptCount val="2"/>
                <c:pt idx="0">
                  <c:v>0.1768512584907327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85.000116549799</c:v>
                </c:pt>
              </c:numCache>
            </c:numRef>
          </c:xVal>
          <c:yVal>
            <c:numRef>
              <c:f>Sheet1!$B$171:$B$172</c:f>
              <c:numCache>
                <c:formatCode>General</c:formatCode>
                <c:ptCount val="2"/>
                <c:pt idx="0">
                  <c:v>0.14984144948882708</c:v>
                </c:pt>
                <c:pt idx="1">
                  <c:v>0.1498414494888270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85.000116549799</c:v>
                </c:pt>
                <c:pt idx="1">
                  <c:v>1185.000116549799</c:v>
                </c:pt>
              </c:numCache>
            </c:numRef>
          </c:xVal>
          <c:yVal>
            <c:numRef>
              <c:f>Sheet1!$B$175:$B$176</c:f>
              <c:numCache>
                <c:formatCode>General</c:formatCode>
                <c:ptCount val="2"/>
                <c:pt idx="0">
                  <c:v>0.1498414494888270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53.3806688420007</c:v>
                </c:pt>
              </c:numCache>
            </c:numRef>
          </c:xVal>
          <c:yVal>
            <c:numRef>
              <c:f>Sheet1!$B$179:$B$180</c:f>
              <c:numCache>
                <c:formatCode>General</c:formatCode>
                <c:ptCount val="2"/>
                <c:pt idx="0">
                  <c:v>0.12375004878009835</c:v>
                </c:pt>
                <c:pt idx="1">
                  <c:v>0.1237500487800983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53.3806688420007</c:v>
                </c:pt>
                <c:pt idx="1">
                  <c:v>1453.3806688420007</c:v>
                </c:pt>
              </c:numCache>
            </c:numRef>
          </c:xVal>
          <c:yVal>
            <c:numRef>
              <c:f>Sheet1!$B$183:$B$184</c:f>
              <c:numCache>
                <c:formatCode>General</c:formatCode>
                <c:ptCount val="2"/>
                <c:pt idx="0">
                  <c:v>0.1237500487800983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66.4726</c:v>
                </c:pt>
                <c:pt idx="1">
                  <c:v>1210.363</c:v>
                </c:pt>
                <c:pt idx="2">
                  <c:v>1198.8497</c:v>
                </c:pt>
                <c:pt idx="3">
                  <c:v>1243.9082</c:v>
                </c:pt>
                <c:pt idx="4">
                  <c:v>1218.9636</c:v>
                </c:pt>
                <c:pt idx="5">
                  <c:v>1220.194</c:v>
                </c:pt>
                <c:pt idx="6">
                  <c:v>1182.1217</c:v>
                </c:pt>
                <c:pt idx="7">
                  <c:v>1269.1525</c:v>
                </c:pt>
                <c:pt idx="8">
                  <c:v>1399.2751</c:v>
                </c:pt>
                <c:pt idx="9">
                  <c:v>1307.293</c:v>
                </c:pt>
                <c:pt idx="10">
                  <c:v>1347.4707</c:v>
                </c:pt>
                <c:pt idx="11">
                  <c:v>1290.4618</c:v>
                </c:pt>
                <c:pt idx="12">
                  <c:v>1322.6766</c:v>
                </c:pt>
                <c:pt idx="13">
                  <c:v>1330.3626</c:v>
                </c:pt>
                <c:pt idx="14">
                  <c:v>1342.5614</c:v>
                </c:pt>
                <c:pt idx="15">
                  <c:v>1336.0139</c:v>
                </c:pt>
                <c:pt idx="16">
                  <c:v>1340.7115</c:v>
                </c:pt>
                <c:pt idx="17">
                  <c:v>1265.9324</c:v>
                </c:pt>
                <c:pt idx="18">
                  <c:v>1338.168</c:v>
                </c:pt>
                <c:pt idx="19">
                  <c:v>1385.0191</c:v>
                </c:pt>
                <c:pt idx="20">
                  <c:v>1371.5311</c:v>
                </c:pt>
                <c:pt idx="21">
                  <c:v>1316.3206</c:v>
                </c:pt>
                <c:pt idx="22">
                  <c:v>1290.7746</c:v>
                </c:pt>
                <c:pt idx="23">
                  <c:v>1233.6636</c:v>
                </c:pt>
                <c:pt idx="24">
                  <c:v>1252.0</c:v>
                </c:pt>
                <c:pt idx="25">
                  <c:v>1227.6345</c:v>
                </c:pt>
                <c:pt idx="26">
                  <c:v>1243.0371</c:v>
                </c:pt>
                <c:pt idx="27">
                  <c:v>1303.2949</c:v>
                </c:pt>
                <c:pt idx="28">
                  <c:v>1367.6553</c:v>
                </c:pt>
                <c:pt idx="29">
                  <c:v>1381.4109</c:v>
                </c:pt>
                <c:pt idx="30">
                  <c:v>1364.7263</c:v>
                </c:pt>
                <c:pt idx="31">
                  <c:v>1283.2209</c:v>
                </c:pt>
                <c:pt idx="32">
                  <c:v>1264.356</c:v>
                </c:pt>
                <c:pt idx="33">
                  <c:v>1308.9485</c:v>
                </c:pt>
                <c:pt idx="34">
                  <c:v>1345.7056</c:v>
                </c:pt>
                <c:pt idx="35">
                  <c:v>1336.0892</c:v>
                </c:pt>
                <c:pt idx="36">
                  <c:v>1258.6629</c:v>
                </c:pt>
                <c:pt idx="37">
                  <c:v>1406.7469</c:v>
                </c:pt>
                <c:pt idx="38">
                  <c:v>1412.7076</c:v>
                </c:pt>
                <c:pt idx="39">
                  <c:v>1405.7138</c:v>
                </c:pt>
                <c:pt idx="40">
                  <c:v>1421.0131</c:v>
                </c:pt>
                <c:pt idx="41">
                  <c:v>1471.1531</c:v>
                </c:pt>
                <c:pt idx="42">
                  <c:v>1448.1697</c:v>
                </c:pt>
                <c:pt idx="43">
                  <c:v>1454.6919</c:v>
                </c:pt>
                <c:pt idx="44">
                  <c:v>1369.9534</c:v>
                </c:pt>
                <c:pt idx="45">
                  <c:v>1302.1424</c:v>
                </c:pt>
                <c:pt idx="46">
                  <c:v>1272.4083</c:v>
                </c:pt>
                <c:pt idx="47">
                  <c:v>1286.2189</c:v>
                </c:pt>
                <c:pt idx="48">
                  <c:v>1251.535</c:v>
                </c:pt>
                <c:pt idx="49">
                  <c:v>1236.8289</c:v>
                </c:pt>
                <c:pt idx="50">
                  <c:v>1134.7082</c:v>
                </c:pt>
                <c:pt idx="51">
                  <c:v>1140.5129</c:v>
                </c:pt>
                <c:pt idx="52">
                  <c:v>1185.000116549799</c:v>
                </c:pt>
                <c:pt idx="53">
                  <c:v>907.1726615135032</c:v>
                </c:pt>
                <c:pt idx="54">
                  <c:v>1453.3806688420007</c:v>
                </c:pt>
              </c:numCache>
            </c:numRef>
          </c:xVal>
          <c:yVal>
            <c:numRef>
              <c:f>Sheet1!$B$187:$B$241</c:f>
              <c:numCache>
                <c:formatCode>General</c:formatCode>
                <c:ptCount val="55"/>
                <c:pt idx="0">
                  <c:v>0.14192086361075623</c:v>
                </c:pt>
                <c:pt idx="1">
                  <c:v>0.14737572255900286</c:v>
                </c:pt>
                <c:pt idx="2">
                  <c:v>0.1484950217079693</c:v>
                </c:pt>
                <c:pt idx="3">
                  <c:v>0.1441145277832297</c:v>
                </c:pt>
                <c:pt idx="4">
                  <c:v>0.1465395900634889</c:v>
                </c:pt>
                <c:pt idx="5">
                  <c:v>0.1464199731271728</c:v>
                </c:pt>
                <c:pt idx="6">
                  <c:v>0.15012128317635032</c:v>
                </c:pt>
                <c:pt idx="7">
                  <c:v>0.14166032929050792</c:v>
                </c:pt>
                <c:pt idx="8">
                  <c:v>0.129010079975255</c:v>
                </c:pt>
                <c:pt idx="9">
                  <c:v>0.13795238897876805</c:v>
                </c:pt>
                <c:pt idx="10">
                  <c:v>0.13404639630790655</c:v>
                </c:pt>
                <c:pt idx="11">
                  <c:v>0.1395886833371261</c:v>
                </c:pt>
                <c:pt idx="12">
                  <c:v>0.13645682729028252</c:v>
                </c:pt>
                <c:pt idx="13">
                  <c:v>0.13570961031001136</c:v>
                </c:pt>
                <c:pt idx="14">
                  <c:v>0.13452366827267956</c:v>
                </c:pt>
                <c:pt idx="15">
                  <c:v>0.1351602026440464</c:v>
                </c:pt>
                <c:pt idx="16">
                  <c:v>0.13470351171423614</c:v>
                </c:pt>
                <c:pt idx="17">
                  <c:v>0.1419733807344542</c:v>
                </c:pt>
                <c:pt idx="18">
                  <c:v>0.13495078550935968</c:v>
                </c:pt>
                <c:pt idx="19">
                  <c:v>0.13039601873023102</c:v>
                </c:pt>
                <c:pt idx="20">
                  <c:v>0.13170729411793564</c:v>
                </c:pt>
                <c:pt idx="21">
                  <c:v>0.13707474442879455</c:v>
                </c:pt>
                <c:pt idx="22">
                  <c:v>0.1395582735698312</c:v>
                </c:pt>
                <c:pt idx="23">
                  <c:v>0.14511048654930908</c:v>
                </c:pt>
                <c:pt idx="24">
                  <c:v>0.14332785976853307</c:v>
                </c:pt>
                <c:pt idx="25">
                  <c:v>0.1456966231477677</c:v>
                </c:pt>
                <c:pt idx="26">
                  <c:v>0.1441992143186856</c:v>
                </c:pt>
                <c:pt idx="27">
                  <c:v>0.1383410759692471</c:v>
                </c:pt>
                <c:pt idx="28">
                  <c:v>0.13208409135604846</c:v>
                </c:pt>
                <c:pt idx="29">
                  <c:v>0.13074680045131018</c:v>
                </c:pt>
                <c:pt idx="30">
                  <c:v>0.13236884266169693</c:v>
                </c:pt>
                <c:pt idx="31">
                  <c:v>0.14029262861847475</c:v>
                </c:pt>
                <c:pt idx="32">
                  <c:v>0.14212663507321294</c:v>
                </c:pt>
                <c:pt idx="33">
                  <c:v>0.13779144470205207</c:v>
                </c:pt>
                <c:pt idx="34">
                  <c:v>0.1342179956693269</c:v>
                </c:pt>
                <c:pt idx="35">
                  <c:v>0.13515288213420848</c:v>
                </c:pt>
                <c:pt idx="36">
                  <c:v>0.14268010644849027</c:v>
                </c:pt>
                <c:pt idx="37">
                  <c:v>0.12828368707476184</c:v>
                </c:pt>
                <c:pt idx="38">
                  <c:v>0.12770420018245085</c:v>
                </c:pt>
                <c:pt idx="39">
                  <c:v>0.1283841229142516</c:v>
                </c:pt>
                <c:pt idx="40">
                  <c:v>0.12689675669693926</c:v>
                </c:pt>
                <c:pt idx="41">
                  <c:v>0.12202224988054622</c:v>
                </c:pt>
                <c:pt idx="42">
                  <c:v>0.1242566483640701</c:v>
                </c:pt>
                <c:pt idx="43">
                  <c:v>0.12362257360623446</c:v>
                </c:pt>
                <c:pt idx="44">
                  <c:v>0.1318606748399983</c:v>
                </c:pt>
                <c:pt idx="45">
                  <c:v>0.13845311962911733</c:v>
                </c:pt>
                <c:pt idx="46">
                  <c:v>0.1413438071665986</c:v>
                </c:pt>
                <c:pt idx="47">
                  <c:v>0.14000116927592296</c:v>
                </c:pt>
                <c:pt idx="48">
                  <c:v>0.14337306610418568</c:v>
                </c:pt>
                <c:pt idx="49">
                  <c:v>0.14480276264771497</c:v>
                </c:pt>
                <c:pt idx="50">
                  <c:v>0.1547307253171371</c:v>
                </c:pt>
                <c:pt idx="51">
                  <c:v>0.1541664044213031</c:v>
                </c:pt>
                <c:pt idx="52">
                  <c:v>0.1498414494888271</c:v>
                </c:pt>
                <c:pt idx="53">
                  <c:v>0.17685125849073272</c:v>
                </c:pt>
                <c:pt idx="54">
                  <c:v>0.1237500487800983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67.0"/>
          <c:min val="72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63097757088447"/>
          <c:min val="0.0719568853372979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247837643025904</c:v>
                </c:pt>
                <c:pt idx="1">
                  <c:v>0.4529867467641022</c:v>
                </c:pt>
                <c:pt idx="2">
                  <c:v>0.4176212878349517</c:v>
                </c:pt>
                <c:pt idx="3">
                  <c:v>0.39043245821233596</c:v>
                </c:pt>
                <c:pt idx="4">
                  <c:v>0.38879301085629864</c:v>
                </c:pt>
                <c:pt idx="5">
                  <c:v>0.23926396545103384</c:v>
                </c:pt>
                <c:pt idx="6">
                  <c:v>0.25366235576640056</c:v>
                </c:pt>
                <c:pt idx="7">
                  <c:v>0.3212487255845925</c:v>
                </c:pt>
                <c:pt idx="8">
                  <c:v>0.23301632632388253</c:v>
                </c:pt>
                <c:pt idx="9">
                  <c:v>0.30303199237099565</c:v>
                </c:pt>
                <c:pt idx="10">
                  <c:v>0.2838467501011559</c:v>
                </c:pt>
                <c:pt idx="11">
                  <c:v>0.282212082920223</c:v>
                </c:pt>
                <c:pt idx="12">
                  <c:v>0.2696850435139189</c:v>
                </c:pt>
                <c:pt idx="13">
                  <c:v>0.3061644946342452</c:v>
                </c:pt>
                <c:pt idx="14">
                  <c:v>0.36901075303120767</c:v>
                </c:pt>
                <c:pt idx="15">
                  <c:v>0.34214199058236483</c:v>
                </c:pt>
                <c:pt idx="16">
                  <c:v>0.3521751905087754</c:v>
                </c:pt>
                <c:pt idx="17">
                  <c:v>0.38828962377461995</c:v>
                </c:pt>
                <c:pt idx="18">
                  <c:v>0.47834032092359896</c:v>
                </c:pt>
                <c:pt idx="19">
                  <c:v>0.44112498683664875</c:v>
                </c:pt>
                <c:pt idx="20">
                  <c:v>0.41866508682720777</c:v>
                </c:pt>
                <c:pt idx="21">
                  <c:v>0.3888663948796626</c:v>
                </c:pt>
                <c:pt idx="22">
                  <c:v>0.3525569429334423</c:v>
                </c:pt>
                <c:pt idx="23">
                  <c:v>0.4094574036705372</c:v>
                </c:pt>
                <c:pt idx="24">
                  <c:v>0.3200147687263842</c:v>
                </c:pt>
                <c:pt idx="25">
                  <c:v>0.2899573604477445</c:v>
                </c:pt>
                <c:pt idx="26">
                  <c:v>0.3478445874141329</c:v>
                </c:pt>
                <c:pt idx="27">
                  <c:v>0.23482831722029457</c:v>
                </c:pt>
                <c:pt idx="28">
                  <c:v>0.2010661925876349</c:v>
                </c:pt>
                <c:pt idx="29">
                  <c:v>0.19740384917824266</c:v>
                </c:pt>
                <c:pt idx="30">
                  <c:v>0.2310261140392323</c:v>
                </c:pt>
                <c:pt idx="31">
                  <c:v>0.18405268389331786</c:v>
                </c:pt>
                <c:pt idx="32">
                  <c:v>0.1740868674394454</c:v>
                </c:pt>
                <c:pt idx="33">
                  <c:v>0.16894051639046187</c:v>
                </c:pt>
                <c:pt idx="34">
                  <c:v>0.144524086426989</c:v>
                </c:pt>
                <c:pt idx="35">
                  <c:v>0.19643169530107923</c:v>
                </c:pt>
                <c:pt idx="36">
                  <c:v>0.24806623737859804</c:v>
                </c:pt>
                <c:pt idx="37">
                  <c:v>0.19276156925501942</c:v>
                </c:pt>
                <c:pt idx="38">
                  <c:v>0.2056291484997125</c:v>
                </c:pt>
                <c:pt idx="39">
                  <c:v>0.142709530730897</c:v>
                </c:pt>
                <c:pt idx="40">
                  <c:v>0.1811598076371859</c:v>
                </c:pt>
                <c:pt idx="41">
                  <c:v>0.146477806005371</c:v>
                </c:pt>
                <c:pt idx="42">
                  <c:v>0.21182276516017964</c:v>
                </c:pt>
                <c:pt idx="43">
                  <c:v>0.24531902673000816</c:v>
                </c:pt>
                <c:pt idx="44">
                  <c:v>0.23476284863553196</c:v>
                </c:pt>
                <c:pt idx="45">
                  <c:v>0.1852128983402105</c:v>
                </c:pt>
                <c:pt idx="46">
                  <c:v>0.16079006621575948</c:v>
                </c:pt>
                <c:pt idx="47">
                  <c:v>0.1662977993052942</c:v>
                </c:pt>
                <c:pt idx="48">
                  <c:v>0.17823373720578248</c:v>
                </c:pt>
                <c:pt idx="49">
                  <c:v>0.23333226282441646</c:v>
                </c:pt>
                <c:pt idx="50">
                  <c:v>0.1297223584480257</c:v>
                </c:pt>
                <c:pt idx="51">
                  <c:v>0.12894026095889854</c:v>
                </c:pt>
                <c:pt idx="52">
                  <c:v>0.13587183973737574</c:v>
                </c:pt>
                <c:pt idx="53">
                  <c:v>0.14653606459141075</c:v>
                </c:pt>
                <c:pt idx="54">
                  <c:v>0.14572453419757592</c:v>
                </c:pt>
                <c:pt idx="55">
                  <c:v>0.1403287479412991</c:v>
                </c:pt>
                <c:pt idx="56">
                  <c:v>0.14105669782859215</c:v>
                </c:pt>
                <c:pt idx="57">
                  <c:v>0.1399560580421511</c:v>
                </c:pt>
                <c:pt idx="58">
                  <c:v>0.1537300151697259</c:v>
                </c:pt>
                <c:pt idx="59">
                  <c:v>0.1700555097969659</c:v>
                </c:pt>
                <c:pt idx="60">
                  <c:v>0.12528541819162048</c:v>
                </c:pt>
                <c:pt idx="61">
                  <c:v>0.11051580340085468</c:v>
                </c:pt>
                <c:pt idx="62">
                  <c:v>0.09619455830846543</c:v>
                </c:pt>
                <c:pt idx="63">
                  <c:v>0.12234096623097046</c:v>
                </c:pt>
                <c:pt idx="64">
                  <c:v>0.11939094781806299</c:v>
                </c:pt>
                <c:pt idx="65">
                  <c:v>0.09661111402198555</c:v>
                </c:pt>
                <c:pt idx="66">
                  <c:v>0.09326867325390355</c:v>
                </c:pt>
                <c:pt idx="67">
                  <c:v>0.09525555761819417</c:v>
                </c:pt>
                <c:pt idx="68">
                  <c:v>0.10174704479735368</c:v>
                </c:pt>
                <c:pt idx="69">
                  <c:v>0.09349971323336835</c:v>
                </c:pt>
                <c:pt idx="70">
                  <c:v>0.10314784430538892</c:v>
                </c:pt>
                <c:pt idx="71">
                  <c:v>0.07967631133757662</c:v>
                </c:pt>
                <c:pt idx="72">
                  <c:v>0.08634153486296592</c:v>
                </c:pt>
                <c:pt idx="73">
                  <c:v>0.09702031528780844</c:v>
                </c:pt>
                <c:pt idx="74">
                  <c:v>0.06595524845323525</c:v>
                </c:pt>
                <c:pt idx="75">
                  <c:v>0.09950633663863852</c:v>
                </c:pt>
                <c:pt idx="76">
                  <c:v>0.09303403604318194</c:v>
                </c:pt>
                <c:pt idx="77">
                  <c:v>0.07252649105212622</c:v>
                </c:pt>
                <c:pt idx="78">
                  <c:v>0.08300745901060749</c:v>
                </c:pt>
                <c:pt idx="79">
                  <c:v>0.08464801778072137</c:v>
                </c:pt>
                <c:pt idx="80">
                  <c:v>0.0754895897916365</c:v>
                </c:pt>
                <c:pt idx="81">
                  <c:v>0.10829881764247123</c:v>
                </c:pt>
                <c:pt idx="82">
                  <c:v>0.100244889373552</c:v>
                </c:pt>
                <c:pt idx="83">
                  <c:v>0.09475272355343817</c:v>
                </c:pt>
                <c:pt idx="84">
                  <c:v>0.07175022605371859</c:v>
                </c:pt>
                <c:pt idx="85">
                  <c:v>0.07786176032443101</c:v>
                </c:pt>
                <c:pt idx="86">
                  <c:v>0.07334210900859012</c:v>
                </c:pt>
                <c:pt idx="87">
                  <c:v>0.07518652368327881</c:v>
                </c:pt>
                <c:pt idx="88">
                  <c:v>0.10023691007348895</c:v>
                </c:pt>
                <c:pt idx="89">
                  <c:v>0.07943359963206817</c:v>
                </c:pt>
                <c:pt idx="90">
                  <c:v>0.09643387946256458</c:v>
                </c:pt>
                <c:pt idx="91">
                  <c:v>0.0846860740699325</c:v>
                </c:pt>
                <c:pt idx="92">
                  <c:v>0.08183133904891138</c:v>
                </c:pt>
                <c:pt idx="93">
                  <c:v>0.07579220359859455</c:v>
                </c:pt>
                <c:pt idx="94">
                  <c:v>0.08067882924925249</c:v>
                </c:pt>
                <c:pt idx="95">
                  <c:v>0.08321853889847662</c:v>
                </c:pt>
                <c:pt idx="96">
                  <c:v>0.06502905652262779</c:v>
                </c:pt>
                <c:pt idx="97">
                  <c:v>0.07301708595311648</c:v>
                </c:pt>
                <c:pt idx="98">
                  <c:v>0.06585849974512221</c:v>
                </c:pt>
                <c:pt idx="99">
                  <c:v>0.07388773762615648</c:v>
                </c:pt>
                <c:pt idx="100">
                  <c:v>0.057720017721888894</c:v>
                </c:pt>
                <c:pt idx="101">
                  <c:v>0.06923290509694364</c:v>
                </c:pt>
                <c:pt idx="102">
                  <c:v>0.08228763363145689</c:v>
                </c:pt>
                <c:pt idx="103">
                  <c:v>0.049015617715030255</c:v>
                </c:pt>
                <c:pt idx="104">
                  <c:v>0.06219417206941181</c:v>
                </c:pt>
              </c:numCache>
            </c:numRef>
          </c:xVal>
          <c:yVal>
            <c:numRef>
              <c:f>Sheet1!$B$2:$B$106</c:f>
              <c:numCache>
                <c:formatCode>General</c:formatCode>
                <c:ptCount val="105"/>
                <c:pt idx="0">
                  <c:v>0.1705862009337714</c:v>
                </c:pt>
                <c:pt idx="1">
                  <c:v>0.17485066315682898</c:v>
                </c:pt>
                <c:pt idx="2">
                  <c:v>0.1713073180830142</c:v>
                </c:pt>
                <c:pt idx="3">
                  <c:v>0.1777678770327467</c:v>
                </c:pt>
                <c:pt idx="4">
                  <c:v>0.17846883976520544</c:v>
                </c:pt>
                <c:pt idx="5">
                  <c:v>0.1736718846296068</c:v>
                </c:pt>
                <c:pt idx="6">
                  <c:v>0.17488021902806297</c:v>
                </c:pt>
                <c:pt idx="7">
                  <c:v>0.17320351069665388</c:v>
                </c:pt>
                <c:pt idx="8">
                  <c:v>0.19692481309070392</c:v>
                </c:pt>
                <c:pt idx="9">
                  <c:v>0.1698853661055458</c:v>
                </c:pt>
                <c:pt idx="10">
                  <c:v>0.17614494212380474</c:v>
                </c:pt>
                <c:pt idx="11">
                  <c:v>0.18374198799470953</c:v>
                </c:pt>
                <c:pt idx="12">
                  <c:v>0.18136759981642955</c:v>
                </c:pt>
                <c:pt idx="13">
                  <c:v>0.1837578719804493</c:v>
                </c:pt>
                <c:pt idx="14">
                  <c:v>0.1764982152921285</c:v>
                </c:pt>
                <c:pt idx="15">
                  <c:v>0.1886379350080664</c:v>
                </c:pt>
                <c:pt idx="16">
                  <c:v>0.17080662393162394</c:v>
                </c:pt>
                <c:pt idx="17">
                  <c:v>0.18086982074640023</c:v>
                </c:pt>
                <c:pt idx="18">
                  <c:v>0.16189823539489465</c:v>
                </c:pt>
                <c:pt idx="19">
                  <c:v>0.14413317092976047</c:v>
                </c:pt>
                <c:pt idx="20">
                  <c:v>0.15137242163391262</c:v>
                </c:pt>
                <c:pt idx="21">
                  <c:v>0.15139949109414758</c:v>
                </c:pt>
                <c:pt idx="22">
                  <c:v>0.13053325097796994</c:v>
                </c:pt>
                <c:pt idx="23">
                  <c:v>0.12831089882761615</c:v>
                </c:pt>
                <c:pt idx="24">
                  <c:v>0.12643678160919541</c:v>
                </c:pt>
                <c:pt idx="25">
                  <c:v>0.1287445689458038</c:v>
                </c:pt>
                <c:pt idx="26">
                  <c:v>0.12870905587668593</c:v>
                </c:pt>
                <c:pt idx="27">
                  <c:v>0.1264262053735738</c:v>
                </c:pt>
                <c:pt idx="28">
                  <c:v>0.12986512524084778</c:v>
                </c:pt>
                <c:pt idx="29">
                  <c:v>0.13212526389866291</c:v>
                </c:pt>
                <c:pt idx="30">
                  <c:v>0.12151567944250871</c:v>
                </c:pt>
                <c:pt idx="31">
                  <c:v>0.1110180142438207</c:v>
                </c:pt>
                <c:pt idx="32">
                  <c:v>0.10474350719038421</c:v>
                </c:pt>
                <c:pt idx="33">
                  <c:v>0.11347035841685069</c:v>
                </c:pt>
                <c:pt idx="34">
                  <c:v>0.11454703832752614</c:v>
                </c:pt>
                <c:pt idx="35">
                  <c:v>0.11980642115203022</c:v>
                </c:pt>
                <c:pt idx="36">
                  <c:v>0.10627362055933484</c:v>
                </c:pt>
                <c:pt idx="37">
                  <c:v>0.09389243391066546</c:v>
                </c:pt>
                <c:pt idx="38">
                  <c:v>0.08994610667162238</c:v>
                </c:pt>
                <c:pt idx="39">
                  <c:v>0.10665115377157262</c:v>
                </c:pt>
                <c:pt idx="40">
                  <c:v>0.10593950791412005</c:v>
                </c:pt>
                <c:pt idx="41">
                  <c:v>0.10755189692197566</c:v>
                </c:pt>
                <c:pt idx="42">
                  <c:v>0.10918076980679946</c:v>
                </c:pt>
                <c:pt idx="43">
                  <c:v>0.11603319057815846</c:v>
                </c:pt>
                <c:pt idx="44">
                  <c:v>0.1194601654331737</c:v>
                </c:pt>
                <c:pt idx="45">
                  <c:v>0.13580053316606555</c:v>
                </c:pt>
                <c:pt idx="46">
                  <c:v>0.13886098446797002</c:v>
                </c:pt>
                <c:pt idx="47">
                  <c:v>0.13304957830850478</c:v>
                </c:pt>
                <c:pt idx="48">
                  <c:v>0.1489022864293027</c:v>
                </c:pt>
                <c:pt idx="49">
                  <c:v>0.16941957394257487</c:v>
                </c:pt>
                <c:pt idx="50">
                  <c:v>0.15279447115384615</c:v>
                </c:pt>
                <c:pt idx="51">
                  <c:v>0.14129496402877698</c:v>
                </c:pt>
                <c:pt idx="52">
                  <c:v>0.1494893951296151</c:v>
                </c:pt>
                <c:pt idx="53">
                  <c:v>0.13613218331081783</c:v>
                </c:pt>
                <c:pt idx="54">
                  <c:v>0.1284156209686877</c:v>
                </c:pt>
                <c:pt idx="55">
                  <c:v>0.12954876273653565</c:v>
                </c:pt>
                <c:pt idx="56">
                  <c:v>0.1469592476489028</c:v>
                </c:pt>
                <c:pt idx="57">
                  <c:v>0.1371749669457911</c:v>
                </c:pt>
                <c:pt idx="58">
                  <c:v>0.14578610152784624</c:v>
                </c:pt>
                <c:pt idx="59">
                  <c:v>0.1426961367478555</c:v>
                </c:pt>
                <c:pt idx="60">
                  <c:v>0.16009566108643664</c:v>
                </c:pt>
                <c:pt idx="61">
                  <c:v>0.17161491287841915</c:v>
                </c:pt>
                <c:pt idx="62">
                  <c:v>0.16898553395374552</c:v>
                </c:pt>
                <c:pt idx="63">
                  <c:v>0.17295727913728742</c:v>
                </c:pt>
                <c:pt idx="64">
                  <c:v>0.15607563546187228</c:v>
                </c:pt>
                <c:pt idx="65">
                  <c:v>0.15121338912133891</c:v>
                </c:pt>
                <c:pt idx="66">
                  <c:v>0.14350058553283487</c:v>
                </c:pt>
                <c:pt idx="67">
                  <c:v>0.14169412676875365</c:v>
                </c:pt>
                <c:pt idx="68">
                  <c:v>0.12122297862176042</c:v>
                </c:pt>
                <c:pt idx="69">
                  <c:v>0.1177555726364335</c:v>
                </c:pt>
                <c:pt idx="70">
                  <c:v>0.11250373022978215</c:v>
                </c:pt>
                <c:pt idx="71">
                  <c:v>0.12279254002310612</c:v>
                </c:pt>
                <c:pt idx="72">
                  <c:v>0.12372218881539386</c:v>
                </c:pt>
                <c:pt idx="73">
                  <c:v>0.1362662712143681</c:v>
                </c:pt>
                <c:pt idx="74">
                  <c:v>0.14113973458235754</c:v>
                </c:pt>
                <c:pt idx="75">
                  <c:v>0.1279826464208243</c:v>
                </c:pt>
                <c:pt idx="76">
                  <c:v>0.13208284486127395</c:v>
                </c:pt>
                <c:pt idx="77">
                  <c:v>0.1253016894609815</c:v>
                </c:pt>
                <c:pt idx="78">
                  <c:v>0.12195671776375112</c:v>
                </c:pt>
                <c:pt idx="79">
                  <c:v>0.11888111888111888</c:v>
                </c:pt>
                <c:pt idx="80">
                  <c:v>0.10225160090890312</c:v>
                </c:pt>
                <c:pt idx="81">
                  <c:v>0.10407394727832935</c:v>
                </c:pt>
                <c:pt idx="82">
                  <c:v>0.10849585294776956</c:v>
                </c:pt>
                <c:pt idx="83">
                  <c:v>0.09726603575184017</c:v>
                </c:pt>
                <c:pt idx="84">
                  <c:v>0.10120608285264814</c:v>
                </c:pt>
                <c:pt idx="85">
                  <c:v>0.10182405910875086</c:v>
                </c:pt>
                <c:pt idx="86">
                  <c:v>0.10638652659663166</c:v>
                </c:pt>
                <c:pt idx="87">
                  <c:v>0.12478082992402104</c:v>
                </c:pt>
                <c:pt idx="88">
                  <c:v>0.11678414936178319</c:v>
                </c:pt>
                <c:pt idx="89">
                  <c:v>0.11326212728081887</c:v>
                </c:pt>
                <c:pt idx="90">
                  <c:v>0.10828171598990594</c:v>
                </c:pt>
                <c:pt idx="91">
                  <c:v>0.11352549889135255</c:v>
                </c:pt>
                <c:pt idx="92">
                  <c:v>0.12176814011676397</c:v>
                </c:pt>
                <c:pt idx="93">
                  <c:v>0.1099601593625498</c:v>
                </c:pt>
                <c:pt idx="94">
                  <c:v>0.10033741786538804</c:v>
                </c:pt>
                <c:pt idx="95">
                  <c:v>0.11384266263237519</c:v>
                </c:pt>
                <c:pt idx="96">
                  <c:v>0.10811295383236216</c:v>
                </c:pt>
                <c:pt idx="97">
                  <c:v>0.11181335830212234</c:v>
                </c:pt>
                <c:pt idx="98">
                  <c:v>0.12584163748990035</c:v>
                </c:pt>
                <c:pt idx="99">
                  <c:v>0.12591499409681228</c:v>
                </c:pt>
                <c:pt idx="100">
                  <c:v>0.14343803161694535</c:v>
                </c:pt>
                <c:pt idx="101">
                  <c:v>0.13998329917254992</c:v>
                </c:pt>
                <c:pt idx="102">
                  <c:v>0.12312161891404529</c:v>
                </c:pt>
                <c:pt idx="103">
                  <c:v>0.16074080545120992</c:v>
                </c:pt>
                <c:pt idx="104">
                  <c:v>0.1544209215442092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05905052937928341</c:v>
                </c:pt>
                <c:pt idx="1">
                  <c:v>0.06978617724196735</c:v>
                </c:pt>
                <c:pt idx="2">
                  <c:v>0.08984125547904585</c:v>
                </c:pt>
                <c:pt idx="3">
                  <c:v>0.10122413587390813</c:v>
                </c:pt>
                <c:pt idx="4">
                  <c:v>0.1090235689073277</c:v>
                </c:pt>
                <c:pt idx="5">
                  <c:v>0.10568611412749837</c:v>
                </c:pt>
                <c:pt idx="6">
                  <c:v>0.09426184965162508</c:v>
                </c:pt>
                <c:pt idx="7">
                  <c:v>0.09256544664678272</c:v>
                </c:pt>
                <c:pt idx="8">
                  <c:v>0.1405962433779654</c:v>
                </c:pt>
                <c:pt idx="9">
                  <c:v>0.11323507632438412</c:v>
                </c:pt>
                <c:pt idx="10">
                  <c:v>0.13307421664517038</c:v>
                </c:pt>
                <c:pt idx="11">
                  <c:v>0.13036859206521642</c:v>
                </c:pt>
                <c:pt idx="12">
                  <c:v>0.16454807428508494</c:v>
                </c:pt>
                <c:pt idx="13">
                  <c:v>0.13131211097298692</c:v>
                </c:pt>
                <c:pt idx="14">
                  <c:v>0.11187773180635033</c:v>
                </c:pt>
                <c:pt idx="15">
                  <c:v>0.11015877622788446</c:v>
                </c:pt>
                <c:pt idx="16">
                  <c:v>0.07618947791816921</c:v>
                </c:pt>
                <c:pt idx="17">
                  <c:v>0.07330554634538701</c:v>
                </c:pt>
                <c:pt idx="18">
                  <c:v>0.09759254040850418</c:v>
                </c:pt>
                <c:pt idx="19">
                  <c:v>0.1204635037712428</c:v>
                </c:pt>
                <c:pt idx="20">
                  <c:v>0.10580141885781014</c:v>
                </c:pt>
                <c:pt idx="21">
                  <c:v>0.08106363131278153</c:v>
                </c:pt>
                <c:pt idx="22">
                  <c:v>0.0921001871679881</c:v>
                </c:pt>
                <c:pt idx="23">
                  <c:v>0.08144499313404457</c:v>
                </c:pt>
                <c:pt idx="24">
                  <c:v>0.08383593040573176</c:v>
                </c:pt>
                <c:pt idx="25">
                  <c:v>0.1077948652872496</c:v>
                </c:pt>
                <c:pt idx="26">
                  <c:v>0.09081902049780372</c:v>
                </c:pt>
                <c:pt idx="27">
                  <c:v>0.11391783606555257</c:v>
                </c:pt>
                <c:pt idx="28">
                  <c:v>0.11804502861155623</c:v>
                </c:pt>
                <c:pt idx="29">
                  <c:v>0.12614523795530685</c:v>
                </c:pt>
                <c:pt idx="30">
                  <c:v>0.13549588084376157</c:v>
                </c:pt>
                <c:pt idx="31">
                  <c:v>0.09968511839073552</c:v>
                </c:pt>
                <c:pt idx="32">
                  <c:v>0.09821348701114835</c:v>
                </c:pt>
                <c:pt idx="33">
                  <c:v>0.12120093051161526</c:v>
                </c:pt>
                <c:pt idx="34">
                  <c:v>0.10315502592045739</c:v>
                </c:pt>
                <c:pt idx="35">
                  <c:v>0.11626008041823756</c:v>
                </c:pt>
                <c:pt idx="36">
                  <c:v>0.08762873578187598</c:v>
                </c:pt>
                <c:pt idx="37">
                  <c:v>0.11420640443324626</c:v>
                </c:pt>
                <c:pt idx="38">
                  <c:v>0.10222675477084024</c:v>
                </c:pt>
                <c:pt idx="39">
                  <c:v>0.12623700634603913</c:v>
                </c:pt>
                <c:pt idx="40">
                  <c:v>0.11771319580925003</c:v>
                </c:pt>
                <c:pt idx="41">
                  <c:v>0.12902292912802935</c:v>
                </c:pt>
                <c:pt idx="42">
                  <c:v>0.12322488885107107</c:v>
                </c:pt>
                <c:pt idx="43">
                  <c:v>0.14163468444474372</c:v>
                </c:pt>
                <c:pt idx="44">
                  <c:v>0.13186531634684728</c:v>
                </c:pt>
                <c:pt idx="45">
                  <c:v>0.12689110286508754</c:v>
                </c:pt>
                <c:pt idx="46">
                  <c:v>0.0994459029852615</c:v>
                </c:pt>
                <c:pt idx="47">
                  <c:v>0.11286095077083283</c:v>
                </c:pt>
                <c:pt idx="48">
                  <c:v>0.13273342965455942</c:v>
                </c:pt>
                <c:pt idx="49">
                  <c:v>0.12253835237957023</c:v>
                </c:pt>
                <c:pt idx="50">
                  <c:v>0.13724827696417471</c:v>
                </c:pt>
                <c:pt idx="51">
                  <c:v>0.123522095957702</c:v>
                </c:pt>
              </c:numCache>
            </c:numRef>
          </c:xVal>
          <c:yVal>
            <c:numRef>
              <c:f>Sheet1!$B$109:$B$160</c:f>
              <c:numCache>
                <c:formatCode>General</c:formatCode>
                <c:ptCount val="52"/>
                <c:pt idx="0">
                  <c:v>0.13968161522034556</c:v>
                </c:pt>
                <c:pt idx="1">
                  <c:v>0.15771015987622486</c:v>
                </c:pt>
                <c:pt idx="2">
                  <c:v>0.15615001777461784</c:v>
                </c:pt>
                <c:pt idx="3">
                  <c:v>0.15722692166237587</c:v>
                </c:pt>
                <c:pt idx="4">
                  <c:v>0.15798695609851066</c:v>
                </c:pt>
                <c:pt idx="5">
                  <c:v>0.15055726364335126</c:v>
                </c:pt>
                <c:pt idx="6">
                  <c:v>0.1455173040239804</c:v>
                </c:pt>
                <c:pt idx="7">
                  <c:v>0.1449256954147085</c:v>
                </c:pt>
                <c:pt idx="8">
                  <c:v>0.13881711168532873</c:v>
                </c:pt>
                <c:pt idx="9">
                  <c:v>0.1599696739954511</c:v>
                </c:pt>
                <c:pt idx="10">
                  <c:v>0.1529873635136793</c:v>
                </c:pt>
                <c:pt idx="11">
                  <c:v>0.14329535495179668</c:v>
                </c:pt>
                <c:pt idx="12">
                  <c:v>0.13794138241472442</c:v>
                </c:pt>
                <c:pt idx="13">
                  <c:v>0.14104206705103567</c:v>
                </c:pt>
                <c:pt idx="14">
                  <c:v>0.1469373303434439</c:v>
                </c:pt>
                <c:pt idx="15">
                  <c:v>0.14651547967894</c:v>
                </c:pt>
                <c:pt idx="16">
                  <c:v>0.13548194568785438</c:v>
                </c:pt>
                <c:pt idx="17">
                  <c:v>0.13516024152345565</c:v>
                </c:pt>
                <c:pt idx="18">
                  <c:v>0.11793567145193531</c:v>
                </c:pt>
                <c:pt idx="19">
                  <c:v>0.1341650999829089</c:v>
                </c:pt>
                <c:pt idx="20">
                  <c:v>0.1342601787487587</c:v>
                </c:pt>
                <c:pt idx="21">
                  <c:v>0.13900264996386413</c:v>
                </c:pt>
                <c:pt idx="22">
                  <c:v>0.1452825612418142</c:v>
                </c:pt>
                <c:pt idx="23">
                  <c:v>0.1608187134502924</c:v>
                </c:pt>
                <c:pt idx="24">
                  <c:v>0.16136468418626096</c:v>
                </c:pt>
                <c:pt idx="25">
                  <c:v>0.16670558020079385</c:v>
                </c:pt>
                <c:pt idx="26">
                  <c:v>0.15474613686534217</c:v>
                </c:pt>
                <c:pt idx="27">
                  <c:v>0.12652980655349388</c:v>
                </c:pt>
                <c:pt idx="28">
                  <c:v>0.12490720118782479</c:v>
                </c:pt>
                <c:pt idx="29">
                  <c:v>0.12426570266606417</c:v>
                </c:pt>
                <c:pt idx="30">
                  <c:v>0.1327089995431704</c:v>
                </c:pt>
                <c:pt idx="31">
                  <c:v>0.12417470797359066</c:v>
                </c:pt>
                <c:pt idx="32">
                  <c:v>0.13073237508555785</c:v>
                </c:pt>
                <c:pt idx="33">
                  <c:v>0.14113475177304965</c:v>
                </c:pt>
                <c:pt idx="34">
                  <c:v>0.15177380634835957</c:v>
                </c:pt>
                <c:pt idx="35">
                  <c:v>0.1567662007623888</c:v>
                </c:pt>
                <c:pt idx="36">
                  <c:v>0.1447939262472885</c:v>
                </c:pt>
                <c:pt idx="37">
                  <c:v>0.11942481111381915</c:v>
                </c:pt>
                <c:pt idx="38">
                  <c:v>0.12534974818130945</c:v>
                </c:pt>
                <c:pt idx="39">
                  <c:v>0.1297923322683706</c:v>
                </c:pt>
                <c:pt idx="40">
                  <c:v>0.12092471843509188</c:v>
                </c:pt>
                <c:pt idx="41">
                  <c:v>0.12034647991153705</c:v>
                </c:pt>
                <c:pt idx="42">
                  <c:v>0.12526315789473685</c:v>
                </c:pt>
                <c:pt idx="43">
                  <c:v>0.12066792690611217</c:v>
                </c:pt>
                <c:pt idx="44">
                  <c:v>0.11443795990865263</c:v>
                </c:pt>
                <c:pt idx="45">
                  <c:v>0.12358941951792002</c:v>
                </c:pt>
                <c:pt idx="46">
                  <c:v>0.11922455573505654</c:v>
                </c:pt>
                <c:pt idx="47">
                  <c:v>0.1160193695029153</c:v>
                </c:pt>
                <c:pt idx="48">
                  <c:v>0.10238440470436604</c:v>
                </c:pt>
                <c:pt idx="49">
                  <c:v>0.11883911123977708</c:v>
                </c:pt>
                <c:pt idx="50">
                  <c:v>0.1522399215209978</c:v>
                </c:pt>
                <c:pt idx="51">
                  <c:v>0.1450212765957446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5540010705201457</c:v>
                </c:pt>
              </c:numCache>
            </c:numRef>
          </c:xVal>
          <c:yVal>
            <c:numRef>
              <c:f>Sheet1!$B$163:$B$164</c:f>
              <c:numCache>
                <c:formatCode>General</c:formatCode>
                <c:ptCount val="2"/>
                <c:pt idx="0">
                  <c:v>0.17685125849073272</c:v>
                </c:pt>
                <c:pt idx="1">
                  <c:v>0.1768512584907327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5540010705201457</c:v>
                </c:pt>
                <c:pt idx="1">
                  <c:v>-0.05540010705201457</c:v>
                </c:pt>
              </c:numCache>
            </c:numRef>
          </c:xVal>
          <c:yVal>
            <c:numRef>
              <c:f>Sheet1!$B$167:$B$168</c:f>
              <c:numCache>
                <c:formatCode>General</c:formatCode>
                <c:ptCount val="2"/>
                <c:pt idx="0">
                  <c:v>0.1768512584907327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59554258151136845</c:v>
                </c:pt>
              </c:numCache>
            </c:numRef>
          </c:xVal>
          <c:yVal>
            <c:numRef>
              <c:f>Sheet1!$B$171:$B$172</c:f>
              <c:numCache>
                <c:formatCode>General</c:formatCode>
                <c:ptCount val="2"/>
                <c:pt idx="0">
                  <c:v>0.14984144948882708</c:v>
                </c:pt>
                <c:pt idx="1">
                  <c:v>0.1498414494888270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59554258151136845</c:v>
                </c:pt>
                <c:pt idx="1">
                  <c:v>0.059554258151136845</c:v>
                </c:pt>
              </c:numCache>
            </c:numRef>
          </c:xVal>
          <c:yVal>
            <c:numRef>
              <c:f>Sheet1!$B$175:$B$176</c:f>
              <c:numCache>
                <c:formatCode>General</c:formatCode>
                <c:ptCount val="2"/>
                <c:pt idx="0">
                  <c:v>0.1498414494888270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705998566417205</c:v>
                </c:pt>
              </c:numCache>
            </c:numRef>
          </c:xVal>
          <c:yVal>
            <c:numRef>
              <c:f>Sheet1!$B$179:$B$180</c:f>
              <c:numCache>
                <c:formatCode>General</c:formatCode>
                <c:ptCount val="2"/>
                <c:pt idx="0">
                  <c:v>0.12375004878009835</c:v>
                </c:pt>
                <c:pt idx="1">
                  <c:v>0.1237500487800983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705998566417205</c:v>
                </c:pt>
                <c:pt idx="1">
                  <c:v>0.1705998566417205</c:v>
                </c:pt>
              </c:numCache>
            </c:numRef>
          </c:xVal>
          <c:yVal>
            <c:numRef>
              <c:f>Sheet1!$B$183:$B$184</c:f>
              <c:numCache>
                <c:formatCode>General</c:formatCode>
                <c:ptCount val="2"/>
                <c:pt idx="0">
                  <c:v>0.1237500487800983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05905052937928341</c:v>
                </c:pt>
                <c:pt idx="1">
                  <c:v>0.06978617724196735</c:v>
                </c:pt>
                <c:pt idx="2">
                  <c:v>0.08984125547904585</c:v>
                </c:pt>
                <c:pt idx="3">
                  <c:v>0.10122413587390813</c:v>
                </c:pt>
                <c:pt idx="4">
                  <c:v>0.1090235689073277</c:v>
                </c:pt>
                <c:pt idx="5">
                  <c:v>0.10568611412749837</c:v>
                </c:pt>
                <c:pt idx="6">
                  <c:v>0.09426184965162508</c:v>
                </c:pt>
                <c:pt idx="7">
                  <c:v>0.09256544664678272</c:v>
                </c:pt>
                <c:pt idx="8">
                  <c:v>0.1405962433779654</c:v>
                </c:pt>
                <c:pt idx="9">
                  <c:v>0.11323507632438412</c:v>
                </c:pt>
                <c:pt idx="10">
                  <c:v>0.13307421664517038</c:v>
                </c:pt>
                <c:pt idx="11">
                  <c:v>0.13036859206521642</c:v>
                </c:pt>
                <c:pt idx="12">
                  <c:v>0.16454807428508494</c:v>
                </c:pt>
                <c:pt idx="13">
                  <c:v>0.13131211097298692</c:v>
                </c:pt>
                <c:pt idx="14">
                  <c:v>0.11187773180635033</c:v>
                </c:pt>
                <c:pt idx="15">
                  <c:v>0.11015877622788446</c:v>
                </c:pt>
                <c:pt idx="16">
                  <c:v>0.07618947791816921</c:v>
                </c:pt>
                <c:pt idx="17">
                  <c:v>0.07330554634538701</c:v>
                </c:pt>
                <c:pt idx="18">
                  <c:v>0.09759254040850418</c:v>
                </c:pt>
                <c:pt idx="19">
                  <c:v>0.1204635037712428</c:v>
                </c:pt>
                <c:pt idx="20">
                  <c:v>0.10580141885781014</c:v>
                </c:pt>
                <c:pt idx="21">
                  <c:v>0.08106363131278153</c:v>
                </c:pt>
                <c:pt idx="22">
                  <c:v>0.0921001871679881</c:v>
                </c:pt>
                <c:pt idx="23">
                  <c:v>0.08144499313404457</c:v>
                </c:pt>
                <c:pt idx="24">
                  <c:v>0.08383593040573176</c:v>
                </c:pt>
                <c:pt idx="25">
                  <c:v>0.1077948652872496</c:v>
                </c:pt>
                <c:pt idx="26">
                  <c:v>0.09081902049780372</c:v>
                </c:pt>
                <c:pt idx="27">
                  <c:v>0.11391783606555257</c:v>
                </c:pt>
                <c:pt idx="28">
                  <c:v>0.11804502861155623</c:v>
                </c:pt>
                <c:pt idx="29">
                  <c:v>0.12614523795530685</c:v>
                </c:pt>
                <c:pt idx="30">
                  <c:v>0.13549588084376157</c:v>
                </c:pt>
                <c:pt idx="31">
                  <c:v>0.09968511839073552</c:v>
                </c:pt>
                <c:pt idx="32">
                  <c:v>0.09821348701114835</c:v>
                </c:pt>
                <c:pt idx="33">
                  <c:v>0.12120093051161526</c:v>
                </c:pt>
                <c:pt idx="34">
                  <c:v>0.10315502592045739</c:v>
                </c:pt>
                <c:pt idx="35">
                  <c:v>0.11626008041823756</c:v>
                </c:pt>
                <c:pt idx="36">
                  <c:v>0.08762873578187598</c:v>
                </c:pt>
                <c:pt idx="37">
                  <c:v>0.11420640443324626</c:v>
                </c:pt>
                <c:pt idx="38">
                  <c:v>0.10222675477084024</c:v>
                </c:pt>
                <c:pt idx="39">
                  <c:v>0.12623700634603913</c:v>
                </c:pt>
                <c:pt idx="40">
                  <c:v>0.11771319580925003</c:v>
                </c:pt>
                <c:pt idx="41">
                  <c:v>0.12902292912802935</c:v>
                </c:pt>
                <c:pt idx="42">
                  <c:v>0.12322488885107107</c:v>
                </c:pt>
                <c:pt idx="43">
                  <c:v>0.14163468444474372</c:v>
                </c:pt>
                <c:pt idx="44">
                  <c:v>0.13186531634684728</c:v>
                </c:pt>
                <c:pt idx="45">
                  <c:v>0.12689110286508754</c:v>
                </c:pt>
                <c:pt idx="46">
                  <c:v>0.0994459029852615</c:v>
                </c:pt>
                <c:pt idx="47">
                  <c:v>0.11286095077083283</c:v>
                </c:pt>
                <c:pt idx="48">
                  <c:v>0.13273342965455942</c:v>
                </c:pt>
                <c:pt idx="49">
                  <c:v>0.12253835237957023</c:v>
                </c:pt>
                <c:pt idx="50">
                  <c:v>0.13724827696417471</c:v>
                </c:pt>
                <c:pt idx="51">
                  <c:v>0.123522095957702</c:v>
                </c:pt>
                <c:pt idx="52">
                  <c:v>0.059554258151136845</c:v>
                </c:pt>
                <c:pt idx="53">
                  <c:v>-0.05540010705201457</c:v>
                </c:pt>
                <c:pt idx="54">
                  <c:v>0.1705998566417205</c:v>
                </c:pt>
              </c:numCache>
            </c:numRef>
          </c:xVal>
          <c:yVal>
            <c:numRef>
              <c:f>Sheet1!$B$187:$B$241</c:f>
              <c:numCache>
                <c:formatCode>General</c:formatCode>
                <c:ptCount val="55"/>
                <c:pt idx="0">
                  <c:v>0.14995980617665255</c:v>
                </c:pt>
                <c:pt idx="1">
                  <c:v>0.14743734608763925</c:v>
                </c:pt>
                <c:pt idx="2">
                  <c:v>0.1427251819889164</c:v>
                </c:pt>
                <c:pt idx="3">
                  <c:v>0.14005064740457565</c:v>
                </c:pt>
                <c:pt idx="4">
                  <c:v>0.138218083706942</c:v>
                </c:pt>
                <c:pt idx="5">
                  <c:v>0.1390022558955873</c:v>
                </c:pt>
                <c:pt idx="6">
                  <c:v>0.14168651413089034</c:v>
                </c:pt>
                <c:pt idx="7">
                  <c:v>0.14208510291932025</c:v>
                </c:pt>
                <c:pt idx="8">
                  <c:v>0.13079973203648376</c:v>
                </c:pt>
                <c:pt idx="9">
                  <c:v>0.13722854311190869</c:v>
                </c:pt>
                <c:pt idx="10">
                  <c:v>0.13256711603274152</c:v>
                </c:pt>
                <c:pt idx="11">
                  <c:v>0.1332028326756569</c:v>
                </c:pt>
                <c:pt idx="12">
                  <c:v>0.12517198247774403</c:v>
                </c:pt>
                <c:pt idx="13">
                  <c:v>0.1329811423949657</c:v>
                </c:pt>
                <c:pt idx="14">
                  <c:v>0.1375474663308494</c:v>
                </c:pt>
                <c:pt idx="15">
                  <c:v>0.1379513540977478</c:v>
                </c:pt>
                <c:pt idx="16">
                  <c:v>0.1459328192439623</c:v>
                </c:pt>
                <c:pt idx="17">
                  <c:v>0.14661043110165692</c:v>
                </c:pt>
                <c:pt idx="18">
                  <c:v>0.1409039312248064</c:v>
                </c:pt>
                <c:pt idx="19">
                  <c:v>0.13553014353935872</c:v>
                </c:pt>
                <c:pt idx="20">
                  <c:v>0.13897516376439914</c:v>
                </c:pt>
                <c:pt idx="21">
                  <c:v>0.14478758259286328</c:v>
                </c:pt>
                <c:pt idx="22">
                  <c:v>0.1421944208180913</c:v>
                </c:pt>
                <c:pt idx="23">
                  <c:v>0.14469797738357237</c:v>
                </c:pt>
                <c:pt idx="24">
                  <c:v>0.14413620003018798</c:v>
                </c:pt>
                <c:pt idx="25">
                  <c:v>0.13850678131350622</c:v>
                </c:pt>
                <c:pt idx="26">
                  <c:v>0.14249544520285592</c:v>
                </c:pt>
                <c:pt idx="27">
                  <c:v>0.1370681211029614</c:v>
                </c:pt>
                <c:pt idx="28">
                  <c:v>0.13609839122637388</c:v>
                </c:pt>
                <c:pt idx="29">
                  <c:v>0.13419515678317975</c:v>
                </c:pt>
                <c:pt idx="30">
                  <c:v>0.13199811904550135</c:v>
                </c:pt>
                <c:pt idx="31">
                  <c:v>0.14041225671099583</c:v>
                </c:pt>
                <c:pt idx="32">
                  <c:v>0.1407580329015182</c:v>
                </c:pt>
                <c:pt idx="33">
                  <c:v>0.13535687690981266</c:v>
                </c:pt>
                <c:pt idx="34">
                  <c:v>0.13959696327288731</c:v>
                </c:pt>
                <c:pt idx="35">
                  <c:v>0.13651778469346523</c:v>
                </c:pt>
                <c:pt idx="36">
                  <c:v>0.14324503814512154</c:v>
                </c:pt>
                <c:pt idx="37">
                  <c:v>0.1370003187495525</c:v>
                </c:pt>
                <c:pt idx="38">
                  <c:v>0.1398150709228998</c:v>
                </c:pt>
                <c:pt idx="39">
                  <c:v>0.1341735947772332</c:v>
                </c:pt>
                <c:pt idx="40">
                  <c:v>0.13617635904077588</c:v>
                </c:pt>
                <c:pt idx="41">
                  <c:v>0.1335190111770138</c:v>
                </c:pt>
                <c:pt idx="42">
                  <c:v>0.13488132534567757</c:v>
                </c:pt>
                <c:pt idx="43">
                  <c:v>0.13055573873684828</c:v>
                </c:pt>
                <c:pt idx="44">
                  <c:v>0.1328511606281977</c:v>
                </c:pt>
                <c:pt idx="45">
                  <c:v>0.13401990751170756</c:v>
                </c:pt>
                <c:pt idx="46">
                  <c:v>0.14046846303600793</c:v>
                </c:pt>
                <c:pt idx="47">
                  <c:v>0.13731644807946947</c:v>
                </c:pt>
                <c:pt idx="48">
                  <c:v>0.13264718773345918</c:v>
                </c:pt>
                <c:pt idx="49">
                  <c:v>0.13504263473949926</c:v>
                </c:pt>
                <c:pt idx="50">
                  <c:v>0.13158637405065582</c:v>
                </c:pt>
                <c:pt idx="51">
                  <c:v>0.13481149322429684</c:v>
                </c:pt>
                <c:pt idx="52">
                  <c:v>0.14984144948882708</c:v>
                </c:pt>
                <c:pt idx="53">
                  <c:v>0.17685125849073272</c:v>
                </c:pt>
                <c:pt idx="54">
                  <c:v>0.1237500487800983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63097757088447"/>
          <c:min val="0.0719568853372979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4074124569866173</c:v>
                </c:pt>
                <c:pt idx="1">
                  <c:v>4.615889462265177</c:v>
                </c:pt>
                <c:pt idx="2">
                  <c:v>4.450229158299708</c:v>
                </c:pt>
                <c:pt idx="3">
                  <c:v>3.481328665545739</c:v>
                </c:pt>
                <c:pt idx="4">
                  <c:v>4.039241008249752</c:v>
                </c:pt>
                <c:pt idx="5">
                  <c:v>5.229882354156703</c:v>
                </c:pt>
                <c:pt idx="6">
                  <c:v>3.9534916473686645</c:v>
                </c:pt>
                <c:pt idx="7">
                  <c:v>2.80950855408974</c:v>
                </c:pt>
                <c:pt idx="8">
                  <c:v>4.7158615612828125</c:v>
                </c:pt>
                <c:pt idx="9">
                  <c:v>4.199286519738798</c:v>
                </c:pt>
                <c:pt idx="10">
                  <c:v>3.930887708538971</c:v>
                </c:pt>
                <c:pt idx="11">
                  <c:v>3.2791218619584552</c:v>
                </c:pt>
                <c:pt idx="12">
                  <c:v>5.322811731278501</c:v>
                </c:pt>
                <c:pt idx="13">
                  <c:v>3.9603982545093945</c:v>
                </c:pt>
                <c:pt idx="14">
                  <c:v>0.0</c:v>
                </c:pt>
                <c:pt idx="15">
                  <c:v>2.760039801053566</c:v>
                </c:pt>
                <c:pt idx="16">
                  <c:v>1.5809498403461022</c:v>
                </c:pt>
                <c:pt idx="17">
                  <c:v>4.666717305514024</c:v>
                </c:pt>
                <c:pt idx="18">
                  <c:v>0.0</c:v>
                </c:pt>
                <c:pt idx="19">
                  <c:v>2.6496338431529516</c:v>
                </c:pt>
                <c:pt idx="20">
                  <c:v>3.5586268756193604</c:v>
                </c:pt>
                <c:pt idx="21">
                  <c:v>4.231978170098435</c:v>
                </c:pt>
                <c:pt idx="22">
                  <c:v>3.320128191685775</c:v>
                </c:pt>
                <c:pt idx="23">
                  <c:v>3.9253940797669444</c:v>
                </c:pt>
                <c:pt idx="24">
                  <c:v>3.7221580632261864</c:v>
                </c:pt>
                <c:pt idx="25">
                  <c:v>2.653476939090491</c:v>
                </c:pt>
                <c:pt idx="26">
                  <c:v>3.723195911812249</c:v>
                </c:pt>
                <c:pt idx="27">
                  <c:v>9.097649057074152</c:v>
                </c:pt>
                <c:pt idx="28">
                  <c:v>1.9404996203572065</c:v>
                </c:pt>
                <c:pt idx="29">
                  <c:v>4.1129767964101696</c:v>
                </c:pt>
                <c:pt idx="30">
                  <c:v>2.2398605720406994</c:v>
                </c:pt>
                <c:pt idx="31">
                  <c:v>2.920058908102486</c:v>
                </c:pt>
                <c:pt idx="32">
                  <c:v>4.930807758654919</c:v>
                </c:pt>
                <c:pt idx="33">
                  <c:v>2.2536056404105267</c:v>
                </c:pt>
                <c:pt idx="34">
                  <c:v>2.1549977216912457</c:v>
                </c:pt>
                <c:pt idx="35">
                  <c:v>2.3976043486561</c:v>
                </c:pt>
                <c:pt idx="36">
                  <c:v>4.062515804330188</c:v>
                </c:pt>
                <c:pt idx="37">
                  <c:v>2.7386412399734086</c:v>
                </c:pt>
                <c:pt idx="38">
                  <c:v>4.646906650722172</c:v>
                </c:pt>
                <c:pt idx="39">
                  <c:v>3.4366661831433967</c:v>
                </c:pt>
                <c:pt idx="40">
                  <c:v>5.184091857143022</c:v>
                </c:pt>
                <c:pt idx="41">
                  <c:v>3.0932735301742866</c:v>
                </c:pt>
                <c:pt idx="42">
                  <c:v>6.287898692353348</c:v>
                </c:pt>
                <c:pt idx="43">
                  <c:v>4.314492409800739</c:v>
                </c:pt>
                <c:pt idx="44">
                  <c:v>2.823381004079519</c:v>
                </c:pt>
                <c:pt idx="45">
                  <c:v>2.8321546337601444</c:v>
                </c:pt>
                <c:pt idx="46">
                  <c:v>2.6751752754590647</c:v>
                </c:pt>
                <c:pt idx="47">
                  <c:v>2.278598406487121</c:v>
                </c:pt>
                <c:pt idx="48">
                  <c:v>2.982881112546417</c:v>
                </c:pt>
                <c:pt idx="49">
                  <c:v>2.399177259727395</c:v>
                </c:pt>
                <c:pt idx="50">
                  <c:v>2.8525047373503787</c:v>
                </c:pt>
                <c:pt idx="51">
                  <c:v>2.6556500049548606</c:v>
                </c:pt>
                <c:pt idx="52">
                  <c:v>3.1460864532174146</c:v>
                </c:pt>
                <c:pt idx="53">
                  <c:v>2.343591463382834</c:v>
                </c:pt>
                <c:pt idx="54">
                  <c:v>2.3764925322902384</c:v>
                </c:pt>
                <c:pt idx="55">
                  <c:v>2.8242128913232203</c:v>
                </c:pt>
                <c:pt idx="56">
                  <c:v>5.844968822896939</c:v>
                </c:pt>
                <c:pt idx="57">
                  <c:v>2.3054701302828</c:v>
                </c:pt>
                <c:pt idx="58">
                  <c:v>2.4271482044196393</c:v>
                </c:pt>
                <c:pt idx="59">
                  <c:v>2.027622682394199</c:v>
                </c:pt>
                <c:pt idx="60">
                  <c:v>1.7648605236195334</c:v>
                </c:pt>
                <c:pt idx="61">
                  <c:v>1.7700498751581837</c:v>
                </c:pt>
                <c:pt idx="62">
                  <c:v>1.850716697798237</c:v>
                </c:pt>
                <c:pt idx="63">
                  <c:v>1.5126414307179636</c:v>
                </c:pt>
                <c:pt idx="64">
                  <c:v>1.6830313757383977</c:v>
                </c:pt>
                <c:pt idx="65">
                  <c:v>1.6381324421478691</c:v>
                </c:pt>
                <c:pt idx="66">
                  <c:v>1.5308467534800612</c:v>
                </c:pt>
                <c:pt idx="67">
                  <c:v>2.0564082611303967</c:v>
                </c:pt>
                <c:pt idx="68">
                  <c:v>1.5278214862746422</c:v>
                </c:pt>
                <c:pt idx="69">
                  <c:v>1.3656692249350604</c:v>
                </c:pt>
                <c:pt idx="70">
                  <c:v>1.4362260433285536</c:v>
                </c:pt>
                <c:pt idx="71">
                  <c:v>1.0738223068579316</c:v>
                </c:pt>
                <c:pt idx="72">
                  <c:v>1.7223418210448218</c:v>
                </c:pt>
                <c:pt idx="73">
                  <c:v>1.1461978848309389</c:v>
                </c:pt>
                <c:pt idx="74">
                  <c:v>1.4173879838635173</c:v>
                </c:pt>
                <c:pt idx="75">
                  <c:v>2.206293724204793</c:v>
                </c:pt>
                <c:pt idx="76">
                  <c:v>2.1641791336002636</c:v>
                </c:pt>
                <c:pt idx="77">
                  <c:v>2.5233763991417453</c:v>
                </c:pt>
                <c:pt idx="78">
                  <c:v>1.699840481374918</c:v>
                </c:pt>
                <c:pt idx="79">
                  <c:v>2.653286876263026</c:v>
                </c:pt>
                <c:pt idx="80">
                  <c:v>2.4932676843397275</c:v>
                </c:pt>
                <c:pt idx="81">
                  <c:v>2.0316807492047233</c:v>
                </c:pt>
                <c:pt idx="82">
                  <c:v>2.396808604703136</c:v>
                </c:pt>
                <c:pt idx="83">
                  <c:v>2.407157884250548</c:v>
                </c:pt>
                <c:pt idx="84">
                  <c:v>2.382414064228138</c:v>
                </c:pt>
                <c:pt idx="85">
                  <c:v>2.0731321374634772</c:v>
                </c:pt>
                <c:pt idx="86">
                  <c:v>2.8368552593169185</c:v>
                </c:pt>
                <c:pt idx="87">
                  <c:v>2.96323584474941</c:v>
                </c:pt>
                <c:pt idx="88">
                  <c:v>2.3631691721370216</c:v>
                </c:pt>
                <c:pt idx="89">
                  <c:v>2.147002135127102</c:v>
                </c:pt>
                <c:pt idx="90">
                  <c:v>2.2467928548239167</c:v>
                </c:pt>
                <c:pt idx="91">
                  <c:v>2.179736145569139</c:v>
                </c:pt>
                <c:pt idx="92">
                  <c:v>2.4619050496131414</c:v>
                </c:pt>
                <c:pt idx="93">
                  <c:v>2.4717474828959483</c:v>
                </c:pt>
                <c:pt idx="94">
                  <c:v>2.9130138794975053</c:v>
                </c:pt>
                <c:pt idx="95">
                  <c:v>2.64943301031113</c:v>
                </c:pt>
                <c:pt idx="96">
                  <c:v>2.123629861958632</c:v>
                </c:pt>
                <c:pt idx="97">
                  <c:v>2.3582051003896494</c:v>
                </c:pt>
                <c:pt idx="98">
                  <c:v>2.323908701256022</c:v>
                </c:pt>
                <c:pt idx="99">
                  <c:v>2.434207664789987</c:v>
                </c:pt>
                <c:pt idx="100">
                  <c:v>2.7451056936477585</c:v>
                </c:pt>
                <c:pt idx="101">
                  <c:v>2.3961725919000245</c:v>
                </c:pt>
                <c:pt idx="102">
                  <c:v>2.371578525659041</c:v>
                </c:pt>
                <c:pt idx="103">
                  <c:v>2.525143936343305</c:v>
                </c:pt>
                <c:pt idx="104">
                  <c:v>2.724987577056769</c:v>
                </c:pt>
              </c:numCache>
            </c:numRef>
          </c:xVal>
          <c:yVal>
            <c:numRef>
              <c:f>Sheet1!$B$2:$B$106</c:f>
              <c:numCache>
                <c:formatCode>General</c:formatCode>
                <c:ptCount val="105"/>
                <c:pt idx="0">
                  <c:v>0.00031891666462232905</c:v>
                </c:pt>
                <c:pt idx="1">
                  <c:v>7.925395609330832e-05</c:v>
                </c:pt>
                <c:pt idx="2">
                  <c:v>7.552299675251114e-05</c:v>
                </c:pt>
                <c:pt idx="3">
                  <c:v>8.004482510205715e-05</c:v>
                </c:pt>
                <c:pt idx="4">
                  <c:v>6.23966555392631e-05</c:v>
                </c:pt>
                <c:pt idx="5">
                  <c:v>9.592939596457007e-05</c:v>
                </c:pt>
                <c:pt idx="6">
                  <c:v>0.00018364348677766894</c:v>
                </c:pt>
                <c:pt idx="7">
                  <c:v>0.00021239689900527452</c:v>
                </c:pt>
                <c:pt idx="8">
                  <c:v>0.00011040777270719859</c:v>
                </c:pt>
                <c:pt idx="9">
                  <c:v>0.00013936505281935503</c:v>
                </c:pt>
                <c:pt idx="10">
                  <c:v>0.00010755868670843529</c:v>
                </c:pt>
                <c:pt idx="11">
                  <c:v>0.00018949648077964268</c:v>
                </c:pt>
                <c:pt idx="12">
                  <c:v>0.0001240664003374606</c:v>
                </c:pt>
                <c:pt idx="13">
                  <c:v>0.0001557955961778147</c:v>
                </c:pt>
                <c:pt idx="14">
                  <c:v>0.0</c:v>
                </c:pt>
                <c:pt idx="15">
                  <c:v>0.0001552891483943102</c:v>
                </c:pt>
                <c:pt idx="16">
                  <c:v>0.00014245014245014244</c:v>
                </c:pt>
                <c:pt idx="17">
                  <c:v>7.810974419058778e-05</c:v>
                </c:pt>
                <c:pt idx="18">
                  <c:v>0.0</c:v>
                </c:pt>
                <c:pt idx="19">
                  <c:v>0.00015323322096230462</c:v>
                </c:pt>
                <c:pt idx="20">
                  <c:v>0.00012568077084206116</c:v>
                </c:pt>
                <c:pt idx="21">
                  <c:v>5.258176464402145e-05</c:v>
                </c:pt>
                <c:pt idx="22">
                  <c:v>0.00020876826722338206</c:v>
                </c:pt>
                <c:pt idx="23">
                  <c:v>0.00016326530612244898</c:v>
                </c:pt>
                <c:pt idx="24">
                  <c:v>0.00020263424518743666</c:v>
                </c:pt>
                <c:pt idx="25">
                  <c:v>0.00034784625195663515</c:v>
                </c:pt>
                <c:pt idx="26">
                  <c:v>0.00025718841623373286</c:v>
                </c:pt>
                <c:pt idx="27">
                  <c:v>5.061241016297196e-05</c:v>
                </c:pt>
                <c:pt idx="28">
                  <c:v>0.0002570694087403599</c:v>
                </c:pt>
                <c:pt idx="29">
                  <c:v>0.00017968644714972374</c:v>
                </c:pt>
                <c:pt idx="30">
                  <c:v>0.00023078698361412417</c:v>
                </c:pt>
                <c:pt idx="31">
                  <c:v>0.0002249212775528565</c:v>
                </c:pt>
                <c:pt idx="32">
                  <c:v>0.00011039355301650383</c:v>
                </c:pt>
                <c:pt idx="33">
                  <c:v>0.00039227651135422567</c:v>
                </c:pt>
                <c:pt idx="34">
                  <c:v>0.0004630165528417641</c:v>
                </c:pt>
                <c:pt idx="35">
                  <c:v>0.0004770504651242035</c:v>
                </c:pt>
                <c:pt idx="36">
                  <c:v>0.00016523463317911433</c:v>
                </c:pt>
                <c:pt idx="37">
                  <c:v>0.00019287333044023337</c:v>
                </c:pt>
                <c:pt idx="38">
                  <c:v>9.664637092877162e-05</c:v>
                </c:pt>
                <c:pt idx="39">
                  <c:v>0.00020469781485082646</c:v>
                </c:pt>
                <c:pt idx="40">
                  <c:v>8.289468230613006e-05</c:v>
                </c:pt>
                <c:pt idx="41">
                  <c:v>0.0001376399339328317</c:v>
                </c:pt>
                <c:pt idx="42">
                  <c:v>3.913894324853229e-05</c:v>
                </c:pt>
                <c:pt idx="43">
                  <c:v>0.00010425716768027802</c:v>
                </c:pt>
                <c:pt idx="44">
                  <c:v>0.00014063708599957808</c:v>
                </c:pt>
                <c:pt idx="45">
                  <c:v>0.0001060332944544587</c:v>
                </c:pt>
                <c:pt idx="46">
                  <c:v>0.00022583559168925022</c:v>
                </c:pt>
                <c:pt idx="47">
                  <c:v>0.000293581059827626</c:v>
                </c:pt>
                <c:pt idx="48">
                  <c:v>0.00015294027682190105</c:v>
                </c:pt>
                <c:pt idx="49">
                  <c:v>0.00016961550285696112</c:v>
                </c:pt>
                <c:pt idx="50">
                  <c:v>0.0002012477359629704</c:v>
                </c:pt>
                <c:pt idx="51">
                  <c:v>0.0002486139770777913</c:v>
                </c:pt>
                <c:pt idx="52">
                  <c:v>8.450228156160216e-05</c:v>
                </c:pt>
                <c:pt idx="53">
                  <c:v>0.0001316586354899018</c:v>
                </c:pt>
                <c:pt idx="54">
                  <c:v>0.0002624289254993439</c:v>
                </c:pt>
                <c:pt idx="55">
                  <c:v>0.00014956178397295924</c:v>
                </c:pt>
                <c:pt idx="56">
                  <c:v>6.046680372475511e-05</c:v>
                </c:pt>
                <c:pt idx="57">
                  <c:v>0.00010392849719393057</c:v>
                </c:pt>
                <c:pt idx="58">
                  <c:v>9.544716999140975e-05</c:v>
                </c:pt>
                <c:pt idx="59">
                  <c:v>0.0001570869790603057</c:v>
                </c:pt>
                <c:pt idx="60">
                  <c:v>0.0002410260824653525</c:v>
                </c:pt>
                <c:pt idx="61">
                  <c:v>0.00032864621235240263</c:v>
                </c:pt>
                <c:pt idx="62">
                  <c:v>0.00027110679348440006</c:v>
                </c:pt>
                <c:pt idx="63">
                  <c:v>0.00036864849366129393</c:v>
                </c:pt>
                <c:pt idx="64">
                  <c:v>0.0003807615230460922</c:v>
                </c:pt>
                <c:pt idx="65">
                  <c:v>0.00032711808963035657</c:v>
                </c:pt>
                <c:pt idx="66">
                  <c:v>0.0002484135407962783</c:v>
                </c:pt>
                <c:pt idx="67">
                  <c:v>0.0002141174791235458</c:v>
                </c:pt>
                <c:pt idx="68">
                  <c:v>0.0003691608689478915</c:v>
                </c:pt>
                <c:pt idx="69">
                  <c:v>0.00041263410608447746</c:v>
                </c:pt>
                <c:pt idx="70">
                  <c:v>0.0003591051100657162</c:v>
                </c:pt>
                <c:pt idx="71">
                  <c:v>0.0003860854793251226</c:v>
                </c:pt>
                <c:pt idx="72">
                  <c:v>0.00040169442009932807</c:v>
                </c:pt>
                <c:pt idx="73">
                  <c:v>0.0007383515330509462</c:v>
                </c:pt>
                <c:pt idx="74">
                  <c:v>0.0007898597058712905</c:v>
                </c:pt>
                <c:pt idx="75">
                  <c:v>0.0007884708046782601</c:v>
                </c:pt>
                <c:pt idx="76">
                  <c:v>0.0010745153001635132</c:v>
                </c:pt>
                <c:pt idx="77">
                  <c:v>0.0011077397293262053</c:v>
                </c:pt>
                <c:pt idx="78">
                  <c:v>0.0018812147272238647</c:v>
                </c:pt>
                <c:pt idx="79">
                  <c:v>0.0011912703707233393</c:v>
                </c:pt>
                <c:pt idx="80">
                  <c:v>0.0011436195558944058</c:v>
                </c:pt>
                <c:pt idx="81">
                  <c:v>0.0016303240269003464</c:v>
                </c:pt>
                <c:pt idx="82">
                  <c:v>0.0013089005235602095</c:v>
                </c:pt>
                <c:pt idx="83">
                  <c:v>0.001287395782246199</c:v>
                </c:pt>
                <c:pt idx="84">
                  <c:v>0.0012380068090374497</c:v>
                </c:pt>
                <c:pt idx="85">
                  <c:v>0.0011462256427050926</c:v>
                </c:pt>
                <c:pt idx="86">
                  <c:v>0.0010637427379101548</c:v>
                </c:pt>
                <c:pt idx="87">
                  <c:v>0.0009602827072290082</c:v>
                </c:pt>
                <c:pt idx="88">
                  <c:v>0.001459356910054969</c:v>
                </c:pt>
                <c:pt idx="89">
                  <c:v>0.0018212984786800943</c:v>
                </c:pt>
                <c:pt idx="90">
                  <c:v>0.0017051705170517053</c:v>
                </c:pt>
                <c:pt idx="91">
                  <c:v>0.0016994158258098779</c:v>
                </c:pt>
                <c:pt idx="92">
                  <c:v>0.0014476709529081156</c:v>
                </c:pt>
                <c:pt idx="93">
                  <c:v>0.0014341911162104573</c:v>
                </c:pt>
                <c:pt idx="94">
                  <c:v>0.0013409784518634976</c:v>
                </c:pt>
                <c:pt idx="95">
                  <c:v>0.0015918173812910655</c:v>
                </c:pt>
                <c:pt idx="96">
                  <c:v>0.0021358186495801174</c:v>
                </c:pt>
                <c:pt idx="97">
                  <c:v>0.0024340169746227274</c:v>
                </c:pt>
                <c:pt idx="98">
                  <c:v>0.002288203851504723</c:v>
                </c:pt>
                <c:pt idx="99">
                  <c:v>0.0021538071709109336</c:v>
                </c:pt>
                <c:pt idx="100">
                  <c:v>0.0016596553909986745</c:v>
                </c:pt>
                <c:pt idx="101">
                  <c:v>0.002235498931708475</c:v>
                </c:pt>
                <c:pt idx="102">
                  <c:v>0.0018664144933306789</c:v>
                </c:pt>
                <c:pt idx="103">
                  <c:v>0.001825415399017084</c:v>
                </c:pt>
                <c:pt idx="104">
                  <c:v>0.001356668023334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2.5299357537968614</c:v>
                </c:pt>
                <c:pt idx="1">
                  <c:v>2.0804513634473034</c:v>
                </c:pt>
                <c:pt idx="2">
                  <c:v>2.466422259533966</c:v>
                </c:pt>
                <c:pt idx="3">
                  <c:v>2.1018023276545015</c:v>
                </c:pt>
                <c:pt idx="4">
                  <c:v>2.4548024523273217</c:v>
                </c:pt>
                <c:pt idx="5">
                  <c:v>2.6503437057143784</c:v>
                </c:pt>
                <c:pt idx="6">
                  <c:v>2.719150549671889</c:v>
                </c:pt>
                <c:pt idx="7">
                  <c:v>2.6213727008941157</c:v>
                </c:pt>
                <c:pt idx="8">
                  <c:v>2.4296644565621515</c:v>
                </c:pt>
                <c:pt idx="9">
                  <c:v>2.395594639437104</c:v>
                </c:pt>
                <c:pt idx="10">
                  <c:v>2.4299278911151263</c:v>
                </c:pt>
                <c:pt idx="11">
                  <c:v>2.605347872225586</c:v>
                </c:pt>
                <c:pt idx="12">
                  <c:v>2.3447510842314223</c:v>
                </c:pt>
                <c:pt idx="13">
                  <c:v>1.9922495293256943</c:v>
                </c:pt>
                <c:pt idx="14">
                  <c:v>2.0105680770354963</c:v>
                </c:pt>
                <c:pt idx="15">
                  <c:v>2.1256922196451424</c:v>
                </c:pt>
                <c:pt idx="16">
                  <c:v>2.2191758329735065</c:v>
                </c:pt>
                <c:pt idx="17">
                  <c:v>1.706311221272135</c:v>
                </c:pt>
                <c:pt idx="18">
                  <c:v>2.4305758632020624</c:v>
                </c:pt>
                <c:pt idx="19">
                  <c:v>2.4799780567277216</c:v>
                </c:pt>
                <c:pt idx="20">
                  <c:v>2.2986035931871402</c:v>
                </c:pt>
                <c:pt idx="21">
                  <c:v>1.8636495217657558</c:v>
                </c:pt>
                <c:pt idx="22">
                  <c:v>2.02981563785494</c:v>
                </c:pt>
                <c:pt idx="23">
                  <c:v>1.6624264534030204</c:v>
                </c:pt>
                <c:pt idx="24">
                  <c:v>2.131112863999382</c:v>
                </c:pt>
                <c:pt idx="25">
                  <c:v>2.1123336827798394</c:v>
                </c:pt>
                <c:pt idx="26">
                  <c:v>2.1045327371013127</c:v>
                </c:pt>
                <c:pt idx="27">
                  <c:v>2.0356311416433672</c:v>
                </c:pt>
                <c:pt idx="28">
                  <c:v>2.066032415548499</c:v>
                </c:pt>
                <c:pt idx="29">
                  <c:v>1.951464903987336</c:v>
                </c:pt>
                <c:pt idx="30">
                  <c:v>1.9019675410951689</c:v>
                </c:pt>
                <c:pt idx="31">
                  <c:v>2.0915536328256836</c:v>
                </c:pt>
                <c:pt idx="32">
                  <c:v>2.330814710074526</c:v>
                </c:pt>
                <c:pt idx="33">
                  <c:v>2.3578605698610375</c:v>
                </c:pt>
                <c:pt idx="34">
                  <c:v>2.4754686978476426</c:v>
                </c:pt>
                <c:pt idx="35">
                  <c:v>2.198830046355265</c:v>
                </c:pt>
                <c:pt idx="36">
                  <c:v>1.9871221131841306</c:v>
                </c:pt>
                <c:pt idx="37">
                  <c:v>2.033633934545479</c:v>
                </c:pt>
                <c:pt idx="38">
                  <c:v>1.7848789525363729</c:v>
                </c:pt>
                <c:pt idx="39">
                  <c:v>1.7595384332000432</c:v>
                </c:pt>
                <c:pt idx="40">
                  <c:v>1.6756989218450542</c:v>
                </c:pt>
                <c:pt idx="41">
                  <c:v>1.8396367635622564</c:v>
                </c:pt>
                <c:pt idx="42">
                  <c:v>1.695919384942588</c:v>
                </c:pt>
                <c:pt idx="43">
                  <c:v>1.9395101875806626</c:v>
                </c:pt>
                <c:pt idx="44">
                  <c:v>2.465380332418277</c:v>
                </c:pt>
                <c:pt idx="45">
                  <c:v>2.6319498900019873</c:v>
                </c:pt>
                <c:pt idx="46">
                  <c:v>2.6826949139091765</c:v>
                </c:pt>
                <c:pt idx="47">
                  <c:v>2.5143752353230826</c:v>
                </c:pt>
                <c:pt idx="48">
                  <c:v>2.474335727547163</c:v>
                </c:pt>
                <c:pt idx="49">
                  <c:v>2.559559397874464</c:v>
                </c:pt>
                <c:pt idx="50">
                  <c:v>2.741835465309002</c:v>
                </c:pt>
                <c:pt idx="51">
                  <c:v>2.8985041079133613</c:v>
                </c:pt>
              </c:numCache>
            </c:numRef>
          </c:xVal>
          <c:yVal>
            <c:numRef>
              <c:f>Sheet1!$B$109:$B$160</c:f>
              <c:numCache>
                <c:formatCode>General</c:formatCode>
                <c:ptCount val="52"/>
                <c:pt idx="0">
                  <c:v>0.001457509881422925</c:v>
                </c:pt>
                <c:pt idx="1">
                  <c:v>0.0017574231455251286</c:v>
                </c:pt>
                <c:pt idx="2">
                  <c:v>0.0015984203845611396</c:v>
                </c:pt>
                <c:pt idx="3">
                  <c:v>0.0016922064491868007</c:v>
                </c:pt>
                <c:pt idx="4">
                  <c:v>0.0016828857832735787</c:v>
                </c:pt>
                <c:pt idx="5">
                  <c:v>0.0014700117600940808</c:v>
                </c:pt>
                <c:pt idx="6">
                  <c:v>0.0015873015873015873</c:v>
                </c:pt>
                <c:pt idx="7">
                  <c:v>0.0018249897737641987</c:v>
                </c:pt>
                <c:pt idx="8">
                  <c:v>0.002156697556866049</c:v>
                </c:pt>
                <c:pt idx="9">
                  <c:v>0.0022656734947237743</c:v>
                </c:pt>
                <c:pt idx="10">
                  <c:v>0.00216855301072394</c:v>
                </c:pt>
                <c:pt idx="11">
                  <c:v>0.002222671246716508</c:v>
                </c:pt>
                <c:pt idx="12">
                  <c:v>0.0022723829722769277</c:v>
                </c:pt>
                <c:pt idx="13">
                  <c:v>0.003267112820783053</c:v>
                </c:pt>
                <c:pt idx="14">
                  <c:v>0.003253449527959332</c:v>
                </c:pt>
                <c:pt idx="15">
                  <c:v>0.0030752982107355863</c:v>
                </c:pt>
                <c:pt idx="16">
                  <c:v>0.003027027027027027</c:v>
                </c:pt>
                <c:pt idx="17">
                  <c:v>0.0038471693131671256</c:v>
                </c:pt>
                <c:pt idx="18">
                  <c:v>0.0021012241914854742</c:v>
                </c:pt>
                <c:pt idx="19">
                  <c:v>0.0018450184501845018</c:v>
                </c:pt>
                <c:pt idx="20">
                  <c:v>0.0021869619840863617</c:v>
                </c:pt>
                <c:pt idx="21">
                  <c:v>0.0031607378886270906</c:v>
                </c:pt>
                <c:pt idx="22">
                  <c:v>0.0026081533140556784</c:v>
                </c:pt>
                <c:pt idx="23">
                  <c:v>0.002629118953026408</c:v>
                </c:pt>
                <c:pt idx="24">
                  <c:v>0.002383144667713806</c:v>
                </c:pt>
                <c:pt idx="25">
                  <c:v>0.0025560920193126954</c:v>
                </c:pt>
                <c:pt idx="26">
                  <c:v>0.00275974025974026</c:v>
                </c:pt>
                <c:pt idx="27">
                  <c:v>0.00279452860714811</c:v>
                </c:pt>
                <c:pt idx="28">
                  <c:v>0.002308341101788964</c:v>
                </c:pt>
                <c:pt idx="29">
                  <c:v>0.0026159841973199508</c:v>
                </c:pt>
                <c:pt idx="30">
                  <c:v>0.0025581136692247805</c:v>
                </c:pt>
                <c:pt idx="31">
                  <c:v>0.0026047976738551005</c:v>
                </c:pt>
                <c:pt idx="32">
                  <c:v>0.0022266991835436325</c:v>
                </c:pt>
                <c:pt idx="33">
                  <c:v>0.002169677647892313</c:v>
                </c:pt>
                <c:pt idx="34">
                  <c:v>0.0019911428473342718</c:v>
                </c:pt>
                <c:pt idx="35">
                  <c:v>0.0024312852845427948</c:v>
                </c:pt>
                <c:pt idx="36">
                  <c:v>0.0030529392659954533</c:v>
                </c:pt>
                <c:pt idx="37">
                  <c:v>0.0030101302460202603</c:v>
                </c:pt>
                <c:pt idx="38">
                  <c:v>0.0035083160083160085</c:v>
                </c:pt>
                <c:pt idx="39">
                  <c:v>0.0032721582017356666</c:v>
                </c:pt>
                <c:pt idx="40">
                  <c:v>0.0030994124994217515</c:v>
                </c:pt>
                <c:pt idx="41">
                  <c:v>0.0025199860966284324</c:v>
                </c:pt>
                <c:pt idx="42">
                  <c:v>0.002878750914857282</c:v>
                </c:pt>
                <c:pt idx="43">
                  <c:v>0.0021096292058497513</c:v>
                </c:pt>
                <c:pt idx="44">
                  <c:v>0.0015517493778363343</c:v>
                </c:pt>
                <c:pt idx="45">
                  <c:v>0.001299645351014384</c:v>
                </c:pt>
                <c:pt idx="46">
                  <c:v>0.0013464635530797053</c:v>
                </c:pt>
                <c:pt idx="47">
                  <c:v>0.0013384558185648779</c:v>
                </c:pt>
                <c:pt idx="48">
                  <c:v>0.0014958863126402393</c:v>
                </c:pt>
                <c:pt idx="49">
                  <c:v>0.0013139124558900817</c:v>
                </c:pt>
                <c:pt idx="50">
                  <c:v>0.0011037664479803555</c:v>
                </c:pt>
                <c:pt idx="51">
                  <c:v>0.001310869471784071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0141192398718686</c:v>
                </c:pt>
              </c:numCache>
            </c:numRef>
          </c:xVal>
          <c:yVal>
            <c:numRef>
              <c:f>Sheet1!$B$163:$B$164</c:f>
              <c:numCache>
                <c:formatCode>General</c:formatCode>
                <c:ptCount val="2"/>
                <c:pt idx="0">
                  <c:v>0.0026687138568074384</c:v>
                </c:pt>
                <c:pt idx="1">
                  <c:v>0.002668713856807438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0141192398718686</c:v>
                </c:pt>
                <c:pt idx="1">
                  <c:v>2.0141192398718686</c:v>
                </c:pt>
              </c:numCache>
            </c:numRef>
          </c:xVal>
          <c:yVal>
            <c:numRef>
              <c:f>Sheet1!$B$167:$B$168</c:f>
              <c:numCache>
                <c:formatCode>General</c:formatCode>
                <c:ptCount val="2"/>
                <c:pt idx="0">
                  <c:v>0.002668713856807438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0141192398718686</c:v>
                </c:pt>
              </c:numCache>
            </c:numRef>
          </c:xVal>
          <c:yVal>
            <c:numRef>
              <c:f>Sheet1!$B$171:$B$172</c:f>
              <c:numCache>
                <c:formatCode>General</c:formatCode>
                <c:ptCount val="2"/>
                <c:pt idx="0">
                  <c:v>0.0026687138568074384</c:v>
                </c:pt>
                <c:pt idx="1">
                  <c:v>0.002668713856807438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0141192398718686</c:v>
                </c:pt>
                <c:pt idx="1">
                  <c:v>2.0141192398718686</c:v>
                </c:pt>
              </c:numCache>
            </c:numRef>
          </c:xVal>
          <c:yVal>
            <c:numRef>
              <c:f>Sheet1!$B$175:$B$176</c:f>
              <c:numCache>
                <c:formatCode>General</c:formatCode>
                <c:ptCount val="2"/>
                <c:pt idx="0">
                  <c:v>0.00266871385680743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453131515301238</c:v>
                </c:pt>
              </c:numCache>
            </c:numRef>
          </c:xVal>
          <c:yVal>
            <c:numRef>
              <c:f>Sheet1!$B$179:$B$180</c:f>
              <c:numCache>
                <c:formatCode>General</c:formatCode>
                <c:ptCount val="2"/>
                <c:pt idx="0">
                  <c:v>0.0018954373620986874</c:v>
                </c:pt>
                <c:pt idx="1">
                  <c:v>0.001895437362098687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453131515301238</c:v>
                </c:pt>
                <c:pt idx="1">
                  <c:v>2.453131515301238</c:v>
                </c:pt>
              </c:numCache>
            </c:numRef>
          </c:xVal>
          <c:yVal>
            <c:numRef>
              <c:f>Sheet1!$B$183:$B$184</c:f>
              <c:numCache>
                <c:formatCode>General</c:formatCode>
                <c:ptCount val="2"/>
                <c:pt idx="0">
                  <c:v>0.001895437362098687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2.5299357537968614</c:v>
                </c:pt>
                <c:pt idx="1">
                  <c:v>2.0804513634473034</c:v>
                </c:pt>
                <c:pt idx="2">
                  <c:v>2.466422259533966</c:v>
                </c:pt>
                <c:pt idx="3">
                  <c:v>2.1018023276545015</c:v>
                </c:pt>
                <c:pt idx="4">
                  <c:v>2.4548024523273217</c:v>
                </c:pt>
                <c:pt idx="5">
                  <c:v>2.6503437057143784</c:v>
                </c:pt>
                <c:pt idx="6">
                  <c:v>2.719150549671889</c:v>
                </c:pt>
                <c:pt idx="7">
                  <c:v>2.6213727008941157</c:v>
                </c:pt>
                <c:pt idx="8">
                  <c:v>2.4296644565621515</c:v>
                </c:pt>
                <c:pt idx="9">
                  <c:v>2.395594639437104</c:v>
                </c:pt>
                <c:pt idx="10">
                  <c:v>2.4299278911151263</c:v>
                </c:pt>
                <c:pt idx="11">
                  <c:v>2.605347872225586</c:v>
                </c:pt>
                <c:pt idx="12">
                  <c:v>2.3447510842314223</c:v>
                </c:pt>
                <c:pt idx="13">
                  <c:v>1.9922495293256943</c:v>
                </c:pt>
                <c:pt idx="14">
                  <c:v>2.0105680770354963</c:v>
                </c:pt>
                <c:pt idx="15">
                  <c:v>2.1256922196451424</c:v>
                </c:pt>
                <c:pt idx="16">
                  <c:v>2.2191758329735065</c:v>
                </c:pt>
                <c:pt idx="17">
                  <c:v>1.706311221272135</c:v>
                </c:pt>
                <c:pt idx="18">
                  <c:v>2.4305758632020624</c:v>
                </c:pt>
                <c:pt idx="19">
                  <c:v>2.4799780567277216</c:v>
                </c:pt>
                <c:pt idx="20">
                  <c:v>2.2986035931871402</c:v>
                </c:pt>
                <c:pt idx="21">
                  <c:v>1.8636495217657558</c:v>
                </c:pt>
                <c:pt idx="22">
                  <c:v>2.02981563785494</c:v>
                </c:pt>
                <c:pt idx="23">
                  <c:v>1.6624264534030204</c:v>
                </c:pt>
                <c:pt idx="24">
                  <c:v>2.131112863999382</c:v>
                </c:pt>
                <c:pt idx="25">
                  <c:v>2.1123336827798394</c:v>
                </c:pt>
                <c:pt idx="26">
                  <c:v>2.1045327371013127</c:v>
                </c:pt>
                <c:pt idx="27">
                  <c:v>2.0356311416433672</c:v>
                </c:pt>
                <c:pt idx="28">
                  <c:v>2.066032415548499</c:v>
                </c:pt>
                <c:pt idx="29">
                  <c:v>1.951464903987336</c:v>
                </c:pt>
                <c:pt idx="30">
                  <c:v>1.9019675410951689</c:v>
                </c:pt>
                <c:pt idx="31">
                  <c:v>2.0915536328256836</c:v>
                </c:pt>
                <c:pt idx="32">
                  <c:v>2.330814710074526</c:v>
                </c:pt>
                <c:pt idx="33">
                  <c:v>2.3578605698610375</c:v>
                </c:pt>
                <c:pt idx="34">
                  <c:v>2.4754686978476426</c:v>
                </c:pt>
                <c:pt idx="35">
                  <c:v>2.198830046355265</c:v>
                </c:pt>
                <c:pt idx="36">
                  <c:v>1.9871221131841306</c:v>
                </c:pt>
                <c:pt idx="37">
                  <c:v>2.033633934545479</c:v>
                </c:pt>
                <c:pt idx="38">
                  <c:v>1.7848789525363729</c:v>
                </c:pt>
                <c:pt idx="39">
                  <c:v>1.7595384332000432</c:v>
                </c:pt>
                <c:pt idx="40">
                  <c:v>1.6756989218450542</c:v>
                </c:pt>
                <c:pt idx="41">
                  <c:v>1.8396367635622564</c:v>
                </c:pt>
                <c:pt idx="42">
                  <c:v>1.695919384942588</c:v>
                </c:pt>
                <c:pt idx="43">
                  <c:v>1.9395101875806626</c:v>
                </c:pt>
                <c:pt idx="44">
                  <c:v>2.465380332418277</c:v>
                </c:pt>
                <c:pt idx="45">
                  <c:v>2.6319498900019873</c:v>
                </c:pt>
                <c:pt idx="46">
                  <c:v>2.6826949139091765</c:v>
                </c:pt>
                <c:pt idx="47">
                  <c:v>2.5143752353230826</c:v>
                </c:pt>
                <c:pt idx="48">
                  <c:v>2.474335727547163</c:v>
                </c:pt>
                <c:pt idx="49">
                  <c:v>2.559559397874464</c:v>
                </c:pt>
                <c:pt idx="50">
                  <c:v>2.741835465309002</c:v>
                </c:pt>
                <c:pt idx="51">
                  <c:v>2.8985041079133613</c:v>
                </c:pt>
                <c:pt idx="52">
                  <c:v>2.0141192398718686</c:v>
                </c:pt>
                <c:pt idx="53">
                  <c:v>2.0141192398718686</c:v>
                </c:pt>
                <c:pt idx="54">
                  <c:v>2.453131515301238</c:v>
                </c:pt>
              </c:numCache>
            </c:numRef>
          </c:xVal>
          <c:yVal>
            <c:numRef>
              <c:f>Sheet1!$B$187:$B$241</c:f>
              <c:numCache>
                <c:formatCode>General</c:formatCode>
                <c:ptCount val="55"/>
                <c:pt idx="0">
                  <c:v>0.0017601543286924256</c:v>
                </c:pt>
                <c:pt idx="1">
                  <c:v>0.0025518764131281396</c:v>
                </c:pt>
                <c:pt idx="2">
                  <c:v>0.0018720270369493447</c:v>
                </c:pt>
                <c:pt idx="3">
                  <c:v>0.0025142688115077825</c:v>
                </c:pt>
                <c:pt idx="4">
                  <c:v>0.001892494172582756</c:v>
                </c:pt>
                <c:pt idx="5">
                  <c:v>0.0015480676873729452</c:v>
                </c:pt>
                <c:pt idx="6">
                  <c:v>0.0014268712696750632</c:v>
                </c:pt>
                <c:pt idx="7">
                  <c:v>0.0015990972332636444</c:v>
                </c:pt>
                <c:pt idx="8">
                  <c:v>0.0019367722539422863</c:v>
                </c:pt>
                <c:pt idx="9">
                  <c:v>0.0019967828509946306</c:v>
                </c:pt>
                <c:pt idx="10">
                  <c:v>0.0019363082401569988</c:v>
                </c:pt>
                <c:pt idx="11">
                  <c:v>0.0016273233764369519</c:v>
                </c:pt>
                <c:pt idx="12">
                  <c:v>0.0020863387207240777</c:v>
                </c:pt>
                <c:pt idx="13">
                  <c:v>0.002707235178551576</c:v>
                </c:pt>
                <c:pt idx="14">
                  <c:v>0.002674968877233836</c:v>
                </c:pt>
                <c:pt idx="15">
                  <c:v>0.0024721891409121804</c:v>
                </c:pt>
                <c:pt idx="16">
                  <c:v>0.0023075270463122867</c:v>
                </c:pt>
                <c:pt idx="17">
                  <c:v>0.003210887092016535</c:v>
                </c:pt>
                <c:pt idx="18">
                  <c:v>0.0019351669017204712</c:v>
                </c:pt>
                <c:pt idx="19">
                  <c:v>0.0018481498473497645</c:v>
                </c:pt>
                <c:pt idx="20">
                  <c:v>0.002167622940121872</c:v>
                </c:pt>
                <c:pt idx="21">
                  <c:v>0.0029337513117695117</c:v>
                </c:pt>
                <c:pt idx="22">
                  <c:v>0.0026410662116475576</c:v>
                </c:pt>
                <c:pt idx="23">
                  <c:v>0.0032881857494077124</c:v>
                </c:pt>
                <c:pt idx="24">
                  <c:v>0.0024626412145786637</c:v>
                </c:pt>
                <c:pt idx="25">
                  <c:v>0.0024957188760466624</c:v>
                </c:pt>
                <c:pt idx="26">
                  <c:v>0.002509459466611709</c:v>
                </c:pt>
                <c:pt idx="27">
                  <c:v>0.0026308227796613287</c:v>
                </c:pt>
                <c:pt idx="28">
                  <c:v>0.0025772739569158857</c:v>
                </c:pt>
                <c:pt idx="29">
                  <c:v>0.0027790732429628967</c:v>
                </c:pt>
                <c:pt idx="30">
                  <c:v>0.002866257928714901</c:v>
                </c:pt>
                <c:pt idx="31">
                  <c:v>0.0025323208689469897</c:v>
                </c:pt>
                <c:pt idx="32">
                  <c:v>0.0021108862588229936</c:v>
                </c:pt>
                <c:pt idx="33">
                  <c:v>0.002063247664590877</c:v>
                </c:pt>
                <c:pt idx="34">
                  <c:v>0.0018560926348828947</c:v>
                </c:pt>
                <c:pt idx="35">
                  <c:v>0.0023433641275029176</c:v>
                </c:pt>
                <c:pt idx="36">
                  <c:v>0.0027162666125290966</c:v>
                </c:pt>
                <c:pt idx="37">
                  <c:v>0.002634340661484456</c:v>
                </c:pt>
                <c:pt idx="38">
                  <c:v>0.0030724978413519404</c:v>
                </c:pt>
                <c:pt idx="39">
                  <c:v>0.0031171326478555434</c:v>
                </c:pt>
                <c:pt idx="40">
                  <c:v>0.0032648076152474535</c:v>
                </c:pt>
                <c:pt idx="41">
                  <c:v>0.002976047398988782</c:v>
                </c:pt>
                <c:pt idx="42">
                  <c:v>0.003229191278984063</c:v>
                </c:pt>
                <c:pt idx="43">
                  <c:v>0.0028001302878693252</c:v>
                </c:pt>
                <c:pt idx="44">
                  <c:v>0.0018738622880182902</c:v>
                </c:pt>
                <c:pt idx="45">
                  <c:v>0.0015804665657972112</c:v>
                </c:pt>
                <c:pt idx="46">
                  <c:v>0.0014910842491581491</c:v>
                </c:pt>
                <c:pt idx="47">
                  <c:v>0.0017875626356002134</c:v>
                </c:pt>
                <c:pt idx="48">
                  <c:v>0.0018580882494740976</c:v>
                </c:pt>
                <c:pt idx="49">
                  <c:v>0.0017079752236083493</c:v>
                </c:pt>
                <c:pt idx="50">
                  <c:v>0.0013869140451772417</c:v>
                </c:pt>
                <c:pt idx="51">
                  <c:v>0.0011109578007524367</c:v>
                </c:pt>
                <c:pt idx="52">
                  <c:v>0.0026687138568074384</c:v>
                </c:pt>
                <c:pt idx="53">
                  <c:v>0.0026687138568074384</c:v>
                </c:pt>
                <c:pt idx="54">
                  <c:v>0.00189543736209868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1660317580055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56.7598</c:v>
                </c:pt>
                <c:pt idx="1">
                  <c:v>1079.3457</c:v>
                </c:pt>
                <c:pt idx="2">
                  <c:v>1133.3366</c:v>
                </c:pt>
                <c:pt idx="3">
                  <c:v>1148.2243</c:v>
                </c:pt>
                <c:pt idx="4">
                  <c:v>1134.8139</c:v>
                </c:pt>
                <c:pt idx="5">
                  <c:v>1102.4727</c:v>
                </c:pt>
                <c:pt idx="6">
                  <c:v>1104.3855</c:v>
                </c:pt>
                <c:pt idx="7">
                  <c:v>1117.5131</c:v>
                </c:pt>
                <c:pt idx="8">
                  <c:v>1079.7679</c:v>
                </c:pt>
                <c:pt idx="9">
                  <c:v>1072.4681</c:v>
                </c:pt>
                <c:pt idx="10">
                  <c:v>1048.3337</c:v>
                </c:pt>
                <c:pt idx="11">
                  <c:v>1019.8992</c:v>
                </c:pt>
                <c:pt idx="12">
                  <c:v>1024.8968</c:v>
                </c:pt>
                <c:pt idx="13">
                  <c:v>1016.4829</c:v>
                </c:pt>
                <c:pt idx="14">
                  <c:v>1096.5418</c:v>
                </c:pt>
                <c:pt idx="15">
                  <c:v>1087.609</c:v>
                </c:pt>
                <c:pt idx="16">
                  <c:v>1092.423</c:v>
                </c:pt>
                <c:pt idx="17">
                  <c:v>1126.1105</c:v>
                </c:pt>
                <c:pt idx="18">
                  <c:v>1171.6762</c:v>
                </c:pt>
                <c:pt idx="19">
                  <c:v>1229.038</c:v>
                </c:pt>
                <c:pt idx="20">
                  <c:v>1232.7318</c:v>
                </c:pt>
                <c:pt idx="21">
                  <c:v>1234.2353</c:v>
                </c:pt>
                <c:pt idx="22">
                  <c:v>1238.4132</c:v>
                </c:pt>
                <c:pt idx="23">
                  <c:v>1229.4619</c:v>
                </c:pt>
                <c:pt idx="24">
                  <c:v>1241.5997</c:v>
                </c:pt>
                <c:pt idx="25">
                  <c:v>1221.2202</c:v>
                </c:pt>
                <c:pt idx="26">
                  <c:v>1221.3907</c:v>
                </c:pt>
                <c:pt idx="27">
                  <c:v>1196.4294</c:v>
                </c:pt>
                <c:pt idx="28">
                  <c:v>1201.6721</c:v>
                </c:pt>
                <c:pt idx="29">
                  <c:v>1198.7177</c:v>
                </c:pt>
                <c:pt idx="30">
                  <c:v>1228.9104</c:v>
                </c:pt>
                <c:pt idx="31">
                  <c:v>1180.0245</c:v>
                </c:pt>
                <c:pt idx="32">
                  <c:v>1240.5082</c:v>
                </c:pt>
                <c:pt idx="33">
                  <c:v>1219.476</c:v>
                </c:pt>
                <c:pt idx="34">
                  <c:v>1237.3967</c:v>
                </c:pt>
                <c:pt idx="35">
                  <c:v>1292.6502</c:v>
                </c:pt>
                <c:pt idx="36">
                  <c:v>1351.7838</c:v>
                </c:pt>
                <c:pt idx="37">
                  <c:v>1379.2641</c:v>
                </c:pt>
                <c:pt idx="38">
                  <c:v>1437.3533</c:v>
                </c:pt>
                <c:pt idx="39">
                  <c:v>1374.5782</c:v>
                </c:pt>
                <c:pt idx="40">
                  <c:v>1422.0592</c:v>
                </c:pt>
                <c:pt idx="41">
                  <c:v>1398.0549</c:v>
                </c:pt>
                <c:pt idx="42">
                  <c:v>1453.037</c:v>
                </c:pt>
                <c:pt idx="43">
                  <c:v>1448.8016</c:v>
                </c:pt>
                <c:pt idx="44">
                  <c:v>1278.2573</c:v>
                </c:pt>
                <c:pt idx="45">
                  <c:v>1214.5872</c:v>
                </c:pt>
                <c:pt idx="46">
                  <c:v>1220.3684</c:v>
                </c:pt>
                <c:pt idx="47">
                  <c:v>1216.3791</c:v>
                </c:pt>
                <c:pt idx="48">
                  <c:v>1182.3056</c:v>
                </c:pt>
                <c:pt idx="49">
                  <c:v>1144.3103</c:v>
                </c:pt>
                <c:pt idx="50">
                  <c:v>1166.9415</c:v>
                </c:pt>
                <c:pt idx="51">
                  <c:v>1195.4793</c:v>
                </c:pt>
                <c:pt idx="52">
                  <c:v>1179.958</c:v>
                </c:pt>
                <c:pt idx="53">
                  <c:v>1363.2679</c:v>
                </c:pt>
                <c:pt idx="54">
                  <c:v>1385.5772</c:v>
                </c:pt>
                <c:pt idx="55">
                  <c:v>1389.7734</c:v>
                </c:pt>
                <c:pt idx="56">
                  <c:v>1405.7918</c:v>
                </c:pt>
                <c:pt idx="57">
                  <c:v>1379.388</c:v>
                </c:pt>
                <c:pt idx="58">
                  <c:v>1357.2366</c:v>
                </c:pt>
                <c:pt idx="59">
                  <c:v>1328.4138</c:v>
                </c:pt>
                <c:pt idx="60">
                  <c:v>1311.446</c:v>
                </c:pt>
                <c:pt idx="61">
                  <c:v>1282.055</c:v>
                </c:pt>
                <c:pt idx="62">
                  <c:v>1237.2923</c:v>
                </c:pt>
                <c:pt idx="63">
                  <c:v>1237.7146</c:v>
                </c:pt>
                <c:pt idx="64">
                  <c:v>1235.9131</c:v>
                </c:pt>
                <c:pt idx="65">
                  <c:v>1228.3885</c:v>
                </c:pt>
                <c:pt idx="66">
                  <c:v>1312.8355</c:v>
                </c:pt>
                <c:pt idx="67">
                  <c:v>1373.0246</c:v>
                </c:pt>
                <c:pt idx="68">
                  <c:v>1401.8473</c:v>
                </c:pt>
                <c:pt idx="69">
                  <c:v>1410.158</c:v>
                </c:pt>
                <c:pt idx="70">
                  <c:v>1420.5822</c:v>
                </c:pt>
                <c:pt idx="71">
                  <c:v>1434.1559</c:v>
                </c:pt>
                <c:pt idx="72">
                  <c:v>1472.4192</c:v>
                </c:pt>
                <c:pt idx="73">
                  <c:v>1421.9734</c:v>
                </c:pt>
                <c:pt idx="74">
                  <c:v>1316.115</c:v>
                </c:pt>
                <c:pt idx="75">
                  <c:v>1319.6483</c:v>
                </c:pt>
                <c:pt idx="76">
                  <c:v>1317.2885</c:v>
                </c:pt>
                <c:pt idx="77">
                  <c:v>1298.3499</c:v>
                </c:pt>
                <c:pt idx="78">
                  <c:v>1356.7911</c:v>
                </c:pt>
                <c:pt idx="79">
                  <c:v>1368.7629</c:v>
                </c:pt>
                <c:pt idx="80">
                  <c:v>1391.097</c:v>
                </c:pt>
                <c:pt idx="81">
                  <c:v>1415.4836</c:v>
                </c:pt>
                <c:pt idx="82">
                  <c:v>1398.438</c:v>
                </c:pt>
                <c:pt idx="83">
                  <c:v>1408.1297</c:v>
                </c:pt>
                <c:pt idx="84">
                  <c:v>1396.5751</c:v>
                </c:pt>
                <c:pt idx="85">
                  <c:v>1390.5261</c:v>
                </c:pt>
                <c:pt idx="86">
                  <c:v>1363.1473</c:v>
                </c:pt>
                <c:pt idx="87">
                  <c:v>1361.6042</c:v>
                </c:pt>
                <c:pt idx="88">
                  <c:v>1357.9641</c:v>
                </c:pt>
                <c:pt idx="89">
                  <c:v>1334.11</c:v>
                </c:pt>
                <c:pt idx="90">
                  <c:v>1361.4619</c:v>
                </c:pt>
                <c:pt idx="91">
                  <c:v>1363.1875</c:v>
                </c:pt>
                <c:pt idx="92">
                  <c:v>1326.7315</c:v>
                </c:pt>
                <c:pt idx="93">
                  <c:v>1328.7826</c:v>
                </c:pt>
                <c:pt idx="94">
                  <c:v>1381.646</c:v>
                </c:pt>
                <c:pt idx="95">
                  <c:v>1330.3167</c:v>
                </c:pt>
                <c:pt idx="96">
                  <c:v>1221.7347</c:v>
                </c:pt>
                <c:pt idx="97">
                  <c:v>1255.6657</c:v>
                </c:pt>
                <c:pt idx="98">
                  <c:v>1230.7362</c:v>
                </c:pt>
                <c:pt idx="99">
                  <c:v>1215.5321</c:v>
                </c:pt>
                <c:pt idx="100">
                  <c:v>1224.6283</c:v>
                </c:pt>
                <c:pt idx="101">
                  <c:v>1268.7261</c:v>
                </c:pt>
                <c:pt idx="102">
                  <c:v>1319.6282</c:v>
                </c:pt>
                <c:pt idx="103">
                  <c:v>972.4527</c:v>
                </c:pt>
                <c:pt idx="104">
                  <c:v>1087.9745</c:v>
                </c:pt>
              </c:numCache>
            </c:numRef>
          </c:xVal>
          <c:yVal>
            <c:numRef>
              <c:f>Sheet1!$B$2:$B$106</c:f>
              <c:numCache>
                <c:formatCode>General</c:formatCode>
                <c:ptCount val="105"/>
                <c:pt idx="0">
                  <c:v>0.1705862009337714</c:v>
                </c:pt>
                <c:pt idx="1">
                  <c:v>0.17485066315682898</c:v>
                </c:pt>
                <c:pt idx="2">
                  <c:v>0.1713073180830142</c:v>
                </c:pt>
                <c:pt idx="3">
                  <c:v>0.1777678770327467</c:v>
                </c:pt>
                <c:pt idx="4">
                  <c:v>0.17846883976520544</c:v>
                </c:pt>
                <c:pt idx="5">
                  <c:v>0.1736718846296068</c:v>
                </c:pt>
                <c:pt idx="6">
                  <c:v>0.17488021902806297</c:v>
                </c:pt>
                <c:pt idx="7">
                  <c:v>0.17320351069665388</c:v>
                </c:pt>
                <c:pt idx="8">
                  <c:v>0.19692481309070392</c:v>
                </c:pt>
                <c:pt idx="9">
                  <c:v>0.1698853661055458</c:v>
                </c:pt>
                <c:pt idx="10">
                  <c:v>0.17614494212380474</c:v>
                </c:pt>
                <c:pt idx="11">
                  <c:v>0.18374198799470953</c:v>
                </c:pt>
                <c:pt idx="12">
                  <c:v>0.18136759981642955</c:v>
                </c:pt>
                <c:pt idx="13">
                  <c:v>0.1837578719804493</c:v>
                </c:pt>
                <c:pt idx="14">
                  <c:v>0.1764982152921285</c:v>
                </c:pt>
                <c:pt idx="15">
                  <c:v>0.1886379350080664</c:v>
                </c:pt>
                <c:pt idx="16">
                  <c:v>0.17080662393162394</c:v>
                </c:pt>
                <c:pt idx="17">
                  <c:v>0.18086982074640023</c:v>
                </c:pt>
                <c:pt idx="18">
                  <c:v>0.16189823539489465</c:v>
                </c:pt>
                <c:pt idx="19">
                  <c:v>0.14413317092976047</c:v>
                </c:pt>
                <c:pt idx="20">
                  <c:v>0.15137242163391262</c:v>
                </c:pt>
                <c:pt idx="21">
                  <c:v>0.15139949109414758</c:v>
                </c:pt>
                <c:pt idx="22">
                  <c:v>0.13053325097796994</c:v>
                </c:pt>
                <c:pt idx="23">
                  <c:v>0.12831089882761615</c:v>
                </c:pt>
                <c:pt idx="24">
                  <c:v>0.12643678160919541</c:v>
                </c:pt>
                <c:pt idx="25">
                  <c:v>0.1287445689458038</c:v>
                </c:pt>
                <c:pt idx="26">
                  <c:v>0.12870905587668593</c:v>
                </c:pt>
                <c:pt idx="27">
                  <c:v>0.1264262053735738</c:v>
                </c:pt>
                <c:pt idx="28">
                  <c:v>0.12986512524084778</c:v>
                </c:pt>
                <c:pt idx="29">
                  <c:v>0.13212526389866291</c:v>
                </c:pt>
                <c:pt idx="30">
                  <c:v>0.12151567944250871</c:v>
                </c:pt>
                <c:pt idx="31">
                  <c:v>0.1110180142438207</c:v>
                </c:pt>
                <c:pt idx="32">
                  <c:v>0.10474350719038421</c:v>
                </c:pt>
                <c:pt idx="33">
                  <c:v>0.11347035841685069</c:v>
                </c:pt>
                <c:pt idx="34">
                  <c:v>0.11454703832752614</c:v>
                </c:pt>
                <c:pt idx="35">
                  <c:v>0.11980642115203022</c:v>
                </c:pt>
                <c:pt idx="36">
                  <c:v>0.10627362055933484</c:v>
                </c:pt>
                <c:pt idx="37">
                  <c:v>0.09389243391066546</c:v>
                </c:pt>
                <c:pt idx="38">
                  <c:v>0.08994610667162238</c:v>
                </c:pt>
                <c:pt idx="39">
                  <c:v>0.10665115377157262</c:v>
                </c:pt>
                <c:pt idx="40">
                  <c:v>0.10593950791412005</c:v>
                </c:pt>
                <c:pt idx="41">
                  <c:v>0.10755189692197566</c:v>
                </c:pt>
                <c:pt idx="42">
                  <c:v>0.10918076980679946</c:v>
                </c:pt>
                <c:pt idx="43">
                  <c:v>0.11603319057815846</c:v>
                </c:pt>
                <c:pt idx="44">
                  <c:v>0.1194601654331737</c:v>
                </c:pt>
                <c:pt idx="45">
                  <c:v>0.13580053316606555</c:v>
                </c:pt>
                <c:pt idx="46">
                  <c:v>0.13886098446797002</c:v>
                </c:pt>
                <c:pt idx="47">
                  <c:v>0.13304957830850478</c:v>
                </c:pt>
                <c:pt idx="48">
                  <c:v>0.1489022864293027</c:v>
                </c:pt>
                <c:pt idx="49">
                  <c:v>0.16941957394257487</c:v>
                </c:pt>
                <c:pt idx="50">
                  <c:v>0.15279447115384615</c:v>
                </c:pt>
                <c:pt idx="51">
                  <c:v>0.14129496402877698</c:v>
                </c:pt>
                <c:pt idx="52">
                  <c:v>0.1494893951296151</c:v>
                </c:pt>
                <c:pt idx="53">
                  <c:v>0.13613218331081783</c:v>
                </c:pt>
                <c:pt idx="54">
                  <c:v>0.1284156209686877</c:v>
                </c:pt>
                <c:pt idx="55">
                  <c:v>0.12954876273653565</c:v>
                </c:pt>
                <c:pt idx="56">
                  <c:v>0.1469592476489028</c:v>
                </c:pt>
                <c:pt idx="57">
                  <c:v>0.1371749669457911</c:v>
                </c:pt>
                <c:pt idx="58">
                  <c:v>0.14578610152784624</c:v>
                </c:pt>
                <c:pt idx="59">
                  <c:v>0.1426961367478555</c:v>
                </c:pt>
                <c:pt idx="60">
                  <c:v>0.16009566108643664</c:v>
                </c:pt>
                <c:pt idx="61">
                  <c:v>0.17161491287841915</c:v>
                </c:pt>
                <c:pt idx="62">
                  <c:v>0.16898553395374552</c:v>
                </c:pt>
                <c:pt idx="63">
                  <c:v>0.17295727913728742</c:v>
                </c:pt>
                <c:pt idx="64">
                  <c:v>0.15607563546187228</c:v>
                </c:pt>
                <c:pt idx="65">
                  <c:v>0.15121338912133891</c:v>
                </c:pt>
                <c:pt idx="66">
                  <c:v>0.14350058553283487</c:v>
                </c:pt>
                <c:pt idx="67">
                  <c:v>0.14169412676875365</c:v>
                </c:pt>
                <c:pt idx="68">
                  <c:v>0.12122297862176042</c:v>
                </c:pt>
                <c:pt idx="69">
                  <c:v>0.1177555726364335</c:v>
                </c:pt>
                <c:pt idx="70">
                  <c:v>0.11250373022978215</c:v>
                </c:pt>
                <c:pt idx="71">
                  <c:v>0.12279254002310612</c:v>
                </c:pt>
                <c:pt idx="72">
                  <c:v>0.12372218881539386</c:v>
                </c:pt>
                <c:pt idx="73">
                  <c:v>0.1362662712143681</c:v>
                </c:pt>
                <c:pt idx="74">
                  <c:v>0.14113973458235754</c:v>
                </c:pt>
                <c:pt idx="75">
                  <c:v>0.1279826464208243</c:v>
                </c:pt>
                <c:pt idx="76">
                  <c:v>0.13208284486127395</c:v>
                </c:pt>
                <c:pt idx="77">
                  <c:v>0.1253016894609815</c:v>
                </c:pt>
                <c:pt idx="78">
                  <c:v>0.12195671776375112</c:v>
                </c:pt>
                <c:pt idx="79">
                  <c:v>0.11888111888111888</c:v>
                </c:pt>
                <c:pt idx="80">
                  <c:v>0.10225160090890312</c:v>
                </c:pt>
                <c:pt idx="81">
                  <c:v>0.10407394727832935</c:v>
                </c:pt>
                <c:pt idx="82">
                  <c:v>0.10849585294776956</c:v>
                </c:pt>
                <c:pt idx="83">
                  <c:v>0.09726603575184017</c:v>
                </c:pt>
                <c:pt idx="84">
                  <c:v>0.10120608285264814</c:v>
                </c:pt>
                <c:pt idx="85">
                  <c:v>0.10182405910875086</c:v>
                </c:pt>
                <c:pt idx="86">
                  <c:v>0.10638652659663166</c:v>
                </c:pt>
                <c:pt idx="87">
                  <c:v>0.12478082992402104</c:v>
                </c:pt>
                <c:pt idx="88">
                  <c:v>0.11678414936178319</c:v>
                </c:pt>
                <c:pt idx="89">
                  <c:v>0.11326212728081887</c:v>
                </c:pt>
                <c:pt idx="90">
                  <c:v>0.10828171598990594</c:v>
                </c:pt>
                <c:pt idx="91">
                  <c:v>0.11352549889135255</c:v>
                </c:pt>
                <c:pt idx="92">
                  <c:v>0.12176814011676397</c:v>
                </c:pt>
                <c:pt idx="93">
                  <c:v>0.1099601593625498</c:v>
                </c:pt>
                <c:pt idx="94">
                  <c:v>0.10033741786538804</c:v>
                </c:pt>
                <c:pt idx="95">
                  <c:v>0.11384266263237519</c:v>
                </c:pt>
                <c:pt idx="96">
                  <c:v>0.10811295383236216</c:v>
                </c:pt>
                <c:pt idx="97">
                  <c:v>0.11181335830212234</c:v>
                </c:pt>
                <c:pt idx="98">
                  <c:v>0.12584163748990035</c:v>
                </c:pt>
                <c:pt idx="99">
                  <c:v>0.12591499409681228</c:v>
                </c:pt>
                <c:pt idx="100">
                  <c:v>0.14343803161694535</c:v>
                </c:pt>
                <c:pt idx="101">
                  <c:v>0.13998329917254992</c:v>
                </c:pt>
                <c:pt idx="102">
                  <c:v>0.12312161891404529</c:v>
                </c:pt>
                <c:pt idx="103">
                  <c:v>0.16074080545120992</c:v>
                </c:pt>
                <c:pt idx="104">
                  <c:v>0.1544209215442092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66.4726</c:v>
                </c:pt>
                <c:pt idx="1">
                  <c:v>1210.363</c:v>
                </c:pt>
                <c:pt idx="2">
                  <c:v>1198.8497</c:v>
                </c:pt>
                <c:pt idx="3">
                  <c:v>1243.9082</c:v>
                </c:pt>
                <c:pt idx="4">
                  <c:v>1218.9636</c:v>
                </c:pt>
                <c:pt idx="5">
                  <c:v>1220.194</c:v>
                </c:pt>
                <c:pt idx="6">
                  <c:v>1182.1217</c:v>
                </c:pt>
                <c:pt idx="7">
                  <c:v>1269.1525</c:v>
                </c:pt>
                <c:pt idx="8">
                  <c:v>1399.2751</c:v>
                </c:pt>
                <c:pt idx="9">
                  <c:v>1307.293</c:v>
                </c:pt>
                <c:pt idx="10">
                  <c:v>1347.4707</c:v>
                </c:pt>
                <c:pt idx="11">
                  <c:v>1290.4618</c:v>
                </c:pt>
                <c:pt idx="12">
                  <c:v>1322.6766</c:v>
                </c:pt>
                <c:pt idx="13">
                  <c:v>1330.3626</c:v>
                </c:pt>
                <c:pt idx="14">
                  <c:v>1342.5614</c:v>
                </c:pt>
                <c:pt idx="15">
                  <c:v>1336.0139</c:v>
                </c:pt>
                <c:pt idx="16">
                  <c:v>1340.7115</c:v>
                </c:pt>
                <c:pt idx="17">
                  <c:v>1265.9324</c:v>
                </c:pt>
                <c:pt idx="18">
                  <c:v>1338.168</c:v>
                </c:pt>
                <c:pt idx="19">
                  <c:v>1385.0191</c:v>
                </c:pt>
                <c:pt idx="20">
                  <c:v>1371.5311</c:v>
                </c:pt>
                <c:pt idx="21">
                  <c:v>1316.3206</c:v>
                </c:pt>
                <c:pt idx="22">
                  <c:v>1290.7746</c:v>
                </c:pt>
                <c:pt idx="23">
                  <c:v>1233.6636</c:v>
                </c:pt>
                <c:pt idx="24">
                  <c:v>1252.0</c:v>
                </c:pt>
                <c:pt idx="25">
                  <c:v>1227.6345</c:v>
                </c:pt>
                <c:pt idx="26">
                  <c:v>1243.0371</c:v>
                </c:pt>
                <c:pt idx="27">
                  <c:v>1303.2949</c:v>
                </c:pt>
                <c:pt idx="28">
                  <c:v>1367.6553</c:v>
                </c:pt>
                <c:pt idx="29">
                  <c:v>1381.4109</c:v>
                </c:pt>
                <c:pt idx="30">
                  <c:v>1364.7263</c:v>
                </c:pt>
                <c:pt idx="31">
                  <c:v>1283.2209</c:v>
                </c:pt>
                <c:pt idx="32">
                  <c:v>1264.356</c:v>
                </c:pt>
                <c:pt idx="33">
                  <c:v>1308.9485</c:v>
                </c:pt>
                <c:pt idx="34">
                  <c:v>1345.7056</c:v>
                </c:pt>
                <c:pt idx="35">
                  <c:v>1336.0892</c:v>
                </c:pt>
                <c:pt idx="36">
                  <c:v>1258.6629</c:v>
                </c:pt>
                <c:pt idx="37">
                  <c:v>1406.7469</c:v>
                </c:pt>
                <c:pt idx="38">
                  <c:v>1412.7076</c:v>
                </c:pt>
                <c:pt idx="39">
                  <c:v>1405.7138</c:v>
                </c:pt>
                <c:pt idx="40">
                  <c:v>1421.0131</c:v>
                </c:pt>
                <c:pt idx="41">
                  <c:v>1471.1531</c:v>
                </c:pt>
                <c:pt idx="42">
                  <c:v>1448.1697</c:v>
                </c:pt>
                <c:pt idx="43">
                  <c:v>1454.6919</c:v>
                </c:pt>
                <c:pt idx="44">
                  <c:v>1369.9534</c:v>
                </c:pt>
                <c:pt idx="45">
                  <c:v>1302.1424</c:v>
                </c:pt>
                <c:pt idx="46">
                  <c:v>1272.4083</c:v>
                </c:pt>
                <c:pt idx="47">
                  <c:v>1286.2189</c:v>
                </c:pt>
                <c:pt idx="48">
                  <c:v>1251.535</c:v>
                </c:pt>
                <c:pt idx="49">
                  <c:v>1236.8289</c:v>
                </c:pt>
                <c:pt idx="50">
                  <c:v>1134.7082</c:v>
                </c:pt>
                <c:pt idx="51">
                  <c:v>1140.5129</c:v>
                </c:pt>
              </c:numCache>
            </c:numRef>
          </c:xVal>
          <c:yVal>
            <c:numRef>
              <c:f>Sheet1!$B$109:$B$160</c:f>
              <c:numCache>
                <c:formatCode>General</c:formatCode>
                <c:ptCount val="52"/>
                <c:pt idx="0">
                  <c:v>0.13968161522034556</c:v>
                </c:pt>
                <c:pt idx="1">
                  <c:v>0.15771015987622486</c:v>
                </c:pt>
                <c:pt idx="2">
                  <c:v>0.15615001777461784</c:v>
                </c:pt>
                <c:pt idx="3">
                  <c:v>0.15722692166237587</c:v>
                </c:pt>
                <c:pt idx="4">
                  <c:v>0.15798695609851066</c:v>
                </c:pt>
                <c:pt idx="5">
                  <c:v>0.15055726364335126</c:v>
                </c:pt>
                <c:pt idx="6">
                  <c:v>0.1455173040239804</c:v>
                </c:pt>
                <c:pt idx="7">
                  <c:v>0.1449256954147085</c:v>
                </c:pt>
                <c:pt idx="8">
                  <c:v>0.13881711168532873</c:v>
                </c:pt>
                <c:pt idx="9">
                  <c:v>0.1599696739954511</c:v>
                </c:pt>
                <c:pt idx="10">
                  <c:v>0.1529873635136793</c:v>
                </c:pt>
                <c:pt idx="11">
                  <c:v>0.14329535495179668</c:v>
                </c:pt>
                <c:pt idx="12">
                  <c:v>0.13794138241472442</c:v>
                </c:pt>
                <c:pt idx="13">
                  <c:v>0.14104206705103567</c:v>
                </c:pt>
                <c:pt idx="14">
                  <c:v>0.1469373303434439</c:v>
                </c:pt>
                <c:pt idx="15">
                  <c:v>0.14651547967894</c:v>
                </c:pt>
                <c:pt idx="16">
                  <c:v>0.13548194568785438</c:v>
                </c:pt>
                <c:pt idx="17">
                  <c:v>0.13516024152345565</c:v>
                </c:pt>
                <c:pt idx="18">
                  <c:v>0.11793567145193531</c:v>
                </c:pt>
                <c:pt idx="19">
                  <c:v>0.1341650999829089</c:v>
                </c:pt>
                <c:pt idx="20">
                  <c:v>0.1342601787487587</c:v>
                </c:pt>
                <c:pt idx="21">
                  <c:v>0.13900264996386413</c:v>
                </c:pt>
                <c:pt idx="22">
                  <c:v>0.1452825612418142</c:v>
                </c:pt>
                <c:pt idx="23">
                  <c:v>0.1608187134502924</c:v>
                </c:pt>
                <c:pt idx="24">
                  <c:v>0.16136468418626096</c:v>
                </c:pt>
                <c:pt idx="25">
                  <c:v>0.16670558020079385</c:v>
                </c:pt>
                <c:pt idx="26">
                  <c:v>0.15474613686534217</c:v>
                </c:pt>
                <c:pt idx="27">
                  <c:v>0.12652980655349388</c:v>
                </c:pt>
                <c:pt idx="28">
                  <c:v>0.12490720118782479</c:v>
                </c:pt>
                <c:pt idx="29">
                  <c:v>0.12426570266606417</c:v>
                </c:pt>
                <c:pt idx="30">
                  <c:v>0.1327089995431704</c:v>
                </c:pt>
                <c:pt idx="31">
                  <c:v>0.12417470797359066</c:v>
                </c:pt>
                <c:pt idx="32">
                  <c:v>0.13073237508555785</c:v>
                </c:pt>
                <c:pt idx="33">
                  <c:v>0.14113475177304965</c:v>
                </c:pt>
                <c:pt idx="34">
                  <c:v>0.15177380634835957</c:v>
                </c:pt>
                <c:pt idx="35">
                  <c:v>0.1567662007623888</c:v>
                </c:pt>
                <c:pt idx="36">
                  <c:v>0.1447939262472885</c:v>
                </c:pt>
                <c:pt idx="37">
                  <c:v>0.11942481111381915</c:v>
                </c:pt>
                <c:pt idx="38">
                  <c:v>0.12534974818130945</c:v>
                </c:pt>
                <c:pt idx="39">
                  <c:v>0.1297923322683706</c:v>
                </c:pt>
                <c:pt idx="40">
                  <c:v>0.12092471843509188</c:v>
                </c:pt>
                <c:pt idx="41">
                  <c:v>0.12034647991153705</c:v>
                </c:pt>
                <c:pt idx="42">
                  <c:v>0.12526315789473685</c:v>
                </c:pt>
                <c:pt idx="43">
                  <c:v>0.12066792690611217</c:v>
                </c:pt>
                <c:pt idx="44">
                  <c:v>0.11443795990865263</c:v>
                </c:pt>
                <c:pt idx="45">
                  <c:v>0.12358941951792002</c:v>
                </c:pt>
                <c:pt idx="46">
                  <c:v>0.11922455573505654</c:v>
                </c:pt>
                <c:pt idx="47">
                  <c:v>0.1160193695029153</c:v>
                </c:pt>
                <c:pt idx="48">
                  <c:v>0.10238440470436604</c:v>
                </c:pt>
                <c:pt idx="49">
                  <c:v>0.11883911123977708</c:v>
                </c:pt>
                <c:pt idx="50">
                  <c:v>0.1522399215209978</c:v>
                </c:pt>
                <c:pt idx="51">
                  <c:v>0.1450212765957446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07.1726615135032</c:v>
                </c:pt>
              </c:numCache>
            </c:numRef>
          </c:xVal>
          <c:yVal>
            <c:numRef>
              <c:f>Sheet1!$B$163:$B$164</c:f>
              <c:numCache>
                <c:formatCode>General</c:formatCode>
                <c:ptCount val="2"/>
                <c:pt idx="0">
                  <c:v>0.17685125849073272</c:v>
                </c:pt>
                <c:pt idx="1">
                  <c:v>0.1768512584907327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07.1726615135032</c:v>
                </c:pt>
                <c:pt idx="1">
                  <c:v>907.1726615135032</c:v>
                </c:pt>
              </c:numCache>
            </c:numRef>
          </c:xVal>
          <c:yVal>
            <c:numRef>
              <c:f>Sheet1!$B$167:$B$168</c:f>
              <c:numCache>
                <c:formatCode>General</c:formatCode>
                <c:ptCount val="2"/>
                <c:pt idx="0">
                  <c:v>0.1768512584907327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85.000116549799</c:v>
                </c:pt>
              </c:numCache>
            </c:numRef>
          </c:xVal>
          <c:yVal>
            <c:numRef>
              <c:f>Sheet1!$B$171:$B$172</c:f>
              <c:numCache>
                <c:formatCode>General</c:formatCode>
                <c:ptCount val="2"/>
                <c:pt idx="0">
                  <c:v>0.14984144948882708</c:v>
                </c:pt>
                <c:pt idx="1">
                  <c:v>0.1498414494888270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85.000116549799</c:v>
                </c:pt>
                <c:pt idx="1">
                  <c:v>1185.000116549799</c:v>
                </c:pt>
              </c:numCache>
            </c:numRef>
          </c:xVal>
          <c:yVal>
            <c:numRef>
              <c:f>Sheet1!$B$175:$B$176</c:f>
              <c:numCache>
                <c:formatCode>General</c:formatCode>
                <c:ptCount val="2"/>
                <c:pt idx="0">
                  <c:v>0.1498414494888270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53.3806688420007</c:v>
                </c:pt>
              </c:numCache>
            </c:numRef>
          </c:xVal>
          <c:yVal>
            <c:numRef>
              <c:f>Sheet1!$B$179:$B$180</c:f>
              <c:numCache>
                <c:formatCode>General</c:formatCode>
                <c:ptCount val="2"/>
                <c:pt idx="0">
                  <c:v>0.12375004878009835</c:v>
                </c:pt>
                <c:pt idx="1">
                  <c:v>0.1237500487800983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53.3806688420007</c:v>
                </c:pt>
                <c:pt idx="1">
                  <c:v>1453.3806688420007</c:v>
                </c:pt>
              </c:numCache>
            </c:numRef>
          </c:xVal>
          <c:yVal>
            <c:numRef>
              <c:f>Sheet1!$B$183:$B$184</c:f>
              <c:numCache>
                <c:formatCode>General</c:formatCode>
                <c:ptCount val="2"/>
                <c:pt idx="0">
                  <c:v>0.1237500487800983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66.4726</c:v>
                </c:pt>
                <c:pt idx="1">
                  <c:v>1210.363</c:v>
                </c:pt>
                <c:pt idx="2">
                  <c:v>1198.8497</c:v>
                </c:pt>
                <c:pt idx="3">
                  <c:v>1243.9082</c:v>
                </c:pt>
                <c:pt idx="4">
                  <c:v>1218.9636</c:v>
                </c:pt>
                <c:pt idx="5">
                  <c:v>1220.194</c:v>
                </c:pt>
                <c:pt idx="6">
                  <c:v>1182.1217</c:v>
                </c:pt>
                <c:pt idx="7">
                  <c:v>1269.1525</c:v>
                </c:pt>
                <c:pt idx="8">
                  <c:v>1399.2751</c:v>
                </c:pt>
                <c:pt idx="9">
                  <c:v>1307.293</c:v>
                </c:pt>
                <c:pt idx="10">
                  <c:v>1347.4707</c:v>
                </c:pt>
                <c:pt idx="11">
                  <c:v>1290.4618</c:v>
                </c:pt>
                <c:pt idx="12">
                  <c:v>1322.6766</c:v>
                </c:pt>
                <c:pt idx="13">
                  <c:v>1330.3626</c:v>
                </c:pt>
                <c:pt idx="14">
                  <c:v>1342.5614</c:v>
                </c:pt>
                <c:pt idx="15">
                  <c:v>1336.0139</c:v>
                </c:pt>
                <c:pt idx="16">
                  <c:v>1340.7115</c:v>
                </c:pt>
                <c:pt idx="17">
                  <c:v>1265.9324</c:v>
                </c:pt>
                <c:pt idx="18">
                  <c:v>1338.168</c:v>
                </c:pt>
                <c:pt idx="19">
                  <c:v>1385.0191</c:v>
                </c:pt>
                <c:pt idx="20">
                  <c:v>1371.5311</c:v>
                </c:pt>
                <c:pt idx="21">
                  <c:v>1316.3206</c:v>
                </c:pt>
                <c:pt idx="22">
                  <c:v>1290.7746</c:v>
                </c:pt>
                <c:pt idx="23">
                  <c:v>1233.6636</c:v>
                </c:pt>
                <c:pt idx="24">
                  <c:v>1252.0</c:v>
                </c:pt>
                <c:pt idx="25">
                  <c:v>1227.6345</c:v>
                </c:pt>
                <c:pt idx="26">
                  <c:v>1243.0371</c:v>
                </c:pt>
                <c:pt idx="27">
                  <c:v>1303.2949</c:v>
                </c:pt>
                <c:pt idx="28">
                  <c:v>1367.6553</c:v>
                </c:pt>
                <c:pt idx="29">
                  <c:v>1381.4109</c:v>
                </c:pt>
                <c:pt idx="30">
                  <c:v>1364.7263</c:v>
                </c:pt>
                <c:pt idx="31">
                  <c:v>1283.2209</c:v>
                </c:pt>
                <c:pt idx="32">
                  <c:v>1264.356</c:v>
                </c:pt>
                <c:pt idx="33">
                  <c:v>1308.9485</c:v>
                </c:pt>
                <c:pt idx="34">
                  <c:v>1345.7056</c:v>
                </c:pt>
                <c:pt idx="35">
                  <c:v>1336.0892</c:v>
                </c:pt>
                <c:pt idx="36">
                  <c:v>1258.6629</c:v>
                </c:pt>
                <c:pt idx="37">
                  <c:v>1406.7469</c:v>
                </c:pt>
                <c:pt idx="38">
                  <c:v>1412.7076</c:v>
                </c:pt>
                <c:pt idx="39">
                  <c:v>1405.7138</c:v>
                </c:pt>
                <c:pt idx="40">
                  <c:v>1421.0131</c:v>
                </c:pt>
                <c:pt idx="41">
                  <c:v>1471.1531</c:v>
                </c:pt>
                <c:pt idx="42">
                  <c:v>1448.1697</c:v>
                </c:pt>
                <c:pt idx="43">
                  <c:v>1454.6919</c:v>
                </c:pt>
                <c:pt idx="44">
                  <c:v>1369.9534</c:v>
                </c:pt>
                <c:pt idx="45">
                  <c:v>1302.1424</c:v>
                </c:pt>
                <c:pt idx="46">
                  <c:v>1272.4083</c:v>
                </c:pt>
                <c:pt idx="47">
                  <c:v>1286.2189</c:v>
                </c:pt>
                <c:pt idx="48">
                  <c:v>1251.535</c:v>
                </c:pt>
                <c:pt idx="49">
                  <c:v>1236.8289</c:v>
                </c:pt>
                <c:pt idx="50">
                  <c:v>1134.7082</c:v>
                </c:pt>
                <c:pt idx="51">
                  <c:v>1140.5129</c:v>
                </c:pt>
                <c:pt idx="52">
                  <c:v>1185.000116549799</c:v>
                </c:pt>
                <c:pt idx="53">
                  <c:v>907.1726615135032</c:v>
                </c:pt>
                <c:pt idx="54">
                  <c:v>1453.3806688420007</c:v>
                </c:pt>
              </c:numCache>
            </c:numRef>
          </c:xVal>
          <c:yVal>
            <c:numRef>
              <c:f>Sheet1!$B$187:$B$241</c:f>
              <c:numCache>
                <c:formatCode>General</c:formatCode>
                <c:ptCount val="55"/>
                <c:pt idx="0">
                  <c:v>0.14192086361075623</c:v>
                </c:pt>
                <c:pt idx="1">
                  <c:v>0.14737572255900286</c:v>
                </c:pt>
                <c:pt idx="2">
                  <c:v>0.1484950217079693</c:v>
                </c:pt>
                <c:pt idx="3">
                  <c:v>0.1441145277832297</c:v>
                </c:pt>
                <c:pt idx="4">
                  <c:v>0.1465395900634889</c:v>
                </c:pt>
                <c:pt idx="5">
                  <c:v>0.1464199731271728</c:v>
                </c:pt>
                <c:pt idx="6">
                  <c:v>0.15012128317635032</c:v>
                </c:pt>
                <c:pt idx="7">
                  <c:v>0.14166032929050792</c:v>
                </c:pt>
                <c:pt idx="8">
                  <c:v>0.129010079975255</c:v>
                </c:pt>
                <c:pt idx="9">
                  <c:v>0.13795238897876805</c:v>
                </c:pt>
                <c:pt idx="10">
                  <c:v>0.13404639630790655</c:v>
                </c:pt>
                <c:pt idx="11">
                  <c:v>0.1395886833371261</c:v>
                </c:pt>
                <c:pt idx="12">
                  <c:v>0.13645682729028252</c:v>
                </c:pt>
                <c:pt idx="13">
                  <c:v>0.13570961031001136</c:v>
                </c:pt>
                <c:pt idx="14">
                  <c:v>0.13452366827267956</c:v>
                </c:pt>
                <c:pt idx="15">
                  <c:v>0.1351602026440464</c:v>
                </c:pt>
                <c:pt idx="16">
                  <c:v>0.13470351171423614</c:v>
                </c:pt>
                <c:pt idx="17">
                  <c:v>0.1419733807344542</c:v>
                </c:pt>
                <c:pt idx="18">
                  <c:v>0.13495078550935968</c:v>
                </c:pt>
                <c:pt idx="19">
                  <c:v>0.13039601873023102</c:v>
                </c:pt>
                <c:pt idx="20">
                  <c:v>0.13170729411793564</c:v>
                </c:pt>
                <c:pt idx="21">
                  <c:v>0.13707474442879455</c:v>
                </c:pt>
                <c:pt idx="22">
                  <c:v>0.1395582735698312</c:v>
                </c:pt>
                <c:pt idx="23">
                  <c:v>0.14511048654930908</c:v>
                </c:pt>
                <c:pt idx="24">
                  <c:v>0.14332785976853307</c:v>
                </c:pt>
                <c:pt idx="25">
                  <c:v>0.1456966231477677</c:v>
                </c:pt>
                <c:pt idx="26">
                  <c:v>0.1441992143186856</c:v>
                </c:pt>
                <c:pt idx="27">
                  <c:v>0.1383410759692471</c:v>
                </c:pt>
                <c:pt idx="28">
                  <c:v>0.13208409135604846</c:v>
                </c:pt>
                <c:pt idx="29">
                  <c:v>0.13074680045131018</c:v>
                </c:pt>
                <c:pt idx="30">
                  <c:v>0.13236884266169693</c:v>
                </c:pt>
                <c:pt idx="31">
                  <c:v>0.14029262861847475</c:v>
                </c:pt>
                <c:pt idx="32">
                  <c:v>0.14212663507321294</c:v>
                </c:pt>
                <c:pt idx="33">
                  <c:v>0.13779144470205207</c:v>
                </c:pt>
                <c:pt idx="34">
                  <c:v>0.1342179956693269</c:v>
                </c:pt>
                <c:pt idx="35">
                  <c:v>0.13515288213420848</c:v>
                </c:pt>
                <c:pt idx="36">
                  <c:v>0.14268010644849027</c:v>
                </c:pt>
                <c:pt idx="37">
                  <c:v>0.12828368707476184</c:v>
                </c:pt>
                <c:pt idx="38">
                  <c:v>0.12770420018245085</c:v>
                </c:pt>
                <c:pt idx="39">
                  <c:v>0.1283841229142516</c:v>
                </c:pt>
                <c:pt idx="40">
                  <c:v>0.12689675669693926</c:v>
                </c:pt>
                <c:pt idx="41">
                  <c:v>0.12202224988054622</c:v>
                </c:pt>
                <c:pt idx="42">
                  <c:v>0.1242566483640701</c:v>
                </c:pt>
                <c:pt idx="43">
                  <c:v>0.12362257360623446</c:v>
                </c:pt>
                <c:pt idx="44">
                  <c:v>0.1318606748399983</c:v>
                </c:pt>
                <c:pt idx="45">
                  <c:v>0.13845311962911733</c:v>
                </c:pt>
                <c:pt idx="46">
                  <c:v>0.1413438071665986</c:v>
                </c:pt>
                <c:pt idx="47">
                  <c:v>0.14000116927592296</c:v>
                </c:pt>
                <c:pt idx="48">
                  <c:v>0.14337306610418568</c:v>
                </c:pt>
                <c:pt idx="49">
                  <c:v>0.14480276264771497</c:v>
                </c:pt>
                <c:pt idx="50">
                  <c:v>0.1547307253171371</c:v>
                </c:pt>
                <c:pt idx="51">
                  <c:v>0.1541664044213031</c:v>
                </c:pt>
                <c:pt idx="52">
                  <c:v>0.1498414494888271</c:v>
                </c:pt>
                <c:pt idx="53">
                  <c:v>0.17685125849073272</c:v>
                </c:pt>
                <c:pt idx="54">
                  <c:v>0.1237500487800983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67.0"/>
          <c:min val="72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63097757088447"/>
          <c:min val="0.0719568853372979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667315679442509</c:v>
                </c:pt>
                <c:pt idx="1">
                  <c:v>0.7521572822299653</c:v>
                </c:pt>
                <c:pt idx="2">
                  <c:v>0.8230476397966595</c:v>
                </c:pt>
                <c:pt idx="3">
                  <c:v>0.7410289125524363</c:v>
                </c:pt>
                <c:pt idx="4">
                  <c:v>1.1297301144848184</c:v>
                </c:pt>
                <c:pt idx="5">
                  <c:v>0.0</c:v>
                </c:pt>
                <c:pt idx="6">
                  <c:v>0.0</c:v>
                </c:pt>
                <c:pt idx="7">
                  <c:v>0.3974086415362731</c:v>
                </c:pt>
                <c:pt idx="8">
                  <c:v>0.5788088448137229</c:v>
                </c:pt>
                <c:pt idx="9">
                  <c:v>0.7473645296167247</c:v>
                </c:pt>
                <c:pt idx="10">
                  <c:v>0.6848869842141335</c:v>
                </c:pt>
                <c:pt idx="11">
                  <c:v>0.7403449477351917</c:v>
                </c:pt>
                <c:pt idx="12">
                  <c:v>0.5716100390407138</c:v>
                </c:pt>
                <c:pt idx="13">
                  <c:v>0.7378650551684088</c:v>
                </c:pt>
                <c:pt idx="14">
                  <c:v>0.7420347149382507</c:v>
                </c:pt>
                <c:pt idx="15">
                  <c:v>0.8916655052264808</c:v>
                </c:pt>
                <c:pt idx="16">
                  <c:v>0.7690411826821542</c:v>
                </c:pt>
                <c:pt idx="17">
                  <c:v>0.7847459930313588</c:v>
                </c:pt>
                <c:pt idx="18">
                  <c:v>0.5832136386261823</c:v>
                </c:pt>
                <c:pt idx="19">
                  <c:v>0.8564724738675958</c:v>
                </c:pt>
                <c:pt idx="20">
                  <c:v>0.937676294683664</c:v>
                </c:pt>
                <c:pt idx="21">
                  <c:v>0.5002980543169843</c:v>
                </c:pt>
                <c:pt idx="22">
                  <c:v>1.0138462546049938</c:v>
                </c:pt>
                <c:pt idx="23">
                  <c:v>1.1059626954733826</c:v>
                </c:pt>
                <c:pt idx="24">
                  <c:v>1.301012654593526</c:v>
                </c:pt>
                <c:pt idx="25">
                  <c:v>1.6196554376657826</c:v>
                </c:pt>
                <c:pt idx="26">
                  <c:v>1.007332536082474</c:v>
                </c:pt>
                <c:pt idx="27">
                  <c:v>0.5955347934295669</c:v>
                </c:pt>
                <c:pt idx="28">
                  <c:v>0.5703237304224015</c:v>
                </c:pt>
                <c:pt idx="29">
                  <c:v>0.9251744295041309</c:v>
                </c:pt>
                <c:pt idx="30">
                  <c:v>0.9515372822299651</c:v>
                </c:pt>
                <c:pt idx="31">
                  <c:v>0.8483281811646297</c:v>
                </c:pt>
                <c:pt idx="32">
                  <c:v>1.4407760743321718</c:v>
                </c:pt>
                <c:pt idx="33">
                  <c:v>0.8498090592334495</c:v>
                </c:pt>
                <c:pt idx="34">
                  <c:v>0.8042006108275431</c:v>
                </c:pt>
                <c:pt idx="35">
                  <c:v>0.9903847686178363</c:v>
                </c:pt>
                <c:pt idx="36">
                  <c:v>0.956676433121019</c:v>
                </c:pt>
                <c:pt idx="37">
                  <c:v>0.737180171031534</c:v>
                </c:pt>
                <c:pt idx="38">
                  <c:v>1.1252766212232939</c:v>
                </c:pt>
                <c:pt idx="39">
                  <c:v>1.265725782688766</c:v>
                </c:pt>
                <c:pt idx="40">
                  <c:v>1.1567726994786522</c:v>
                </c:pt>
                <c:pt idx="41">
                  <c:v>1.1525596867271228</c:v>
                </c:pt>
                <c:pt idx="42">
                  <c:v>1.1667856308026132</c:v>
                </c:pt>
                <c:pt idx="43">
                  <c:v>1.002977916233991</c:v>
                </c:pt>
                <c:pt idx="44">
                  <c:v>0.9376543554006969</c:v>
                </c:pt>
                <c:pt idx="45">
                  <c:v>0.4702234610917537</c:v>
                </c:pt>
                <c:pt idx="46">
                  <c:v>0.7086924506387922</c:v>
                </c:pt>
                <c:pt idx="47">
                  <c:v>0.8476509407665506</c:v>
                </c:pt>
                <c:pt idx="48">
                  <c:v>0.8334900246739513</c:v>
                </c:pt>
                <c:pt idx="49">
                  <c:v>0.8011133436012322</c:v>
                </c:pt>
                <c:pt idx="50">
                  <c:v>0.6952287756925826</c:v>
                </c:pt>
                <c:pt idx="51">
                  <c:v>0.6410076675603217</c:v>
                </c:pt>
                <c:pt idx="52">
                  <c:v>0.6922604869463186</c:v>
                </c:pt>
                <c:pt idx="53">
                  <c:v>0.810745108534047</c:v>
                </c:pt>
                <c:pt idx="54">
                  <c:v>0.9803612495368219</c:v>
                </c:pt>
                <c:pt idx="55">
                  <c:v>0.8977864341085272</c:v>
                </c:pt>
                <c:pt idx="56">
                  <c:v>1.1494618152085037</c:v>
                </c:pt>
                <c:pt idx="57">
                  <c:v>1.037133834586466</c:v>
                </c:pt>
                <c:pt idx="58">
                  <c:v>1.1909066045362209</c:v>
                </c:pt>
                <c:pt idx="59">
                  <c:v>1.0885068829891837</c:v>
                </c:pt>
                <c:pt idx="60">
                  <c:v>0.9626469528418632</c:v>
                </c:pt>
                <c:pt idx="61">
                  <c:v>1.0172348854069</c:v>
                </c:pt>
                <c:pt idx="62">
                  <c:v>0.9463441045753074</c:v>
                </c:pt>
                <c:pt idx="63">
                  <c:v>1.0382059824351746</c:v>
                </c:pt>
                <c:pt idx="64">
                  <c:v>1.0162087650057556</c:v>
                </c:pt>
                <c:pt idx="65">
                  <c:v>1.0600355603665874</c:v>
                </c:pt>
                <c:pt idx="66">
                  <c:v>1.0455633648581384</c:v>
                </c:pt>
                <c:pt idx="67">
                  <c:v>1.0934989347934296</c:v>
                </c:pt>
                <c:pt idx="68">
                  <c:v>1.0722041411474168</c:v>
                </c:pt>
                <c:pt idx="69">
                  <c:v>1.2283606271777003</c:v>
                </c:pt>
                <c:pt idx="70">
                  <c:v>1.2361487991646363</c:v>
                </c:pt>
                <c:pt idx="71">
                  <c:v>1.1307405553414074</c:v>
                </c:pt>
                <c:pt idx="72">
                  <c:v>1.0308171380565667</c:v>
                </c:pt>
                <c:pt idx="73">
                  <c:v>1.0061725809304793</c:v>
                </c:pt>
                <c:pt idx="74">
                  <c:v>1.199876923076923</c:v>
                </c:pt>
                <c:pt idx="75">
                  <c:v>1.5722577669681401</c:v>
                </c:pt>
                <c:pt idx="76">
                  <c:v>1.4780696665769772</c:v>
                </c:pt>
                <c:pt idx="77">
                  <c:v>1.107177256760169</c:v>
                </c:pt>
                <c:pt idx="78">
                  <c:v>1.4080856903805985</c:v>
                </c:pt>
                <c:pt idx="79">
                  <c:v>1.2286920107719927</c:v>
                </c:pt>
                <c:pt idx="80">
                  <c:v>1.404202846426553</c:v>
                </c:pt>
                <c:pt idx="81">
                  <c:v>1.2093556942986783</c:v>
                </c:pt>
                <c:pt idx="82">
                  <c:v>1.2444940820503694</c:v>
                </c:pt>
                <c:pt idx="83">
                  <c:v>1.1070202044025157</c:v>
                </c:pt>
                <c:pt idx="84">
                  <c:v>1.1452700879739905</c:v>
                </c:pt>
                <c:pt idx="85">
                  <c:v>0.9967929032258065</c:v>
                </c:pt>
                <c:pt idx="86">
                  <c:v>1.0960712383792217</c:v>
                </c:pt>
                <c:pt idx="87">
                  <c:v>1.0478484158344676</c:v>
                </c:pt>
                <c:pt idx="88">
                  <c:v>1.0659895596200641</c:v>
                </c:pt>
                <c:pt idx="89">
                  <c:v>0.8645088128564022</c:v>
                </c:pt>
                <c:pt idx="90">
                  <c:v>1.0338384843192345</c:v>
                </c:pt>
                <c:pt idx="91">
                  <c:v>1.0856645097063216</c:v>
                </c:pt>
                <c:pt idx="92">
                  <c:v>0.9984600134047995</c:v>
                </c:pt>
                <c:pt idx="93">
                  <c:v>1.0855081699692126</c:v>
                </c:pt>
                <c:pt idx="94">
                  <c:v>1.012788447441724</c:v>
                </c:pt>
                <c:pt idx="95">
                  <c:v>0.8607280776546461</c:v>
                </c:pt>
                <c:pt idx="96">
                  <c:v>0.8482959782178056</c:v>
                </c:pt>
                <c:pt idx="97">
                  <c:v>0.8994739971346705</c:v>
                </c:pt>
                <c:pt idx="98">
                  <c:v>0.861558417920896</c:v>
                </c:pt>
                <c:pt idx="99">
                  <c:v>1.0084055915048944</c:v>
                </c:pt>
                <c:pt idx="100">
                  <c:v>0.9482216802168022</c:v>
                </c:pt>
                <c:pt idx="101">
                  <c:v>0.992646337408313</c:v>
                </c:pt>
                <c:pt idx="102">
                  <c:v>0.836001393728223</c:v>
                </c:pt>
                <c:pt idx="103">
                  <c:v>0.703825821379353</c:v>
                </c:pt>
                <c:pt idx="104">
                  <c:v>0.7316573638197714</c:v>
                </c:pt>
              </c:numCache>
            </c:numRef>
          </c:xVal>
          <c:yVal>
            <c:numRef>
              <c:f>Sheet1!$B$2:$B$106</c:f>
              <c:numCache>
                <c:formatCode>General</c:formatCode>
                <c:ptCount val="105"/>
                <c:pt idx="0">
                  <c:v>0.1705862009337714</c:v>
                </c:pt>
                <c:pt idx="1">
                  <c:v>0.17485066315682898</c:v>
                </c:pt>
                <c:pt idx="2">
                  <c:v>0.1713073180830142</c:v>
                </c:pt>
                <c:pt idx="3">
                  <c:v>0.1777678770327467</c:v>
                </c:pt>
                <c:pt idx="4">
                  <c:v>0.17846883976520544</c:v>
                </c:pt>
                <c:pt idx="5">
                  <c:v>0.1736718846296068</c:v>
                </c:pt>
                <c:pt idx="6">
                  <c:v>0.17488021902806297</c:v>
                </c:pt>
                <c:pt idx="7">
                  <c:v>0.17320351069665388</c:v>
                </c:pt>
                <c:pt idx="8">
                  <c:v>0.19692481309070392</c:v>
                </c:pt>
                <c:pt idx="9">
                  <c:v>0.1698853661055458</c:v>
                </c:pt>
                <c:pt idx="10">
                  <c:v>0.17614494212380474</c:v>
                </c:pt>
                <c:pt idx="11">
                  <c:v>0.18374198799470953</c:v>
                </c:pt>
                <c:pt idx="12">
                  <c:v>0.18136759981642955</c:v>
                </c:pt>
                <c:pt idx="13">
                  <c:v>0.1837578719804493</c:v>
                </c:pt>
                <c:pt idx="14">
                  <c:v>0.1764982152921285</c:v>
                </c:pt>
                <c:pt idx="15">
                  <c:v>0.1886379350080664</c:v>
                </c:pt>
                <c:pt idx="16">
                  <c:v>0.17080662393162394</c:v>
                </c:pt>
                <c:pt idx="17">
                  <c:v>0.18086982074640023</c:v>
                </c:pt>
                <c:pt idx="18">
                  <c:v>0.16189823539489465</c:v>
                </c:pt>
                <c:pt idx="19">
                  <c:v>0.14413317092976047</c:v>
                </c:pt>
                <c:pt idx="20">
                  <c:v>0.15137242163391262</c:v>
                </c:pt>
                <c:pt idx="21">
                  <c:v>0.15139949109414758</c:v>
                </c:pt>
                <c:pt idx="22">
                  <c:v>0.13053325097796994</c:v>
                </c:pt>
                <c:pt idx="23">
                  <c:v>0.12831089882761615</c:v>
                </c:pt>
                <c:pt idx="24">
                  <c:v>0.12643678160919541</c:v>
                </c:pt>
                <c:pt idx="25">
                  <c:v>0.1287445689458038</c:v>
                </c:pt>
                <c:pt idx="26">
                  <c:v>0.12870905587668593</c:v>
                </c:pt>
                <c:pt idx="27">
                  <c:v>0.1264262053735738</c:v>
                </c:pt>
                <c:pt idx="28">
                  <c:v>0.12986512524084778</c:v>
                </c:pt>
                <c:pt idx="29">
                  <c:v>0.13212526389866291</c:v>
                </c:pt>
                <c:pt idx="30">
                  <c:v>0.12151567944250871</c:v>
                </c:pt>
                <c:pt idx="31">
                  <c:v>0.1110180142438207</c:v>
                </c:pt>
                <c:pt idx="32">
                  <c:v>0.10474350719038421</c:v>
                </c:pt>
                <c:pt idx="33">
                  <c:v>0.11347035841685069</c:v>
                </c:pt>
                <c:pt idx="34">
                  <c:v>0.11454703832752614</c:v>
                </c:pt>
                <c:pt idx="35">
                  <c:v>0.11980642115203022</c:v>
                </c:pt>
                <c:pt idx="36">
                  <c:v>0.10627362055933484</c:v>
                </c:pt>
                <c:pt idx="37">
                  <c:v>0.09389243391066546</c:v>
                </c:pt>
                <c:pt idx="38">
                  <c:v>0.08994610667162238</c:v>
                </c:pt>
                <c:pt idx="39">
                  <c:v>0.10665115377157262</c:v>
                </c:pt>
                <c:pt idx="40">
                  <c:v>0.10593950791412005</c:v>
                </c:pt>
                <c:pt idx="41">
                  <c:v>0.10755189692197566</c:v>
                </c:pt>
                <c:pt idx="42">
                  <c:v>0.10918076980679946</c:v>
                </c:pt>
                <c:pt idx="43">
                  <c:v>0.11603319057815846</c:v>
                </c:pt>
                <c:pt idx="44">
                  <c:v>0.1194601654331737</c:v>
                </c:pt>
                <c:pt idx="45">
                  <c:v>0.13580053316606555</c:v>
                </c:pt>
                <c:pt idx="46">
                  <c:v>0.13886098446797002</c:v>
                </c:pt>
                <c:pt idx="47">
                  <c:v>0.13304957830850478</c:v>
                </c:pt>
                <c:pt idx="48">
                  <c:v>0.1489022864293027</c:v>
                </c:pt>
                <c:pt idx="49">
                  <c:v>0.16941957394257487</c:v>
                </c:pt>
                <c:pt idx="50">
                  <c:v>0.15279447115384615</c:v>
                </c:pt>
                <c:pt idx="51">
                  <c:v>0.14129496402877698</c:v>
                </c:pt>
                <c:pt idx="52">
                  <c:v>0.1494893951296151</c:v>
                </c:pt>
                <c:pt idx="53">
                  <c:v>0.13613218331081783</c:v>
                </c:pt>
                <c:pt idx="54">
                  <c:v>0.1284156209686877</c:v>
                </c:pt>
                <c:pt idx="55">
                  <c:v>0.12954876273653565</c:v>
                </c:pt>
                <c:pt idx="56">
                  <c:v>0.1469592476489028</c:v>
                </c:pt>
                <c:pt idx="57">
                  <c:v>0.1371749669457911</c:v>
                </c:pt>
                <c:pt idx="58">
                  <c:v>0.14578610152784624</c:v>
                </c:pt>
                <c:pt idx="59">
                  <c:v>0.1426961367478555</c:v>
                </c:pt>
                <c:pt idx="60">
                  <c:v>0.16009566108643664</c:v>
                </c:pt>
                <c:pt idx="61">
                  <c:v>0.17161491287841915</c:v>
                </c:pt>
                <c:pt idx="62">
                  <c:v>0.16898553395374552</c:v>
                </c:pt>
                <c:pt idx="63">
                  <c:v>0.17295727913728742</c:v>
                </c:pt>
                <c:pt idx="64">
                  <c:v>0.15607563546187228</c:v>
                </c:pt>
                <c:pt idx="65">
                  <c:v>0.15121338912133891</c:v>
                </c:pt>
                <c:pt idx="66">
                  <c:v>0.14350058553283487</c:v>
                </c:pt>
                <c:pt idx="67">
                  <c:v>0.14169412676875365</c:v>
                </c:pt>
                <c:pt idx="68">
                  <c:v>0.12122297862176042</c:v>
                </c:pt>
                <c:pt idx="69">
                  <c:v>0.1177555726364335</c:v>
                </c:pt>
                <c:pt idx="70">
                  <c:v>0.11250373022978215</c:v>
                </c:pt>
                <c:pt idx="71">
                  <c:v>0.12279254002310612</c:v>
                </c:pt>
                <c:pt idx="72">
                  <c:v>0.12372218881539386</c:v>
                </c:pt>
                <c:pt idx="73">
                  <c:v>0.1362662712143681</c:v>
                </c:pt>
                <c:pt idx="74">
                  <c:v>0.14113973458235754</c:v>
                </c:pt>
                <c:pt idx="75">
                  <c:v>0.1279826464208243</c:v>
                </c:pt>
                <c:pt idx="76">
                  <c:v>0.13208284486127395</c:v>
                </c:pt>
                <c:pt idx="77">
                  <c:v>0.1253016894609815</c:v>
                </c:pt>
                <c:pt idx="78">
                  <c:v>0.12195671776375112</c:v>
                </c:pt>
                <c:pt idx="79">
                  <c:v>0.11888111888111888</c:v>
                </c:pt>
                <c:pt idx="80">
                  <c:v>0.10225160090890312</c:v>
                </c:pt>
                <c:pt idx="81">
                  <c:v>0.10407394727832935</c:v>
                </c:pt>
                <c:pt idx="82">
                  <c:v>0.10849585294776956</c:v>
                </c:pt>
                <c:pt idx="83">
                  <c:v>0.09726603575184017</c:v>
                </c:pt>
                <c:pt idx="84">
                  <c:v>0.10120608285264814</c:v>
                </c:pt>
                <c:pt idx="85">
                  <c:v>0.10182405910875086</c:v>
                </c:pt>
                <c:pt idx="86">
                  <c:v>0.10638652659663166</c:v>
                </c:pt>
                <c:pt idx="87">
                  <c:v>0.12478082992402104</c:v>
                </c:pt>
                <c:pt idx="88">
                  <c:v>0.11678414936178319</c:v>
                </c:pt>
                <c:pt idx="89">
                  <c:v>0.11326212728081887</c:v>
                </c:pt>
                <c:pt idx="90">
                  <c:v>0.10828171598990594</c:v>
                </c:pt>
                <c:pt idx="91">
                  <c:v>0.11352549889135255</c:v>
                </c:pt>
                <c:pt idx="92">
                  <c:v>0.12176814011676397</c:v>
                </c:pt>
                <c:pt idx="93">
                  <c:v>0.1099601593625498</c:v>
                </c:pt>
                <c:pt idx="94">
                  <c:v>0.10033741786538804</c:v>
                </c:pt>
                <c:pt idx="95">
                  <c:v>0.11384266263237519</c:v>
                </c:pt>
                <c:pt idx="96">
                  <c:v>0.10811295383236216</c:v>
                </c:pt>
                <c:pt idx="97">
                  <c:v>0.11181335830212234</c:v>
                </c:pt>
                <c:pt idx="98">
                  <c:v>0.12584163748990035</c:v>
                </c:pt>
                <c:pt idx="99">
                  <c:v>0.12591499409681228</c:v>
                </c:pt>
                <c:pt idx="100">
                  <c:v>0.14343803161694535</c:v>
                </c:pt>
                <c:pt idx="101">
                  <c:v>0.13998329917254992</c:v>
                </c:pt>
                <c:pt idx="102">
                  <c:v>0.12312161891404529</c:v>
                </c:pt>
                <c:pt idx="103">
                  <c:v>0.16074080545120992</c:v>
                </c:pt>
                <c:pt idx="104">
                  <c:v>0.1544209215442092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273993286716175</c:v>
                </c:pt>
                <c:pt idx="1">
                  <c:v>0.9893436324995912</c:v>
                </c:pt>
                <c:pt idx="2">
                  <c:v>0.848376111404121</c:v>
                </c:pt>
                <c:pt idx="3">
                  <c:v>0.8456926659301437</c:v>
                </c:pt>
                <c:pt idx="4">
                  <c:v>0.8889613951699441</c:v>
                </c:pt>
                <c:pt idx="5">
                  <c:v>0.797165052326545</c:v>
                </c:pt>
                <c:pt idx="6">
                  <c:v>0.8671349348982211</c:v>
                </c:pt>
                <c:pt idx="7">
                  <c:v>1.0405021520803444</c:v>
                </c:pt>
                <c:pt idx="8">
                  <c:v>1.0827908255891094</c:v>
                </c:pt>
                <c:pt idx="9">
                  <c:v>1.188268105188059</c:v>
                </c:pt>
                <c:pt idx="10">
                  <c:v>1.1737549651567944</c:v>
                </c:pt>
                <c:pt idx="11">
                  <c:v>0.8992765156794426</c:v>
                </c:pt>
                <c:pt idx="12">
                  <c:v>1.194829810298103</c:v>
                </c:pt>
                <c:pt idx="13">
                  <c:v>0.8482652252553714</c:v>
                </c:pt>
                <c:pt idx="14">
                  <c:v>1.0563032258064518</c:v>
                </c:pt>
                <c:pt idx="15">
                  <c:v>0.981551216824318</c:v>
                </c:pt>
                <c:pt idx="16">
                  <c:v>0.9922009250693801</c:v>
                </c:pt>
                <c:pt idx="17">
                  <c:v>1.084078270177692</c:v>
                </c:pt>
                <c:pt idx="18">
                  <c:v>0.9325212543554007</c:v>
                </c:pt>
                <c:pt idx="19">
                  <c:v>0.934035606025303</c:v>
                </c:pt>
                <c:pt idx="20">
                  <c:v>0.7964756678281069</c:v>
                </c:pt>
                <c:pt idx="21">
                  <c:v>0.9531648081100652</c:v>
                </c:pt>
                <c:pt idx="22">
                  <c:v>0.4997191637630662</c:v>
                </c:pt>
                <c:pt idx="23">
                  <c:v>0.39077085840988285</c:v>
                </c:pt>
                <c:pt idx="24">
                  <c:v>0.463360473723168</c:v>
                </c:pt>
                <c:pt idx="25">
                  <c:v>0.9005204474601136</c:v>
                </c:pt>
                <c:pt idx="26">
                  <c:v>0.8099720284541262</c:v>
                </c:pt>
                <c:pt idx="27">
                  <c:v>1.0239589094908863</c:v>
                </c:pt>
                <c:pt idx="28">
                  <c:v>1.2056199753173482</c:v>
                </c:pt>
                <c:pt idx="29">
                  <c:v>0.9626556794425087</c:v>
                </c:pt>
                <c:pt idx="30">
                  <c:v>1.0793683044982698</c:v>
                </c:pt>
                <c:pt idx="31">
                  <c:v>0.8799229229696668</c:v>
                </c:pt>
                <c:pt idx="32">
                  <c:v>0.7774273576025283</c:v>
                </c:pt>
                <c:pt idx="33">
                  <c:v>0.9436129774453207</c:v>
                </c:pt>
                <c:pt idx="34">
                  <c:v>0.9210279798471129</c:v>
                </c:pt>
                <c:pt idx="35">
                  <c:v>0.999909220889972</c:v>
                </c:pt>
                <c:pt idx="36">
                  <c:v>1.0963962543554007</c:v>
                </c:pt>
                <c:pt idx="37">
                  <c:v>1.1139902597402598</c:v>
                </c:pt>
                <c:pt idx="38">
                  <c:v>0.9115418763711447</c:v>
                </c:pt>
                <c:pt idx="39">
                  <c:v>1.092806817642053</c:v>
                </c:pt>
                <c:pt idx="40">
                  <c:v>1.1319205830810894</c:v>
                </c:pt>
                <c:pt idx="41">
                  <c:v>1.0894740579973847</c:v>
                </c:pt>
                <c:pt idx="42">
                  <c:v>1.1542266165189528</c:v>
                </c:pt>
                <c:pt idx="43">
                  <c:v>1.2216602141507453</c:v>
                </c:pt>
                <c:pt idx="44">
                  <c:v>1.083512211202537</c:v>
                </c:pt>
                <c:pt idx="45">
                  <c:v>1.042965478574289</c:v>
                </c:pt>
                <c:pt idx="46">
                  <c:v>0.9415947198222674</c:v>
                </c:pt>
                <c:pt idx="47">
                  <c:v>0.9657334108892014</c:v>
                </c:pt>
                <c:pt idx="48">
                  <c:v>1.2417561701599902</c:v>
                </c:pt>
                <c:pt idx="49">
                  <c:v>1.0522621235324143</c:v>
                </c:pt>
                <c:pt idx="50">
                  <c:v>0.9543382674516401</c:v>
                </c:pt>
                <c:pt idx="51">
                  <c:v>0.8592243337414068</c:v>
                </c:pt>
              </c:numCache>
            </c:numRef>
          </c:xVal>
          <c:yVal>
            <c:numRef>
              <c:f>Sheet1!$B$109:$B$160</c:f>
              <c:numCache>
                <c:formatCode>General</c:formatCode>
                <c:ptCount val="52"/>
                <c:pt idx="0">
                  <c:v>0.13968161522034556</c:v>
                </c:pt>
                <c:pt idx="1">
                  <c:v>0.15771015987622486</c:v>
                </c:pt>
                <c:pt idx="2">
                  <c:v>0.15615001777461784</c:v>
                </c:pt>
                <c:pt idx="3">
                  <c:v>0.15722692166237587</c:v>
                </c:pt>
                <c:pt idx="4">
                  <c:v>0.15798695609851066</c:v>
                </c:pt>
                <c:pt idx="5">
                  <c:v>0.15055726364335126</c:v>
                </c:pt>
                <c:pt idx="6">
                  <c:v>0.1455173040239804</c:v>
                </c:pt>
                <c:pt idx="7">
                  <c:v>0.1449256954147085</c:v>
                </c:pt>
                <c:pt idx="8">
                  <c:v>0.13881711168532873</c:v>
                </c:pt>
                <c:pt idx="9">
                  <c:v>0.1599696739954511</c:v>
                </c:pt>
                <c:pt idx="10">
                  <c:v>0.1529873635136793</c:v>
                </c:pt>
                <c:pt idx="11">
                  <c:v>0.14329535495179668</c:v>
                </c:pt>
                <c:pt idx="12">
                  <c:v>0.13794138241472442</c:v>
                </c:pt>
                <c:pt idx="13">
                  <c:v>0.14104206705103567</c:v>
                </c:pt>
                <c:pt idx="14">
                  <c:v>0.1469373303434439</c:v>
                </c:pt>
                <c:pt idx="15">
                  <c:v>0.14651547967894</c:v>
                </c:pt>
                <c:pt idx="16">
                  <c:v>0.13548194568785438</c:v>
                </c:pt>
                <c:pt idx="17">
                  <c:v>0.13516024152345565</c:v>
                </c:pt>
                <c:pt idx="18">
                  <c:v>0.11793567145193531</c:v>
                </c:pt>
                <c:pt idx="19">
                  <c:v>0.1341650999829089</c:v>
                </c:pt>
                <c:pt idx="20">
                  <c:v>0.1342601787487587</c:v>
                </c:pt>
                <c:pt idx="21">
                  <c:v>0.13900264996386413</c:v>
                </c:pt>
                <c:pt idx="22">
                  <c:v>0.1452825612418142</c:v>
                </c:pt>
                <c:pt idx="23">
                  <c:v>0.1608187134502924</c:v>
                </c:pt>
                <c:pt idx="24">
                  <c:v>0.16136468418626096</c:v>
                </c:pt>
                <c:pt idx="25">
                  <c:v>0.16670558020079385</c:v>
                </c:pt>
                <c:pt idx="26">
                  <c:v>0.15474613686534217</c:v>
                </c:pt>
                <c:pt idx="27">
                  <c:v>0.12652980655349388</c:v>
                </c:pt>
                <c:pt idx="28">
                  <c:v>0.12490720118782479</c:v>
                </c:pt>
                <c:pt idx="29">
                  <c:v>0.12426570266606417</c:v>
                </c:pt>
                <c:pt idx="30">
                  <c:v>0.1327089995431704</c:v>
                </c:pt>
                <c:pt idx="31">
                  <c:v>0.12417470797359066</c:v>
                </c:pt>
                <c:pt idx="32">
                  <c:v>0.13073237508555785</c:v>
                </c:pt>
                <c:pt idx="33">
                  <c:v>0.14113475177304965</c:v>
                </c:pt>
                <c:pt idx="34">
                  <c:v>0.15177380634835957</c:v>
                </c:pt>
                <c:pt idx="35">
                  <c:v>0.1567662007623888</c:v>
                </c:pt>
                <c:pt idx="36">
                  <c:v>0.1447939262472885</c:v>
                </c:pt>
                <c:pt idx="37">
                  <c:v>0.11942481111381915</c:v>
                </c:pt>
                <c:pt idx="38">
                  <c:v>0.12534974818130945</c:v>
                </c:pt>
                <c:pt idx="39">
                  <c:v>0.1297923322683706</c:v>
                </c:pt>
                <c:pt idx="40">
                  <c:v>0.12092471843509188</c:v>
                </c:pt>
                <c:pt idx="41">
                  <c:v>0.12034647991153705</c:v>
                </c:pt>
                <c:pt idx="42">
                  <c:v>0.12526315789473685</c:v>
                </c:pt>
                <c:pt idx="43">
                  <c:v>0.12066792690611217</c:v>
                </c:pt>
                <c:pt idx="44">
                  <c:v>0.11443795990865263</c:v>
                </c:pt>
                <c:pt idx="45">
                  <c:v>0.12358941951792002</c:v>
                </c:pt>
                <c:pt idx="46">
                  <c:v>0.11922455573505654</c:v>
                </c:pt>
                <c:pt idx="47">
                  <c:v>0.1160193695029153</c:v>
                </c:pt>
                <c:pt idx="48">
                  <c:v>0.10238440470436604</c:v>
                </c:pt>
                <c:pt idx="49">
                  <c:v>0.11883911123977708</c:v>
                </c:pt>
                <c:pt idx="50">
                  <c:v>0.1522399215209978</c:v>
                </c:pt>
                <c:pt idx="51">
                  <c:v>0.1450212765957446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1840034528713013</c:v>
                </c:pt>
              </c:numCache>
            </c:numRef>
          </c:xVal>
          <c:yVal>
            <c:numRef>
              <c:f>Sheet1!$B$163:$B$164</c:f>
              <c:numCache>
                <c:formatCode>General</c:formatCode>
                <c:ptCount val="2"/>
                <c:pt idx="0">
                  <c:v>0.17685125849073272</c:v>
                </c:pt>
                <c:pt idx="1">
                  <c:v>0.1768512584907327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1840034528713013</c:v>
                </c:pt>
                <c:pt idx="1">
                  <c:v>-0.01840034528713013</c:v>
                </c:pt>
              </c:numCache>
            </c:numRef>
          </c:xVal>
          <c:yVal>
            <c:numRef>
              <c:f>Sheet1!$B$167:$B$168</c:f>
              <c:numCache>
                <c:formatCode>General</c:formatCode>
                <c:ptCount val="2"/>
                <c:pt idx="0">
                  <c:v>0.1768512584907327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624660372516538</c:v>
                </c:pt>
              </c:numCache>
            </c:numRef>
          </c:xVal>
          <c:yVal>
            <c:numRef>
              <c:f>Sheet1!$B$171:$B$172</c:f>
              <c:numCache>
                <c:formatCode>General</c:formatCode>
                <c:ptCount val="2"/>
                <c:pt idx="0">
                  <c:v>0.14984144948882708</c:v>
                </c:pt>
                <c:pt idx="1">
                  <c:v>0.1498414494888270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624660372516538</c:v>
                </c:pt>
                <c:pt idx="1">
                  <c:v>0.6624660372516538</c:v>
                </c:pt>
              </c:numCache>
            </c:numRef>
          </c:xVal>
          <c:yVal>
            <c:numRef>
              <c:f>Sheet1!$B$175:$B$176</c:f>
              <c:numCache>
                <c:formatCode>General</c:formatCode>
                <c:ptCount val="2"/>
                <c:pt idx="0">
                  <c:v>0.1498414494888270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3201810775419653</c:v>
                </c:pt>
              </c:numCache>
            </c:numRef>
          </c:xVal>
          <c:yVal>
            <c:numRef>
              <c:f>Sheet1!$B$179:$B$180</c:f>
              <c:numCache>
                <c:formatCode>General</c:formatCode>
                <c:ptCount val="2"/>
                <c:pt idx="0">
                  <c:v>0.12375004878009835</c:v>
                </c:pt>
                <c:pt idx="1">
                  <c:v>0.1237500487800983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3201810775419653</c:v>
                </c:pt>
                <c:pt idx="1">
                  <c:v>1.3201810775419653</c:v>
                </c:pt>
              </c:numCache>
            </c:numRef>
          </c:xVal>
          <c:yVal>
            <c:numRef>
              <c:f>Sheet1!$B$183:$B$184</c:f>
              <c:numCache>
                <c:formatCode>General</c:formatCode>
                <c:ptCount val="2"/>
                <c:pt idx="0">
                  <c:v>0.1237500487800983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273993286716175</c:v>
                </c:pt>
                <c:pt idx="1">
                  <c:v>0.9893436324995912</c:v>
                </c:pt>
                <c:pt idx="2">
                  <c:v>0.848376111404121</c:v>
                </c:pt>
                <c:pt idx="3">
                  <c:v>0.8456926659301437</c:v>
                </c:pt>
                <c:pt idx="4">
                  <c:v>0.8889613951699441</c:v>
                </c:pt>
                <c:pt idx="5">
                  <c:v>0.797165052326545</c:v>
                </c:pt>
                <c:pt idx="6">
                  <c:v>0.8671349348982211</c:v>
                </c:pt>
                <c:pt idx="7">
                  <c:v>1.0405021520803444</c:v>
                </c:pt>
                <c:pt idx="8">
                  <c:v>1.0827908255891094</c:v>
                </c:pt>
                <c:pt idx="9">
                  <c:v>1.188268105188059</c:v>
                </c:pt>
                <c:pt idx="10">
                  <c:v>1.1737549651567944</c:v>
                </c:pt>
                <c:pt idx="11">
                  <c:v>0.8992765156794426</c:v>
                </c:pt>
                <c:pt idx="12">
                  <c:v>1.194829810298103</c:v>
                </c:pt>
                <c:pt idx="13">
                  <c:v>0.8482652252553714</c:v>
                </c:pt>
                <c:pt idx="14">
                  <c:v>1.0563032258064518</c:v>
                </c:pt>
                <c:pt idx="15">
                  <c:v>0.981551216824318</c:v>
                </c:pt>
                <c:pt idx="16">
                  <c:v>0.9922009250693801</c:v>
                </c:pt>
                <c:pt idx="17">
                  <c:v>1.084078270177692</c:v>
                </c:pt>
                <c:pt idx="18">
                  <c:v>0.9325212543554007</c:v>
                </c:pt>
                <c:pt idx="19">
                  <c:v>0.934035606025303</c:v>
                </c:pt>
                <c:pt idx="20">
                  <c:v>0.7964756678281069</c:v>
                </c:pt>
                <c:pt idx="21">
                  <c:v>0.9531648081100652</c:v>
                </c:pt>
                <c:pt idx="22">
                  <c:v>0.4997191637630662</c:v>
                </c:pt>
                <c:pt idx="23">
                  <c:v>0.39077085840988285</c:v>
                </c:pt>
                <c:pt idx="24">
                  <c:v>0.463360473723168</c:v>
                </c:pt>
                <c:pt idx="25">
                  <c:v>0.9005204474601136</c:v>
                </c:pt>
                <c:pt idx="26">
                  <c:v>0.8099720284541262</c:v>
                </c:pt>
                <c:pt idx="27">
                  <c:v>1.0239589094908863</c:v>
                </c:pt>
                <c:pt idx="28">
                  <c:v>1.2056199753173482</c:v>
                </c:pt>
                <c:pt idx="29">
                  <c:v>0.9626556794425087</c:v>
                </c:pt>
                <c:pt idx="30">
                  <c:v>1.0793683044982698</c:v>
                </c:pt>
                <c:pt idx="31">
                  <c:v>0.8799229229696668</c:v>
                </c:pt>
                <c:pt idx="32">
                  <c:v>0.7774273576025283</c:v>
                </c:pt>
                <c:pt idx="33">
                  <c:v>0.9436129774453207</c:v>
                </c:pt>
                <c:pt idx="34">
                  <c:v>0.9210279798471129</c:v>
                </c:pt>
                <c:pt idx="35">
                  <c:v>0.999909220889972</c:v>
                </c:pt>
                <c:pt idx="36">
                  <c:v>1.0963962543554007</c:v>
                </c:pt>
                <c:pt idx="37">
                  <c:v>1.1139902597402598</c:v>
                </c:pt>
                <c:pt idx="38">
                  <c:v>0.9115418763711447</c:v>
                </c:pt>
                <c:pt idx="39">
                  <c:v>1.092806817642053</c:v>
                </c:pt>
                <c:pt idx="40">
                  <c:v>1.1319205830810894</c:v>
                </c:pt>
                <c:pt idx="41">
                  <c:v>1.0894740579973847</c:v>
                </c:pt>
                <c:pt idx="42">
                  <c:v>1.1542266165189528</c:v>
                </c:pt>
                <c:pt idx="43">
                  <c:v>1.2216602141507453</c:v>
                </c:pt>
                <c:pt idx="44">
                  <c:v>1.083512211202537</c:v>
                </c:pt>
                <c:pt idx="45">
                  <c:v>1.042965478574289</c:v>
                </c:pt>
                <c:pt idx="46">
                  <c:v>0.9415947198222674</c:v>
                </c:pt>
                <c:pt idx="47">
                  <c:v>0.9657334108892014</c:v>
                </c:pt>
                <c:pt idx="48">
                  <c:v>1.2417561701599902</c:v>
                </c:pt>
                <c:pt idx="49">
                  <c:v>1.0522621235324143</c:v>
                </c:pt>
                <c:pt idx="50">
                  <c:v>0.9543382674516401</c:v>
                </c:pt>
                <c:pt idx="51">
                  <c:v>0.8592243337414068</c:v>
                </c:pt>
                <c:pt idx="52">
                  <c:v>0.6624660372516538</c:v>
                </c:pt>
                <c:pt idx="53">
                  <c:v>-0.01840034528713013</c:v>
                </c:pt>
                <c:pt idx="54">
                  <c:v>1.3201810775419653</c:v>
                </c:pt>
              </c:numCache>
            </c:numRef>
          </c:xVal>
          <c:yVal>
            <c:numRef>
              <c:f>Sheet1!$B$187:$B$241</c:f>
              <c:numCache>
                <c:formatCode>General</c:formatCode>
                <c:ptCount val="55"/>
                <c:pt idx="0">
                  <c:v>0.1432985846719478</c:v>
                </c:pt>
                <c:pt idx="1">
                  <c:v>0.13687429228871947</c:v>
                </c:pt>
                <c:pt idx="2">
                  <c:v>0.1424664406425029</c:v>
                </c:pt>
                <c:pt idx="3">
                  <c:v>0.1425728922923096</c:v>
                </c:pt>
                <c:pt idx="4">
                  <c:v>0.1408564319962902</c:v>
                </c:pt>
                <c:pt idx="5">
                  <c:v>0.14449797129219225</c:v>
                </c:pt>
                <c:pt idx="6">
                  <c:v>0.14172228253355526</c:v>
                </c:pt>
                <c:pt idx="7">
                  <c:v>0.13484484586849227</c:v>
                </c:pt>
                <c:pt idx="8">
                  <c:v>0.13316726415244884</c:v>
                </c:pt>
                <c:pt idx="9">
                  <c:v>0.1289830053183068</c:v>
                </c:pt>
                <c:pt idx="10">
                  <c:v>0.12955873816445013</c:v>
                </c:pt>
                <c:pt idx="11">
                  <c:v>0.1404472335956373</c:v>
                </c:pt>
                <c:pt idx="12">
                  <c:v>0.12872270402234876</c:v>
                </c:pt>
                <c:pt idx="13">
                  <c:v>0.14247083946990208</c:v>
                </c:pt>
                <c:pt idx="14">
                  <c:v>0.1342180209960763</c:v>
                </c:pt>
                <c:pt idx="15">
                  <c:v>0.13718341558287858</c:v>
                </c:pt>
                <c:pt idx="16">
                  <c:v>0.13676094416557555</c:v>
                </c:pt>
                <c:pt idx="17">
                  <c:v>0.1331161915289063</c:v>
                </c:pt>
                <c:pt idx="18">
                  <c:v>0.13912842264390884</c:v>
                </c:pt>
                <c:pt idx="19">
                  <c:v>0.13906834866990345</c:v>
                </c:pt>
                <c:pt idx="20">
                  <c:v>0.14452531901284524</c:v>
                </c:pt>
                <c:pt idx="21">
                  <c:v>0.13830949772951523</c:v>
                </c:pt>
                <c:pt idx="22">
                  <c:v>0.15629757962142862</c:v>
                </c:pt>
                <c:pt idx="23">
                  <c:v>0.16061953322956282</c:v>
                </c:pt>
                <c:pt idx="24">
                  <c:v>0.15773992029020323</c:v>
                </c:pt>
                <c:pt idx="25">
                  <c:v>0.14039788711493423</c:v>
                </c:pt>
                <c:pt idx="26">
                  <c:v>0.1439899215661827</c:v>
                </c:pt>
                <c:pt idx="27">
                  <c:v>0.13550111240488275</c:v>
                </c:pt>
                <c:pt idx="28">
                  <c:v>0.12829466071790163</c:v>
                </c:pt>
                <c:pt idx="29">
                  <c:v>0.13793299709954565</c:v>
                </c:pt>
                <c:pt idx="30">
                  <c:v>0.13330303475787053</c:v>
                </c:pt>
                <c:pt idx="31">
                  <c:v>0.14121498605925956</c:v>
                </c:pt>
                <c:pt idx="32">
                  <c:v>0.14528096099223556</c:v>
                </c:pt>
                <c:pt idx="33">
                  <c:v>0.13868841660183684</c:v>
                </c:pt>
                <c:pt idx="34">
                  <c:v>0.139584358136153</c:v>
                </c:pt>
                <c:pt idx="35">
                  <c:v>0.13645515788623533</c:v>
                </c:pt>
                <c:pt idx="36">
                  <c:v>0.13262753999835517</c:v>
                </c:pt>
                <c:pt idx="37">
                  <c:v>0.13192958994940196</c:v>
                </c:pt>
                <c:pt idx="38">
                  <c:v>0.13996066962637937</c:v>
                </c:pt>
                <c:pt idx="39">
                  <c:v>0.13276993210720103</c:v>
                </c:pt>
                <c:pt idx="40">
                  <c:v>0.13121829824636264</c:v>
                </c:pt>
                <c:pt idx="41">
                  <c:v>0.13290214189719843</c:v>
                </c:pt>
                <c:pt idx="42">
                  <c:v>0.13033342315457105</c:v>
                </c:pt>
                <c:pt idx="43">
                  <c:v>0.1276583482220202</c:v>
                </c:pt>
                <c:pt idx="44">
                  <c:v>0.13313864695510277</c:v>
                </c:pt>
                <c:pt idx="45">
                  <c:v>0.1347471262867695</c:v>
                </c:pt>
                <c:pt idx="46">
                  <c:v>0.13876848040629733</c:v>
                </c:pt>
                <c:pt idx="47">
                  <c:v>0.13781090421808428</c:v>
                </c:pt>
                <c:pt idx="48">
                  <c:v>0.12686114638118842</c:v>
                </c:pt>
                <c:pt idx="49">
                  <c:v>0.1343783305713147</c:v>
                </c:pt>
                <c:pt idx="50">
                  <c:v>0.13826294687386972</c:v>
                </c:pt>
                <c:pt idx="51">
                  <c:v>0.14203609421792585</c:v>
                </c:pt>
                <c:pt idx="52">
                  <c:v>0.14984144948882708</c:v>
                </c:pt>
                <c:pt idx="53">
                  <c:v>0.17685125849073272</c:v>
                </c:pt>
                <c:pt idx="54">
                  <c:v>0.1237500487800983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63097757088447"/>
          <c:min val="0.0719568853372979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56.7598</c:v>
                </c:pt>
                <c:pt idx="1">
                  <c:v>1079.3457</c:v>
                </c:pt>
                <c:pt idx="2">
                  <c:v>1133.3366</c:v>
                </c:pt>
                <c:pt idx="3">
                  <c:v>1148.2243</c:v>
                </c:pt>
                <c:pt idx="4">
                  <c:v>1134.8139</c:v>
                </c:pt>
                <c:pt idx="5">
                  <c:v>1102.4727</c:v>
                </c:pt>
                <c:pt idx="6">
                  <c:v>1104.3855</c:v>
                </c:pt>
                <c:pt idx="7">
                  <c:v>1117.5131</c:v>
                </c:pt>
                <c:pt idx="8">
                  <c:v>1079.7679</c:v>
                </c:pt>
                <c:pt idx="9">
                  <c:v>1072.4681</c:v>
                </c:pt>
                <c:pt idx="10">
                  <c:v>1048.3337</c:v>
                </c:pt>
                <c:pt idx="11">
                  <c:v>1019.8992</c:v>
                </c:pt>
                <c:pt idx="12">
                  <c:v>1024.8968</c:v>
                </c:pt>
                <c:pt idx="13">
                  <c:v>1016.4829</c:v>
                </c:pt>
                <c:pt idx="14">
                  <c:v>1096.5418</c:v>
                </c:pt>
                <c:pt idx="15">
                  <c:v>1087.609</c:v>
                </c:pt>
                <c:pt idx="16">
                  <c:v>1092.423</c:v>
                </c:pt>
                <c:pt idx="17">
                  <c:v>1126.1105</c:v>
                </c:pt>
                <c:pt idx="18">
                  <c:v>1171.6762</c:v>
                </c:pt>
                <c:pt idx="19">
                  <c:v>1229.038</c:v>
                </c:pt>
                <c:pt idx="20">
                  <c:v>1232.7318</c:v>
                </c:pt>
                <c:pt idx="21">
                  <c:v>1234.2353</c:v>
                </c:pt>
                <c:pt idx="22">
                  <c:v>1238.4132</c:v>
                </c:pt>
                <c:pt idx="23">
                  <c:v>1229.4619</c:v>
                </c:pt>
                <c:pt idx="24">
                  <c:v>1241.5997</c:v>
                </c:pt>
                <c:pt idx="25">
                  <c:v>1221.2202</c:v>
                </c:pt>
                <c:pt idx="26">
                  <c:v>1221.3907</c:v>
                </c:pt>
                <c:pt idx="27">
                  <c:v>1196.4294</c:v>
                </c:pt>
                <c:pt idx="28">
                  <c:v>1201.6721</c:v>
                </c:pt>
                <c:pt idx="29">
                  <c:v>1198.7177</c:v>
                </c:pt>
                <c:pt idx="30">
                  <c:v>1228.9104</c:v>
                </c:pt>
                <c:pt idx="31">
                  <c:v>1180.0245</c:v>
                </c:pt>
                <c:pt idx="32">
                  <c:v>1240.5082</c:v>
                </c:pt>
                <c:pt idx="33">
                  <c:v>1219.476</c:v>
                </c:pt>
                <c:pt idx="34">
                  <c:v>1237.3967</c:v>
                </c:pt>
                <c:pt idx="35">
                  <c:v>1292.6502</c:v>
                </c:pt>
                <c:pt idx="36">
                  <c:v>1351.7838</c:v>
                </c:pt>
                <c:pt idx="37">
                  <c:v>1379.2641</c:v>
                </c:pt>
                <c:pt idx="38">
                  <c:v>1437.3533</c:v>
                </c:pt>
                <c:pt idx="39">
                  <c:v>1374.5782</c:v>
                </c:pt>
                <c:pt idx="40">
                  <c:v>1422.0592</c:v>
                </c:pt>
                <c:pt idx="41">
                  <c:v>1398.0549</c:v>
                </c:pt>
                <c:pt idx="42">
                  <c:v>1453.037</c:v>
                </c:pt>
                <c:pt idx="43">
                  <c:v>1448.8016</c:v>
                </c:pt>
                <c:pt idx="44">
                  <c:v>1278.2573</c:v>
                </c:pt>
                <c:pt idx="45">
                  <c:v>1214.5872</c:v>
                </c:pt>
                <c:pt idx="46">
                  <c:v>1220.3684</c:v>
                </c:pt>
                <c:pt idx="47">
                  <c:v>1216.3791</c:v>
                </c:pt>
                <c:pt idx="48">
                  <c:v>1182.3056</c:v>
                </c:pt>
                <c:pt idx="49">
                  <c:v>1144.3103</c:v>
                </c:pt>
                <c:pt idx="50">
                  <c:v>1166.9415</c:v>
                </c:pt>
                <c:pt idx="51">
                  <c:v>1195.4793</c:v>
                </c:pt>
                <c:pt idx="52">
                  <c:v>1179.958</c:v>
                </c:pt>
                <c:pt idx="53">
                  <c:v>1363.2679</c:v>
                </c:pt>
                <c:pt idx="54">
                  <c:v>1385.5772</c:v>
                </c:pt>
                <c:pt idx="55">
                  <c:v>1389.7734</c:v>
                </c:pt>
                <c:pt idx="56">
                  <c:v>1405.7918</c:v>
                </c:pt>
                <c:pt idx="57">
                  <c:v>1379.388</c:v>
                </c:pt>
                <c:pt idx="58">
                  <c:v>1357.2366</c:v>
                </c:pt>
                <c:pt idx="59">
                  <c:v>1328.4138</c:v>
                </c:pt>
                <c:pt idx="60">
                  <c:v>1311.446</c:v>
                </c:pt>
                <c:pt idx="61">
                  <c:v>1282.055</c:v>
                </c:pt>
                <c:pt idx="62">
                  <c:v>1237.2923</c:v>
                </c:pt>
                <c:pt idx="63">
                  <c:v>1237.7146</c:v>
                </c:pt>
                <c:pt idx="64">
                  <c:v>1235.9131</c:v>
                </c:pt>
                <c:pt idx="65">
                  <c:v>1228.3885</c:v>
                </c:pt>
                <c:pt idx="66">
                  <c:v>1312.8355</c:v>
                </c:pt>
                <c:pt idx="67">
                  <c:v>1373.0246</c:v>
                </c:pt>
                <c:pt idx="68">
                  <c:v>1401.8473</c:v>
                </c:pt>
                <c:pt idx="69">
                  <c:v>1410.158</c:v>
                </c:pt>
                <c:pt idx="70">
                  <c:v>1420.5822</c:v>
                </c:pt>
                <c:pt idx="71">
                  <c:v>1434.1559</c:v>
                </c:pt>
                <c:pt idx="72">
                  <c:v>1472.4192</c:v>
                </c:pt>
                <c:pt idx="73">
                  <c:v>1421.9734</c:v>
                </c:pt>
                <c:pt idx="74">
                  <c:v>1316.115</c:v>
                </c:pt>
                <c:pt idx="75">
                  <c:v>1319.6483</c:v>
                </c:pt>
                <c:pt idx="76">
                  <c:v>1317.2885</c:v>
                </c:pt>
                <c:pt idx="77">
                  <c:v>1298.3499</c:v>
                </c:pt>
                <c:pt idx="78">
                  <c:v>1356.7911</c:v>
                </c:pt>
                <c:pt idx="79">
                  <c:v>1368.7629</c:v>
                </c:pt>
                <c:pt idx="80">
                  <c:v>1391.097</c:v>
                </c:pt>
                <c:pt idx="81">
                  <c:v>1415.4836</c:v>
                </c:pt>
                <c:pt idx="82">
                  <c:v>1398.438</c:v>
                </c:pt>
                <c:pt idx="83">
                  <c:v>1408.1297</c:v>
                </c:pt>
                <c:pt idx="84">
                  <c:v>1396.5751</c:v>
                </c:pt>
                <c:pt idx="85">
                  <c:v>1390.5261</c:v>
                </c:pt>
                <c:pt idx="86">
                  <c:v>1363.1473</c:v>
                </c:pt>
                <c:pt idx="87">
                  <c:v>1361.6042</c:v>
                </c:pt>
                <c:pt idx="88">
                  <c:v>1357.9641</c:v>
                </c:pt>
                <c:pt idx="89">
                  <c:v>1334.11</c:v>
                </c:pt>
                <c:pt idx="90">
                  <c:v>1361.4619</c:v>
                </c:pt>
                <c:pt idx="91">
                  <c:v>1363.1875</c:v>
                </c:pt>
                <c:pt idx="92">
                  <c:v>1326.7315</c:v>
                </c:pt>
                <c:pt idx="93">
                  <c:v>1328.7826</c:v>
                </c:pt>
                <c:pt idx="94">
                  <c:v>1381.646</c:v>
                </c:pt>
                <c:pt idx="95">
                  <c:v>1330.3167</c:v>
                </c:pt>
                <c:pt idx="96">
                  <c:v>1221.7347</c:v>
                </c:pt>
                <c:pt idx="97">
                  <c:v>1255.6657</c:v>
                </c:pt>
                <c:pt idx="98">
                  <c:v>1230.7362</c:v>
                </c:pt>
                <c:pt idx="99">
                  <c:v>1215.5321</c:v>
                </c:pt>
                <c:pt idx="100">
                  <c:v>1224.6283</c:v>
                </c:pt>
                <c:pt idx="101">
                  <c:v>1268.7261</c:v>
                </c:pt>
                <c:pt idx="102">
                  <c:v>1319.6282</c:v>
                </c:pt>
                <c:pt idx="103">
                  <c:v>972.4527</c:v>
                </c:pt>
                <c:pt idx="104">
                  <c:v>1087.9745</c:v>
                </c:pt>
              </c:numCache>
            </c:numRef>
          </c:xVal>
          <c:yVal>
            <c:numRef>
              <c:f>Sheet1!$B$2:$B$106</c:f>
              <c:numCache>
                <c:formatCode>General</c:formatCode>
                <c:ptCount val="105"/>
                <c:pt idx="0">
                  <c:v>0.1705862009337714</c:v>
                </c:pt>
                <c:pt idx="1">
                  <c:v>0.17485066315682898</c:v>
                </c:pt>
                <c:pt idx="2">
                  <c:v>0.1713073180830142</c:v>
                </c:pt>
                <c:pt idx="3">
                  <c:v>0.1777678770327467</c:v>
                </c:pt>
                <c:pt idx="4">
                  <c:v>0.17846883976520544</c:v>
                </c:pt>
                <c:pt idx="5">
                  <c:v>0.1736718846296068</c:v>
                </c:pt>
                <c:pt idx="6">
                  <c:v>0.17488021902806297</c:v>
                </c:pt>
                <c:pt idx="7">
                  <c:v>0.17320351069665388</c:v>
                </c:pt>
                <c:pt idx="8">
                  <c:v>0.19692481309070392</c:v>
                </c:pt>
                <c:pt idx="9">
                  <c:v>0.1698853661055458</c:v>
                </c:pt>
                <c:pt idx="10">
                  <c:v>0.17614494212380474</c:v>
                </c:pt>
                <c:pt idx="11">
                  <c:v>0.18374198799470953</c:v>
                </c:pt>
                <c:pt idx="12">
                  <c:v>0.18136759981642955</c:v>
                </c:pt>
                <c:pt idx="13">
                  <c:v>0.1837578719804493</c:v>
                </c:pt>
                <c:pt idx="14">
                  <c:v>0.1764982152921285</c:v>
                </c:pt>
                <c:pt idx="15">
                  <c:v>0.1886379350080664</c:v>
                </c:pt>
                <c:pt idx="16">
                  <c:v>0.17080662393162394</c:v>
                </c:pt>
                <c:pt idx="17">
                  <c:v>0.18086982074640023</c:v>
                </c:pt>
                <c:pt idx="18">
                  <c:v>0.16189823539489465</c:v>
                </c:pt>
                <c:pt idx="19">
                  <c:v>0.14413317092976047</c:v>
                </c:pt>
                <c:pt idx="20">
                  <c:v>0.15137242163391262</c:v>
                </c:pt>
                <c:pt idx="21">
                  <c:v>0.15139949109414758</c:v>
                </c:pt>
                <c:pt idx="22">
                  <c:v>0.13053325097796994</c:v>
                </c:pt>
                <c:pt idx="23">
                  <c:v>0.12831089882761615</c:v>
                </c:pt>
                <c:pt idx="24">
                  <c:v>0.12643678160919541</c:v>
                </c:pt>
                <c:pt idx="25">
                  <c:v>0.1287445689458038</c:v>
                </c:pt>
                <c:pt idx="26">
                  <c:v>0.12870905587668593</c:v>
                </c:pt>
                <c:pt idx="27">
                  <c:v>0.1264262053735738</c:v>
                </c:pt>
                <c:pt idx="28">
                  <c:v>0.12986512524084778</c:v>
                </c:pt>
                <c:pt idx="29">
                  <c:v>0.13212526389866291</c:v>
                </c:pt>
                <c:pt idx="30">
                  <c:v>0.12151567944250871</c:v>
                </c:pt>
                <c:pt idx="31">
                  <c:v>0.1110180142438207</c:v>
                </c:pt>
                <c:pt idx="32">
                  <c:v>0.10474350719038421</c:v>
                </c:pt>
                <c:pt idx="33">
                  <c:v>0.11347035841685069</c:v>
                </c:pt>
                <c:pt idx="34">
                  <c:v>0.11454703832752614</c:v>
                </c:pt>
                <c:pt idx="35">
                  <c:v>0.11980642115203022</c:v>
                </c:pt>
                <c:pt idx="36">
                  <c:v>0.10627362055933484</c:v>
                </c:pt>
                <c:pt idx="37">
                  <c:v>0.09389243391066546</c:v>
                </c:pt>
                <c:pt idx="38">
                  <c:v>0.08994610667162238</c:v>
                </c:pt>
                <c:pt idx="39">
                  <c:v>0.10665115377157262</c:v>
                </c:pt>
                <c:pt idx="40">
                  <c:v>0.10593950791412005</c:v>
                </c:pt>
                <c:pt idx="41">
                  <c:v>0.10755189692197566</c:v>
                </c:pt>
                <c:pt idx="42">
                  <c:v>0.10918076980679946</c:v>
                </c:pt>
                <c:pt idx="43">
                  <c:v>0.11603319057815846</c:v>
                </c:pt>
                <c:pt idx="44">
                  <c:v>0.1194601654331737</c:v>
                </c:pt>
                <c:pt idx="45">
                  <c:v>0.13580053316606555</c:v>
                </c:pt>
                <c:pt idx="46">
                  <c:v>0.13886098446797002</c:v>
                </c:pt>
                <c:pt idx="47">
                  <c:v>0.13304957830850478</c:v>
                </c:pt>
                <c:pt idx="48">
                  <c:v>0.1489022864293027</c:v>
                </c:pt>
                <c:pt idx="49">
                  <c:v>0.16941957394257487</c:v>
                </c:pt>
                <c:pt idx="50">
                  <c:v>0.15279447115384615</c:v>
                </c:pt>
                <c:pt idx="51">
                  <c:v>0.14129496402877698</c:v>
                </c:pt>
                <c:pt idx="52">
                  <c:v>0.1494893951296151</c:v>
                </c:pt>
                <c:pt idx="53">
                  <c:v>0.13613218331081783</c:v>
                </c:pt>
                <c:pt idx="54">
                  <c:v>0.1284156209686877</c:v>
                </c:pt>
                <c:pt idx="55">
                  <c:v>0.12954876273653565</c:v>
                </c:pt>
                <c:pt idx="56">
                  <c:v>0.1469592476489028</c:v>
                </c:pt>
                <c:pt idx="57">
                  <c:v>0.1371749669457911</c:v>
                </c:pt>
                <c:pt idx="58">
                  <c:v>0.14578610152784624</c:v>
                </c:pt>
                <c:pt idx="59">
                  <c:v>0.1426961367478555</c:v>
                </c:pt>
                <c:pt idx="60">
                  <c:v>0.16009566108643664</c:v>
                </c:pt>
                <c:pt idx="61">
                  <c:v>0.17161491287841915</c:v>
                </c:pt>
                <c:pt idx="62">
                  <c:v>0.16898553395374552</c:v>
                </c:pt>
                <c:pt idx="63">
                  <c:v>0.17295727913728742</c:v>
                </c:pt>
                <c:pt idx="64">
                  <c:v>0.15607563546187228</c:v>
                </c:pt>
                <c:pt idx="65">
                  <c:v>0.15121338912133891</c:v>
                </c:pt>
                <c:pt idx="66">
                  <c:v>0.14350058553283487</c:v>
                </c:pt>
                <c:pt idx="67">
                  <c:v>0.14169412676875365</c:v>
                </c:pt>
                <c:pt idx="68">
                  <c:v>0.12122297862176042</c:v>
                </c:pt>
                <c:pt idx="69">
                  <c:v>0.1177555726364335</c:v>
                </c:pt>
                <c:pt idx="70">
                  <c:v>0.11250373022978215</c:v>
                </c:pt>
                <c:pt idx="71">
                  <c:v>0.12279254002310612</c:v>
                </c:pt>
                <c:pt idx="72">
                  <c:v>0.12372218881539386</c:v>
                </c:pt>
                <c:pt idx="73">
                  <c:v>0.1362662712143681</c:v>
                </c:pt>
                <c:pt idx="74">
                  <c:v>0.14113973458235754</c:v>
                </c:pt>
                <c:pt idx="75">
                  <c:v>0.1279826464208243</c:v>
                </c:pt>
                <c:pt idx="76">
                  <c:v>0.13208284486127395</c:v>
                </c:pt>
                <c:pt idx="77">
                  <c:v>0.1253016894609815</c:v>
                </c:pt>
                <c:pt idx="78">
                  <c:v>0.12195671776375112</c:v>
                </c:pt>
                <c:pt idx="79">
                  <c:v>0.11888111888111888</c:v>
                </c:pt>
                <c:pt idx="80">
                  <c:v>0.10225160090890312</c:v>
                </c:pt>
                <c:pt idx="81">
                  <c:v>0.10407394727832935</c:v>
                </c:pt>
                <c:pt idx="82">
                  <c:v>0.10849585294776956</c:v>
                </c:pt>
                <c:pt idx="83">
                  <c:v>0.09726603575184017</c:v>
                </c:pt>
                <c:pt idx="84">
                  <c:v>0.10120608285264814</c:v>
                </c:pt>
                <c:pt idx="85">
                  <c:v>0.10182405910875086</c:v>
                </c:pt>
                <c:pt idx="86">
                  <c:v>0.10638652659663166</c:v>
                </c:pt>
                <c:pt idx="87">
                  <c:v>0.12478082992402104</c:v>
                </c:pt>
                <c:pt idx="88">
                  <c:v>0.11678414936178319</c:v>
                </c:pt>
                <c:pt idx="89">
                  <c:v>0.11326212728081887</c:v>
                </c:pt>
                <c:pt idx="90">
                  <c:v>0.10828171598990594</c:v>
                </c:pt>
                <c:pt idx="91">
                  <c:v>0.11352549889135255</c:v>
                </c:pt>
                <c:pt idx="92">
                  <c:v>0.12176814011676397</c:v>
                </c:pt>
                <c:pt idx="93">
                  <c:v>0.1099601593625498</c:v>
                </c:pt>
                <c:pt idx="94">
                  <c:v>0.10033741786538804</c:v>
                </c:pt>
                <c:pt idx="95">
                  <c:v>0.11384266263237519</c:v>
                </c:pt>
                <c:pt idx="96">
                  <c:v>0.10811295383236216</c:v>
                </c:pt>
                <c:pt idx="97">
                  <c:v>0.11181335830212234</c:v>
                </c:pt>
                <c:pt idx="98">
                  <c:v>0.12584163748990035</c:v>
                </c:pt>
                <c:pt idx="99">
                  <c:v>0.12591499409681228</c:v>
                </c:pt>
                <c:pt idx="100">
                  <c:v>0.14343803161694535</c:v>
                </c:pt>
                <c:pt idx="101">
                  <c:v>0.13998329917254992</c:v>
                </c:pt>
                <c:pt idx="102">
                  <c:v>0.12312161891404529</c:v>
                </c:pt>
                <c:pt idx="103">
                  <c:v>0.16074080545120992</c:v>
                </c:pt>
                <c:pt idx="104">
                  <c:v>0.1544209215442092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66.4726</c:v>
                </c:pt>
                <c:pt idx="1">
                  <c:v>1210.363</c:v>
                </c:pt>
                <c:pt idx="2">
                  <c:v>1198.8497</c:v>
                </c:pt>
                <c:pt idx="3">
                  <c:v>1243.9082</c:v>
                </c:pt>
                <c:pt idx="4">
                  <c:v>1218.9636</c:v>
                </c:pt>
                <c:pt idx="5">
                  <c:v>1220.194</c:v>
                </c:pt>
                <c:pt idx="6">
                  <c:v>1182.1217</c:v>
                </c:pt>
                <c:pt idx="7">
                  <c:v>1269.1525</c:v>
                </c:pt>
                <c:pt idx="8">
                  <c:v>1399.2751</c:v>
                </c:pt>
                <c:pt idx="9">
                  <c:v>1307.293</c:v>
                </c:pt>
                <c:pt idx="10">
                  <c:v>1347.4707</c:v>
                </c:pt>
                <c:pt idx="11">
                  <c:v>1290.4618</c:v>
                </c:pt>
                <c:pt idx="12">
                  <c:v>1322.6766</c:v>
                </c:pt>
                <c:pt idx="13">
                  <c:v>1330.3626</c:v>
                </c:pt>
                <c:pt idx="14">
                  <c:v>1342.5614</c:v>
                </c:pt>
                <c:pt idx="15">
                  <c:v>1336.0139</c:v>
                </c:pt>
                <c:pt idx="16">
                  <c:v>1340.7115</c:v>
                </c:pt>
                <c:pt idx="17">
                  <c:v>1265.9324</c:v>
                </c:pt>
                <c:pt idx="18">
                  <c:v>1338.168</c:v>
                </c:pt>
                <c:pt idx="19">
                  <c:v>1385.0191</c:v>
                </c:pt>
                <c:pt idx="20">
                  <c:v>1371.5311</c:v>
                </c:pt>
                <c:pt idx="21">
                  <c:v>1316.3206</c:v>
                </c:pt>
                <c:pt idx="22">
                  <c:v>1290.7746</c:v>
                </c:pt>
                <c:pt idx="23">
                  <c:v>1233.6636</c:v>
                </c:pt>
                <c:pt idx="24">
                  <c:v>1252.0</c:v>
                </c:pt>
                <c:pt idx="25">
                  <c:v>1227.6345</c:v>
                </c:pt>
                <c:pt idx="26">
                  <c:v>1243.0371</c:v>
                </c:pt>
                <c:pt idx="27">
                  <c:v>1303.2949</c:v>
                </c:pt>
                <c:pt idx="28">
                  <c:v>1367.6553</c:v>
                </c:pt>
                <c:pt idx="29">
                  <c:v>1381.4109</c:v>
                </c:pt>
                <c:pt idx="30">
                  <c:v>1364.7263</c:v>
                </c:pt>
                <c:pt idx="31">
                  <c:v>1283.2209</c:v>
                </c:pt>
                <c:pt idx="32">
                  <c:v>1264.356</c:v>
                </c:pt>
                <c:pt idx="33">
                  <c:v>1308.9485</c:v>
                </c:pt>
                <c:pt idx="34">
                  <c:v>1345.7056</c:v>
                </c:pt>
                <c:pt idx="35">
                  <c:v>1336.0892</c:v>
                </c:pt>
                <c:pt idx="36">
                  <c:v>1258.6629</c:v>
                </c:pt>
                <c:pt idx="37">
                  <c:v>1406.7469</c:v>
                </c:pt>
                <c:pt idx="38">
                  <c:v>1412.7076</c:v>
                </c:pt>
                <c:pt idx="39">
                  <c:v>1405.7138</c:v>
                </c:pt>
                <c:pt idx="40">
                  <c:v>1421.0131</c:v>
                </c:pt>
                <c:pt idx="41">
                  <c:v>1471.1531</c:v>
                </c:pt>
                <c:pt idx="42">
                  <c:v>1448.1697</c:v>
                </c:pt>
                <c:pt idx="43">
                  <c:v>1454.6919</c:v>
                </c:pt>
                <c:pt idx="44">
                  <c:v>1369.9534</c:v>
                </c:pt>
                <c:pt idx="45">
                  <c:v>1302.1424</c:v>
                </c:pt>
                <c:pt idx="46">
                  <c:v>1272.4083</c:v>
                </c:pt>
                <c:pt idx="47">
                  <c:v>1286.2189</c:v>
                </c:pt>
                <c:pt idx="48">
                  <c:v>1251.535</c:v>
                </c:pt>
                <c:pt idx="49">
                  <c:v>1236.8289</c:v>
                </c:pt>
                <c:pt idx="50">
                  <c:v>1134.7082</c:v>
                </c:pt>
                <c:pt idx="51">
                  <c:v>1140.5129</c:v>
                </c:pt>
              </c:numCache>
            </c:numRef>
          </c:xVal>
          <c:yVal>
            <c:numRef>
              <c:f>Sheet1!$B$109:$B$160</c:f>
              <c:numCache>
                <c:formatCode>General</c:formatCode>
                <c:ptCount val="52"/>
                <c:pt idx="0">
                  <c:v>0.13968161522034556</c:v>
                </c:pt>
                <c:pt idx="1">
                  <c:v>0.15771015987622486</c:v>
                </c:pt>
                <c:pt idx="2">
                  <c:v>0.15615001777461784</c:v>
                </c:pt>
                <c:pt idx="3">
                  <c:v>0.15722692166237587</c:v>
                </c:pt>
                <c:pt idx="4">
                  <c:v>0.15798695609851066</c:v>
                </c:pt>
                <c:pt idx="5">
                  <c:v>0.15055726364335126</c:v>
                </c:pt>
                <c:pt idx="6">
                  <c:v>0.1455173040239804</c:v>
                </c:pt>
                <c:pt idx="7">
                  <c:v>0.1449256954147085</c:v>
                </c:pt>
                <c:pt idx="8">
                  <c:v>0.13881711168532873</c:v>
                </c:pt>
                <c:pt idx="9">
                  <c:v>0.1599696739954511</c:v>
                </c:pt>
                <c:pt idx="10">
                  <c:v>0.1529873635136793</c:v>
                </c:pt>
                <c:pt idx="11">
                  <c:v>0.14329535495179668</c:v>
                </c:pt>
                <c:pt idx="12">
                  <c:v>0.13794138241472442</c:v>
                </c:pt>
                <c:pt idx="13">
                  <c:v>0.14104206705103567</c:v>
                </c:pt>
                <c:pt idx="14">
                  <c:v>0.1469373303434439</c:v>
                </c:pt>
                <c:pt idx="15">
                  <c:v>0.14651547967894</c:v>
                </c:pt>
                <c:pt idx="16">
                  <c:v>0.13548194568785438</c:v>
                </c:pt>
                <c:pt idx="17">
                  <c:v>0.13516024152345565</c:v>
                </c:pt>
                <c:pt idx="18">
                  <c:v>0.11793567145193531</c:v>
                </c:pt>
                <c:pt idx="19">
                  <c:v>0.1341650999829089</c:v>
                </c:pt>
                <c:pt idx="20">
                  <c:v>0.1342601787487587</c:v>
                </c:pt>
                <c:pt idx="21">
                  <c:v>0.13900264996386413</c:v>
                </c:pt>
                <c:pt idx="22">
                  <c:v>0.1452825612418142</c:v>
                </c:pt>
                <c:pt idx="23">
                  <c:v>0.1608187134502924</c:v>
                </c:pt>
                <c:pt idx="24">
                  <c:v>0.16136468418626096</c:v>
                </c:pt>
                <c:pt idx="25">
                  <c:v>0.16670558020079385</c:v>
                </c:pt>
                <c:pt idx="26">
                  <c:v>0.15474613686534217</c:v>
                </c:pt>
                <c:pt idx="27">
                  <c:v>0.12652980655349388</c:v>
                </c:pt>
                <c:pt idx="28">
                  <c:v>0.12490720118782479</c:v>
                </c:pt>
                <c:pt idx="29">
                  <c:v>0.12426570266606417</c:v>
                </c:pt>
                <c:pt idx="30">
                  <c:v>0.1327089995431704</c:v>
                </c:pt>
                <c:pt idx="31">
                  <c:v>0.12417470797359066</c:v>
                </c:pt>
                <c:pt idx="32">
                  <c:v>0.13073237508555785</c:v>
                </c:pt>
                <c:pt idx="33">
                  <c:v>0.14113475177304965</c:v>
                </c:pt>
                <c:pt idx="34">
                  <c:v>0.15177380634835957</c:v>
                </c:pt>
                <c:pt idx="35">
                  <c:v>0.1567662007623888</c:v>
                </c:pt>
                <c:pt idx="36">
                  <c:v>0.1447939262472885</c:v>
                </c:pt>
                <c:pt idx="37">
                  <c:v>0.11942481111381915</c:v>
                </c:pt>
                <c:pt idx="38">
                  <c:v>0.12534974818130945</c:v>
                </c:pt>
                <c:pt idx="39">
                  <c:v>0.1297923322683706</c:v>
                </c:pt>
                <c:pt idx="40">
                  <c:v>0.12092471843509188</c:v>
                </c:pt>
                <c:pt idx="41">
                  <c:v>0.12034647991153705</c:v>
                </c:pt>
                <c:pt idx="42">
                  <c:v>0.12526315789473685</c:v>
                </c:pt>
                <c:pt idx="43">
                  <c:v>0.12066792690611217</c:v>
                </c:pt>
                <c:pt idx="44">
                  <c:v>0.11443795990865263</c:v>
                </c:pt>
                <c:pt idx="45">
                  <c:v>0.12358941951792002</c:v>
                </c:pt>
                <c:pt idx="46">
                  <c:v>0.11922455573505654</c:v>
                </c:pt>
                <c:pt idx="47">
                  <c:v>0.1160193695029153</c:v>
                </c:pt>
                <c:pt idx="48">
                  <c:v>0.10238440470436604</c:v>
                </c:pt>
                <c:pt idx="49">
                  <c:v>0.11883911123977708</c:v>
                </c:pt>
                <c:pt idx="50">
                  <c:v>0.1522399215209978</c:v>
                </c:pt>
                <c:pt idx="51">
                  <c:v>0.1450212765957446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07.1726615135032</c:v>
                </c:pt>
              </c:numCache>
            </c:numRef>
          </c:xVal>
          <c:yVal>
            <c:numRef>
              <c:f>Sheet1!$B$163:$B$164</c:f>
              <c:numCache>
                <c:formatCode>General</c:formatCode>
                <c:ptCount val="2"/>
                <c:pt idx="0">
                  <c:v>0.17685125849073272</c:v>
                </c:pt>
                <c:pt idx="1">
                  <c:v>0.1768512584907327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07.1726615135032</c:v>
                </c:pt>
                <c:pt idx="1">
                  <c:v>907.1726615135032</c:v>
                </c:pt>
              </c:numCache>
            </c:numRef>
          </c:xVal>
          <c:yVal>
            <c:numRef>
              <c:f>Sheet1!$B$167:$B$168</c:f>
              <c:numCache>
                <c:formatCode>General</c:formatCode>
                <c:ptCount val="2"/>
                <c:pt idx="0">
                  <c:v>0.1768512584907327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85.000116549799</c:v>
                </c:pt>
              </c:numCache>
            </c:numRef>
          </c:xVal>
          <c:yVal>
            <c:numRef>
              <c:f>Sheet1!$B$171:$B$172</c:f>
              <c:numCache>
                <c:formatCode>General</c:formatCode>
                <c:ptCount val="2"/>
                <c:pt idx="0">
                  <c:v>0.14984144948882708</c:v>
                </c:pt>
                <c:pt idx="1">
                  <c:v>0.1498414494888270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85.000116549799</c:v>
                </c:pt>
                <c:pt idx="1">
                  <c:v>1185.000116549799</c:v>
                </c:pt>
              </c:numCache>
            </c:numRef>
          </c:xVal>
          <c:yVal>
            <c:numRef>
              <c:f>Sheet1!$B$175:$B$176</c:f>
              <c:numCache>
                <c:formatCode>General</c:formatCode>
                <c:ptCount val="2"/>
                <c:pt idx="0">
                  <c:v>0.1498414494888270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53.3806688420007</c:v>
                </c:pt>
              </c:numCache>
            </c:numRef>
          </c:xVal>
          <c:yVal>
            <c:numRef>
              <c:f>Sheet1!$B$179:$B$180</c:f>
              <c:numCache>
                <c:formatCode>General</c:formatCode>
                <c:ptCount val="2"/>
                <c:pt idx="0">
                  <c:v>0.12375004878009835</c:v>
                </c:pt>
                <c:pt idx="1">
                  <c:v>0.1237500487800983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53.3806688420007</c:v>
                </c:pt>
                <c:pt idx="1">
                  <c:v>1453.3806688420007</c:v>
                </c:pt>
              </c:numCache>
            </c:numRef>
          </c:xVal>
          <c:yVal>
            <c:numRef>
              <c:f>Sheet1!$B$183:$B$184</c:f>
              <c:numCache>
                <c:formatCode>General</c:formatCode>
                <c:ptCount val="2"/>
                <c:pt idx="0">
                  <c:v>0.1237500487800983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66.4726</c:v>
                </c:pt>
                <c:pt idx="1">
                  <c:v>1210.363</c:v>
                </c:pt>
                <c:pt idx="2">
                  <c:v>1198.8497</c:v>
                </c:pt>
                <c:pt idx="3">
                  <c:v>1243.9082</c:v>
                </c:pt>
                <c:pt idx="4">
                  <c:v>1218.9636</c:v>
                </c:pt>
                <c:pt idx="5">
                  <c:v>1220.194</c:v>
                </c:pt>
                <c:pt idx="6">
                  <c:v>1182.1217</c:v>
                </c:pt>
                <c:pt idx="7">
                  <c:v>1269.1525</c:v>
                </c:pt>
                <c:pt idx="8">
                  <c:v>1399.2751</c:v>
                </c:pt>
                <c:pt idx="9">
                  <c:v>1307.293</c:v>
                </c:pt>
                <c:pt idx="10">
                  <c:v>1347.4707</c:v>
                </c:pt>
                <c:pt idx="11">
                  <c:v>1290.4618</c:v>
                </c:pt>
                <c:pt idx="12">
                  <c:v>1322.6766</c:v>
                </c:pt>
                <c:pt idx="13">
                  <c:v>1330.3626</c:v>
                </c:pt>
                <c:pt idx="14">
                  <c:v>1342.5614</c:v>
                </c:pt>
                <c:pt idx="15">
                  <c:v>1336.0139</c:v>
                </c:pt>
                <c:pt idx="16">
                  <c:v>1340.7115</c:v>
                </c:pt>
                <c:pt idx="17">
                  <c:v>1265.9324</c:v>
                </c:pt>
                <c:pt idx="18">
                  <c:v>1338.168</c:v>
                </c:pt>
                <c:pt idx="19">
                  <c:v>1385.0191</c:v>
                </c:pt>
                <c:pt idx="20">
                  <c:v>1371.5311</c:v>
                </c:pt>
                <c:pt idx="21">
                  <c:v>1316.3206</c:v>
                </c:pt>
                <c:pt idx="22">
                  <c:v>1290.7746</c:v>
                </c:pt>
                <c:pt idx="23">
                  <c:v>1233.6636</c:v>
                </c:pt>
                <c:pt idx="24">
                  <c:v>1252.0</c:v>
                </c:pt>
                <c:pt idx="25">
                  <c:v>1227.6345</c:v>
                </c:pt>
                <c:pt idx="26">
                  <c:v>1243.0371</c:v>
                </c:pt>
                <c:pt idx="27">
                  <c:v>1303.2949</c:v>
                </c:pt>
                <c:pt idx="28">
                  <c:v>1367.6553</c:v>
                </c:pt>
                <c:pt idx="29">
                  <c:v>1381.4109</c:v>
                </c:pt>
                <c:pt idx="30">
                  <c:v>1364.7263</c:v>
                </c:pt>
                <c:pt idx="31">
                  <c:v>1283.2209</c:v>
                </c:pt>
                <c:pt idx="32">
                  <c:v>1264.356</c:v>
                </c:pt>
                <c:pt idx="33">
                  <c:v>1308.9485</c:v>
                </c:pt>
                <c:pt idx="34">
                  <c:v>1345.7056</c:v>
                </c:pt>
                <c:pt idx="35">
                  <c:v>1336.0892</c:v>
                </c:pt>
                <c:pt idx="36">
                  <c:v>1258.6629</c:v>
                </c:pt>
                <c:pt idx="37">
                  <c:v>1406.7469</c:v>
                </c:pt>
                <c:pt idx="38">
                  <c:v>1412.7076</c:v>
                </c:pt>
                <c:pt idx="39">
                  <c:v>1405.7138</c:v>
                </c:pt>
                <c:pt idx="40">
                  <c:v>1421.0131</c:v>
                </c:pt>
                <c:pt idx="41">
                  <c:v>1471.1531</c:v>
                </c:pt>
                <c:pt idx="42">
                  <c:v>1448.1697</c:v>
                </c:pt>
                <c:pt idx="43">
                  <c:v>1454.6919</c:v>
                </c:pt>
                <c:pt idx="44">
                  <c:v>1369.9534</c:v>
                </c:pt>
                <c:pt idx="45">
                  <c:v>1302.1424</c:v>
                </c:pt>
                <c:pt idx="46">
                  <c:v>1272.4083</c:v>
                </c:pt>
                <c:pt idx="47">
                  <c:v>1286.2189</c:v>
                </c:pt>
                <c:pt idx="48">
                  <c:v>1251.535</c:v>
                </c:pt>
                <c:pt idx="49">
                  <c:v>1236.8289</c:v>
                </c:pt>
                <c:pt idx="50">
                  <c:v>1134.7082</c:v>
                </c:pt>
                <c:pt idx="51">
                  <c:v>1140.5129</c:v>
                </c:pt>
                <c:pt idx="52">
                  <c:v>1185.000116549799</c:v>
                </c:pt>
                <c:pt idx="53">
                  <c:v>907.1726615135032</c:v>
                </c:pt>
                <c:pt idx="54">
                  <c:v>1453.3806688420007</c:v>
                </c:pt>
              </c:numCache>
            </c:numRef>
          </c:xVal>
          <c:yVal>
            <c:numRef>
              <c:f>Sheet1!$B$187:$B$241</c:f>
              <c:numCache>
                <c:formatCode>General</c:formatCode>
                <c:ptCount val="55"/>
                <c:pt idx="0">
                  <c:v>0.14192086361075623</c:v>
                </c:pt>
                <c:pt idx="1">
                  <c:v>0.14737572255900286</c:v>
                </c:pt>
                <c:pt idx="2">
                  <c:v>0.1484950217079693</c:v>
                </c:pt>
                <c:pt idx="3">
                  <c:v>0.1441145277832297</c:v>
                </c:pt>
                <c:pt idx="4">
                  <c:v>0.1465395900634889</c:v>
                </c:pt>
                <c:pt idx="5">
                  <c:v>0.1464199731271728</c:v>
                </c:pt>
                <c:pt idx="6">
                  <c:v>0.15012128317635032</c:v>
                </c:pt>
                <c:pt idx="7">
                  <c:v>0.14166032929050792</c:v>
                </c:pt>
                <c:pt idx="8">
                  <c:v>0.129010079975255</c:v>
                </c:pt>
                <c:pt idx="9">
                  <c:v>0.13795238897876805</c:v>
                </c:pt>
                <c:pt idx="10">
                  <c:v>0.13404639630790655</c:v>
                </c:pt>
                <c:pt idx="11">
                  <c:v>0.1395886833371261</c:v>
                </c:pt>
                <c:pt idx="12">
                  <c:v>0.13645682729028252</c:v>
                </c:pt>
                <c:pt idx="13">
                  <c:v>0.13570961031001136</c:v>
                </c:pt>
                <c:pt idx="14">
                  <c:v>0.13452366827267956</c:v>
                </c:pt>
                <c:pt idx="15">
                  <c:v>0.1351602026440464</c:v>
                </c:pt>
                <c:pt idx="16">
                  <c:v>0.13470351171423614</c:v>
                </c:pt>
                <c:pt idx="17">
                  <c:v>0.1419733807344542</c:v>
                </c:pt>
                <c:pt idx="18">
                  <c:v>0.13495078550935968</c:v>
                </c:pt>
                <c:pt idx="19">
                  <c:v>0.13039601873023102</c:v>
                </c:pt>
                <c:pt idx="20">
                  <c:v>0.13170729411793564</c:v>
                </c:pt>
                <c:pt idx="21">
                  <c:v>0.13707474442879455</c:v>
                </c:pt>
                <c:pt idx="22">
                  <c:v>0.1395582735698312</c:v>
                </c:pt>
                <c:pt idx="23">
                  <c:v>0.14511048654930908</c:v>
                </c:pt>
                <c:pt idx="24">
                  <c:v>0.14332785976853307</c:v>
                </c:pt>
                <c:pt idx="25">
                  <c:v>0.1456966231477677</c:v>
                </c:pt>
                <c:pt idx="26">
                  <c:v>0.1441992143186856</c:v>
                </c:pt>
                <c:pt idx="27">
                  <c:v>0.1383410759692471</c:v>
                </c:pt>
                <c:pt idx="28">
                  <c:v>0.13208409135604846</c:v>
                </c:pt>
                <c:pt idx="29">
                  <c:v>0.13074680045131018</c:v>
                </c:pt>
                <c:pt idx="30">
                  <c:v>0.13236884266169693</c:v>
                </c:pt>
                <c:pt idx="31">
                  <c:v>0.14029262861847475</c:v>
                </c:pt>
                <c:pt idx="32">
                  <c:v>0.14212663507321294</c:v>
                </c:pt>
                <c:pt idx="33">
                  <c:v>0.13779144470205207</c:v>
                </c:pt>
                <c:pt idx="34">
                  <c:v>0.1342179956693269</c:v>
                </c:pt>
                <c:pt idx="35">
                  <c:v>0.13515288213420848</c:v>
                </c:pt>
                <c:pt idx="36">
                  <c:v>0.14268010644849027</c:v>
                </c:pt>
                <c:pt idx="37">
                  <c:v>0.12828368707476184</c:v>
                </c:pt>
                <c:pt idx="38">
                  <c:v>0.12770420018245085</c:v>
                </c:pt>
                <c:pt idx="39">
                  <c:v>0.1283841229142516</c:v>
                </c:pt>
                <c:pt idx="40">
                  <c:v>0.12689675669693926</c:v>
                </c:pt>
                <c:pt idx="41">
                  <c:v>0.12202224988054622</c:v>
                </c:pt>
                <c:pt idx="42">
                  <c:v>0.1242566483640701</c:v>
                </c:pt>
                <c:pt idx="43">
                  <c:v>0.12362257360623446</c:v>
                </c:pt>
                <c:pt idx="44">
                  <c:v>0.1318606748399983</c:v>
                </c:pt>
                <c:pt idx="45">
                  <c:v>0.13845311962911733</c:v>
                </c:pt>
                <c:pt idx="46">
                  <c:v>0.1413438071665986</c:v>
                </c:pt>
                <c:pt idx="47">
                  <c:v>0.14000116927592296</c:v>
                </c:pt>
                <c:pt idx="48">
                  <c:v>0.14337306610418568</c:v>
                </c:pt>
                <c:pt idx="49">
                  <c:v>0.14480276264771497</c:v>
                </c:pt>
                <c:pt idx="50">
                  <c:v>0.1547307253171371</c:v>
                </c:pt>
                <c:pt idx="51">
                  <c:v>0.1541664044213031</c:v>
                </c:pt>
                <c:pt idx="52">
                  <c:v>0.1498414494888271</c:v>
                </c:pt>
                <c:pt idx="53">
                  <c:v>0.17685125849073272</c:v>
                </c:pt>
                <c:pt idx="54">
                  <c:v>0.1237500487800983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67.0"/>
          <c:min val="72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63097757088447"/>
          <c:min val="0.0719568853372979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932074048424278</c:v>
                </c:pt>
                <c:pt idx="1">
                  <c:v>5.253490176858788</c:v>
                </c:pt>
                <c:pt idx="2">
                  <c:v>5.0301259335131325</c:v>
                </c:pt>
                <c:pt idx="3">
                  <c:v>3.9703492062542374</c:v>
                </c:pt>
                <c:pt idx="4">
                  <c:v>4.565076245526566</c:v>
                </c:pt>
                <c:pt idx="5">
                  <c:v>5.987365056666746</c:v>
                </c:pt>
                <c:pt idx="6">
                  <c:v>4.639320932482258</c:v>
                </c:pt>
                <c:pt idx="7">
                  <c:v>3.299718686830774</c:v>
                </c:pt>
                <c:pt idx="8">
                  <c:v>5.491079786100221</c:v>
                </c:pt>
                <c:pt idx="9">
                  <c:v>4.881228147073176</c:v>
                </c:pt>
                <c:pt idx="10">
                  <c:v>4.531148891741065</c:v>
                </c:pt>
                <c:pt idx="11">
                  <c:v>3.7783022313299215</c:v>
                </c:pt>
                <c:pt idx="12">
                  <c:v>6.0642309299842525</c:v>
                </c:pt>
                <c:pt idx="13">
                  <c:v>4.552515730056909</c:v>
                </c:pt>
                <c:pt idx="14">
                  <c:v>0.0</c:v>
                </c:pt>
                <c:pt idx="15">
                  <c:v>3.2036349177597123</c:v>
                </c:pt>
                <c:pt idx="16">
                  <c:v>1.8370521029538087</c:v>
                </c:pt>
                <c:pt idx="17">
                  <c:v>5.467640748747699</c:v>
                </c:pt>
                <c:pt idx="18">
                  <c:v>0.0</c:v>
                </c:pt>
                <c:pt idx="19">
                  <c:v>3.1775544299131817</c:v>
                </c:pt>
                <c:pt idx="20">
                  <c:v>4.210984434743619</c:v>
                </c:pt>
                <c:pt idx="21">
                  <c:v>5.0916307853730585</c:v>
                </c:pt>
                <c:pt idx="22">
                  <c:v>4.082724378489348</c:v>
                </c:pt>
                <c:pt idx="23">
                  <c:v>4.839221241615487</c:v>
                </c:pt>
                <c:pt idx="24">
                  <c:v>4.657890772258601</c:v>
                </c:pt>
                <c:pt idx="25">
                  <c:v>3.3888124456381066</c:v>
                </c:pt>
                <c:pt idx="26">
                  <c:v>4.712596744598236</c:v>
                </c:pt>
                <c:pt idx="27">
                  <c:v>11.657284545049391</c:v>
                </c:pt>
                <c:pt idx="28">
                  <c:v>2.4489099151936657</c:v>
                </c:pt>
                <c:pt idx="29">
                  <c:v>5.081902127649096</c:v>
                </c:pt>
                <c:pt idx="30">
                  <c:v>2.8043104965597103</c:v>
                </c:pt>
                <c:pt idx="31">
                  <c:v>3.750503472256003</c:v>
                </c:pt>
                <c:pt idx="32">
                  <c:v>6.355020653541793</c:v>
                </c:pt>
                <c:pt idx="33">
                  <c:v>2.8687695579557007</c:v>
                </c:pt>
                <c:pt idx="34">
                  <c:v>2.7236217703472705</c:v>
                </c:pt>
                <c:pt idx="35">
                  <c:v>2.9401522979064607</c:v>
                </c:pt>
                <c:pt idx="36">
                  <c:v>5.222026552303278</c:v>
                </c:pt>
                <c:pt idx="37">
                  <c:v>3.6881787581384455</c:v>
                </c:pt>
                <c:pt idx="38">
                  <c:v>6.151234477223736</c:v>
                </c:pt>
                <c:pt idx="39">
                  <c:v>4.5947927295829425</c:v>
                </c:pt>
                <c:pt idx="40">
                  <c:v>6.756753015304364</c:v>
                </c:pt>
                <c:pt idx="41">
                  <c:v>4.1225508656120535</c:v>
                </c:pt>
                <c:pt idx="42">
                  <c:v>8.10114059036729</c:v>
                </c:pt>
                <c:pt idx="43">
                  <c:v>5.468653399240174</c:v>
                </c:pt>
                <c:pt idx="44">
                  <c:v>3.6046618159094006</c:v>
                </c:pt>
                <c:pt idx="45">
                  <c:v>3.574917398913476</c:v>
                </c:pt>
                <c:pt idx="46">
                  <c:v>3.367373679226257</c:v>
                </c:pt>
                <c:pt idx="47">
                  <c:v>2.90726403524941</c:v>
                </c:pt>
                <c:pt idx="48">
                  <c:v>3.6500856529220376</c:v>
                </c:pt>
                <c:pt idx="49">
                  <c:v>2.7933619096849793</c:v>
                </c:pt>
                <c:pt idx="50">
                  <c:v>3.550976064066891</c:v>
                </c:pt>
                <c:pt idx="51">
                  <c:v>3.3346020113294648</c:v>
                </c:pt>
                <c:pt idx="52">
                  <c:v>3.822912395654614</c:v>
                </c:pt>
                <c:pt idx="53">
                  <c:v>2.914662353485271</c:v>
                </c:pt>
                <c:pt idx="54">
                  <c:v>3.0077546905379293</c:v>
                </c:pt>
                <c:pt idx="55">
                  <c:v>3.628861043497406</c:v>
                </c:pt>
                <c:pt idx="56">
                  <c:v>7.316908358098434</c:v>
                </c:pt>
                <c:pt idx="57">
                  <c:v>2.905466042071421</c:v>
                </c:pt>
                <c:pt idx="58">
                  <c:v>3.068417116716678</c:v>
                </c:pt>
                <c:pt idx="59">
                  <c:v>2.469583763274462</c:v>
                </c:pt>
                <c:pt idx="60">
                  <c:v>2.1375046945600533</c:v>
                </c:pt>
                <c:pt idx="61">
                  <c:v>2.2603513713176184</c:v>
                </c:pt>
                <c:pt idx="62">
                  <c:v>2.417700278115394</c:v>
                </c:pt>
                <c:pt idx="63">
                  <c:v>1.9601141508592053</c:v>
                </c:pt>
                <c:pt idx="64">
                  <c:v>2.136777848922294</c:v>
                </c:pt>
                <c:pt idx="65">
                  <c:v>2.003314085179818</c:v>
                </c:pt>
                <c:pt idx="66">
                  <c:v>1.8666430466946589</c:v>
                </c:pt>
                <c:pt idx="67">
                  <c:v>2.5554718129647296</c:v>
                </c:pt>
                <c:pt idx="68">
                  <c:v>1.9294804011148767</c:v>
                </c:pt>
                <c:pt idx="69">
                  <c:v>1.7577445938650844</c:v>
                </c:pt>
                <c:pt idx="70">
                  <c:v>1.8590953484586585</c:v>
                </c:pt>
                <c:pt idx="71">
                  <c:v>1.3849384034891086</c:v>
                </c:pt>
                <c:pt idx="72">
                  <c:v>2.318418128927751</c:v>
                </c:pt>
                <c:pt idx="73">
                  <c:v>1.4955922806240989</c:v>
                </c:pt>
                <c:pt idx="74">
                  <c:v>1.846903232523254</c:v>
                </c:pt>
                <c:pt idx="75">
                  <c:v>2.896734163286426</c:v>
                </c:pt>
                <c:pt idx="76">
                  <c:v>2.813494860697216</c:v>
                </c:pt>
                <c:pt idx="77">
                  <c:v>3.332492967759515</c:v>
                </c:pt>
                <c:pt idx="78">
                  <c:v>2.2117184166739143</c:v>
                </c:pt>
                <c:pt idx="79">
                  <c:v>3.5663552848650006</c:v>
                </c:pt>
                <c:pt idx="80">
                  <c:v>3.309523036112327</c:v>
                </c:pt>
                <c:pt idx="81">
                  <c:v>2.650521168541138</c:v>
                </c:pt>
                <c:pt idx="82">
                  <c:v>3.1653620507555376</c:v>
                </c:pt>
                <c:pt idx="83">
                  <c:v>3.2763008539366196</c:v>
                </c:pt>
                <c:pt idx="84">
                  <c:v>3.254590283249759</c:v>
                </c:pt>
                <c:pt idx="85">
                  <c:v>2.791033088475206</c:v>
                </c:pt>
                <c:pt idx="86">
                  <c:v>3.723714015147877</c:v>
                </c:pt>
                <c:pt idx="87">
                  <c:v>3.7305274976890814</c:v>
                </c:pt>
                <c:pt idx="88">
                  <c:v>3.0372927989968264</c:v>
                </c:pt>
                <c:pt idx="89">
                  <c:v>2.8546152576605457</c:v>
                </c:pt>
                <c:pt idx="90">
                  <c:v>2.997628471602045</c:v>
                </c:pt>
                <c:pt idx="91">
                  <c:v>2.862758239109157</c:v>
                </c:pt>
                <c:pt idx="92">
                  <c:v>3.175402016710868</c:v>
                </c:pt>
                <c:pt idx="93">
                  <c:v>3.1464284474415125</c:v>
                </c:pt>
                <c:pt idx="94">
                  <c:v>3.824066302971432</c:v>
                </c:pt>
                <c:pt idx="95">
                  <c:v>3.368218444073094</c:v>
                </c:pt>
                <c:pt idx="96">
                  <c:v>2.6366180581038527</c:v>
                </c:pt>
                <c:pt idx="97">
                  <c:v>2.8985725796583632</c:v>
                </c:pt>
                <c:pt idx="98">
                  <c:v>2.7762602848431692</c:v>
                </c:pt>
                <c:pt idx="99">
                  <c:v>2.8827231185998756</c:v>
                </c:pt>
                <c:pt idx="100">
                  <c:v>3.14057312831593</c:v>
                </c:pt>
                <c:pt idx="101">
                  <c:v>2.8323703735297117</c:v>
                </c:pt>
                <c:pt idx="102">
                  <c:v>2.8891481207940566</c:v>
                </c:pt>
                <c:pt idx="103">
                  <c:v>3.032818507282688</c:v>
                </c:pt>
                <c:pt idx="104">
                  <c:v>3.268048715862653</c:v>
                </c:pt>
              </c:numCache>
            </c:numRef>
          </c:xVal>
          <c:yVal>
            <c:numRef>
              <c:f>Sheet1!$B$2:$B$106</c:f>
              <c:numCache>
                <c:formatCode>General</c:formatCode>
                <c:ptCount val="105"/>
                <c:pt idx="0">
                  <c:v>0.0011239840913020924</c:v>
                </c:pt>
                <c:pt idx="1">
                  <c:v>0.0003037359522122102</c:v>
                </c:pt>
                <c:pt idx="2">
                  <c:v>0.0003105268605734396</c:v>
                </c:pt>
                <c:pt idx="3">
                  <c:v>0.00033415014479839606</c:v>
                </c:pt>
                <c:pt idx="4">
                  <c:v>0.00024978144123891593</c:v>
                </c:pt>
                <c:pt idx="5">
                  <c:v>0.0003697769012695674</c:v>
                </c:pt>
                <c:pt idx="6">
                  <c:v>0.0006844626967830253</c:v>
                </c:pt>
                <c:pt idx="7">
                  <c:v>0.0008228195282501371</c:v>
                </c:pt>
                <c:pt idx="8">
                  <c:v>0.00042319085907744394</c:v>
                </c:pt>
                <c:pt idx="9">
                  <c:v>0.0005163688939378292</c:v>
                </c:pt>
                <c:pt idx="10">
                  <c:v>0.00040261701056869655</c:v>
                </c:pt>
                <c:pt idx="11">
                  <c:v>0.0007121782480415098</c:v>
                </c:pt>
                <c:pt idx="12">
                  <c:v>0.0004589261128958238</c:v>
                </c:pt>
                <c:pt idx="13">
                  <c:v>0.0005639627784566219</c:v>
                </c:pt>
                <c:pt idx="14">
                  <c:v>0.0</c:v>
                </c:pt>
                <c:pt idx="15">
                  <c:v>0.000576169624337405</c:v>
                </c:pt>
                <c:pt idx="16">
                  <c:v>0.0005341880341880342</c:v>
                </c:pt>
                <c:pt idx="17">
                  <c:v>0.0002938583602703497</c:v>
                </c:pt>
                <c:pt idx="18">
                  <c:v>0.0</c:v>
                </c:pt>
                <c:pt idx="19">
                  <c:v>0.0006090133982947625</c:v>
                </c:pt>
                <c:pt idx="20">
                  <c:v>0.00048725028422933245</c:v>
                </c:pt>
                <c:pt idx="21">
                  <c:v>0.00021204410517387616</c:v>
                </c:pt>
                <c:pt idx="22">
                  <c:v>0.0008235536339304097</c:v>
                </c:pt>
                <c:pt idx="23">
                  <c:v>0.0006513243595310464</c:v>
                </c:pt>
                <c:pt idx="24">
                  <c:v>0.0008066142367412785</c:v>
                </c:pt>
                <c:pt idx="25">
                  <c:v>0.001372055796935742</c:v>
                </c:pt>
                <c:pt idx="26">
                  <c:v>0.0009633911368015414</c:v>
                </c:pt>
                <c:pt idx="27">
                  <c:v>0.0001840264998159735</c:v>
                </c:pt>
                <c:pt idx="28">
                  <c:v>0.0009633911368015414</c:v>
                </c:pt>
                <c:pt idx="29">
                  <c:v>0.0007037297677691766</c:v>
                </c:pt>
                <c:pt idx="30">
                  <c:v>0.0008710801393728223</c:v>
                </c:pt>
                <c:pt idx="31">
                  <c:v>0.0008378718056137411</c:v>
                </c:pt>
                <c:pt idx="32">
                  <c:v>0.00042927666881305</c:v>
                </c:pt>
                <c:pt idx="33">
                  <c:v>0.0015287922541192458</c:v>
                </c:pt>
                <c:pt idx="34">
                  <c:v>0.0017421602787456446</c:v>
                </c:pt>
                <c:pt idx="35">
                  <c:v>0.0016525023607176581</c:v>
                </c:pt>
                <c:pt idx="36">
                  <c:v>0.0006046863189720333</c:v>
                </c:pt>
                <c:pt idx="37">
                  <c:v>0.0007292616226071103</c:v>
                </c:pt>
                <c:pt idx="38">
                  <c:v>0.00037167812674224123</c:v>
                </c:pt>
                <c:pt idx="39">
                  <c:v>0.0007756447547023463</c:v>
                </c:pt>
                <c:pt idx="40">
                  <c:v>0.0003134304967873374</c:v>
                </c:pt>
                <c:pt idx="41">
                  <c:v>0.0005368647100930566</c:v>
                </c:pt>
                <c:pt idx="42">
                  <c:v>0.0001497678598172832</c:v>
                </c:pt>
                <c:pt idx="43">
                  <c:v>0.00040149892933618843</c:v>
                </c:pt>
                <c:pt idx="44">
                  <c:v>0.000522420548541576</c:v>
                </c:pt>
                <c:pt idx="45">
                  <c:v>0.00039203387172651716</c:v>
                </c:pt>
                <c:pt idx="46">
                  <c:v>0.0008500115910671509</c:v>
                </c:pt>
                <c:pt idx="47">
                  <c:v>0.001103491763222196</c:v>
                </c:pt>
                <c:pt idx="48">
                  <c:v>0.0005687635081333182</c:v>
                </c:pt>
                <c:pt idx="49">
                  <c:v>0.0006174745291756715</c:v>
                </c:pt>
                <c:pt idx="50">
                  <c:v>0.0007512019230769231</c:v>
                </c:pt>
                <c:pt idx="51">
                  <c:v>0.0009592326139088729</c:v>
                </c:pt>
                <c:pt idx="52">
                  <c:v>0.00031421838177533385</c:v>
                </c:pt>
                <c:pt idx="53">
                  <c:v>0.000519588485919152</c:v>
                </c:pt>
                <c:pt idx="54">
                  <c:v>0.001055470857276885</c:v>
                </c:pt>
                <c:pt idx="55">
                  <c:v>0.0006065016982047549</c:v>
                </c:pt>
                <c:pt idx="56">
                  <c:v>0.00025078369905956113</c:v>
                </c:pt>
                <c:pt idx="57">
                  <c:v>0.00044072278536800354</c:v>
                </c:pt>
                <c:pt idx="58">
                  <c:v>0.00039428289797930016</c:v>
                </c:pt>
                <c:pt idx="59">
                  <c:v>0.0006261348694508798</c:v>
                </c:pt>
                <c:pt idx="60">
                  <c:v>0.0009566108643662453</c:v>
                </c:pt>
                <c:pt idx="61">
                  <c:v>0.0013627956779908499</c:v>
                </c:pt>
                <c:pt idx="62">
                  <c:v>0.0011056850640375933</c:v>
                </c:pt>
                <c:pt idx="63">
                  <c:v>0.0014931563666528412</c:v>
                </c:pt>
                <c:pt idx="64">
                  <c:v>0.001472411655300682</c:v>
                </c:pt>
                <c:pt idx="65">
                  <c:v>0.0012552301255230125</c:v>
                </c:pt>
                <c:pt idx="66">
                  <c:v>0.0009909017205657147</c:v>
                </c:pt>
                <c:pt idx="67">
                  <c:v>0.000872262066291917</c:v>
                </c:pt>
                <c:pt idx="68">
                  <c:v>0.0015526095784067838</c:v>
                </c:pt>
                <c:pt idx="69">
                  <c:v>0.0016910069177555726</c:v>
                </c:pt>
                <c:pt idx="70">
                  <c:v>0.0014920919128618322</c:v>
                </c:pt>
                <c:pt idx="71">
                  <c:v>0.001650437365901964</c:v>
                </c:pt>
                <c:pt idx="72">
                  <c:v>0.0016536380036079375</c:v>
                </c:pt>
                <c:pt idx="73">
                  <c:v>0.0031306640303180094</c:v>
                </c:pt>
                <c:pt idx="74">
                  <c:v>0.003278688524590164</c:v>
                </c:pt>
                <c:pt idx="75">
                  <c:v>0.0032537960954446853</c:v>
                </c:pt>
                <c:pt idx="76">
                  <c:v>0.004493942946463462</c:v>
                </c:pt>
                <c:pt idx="77">
                  <c:v>0.004625905068382945</c:v>
                </c:pt>
                <c:pt idx="78">
                  <c:v>0.007889990982867448</c:v>
                </c:pt>
                <c:pt idx="79">
                  <c:v>0.005297732570459843</c:v>
                </c:pt>
                <c:pt idx="80">
                  <c:v>0.004957653377401363</c:v>
                </c:pt>
                <c:pt idx="81">
                  <c:v>0.006846970215679562</c:v>
                </c:pt>
                <c:pt idx="82">
                  <c:v>0.005604124635731899</c:v>
                </c:pt>
                <c:pt idx="83">
                  <c:v>0.005520504731861199</c:v>
                </c:pt>
                <c:pt idx="84">
                  <c:v>0.005243838489774515</c:v>
                </c:pt>
                <c:pt idx="85">
                  <c:v>0.004848764719464327</c:v>
                </c:pt>
                <c:pt idx="86">
                  <c:v>0.004335501083875271</c:v>
                </c:pt>
                <c:pt idx="87">
                  <c:v>0.003652834599649328</c:v>
                </c:pt>
                <c:pt idx="88">
                  <c:v>0.005715374357020385</c:v>
                </c:pt>
                <c:pt idx="89">
                  <c:v>0.0075656430796617715</c:v>
                </c:pt>
                <c:pt idx="90">
                  <c:v>0.007111722872218399</c:v>
                </c:pt>
                <c:pt idx="91">
                  <c:v>0.007095343680709534</c:v>
                </c:pt>
                <c:pt idx="92">
                  <c:v>0.00567139282735613</c:v>
                </c:pt>
                <c:pt idx="93">
                  <c:v>0.005577689243027889</c:v>
                </c:pt>
                <c:pt idx="94">
                  <c:v>0.005150062155922571</c:v>
                </c:pt>
                <c:pt idx="95">
                  <c:v>0.005925365607665154</c:v>
                </c:pt>
                <c:pt idx="96">
                  <c:v>0.007888839085611834</c:v>
                </c:pt>
                <c:pt idx="97">
                  <c:v>0.008973158551810237</c:v>
                </c:pt>
                <c:pt idx="98">
                  <c:v>0.008416374899003501</c:v>
                </c:pt>
                <c:pt idx="99">
                  <c:v>0.008028335301062573</c:v>
                </c:pt>
                <c:pt idx="100">
                  <c:v>0.005974855815111407</c:v>
                </c:pt>
                <c:pt idx="101">
                  <c:v>0.008578152281181204</c:v>
                </c:pt>
                <c:pt idx="102">
                  <c:v>0.007513524343818874</c:v>
                </c:pt>
                <c:pt idx="103">
                  <c:v>0.006814012404996943</c:v>
                </c:pt>
                <c:pt idx="104">
                  <c:v>0.0051888750518887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3.030447955989002</c:v>
                </c:pt>
                <c:pt idx="1">
                  <c:v>2.5019204862139732</c:v>
                </c:pt>
                <c:pt idx="2">
                  <c:v>2.953512917260081</c:v>
                </c:pt>
                <c:pt idx="3">
                  <c:v>2.4956291477109227</c:v>
                </c:pt>
                <c:pt idx="4">
                  <c:v>2.959097591109636</c:v>
                </c:pt>
                <c:pt idx="5">
                  <c:v>3.2256016332697124</c:v>
                </c:pt>
                <c:pt idx="6">
                  <c:v>3.3000255134741177</c:v>
                </c:pt>
                <c:pt idx="7">
                  <c:v>3.281077216754087</c:v>
                </c:pt>
                <c:pt idx="8">
                  <c:v>3.0110288988734966</c:v>
                </c:pt>
                <c:pt idx="9">
                  <c:v>2.9647796664516473</c:v>
                </c:pt>
                <c:pt idx="10">
                  <c:v>2.9996610007746587</c:v>
                </c:pt>
                <c:pt idx="11">
                  <c:v>3.128544041911762</c:v>
                </c:pt>
                <c:pt idx="12">
                  <c:v>2.811475531772779</c:v>
                </c:pt>
                <c:pt idx="13">
                  <c:v>2.435040734383089</c:v>
                </c:pt>
                <c:pt idx="14">
                  <c:v>2.470020988156592</c:v>
                </c:pt>
                <c:pt idx="15">
                  <c:v>2.634638225348364</c:v>
                </c:pt>
                <c:pt idx="16">
                  <c:v>2.7889016889924783</c:v>
                </c:pt>
                <c:pt idx="17">
                  <c:v>2.181247104092776</c:v>
                </c:pt>
                <c:pt idx="18">
                  <c:v>3.1713122509118454</c:v>
                </c:pt>
                <c:pt idx="19">
                  <c:v>3.1596363558008664</c:v>
                </c:pt>
                <c:pt idx="20">
                  <c:v>2.9851531810701326</c:v>
                </c:pt>
                <c:pt idx="21">
                  <c:v>2.444877666710632</c:v>
                </c:pt>
                <c:pt idx="22">
                  <c:v>2.7190032786687315</c:v>
                </c:pt>
                <c:pt idx="23">
                  <c:v>2.15946042198092</c:v>
                </c:pt>
                <c:pt idx="24">
                  <c:v>2.8063335567058143</c:v>
                </c:pt>
                <c:pt idx="25">
                  <c:v>2.761931075598689</c:v>
                </c:pt>
                <c:pt idx="26">
                  <c:v>2.8309202887058778</c:v>
                </c:pt>
                <c:pt idx="27">
                  <c:v>2.7011935836046392</c:v>
                </c:pt>
                <c:pt idx="28">
                  <c:v>2.710687823524479</c:v>
                </c:pt>
                <c:pt idx="29">
                  <c:v>2.6494856852348736</c:v>
                </c:pt>
                <c:pt idx="30">
                  <c:v>2.5327859722431936</c:v>
                </c:pt>
                <c:pt idx="31">
                  <c:v>2.8110408243096785</c:v>
                </c:pt>
                <c:pt idx="32">
                  <c:v>3.124601368275229</c:v>
                </c:pt>
                <c:pt idx="33">
                  <c:v>3.0584427360280833</c:v>
                </c:pt>
                <c:pt idx="34">
                  <c:v>3.094543970372204</c:v>
                </c:pt>
                <c:pt idx="35">
                  <c:v>2.830621241107675</c:v>
                </c:pt>
                <c:pt idx="36">
                  <c:v>2.7184576932301594</c:v>
                </c:pt>
                <c:pt idx="37">
                  <c:v>2.716546137798767</c:v>
                </c:pt>
                <c:pt idx="38">
                  <c:v>2.429648224573214</c:v>
                </c:pt>
                <c:pt idx="39">
                  <c:v>2.3108357211469994</c:v>
                </c:pt>
                <c:pt idx="40">
                  <c:v>2.2677866338184143</c:v>
                </c:pt>
                <c:pt idx="41">
                  <c:v>2.4648905277507867</c:v>
                </c:pt>
                <c:pt idx="42">
                  <c:v>2.2884683175750093</c:v>
                </c:pt>
                <c:pt idx="43">
                  <c:v>2.5269740745407585</c:v>
                </c:pt>
                <c:pt idx="44">
                  <c:v>3.0810726048134915</c:v>
                </c:pt>
                <c:pt idx="45">
                  <c:v>3.1625113914559044</c:v>
                </c:pt>
                <c:pt idx="46">
                  <c:v>3.3114218515933223</c:v>
                </c:pt>
                <c:pt idx="47">
                  <c:v>3.089071691696976</c:v>
                </c:pt>
                <c:pt idx="48">
                  <c:v>3.0297978723550156</c:v>
                </c:pt>
                <c:pt idx="49">
                  <c:v>3.089069926836196</c:v>
                </c:pt>
                <c:pt idx="50">
                  <c:v>3.1680601796476813</c:v>
                </c:pt>
                <c:pt idx="51">
                  <c:v>3.5294360995138816</c:v>
                </c:pt>
              </c:numCache>
            </c:numRef>
          </c:xVal>
          <c:yVal>
            <c:numRef>
              <c:f>Sheet1!$B$109:$B$160</c:f>
              <c:numCache>
                <c:formatCode>General</c:formatCode>
                <c:ptCount val="52"/>
                <c:pt idx="0">
                  <c:v>0.005727043292564551</c:v>
                </c:pt>
                <c:pt idx="1">
                  <c:v>0.006910778751933987</c:v>
                </c:pt>
                <c:pt idx="2">
                  <c:v>0.006043370067543548</c:v>
                </c:pt>
                <c:pt idx="3">
                  <c:v>0.0066200809121000365</c:v>
                </c:pt>
                <c:pt idx="4">
                  <c:v>0.006716635841526332</c:v>
                </c:pt>
                <c:pt idx="5">
                  <c:v>0.005764796310530361</c:v>
                </c:pt>
                <c:pt idx="6">
                  <c:v>0.006267599236987919</c:v>
                </c:pt>
                <c:pt idx="7">
                  <c:v>0.00736695033659342</c:v>
                </c:pt>
                <c:pt idx="8">
                  <c:v>0.00918748205569911</c:v>
                </c:pt>
                <c:pt idx="9">
                  <c:v>0.009224159716957291</c:v>
                </c:pt>
                <c:pt idx="10">
                  <c:v>0.008955956324377377</c:v>
                </c:pt>
                <c:pt idx="11">
                  <c:v>0.008676599474145487</c:v>
                </c:pt>
                <c:pt idx="12">
                  <c:v>0.009002700810243073</c:v>
                </c:pt>
                <c:pt idx="13">
                  <c:v>0.01323937646807602</c:v>
                </c:pt>
                <c:pt idx="14">
                  <c:v>0.013218458633305796</c:v>
                </c:pt>
                <c:pt idx="15">
                  <c:v>0.01261307172888266</c:v>
                </c:pt>
                <c:pt idx="16">
                  <c:v>0.012533572068039392</c:v>
                </c:pt>
                <c:pt idx="17">
                  <c:v>0.01579191825359963</c:v>
                </c:pt>
                <c:pt idx="18">
                  <c:v>0.008359076867163365</c:v>
                </c:pt>
                <c:pt idx="19">
                  <c:v>0.0075200820372585886</c:v>
                </c:pt>
                <c:pt idx="20">
                  <c:v>0.009334657398212513</c:v>
                </c:pt>
                <c:pt idx="21">
                  <c:v>0.013249819320645628</c:v>
                </c:pt>
                <c:pt idx="22">
                  <c:v>0.011156924569488236</c:v>
                </c:pt>
                <c:pt idx="23">
                  <c:v>0.010964912280701754</c:v>
                </c:pt>
                <c:pt idx="24">
                  <c:v>0.010142923005993546</c:v>
                </c:pt>
                <c:pt idx="25">
                  <c:v>0.010506654214335746</c:v>
                </c:pt>
                <c:pt idx="26">
                  <c:v>0.011258278145695364</c:v>
                </c:pt>
                <c:pt idx="27">
                  <c:v>0.011251480457954995</c:v>
                </c:pt>
                <c:pt idx="28">
                  <c:v>0.009651076466221232</c:v>
                </c:pt>
                <c:pt idx="29">
                  <c:v>0.011070944419340261</c:v>
                </c:pt>
                <c:pt idx="30">
                  <c:v>0.010507080858839652</c:v>
                </c:pt>
                <c:pt idx="31">
                  <c:v>0.010919248349415947</c:v>
                </c:pt>
                <c:pt idx="32">
                  <c:v>0.009582477754962354</c:v>
                </c:pt>
                <c:pt idx="33">
                  <c:v>0.008687943262411348</c:v>
                </c:pt>
                <c:pt idx="34">
                  <c:v>0.007735396105628167</c:v>
                </c:pt>
                <c:pt idx="35">
                  <c:v>0.009371029224904702</c:v>
                </c:pt>
                <c:pt idx="36">
                  <c:v>0.01274403470715835</c:v>
                </c:pt>
                <c:pt idx="37">
                  <c:v>0.012673653424323665</c:v>
                </c:pt>
                <c:pt idx="38">
                  <c:v>0.01510912143256855</c:v>
                </c:pt>
                <c:pt idx="39">
                  <c:v>0.013777955271565496</c:v>
                </c:pt>
                <c:pt idx="40">
                  <c:v>0.013238490416913653</c:v>
                </c:pt>
                <c:pt idx="41">
                  <c:v>0.010689273866568375</c:v>
                </c:pt>
                <c:pt idx="42">
                  <c:v>0.012421052631578947</c:v>
                </c:pt>
                <c:pt idx="43">
                  <c:v>0.009294265910523</c:v>
                </c:pt>
                <c:pt idx="44">
                  <c:v>0.006724181679776706</c:v>
                </c:pt>
                <c:pt idx="45">
                  <c:v>0.005326351900334025</c:v>
                </c:pt>
                <c:pt idx="46">
                  <c:v>0.005492730210016155</c:v>
                </c:pt>
                <c:pt idx="47">
                  <c:v>0.005336495701156241</c:v>
                </c:pt>
                <c:pt idx="48">
                  <c:v>0.005799903334944417</c:v>
                </c:pt>
                <c:pt idx="49">
                  <c:v>0.005066222769052616</c:v>
                </c:pt>
                <c:pt idx="50">
                  <c:v>0.0041575185686924835</c:v>
                </c:pt>
                <c:pt idx="51">
                  <c:v>0.00519148936170212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6070175579010137</c:v>
                </c:pt>
              </c:numCache>
            </c:numRef>
          </c:xVal>
          <c:yVal>
            <c:numRef>
              <c:f>Sheet1!$B$163:$B$164</c:f>
              <c:numCache>
                <c:formatCode>General</c:formatCode>
                <c:ptCount val="2"/>
                <c:pt idx="0">
                  <c:v>0.01090149608468514</c:v>
                </c:pt>
                <c:pt idx="1">
                  <c:v>0.0109014960846851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6070175579010137</c:v>
                </c:pt>
                <c:pt idx="1">
                  <c:v>2.6070175579010137</c:v>
                </c:pt>
              </c:numCache>
            </c:numRef>
          </c:xVal>
          <c:yVal>
            <c:numRef>
              <c:f>Sheet1!$B$167:$B$168</c:f>
              <c:numCache>
                <c:formatCode>General</c:formatCode>
                <c:ptCount val="2"/>
                <c:pt idx="0">
                  <c:v>0.0109014960846851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6070175579010137</c:v>
                </c:pt>
              </c:numCache>
            </c:numRef>
          </c:xVal>
          <c:yVal>
            <c:numRef>
              <c:f>Sheet1!$B$171:$B$172</c:f>
              <c:numCache>
                <c:formatCode>General</c:formatCode>
                <c:ptCount val="2"/>
                <c:pt idx="0">
                  <c:v>0.01090149608468514</c:v>
                </c:pt>
                <c:pt idx="1">
                  <c:v>0.0109014960846851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6070175579010137</c:v>
                </c:pt>
                <c:pt idx="1">
                  <c:v>2.6070175579010137</c:v>
                </c:pt>
              </c:numCache>
            </c:numRef>
          </c:xVal>
          <c:yVal>
            <c:numRef>
              <c:f>Sheet1!$B$175:$B$176</c:f>
              <c:numCache>
                <c:formatCode>General</c:formatCode>
                <c:ptCount val="2"/>
                <c:pt idx="0">
                  <c:v>0.0109014960846851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3.041669226159186</c:v>
                </c:pt>
              </c:numCache>
            </c:numRef>
          </c:xVal>
          <c:yVal>
            <c:numRef>
              <c:f>Sheet1!$B$179:$B$180</c:f>
              <c:numCache>
                <c:formatCode>General</c:formatCode>
                <c:ptCount val="2"/>
                <c:pt idx="0">
                  <c:v>0.007885840894063405</c:v>
                </c:pt>
                <c:pt idx="1">
                  <c:v>0.0078858408940634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3.041669226159186</c:v>
                </c:pt>
                <c:pt idx="1">
                  <c:v>3.041669226159186</c:v>
                </c:pt>
              </c:numCache>
            </c:numRef>
          </c:xVal>
          <c:yVal>
            <c:numRef>
              <c:f>Sheet1!$B$183:$B$184</c:f>
              <c:numCache>
                <c:formatCode>General</c:formatCode>
                <c:ptCount val="2"/>
                <c:pt idx="0">
                  <c:v>0.0078858408940634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3.030447955989002</c:v>
                </c:pt>
                <c:pt idx="1">
                  <c:v>2.5019204862139732</c:v>
                </c:pt>
                <c:pt idx="2">
                  <c:v>2.953512917260081</c:v>
                </c:pt>
                <c:pt idx="3">
                  <c:v>2.4956291477109227</c:v>
                </c:pt>
                <c:pt idx="4">
                  <c:v>2.959097591109636</c:v>
                </c:pt>
                <c:pt idx="5">
                  <c:v>3.2256016332697124</c:v>
                </c:pt>
                <c:pt idx="6">
                  <c:v>3.3000255134741177</c:v>
                </c:pt>
                <c:pt idx="7">
                  <c:v>3.281077216754087</c:v>
                </c:pt>
                <c:pt idx="8">
                  <c:v>3.0110288988734966</c:v>
                </c:pt>
                <c:pt idx="9">
                  <c:v>2.9647796664516473</c:v>
                </c:pt>
                <c:pt idx="10">
                  <c:v>2.9996610007746587</c:v>
                </c:pt>
                <c:pt idx="11">
                  <c:v>3.128544041911762</c:v>
                </c:pt>
                <c:pt idx="12">
                  <c:v>2.811475531772779</c:v>
                </c:pt>
                <c:pt idx="13">
                  <c:v>2.435040734383089</c:v>
                </c:pt>
                <c:pt idx="14">
                  <c:v>2.470020988156592</c:v>
                </c:pt>
                <c:pt idx="15">
                  <c:v>2.634638225348364</c:v>
                </c:pt>
                <c:pt idx="16">
                  <c:v>2.7889016889924783</c:v>
                </c:pt>
                <c:pt idx="17">
                  <c:v>2.181247104092776</c:v>
                </c:pt>
                <c:pt idx="18">
                  <c:v>3.1713122509118454</c:v>
                </c:pt>
                <c:pt idx="19">
                  <c:v>3.1596363558008664</c:v>
                </c:pt>
                <c:pt idx="20">
                  <c:v>2.9851531810701326</c:v>
                </c:pt>
                <c:pt idx="21">
                  <c:v>2.444877666710632</c:v>
                </c:pt>
                <c:pt idx="22">
                  <c:v>2.7190032786687315</c:v>
                </c:pt>
                <c:pt idx="23">
                  <c:v>2.15946042198092</c:v>
                </c:pt>
                <c:pt idx="24">
                  <c:v>2.8063335567058143</c:v>
                </c:pt>
                <c:pt idx="25">
                  <c:v>2.761931075598689</c:v>
                </c:pt>
                <c:pt idx="26">
                  <c:v>2.8309202887058778</c:v>
                </c:pt>
                <c:pt idx="27">
                  <c:v>2.7011935836046392</c:v>
                </c:pt>
                <c:pt idx="28">
                  <c:v>2.710687823524479</c:v>
                </c:pt>
                <c:pt idx="29">
                  <c:v>2.6494856852348736</c:v>
                </c:pt>
                <c:pt idx="30">
                  <c:v>2.5327859722431936</c:v>
                </c:pt>
                <c:pt idx="31">
                  <c:v>2.8110408243096785</c:v>
                </c:pt>
                <c:pt idx="32">
                  <c:v>3.124601368275229</c:v>
                </c:pt>
                <c:pt idx="33">
                  <c:v>3.0584427360280833</c:v>
                </c:pt>
                <c:pt idx="34">
                  <c:v>3.094543970372204</c:v>
                </c:pt>
                <c:pt idx="35">
                  <c:v>2.830621241107675</c:v>
                </c:pt>
                <c:pt idx="36">
                  <c:v>2.7184576932301594</c:v>
                </c:pt>
                <c:pt idx="37">
                  <c:v>2.716546137798767</c:v>
                </c:pt>
                <c:pt idx="38">
                  <c:v>2.429648224573214</c:v>
                </c:pt>
                <c:pt idx="39">
                  <c:v>2.3108357211469994</c:v>
                </c:pt>
                <c:pt idx="40">
                  <c:v>2.2677866338184143</c:v>
                </c:pt>
                <c:pt idx="41">
                  <c:v>2.4648905277507867</c:v>
                </c:pt>
                <c:pt idx="42">
                  <c:v>2.2884683175750093</c:v>
                </c:pt>
                <c:pt idx="43">
                  <c:v>2.5269740745407585</c:v>
                </c:pt>
                <c:pt idx="44">
                  <c:v>3.0810726048134915</c:v>
                </c:pt>
                <c:pt idx="45">
                  <c:v>3.1625113914559044</c:v>
                </c:pt>
                <c:pt idx="46">
                  <c:v>3.3114218515933223</c:v>
                </c:pt>
                <c:pt idx="47">
                  <c:v>3.089071691696976</c:v>
                </c:pt>
                <c:pt idx="48">
                  <c:v>3.0297978723550156</c:v>
                </c:pt>
                <c:pt idx="49">
                  <c:v>3.089069926836196</c:v>
                </c:pt>
                <c:pt idx="50">
                  <c:v>3.1680601796476813</c:v>
                </c:pt>
                <c:pt idx="51">
                  <c:v>3.5294360995138816</c:v>
                </c:pt>
                <c:pt idx="52">
                  <c:v>2.6070175579010137</c:v>
                </c:pt>
                <c:pt idx="53">
                  <c:v>2.6070175579010137</c:v>
                </c:pt>
                <c:pt idx="54">
                  <c:v>3.041669226159186</c:v>
                </c:pt>
              </c:numCache>
            </c:numRef>
          </c:xVal>
          <c:yVal>
            <c:numRef>
              <c:f>Sheet1!$B$187:$B$241</c:f>
              <c:numCache>
                <c:formatCode>General</c:formatCode>
                <c:ptCount val="55"/>
                <c:pt idx="0">
                  <c:v>0.007963695148643153</c:v>
                </c:pt>
                <c:pt idx="1">
                  <c:v>0.011630669703234134</c:v>
                </c:pt>
                <c:pt idx="2">
                  <c:v>0.00849747786668335</c:v>
                </c:pt>
                <c:pt idx="3">
                  <c:v>0.011674319616482399</c:v>
                </c:pt>
                <c:pt idx="4">
                  <c:v>0.00845873086094924</c:v>
                </c:pt>
                <c:pt idx="5">
                  <c:v>0.006609700115749524</c:v>
                </c:pt>
                <c:pt idx="6">
                  <c:v>0.006093340057719526</c:v>
                </c:pt>
                <c:pt idx="7">
                  <c:v>0.006224805167668813</c:v>
                </c:pt>
                <c:pt idx="8">
                  <c:v>0.008098426439614684</c:v>
                </c:pt>
                <c:pt idx="9">
                  <c:v>0.008419308074267419</c:v>
                </c:pt>
                <c:pt idx="10">
                  <c:v>0.008177298012903705</c:v>
                </c:pt>
                <c:pt idx="11">
                  <c:v>0.007283095044476672</c:v>
                </c:pt>
                <c:pt idx="12">
                  <c:v>0.009482946944769814</c:v>
                </c:pt>
                <c:pt idx="13">
                  <c:v>0.012094687871079986</c:v>
                </c:pt>
                <c:pt idx="14">
                  <c:v>0.011851991497029323</c:v>
                </c:pt>
                <c:pt idx="15">
                  <c:v>0.01070986123029741</c:v>
                </c:pt>
                <c:pt idx="16">
                  <c:v>0.0096395664429199</c:v>
                </c:pt>
                <c:pt idx="17">
                  <c:v>0.013855532552980792</c:v>
                </c:pt>
                <c:pt idx="18">
                  <c:v>0.006986365086021549</c:v>
                </c:pt>
                <c:pt idx="19">
                  <c:v>0.007067373572282928</c:v>
                </c:pt>
                <c:pt idx="20">
                  <c:v>0.008277954665095757</c:v>
                </c:pt>
                <c:pt idx="21">
                  <c:v>0.012026438285953053</c:v>
                </c:pt>
                <c:pt idx="22">
                  <c:v>0.01012452835449782</c:v>
                </c:pt>
                <c:pt idx="23">
                  <c:v>0.01400669065450226</c:v>
                </c:pt>
                <c:pt idx="24">
                  <c:v>0.00951862246365803</c:v>
                </c:pt>
                <c:pt idx="25">
                  <c:v>0.009826691159595145</c:v>
                </c:pt>
                <c:pt idx="26">
                  <c:v>0.009348037345985421</c:v>
                </c:pt>
                <c:pt idx="27">
                  <c:v>0.01024809373635555</c:v>
                </c:pt>
                <c:pt idx="28">
                  <c:v>0.010182221784201285</c:v>
                </c:pt>
                <c:pt idx="29">
                  <c:v>0.010606848121769076</c:v>
                </c:pt>
                <c:pt idx="30">
                  <c:v>0.011416521984606735</c:v>
                </c:pt>
                <c:pt idx="31">
                  <c:v>0.009485962987070433</c:v>
                </c:pt>
                <c:pt idx="32">
                  <c:v>0.007310449694384227</c:v>
                </c:pt>
                <c:pt idx="33">
                  <c:v>0.0077694646650159176</c:v>
                </c:pt>
                <c:pt idx="34">
                  <c:v>0.007518990819662966</c:v>
                </c:pt>
                <c:pt idx="35">
                  <c:v>0.009350112167060828</c:v>
                </c:pt>
                <c:pt idx="36">
                  <c:v>0.010128313678884934</c:v>
                </c:pt>
                <c:pt idx="37">
                  <c:v>0.010141576234811475</c:v>
                </c:pt>
                <c:pt idx="38">
                  <c:v>0.012132101624175187</c:v>
                </c:pt>
                <c:pt idx="39">
                  <c:v>0.012956434230797571</c:v>
                </c:pt>
                <c:pt idx="40">
                  <c:v>0.013255112950182734</c:v>
                </c:pt>
                <c:pt idx="41">
                  <c:v>0.011887587126087985</c:v>
                </c:pt>
                <c:pt idx="42">
                  <c:v>0.013111621433812143</c:v>
                </c:pt>
                <c:pt idx="43">
                  <c:v>0.011456845491344781</c:v>
                </c:pt>
                <c:pt idx="44">
                  <c:v>0.007612456453039446</c:v>
                </c:pt>
                <c:pt idx="45">
                  <c:v>0.007047426297650157</c:v>
                </c:pt>
                <c:pt idx="46">
                  <c:v>0.00601427116482655</c:v>
                </c:pt>
                <c:pt idx="47">
                  <c:v>0.007556958016838609</c:v>
                </c:pt>
                <c:pt idx="48">
                  <c:v>0.007968205491587482</c:v>
                </c:pt>
                <c:pt idx="49">
                  <c:v>0.007556970261612898</c:v>
                </c:pt>
                <c:pt idx="50">
                  <c:v>0.007008928270070398</c:v>
                </c:pt>
                <c:pt idx="51">
                  <c:v>0.004501667288242285</c:v>
                </c:pt>
                <c:pt idx="52">
                  <c:v>0.010901496084685141</c:v>
                </c:pt>
                <c:pt idx="53">
                  <c:v>0.010901496084685141</c:v>
                </c:pt>
                <c:pt idx="54">
                  <c:v>0.0078858408940634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895030190431955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856.3077</c:v>
                </c:pt>
                <c:pt idx="1">
                  <c:v>6230.0</c:v>
                </c:pt>
                <c:pt idx="2">
                  <c:v>6349.3333</c:v>
                </c:pt>
                <c:pt idx="3">
                  <c:v>5043.3333</c:v>
                </c:pt>
                <c:pt idx="4">
                  <c:v>5971.5</c:v>
                </c:pt>
                <c:pt idx="5">
                  <c:v>7694.0</c:v>
                </c:pt>
                <c:pt idx="6">
                  <c:v>5895.0</c:v>
                </c:pt>
                <c:pt idx="7">
                  <c:v>4277.0</c:v>
                </c:pt>
                <c:pt idx="8">
                  <c:v>7050.6667</c:v>
                </c:pt>
                <c:pt idx="9">
                  <c:v>5817.6</c:v>
                </c:pt>
                <c:pt idx="10">
                  <c:v>5290.25</c:v>
                </c:pt>
                <c:pt idx="11">
                  <c:v>4469.2857</c:v>
                </c:pt>
                <c:pt idx="12">
                  <c:v>7055.8</c:v>
                </c:pt>
                <c:pt idx="13">
                  <c:v>5252.6667</c:v>
                </c:pt>
                <c:pt idx="14">
                  <c:v>0.0</c:v>
                </c:pt>
                <c:pt idx="15">
                  <c:v>3753.0</c:v>
                </c:pt>
                <c:pt idx="16">
                  <c:v>2170.25</c:v>
                </c:pt>
                <c:pt idx="17">
                  <c:v>6580.0</c:v>
                </c:pt>
                <c:pt idx="18">
                  <c:v>0.0</c:v>
                </c:pt>
                <c:pt idx="19">
                  <c:v>3807.0</c:v>
                </c:pt>
                <c:pt idx="20">
                  <c:v>5072.3333</c:v>
                </c:pt>
                <c:pt idx="21">
                  <c:v>6718.0</c:v>
                </c:pt>
                <c:pt idx="22">
                  <c:v>5462.25</c:v>
                </c:pt>
                <c:pt idx="23">
                  <c:v>6538.6667</c:v>
                </c:pt>
                <c:pt idx="24">
                  <c:v>6316.5</c:v>
                </c:pt>
                <c:pt idx="25">
                  <c:v>4606.0</c:v>
                </c:pt>
                <c:pt idx="26">
                  <c:v>6402.0</c:v>
                </c:pt>
                <c:pt idx="27">
                  <c:v>15524.0</c:v>
                </c:pt>
                <c:pt idx="28">
                  <c:v>3345.4</c:v>
                </c:pt>
                <c:pt idx="29">
                  <c:v>7017.0</c:v>
                </c:pt>
                <c:pt idx="30">
                  <c:v>3873.25</c:v>
                </c:pt>
                <c:pt idx="31">
                  <c:v>5011.5</c:v>
                </c:pt>
                <c:pt idx="32">
                  <c:v>8655.5</c:v>
                </c:pt>
                <c:pt idx="33">
                  <c:v>3845.7778</c:v>
                </c:pt>
                <c:pt idx="34">
                  <c:v>3505.4167</c:v>
                </c:pt>
                <c:pt idx="35">
                  <c:v>3707.5</c:v>
                </c:pt>
                <c:pt idx="36">
                  <c:v>6482.5</c:v>
                </c:pt>
                <c:pt idx="37">
                  <c:v>4574.0</c:v>
                </c:pt>
                <c:pt idx="38">
                  <c:v>7663.0</c:v>
                </c:pt>
                <c:pt idx="39">
                  <c:v>5600.75</c:v>
                </c:pt>
                <c:pt idx="40">
                  <c:v>8541.5</c:v>
                </c:pt>
                <c:pt idx="41">
                  <c:v>5335.6667</c:v>
                </c:pt>
                <c:pt idx="42">
                  <c:v>10645.0</c:v>
                </c:pt>
                <c:pt idx="43">
                  <c:v>7240.0</c:v>
                </c:pt>
                <c:pt idx="44">
                  <c:v>4505.0</c:v>
                </c:pt>
                <c:pt idx="45">
                  <c:v>4392.2</c:v>
                </c:pt>
                <c:pt idx="46">
                  <c:v>4084.1818</c:v>
                </c:pt>
                <c:pt idx="47">
                  <c:v>3419.4286</c:v>
                </c:pt>
                <c:pt idx="48">
                  <c:v>4401.9</c:v>
                </c:pt>
                <c:pt idx="49">
                  <c:v>3402.25</c:v>
                </c:pt>
                <c:pt idx="50">
                  <c:v>4337.6</c:v>
                </c:pt>
                <c:pt idx="51">
                  <c:v>4108.2</c:v>
                </c:pt>
                <c:pt idx="52">
                  <c:v>4801.75</c:v>
                </c:pt>
                <c:pt idx="53">
                  <c:v>3999.4</c:v>
                </c:pt>
                <c:pt idx="54">
                  <c:v>4201.4444</c:v>
                </c:pt>
                <c:pt idx="55">
                  <c:v>4984.2</c:v>
                </c:pt>
                <c:pt idx="56">
                  <c:v>10395.0</c:v>
                </c:pt>
                <c:pt idx="57">
                  <c:v>4042.75</c:v>
                </c:pt>
                <c:pt idx="58">
                  <c:v>4289.0</c:v>
                </c:pt>
                <c:pt idx="59">
                  <c:v>3433.0</c:v>
                </c:pt>
                <c:pt idx="60">
                  <c:v>3007.3571</c:v>
                </c:pt>
                <c:pt idx="61">
                  <c:v>2989.9286</c:v>
                </c:pt>
                <c:pt idx="62">
                  <c:v>3040.0833</c:v>
                </c:pt>
                <c:pt idx="63">
                  <c:v>2470.9444</c:v>
                </c:pt>
                <c:pt idx="64">
                  <c:v>2609.3158</c:v>
                </c:pt>
                <c:pt idx="65">
                  <c:v>2489.9333</c:v>
                </c:pt>
                <c:pt idx="66">
                  <c:v>2358.7273</c:v>
                </c:pt>
                <c:pt idx="67">
                  <c:v>3155.3333</c:v>
                </c:pt>
                <c:pt idx="68">
                  <c:v>2346.9231</c:v>
                </c:pt>
                <c:pt idx="69">
                  <c:v>2135.0</c:v>
                </c:pt>
                <c:pt idx="70">
                  <c:v>2302.5</c:v>
                </c:pt>
                <c:pt idx="71">
                  <c:v>1857.8</c:v>
                </c:pt>
                <c:pt idx="72">
                  <c:v>2952.3636</c:v>
                </c:pt>
                <c:pt idx="73">
                  <c:v>2025.9474</c:v>
                </c:pt>
                <c:pt idx="74">
                  <c:v>2531.4762</c:v>
                </c:pt>
                <c:pt idx="75">
                  <c:v>3962.4444</c:v>
                </c:pt>
                <c:pt idx="76">
                  <c:v>3882.0</c:v>
                </c:pt>
                <c:pt idx="77">
                  <c:v>4467.6957</c:v>
                </c:pt>
                <c:pt idx="78">
                  <c:v>3018.5429</c:v>
                </c:pt>
                <c:pt idx="79">
                  <c:v>4773.4</c:v>
                </c:pt>
                <c:pt idx="80">
                  <c:v>4299.5</c:v>
                </c:pt>
                <c:pt idx="81">
                  <c:v>3470.475</c:v>
                </c:pt>
                <c:pt idx="82">
                  <c:v>4188.0</c:v>
                </c:pt>
                <c:pt idx="83">
                  <c:v>4291.4286</c:v>
                </c:pt>
                <c:pt idx="84">
                  <c:v>4199.35</c:v>
                </c:pt>
                <c:pt idx="85">
                  <c:v>3644.0476</c:v>
                </c:pt>
                <c:pt idx="86">
                  <c:v>4846.4231</c:v>
                </c:pt>
                <c:pt idx="87">
                  <c:v>4906.68</c:v>
                </c:pt>
                <c:pt idx="88">
                  <c:v>4199.0333</c:v>
                </c:pt>
                <c:pt idx="89">
                  <c:v>3929.7353</c:v>
                </c:pt>
                <c:pt idx="90">
                  <c:v>4177.2903</c:v>
                </c:pt>
                <c:pt idx="91">
                  <c:v>3942.625</c:v>
                </c:pt>
                <c:pt idx="92">
                  <c:v>4270.3235</c:v>
                </c:pt>
                <c:pt idx="93">
                  <c:v>4332.2286</c:v>
                </c:pt>
                <c:pt idx="94">
                  <c:v>5011.5517</c:v>
                </c:pt>
                <c:pt idx="95">
                  <c:v>4381.1064</c:v>
                </c:pt>
                <c:pt idx="96">
                  <c:v>3358.3295</c:v>
                </c:pt>
                <c:pt idx="97">
                  <c:v>3539.0348</c:v>
                </c:pt>
                <c:pt idx="98">
                  <c:v>3390.072</c:v>
                </c:pt>
                <c:pt idx="99">
                  <c:v>3491.0956</c:v>
                </c:pt>
                <c:pt idx="100">
                  <c:v>3928.0486</c:v>
                </c:pt>
                <c:pt idx="101">
                  <c:v>3765.3274</c:v>
                </c:pt>
                <c:pt idx="102">
                  <c:v>3902.8667</c:v>
                </c:pt>
                <c:pt idx="103">
                  <c:v>3989.4744</c:v>
                </c:pt>
                <c:pt idx="104">
                  <c:v>4479.7</c:v>
                </c:pt>
              </c:numCache>
            </c:numRef>
          </c:xVal>
          <c:yVal>
            <c:numRef>
              <c:f>Sheet1!$B$2:$B$106</c:f>
              <c:numCache>
                <c:formatCode>General</c:formatCode>
                <c:ptCount val="105"/>
                <c:pt idx="0">
                  <c:v>0.0011239840913020924</c:v>
                </c:pt>
                <c:pt idx="1">
                  <c:v>0.0003037359522122102</c:v>
                </c:pt>
                <c:pt idx="2">
                  <c:v>0.0003105268605734396</c:v>
                </c:pt>
                <c:pt idx="3">
                  <c:v>0.00033415014479839606</c:v>
                </c:pt>
                <c:pt idx="4">
                  <c:v>0.00024978144123891593</c:v>
                </c:pt>
                <c:pt idx="5">
                  <c:v>0.0003697769012695674</c:v>
                </c:pt>
                <c:pt idx="6">
                  <c:v>0.0006844626967830253</c:v>
                </c:pt>
                <c:pt idx="7">
                  <c:v>0.0008228195282501371</c:v>
                </c:pt>
                <c:pt idx="8">
                  <c:v>0.00042319085907744394</c:v>
                </c:pt>
                <c:pt idx="9">
                  <c:v>0.0005163688939378292</c:v>
                </c:pt>
                <c:pt idx="10">
                  <c:v>0.00040261701056869655</c:v>
                </c:pt>
                <c:pt idx="11">
                  <c:v>0.0007121782480415098</c:v>
                </c:pt>
                <c:pt idx="12">
                  <c:v>0.0004589261128958238</c:v>
                </c:pt>
                <c:pt idx="13">
                  <c:v>0.0005639627784566219</c:v>
                </c:pt>
                <c:pt idx="14">
                  <c:v>0.0</c:v>
                </c:pt>
                <c:pt idx="15">
                  <c:v>0.000576169624337405</c:v>
                </c:pt>
                <c:pt idx="16">
                  <c:v>0.0005341880341880342</c:v>
                </c:pt>
                <c:pt idx="17">
                  <c:v>0.0002938583602703497</c:v>
                </c:pt>
                <c:pt idx="18">
                  <c:v>0.0</c:v>
                </c:pt>
                <c:pt idx="19">
                  <c:v>0.0006090133982947625</c:v>
                </c:pt>
                <c:pt idx="20">
                  <c:v>0.00048725028422933245</c:v>
                </c:pt>
                <c:pt idx="21">
                  <c:v>0.00021204410517387616</c:v>
                </c:pt>
                <c:pt idx="22">
                  <c:v>0.0008235536339304097</c:v>
                </c:pt>
                <c:pt idx="23">
                  <c:v>0.0006513243595310464</c:v>
                </c:pt>
                <c:pt idx="24">
                  <c:v>0.0008066142367412785</c:v>
                </c:pt>
                <c:pt idx="25">
                  <c:v>0.001372055796935742</c:v>
                </c:pt>
                <c:pt idx="26">
                  <c:v>0.0009633911368015414</c:v>
                </c:pt>
                <c:pt idx="27">
                  <c:v>0.0001840264998159735</c:v>
                </c:pt>
                <c:pt idx="28">
                  <c:v>0.0009633911368015414</c:v>
                </c:pt>
                <c:pt idx="29">
                  <c:v>0.0007037297677691766</c:v>
                </c:pt>
                <c:pt idx="30">
                  <c:v>0.0008710801393728223</c:v>
                </c:pt>
                <c:pt idx="31">
                  <c:v>0.0008378718056137411</c:v>
                </c:pt>
                <c:pt idx="32">
                  <c:v>0.00042927666881305</c:v>
                </c:pt>
                <c:pt idx="33">
                  <c:v>0.0015287922541192458</c:v>
                </c:pt>
                <c:pt idx="34">
                  <c:v>0.0017421602787456446</c:v>
                </c:pt>
                <c:pt idx="35">
                  <c:v>0.0016525023607176581</c:v>
                </c:pt>
                <c:pt idx="36">
                  <c:v>0.0006046863189720333</c:v>
                </c:pt>
                <c:pt idx="37">
                  <c:v>0.0007292616226071103</c:v>
                </c:pt>
                <c:pt idx="38">
                  <c:v>0.00037167812674224123</c:v>
                </c:pt>
                <c:pt idx="39">
                  <c:v>0.0007756447547023463</c:v>
                </c:pt>
                <c:pt idx="40">
                  <c:v>0.0003134304967873374</c:v>
                </c:pt>
                <c:pt idx="41">
                  <c:v>0.0005368647100930566</c:v>
                </c:pt>
                <c:pt idx="42">
                  <c:v>0.0001497678598172832</c:v>
                </c:pt>
                <c:pt idx="43">
                  <c:v>0.00040149892933618843</c:v>
                </c:pt>
                <c:pt idx="44">
                  <c:v>0.000522420548541576</c:v>
                </c:pt>
                <c:pt idx="45">
                  <c:v>0.00039203387172651716</c:v>
                </c:pt>
                <c:pt idx="46">
                  <c:v>0.0008500115910671509</c:v>
                </c:pt>
                <c:pt idx="47">
                  <c:v>0.001103491763222196</c:v>
                </c:pt>
                <c:pt idx="48">
                  <c:v>0.0005687635081333182</c:v>
                </c:pt>
                <c:pt idx="49">
                  <c:v>0.0006174745291756715</c:v>
                </c:pt>
                <c:pt idx="50">
                  <c:v>0.0007512019230769231</c:v>
                </c:pt>
                <c:pt idx="51">
                  <c:v>0.0009592326139088729</c:v>
                </c:pt>
                <c:pt idx="52">
                  <c:v>0.00031421838177533385</c:v>
                </c:pt>
                <c:pt idx="53">
                  <c:v>0.000519588485919152</c:v>
                </c:pt>
                <c:pt idx="54">
                  <c:v>0.001055470857276885</c:v>
                </c:pt>
                <c:pt idx="55">
                  <c:v>0.0006065016982047549</c:v>
                </c:pt>
                <c:pt idx="56">
                  <c:v>0.00025078369905956113</c:v>
                </c:pt>
                <c:pt idx="57">
                  <c:v>0.00044072278536800354</c:v>
                </c:pt>
                <c:pt idx="58">
                  <c:v>0.00039428289797930016</c:v>
                </c:pt>
                <c:pt idx="59">
                  <c:v>0.0006261348694508798</c:v>
                </c:pt>
                <c:pt idx="60">
                  <c:v>0.0009566108643662453</c:v>
                </c:pt>
                <c:pt idx="61">
                  <c:v>0.0013627956779908499</c:v>
                </c:pt>
                <c:pt idx="62">
                  <c:v>0.0011056850640375933</c:v>
                </c:pt>
                <c:pt idx="63">
                  <c:v>0.0014931563666528412</c:v>
                </c:pt>
                <c:pt idx="64">
                  <c:v>0.001472411655300682</c:v>
                </c:pt>
                <c:pt idx="65">
                  <c:v>0.0012552301255230125</c:v>
                </c:pt>
                <c:pt idx="66">
                  <c:v>0.0009909017205657147</c:v>
                </c:pt>
                <c:pt idx="67">
                  <c:v>0.000872262066291917</c:v>
                </c:pt>
                <c:pt idx="68">
                  <c:v>0.0015526095784067838</c:v>
                </c:pt>
                <c:pt idx="69">
                  <c:v>0.0016910069177555726</c:v>
                </c:pt>
                <c:pt idx="70">
                  <c:v>0.0014920919128618322</c:v>
                </c:pt>
                <c:pt idx="71">
                  <c:v>0.001650437365901964</c:v>
                </c:pt>
                <c:pt idx="72">
                  <c:v>0.0016536380036079375</c:v>
                </c:pt>
                <c:pt idx="73">
                  <c:v>0.0031306640303180094</c:v>
                </c:pt>
                <c:pt idx="74">
                  <c:v>0.003278688524590164</c:v>
                </c:pt>
                <c:pt idx="75">
                  <c:v>0.0032537960954446853</c:v>
                </c:pt>
                <c:pt idx="76">
                  <c:v>0.004493942946463462</c:v>
                </c:pt>
                <c:pt idx="77">
                  <c:v>0.004625905068382945</c:v>
                </c:pt>
                <c:pt idx="78">
                  <c:v>0.007889990982867448</c:v>
                </c:pt>
                <c:pt idx="79">
                  <c:v>0.005297732570459843</c:v>
                </c:pt>
                <c:pt idx="80">
                  <c:v>0.004957653377401363</c:v>
                </c:pt>
                <c:pt idx="81">
                  <c:v>0.006846970215679562</c:v>
                </c:pt>
                <c:pt idx="82">
                  <c:v>0.005604124635731899</c:v>
                </c:pt>
                <c:pt idx="83">
                  <c:v>0.005520504731861199</c:v>
                </c:pt>
                <c:pt idx="84">
                  <c:v>0.005243838489774515</c:v>
                </c:pt>
                <c:pt idx="85">
                  <c:v>0.004848764719464327</c:v>
                </c:pt>
                <c:pt idx="86">
                  <c:v>0.004335501083875271</c:v>
                </c:pt>
                <c:pt idx="87">
                  <c:v>0.003652834599649328</c:v>
                </c:pt>
                <c:pt idx="88">
                  <c:v>0.005715374357020385</c:v>
                </c:pt>
                <c:pt idx="89">
                  <c:v>0.0075656430796617715</c:v>
                </c:pt>
                <c:pt idx="90">
                  <c:v>0.007111722872218399</c:v>
                </c:pt>
                <c:pt idx="91">
                  <c:v>0.007095343680709534</c:v>
                </c:pt>
                <c:pt idx="92">
                  <c:v>0.00567139282735613</c:v>
                </c:pt>
                <c:pt idx="93">
                  <c:v>0.005577689243027889</c:v>
                </c:pt>
                <c:pt idx="94">
                  <c:v>0.005150062155922571</c:v>
                </c:pt>
                <c:pt idx="95">
                  <c:v>0.005925365607665154</c:v>
                </c:pt>
                <c:pt idx="96">
                  <c:v>0.007888839085611834</c:v>
                </c:pt>
                <c:pt idx="97">
                  <c:v>0.008973158551810237</c:v>
                </c:pt>
                <c:pt idx="98">
                  <c:v>0.008416374899003501</c:v>
                </c:pt>
                <c:pt idx="99">
                  <c:v>0.008028335301062573</c:v>
                </c:pt>
                <c:pt idx="100">
                  <c:v>0.005974855815111407</c:v>
                </c:pt>
                <c:pt idx="101">
                  <c:v>0.008578152281181204</c:v>
                </c:pt>
                <c:pt idx="102">
                  <c:v>0.007513524343818874</c:v>
                </c:pt>
                <c:pt idx="103">
                  <c:v>0.006814012404996943</c:v>
                </c:pt>
                <c:pt idx="104">
                  <c:v>0.0051888750518887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numCache>
            </c:numRef>
          </c:xVal>
          <c:yVal>
            <c:numRef>
              <c:f>Sheet1!$B$109:$B$160</c:f>
              <c:numCache>
                <c:formatCode>General</c:formatCode>
                <c:ptCount val="52"/>
                <c:pt idx="0">
                  <c:v>0.005727043292564551</c:v>
                </c:pt>
                <c:pt idx="1">
                  <c:v>0.006910778751933987</c:v>
                </c:pt>
                <c:pt idx="2">
                  <c:v>0.006043370067543548</c:v>
                </c:pt>
                <c:pt idx="3">
                  <c:v>0.0066200809121000365</c:v>
                </c:pt>
                <c:pt idx="4">
                  <c:v>0.006716635841526332</c:v>
                </c:pt>
                <c:pt idx="5">
                  <c:v>0.005764796310530361</c:v>
                </c:pt>
                <c:pt idx="6">
                  <c:v>0.006267599236987919</c:v>
                </c:pt>
                <c:pt idx="7">
                  <c:v>0.00736695033659342</c:v>
                </c:pt>
                <c:pt idx="8">
                  <c:v>0.00918748205569911</c:v>
                </c:pt>
                <c:pt idx="9">
                  <c:v>0.009224159716957291</c:v>
                </c:pt>
                <c:pt idx="10">
                  <c:v>0.008955956324377377</c:v>
                </c:pt>
                <c:pt idx="11">
                  <c:v>0.008676599474145487</c:v>
                </c:pt>
                <c:pt idx="12">
                  <c:v>0.009002700810243073</c:v>
                </c:pt>
                <c:pt idx="13">
                  <c:v>0.01323937646807602</c:v>
                </c:pt>
                <c:pt idx="14">
                  <c:v>0.013218458633305796</c:v>
                </c:pt>
                <c:pt idx="15">
                  <c:v>0.01261307172888266</c:v>
                </c:pt>
                <c:pt idx="16">
                  <c:v>0.012533572068039392</c:v>
                </c:pt>
                <c:pt idx="17">
                  <c:v>0.01579191825359963</c:v>
                </c:pt>
                <c:pt idx="18">
                  <c:v>0.008359076867163365</c:v>
                </c:pt>
                <c:pt idx="19">
                  <c:v>0.0075200820372585886</c:v>
                </c:pt>
                <c:pt idx="20">
                  <c:v>0.009334657398212513</c:v>
                </c:pt>
                <c:pt idx="21">
                  <c:v>0.013249819320645628</c:v>
                </c:pt>
                <c:pt idx="22">
                  <c:v>0.011156924569488236</c:v>
                </c:pt>
                <c:pt idx="23">
                  <c:v>0.010964912280701754</c:v>
                </c:pt>
                <c:pt idx="24">
                  <c:v>0.010142923005993546</c:v>
                </c:pt>
                <c:pt idx="25">
                  <c:v>0.010506654214335746</c:v>
                </c:pt>
                <c:pt idx="26">
                  <c:v>0.011258278145695364</c:v>
                </c:pt>
                <c:pt idx="27">
                  <c:v>0.011251480457954995</c:v>
                </c:pt>
                <c:pt idx="28">
                  <c:v>0.009651076466221232</c:v>
                </c:pt>
                <c:pt idx="29">
                  <c:v>0.011070944419340261</c:v>
                </c:pt>
                <c:pt idx="30">
                  <c:v>0.010507080858839652</c:v>
                </c:pt>
                <c:pt idx="31">
                  <c:v>0.010919248349415947</c:v>
                </c:pt>
                <c:pt idx="32">
                  <c:v>0.009582477754962354</c:v>
                </c:pt>
                <c:pt idx="33">
                  <c:v>0.008687943262411348</c:v>
                </c:pt>
                <c:pt idx="34">
                  <c:v>0.007735396105628167</c:v>
                </c:pt>
                <c:pt idx="35">
                  <c:v>0.009371029224904702</c:v>
                </c:pt>
                <c:pt idx="36">
                  <c:v>0.01274403470715835</c:v>
                </c:pt>
                <c:pt idx="37">
                  <c:v>0.012673653424323665</c:v>
                </c:pt>
                <c:pt idx="38">
                  <c:v>0.01510912143256855</c:v>
                </c:pt>
                <c:pt idx="39">
                  <c:v>0.013777955271565496</c:v>
                </c:pt>
                <c:pt idx="40">
                  <c:v>0.013238490416913653</c:v>
                </c:pt>
                <c:pt idx="41">
                  <c:v>0.010689273866568375</c:v>
                </c:pt>
                <c:pt idx="42">
                  <c:v>0.012421052631578947</c:v>
                </c:pt>
                <c:pt idx="43">
                  <c:v>0.009294265910523</c:v>
                </c:pt>
                <c:pt idx="44">
                  <c:v>0.006724181679776706</c:v>
                </c:pt>
                <c:pt idx="45">
                  <c:v>0.005326351900334025</c:v>
                </c:pt>
                <c:pt idx="46">
                  <c:v>0.005492730210016155</c:v>
                </c:pt>
                <c:pt idx="47">
                  <c:v>0.005336495701156241</c:v>
                </c:pt>
                <c:pt idx="48">
                  <c:v>0.005799903334944417</c:v>
                </c:pt>
                <c:pt idx="49">
                  <c:v>0.005066222769052616</c:v>
                </c:pt>
                <c:pt idx="50">
                  <c:v>0.0041575185686924835</c:v>
                </c:pt>
                <c:pt idx="51">
                  <c:v>0.00519148936170212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648.7556598510387</c:v>
                </c:pt>
              </c:numCache>
            </c:numRef>
          </c:xVal>
          <c:yVal>
            <c:numRef>
              <c:f>Sheet1!$B$163:$B$164</c:f>
              <c:numCache>
                <c:formatCode>General</c:formatCode>
                <c:ptCount val="2"/>
                <c:pt idx="0">
                  <c:v>0.01090149608468514</c:v>
                </c:pt>
                <c:pt idx="1">
                  <c:v>0.0109014960846851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648.7556598510387</c:v>
                </c:pt>
                <c:pt idx="1">
                  <c:v>3648.7556598510387</c:v>
                </c:pt>
              </c:numCache>
            </c:numRef>
          </c:xVal>
          <c:yVal>
            <c:numRef>
              <c:f>Sheet1!$B$167:$B$168</c:f>
              <c:numCache>
                <c:formatCode>General</c:formatCode>
                <c:ptCount val="2"/>
                <c:pt idx="0">
                  <c:v>0.0109014960846851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648.7556598510387</c:v>
                </c:pt>
              </c:numCache>
            </c:numRef>
          </c:xVal>
          <c:yVal>
            <c:numRef>
              <c:f>Sheet1!$B$171:$B$172</c:f>
              <c:numCache>
                <c:formatCode>General</c:formatCode>
                <c:ptCount val="2"/>
                <c:pt idx="0">
                  <c:v>0.01090149608468514</c:v>
                </c:pt>
                <c:pt idx="1">
                  <c:v>0.0109014960846851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648.7556598510387</c:v>
                </c:pt>
                <c:pt idx="1">
                  <c:v>3648.7556598510387</c:v>
                </c:pt>
              </c:numCache>
            </c:numRef>
          </c:xVal>
          <c:yVal>
            <c:numRef>
              <c:f>Sheet1!$B$175:$B$176</c:f>
              <c:numCache>
                <c:formatCode>General</c:formatCode>
                <c:ptCount val="2"/>
                <c:pt idx="0">
                  <c:v>0.0109014960846851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89.018032650738</c:v>
                </c:pt>
              </c:numCache>
            </c:numRef>
          </c:xVal>
          <c:yVal>
            <c:numRef>
              <c:f>Sheet1!$B$179:$B$180</c:f>
              <c:numCache>
                <c:formatCode>General</c:formatCode>
                <c:ptCount val="2"/>
                <c:pt idx="0">
                  <c:v>0.007885840894063405</c:v>
                </c:pt>
                <c:pt idx="1">
                  <c:v>0.0078858408940634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89.018032650738</c:v>
                </c:pt>
                <c:pt idx="1">
                  <c:v>4289.018032650738</c:v>
                </c:pt>
              </c:numCache>
            </c:numRef>
          </c:xVal>
          <c:yVal>
            <c:numRef>
              <c:f>Sheet1!$B$183:$B$184</c:f>
              <c:numCache>
                <c:formatCode>General</c:formatCode>
                <c:ptCount val="2"/>
                <c:pt idx="0">
                  <c:v>0.0078858408940634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pt idx="52">
                  <c:v>3648.7556598510387</c:v>
                </c:pt>
                <c:pt idx="53">
                  <c:v>3648.7556598510387</c:v>
                </c:pt>
                <c:pt idx="54">
                  <c:v>4289.018032650738</c:v>
                </c:pt>
              </c:numCache>
            </c:numRef>
          </c:xVal>
          <c:yVal>
            <c:numRef>
              <c:f>Sheet1!$B$187:$B$241</c:f>
              <c:numCache>
                <c:formatCode>General</c:formatCode>
                <c:ptCount val="55"/>
                <c:pt idx="0">
                  <c:v>0.007688503494393671</c:v>
                </c:pt>
                <c:pt idx="1">
                  <c:v>0.010505124706751561</c:v>
                </c:pt>
                <c:pt idx="2">
                  <c:v>0.007553522503388418</c:v>
                </c:pt>
                <c:pt idx="3">
                  <c:v>0.010207905308258297</c:v>
                </c:pt>
                <c:pt idx="4">
                  <c:v>0.00707552743106454</c:v>
                </c:pt>
                <c:pt idx="5">
                  <c:v>0.005738623004097321</c:v>
                </c:pt>
                <c:pt idx="6">
                  <c:v>0.006709851509849377</c:v>
                </c:pt>
                <c:pt idx="7">
                  <c:v>0.006865879271353365</c:v>
                </c:pt>
                <c:pt idx="8">
                  <c:v>0.008141812826791186</c:v>
                </c:pt>
                <c:pt idx="9">
                  <c:v>0.008785864257182988</c:v>
                </c:pt>
                <c:pt idx="10">
                  <c:v>0.008574041947474676</c:v>
                </c:pt>
                <c:pt idx="11">
                  <c:v>0.008841776556145386</c:v>
                </c:pt>
                <c:pt idx="12">
                  <c:v>0.010373240560683748</c:v>
                </c:pt>
                <c:pt idx="13">
                  <c:v>0.011881437015426034</c:v>
                </c:pt>
                <c:pt idx="14">
                  <c:v>0.011667575733590858</c:v>
                </c:pt>
                <c:pt idx="15">
                  <c:v>0.010484530570166874</c:v>
                </c:pt>
                <c:pt idx="16">
                  <c:v>0.009619721431540829</c:v>
                </c:pt>
                <c:pt idx="17">
                  <c:v>0.013847762105592428</c:v>
                </c:pt>
                <c:pt idx="18">
                  <c:v>0.007981559697084351</c:v>
                </c:pt>
                <c:pt idx="19">
                  <c:v>0.006400660627283908</c:v>
                </c:pt>
                <c:pt idx="20">
                  <c:v>0.007182928839512919</c:v>
                </c:pt>
                <c:pt idx="21">
                  <c:v>0.01109731022523153</c:v>
                </c:pt>
                <c:pt idx="22">
                  <c:v>0.009419142906219806</c:v>
                </c:pt>
                <c:pt idx="23">
                  <c:v>0.012947638572612934</c:v>
                </c:pt>
                <c:pt idx="24">
                  <c:v>0.008543938259667663</c:v>
                </c:pt>
                <c:pt idx="25">
                  <c:v>0.009854299781752125</c:v>
                </c:pt>
                <c:pt idx="26">
                  <c:v>0.009749989566204792</c:v>
                </c:pt>
                <c:pt idx="27">
                  <c:v>0.010914557751674315</c:v>
                </c:pt>
                <c:pt idx="28">
                  <c:v>0.010471460707023324</c:v>
                </c:pt>
                <c:pt idx="29">
                  <c:v>0.010521812815189314</c:v>
                </c:pt>
                <c:pt idx="30">
                  <c:v>0.010919083148808743</c:v>
                </c:pt>
                <c:pt idx="31">
                  <c:v>0.009379991250162131</c:v>
                </c:pt>
                <c:pt idx="32">
                  <c:v>0.00708880924557263</c:v>
                </c:pt>
                <c:pt idx="33">
                  <c:v>0.007624855441628622</c:v>
                </c:pt>
                <c:pt idx="34">
                  <c:v>0.00710341128158028</c:v>
                </c:pt>
                <c:pt idx="35">
                  <c:v>0.00853311602299429</c:v>
                </c:pt>
                <c:pt idx="36">
                  <c:v>0.008612272792604188</c:v>
                </c:pt>
                <c:pt idx="37">
                  <c:v>0.008380388579737698</c:v>
                </c:pt>
                <c:pt idx="38">
                  <c:v>0.010800300894090675</c:v>
                </c:pt>
                <c:pt idx="39">
                  <c:v>0.012389602186984483</c:v>
                </c:pt>
                <c:pt idx="40">
                  <c:v>0.012914269891785953</c:v>
                </c:pt>
                <c:pt idx="41">
                  <c:v>0.011453367793523902</c:v>
                </c:pt>
                <c:pt idx="42">
                  <c:v>0.012248451527259015</c:v>
                </c:pt>
                <c:pt idx="43">
                  <c:v>0.011103754488719586</c:v>
                </c:pt>
                <c:pt idx="44">
                  <c:v>0.008643707534980505</c:v>
                </c:pt>
                <c:pt idx="45">
                  <c:v>0.008190401499604212</c:v>
                </c:pt>
                <c:pt idx="46">
                  <c:v>0.007085959677227156</c:v>
                </c:pt>
                <c:pt idx="47">
                  <c:v>0.008998103404574891</c:v>
                </c:pt>
                <c:pt idx="48">
                  <c:v>0.010398203721396139</c:v>
                </c:pt>
                <c:pt idx="49">
                  <c:v>0.010077368230862884</c:v>
                </c:pt>
                <c:pt idx="50">
                  <c:v>0.009094921845890312</c:v>
                </c:pt>
                <c:pt idx="51">
                  <c:v>0.0074849557659569695</c:v>
                </c:pt>
                <c:pt idx="52">
                  <c:v>0.010901496084685141</c:v>
                </c:pt>
                <c:pt idx="53">
                  <c:v>0.010901496084685141</c:v>
                </c:pt>
                <c:pt idx="54">
                  <c:v>0.0078858408940634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2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895030190431955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7121297332047858</c:v>
                </c:pt>
                <c:pt idx="1">
                  <c:v>2.6146464773430393</c:v>
                </c:pt>
                <c:pt idx="2">
                  <c:v>2.339655094205326</c:v>
                </c:pt>
                <c:pt idx="3">
                  <c:v>1.7148923062359265</c:v>
                </c:pt>
                <c:pt idx="4">
                  <c:v>2.0458662555405667</c:v>
                </c:pt>
                <c:pt idx="5">
                  <c:v>1.6697891477768605</c:v>
                </c:pt>
                <c:pt idx="6">
                  <c:v>1.3540014670990619</c:v>
                </c:pt>
                <c:pt idx="7">
                  <c:v>1.229498606616157</c:v>
                </c:pt>
                <c:pt idx="8">
                  <c:v>1.5215496335537775</c:v>
                </c:pt>
                <c:pt idx="9">
                  <c:v>1.6437961360505775</c:v>
                </c:pt>
                <c:pt idx="10">
                  <c:v>1.432387673622092</c:v>
                </c:pt>
                <c:pt idx="11">
                  <c:v>1.2366775329979345</c:v>
                </c:pt>
                <c:pt idx="12">
                  <c:v>1.8566198372611848</c:v>
                </c:pt>
                <c:pt idx="13">
                  <c:v>1.5821024098758851</c:v>
                </c:pt>
                <c:pt idx="14">
                  <c:v>0.0</c:v>
                </c:pt>
                <c:pt idx="15">
                  <c:v>1.180625473543907</c:v>
                </c:pt>
                <c:pt idx="16">
                  <c:v>0.6996449243577532</c:v>
                </c:pt>
                <c:pt idx="17">
                  <c:v>2.268823285491965</c:v>
                </c:pt>
                <c:pt idx="18">
                  <c:v>0.0</c:v>
                </c:pt>
                <c:pt idx="19">
                  <c:v>1.3664043136885284</c:v>
                </c:pt>
                <c:pt idx="20">
                  <c:v>1.7226852276067164</c:v>
                </c:pt>
                <c:pt idx="21">
                  <c:v>2.1166178287086534</c:v>
                </c:pt>
                <c:pt idx="22">
                  <c:v>1.555017470371113</c:v>
                </c:pt>
                <c:pt idx="23">
                  <c:v>2.1776237965967056</c:v>
                </c:pt>
                <c:pt idx="24">
                  <c:v>1.6280394451288978</c:v>
                </c:pt>
                <c:pt idx="25">
                  <c:v>1.0936140773157137</c:v>
                </c:pt>
                <c:pt idx="26">
                  <c:v>1.8232503724035878</c:v>
                </c:pt>
                <c:pt idx="27">
                  <c:v>3.046961898903398</c:v>
                </c:pt>
                <c:pt idx="28">
                  <c:v>0.5597590563038568</c:v>
                </c:pt>
                <c:pt idx="29">
                  <c:v>1.1555538136157735</c:v>
                </c:pt>
                <c:pt idx="30">
                  <c:v>0.7281425042887232</c:v>
                </c:pt>
                <c:pt idx="31">
                  <c:v>0.7816617581510913</c:v>
                </c:pt>
                <c:pt idx="32">
                  <c:v>1.2146706334727329</c:v>
                </c:pt>
                <c:pt idx="33">
                  <c:v>0.5327761165082169</c:v>
                </c:pt>
                <c:pt idx="34">
                  <c:v>0.4094217691977121</c:v>
                </c:pt>
                <c:pt idx="35">
                  <c:v>0.563393337446396</c:v>
                </c:pt>
                <c:pt idx="36">
                  <c:v>1.1896054559958198</c:v>
                </c:pt>
                <c:pt idx="37">
                  <c:v>0.6392477102626384</c:v>
                </c:pt>
                <c:pt idx="38">
                  <c:v>1.0962761660291154</c:v>
                </c:pt>
                <c:pt idx="39">
                  <c:v>0.5814732142857143</c:v>
                </c:pt>
                <c:pt idx="40">
                  <c:v>1.0881238255995413</c:v>
                </c:pt>
                <c:pt idx="41">
                  <c:v>0.5590315171399335</c:v>
                </c:pt>
                <c:pt idx="42">
                  <c:v>1.551821003271157</c:v>
                </c:pt>
                <c:pt idx="43">
                  <c:v>1.225916477125135</c:v>
                </c:pt>
                <c:pt idx="44">
                  <c:v>0.8273816492994576</c:v>
                </c:pt>
                <c:pt idx="45">
                  <c:v>0.669768372406586</c:v>
                </c:pt>
                <c:pt idx="46">
                  <c:v>0.538112804345966</c:v>
                </c:pt>
                <c:pt idx="47">
                  <c:v>0.4674886727843179</c:v>
                </c:pt>
                <c:pt idx="48">
                  <c:v>0.6635907736596476</c:v>
                </c:pt>
                <c:pt idx="49">
                  <c:v>0.6937407547536458</c:v>
                </c:pt>
                <c:pt idx="50">
                  <c:v>0.48218672658754225</c:v>
                </c:pt>
                <c:pt idx="51">
                  <c:v>0.44309623769424283</c:v>
                </c:pt>
                <c:pt idx="52">
                  <c:v>0.5529201941585581</c:v>
                </c:pt>
                <c:pt idx="53">
                  <c:v>0.4298908062948509</c:v>
                </c:pt>
                <c:pt idx="54">
                  <c:v>0.44187615684424797</c:v>
                </c:pt>
                <c:pt idx="55">
                  <c:v>0.503266608419058</c:v>
                </c:pt>
                <c:pt idx="56">
                  <c:v>1.0430309622863183</c:v>
                </c:pt>
                <c:pt idx="57">
                  <c:v>0.41018723785469097</c:v>
                </c:pt>
                <c:pt idx="58">
                  <c:v>0.4858018381341576</c:v>
                </c:pt>
                <c:pt idx="59">
                  <c:v>0.43947192142462227</c:v>
                </c:pt>
                <c:pt idx="60">
                  <c:v>0.28729966153775227</c:v>
                </c:pt>
                <c:pt idx="61">
                  <c:v>0.2577380544049925</c:v>
                </c:pt>
                <c:pt idx="62">
                  <c:v>0.23635439278531192</c:v>
                </c:pt>
                <c:pt idx="63">
                  <c:v>0.2442386357880933</c:v>
                </c:pt>
                <c:pt idx="64">
                  <c:v>0.2520635848253791</c:v>
                </c:pt>
                <c:pt idx="65">
                  <c:v>0.195829926732006</c:v>
                </c:pt>
                <c:pt idx="66">
                  <c:v>0.1675726820601379</c:v>
                </c:pt>
                <c:pt idx="67">
                  <c:v>0.21890578869654392</c:v>
                </c:pt>
                <c:pt idx="68">
                  <c:v>0.17034129879313117</c:v>
                </c:pt>
                <c:pt idx="69">
                  <c:v>0.14155994417167542</c:v>
                </c:pt>
                <c:pt idx="70">
                  <c:v>0.1671835051242779</c:v>
                </c:pt>
                <c:pt idx="71">
                  <c:v>0.10321238521066632</c:v>
                </c:pt>
                <c:pt idx="72">
                  <c:v>0.17312434169396296</c:v>
                </c:pt>
                <c:pt idx="73">
                  <c:v>0.1382290663837423</c:v>
                </c:pt>
                <c:pt idx="74">
                  <c:v>0.12686136220957275</c:v>
                </c:pt>
                <c:pt idx="75">
                  <c:v>0.29878288509013196</c:v>
                </c:pt>
                <c:pt idx="76">
                  <c:v>0.27416782877830653</c:v>
                </c:pt>
                <c:pt idx="77">
                  <c:v>0.24956777230057384</c:v>
                </c:pt>
                <c:pt idx="78">
                  <c:v>0.18467218427620158</c:v>
                </c:pt>
                <c:pt idx="79">
                  <c:v>0.29520002921944727</c:v>
                </c:pt>
                <c:pt idx="80">
                  <c:v>0.233317656000366</c:v>
                </c:pt>
                <c:pt idx="81">
                  <c:v>0.2655264526962766</c:v>
                </c:pt>
                <c:pt idx="82">
                  <c:v>0.30021037521608807</c:v>
                </c:pt>
                <c:pt idx="83">
                  <c:v>0.2887692431919575</c:v>
                </c:pt>
                <c:pt idx="84">
                  <c:v>0.215745155257804</c:v>
                </c:pt>
                <c:pt idx="85">
                  <c:v>0.20404648344394113</c:v>
                </c:pt>
                <c:pt idx="86">
                  <c:v>0.2607545723796315</c:v>
                </c:pt>
                <c:pt idx="87">
                  <c:v>0.2709423281936634</c:v>
                </c:pt>
                <c:pt idx="88">
                  <c:v>0.30994790163280866</c:v>
                </c:pt>
                <c:pt idx="89">
                  <c:v>0.23397847289968993</c:v>
                </c:pt>
                <c:pt idx="90">
                  <c:v>0.29588217582169596</c:v>
                </c:pt>
                <c:pt idx="91">
                  <c:v>0.2449299401439403</c:v>
                </c:pt>
                <c:pt idx="92">
                  <c:v>0.26338885462283357</c:v>
                </c:pt>
                <c:pt idx="93">
                  <c:v>0.24710524662714145</c:v>
                </c:pt>
                <c:pt idx="94">
                  <c:v>0.2926408963497893</c:v>
                </c:pt>
                <c:pt idx="95">
                  <c:v>0.2740620134790196</c:v>
                </c:pt>
                <c:pt idx="96">
                  <c:v>0.1787532095774216</c:v>
                </c:pt>
                <c:pt idx="97">
                  <c:v>0.20579522733054698</c:v>
                </c:pt>
                <c:pt idx="98">
                  <c:v>0.1814077264875657</c:v>
                </c:pt>
                <c:pt idx="99">
                  <c:v>0.21221089572264637</c:v>
                </c:pt>
                <c:pt idx="100">
                  <c:v>0.185139470322906</c:v>
                </c:pt>
                <c:pt idx="101">
                  <c:v>0.20546952927280487</c:v>
                </c:pt>
                <c:pt idx="102">
                  <c:v>0.24336981061939503</c:v>
                </c:pt>
                <c:pt idx="103">
                  <c:v>0.2010859264150325</c:v>
                </c:pt>
                <c:pt idx="104">
                  <c:v>0.2560825025029025</c:v>
                </c:pt>
              </c:numCache>
            </c:numRef>
          </c:xVal>
          <c:yVal>
            <c:numRef>
              <c:f>Sheet1!$B$2:$B$106</c:f>
              <c:numCache>
                <c:formatCode>General</c:formatCode>
                <c:ptCount val="105"/>
                <c:pt idx="0">
                  <c:v>0.0011239840913020924</c:v>
                </c:pt>
                <c:pt idx="1">
                  <c:v>0.0003037359522122102</c:v>
                </c:pt>
                <c:pt idx="2">
                  <c:v>0.0003105268605734396</c:v>
                </c:pt>
                <c:pt idx="3">
                  <c:v>0.00033415014479839606</c:v>
                </c:pt>
                <c:pt idx="4">
                  <c:v>0.00024978144123891593</c:v>
                </c:pt>
                <c:pt idx="5">
                  <c:v>0.0003697769012695674</c:v>
                </c:pt>
                <c:pt idx="6">
                  <c:v>0.0006844626967830253</c:v>
                </c:pt>
                <c:pt idx="7">
                  <c:v>0.0008228195282501371</c:v>
                </c:pt>
                <c:pt idx="8">
                  <c:v>0.00042319085907744394</c:v>
                </c:pt>
                <c:pt idx="9">
                  <c:v>0.0005163688939378292</c:v>
                </c:pt>
                <c:pt idx="10">
                  <c:v>0.00040261701056869655</c:v>
                </c:pt>
                <c:pt idx="11">
                  <c:v>0.0007121782480415098</c:v>
                </c:pt>
                <c:pt idx="12">
                  <c:v>0.0004589261128958238</c:v>
                </c:pt>
                <c:pt idx="13">
                  <c:v>0.0005639627784566219</c:v>
                </c:pt>
                <c:pt idx="14">
                  <c:v>0.0</c:v>
                </c:pt>
                <c:pt idx="15">
                  <c:v>0.000576169624337405</c:v>
                </c:pt>
                <c:pt idx="16">
                  <c:v>0.0005341880341880342</c:v>
                </c:pt>
                <c:pt idx="17">
                  <c:v>0.0002938583602703497</c:v>
                </c:pt>
                <c:pt idx="18">
                  <c:v>0.0</c:v>
                </c:pt>
                <c:pt idx="19">
                  <c:v>0.0006090133982947625</c:v>
                </c:pt>
                <c:pt idx="20">
                  <c:v>0.00048725028422933245</c:v>
                </c:pt>
                <c:pt idx="21">
                  <c:v>0.00021204410517387616</c:v>
                </c:pt>
                <c:pt idx="22">
                  <c:v>0.0008235536339304097</c:v>
                </c:pt>
                <c:pt idx="23">
                  <c:v>0.0006513243595310464</c:v>
                </c:pt>
                <c:pt idx="24">
                  <c:v>0.0008066142367412785</c:v>
                </c:pt>
                <c:pt idx="25">
                  <c:v>0.001372055796935742</c:v>
                </c:pt>
                <c:pt idx="26">
                  <c:v>0.0009633911368015414</c:v>
                </c:pt>
                <c:pt idx="27">
                  <c:v>0.0001840264998159735</c:v>
                </c:pt>
                <c:pt idx="28">
                  <c:v>0.0009633911368015414</c:v>
                </c:pt>
                <c:pt idx="29">
                  <c:v>0.0007037297677691766</c:v>
                </c:pt>
                <c:pt idx="30">
                  <c:v>0.0008710801393728223</c:v>
                </c:pt>
                <c:pt idx="31">
                  <c:v>0.0008378718056137411</c:v>
                </c:pt>
                <c:pt idx="32">
                  <c:v>0.00042927666881305</c:v>
                </c:pt>
                <c:pt idx="33">
                  <c:v>0.0015287922541192458</c:v>
                </c:pt>
                <c:pt idx="34">
                  <c:v>0.0017421602787456446</c:v>
                </c:pt>
                <c:pt idx="35">
                  <c:v>0.0016525023607176581</c:v>
                </c:pt>
                <c:pt idx="36">
                  <c:v>0.0006046863189720333</c:v>
                </c:pt>
                <c:pt idx="37">
                  <c:v>0.0007292616226071103</c:v>
                </c:pt>
                <c:pt idx="38">
                  <c:v>0.00037167812674224123</c:v>
                </c:pt>
                <c:pt idx="39">
                  <c:v>0.0007756447547023463</c:v>
                </c:pt>
                <c:pt idx="40">
                  <c:v>0.0003134304967873374</c:v>
                </c:pt>
                <c:pt idx="41">
                  <c:v>0.0005368647100930566</c:v>
                </c:pt>
                <c:pt idx="42">
                  <c:v>0.0001497678598172832</c:v>
                </c:pt>
                <c:pt idx="43">
                  <c:v>0.00040149892933618843</c:v>
                </c:pt>
                <c:pt idx="44">
                  <c:v>0.000522420548541576</c:v>
                </c:pt>
                <c:pt idx="45">
                  <c:v>0.00039203387172651716</c:v>
                </c:pt>
                <c:pt idx="46">
                  <c:v>0.0008500115910671509</c:v>
                </c:pt>
                <c:pt idx="47">
                  <c:v>0.001103491763222196</c:v>
                </c:pt>
                <c:pt idx="48">
                  <c:v>0.0005687635081333182</c:v>
                </c:pt>
                <c:pt idx="49">
                  <c:v>0.0006174745291756715</c:v>
                </c:pt>
                <c:pt idx="50">
                  <c:v>0.0007512019230769231</c:v>
                </c:pt>
                <c:pt idx="51">
                  <c:v>0.0009592326139088729</c:v>
                </c:pt>
                <c:pt idx="52">
                  <c:v>0.00031421838177533385</c:v>
                </c:pt>
                <c:pt idx="53">
                  <c:v>0.000519588485919152</c:v>
                </c:pt>
                <c:pt idx="54">
                  <c:v>0.001055470857276885</c:v>
                </c:pt>
                <c:pt idx="55">
                  <c:v>0.0006065016982047549</c:v>
                </c:pt>
                <c:pt idx="56">
                  <c:v>0.00025078369905956113</c:v>
                </c:pt>
                <c:pt idx="57">
                  <c:v>0.00044072278536800354</c:v>
                </c:pt>
                <c:pt idx="58">
                  <c:v>0.00039428289797930016</c:v>
                </c:pt>
                <c:pt idx="59">
                  <c:v>0.0006261348694508798</c:v>
                </c:pt>
                <c:pt idx="60">
                  <c:v>0.0009566108643662453</c:v>
                </c:pt>
                <c:pt idx="61">
                  <c:v>0.0013627956779908499</c:v>
                </c:pt>
                <c:pt idx="62">
                  <c:v>0.0011056850640375933</c:v>
                </c:pt>
                <c:pt idx="63">
                  <c:v>0.0014931563666528412</c:v>
                </c:pt>
                <c:pt idx="64">
                  <c:v>0.001472411655300682</c:v>
                </c:pt>
                <c:pt idx="65">
                  <c:v>0.0012552301255230125</c:v>
                </c:pt>
                <c:pt idx="66">
                  <c:v>0.0009909017205657147</c:v>
                </c:pt>
                <c:pt idx="67">
                  <c:v>0.000872262066291917</c:v>
                </c:pt>
                <c:pt idx="68">
                  <c:v>0.0015526095784067838</c:v>
                </c:pt>
                <c:pt idx="69">
                  <c:v>0.0016910069177555726</c:v>
                </c:pt>
                <c:pt idx="70">
                  <c:v>0.0014920919128618322</c:v>
                </c:pt>
                <c:pt idx="71">
                  <c:v>0.001650437365901964</c:v>
                </c:pt>
                <c:pt idx="72">
                  <c:v>0.0016536380036079375</c:v>
                </c:pt>
                <c:pt idx="73">
                  <c:v>0.0031306640303180094</c:v>
                </c:pt>
                <c:pt idx="74">
                  <c:v>0.003278688524590164</c:v>
                </c:pt>
                <c:pt idx="75">
                  <c:v>0.0032537960954446853</c:v>
                </c:pt>
                <c:pt idx="76">
                  <c:v>0.004493942946463462</c:v>
                </c:pt>
                <c:pt idx="77">
                  <c:v>0.004625905068382945</c:v>
                </c:pt>
                <c:pt idx="78">
                  <c:v>0.007889990982867448</c:v>
                </c:pt>
                <c:pt idx="79">
                  <c:v>0.005297732570459843</c:v>
                </c:pt>
                <c:pt idx="80">
                  <c:v>0.004957653377401363</c:v>
                </c:pt>
                <c:pt idx="81">
                  <c:v>0.006846970215679562</c:v>
                </c:pt>
                <c:pt idx="82">
                  <c:v>0.005604124635731899</c:v>
                </c:pt>
                <c:pt idx="83">
                  <c:v>0.005520504731861199</c:v>
                </c:pt>
                <c:pt idx="84">
                  <c:v>0.005243838489774515</c:v>
                </c:pt>
                <c:pt idx="85">
                  <c:v>0.004848764719464327</c:v>
                </c:pt>
                <c:pt idx="86">
                  <c:v>0.004335501083875271</c:v>
                </c:pt>
                <c:pt idx="87">
                  <c:v>0.003652834599649328</c:v>
                </c:pt>
                <c:pt idx="88">
                  <c:v>0.005715374357020385</c:v>
                </c:pt>
                <c:pt idx="89">
                  <c:v>0.0075656430796617715</c:v>
                </c:pt>
                <c:pt idx="90">
                  <c:v>0.007111722872218399</c:v>
                </c:pt>
                <c:pt idx="91">
                  <c:v>0.007095343680709534</c:v>
                </c:pt>
                <c:pt idx="92">
                  <c:v>0.00567139282735613</c:v>
                </c:pt>
                <c:pt idx="93">
                  <c:v>0.005577689243027889</c:v>
                </c:pt>
                <c:pt idx="94">
                  <c:v>0.005150062155922571</c:v>
                </c:pt>
                <c:pt idx="95">
                  <c:v>0.005925365607665154</c:v>
                </c:pt>
                <c:pt idx="96">
                  <c:v>0.007888839085611834</c:v>
                </c:pt>
                <c:pt idx="97">
                  <c:v>0.008973158551810237</c:v>
                </c:pt>
                <c:pt idx="98">
                  <c:v>0.008416374899003501</c:v>
                </c:pt>
                <c:pt idx="99">
                  <c:v>0.008028335301062573</c:v>
                </c:pt>
                <c:pt idx="100">
                  <c:v>0.005974855815111407</c:v>
                </c:pt>
                <c:pt idx="101">
                  <c:v>0.008578152281181204</c:v>
                </c:pt>
                <c:pt idx="102">
                  <c:v>0.007513524343818874</c:v>
                </c:pt>
                <c:pt idx="103">
                  <c:v>0.006814012404996943</c:v>
                </c:pt>
                <c:pt idx="104">
                  <c:v>0.0051888750518887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0193318131149302</c:v>
                </c:pt>
                <c:pt idx="1">
                  <c:v>0.2152292715514133</c:v>
                </c:pt>
                <c:pt idx="2">
                  <c:v>0.326704470621445</c:v>
                </c:pt>
                <c:pt idx="3">
                  <c:v>0.30890400657608325</c:v>
                </c:pt>
                <c:pt idx="4">
                  <c:v>0.3989950678285927</c:v>
                </c:pt>
                <c:pt idx="5">
                  <c:v>0.4109756669214625</c:v>
                </c:pt>
                <c:pt idx="6">
                  <c:v>0.3619135421402697</c:v>
                </c:pt>
                <c:pt idx="7">
                  <c:v>0.32861299716377523</c:v>
                </c:pt>
                <c:pt idx="8">
                  <c:v>0.4254909996456245</c:v>
                </c:pt>
                <c:pt idx="9">
                  <c:v>0.35495454054645587</c:v>
                </c:pt>
                <c:pt idx="10">
                  <c:v>0.4091470914681593</c:v>
                </c:pt>
                <c:pt idx="11">
                  <c:v>0.4127932864925978</c:v>
                </c:pt>
                <c:pt idx="12">
                  <c:v>0.4678775439607841</c:v>
                </c:pt>
                <c:pt idx="13">
                  <c:v>0.3396110130607502</c:v>
                </c:pt>
                <c:pt idx="14">
                  <c:v>0.2905027324500866</c:v>
                </c:pt>
                <c:pt idx="15">
                  <c:v>0.3081513595521136</c:v>
                </c:pt>
                <c:pt idx="16">
                  <c:v>0.2228151119939349</c:v>
                </c:pt>
                <c:pt idx="17">
                  <c:v>0.17506400578957124</c:v>
                </c:pt>
                <c:pt idx="18">
                  <c:v>0.3113158120608609</c:v>
                </c:pt>
                <c:pt idx="19">
                  <c:v>0.40046742847895567</c:v>
                </c:pt>
                <c:pt idx="20">
                  <c:v>0.34237189954584024</c:v>
                </c:pt>
                <c:pt idx="21">
                  <c:v>0.22214288488182563</c:v>
                </c:pt>
                <c:pt idx="22">
                  <c:v>0.28280467656108144</c:v>
                </c:pt>
                <c:pt idx="23">
                  <c:v>0.212206434192458</c:v>
                </c:pt>
                <c:pt idx="24">
                  <c:v>0.2778434894335591</c:v>
                </c:pt>
                <c:pt idx="25">
                  <c:v>0.33990858556880515</c:v>
                </c:pt>
                <c:pt idx="26">
                  <c:v>0.28444832138435205</c:v>
                </c:pt>
                <c:pt idx="27">
                  <c:v>0.3186864590146662</c:v>
                </c:pt>
                <c:pt idx="28">
                  <c:v>0.3228117627339076</c:v>
                </c:pt>
                <c:pt idx="29">
                  <c:v>0.3405517688337628</c:v>
                </c:pt>
                <c:pt idx="30">
                  <c:v>0.36189338912580876</c:v>
                </c:pt>
                <c:pt idx="31">
                  <c:v>0.3085426882875133</c:v>
                </c:pt>
                <c:pt idx="32">
                  <c:v>0.34630998684465186</c:v>
                </c:pt>
                <c:pt idx="33">
                  <c:v>0.40226852993931694</c:v>
                </c:pt>
                <c:pt idx="34">
                  <c:v>0.34150847373579485</c:v>
                </c:pt>
                <c:pt idx="35">
                  <c:v>0.3612517482334325</c:v>
                </c:pt>
                <c:pt idx="36">
                  <c:v>0.2878659369900255</c:v>
                </c:pt>
                <c:pt idx="37">
                  <c:v>0.33967857964475867</c:v>
                </c:pt>
                <c:pt idx="38">
                  <c:v>0.2655870160172261</c:v>
                </c:pt>
                <c:pt idx="39">
                  <c:v>0.29929574505091494</c:v>
                </c:pt>
                <c:pt idx="40">
                  <c:v>0.26685425774479</c:v>
                </c:pt>
                <c:pt idx="41">
                  <c:v>0.3097268367188476</c:v>
                </c:pt>
                <c:pt idx="42">
                  <c:v>0.28613922440383754</c:v>
                </c:pt>
                <c:pt idx="43">
                  <c:v>0.351076589759361</c:v>
                </c:pt>
                <c:pt idx="44">
                  <c:v>0.39735289757563724</c:v>
                </c:pt>
                <c:pt idx="45">
                  <c:v>0.41165480752768624</c:v>
                </c:pt>
                <c:pt idx="46">
                  <c:v>0.34848379906756555</c:v>
                </c:pt>
                <c:pt idx="47">
                  <c:v>0.35562438609397323</c:v>
                </c:pt>
                <c:pt idx="48">
                  <c:v>0.3983069924147008</c:v>
                </c:pt>
                <c:pt idx="49">
                  <c:v>0.37883445526753196</c:v>
                </c:pt>
                <c:pt idx="50">
                  <c:v>0.4877273567138101</c:v>
                </c:pt>
                <c:pt idx="51">
                  <c:v>0.47373584416780257</c:v>
                </c:pt>
              </c:numCache>
            </c:numRef>
          </c:xVal>
          <c:yVal>
            <c:numRef>
              <c:f>Sheet1!$B$109:$B$160</c:f>
              <c:numCache>
                <c:formatCode>General</c:formatCode>
                <c:ptCount val="52"/>
                <c:pt idx="0">
                  <c:v>0.005727043292564551</c:v>
                </c:pt>
                <c:pt idx="1">
                  <c:v>0.006910778751933987</c:v>
                </c:pt>
                <c:pt idx="2">
                  <c:v>0.006043370067543548</c:v>
                </c:pt>
                <c:pt idx="3">
                  <c:v>0.0066200809121000365</c:v>
                </c:pt>
                <c:pt idx="4">
                  <c:v>0.006716635841526332</c:v>
                </c:pt>
                <c:pt idx="5">
                  <c:v>0.005764796310530361</c:v>
                </c:pt>
                <c:pt idx="6">
                  <c:v>0.006267599236987919</c:v>
                </c:pt>
                <c:pt idx="7">
                  <c:v>0.00736695033659342</c:v>
                </c:pt>
                <c:pt idx="8">
                  <c:v>0.00918748205569911</c:v>
                </c:pt>
                <c:pt idx="9">
                  <c:v>0.009224159716957291</c:v>
                </c:pt>
                <c:pt idx="10">
                  <c:v>0.008955956324377377</c:v>
                </c:pt>
                <c:pt idx="11">
                  <c:v>0.008676599474145487</c:v>
                </c:pt>
                <c:pt idx="12">
                  <c:v>0.009002700810243073</c:v>
                </c:pt>
                <c:pt idx="13">
                  <c:v>0.01323937646807602</c:v>
                </c:pt>
                <c:pt idx="14">
                  <c:v>0.013218458633305796</c:v>
                </c:pt>
                <c:pt idx="15">
                  <c:v>0.01261307172888266</c:v>
                </c:pt>
                <c:pt idx="16">
                  <c:v>0.012533572068039392</c:v>
                </c:pt>
                <c:pt idx="17">
                  <c:v>0.01579191825359963</c:v>
                </c:pt>
                <c:pt idx="18">
                  <c:v>0.008359076867163365</c:v>
                </c:pt>
                <c:pt idx="19">
                  <c:v>0.0075200820372585886</c:v>
                </c:pt>
                <c:pt idx="20">
                  <c:v>0.009334657398212513</c:v>
                </c:pt>
                <c:pt idx="21">
                  <c:v>0.013249819320645628</c:v>
                </c:pt>
                <c:pt idx="22">
                  <c:v>0.011156924569488236</c:v>
                </c:pt>
                <c:pt idx="23">
                  <c:v>0.010964912280701754</c:v>
                </c:pt>
                <c:pt idx="24">
                  <c:v>0.010142923005993546</c:v>
                </c:pt>
                <c:pt idx="25">
                  <c:v>0.010506654214335746</c:v>
                </c:pt>
                <c:pt idx="26">
                  <c:v>0.011258278145695364</c:v>
                </c:pt>
                <c:pt idx="27">
                  <c:v>0.011251480457954995</c:v>
                </c:pt>
                <c:pt idx="28">
                  <c:v>0.009651076466221232</c:v>
                </c:pt>
                <c:pt idx="29">
                  <c:v>0.011070944419340261</c:v>
                </c:pt>
                <c:pt idx="30">
                  <c:v>0.010507080858839652</c:v>
                </c:pt>
                <c:pt idx="31">
                  <c:v>0.010919248349415947</c:v>
                </c:pt>
                <c:pt idx="32">
                  <c:v>0.009582477754962354</c:v>
                </c:pt>
                <c:pt idx="33">
                  <c:v>0.008687943262411348</c:v>
                </c:pt>
                <c:pt idx="34">
                  <c:v>0.007735396105628167</c:v>
                </c:pt>
                <c:pt idx="35">
                  <c:v>0.009371029224904702</c:v>
                </c:pt>
                <c:pt idx="36">
                  <c:v>0.01274403470715835</c:v>
                </c:pt>
                <c:pt idx="37">
                  <c:v>0.012673653424323665</c:v>
                </c:pt>
                <c:pt idx="38">
                  <c:v>0.01510912143256855</c:v>
                </c:pt>
                <c:pt idx="39">
                  <c:v>0.013777955271565496</c:v>
                </c:pt>
                <c:pt idx="40">
                  <c:v>0.013238490416913653</c:v>
                </c:pt>
                <c:pt idx="41">
                  <c:v>0.010689273866568375</c:v>
                </c:pt>
                <c:pt idx="42">
                  <c:v>0.012421052631578947</c:v>
                </c:pt>
                <c:pt idx="43">
                  <c:v>0.009294265910523</c:v>
                </c:pt>
                <c:pt idx="44">
                  <c:v>0.006724181679776706</c:v>
                </c:pt>
                <c:pt idx="45">
                  <c:v>0.005326351900334025</c:v>
                </c:pt>
                <c:pt idx="46">
                  <c:v>0.005492730210016155</c:v>
                </c:pt>
                <c:pt idx="47">
                  <c:v>0.005336495701156241</c:v>
                </c:pt>
                <c:pt idx="48">
                  <c:v>0.005799903334944417</c:v>
                </c:pt>
                <c:pt idx="49">
                  <c:v>0.005066222769052616</c:v>
                </c:pt>
                <c:pt idx="50">
                  <c:v>0.0041575185686924835</c:v>
                </c:pt>
                <c:pt idx="51">
                  <c:v>0.00519148936170212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7257750367596634</c:v>
                </c:pt>
              </c:numCache>
            </c:numRef>
          </c:xVal>
          <c:yVal>
            <c:numRef>
              <c:f>Sheet1!$B$163:$B$164</c:f>
              <c:numCache>
                <c:formatCode>General</c:formatCode>
                <c:ptCount val="2"/>
                <c:pt idx="0">
                  <c:v>0.01090149608468514</c:v>
                </c:pt>
                <c:pt idx="1">
                  <c:v>0.0109014960846851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7257750367596634</c:v>
                </c:pt>
                <c:pt idx="1">
                  <c:v>0.27257750367596634</c:v>
                </c:pt>
              </c:numCache>
            </c:numRef>
          </c:xVal>
          <c:yVal>
            <c:numRef>
              <c:f>Sheet1!$B$167:$B$168</c:f>
              <c:numCache>
                <c:formatCode>General</c:formatCode>
                <c:ptCount val="2"/>
                <c:pt idx="0">
                  <c:v>0.0109014960846851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7257750367596634</c:v>
                </c:pt>
              </c:numCache>
            </c:numRef>
          </c:xVal>
          <c:yVal>
            <c:numRef>
              <c:f>Sheet1!$B$171:$B$172</c:f>
              <c:numCache>
                <c:formatCode>General</c:formatCode>
                <c:ptCount val="2"/>
                <c:pt idx="0">
                  <c:v>0.01090149608468514</c:v>
                </c:pt>
                <c:pt idx="1">
                  <c:v>0.0109014960846851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7257750367596634</c:v>
                </c:pt>
                <c:pt idx="1">
                  <c:v>0.27257750367596634</c:v>
                </c:pt>
              </c:numCache>
            </c:numRef>
          </c:xVal>
          <c:yVal>
            <c:numRef>
              <c:f>Sheet1!$B$175:$B$176</c:f>
              <c:numCache>
                <c:formatCode>General</c:formatCode>
                <c:ptCount val="2"/>
                <c:pt idx="0">
                  <c:v>0.0109014960846851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959910118355266</c:v>
                </c:pt>
              </c:numCache>
            </c:numRef>
          </c:xVal>
          <c:yVal>
            <c:numRef>
              <c:f>Sheet1!$B$179:$B$180</c:f>
              <c:numCache>
                <c:formatCode>General</c:formatCode>
                <c:ptCount val="2"/>
                <c:pt idx="0">
                  <c:v>0.007885840894063405</c:v>
                </c:pt>
                <c:pt idx="1">
                  <c:v>0.0078858408940634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959910118355266</c:v>
                </c:pt>
                <c:pt idx="1">
                  <c:v>0.3959910118355266</c:v>
                </c:pt>
              </c:numCache>
            </c:numRef>
          </c:xVal>
          <c:yVal>
            <c:numRef>
              <c:f>Sheet1!$B$183:$B$184</c:f>
              <c:numCache>
                <c:formatCode>General</c:formatCode>
                <c:ptCount val="2"/>
                <c:pt idx="0">
                  <c:v>0.0078858408940634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0193318131149302</c:v>
                </c:pt>
                <c:pt idx="1">
                  <c:v>0.2152292715514133</c:v>
                </c:pt>
                <c:pt idx="2">
                  <c:v>0.326704470621445</c:v>
                </c:pt>
                <c:pt idx="3">
                  <c:v>0.30890400657608325</c:v>
                </c:pt>
                <c:pt idx="4">
                  <c:v>0.3989950678285927</c:v>
                </c:pt>
                <c:pt idx="5">
                  <c:v>0.4109756669214625</c:v>
                </c:pt>
                <c:pt idx="6">
                  <c:v>0.3619135421402697</c:v>
                </c:pt>
                <c:pt idx="7">
                  <c:v>0.32861299716377523</c:v>
                </c:pt>
                <c:pt idx="8">
                  <c:v>0.4254909996456245</c:v>
                </c:pt>
                <c:pt idx="9">
                  <c:v>0.35495454054645587</c:v>
                </c:pt>
                <c:pt idx="10">
                  <c:v>0.4091470914681593</c:v>
                </c:pt>
                <c:pt idx="11">
                  <c:v>0.4127932864925978</c:v>
                </c:pt>
                <c:pt idx="12">
                  <c:v>0.4678775439607841</c:v>
                </c:pt>
                <c:pt idx="13">
                  <c:v>0.3396110130607502</c:v>
                </c:pt>
                <c:pt idx="14">
                  <c:v>0.2905027324500866</c:v>
                </c:pt>
                <c:pt idx="15">
                  <c:v>0.3081513595521136</c:v>
                </c:pt>
                <c:pt idx="16">
                  <c:v>0.2228151119939349</c:v>
                </c:pt>
                <c:pt idx="17">
                  <c:v>0.17506400578957124</c:v>
                </c:pt>
                <c:pt idx="18">
                  <c:v>0.3113158120608609</c:v>
                </c:pt>
                <c:pt idx="19">
                  <c:v>0.40046742847895567</c:v>
                </c:pt>
                <c:pt idx="20">
                  <c:v>0.34237189954584024</c:v>
                </c:pt>
                <c:pt idx="21">
                  <c:v>0.22214288488182563</c:v>
                </c:pt>
                <c:pt idx="22">
                  <c:v>0.28280467656108144</c:v>
                </c:pt>
                <c:pt idx="23">
                  <c:v>0.212206434192458</c:v>
                </c:pt>
                <c:pt idx="24">
                  <c:v>0.2778434894335591</c:v>
                </c:pt>
                <c:pt idx="25">
                  <c:v>0.33990858556880515</c:v>
                </c:pt>
                <c:pt idx="26">
                  <c:v>0.28444832138435205</c:v>
                </c:pt>
                <c:pt idx="27">
                  <c:v>0.3186864590146662</c:v>
                </c:pt>
                <c:pt idx="28">
                  <c:v>0.3228117627339076</c:v>
                </c:pt>
                <c:pt idx="29">
                  <c:v>0.3405517688337628</c:v>
                </c:pt>
                <c:pt idx="30">
                  <c:v>0.36189338912580876</c:v>
                </c:pt>
                <c:pt idx="31">
                  <c:v>0.3085426882875133</c:v>
                </c:pt>
                <c:pt idx="32">
                  <c:v>0.34630998684465186</c:v>
                </c:pt>
                <c:pt idx="33">
                  <c:v>0.40226852993931694</c:v>
                </c:pt>
                <c:pt idx="34">
                  <c:v>0.34150847373579485</c:v>
                </c:pt>
                <c:pt idx="35">
                  <c:v>0.3612517482334325</c:v>
                </c:pt>
                <c:pt idx="36">
                  <c:v>0.2878659369900255</c:v>
                </c:pt>
                <c:pt idx="37">
                  <c:v>0.33967857964475867</c:v>
                </c:pt>
                <c:pt idx="38">
                  <c:v>0.2655870160172261</c:v>
                </c:pt>
                <c:pt idx="39">
                  <c:v>0.29929574505091494</c:v>
                </c:pt>
                <c:pt idx="40">
                  <c:v>0.26685425774479</c:v>
                </c:pt>
                <c:pt idx="41">
                  <c:v>0.3097268367188476</c:v>
                </c:pt>
                <c:pt idx="42">
                  <c:v>0.28613922440383754</c:v>
                </c:pt>
                <c:pt idx="43">
                  <c:v>0.351076589759361</c:v>
                </c:pt>
                <c:pt idx="44">
                  <c:v>0.39735289757563724</c:v>
                </c:pt>
                <c:pt idx="45">
                  <c:v>0.41165480752768624</c:v>
                </c:pt>
                <c:pt idx="46">
                  <c:v>0.34848379906756555</c:v>
                </c:pt>
                <c:pt idx="47">
                  <c:v>0.35562438609397323</c:v>
                </c:pt>
                <c:pt idx="48">
                  <c:v>0.3983069924147008</c:v>
                </c:pt>
                <c:pt idx="49">
                  <c:v>0.37883445526753196</c:v>
                </c:pt>
                <c:pt idx="50">
                  <c:v>0.4877273567138101</c:v>
                </c:pt>
                <c:pt idx="51">
                  <c:v>0.47373584416780257</c:v>
                </c:pt>
                <c:pt idx="52">
                  <c:v>0.27257750367596634</c:v>
                </c:pt>
                <c:pt idx="53">
                  <c:v>0.27257750367596634</c:v>
                </c:pt>
                <c:pt idx="54">
                  <c:v>0.3959910118355266</c:v>
                </c:pt>
              </c:numCache>
            </c:numRef>
          </c:xVal>
          <c:yVal>
            <c:numRef>
              <c:f>Sheet1!$B$187:$B$241</c:f>
              <c:numCache>
                <c:formatCode>General</c:formatCode>
                <c:ptCount val="55"/>
                <c:pt idx="0">
                  <c:v>0.012627716500937653</c:v>
                </c:pt>
                <c:pt idx="1">
                  <c:v>0.012302821567271638</c:v>
                </c:pt>
                <c:pt idx="2">
                  <c:v>0.009578883420513018</c:v>
                </c:pt>
                <c:pt idx="3">
                  <c:v>0.01001384441136718</c:v>
                </c:pt>
                <c:pt idx="4">
                  <c:v>0.0078124356632786555</c:v>
                </c:pt>
                <c:pt idx="5">
                  <c:v>0.007519685247380425</c:v>
                </c:pt>
                <c:pt idx="6">
                  <c:v>0.00871853660057303</c:v>
                </c:pt>
                <c:pt idx="7">
                  <c:v>0.009532247861248499</c:v>
                </c:pt>
                <c:pt idx="8">
                  <c:v>0.007164997667989791</c:v>
                </c:pt>
                <c:pt idx="9">
                  <c:v>0.008888582405046856</c:v>
                </c:pt>
                <c:pt idx="10">
                  <c:v>0.007564367171907421</c:v>
                </c:pt>
                <c:pt idx="11">
                  <c:v>0.007475271033928336</c:v>
                </c:pt>
                <c:pt idx="12">
                  <c:v>0.00612926661810125</c:v>
                </c:pt>
                <c:pt idx="13">
                  <c:v>0.009263507232926252</c:v>
                </c:pt>
                <c:pt idx="14">
                  <c:v>0.010463486421060077</c:v>
                </c:pt>
                <c:pt idx="15">
                  <c:v>0.010032235622656677</c:v>
                </c:pt>
                <c:pt idx="16">
                  <c:v>0.012117458721284453</c:v>
                </c:pt>
                <c:pt idx="17">
                  <c:v>0.013284274845633999</c:v>
                </c:pt>
                <c:pt idx="18">
                  <c:v>0.009954911043072227</c:v>
                </c:pt>
                <c:pt idx="19">
                  <c:v>0.007776457980576421</c:v>
                </c:pt>
                <c:pt idx="20">
                  <c:v>0.009196043939939598</c:v>
                </c:pt>
                <c:pt idx="21">
                  <c:v>0.012133884841975296</c:v>
                </c:pt>
                <c:pt idx="22">
                  <c:v>0.010651591293416194</c:v>
                </c:pt>
                <c:pt idx="23">
                  <c:v>0.012376685727750351</c:v>
                </c:pt>
                <c:pt idx="24">
                  <c:v>0.010772819754837251</c:v>
                </c:pt>
                <c:pt idx="25">
                  <c:v>0.009256235937491216</c:v>
                </c:pt>
                <c:pt idx="26">
                  <c:v>0.010611428217941294</c:v>
                </c:pt>
                <c:pt idx="27">
                  <c:v>0.00977480653039809</c:v>
                </c:pt>
                <c:pt idx="28">
                  <c:v>0.009674003192422015</c:v>
                </c:pt>
                <c:pt idx="29">
                  <c:v>0.009240519514059003</c:v>
                </c:pt>
                <c:pt idx="30">
                  <c:v>0.00871902904701242</c:v>
                </c:pt>
                <c:pt idx="31">
                  <c:v>0.010022673358770441</c:v>
                </c:pt>
                <c:pt idx="32">
                  <c:v>0.009099815305158156</c:v>
                </c:pt>
                <c:pt idx="33">
                  <c:v>0.007732447393333794</c:v>
                </c:pt>
                <c:pt idx="34">
                  <c:v>0.00921714207226409</c:v>
                </c:pt>
                <c:pt idx="35">
                  <c:v>0.008734707781994233</c:v>
                </c:pt>
                <c:pt idx="36">
                  <c:v>0.010527917503478222</c:v>
                </c:pt>
                <c:pt idx="37">
                  <c:v>0.009261856218196857</c:v>
                </c:pt>
                <c:pt idx="38">
                  <c:v>0.01107231126292156</c:v>
                </c:pt>
                <c:pt idx="39">
                  <c:v>0.010248625872273091</c:v>
                </c:pt>
                <c:pt idx="40">
                  <c:v>0.01104134573774939</c:v>
                </c:pt>
                <c:pt idx="41">
                  <c:v>0.009993738249343012</c:v>
                </c:pt>
                <c:pt idx="42">
                  <c:v>0.010570110370781835</c:v>
                </c:pt>
                <c:pt idx="43">
                  <c:v>0.008983341581691916</c:v>
                </c:pt>
                <c:pt idx="44">
                  <c:v>0.007852562707076868</c:v>
                </c:pt>
                <c:pt idx="45">
                  <c:v>0.007503090192877374</c:v>
                </c:pt>
                <c:pt idx="46">
                  <c:v>0.009046697391153224</c:v>
                </c:pt>
                <c:pt idx="47">
                  <c:v>0.008872214478776792</c:v>
                </c:pt>
                <c:pt idx="48">
                  <c:v>0.00782924904314595</c:v>
                </c:pt>
                <c:pt idx="49">
                  <c:v>0.008305067765084497</c:v>
                </c:pt>
                <c:pt idx="50">
                  <c:v>0.005644229025748397</c:v>
                </c:pt>
                <c:pt idx="51">
                  <c:v>0.005986116863337984</c:v>
                </c:pt>
                <c:pt idx="52">
                  <c:v>0.01090149608468514</c:v>
                </c:pt>
                <c:pt idx="53">
                  <c:v>0.01090149608468514</c:v>
                </c:pt>
                <c:pt idx="54">
                  <c:v>0.0078858408940634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895030190431955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856.3077</c:v>
                </c:pt>
                <c:pt idx="1">
                  <c:v>6230.0</c:v>
                </c:pt>
                <c:pt idx="2">
                  <c:v>6349.3333</c:v>
                </c:pt>
                <c:pt idx="3">
                  <c:v>5043.3333</c:v>
                </c:pt>
                <c:pt idx="4">
                  <c:v>5971.5</c:v>
                </c:pt>
                <c:pt idx="5">
                  <c:v>7694.0</c:v>
                </c:pt>
                <c:pt idx="6">
                  <c:v>5895.0</c:v>
                </c:pt>
                <c:pt idx="7">
                  <c:v>4277.0</c:v>
                </c:pt>
                <c:pt idx="8">
                  <c:v>7050.6667</c:v>
                </c:pt>
                <c:pt idx="9">
                  <c:v>5817.6</c:v>
                </c:pt>
                <c:pt idx="10">
                  <c:v>5290.25</c:v>
                </c:pt>
                <c:pt idx="11">
                  <c:v>4469.2857</c:v>
                </c:pt>
                <c:pt idx="12">
                  <c:v>7055.8</c:v>
                </c:pt>
                <c:pt idx="13">
                  <c:v>5252.6667</c:v>
                </c:pt>
                <c:pt idx="14">
                  <c:v>0.0</c:v>
                </c:pt>
                <c:pt idx="15">
                  <c:v>3753.0</c:v>
                </c:pt>
                <c:pt idx="16">
                  <c:v>2170.25</c:v>
                </c:pt>
                <c:pt idx="17">
                  <c:v>6580.0</c:v>
                </c:pt>
                <c:pt idx="18">
                  <c:v>0.0</c:v>
                </c:pt>
                <c:pt idx="19">
                  <c:v>3807.0</c:v>
                </c:pt>
                <c:pt idx="20">
                  <c:v>5072.3333</c:v>
                </c:pt>
                <c:pt idx="21">
                  <c:v>6718.0</c:v>
                </c:pt>
                <c:pt idx="22">
                  <c:v>5462.25</c:v>
                </c:pt>
                <c:pt idx="23">
                  <c:v>6538.6667</c:v>
                </c:pt>
                <c:pt idx="24">
                  <c:v>6316.5</c:v>
                </c:pt>
                <c:pt idx="25">
                  <c:v>4606.0</c:v>
                </c:pt>
                <c:pt idx="26">
                  <c:v>6402.0</c:v>
                </c:pt>
                <c:pt idx="27">
                  <c:v>15524.0</c:v>
                </c:pt>
                <c:pt idx="28">
                  <c:v>3345.4</c:v>
                </c:pt>
                <c:pt idx="29">
                  <c:v>7017.0</c:v>
                </c:pt>
                <c:pt idx="30">
                  <c:v>3873.25</c:v>
                </c:pt>
                <c:pt idx="31">
                  <c:v>5011.5</c:v>
                </c:pt>
                <c:pt idx="32">
                  <c:v>8655.5</c:v>
                </c:pt>
                <c:pt idx="33">
                  <c:v>3845.7778</c:v>
                </c:pt>
                <c:pt idx="34">
                  <c:v>3505.4167</c:v>
                </c:pt>
                <c:pt idx="35">
                  <c:v>3707.5</c:v>
                </c:pt>
                <c:pt idx="36">
                  <c:v>6482.5</c:v>
                </c:pt>
                <c:pt idx="37">
                  <c:v>4574.0</c:v>
                </c:pt>
                <c:pt idx="38">
                  <c:v>7663.0</c:v>
                </c:pt>
                <c:pt idx="39">
                  <c:v>5600.75</c:v>
                </c:pt>
                <c:pt idx="40">
                  <c:v>8541.5</c:v>
                </c:pt>
                <c:pt idx="41">
                  <c:v>5335.6667</c:v>
                </c:pt>
                <c:pt idx="42">
                  <c:v>10645.0</c:v>
                </c:pt>
                <c:pt idx="43">
                  <c:v>7240.0</c:v>
                </c:pt>
                <c:pt idx="44">
                  <c:v>4505.0</c:v>
                </c:pt>
                <c:pt idx="45">
                  <c:v>4392.2</c:v>
                </c:pt>
                <c:pt idx="46">
                  <c:v>4084.1818</c:v>
                </c:pt>
                <c:pt idx="47">
                  <c:v>3419.4286</c:v>
                </c:pt>
                <c:pt idx="48">
                  <c:v>4401.9</c:v>
                </c:pt>
                <c:pt idx="49">
                  <c:v>3402.25</c:v>
                </c:pt>
                <c:pt idx="50">
                  <c:v>4337.6</c:v>
                </c:pt>
                <c:pt idx="51">
                  <c:v>4108.2</c:v>
                </c:pt>
                <c:pt idx="52">
                  <c:v>4801.75</c:v>
                </c:pt>
                <c:pt idx="53">
                  <c:v>3999.4</c:v>
                </c:pt>
                <c:pt idx="54">
                  <c:v>4201.4444</c:v>
                </c:pt>
                <c:pt idx="55">
                  <c:v>4984.2</c:v>
                </c:pt>
                <c:pt idx="56">
                  <c:v>10395.0</c:v>
                </c:pt>
                <c:pt idx="57">
                  <c:v>4042.75</c:v>
                </c:pt>
                <c:pt idx="58">
                  <c:v>4289.0</c:v>
                </c:pt>
                <c:pt idx="59">
                  <c:v>3433.0</c:v>
                </c:pt>
                <c:pt idx="60">
                  <c:v>3007.3571</c:v>
                </c:pt>
                <c:pt idx="61">
                  <c:v>2989.9286</c:v>
                </c:pt>
                <c:pt idx="62">
                  <c:v>3040.0833</c:v>
                </c:pt>
                <c:pt idx="63">
                  <c:v>2470.9444</c:v>
                </c:pt>
                <c:pt idx="64">
                  <c:v>2609.3158</c:v>
                </c:pt>
                <c:pt idx="65">
                  <c:v>2489.9333</c:v>
                </c:pt>
                <c:pt idx="66">
                  <c:v>2358.7273</c:v>
                </c:pt>
                <c:pt idx="67">
                  <c:v>3155.3333</c:v>
                </c:pt>
                <c:pt idx="68">
                  <c:v>2346.9231</c:v>
                </c:pt>
                <c:pt idx="69">
                  <c:v>2135.0</c:v>
                </c:pt>
                <c:pt idx="70">
                  <c:v>2302.5</c:v>
                </c:pt>
                <c:pt idx="71">
                  <c:v>1857.8</c:v>
                </c:pt>
                <c:pt idx="72">
                  <c:v>2952.3636</c:v>
                </c:pt>
                <c:pt idx="73">
                  <c:v>2025.9474</c:v>
                </c:pt>
                <c:pt idx="74">
                  <c:v>2531.4762</c:v>
                </c:pt>
                <c:pt idx="75">
                  <c:v>3962.4444</c:v>
                </c:pt>
                <c:pt idx="76">
                  <c:v>3882.0</c:v>
                </c:pt>
                <c:pt idx="77">
                  <c:v>4467.6957</c:v>
                </c:pt>
                <c:pt idx="78">
                  <c:v>3018.5429</c:v>
                </c:pt>
                <c:pt idx="79">
                  <c:v>4773.4</c:v>
                </c:pt>
                <c:pt idx="80">
                  <c:v>4299.5</c:v>
                </c:pt>
                <c:pt idx="81">
                  <c:v>3470.475</c:v>
                </c:pt>
                <c:pt idx="82">
                  <c:v>4188.0</c:v>
                </c:pt>
                <c:pt idx="83">
                  <c:v>4291.4286</c:v>
                </c:pt>
                <c:pt idx="84">
                  <c:v>4199.35</c:v>
                </c:pt>
                <c:pt idx="85">
                  <c:v>3644.0476</c:v>
                </c:pt>
                <c:pt idx="86">
                  <c:v>4846.4231</c:v>
                </c:pt>
                <c:pt idx="87">
                  <c:v>4906.68</c:v>
                </c:pt>
                <c:pt idx="88">
                  <c:v>4199.0333</c:v>
                </c:pt>
                <c:pt idx="89">
                  <c:v>3929.7353</c:v>
                </c:pt>
                <c:pt idx="90">
                  <c:v>4177.2903</c:v>
                </c:pt>
                <c:pt idx="91">
                  <c:v>3942.625</c:v>
                </c:pt>
                <c:pt idx="92">
                  <c:v>4270.3235</c:v>
                </c:pt>
                <c:pt idx="93">
                  <c:v>4332.2286</c:v>
                </c:pt>
                <c:pt idx="94">
                  <c:v>5011.5517</c:v>
                </c:pt>
                <c:pt idx="95">
                  <c:v>4381.1064</c:v>
                </c:pt>
                <c:pt idx="96">
                  <c:v>3358.3295</c:v>
                </c:pt>
                <c:pt idx="97">
                  <c:v>3539.0348</c:v>
                </c:pt>
                <c:pt idx="98">
                  <c:v>3390.072</c:v>
                </c:pt>
                <c:pt idx="99">
                  <c:v>3491.0956</c:v>
                </c:pt>
                <c:pt idx="100">
                  <c:v>3928.0486</c:v>
                </c:pt>
                <c:pt idx="101">
                  <c:v>3765.3274</c:v>
                </c:pt>
                <c:pt idx="102">
                  <c:v>3902.8667</c:v>
                </c:pt>
                <c:pt idx="103">
                  <c:v>3989.4744</c:v>
                </c:pt>
                <c:pt idx="104">
                  <c:v>4479.7</c:v>
                </c:pt>
              </c:numCache>
            </c:numRef>
          </c:xVal>
          <c:yVal>
            <c:numRef>
              <c:f>Sheet1!$B$2:$B$106</c:f>
              <c:numCache>
                <c:formatCode>General</c:formatCode>
                <c:ptCount val="105"/>
                <c:pt idx="0">
                  <c:v>0.0011239840913020924</c:v>
                </c:pt>
                <c:pt idx="1">
                  <c:v>0.0003037359522122102</c:v>
                </c:pt>
                <c:pt idx="2">
                  <c:v>0.0003105268605734396</c:v>
                </c:pt>
                <c:pt idx="3">
                  <c:v>0.00033415014479839606</c:v>
                </c:pt>
                <c:pt idx="4">
                  <c:v>0.00024978144123891593</c:v>
                </c:pt>
                <c:pt idx="5">
                  <c:v>0.0003697769012695674</c:v>
                </c:pt>
                <c:pt idx="6">
                  <c:v>0.0006844626967830253</c:v>
                </c:pt>
                <c:pt idx="7">
                  <c:v>0.0008228195282501371</c:v>
                </c:pt>
                <c:pt idx="8">
                  <c:v>0.00042319085907744394</c:v>
                </c:pt>
                <c:pt idx="9">
                  <c:v>0.0005163688939378292</c:v>
                </c:pt>
                <c:pt idx="10">
                  <c:v>0.00040261701056869655</c:v>
                </c:pt>
                <c:pt idx="11">
                  <c:v>0.0007121782480415098</c:v>
                </c:pt>
                <c:pt idx="12">
                  <c:v>0.0004589261128958238</c:v>
                </c:pt>
                <c:pt idx="13">
                  <c:v>0.0005639627784566219</c:v>
                </c:pt>
                <c:pt idx="14">
                  <c:v>0.0</c:v>
                </c:pt>
                <c:pt idx="15">
                  <c:v>0.000576169624337405</c:v>
                </c:pt>
                <c:pt idx="16">
                  <c:v>0.0005341880341880342</c:v>
                </c:pt>
                <c:pt idx="17">
                  <c:v>0.0002938583602703497</c:v>
                </c:pt>
                <c:pt idx="18">
                  <c:v>0.0</c:v>
                </c:pt>
                <c:pt idx="19">
                  <c:v>0.0006090133982947625</c:v>
                </c:pt>
                <c:pt idx="20">
                  <c:v>0.00048725028422933245</c:v>
                </c:pt>
                <c:pt idx="21">
                  <c:v>0.00021204410517387616</c:v>
                </c:pt>
                <c:pt idx="22">
                  <c:v>0.0008235536339304097</c:v>
                </c:pt>
                <c:pt idx="23">
                  <c:v>0.0006513243595310464</c:v>
                </c:pt>
                <c:pt idx="24">
                  <c:v>0.0008066142367412785</c:v>
                </c:pt>
                <c:pt idx="25">
                  <c:v>0.001372055796935742</c:v>
                </c:pt>
                <c:pt idx="26">
                  <c:v>0.0009633911368015414</c:v>
                </c:pt>
                <c:pt idx="27">
                  <c:v>0.0001840264998159735</c:v>
                </c:pt>
                <c:pt idx="28">
                  <c:v>0.0009633911368015414</c:v>
                </c:pt>
                <c:pt idx="29">
                  <c:v>0.0007037297677691766</c:v>
                </c:pt>
                <c:pt idx="30">
                  <c:v>0.0008710801393728223</c:v>
                </c:pt>
                <c:pt idx="31">
                  <c:v>0.0008378718056137411</c:v>
                </c:pt>
                <c:pt idx="32">
                  <c:v>0.00042927666881305</c:v>
                </c:pt>
                <c:pt idx="33">
                  <c:v>0.0015287922541192458</c:v>
                </c:pt>
                <c:pt idx="34">
                  <c:v>0.0017421602787456446</c:v>
                </c:pt>
                <c:pt idx="35">
                  <c:v>0.0016525023607176581</c:v>
                </c:pt>
                <c:pt idx="36">
                  <c:v>0.0006046863189720333</c:v>
                </c:pt>
                <c:pt idx="37">
                  <c:v>0.0007292616226071103</c:v>
                </c:pt>
                <c:pt idx="38">
                  <c:v>0.00037167812674224123</c:v>
                </c:pt>
                <c:pt idx="39">
                  <c:v>0.0007756447547023463</c:v>
                </c:pt>
                <c:pt idx="40">
                  <c:v>0.0003134304967873374</c:v>
                </c:pt>
                <c:pt idx="41">
                  <c:v>0.0005368647100930566</c:v>
                </c:pt>
                <c:pt idx="42">
                  <c:v>0.0001497678598172832</c:v>
                </c:pt>
                <c:pt idx="43">
                  <c:v>0.00040149892933618843</c:v>
                </c:pt>
                <c:pt idx="44">
                  <c:v>0.000522420548541576</c:v>
                </c:pt>
                <c:pt idx="45">
                  <c:v>0.00039203387172651716</c:v>
                </c:pt>
                <c:pt idx="46">
                  <c:v>0.0008500115910671509</c:v>
                </c:pt>
                <c:pt idx="47">
                  <c:v>0.001103491763222196</c:v>
                </c:pt>
                <c:pt idx="48">
                  <c:v>0.0005687635081333182</c:v>
                </c:pt>
                <c:pt idx="49">
                  <c:v>0.0006174745291756715</c:v>
                </c:pt>
                <c:pt idx="50">
                  <c:v>0.0007512019230769231</c:v>
                </c:pt>
                <c:pt idx="51">
                  <c:v>0.0009592326139088729</c:v>
                </c:pt>
                <c:pt idx="52">
                  <c:v>0.00031421838177533385</c:v>
                </c:pt>
                <c:pt idx="53">
                  <c:v>0.000519588485919152</c:v>
                </c:pt>
                <c:pt idx="54">
                  <c:v>0.001055470857276885</c:v>
                </c:pt>
                <c:pt idx="55">
                  <c:v>0.0006065016982047549</c:v>
                </c:pt>
                <c:pt idx="56">
                  <c:v>0.00025078369905956113</c:v>
                </c:pt>
                <c:pt idx="57">
                  <c:v>0.00044072278536800354</c:v>
                </c:pt>
                <c:pt idx="58">
                  <c:v>0.00039428289797930016</c:v>
                </c:pt>
                <c:pt idx="59">
                  <c:v>0.0006261348694508798</c:v>
                </c:pt>
                <c:pt idx="60">
                  <c:v>0.0009566108643662453</c:v>
                </c:pt>
                <c:pt idx="61">
                  <c:v>0.0013627956779908499</c:v>
                </c:pt>
                <c:pt idx="62">
                  <c:v>0.0011056850640375933</c:v>
                </c:pt>
                <c:pt idx="63">
                  <c:v>0.0014931563666528412</c:v>
                </c:pt>
                <c:pt idx="64">
                  <c:v>0.001472411655300682</c:v>
                </c:pt>
                <c:pt idx="65">
                  <c:v>0.0012552301255230125</c:v>
                </c:pt>
                <c:pt idx="66">
                  <c:v>0.0009909017205657147</c:v>
                </c:pt>
                <c:pt idx="67">
                  <c:v>0.000872262066291917</c:v>
                </c:pt>
                <c:pt idx="68">
                  <c:v>0.0015526095784067838</c:v>
                </c:pt>
                <c:pt idx="69">
                  <c:v>0.0016910069177555726</c:v>
                </c:pt>
                <c:pt idx="70">
                  <c:v>0.0014920919128618322</c:v>
                </c:pt>
                <c:pt idx="71">
                  <c:v>0.001650437365901964</c:v>
                </c:pt>
                <c:pt idx="72">
                  <c:v>0.0016536380036079375</c:v>
                </c:pt>
                <c:pt idx="73">
                  <c:v>0.0031306640303180094</c:v>
                </c:pt>
                <c:pt idx="74">
                  <c:v>0.003278688524590164</c:v>
                </c:pt>
                <c:pt idx="75">
                  <c:v>0.0032537960954446853</c:v>
                </c:pt>
                <c:pt idx="76">
                  <c:v>0.004493942946463462</c:v>
                </c:pt>
                <c:pt idx="77">
                  <c:v>0.004625905068382945</c:v>
                </c:pt>
                <c:pt idx="78">
                  <c:v>0.007889990982867448</c:v>
                </c:pt>
                <c:pt idx="79">
                  <c:v>0.005297732570459843</c:v>
                </c:pt>
                <c:pt idx="80">
                  <c:v>0.004957653377401363</c:v>
                </c:pt>
                <c:pt idx="81">
                  <c:v>0.006846970215679562</c:v>
                </c:pt>
                <c:pt idx="82">
                  <c:v>0.005604124635731899</c:v>
                </c:pt>
                <c:pt idx="83">
                  <c:v>0.005520504731861199</c:v>
                </c:pt>
                <c:pt idx="84">
                  <c:v>0.005243838489774515</c:v>
                </c:pt>
                <c:pt idx="85">
                  <c:v>0.004848764719464327</c:v>
                </c:pt>
                <c:pt idx="86">
                  <c:v>0.004335501083875271</c:v>
                </c:pt>
                <c:pt idx="87">
                  <c:v>0.003652834599649328</c:v>
                </c:pt>
                <c:pt idx="88">
                  <c:v>0.005715374357020385</c:v>
                </c:pt>
                <c:pt idx="89">
                  <c:v>0.0075656430796617715</c:v>
                </c:pt>
                <c:pt idx="90">
                  <c:v>0.007111722872218399</c:v>
                </c:pt>
                <c:pt idx="91">
                  <c:v>0.007095343680709534</c:v>
                </c:pt>
                <c:pt idx="92">
                  <c:v>0.00567139282735613</c:v>
                </c:pt>
                <c:pt idx="93">
                  <c:v>0.005577689243027889</c:v>
                </c:pt>
                <c:pt idx="94">
                  <c:v>0.005150062155922571</c:v>
                </c:pt>
                <c:pt idx="95">
                  <c:v>0.005925365607665154</c:v>
                </c:pt>
                <c:pt idx="96">
                  <c:v>0.007888839085611834</c:v>
                </c:pt>
                <c:pt idx="97">
                  <c:v>0.008973158551810237</c:v>
                </c:pt>
                <c:pt idx="98">
                  <c:v>0.008416374899003501</c:v>
                </c:pt>
                <c:pt idx="99">
                  <c:v>0.008028335301062573</c:v>
                </c:pt>
                <c:pt idx="100">
                  <c:v>0.005974855815111407</c:v>
                </c:pt>
                <c:pt idx="101">
                  <c:v>0.008578152281181204</c:v>
                </c:pt>
                <c:pt idx="102">
                  <c:v>0.007513524343818874</c:v>
                </c:pt>
                <c:pt idx="103">
                  <c:v>0.006814012404996943</c:v>
                </c:pt>
                <c:pt idx="104">
                  <c:v>0.0051888750518887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numCache>
            </c:numRef>
          </c:xVal>
          <c:yVal>
            <c:numRef>
              <c:f>Sheet1!$B$109:$B$160</c:f>
              <c:numCache>
                <c:formatCode>General</c:formatCode>
                <c:ptCount val="52"/>
                <c:pt idx="0">
                  <c:v>0.005727043292564551</c:v>
                </c:pt>
                <c:pt idx="1">
                  <c:v>0.006910778751933987</c:v>
                </c:pt>
                <c:pt idx="2">
                  <c:v>0.006043370067543548</c:v>
                </c:pt>
                <c:pt idx="3">
                  <c:v>0.0066200809121000365</c:v>
                </c:pt>
                <c:pt idx="4">
                  <c:v>0.006716635841526332</c:v>
                </c:pt>
                <c:pt idx="5">
                  <c:v>0.005764796310530361</c:v>
                </c:pt>
                <c:pt idx="6">
                  <c:v>0.006267599236987919</c:v>
                </c:pt>
                <c:pt idx="7">
                  <c:v>0.00736695033659342</c:v>
                </c:pt>
                <c:pt idx="8">
                  <c:v>0.00918748205569911</c:v>
                </c:pt>
                <c:pt idx="9">
                  <c:v>0.009224159716957291</c:v>
                </c:pt>
                <c:pt idx="10">
                  <c:v>0.008955956324377377</c:v>
                </c:pt>
                <c:pt idx="11">
                  <c:v>0.008676599474145487</c:v>
                </c:pt>
                <c:pt idx="12">
                  <c:v>0.009002700810243073</c:v>
                </c:pt>
                <c:pt idx="13">
                  <c:v>0.01323937646807602</c:v>
                </c:pt>
                <c:pt idx="14">
                  <c:v>0.013218458633305796</c:v>
                </c:pt>
                <c:pt idx="15">
                  <c:v>0.01261307172888266</c:v>
                </c:pt>
                <c:pt idx="16">
                  <c:v>0.012533572068039392</c:v>
                </c:pt>
                <c:pt idx="17">
                  <c:v>0.01579191825359963</c:v>
                </c:pt>
                <c:pt idx="18">
                  <c:v>0.008359076867163365</c:v>
                </c:pt>
                <c:pt idx="19">
                  <c:v>0.0075200820372585886</c:v>
                </c:pt>
                <c:pt idx="20">
                  <c:v>0.009334657398212513</c:v>
                </c:pt>
                <c:pt idx="21">
                  <c:v>0.013249819320645628</c:v>
                </c:pt>
                <c:pt idx="22">
                  <c:v>0.011156924569488236</c:v>
                </c:pt>
                <c:pt idx="23">
                  <c:v>0.010964912280701754</c:v>
                </c:pt>
                <c:pt idx="24">
                  <c:v>0.010142923005993546</c:v>
                </c:pt>
                <c:pt idx="25">
                  <c:v>0.010506654214335746</c:v>
                </c:pt>
                <c:pt idx="26">
                  <c:v>0.011258278145695364</c:v>
                </c:pt>
                <c:pt idx="27">
                  <c:v>0.011251480457954995</c:v>
                </c:pt>
                <c:pt idx="28">
                  <c:v>0.009651076466221232</c:v>
                </c:pt>
                <c:pt idx="29">
                  <c:v>0.011070944419340261</c:v>
                </c:pt>
                <c:pt idx="30">
                  <c:v>0.010507080858839652</c:v>
                </c:pt>
                <c:pt idx="31">
                  <c:v>0.010919248349415947</c:v>
                </c:pt>
                <c:pt idx="32">
                  <c:v>0.009582477754962354</c:v>
                </c:pt>
                <c:pt idx="33">
                  <c:v>0.008687943262411348</c:v>
                </c:pt>
                <c:pt idx="34">
                  <c:v>0.007735396105628167</c:v>
                </c:pt>
                <c:pt idx="35">
                  <c:v>0.009371029224904702</c:v>
                </c:pt>
                <c:pt idx="36">
                  <c:v>0.01274403470715835</c:v>
                </c:pt>
                <c:pt idx="37">
                  <c:v>0.012673653424323665</c:v>
                </c:pt>
                <c:pt idx="38">
                  <c:v>0.01510912143256855</c:v>
                </c:pt>
                <c:pt idx="39">
                  <c:v>0.013777955271565496</c:v>
                </c:pt>
                <c:pt idx="40">
                  <c:v>0.013238490416913653</c:v>
                </c:pt>
                <c:pt idx="41">
                  <c:v>0.010689273866568375</c:v>
                </c:pt>
                <c:pt idx="42">
                  <c:v>0.012421052631578947</c:v>
                </c:pt>
                <c:pt idx="43">
                  <c:v>0.009294265910523</c:v>
                </c:pt>
                <c:pt idx="44">
                  <c:v>0.006724181679776706</c:v>
                </c:pt>
                <c:pt idx="45">
                  <c:v>0.005326351900334025</c:v>
                </c:pt>
                <c:pt idx="46">
                  <c:v>0.005492730210016155</c:v>
                </c:pt>
                <c:pt idx="47">
                  <c:v>0.005336495701156241</c:v>
                </c:pt>
                <c:pt idx="48">
                  <c:v>0.005799903334944417</c:v>
                </c:pt>
                <c:pt idx="49">
                  <c:v>0.005066222769052616</c:v>
                </c:pt>
                <c:pt idx="50">
                  <c:v>0.0041575185686924835</c:v>
                </c:pt>
                <c:pt idx="51">
                  <c:v>0.00519148936170212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648.7556598510387</c:v>
                </c:pt>
              </c:numCache>
            </c:numRef>
          </c:xVal>
          <c:yVal>
            <c:numRef>
              <c:f>Sheet1!$B$163:$B$164</c:f>
              <c:numCache>
                <c:formatCode>General</c:formatCode>
                <c:ptCount val="2"/>
                <c:pt idx="0">
                  <c:v>0.01090149608468514</c:v>
                </c:pt>
                <c:pt idx="1">
                  <c:v>0.0109014960846851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648.7556598510387</c:v>
                </c:pt>
                <c:pt idx="1">
                  <c:v>3648.7556598510387</c:v>
                </c:pt>
              </c:numCache>
            </c:numRef>
          </c:xVal>
          <c:yVal>
            <c:numRef>
              <c:f>Sheet1!$B$167:$B$168</c:f>
              <c:numCache>
                <c:formatCode>General</c:formatCode>
                <c:ptCount val="2"/>
                <c:pt idx="0">
                  <c:v>0.0109014960846851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648.7556598510387</c:v>
                </c:pt>
              </c:numCache>
            </c:numRef>
          </c:xVal>
          <c:yVal>
            <c:numRef>
              <c:f>Sheet1!$B$171:$B$172</c:f>
              <c:numCache>
                <c:formatCode>General</c:formatCode>
                <c:ptCount val="2"/>
                <c:pt idx="0">
                  <c:v>0.01090149608468514</c:v>
                </c:pt>
                <c:pt idx="1">
                  <c:v>0.0109014960846851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648.7556598510387</c:v>
                </c:pt>
                <c:pt idx="1">
                  <c:v>3648.7556598510387</c:v>
                </c:pt>
              </c:numCache>
            </c:numRef>
          </c:xVal>
          <c:yVal>
            <c:numRef>
              <c:f>Sheet1!$B$175:$B$176</c:f>
              <c:numCache>
                <c:formatCode>General</c:formatCode>
                <c:ptCount val="2"/>
                <c:pt idx="0">
                  <c:v>0.0109014960846851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89.018032650738</c:v>
                </c:pt>
              </c:numCache>
            </c:numRef>
          </c:xVal>
          <c:yVal>
            <c:numRef>
              <c:f>Sheet1!$B$179:$B$180</c:f>
              <c:numCache>
                <c:formatCode>General</c:formatCode>
                <c:ptCount val="2"/>
                <c:pt idx="0">
                  <c:v>0.007885840894063405</c:v>
                </c:pt>
                <c:pt idx="1">
                  <c:v>0.0078858408940634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89.018032650738</c:v>
                </c:pt>
                <c:pt idx="1">
                  <c:v>4289.018032650738</c:v>
                </c:pt>
              </c:numCache>
            </c:numRef>
          </c:xVal>
          <c:yVal>
            <c:numRef>
              <c:f>Sheet1!$B$183:$B$184</c:f>
              <c:numCache>
                <c:formatCode>General</c:formatCode>
                <c:ptCount val="2"/>
                <c:pt idx="0">
                  <c:v>0.0078858408940634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pt idx="52">
                  <c:v>3648.7556598510387</c:v>
                </c:pt>
                <c:pt idx="53">
                  <c:v>3648.7556598510387</c:v>
                </c:pt>
                <c:pt idx="54">
                  <c:v>4289.018032650738</c:v>
                </c:pt>
              </c:numCache>
            </c:numRef>
          </c:xVal>
          <c:yVal>
            <c:numRef>
              <c:f>Sheet1!$B$187:$B$241</c:f>
              <c:numCache>
                <c:formatCode>General</c:formatCode>
                <c:ptCount val="55"/>
                <c:pt idx="0">
                  <c:v>0.007688503494393671</c:v>
                </c:pt>
                <c:pt idx="1">
                  <c:v>0.010505124706751561</c:v>
                </c:pt>
                <c:pt idx="2">
                  <c:v>0.007553522503388418</c:v>
                </c:pt>
                <c:pt idx="3">
                  <c:v>0.010207905308258297</c:v>
                </c:pt>
                <c:pt idx="4">
                  <c:v>0.00707552743106454</c:v>
                </c:pt>
                <c:pt idx="5">
                  <c:v>0.005738623004097321</c:v>
                </c:pt>
                <c:pt idx="6">
                  <c:v>0.006709851509849377</c:v>
                </c:pt>
                <c:pt idx="7">
                  <c:v>0.006865879271353365</c:v>
                </c:pt>
                <c:pt idx="8">
                  <c:v>0.008141812826791186</c:v>
                </c:pt>
                <c:pt idx="9">
                  <c:v>0.008785864257182988</c:v>
                </c:pt>
                <c:pt idx="10">
                  <c:v>0.008574041947474676</c:v>
                </c:pt>
                <c:pt idx="11">
                  <c:v>0.008841776556145386</c:v>
                </c:pt>
                <c:pt idx="12">
                  <c:v>0.010373240560683748</c:v>
                </c:pt>
                <c:pt idx="13">
                  <c:v>0.011881437015426034</c:v>
                </c:pt>
                <c:pt idx="14">
                  <c:v>0.011667575733590858</c:v>
                </c:pt>
                <c:pt idx="15">
                  <c:v>0.010484530570166874</c:v>
                </c:pt>
                <c:pt idx="16">
                  <c:v>0.009619721431540829</c:v>
                </c:pt>
                <c:pt idx="17">
                  <c:v>0.013847762105592428</c:v>
                </c:pt>
                <c:pt idx="18">
                  <c:v>0.007981559697084351</c:v>
                </c:pt>
                <c:pt idx="19">
                  <c:v>0.006400660627283908</c:v>
                </c:pt>
                <c:pt idx="20">
                  <c:v>0.007182928839512919</c:v>
                </c:pt>
                <c:pt idx="21">
                  <c:v>0.01109731022523153</c:v>
                </c:pt>
                <c:pt idx="22">
                  <c:v>0.009419142906219806</c:v>
                </c:pt>
                <c:pt idx="23">
                  <c:v>0.012947638572612934</c:v>
                </c:pt>
                <c:pt idx="24">
                  <c:v>0.008543938259667663</c:v>
                </c:pt>
                <c:pt idx="25">
                  <c:v>0.009854299781752125</c:v>
                </c:pt>
                <c:pt idx="26">
                  <c:v>0.009749989566204792</c:v>
                </c:pt>
                <c:pt idx="27">
                  <c:v>0.010914557751674315</c:v>
                </c:pt>
                <c:pt idx="28">
                  <c:v>0.010471460707023324</c:v>
                </c:pt>
                <c:pt idx="29">
                  <c:v>0.010521812815189314</c:v>
                </c:pt>
                <c:pt idx="30">
                  <c:v>0.010919083148808743</c:v>
                </c:pt>
                <c:pt idx="31">
                  <c:v>0.009379991250162131</c:v>
                </c:pt>
                <c:pt idx="32">
                  <c:v>0.00708880924557263</c:v>
                </c:pt>
                <c:pt idx="33">
                  <c:v>0.007624855441628622</c:v>
                </c:pt>
                <c:pt idx="34">
                  <c:v>0.00710341128158028</c:v>
                </c:pt>
                <c:pt idx="35">
                  <c:v>0.00853311602299429</c:v>
                </c:pt>
                <c:pt idx="36">
                  <c:v>0.008612272792604188</c:v>
                </c:pt>
                <c:pt idx="37">
                  <c:v>0.008380388579737698</c:v>
                </c:pt>
                <c:pt idx="38">
                  <c:v>0.010800300894090675</c:v>
                </c:pt>
                <c:pt idx="39">
                  <c:v>0.012389602186984483</c:v>
                </c:pt>
                <c:pt idx="40">
                  <c:v>0.012914269891785953</c:v>
                </c:pt>
                <c:pt idx="41">
                  <c:v>0.011453367793523902</c:v>
                </c:pt>
                <c:pt idx="42">
                  <c:v>0.012248451527259015</c:v>
                </c:pt>
                <c:pt idx="43">
                  <c:v>0.011103754488719586</c:v>
                </c:pt>
                <c:pt idx="44">
                  <c:v>0.008643707534980505</c:v>
                </c:pt>
                <c:pt idx="45">
                  <c:v>0.008190401499604212</c:v>
                </c:pt>
                <c:pt idx="46">
                  <c:v>0.007085959677227156</c:v>
                </c:pt>
                <c:pt idx="47">
                  <c:v>0.008998103404574891</c:v>
                </c:pt>
                <c:pt idx="48">
                  <c:v>0.010398203721396139</c:v>
                </c:pt>
                <c:pt idx="49">
                  <c:v>0.010077368230862884</c:v>
                </c:pt>
                <c:pt idx="50">
                  <c:v>0.009094921845890312</c:v>
                </c:pt>
                <c:pt idx="51">
                  <c:v>0.0074849557659569695</c:v>
                </c:pt>
                <c:pt idx="52">
                  <c:v>0.010901496084685141</c:v>
                </c:pt>
                <c:pt idx="53">
                  <c:v>0.010901496084685141</c:v>
                </c:pt>
                <c:pt idx="54">
                  <c:v>0.0078858408940634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2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895030190431955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68732243902439</c:v>
                </c:pt>
                <c:pt idx="1">
                  <c:v>4.341463414634147</c:v>
                </c:pt>
                <c:pt idx="2">
                  <c:v>4.610990050835149</c:v>
                </c:pt>
                <c:pt idx="3">
                  <c:v>3.2548133591481125</c:v>
                </c:pt>
                <c:pt idx="4">
                  <c:v>5.944748631159781</c:v>
                </c:pt>
                <c:pt idx="5">
                  <c:v>0.0</c:v>
                </c:pt>
                <c:pt idx="6">
                  <c:v>0.0</c:v>
                </c:pt>
                <c:pt idx="7">
                  <c:v>1.520981507823613</c:v>
                </c:pt>
                <c:pt idx="8">
                  <c:v>3.779505065666041</c:v>
                </c:pt>
                <c:pt idx="9">
                  <c:v>4.054076655052265</c:v>
                </c:pt>
                <c:pt idx="10">
                  <c:v>3.456173705222698</c:v>
                </c:pt>
                <c:pt idx="11">
                  <c:v>3.2442550087108017</c:v>
                </c:pt>
                <c:pt idx="12">
                  <c:v>3.935192414947016</c:v>
                </c:pt>
                <c:pt idx="13">
                  <c:v>3.812911367595819</c:v>
                </c:pt>
                <c:pt idx="14">
                  <c:v>0.0</c:v>
                </c:pt>
                <c:pt idx="15">
                  <c:v>3.076860012297602</c:v>
                </c:pt>
                <c:pt idx="16">
                  <c:v>1.5278071101724744</c:v>
                </c:pt>
                <c:pt idx="17">
                  <c:v>4.585365853658536</c:v>
                </c:pt>
                <c:pt idx="18">
                  <c:v>0.0</c:v>
                </c:pt>
                <c:pt idx="19">
                  <c:v>2.6529616724738676</c:v>
                </c:pt>
                <c:pt idx="20">
                  <c:v>3.8582655968999595</c:v>
                </c:pt>
                <c:pt idx="21">
                  <c:v>2.7231455208755575</c:v>
                </c:pt>
                <c:pt idx="22">
                  <c:v>4.471756037658617</c:v>
                </c:pt>
                <c:pt idx="23">
                  <c:v>5.881858924082191</c:v>
                </c:pt>
                <c:pt idx="24">
                  <c:v>6.618756780256961</c:v>
                </c:pt>
                <c:pt idx="25">
                  <c:v>6.108753315649867</c:v>
                </c:pt>
                <c:pt idx="26">
                  <c:v>5.28</c:v>
                </c:pt>
                <c:pt idx="27">
                  <c:v>7.727227476356396</c:v>
                </c:pt>
                <c:pt idx="28">
                  <c:v>1.5877551020408163</c:v>
                </c:pt>
                <c:pt idx="29">
                  <c:v>5.41574465099705</c:v>
                </c:pt>
                <c:pt idx="30">
                  <c:v>2.9990321331784746</c:v>
                </c:pt>
                <c:pt idx="31">
                  <c:v>3.602803738317757</c:v>
                </c:pt>
                <c:pt idx="32">
                  <c:v>10.052845528455284</c:v>
                </c:pt>
                <c:pt idx="33">
                  <c:v>2.679984529616725</c:v>
                </c:pt>
                <c:pt idx="34">
                  <c:v>2.278217043366182</c:v>
                </c:pt>
                <c:pt idx="35">
                  <c:v>2.840560833588722</c:v>
                </c:pt>
                <c:pt idx="36">
                  <c:v>4.587756546355273</c:v>
                </c:pt>
                <c:pt idx="37">
                  <c:v>2.444681988241582</c:v>
                </c:pt>
                <c:pt idx="38">
                  <c:v>5.999217275553686</c:v>
                </c:pt>
                <c:pt idx="39">
                  <c:v>5.157228360957642</c:v>
                </c:pt>
                <c:pt idx="40">
                  <c:v>6.948075025707023</c:v>
                </c:pt>
                <c:pt idx="41">
                  <c:v>4.398735943940643</c:v>
                </c:pt>
                <c:pt idx="42">
                  <c:v>8.547912434365964</c:v>
                </c:pt>
                <c:pt idx="43">
                  <c:v>5.012114918656975</c:v>
                </c:pt>
                <c:pt idx="44">
                  <c:v>3.3046029708417386</c:v>
                </c:pt>
                <c:pt idx="45">
                  <c:v>1.7004258614014711</c:v>
                </c:pt>
                <c:pt idx="46">
                  <c:v>2.3717664343786296</c:v>
                </c:pt>
                <c:pt idx="47">
                  <c:v>2.382877073170732</c:v>
                </c:pt>
                <c:pt idx="48">
                  <c:v>3.1032076136764184</c:v>
                </c:pt>
                <c:pt idx="49">
                  <c:v>2.381860823298796</c:v>
                </c:pt>
                <c:pt idx="50">
                  <c:v>2.5842120941316655</c:v>
                </c:pt>
                <c:pt idx="51">
                  <c:v>2.202788203753351</c:v>
                </c:pt>
                <c:pt idx="52">
                  <c:v>2.8171017893810504</c:v>
                </c:pt>
                <c:pt idx="53">
                  <c:v>2.3784716027356527</c:v>
                </c:pt>
                <c:pt idx="54">
                  <c:v>2.9727201644509473</c:v>
                </c:pt>
                <c:pt idx="55">
                  <c:v>3.219767441860465</c:v>
                </c:pt>
                <c:pt idx="56">
                  <c:v>8.499591169255927</c:v>
                </c:pt>
                <c:pt idx="57">
                  <c:v>3.0396616541353385</c:v>
                </c:pt>
                <c:pt idx="58">
                  <c:v>3.763380995513864</c:v>
                </c:pt>
                <c:pt idx="59">
                  <c:v>2.813012127171419</c:v>
                </c:pt>
                <c:pt idx="60">
                  <c:v>2.2075046539639014</c:v>
                </c:pt>
                <c:pt idx="61">
                  <c:v>2.3723316681388966</c:v>
                </c:pt>
                <c:pt idx="62">
                  <c:v>2.3252103875315844</c:v>
                </c:pt>
                <c:pt idx="63">
                  <c:v>2.072650074859497</c:v>
                </c:pt>
                <c:pt idx="64">
                  <c:v>2.1454660417694456</c:v>
                </c:pt>
                <c:pt idx="65">
                  <c:v>2.1486832878530904</c:v>
                </c:pt>
                <c:pt idx="66">
                  <c:v>1.8785284619213538</c:v>
                </c:pt>
                <c:pt idx="67">
                  <c:v>2.5129583275261322</c:v>
                </c:pt>
                <c:pt idx="68">
                  <c:v>1.7950461985228587</c:v>
                </c:pt>
                <c:pt idx="69">
                  <c:v>1.8597560975609757</c:v>
                </c:pt>
                <c:pt idx="70">
                  <c:v>2.0035676992690568</c:v>
                </c:pt>
                <c:pt idx="71">
                  <c:v>1.4647569373129286</c:v>
                </c:pt>
                <c:pt idx="72">
                  <c:v>2.0669025483057966</c:v>
                </c:pt>
                <c:pt idx="73">
                  <c:v>1.433537873695383</c:v>
                </c:pt>
                <c:pt idx="74">
                  <c:v>2.30789852991453</c:v>
                </c:pt>
                <c:pt idx="75">
                  <c:v>4.720942681530686</c:v>
                </c:pt>
                <c:pt idx="76">
                  <c:v>4.355816091654808</c:v>
                </c:pt>
                <c:pt idx="77">
                  <c:v>3.809859783687897</c:v>
                </c:pt>
                <c:pt idx="78">
                  <c:v>3.1326613679069344</c:v>
                </c:pt>
                <c:pt idx="79">
                  <c:v>4.28491921005386</c:v>
                </c:pt>
                <c:pt idx="80">
                  <c:v>4.34000658344527</c:v>
                </c:pt>
                <c:pt idx="81">
                  <c:v>2.9650917207173615</c:v>
                </c:pt>
                <c:pt idx="82">
                  <c:v>3.726973391474593</c:v>
                </c:pt>
                <c:pt idx="83">
                  <c:v>3.3737646226415094</c:v>
                </c:pt>
                <c:pt idx="84">
                  <c:v>3.443703058957286</c:v>
                </c:pt>
                <c:pt idx="85">
                  <c:v>2.6122205017921147</c:v>
                </c:pt>
                <c:pt idx="86">
                  <c:v>3.8968825811610137</c:v>
                </c:pt>
                <c:pt idx="87">
                  <c:v>3.7760289407205603</c:v>
                </c:pt>
                <c:pt idx="88">
                  <c:v>3.296203234162807</c:v>
                </c:pt>
                <c:pt idx="89">
                  <c:v>2.54648477190254</c:v>
                </c:pt>
                <c:pt idx="90">
                  <c:v>3.1720634064849262</c:v>
                </c:pt>
                <c:pt idx="91">
                  <c:v>3.1399701343952215</c:v>
                </c:pt>
                <c:pt idx="92">
                  <c:v>3.213722790973781</c:v>
                </c:pt>
                <c:pt idx="93">
                  <c:v>3.539081215749126</c:v>
                </c:pt>
                <c:pt idx="94">
                  <c:v>3.673619483946635</c:v>
                </c:pt>
                <c:pt idx="95">
                  <c:v>2.834619222379503</c:v>
                </c:pt>
                <c:pt idx="96">
                  <c:v>2.3318134521187077</c:v>
                </c:pt>
                <c:pt idx="97">
                  <c:v>2.5351252148997134</c:v>
                </c:pt>
                <c:pt idx="98">
                  <c:v>2.373169058452923</c:v>
                </c:pt>
                <c:pt idx="99">
                  <c:v>2.8962133731541395</c:v>
                </c:pt>
                <c:pt idx="100">
                  <c:v>3.041462330623306</c:v>
                </c:pt>
                <c:pt idx="101">
                  <c:v>2.9459774278728608</c:v>
                </c:pt>
                <c:pt idx="102">
                  <c:v>2.4725161229014887</c:v>
                </c:pt>
                <c:pt idx="103">
                  <c:v>2.8874361667687296</c:v>
                </c:pt>
                <c:pt idx="104">
                  <c:v>3.0125756556825825</c:v>
                </c:pt>
              </c:numCache>
            </c:numRef>
          </c:xVal>
          <c:yVal>
            <c:numRef>
              <c:f>Sheet1!$B$2:$B$106</c:f>
              <c:numCache>
                <c:formatCode>General</c:formatCode>
                <c:ptCount val="105"/>
                <c:pt idx="0">
                  <c:v>0.0011239840913020924</c:v>
                </c:pt>
                <c:pt idx="1">
                  <c:v>0.0003037359522122102</c:v>
                </c:pt>
                <c:pt idx="2">
                  <c:v>0.0003105268605734396</c:v>
                </c:pt>
                <c:pt idx="3">
                  <c:v>0.00033415014479839606</c:v>
                </c:pt>
                <c:pt idx="4">
                  <c:v>0.00024978144123891593</c:v>
                </c:pt>
                <c:pt idx="5">
                  <c:v>0.0003697769012695674</c:v>
                </c:pt>
                <c:pt idx="6">
                  <c:v>0.0006844626967830253</c:v>
                </c:pt>
                <c:pt idx="7">
                  <c:v>0.0008228195282501371</c:v>
                </c:pt>
                <c:pt idx="8">
                  <c:v>0.00042319085907744394</c:v>
                </c:pt>
                <c:pt idx="9">
                  <c:v>0.0005163688939378292</c:v>
                </c:pt>
                <c:pt idx="10">
                  <c:v>0.00040261701056869655</c:v>
                </c:pt>
                <c:pt idx="11">
                  <c:v>0.0007121782480415098</c:v>
                </c:pt>
                <c:pt idx="12">
                  <c:v>0.0004589261128958238</c:v>
                </c:pt>
                <c:pt idx="13">
                  <c:v>0.0005639627784566219</c:v>
                </c:pt>
                <c:pt idx="14">
                  <c:v>0.0</c:v>
                </c:pt>
                <c:pt idx="15">
                  <c:v>0.000576169624337405</c:v>
                </c:pt>
                <c:pt idx="16">
                  <c:v>0.0005341880341880342</c:v>
                </c:pt>
                <c:pt idx="17">
                  <c:v>0.0002938583602703497</c:v>
                </c:pt>
                <c:pt idx="18">
                  <c:v>0.0</c:v>
                </c:pt>
                <c:pt idx="19">
                  <c:v>0.0006090133982947625</c:v>
                </c:pt>
                <c:pt idx="20">
                  <c:v>0.00048725028422933245</c:v>
                </c:pt>
                <c:pt idx="21">
                  <c:v>0.00021204410517387616</c:v>
                </c:pt>
                <c:pt idx="22">
                  <c:v>0.0008235536339304097</c:v>
                </c:pt>
                <c:pt idx="23">
                  <c:v>0.0006513243595310464</c:v>
                </c:pt>
                <c:pt idx="24">
                  <c:v>0.0008066142367412785</c:v>
                </c:pt>
                <c:pt idx="25">
                  <c:v>0.001372055796935742</c:v>
                </c:pt>
                <c:pt idx="26">
                  <c:v>0.0009633911368015414</c:v>
                </c:pt>
                <c:pt idx="27">
                  <c:v>0.0001840264998159735</c:v>
                </c:pt>
                <c:pt idx="28">
                  <c:v>0.0009633911368015414</c:v>
                </c:pt>
                <c:pt idx="29">
                  <c:v>0.0007037297677691766</c:v>
                </c:pt>
                <c:pt idx="30">
                  <c:v>0.0008710801393728223</c:v>
                </c:pt>
                <c:pt idx="31">
                  <c:v>0.0008378718056137411</c:v>
                </c:pt>
                <c:pt idx="32">
                  <c:v>0.00042927666881305</c:v>
                </c:pt>
                <c:pt idx="33">
                  <c:v>0.0015287922541192458</c:v>
                </c:pt>
                <c:pt idx="34">
                  <c:v>0.0017421602787456446</c:v>
                </c:pt>
                <c:pt idx="35">
                  <c:v>0.0016525023607176581</c:v>
                </c:pt>
                <c:pt idx="36">
                  <c:v>0.0006046863189720333</c:v>
                </c:pt>
                <c:pt idx="37">
                  <c:v>0.0007292616226071103</c:v>
                </c:pt>
                <c:pt idx="38">
                  <c:v>0.00037167812674224123</c:v>
                </c:pt>
                <c:pt idx="39">
                  <c:v>0.0007756447547023463</c:v>
                </c:pt>
                <c:pt idx="40">
                  <c:v>0.0003134304967873374</c:v>
                </c:pt>
                <c:pt idx="41">
                  <c:v>0.0005368647100930566</c:v>
                </c:pt>
                <c:pt idx="42">
                  <c:v>0.0001497678598172832</c:v>
                </c:pt>
                <c:pt idx="43">
                  <c:v>0.00040149892933618843</c:v>
                </c:pt>
                <c:pt idx="44">
                  <c:v>0.000522420548541576</c:v>
                </c:pt>
                <c:pt idx="45">
                  <c:v>0.00039203387172651716</c:v>
                </c:pt>
                <c:pt idx="46">
                  <c:v>0.0008500115910671509</c:v>
                </c:pt>
                <c:pt idx="47">
                  <c:v>0.001103491763222196</c:v>
                </c:pt>
                <c:pt idx="48">
                  <c:v>0.0005687635081333182</c:v>
                </c:pt>
                <c:pt idx="49">
                  <c:v>0.0006174745291756715</c:v>
                </c:pt>
                <c:pt idx="50">
                  <c:v>0.0007512019230769231</c:v>
                </c:pt>
                <c:pt idx="51">
                  <c:v>0.0009592326139088729</c:v>
                </c:pt>
                <c:pt idx="52">
                  <c:v>0.00031421838177533385</c:v>
                </c:pt>
                <c:pt idx="53">
                  <c:v>0.000519588485919152</c:v>
                </c:pt>
                <c:pt idx="54">
                  <c:v>0.001055470857276885</c:v>
                </c:pt>
                <c:pt idx="55">
                  <c:v>0.0006065016982047549</c:v>
                </c:pt>
                <c:pt idx="56">
                  <c:v>0.00025078369905956113</c:v>
                </c:pt>
                <c:pt idx="57">
                  <c:v>0.00044072278536800354</c:v>
                </c:pt>
                <c:pt idx="58">
                  <c:v>0.00039428289797930016</c:v>
                </c:pt>
                <c:pt idx="59">
                  <c:v>0.0006261348694508798</c:v>
                </c:pt>
                <c:pt idx="60">
                  <c:v>0.0009566108643662453</c:v>
                </c:pt>
                <c:pt idx="61">
                  <c:v>0.0013627956779908499</c:v>
                </c:pt>
                <c:pt idx="62">
                  <c:v>0.0011056850640375933</c:v>
                </c:pt>
                <c:pt idx="63">
                  <c:v>0.0014931563666528412</c:v>
                </c:pt>
                <c:pt idx="64">
                  <c:v>0.001472411655300682</c:v>
                </c:pt>
                <c:pt idx="65">
                  <c:v>0.0012552301255230125</c:v>
                </c:pt>
                <c:pt idx="66">
                  <c:v>0.0009909017205657147</c:v>
                </c:pt>
                <c:pt idx="67">
                  <c:v>0.000872262066291917</c:v>
                </c:pt>
                <c:pt idx="68">
                  <c:v>0.0015526095784067838</c:v>
                </c:pt>
                <c:pt idx="69">
                  <c:v>0.0016910069177555726</c:v>
                </c:pt>
                <c:pt idx="70">
                  <c:v>0.0014920919128618322</c:v>
                </c:pt>
                <c:pt idx="71">
                  <c:v>0.001650437365901964</c:v>
                </c:pt>
                <c:pt idx="72">
                  <c:v>0.0016536380036079375</c:v>
                </c:pt>
                <c:pt idx="73">
                  <c:v>0.0031306640303180094</c:v>
                </c:pt>
                <c:pt idx="74">
                  <c:v>0.003278688524590164</c:v>
                </c:pt>
                <c:pt idx="75">
                  <c:v>0.0032537960954446853</c:v>
                </c:pt>
                <c:pt idx="76">
                  <c:v>0.004493942946463462</c:v>
                </c:pt>
                <c:pt idx="77">
                  <c:v>0.004625905068382945</c:v>
                </c:pt>
                <c:pt idx="78">
                  <c:v>0.007889990982867448</c:v>
                </c:pt>
                <c:pt idx="79">
                  <c:v>0.005297732570459843</c:v>
                </c:pt>
                <c:pt idx="80">
                  <c:v>0.004957653377401363</c:v>
                </c:pt>
                <c:pt idx="81">
                  <c:v>0.006846970215679562</c:v>
                </c:pt>
                <c:pt idx="82">
                  <c:v>0.005604124635731899</c:v>
                </c:pt>
                <c:pt idx="83">
                  <c:v>0.005520504731861199</c:v>
                </c:pt>
                <c:pt idx="84">
                  <c:v>0.005243838489774515</c:v>
                </c:pt>
                <c:pt idx="85">
                  <c:v>0.004848764719464327</c:v>
                </c:pt>
                <c:pt idx="86">
                  <c:v>0.004335501083875271</c:v>
                </c:pt>
                <c:pt idx="87">
                  <c:v>0.003652834599649328</c:v>
                </c:pt>
                <c:pt idx="88">
                  <c:v>0.005715374357020385</c:v>
                </c:pt>
                <c:pt idx="89">
                  <c:v>0.0075656430796617715</c:v>
                </c:pt>
                <c:pt idx="90">
                  <c:v>0.007111722872218399</c:v>
                </c:pt>
                <c:pt idx="91">
                  <c:v>0.007095343680709534</c:v>
                </c:pt>
                <c:pt idx="92">
                  <c:v>0.00567139282735613</c:v>
                </c:pt>
                <c:pt idx="93">
                  <c:v>0.005577689243027889</c:v>
                </c:pt>
                <c:pt idx="94">
                  <c:v>0.005150062155922571</c:v>
                </c:pt>
                <c:pt idx="95">
                  <c:v>0.005925365607665154</c:v>
                </c:pt>
                <c:pt idx="96">
                  <c:v>0.007888839085611834</c:v>
                </c:pt>
                <c:pt idx="97">
                  <c:v>0.008973158551810237</c:v>
                </c:pt>
                <c:pt idx="98">
                  <c:v>0.008416374899003501</c:v>
                </c:pt>
                <c:pt idx="99">
                  <c:v>0.008028335301062573</c:v>
                </c:pt>
                <c:pt idx="100">
                  <c:v>0.005974855815111407</c:v>
                </c:pt>
                <c:pt idx="101">
                  <c:v>0.008578152281181204</c:v>
                </c:pt>
                <c:pt idx="102">
                  <c:v>0.007513524343818874</c:v>
                </c:pt>
                <c:pt idx="103">
                  <c:v>0.006814012404996943</c:v>
                </c:pt>
                <c:pt idx="104">
                  <c:v>0.0051888750518887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2.8294306657353947</c:v>
                </c:pt>
                <c:pt idx="1">
                  <c:v>3.0512591139447443</c:v>
                </c:pt>
                <c:pt idx="2">
                  <c:v>3.085088992648915</c:v>
                </c:pt>
                <c:pt idx="3">
                  <c:v>2.5807861986912553</c:v>
                </c:pt>
                <c:pt idx="4">
                  <c:v>3.253344352213668</c:v>
                </c:pt>
                <c:pt idx="5">
                  <c:v>3.0998910474762402</c:v>
                </c:pt>
                <c:pt idx="6">
                  <c:v>3.329320154043646</c:v>
                </c:pt>
                <c:pt idx="7">
                  <c:v>3.6938462799754053</c:v>
                </c:pt>
                <c:pt idx="8">
                  <c:v>3.276885211992983</c:v>
                </c:pt>
                <c:pt idx="9">
                  <c:v>3.724827792006429</c:v>
                </c:pt>
                <c:pt idx="10">
                  <c:v>3.6088014808362368</c:v>
                </c:pt>
                <c:pt idx="11">
                  <c:v>2.8474289895470384</c:v>
                </c:pt>
                <c:pt idx="12">
                  <c:v>3.3973903342366754</c:v>
                </c:pt>
                <c:pt idx="13">
                  <c:v>2.1938586651192065</c:v>
                </c:pt>
                <c:pt idx="14">
                  <c:v>2.7428065302911095</c:v>
                </c:pt>
                <c:pt idx="15">
                  <c:v>2.7457307741757737</c:v>
                </c:pt>
                <c:pt idx="16">
                  <c:v>2.9016783718778907</c:v>
                </c:pt>
                <c:pt idx="17">
                  <c:v>2.588932134446585</c:v>
                </c:pt>
                <c:pt idx="18">
                  <c:v>2.974700836236934</c:v>
                </c:pt>
                <c:pt idx="19">
                  <c:v>3.10509677655607</c:v>
                </c:pt>
                <c:pt idx="20">
                  <c:v>2.577384030197445</c:v>
                </c:pt>
                <c:pt idx="21">
                  <c:v>2.612007096307024</c:v>
                </c:pt>
                <c:pt idx="22">
                  <c:v>1.534447657762292</c:v>
                </c:pt>
                <c:pt idx="23">
                  <c:v>1.018160690528983</c:v>
                </c:pt>
                <c:pt idx="24">
                  <c:v>1.5356386010362695</c:v>
                </c:pt>
                <c:pt idx="25">
                  <c:v>2.839603080872914</c:v>
                </c:pt>
                <c:pt idx="26">
                  <c:v>2.5368604792167577</c:v>
                </c:pt>
                <c:pt idx="27">
                  <c:v>2.864536847894406</c:v>
                </c:pt>
                <c:pt idx="28">
                  <c:v>3.2969479019746117</c:v>
                </c:pt>
                <c:pt idx="29">
                  <c:v>2.5988622299651567</c:v>
                </c:pt>
                <c:pt idx="30">
                  <c:v>2.882864419179436</c:v>
                </c:pt>
                <c:pt idx="31">
                  <c:v>2.7235136851088844</c:v>
                </c:pt>
                <c:pt idx="32">
                  <c:v>2.7412819377184245</c:v>
                </c:pt>
                <c:pt idx="33">
                  <c:v>3.131872038162393</c:v>
                </c:pt>
                <c:pt idx="34">
                  <c:v>3.049185988359793</c:v>
                </c:pt>
                <c:pt idx="35">
                  <c:v>3.1069904030839455</c:v>
                </c:pt>
                <c:pt idx="36">
                  <c:v>3.6017310104529616</c:v>
                </c:pt>
                <c:pt idx="37">
                  <c:v>3.313287298067786</c:v>
                </c:pt>
                <c:pt idx="38">
                  <c:v>2.368202800361337</c:v>
                </c:pt>
                <c:pt idx="39">
                  <c:v>2.59093937784243</c:v>
                </c:pt>
                <c:pt idx="40">
                  <c:v>2.56604898837024</c:v>
                </c:pt>
                <c:pt idx="41">
                  <c:v>2.6153440783842035</c:v>
                </c:pt>
                <c:pt idx="42">
                  <c:v>2.68021754303354</c:v>
                </c:pt>
                <c:pt idx="43">
                  <c:v>3.028186941003569</c:v>
                </c:pt>
                <c:pt idx="44">
                  <c:v>3.2649731453831796</c:v>
                </c:pt>
                <c:pt idx="45">
                  <c:v>3.383544973968762</c:v>
                </c:pt>
                <c:pt idx="46">
                  <c:v>3.299587969896102</c:v>
                </c:pt>
                <c:pt idx="47">
                  <c:v>3.0430219578361672</c:v>
                </c:pt>
                <c:pt idx="48">
                  <c:v>3.7262667493488775</c:v>
                </c:pt>
                <c:pt idx="49">
                  <c:v>3.2531296579887696</c:v>
                </c:pt>
                <c:pt idx="50">
                  <c:v>3.3913495374264087</c:v>
                </c:pt>
                <c:pt idx="51">
                  <c:v>3.295324305490159</c:v>
                </c:pt>
              </c:numCache>
            </c:numRef>
          </c:xVal>
          <c:yVal>
            <c:numRef>
              <c:f>Sheet1!$B$109:$B$160</c:f>
              <c:numCache>
                <c:formatCode>General</c:formatCode>
                <c:ptCount val="52"/>
                <c:pt idx="0">
                  <c:v>0.005727043292564551</c:v>
                </c:pt>
                <c:pt idx="1">
                  <c:v>0.006910778751933987</c:v>
                </c:pt>
                <c:pt idx="2">
                  <c:v>0.006043370067543548</c:v>
                </c:pt>
                <c:pt idx="3">
                  <c:v>0.0066200809121000365</c:v>
                </c:pt>
                <c:pt idx="4">
                  <c:v>0.006716635841526332</c:v>
                </c:pt>
                <c:pt idx="5">
                  <c:v>0.005764796310530361</c:v>
                </c:pt>
                <c:pt idx="6">
                  <c:v>0.006267599236987919</c:v>
                </c:pt>
                <c:pt idx="7">
                  <c:v>0.00736695033659342</c:v>
                </c:pt>
                <c:pt idx="8">
                  <c:v>0.00918748205569911</c:v>
                </c:pt>
                <c:pt idx="9">
                  <c:v>0.009224159716957291</c:v>
                </c:pt>
                <c:pt idx="10">
                  <c:v>0.008955956324377377</c:v>
                </c:pt>
                <c:pt idx="11">
                  <c:v>0.008676599474145487</c:v>
                </c:pt>
                <c:pt idx="12">
                  <c:v>0.009002700810243073</c:v>
                </c:pt>
                <c:pt idx="13">
                  <c:v>0.01323937646807602</c:v>
                </c:pt>
                <c:pt idx="14">
                  <c:v>0.013218458633305796</c:v>
                </c:pt>
                <c:pt idx="15">
                  <c:v>0.01261307172888266</c:v>
                </c:pt>
                <c:pt idx="16">
                  <c:v>0.012533572068039392</c:v>
                </c:pt>
                <c:pt idx="17">
                  <c:v>0.01579191825359963</c:v>
                </c:pt>
                <c:pt idx="18">
                  <c:v>0.008359076867163365</c:v>
                </c:pt>
                <c:pt idx="19">
                  <c:v>0.0075200820372585886</c:v>
                </c:pt>
                <c:pt idx="20">
                  <c:v>0.009334657398212513</c:v>
                </c:pt>
                <c:pt idx="21">
                  <c:v>0.013249819320645628</c:v>
                </c:pt>
                <c:pt idx="22">
                  <c:v>0.011156924569488236</c:v>
                </c:pt>
                <c:pt idx="23">
                  <c:v>0.010964912280701754</c:v>
                </c:pt>
                <c:pt idx="24">
                  <c:v>0.010142923005993546</c:v>
                </c:pt>
                <c:pt idx="25">
                  <c:v>0.010506654214335746</c:v>
                </c:pt>
                <c:pt idx="26">
                  <c:v>0.011258278145695364</c:v>
                </c:pt>
                <c:pt idx="27">
                  <c:v>0.011251480457954995</c:v>
                </c:pt>
                <c:pt idx="28">
                  <c:v>0.009651076466221232</c:v>
                </c:pt>
                <c:pt idx="29">
                  <c:v>0.011070944419340261</c:v>
                </c:pt>
                <c:pt idx="30">
                  <c:v>0.010507080858839652</c:v>
                </c:pt>
                <c:pt idx="31">
                  <c:v>0.010919248349415947</c:v>
                </c:pt>
                <c:pt idx="32">
                  <c:v>0.009582477754962354</c:v>
                </c:pt>
                <c:pt idx="33">
                  <c:v>0.008687943262411348</c:v>
                </c:pt>
                <c:pt idx="34">
                  <c:v>0.007735396105628167</c:v>
                </c:pt>
                <c:pt idx="35">
                  <c:v>0.009371029224904702</c:v>
                </c:pt>
                <c:pt idx="36">
                  <c:v>0.01274403470715835</c:v>
                </c:pt>
                <c:pt idx="37">
                  <c:v>0.012673653424323665</c:v>
                </c:pt>
                <c:pt idx="38">
                  <c:v>0.01510912143256855</c:v>
                </c:pt>
                <c:pt idx="39">
                  <c:v>0.013777955271565496</c:v>
                </c:pt>
                <c:pt idx="40">
                  <c:v>0.013238490416913653</c:v>
                </c:pt>
                <c:pt idx="41">
                  <c:v>0.010689273866568375</c:v>
                </c:pt>
                <c:pt idx="42">
                  <c:v>0.012421052631578947</c:v>
                </c:pt>
                <c:pt idx="43">
                  <c:v>0.009294265910523</c:v>
                </c:pt>
                <c:pt idx="44">
                  <c:v>0.006724181679776706</c:v>
                </c:pt>
                <c:pt idx="45">
                  <c:v>0.005326351900334025</c:v>
                </c:pt>
                <c:pt idx="46">
                  <c:v>0.005492730210016155</c:v>
                </c:pt>
                <c:pt idx="47">
                  <c:v>0.005336495701156241</c:v>
                </c:pt>
                <c:pt idx="48">
                  <c:v>0.005799903334944417</c:v>
                </c:pt>
                <c:pt idx="49">
                  <c:v>0.005066222769052616</c:v>
                </c:pt>
                <c:pt idx="50">
                  <c:v>0.0041575185686924835</c:v>
                </c:pt>
                <c:pt idx="51">
                  <c:v>0.00519148936170212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3322597242992833</c:v>
                </c:pt>
              </c:numCache>
            </c:numRef>
          </c:xVal>
          <c:yVal>
            <c:numRef>
              <c:f>Sheet1!$B$163:$B$164</c:f>
              <c:numCache>
                <c:formatCode>General</c:formatCode>
                <c:ptCount val="2"/>
                <c:pt idx="0">
                  <c:v>0.01090149608468514</c:v>
                </c:pt>
                <c:pt idx="1">
                  <c:v>0.0109014960846851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3322597242992833</c:v>
                </c:pt>
                <c:pt idx="1">
                  <c:v>2.3322597242992833</c:v>
                </c:pt>
              </c:numCache>
            </c:numRef>
          </c:xVal>
          <c:yVal>
            <c:numRef>
              <c:f>Sheet1!$B$167:$B$168</c:f>
              <c:numCache>
                <c:formatCode>General</c:formatCode>
                <c:ptCount val="2"/>
                <c:pt idx="0">
                  <c:v>0.0109014960846851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3322597242992833</c:v>
                </c:pt>
              </c:numCache>
            </c:numRef>
          </c:xVal>
          <c:yVal>
            <c:numRef>
              <c:f>Sheet1!$B$171:$B$172</c:f>
              <c:numCache>
                <c:formatCode>General</c:formatCode>
                <c:ptCount val="2"/>
                <c:pt idx="0">
                  <c:v>0.01090149608468514</c:v>
                </c:pt>
                <c:pt idx="1">
                  <c:v>0.0109014960846851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3322597242992833</c:v>
                </c:pt>
                <c:pt idx="1">
                  <c:v>2.3322597242992833</c:v>
                </c:pt>
              </c:numCache>
            </c:numRef>
          </c:xVal>
          <c:yVal>
            <c:numRef>
              <c:f>Sheet1!$B$175:$B$176</c:f>
              <c:numCache>
                <c:formatCode>General</c:formatCode>
                <c:ptCount val="2"/>
                <c:pt idx="0">
                  <c:v>0.0109014960846851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3.4903626780441885</c:v>
                </c:pt>
              </c:numCache>
            </c:numRef>
          </c:xVal>
          <c:yVal>
            <c:numRef>
              <c:f>Sheet1!$B$179:$B$180</c:f>
              <c:numCache>
                <c:formatCode>General</c:formatCode>
                <c:ptCount val="2"/>
                <c:pt idx="0">
                  <c:v>0.007885840894063405</c:v>
                </c:pt>
                <c:pt idx="1">
                  <c:v>0.0078858408940634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3.4903626780441885</c:v>
                </c:pt>
                <c:pt idx="1">
                  <c:v>3.4903626780441885</c:v>
                </c:pt>
              </c:numCache>
            </c:numRef>
          </c:xVal>
          <c:yVal>
            <c:numRef>
              <c:f>Sheet1!$B$183:$B$184</c:f>
              <c:numCache>
                <c:formatCode>General</c:formatCode>
                <c:ptCount val="2"/>
                <c:pt idx="0">
                  <c:v>0.0078858408940634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2.8294306657353947</c:v>
                </c:pt>
                <c:pt idx="1">
                  <c:v>3.0512591139447443</c:v>
                </c:pt>
                <c:pt idx="2">
                  <c:v>3.085088992648915</c:v>
                </c:pt>
                <c:pt idx="3">
                  <c:v>2.5807861986912553</c:v>
                </c:pt>
                <c:pt idx="4">
                  <c:v>3.253344352213668</c:v>
                </c:pt>
                <c:pt idx="5">
                  <c:v>3.0998910474762402</c:v>
                </c:pt>
                <c:pt idx="6">
                  <c:v>3.329320154043646</c:v>
                </c:pt>
                <c:pt idx="7">
                  <c:v>3.6938462799754053</c:v>
                </c:pt>
                <c:pt idx="8">
                  <c:v>3.276885211992983</c:v>
                </c:pt>
                <c:pt idx="9">
                  <c:v>3.724827792006429</c:v>
                </c:pt>
                <c:pt idx="10">
                  <c:v>3.6088014808362368</c:v>
                </c:pt>
                <c:pt idx="11">
                  <c:v>2.8474289895470384</c:v>
                </c:pt>
                <c:pt idx="12">
                  <c:v>3.3973903342366754</c:v>
                </c:pt>
                <c:pt idx="13">
                  <c:v>2.1938586651192065</c:v>
                </c:pt>
                <c:pt idx="14">
                  <c:v>2.7428065302911095</c:v>
                </c:pt>
                <c:pt idx="15">
                  <c:v>2.7457307741757737</c:v>
                </c:pt>
                <c:pt idx="16">
                  <c:v>2.9016783718778907</c:v>
                </c:pt>
                <c:pt idx="17">
                  <c:v>2.588932134446585</c:v>
                </c:pt>
                <c:pt idx="18">
                  <c:v>2.974700836236934</c:v>
                </c:pt>
                <c:pt idx="19">
                  <c:v>3.10509677655607</c:v>
                </c:pt>
                <c:pt idx="20">
                  <c:v>2.577384030197445</c:v>
                </c:pt>
                <c:pt idx="21">
                  <c:v>2.612007096307024</c:v>
                </c:pt>
                <c:pt idx="22">
                  <c:v>1.534447657762292</c:v>
                </c:pt>
                <c:pt idx="23">
                  <c:v>1.018160690528983</c:v>
                </c:pt>
                <c:pt idx="24">
                  <c:v>1.5356386010362695</c:v>
                </c:pt>
                <c:pt idx="25">
                  <c:v>2.839603080872914</c:v>
                </c:pt>
                <c:pt idx="26">
                  <c:v>2.5368604792167577</c:v>
                </c:pt>
                <c:pt idx="27">
                  <c:v>2.864536847894406</c:v>
                </c:pt>
                <c:pt idx="28">
                  <c:v>3.2969479019746117</c:v>
                </c:pt>
                <c:pt idx="29">
                  <c:v>2.5988622299651567</c:v>
                </c:pt>
                <c:pt idx="30">
                  <c:v>2.882864419179436</c:v>
                </c:pt>
                <c:pt idx="31">
                  <c:v>2.7235136851088844</c:v>
                </c:pt>
                <c:pt idx="32">
                  <c:v>2.7412819377184245</c:v>
                </c:pt>
                <c:pt idx="33">
                  <c:v>3.131872038162393</c:v>
                </c:pt>
                <c:pt idx="34">
                  <c:v>3.049185988359793</c:v>
                </c:pt>
                <c:pt idx="35">
                  <c:v>3.1069904030839455</c:v>
                </c:pt>
                <c:pt idx="36">
                  <c:v>3.6017310104529616</c:v>
                </c:pt>
                <c:pt idx="37">
                  <c:v>3.313287298067786</c:v>
                </c:pt>
                <c:pt idx="38">
                  <c:v>2.368202800361337</c:v>
                </c:pt>
                <c:pt idx="39">
                  <c:v>2.59093937784243</c:v>
                </c:pt>
                <c:pt idx="40">
                  <c:v>2.56604898837024</c:v>
                </c:pt>
                <c:pt idx="41">
                  <c:v>2.6153440783842035</c:v>
                </c:pt>
                <c:pt idx="42">
                  <c:v>2.68021754303354</c:v>
                </c:pt>
                <c:pt idx="43">
                  <c:v>3.028186941003569</c:v>
                </c:pt>
                <c:pt idx="44">
                  <c:v>3.2649731453831796</c:v>
                </c:pt>
                <c:pt idx="45">
                  <c:v>3.383544973968762</c:v>
                </c:pt>
                <c:pt idx="46">
                  <c:v>3.299587969896102</c:v>
                </c:pt>
                <c:pt idx="47">
                  <c:v>3.0430219578361672</c:v>
                </c:pt>
                <c:pt idx="48">
                  <c:v>3.7262667493488775</c:v>
                </c:pt>
                <c:pt idx="49">
                  <c:v>3.2531296579887696</c:v>
                </c:pt>
                <c:pt idx="50">
                  <c:v>3.3913495374264087</c:v>
                </c:pt>
                <c:pt idx="51">
                  <c:v>3.295324305490159</c:v>
                </c:pt>
                <c:pt idx="52">
                  <c:v>2.3322597242992833</c:v>
                </c:pt>
                <c:pt idx="53">
                  <c:v>2.3322597242992833</c:v>
                </c:pt>
                <c:pt idx="54">
                  <c:v>3.4903626780441885</c:v>
                </c:pt>
              </c:numCache>
            </c:numRef>
          </c:xVal>
          <c:yVal>
            <c:numRef>
              <c:f>Sheet1!$B$187:$B$241</c:f>
              <c:numCache>
                <c:formatCode>General</c:formatCode>
                <c:ptCount val="55"/>
                <c:pt idx="0">
                  <c:v>0.009606882229051754</c:v>
                </c:pt>
                <c:pt idx="1">
                  <c:v>0.009029249550448431</c:v>
                </c:pt>
                <c:pt idx="2">
                  <c:v>0.008941157857924514</c:v>
                </c:pt>
                <c:pt idx="3">
                  <c:v>0.010254342781014216</c:v>
                </c:pt>
                <c:pt idx="4">
                  <c:v>0.008503027425063934</c:v>
                </c:pt>
                <c:pt idx="5">
                  <c:v>0.008902613881046165</c:v>
                </c:pt>
                <c:pt idx="6">
                  <c:v>0.00830518938276438</c:v>
                </c:pt>
                <c:pt idx="7">
                  <c:v>0.007355977483918398</c:v>
                </c:pt>
                <c:pt idx="8">
                  <c:v>0.008441727938903716</c:v>
                </c:pt>
                <c:pt idx="9">
                  <c:v>0.007275302827777035</c:v>
                </c:pt>
                <c:pt idx="10">
                  <c:v>0.007577430843596045</c:v>
                </c:pt>
                <c:pt idx="11">
                  <c:v>0.009560015291661117</c:v>
                </c:pt>
                <c:pt idx="12">
                  <c:v>0.008127937272697764</c:v>
                </c:pt>
                <c:pt idx="13">
                  <c:v>0.011261887076828209</c:v>
                </c:pt>
                <c:pt idx="14">
                  <c:v>0.009832448119235313</c:v>
                </c:pt>
                <c:pt idx="15">
                  <c:v>0.009824833501535811</c:v>
                </c:pt>
                <c:pt idx="16">
                  <c:v>0.00941875200338002</c:v>
                </c:pt>
                <c:pt idx="17">
                  <c:v>0.01023313108013426</c:v>
                </c:pt>
                <c:pt idx="18">
                  <c:v>0.009228604337350628</c:v>
                </c:pt>
                <c:pt idx="19">
                  <c:v>0.008889058364354151</c:v>
                </c:pt>
                <c:pt idx="20">
                  <c:v>0.01026320189586627</c:v>
                </c:pt>
                <c:pt idx="21">
                  <c:v>0.010173044774091422</c:v>
                </c:pt>
                <c:pt idx="22">
                  <c:v>0.012978967773892904</c:v>
                </c:pt>
                <c:pt idx="23">
                  <c:v>0.01432335901955277</c:v>
                </c:pt>
                <c:pt idx="24">
                  <c:v>0.012975866603781652</c:v>
                </c:pt>
                <c:pt idx="25">
                  <c:v>0.009580393654429418</c:v>
                </c:pt>
                <c:pt idx="26">
                  <c:v>0.010368723651477172</c:v>
                </c:pt>
                <c:pt idx="27">
                  <c:v>0.009515467091815126</c:v>
                </c:pt>
                <c:pt idx="28">
                  <c:v>0.008389485472044196</c:v>
                </c:pt>
                <c:pt idx="29">
                  <c:v>0.010207273496404663</c:v>
                </c:pt>
                <c:pt idx="30">
                  <c:v>0.00946774280676908</c:v>
                </c:pt>
                <c:pt idx="31">
                  <c:v>0.009882685940084922</c:v>
                </c:pt>
                <c:pt idx="32">
                  <c:v>0.009836418099184448</c:v>
                </c:pt>
                <c:pt idx="33">
                  <c:v>0.008819336621237739</c:v>
                </c:pt>
                <c:pt idx="34">
                  <c:v>0.009034647889094277</c:v>
                </c:pt>
                <c:pt idx="35">
                  <c:v>0.008884127434293556</c:v>
                </c:pt>
                <c:pt idx="36">
                  <c:v>0.007595842074344151</c:v>
                </c:pt>
                <c:pt idx="37">
                  <c:v>0.008346938318113993</c:v>
                </c:pt>
                <c:pt idx="38">
                  <c:v>0.01080790170817229</c:v>
                </c:pt>
                <c:pt idx="39">
                  <c:v>0.01022790429615452</c:v>
                </c:pt>
                <c:pt idx="40">
                  <c:v>0.010292717905312226</c:v>
                </c:pt>
                <c:pt idx="41">
                  <c:v>0.010164355402140925</c:v>
                </c:pt>
                <c:pt idx="42">
                  <c:v>0.009995427415409893</c:v>
                </c:pt>
                <c:pt idx="43">
                  <c:v>0.009089328594253637</c:v>
                </c:pt>
                <c:pt idx="44">
                  <c:v>0.008472746498511673</c:v>
                </c:pt>
                <c:pt idx="45">
                  <c:v>0.008163990054035506</c:v>
                </c:pt>
                <c:pt idx="46">
                  <c:v>0.008382610837534983</c:v>
                </c:pt>
                <c:pt idx="47">
                  <c:v>0.00905069878559153</c:v>
                </c:pt>
                <c:pt idx="48">
                  <c:v>0.007271555838647265</c:v>
                </c:pt>
                <c:pt idx="49">
                  <c:v>0.008503586480501635</c:v>
                </c:pt>
                <c:pt idx="50">
                  <c:v>0.008143667273383337</c:v>
                </c:pt>
                <c:pt idx="51">
                  <c:v>0.008393713254341082</c:v>
                </c:pt>
                <c:pt idx="52">
                  <c:v>0.01090149608468514</c:v>
                </c:pt>
                <c:pt idx="53">
                  <c:v>0.01090149608468514</c:v>
                </c:pt>
                <c:pt idx="54">
                  <c:v>0.0078858408940634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895030190431955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856.3077</c:v>
                </c:pt>
                <c:pt idx="1">
                  <c:v>6230.0</c:v>
                </c:pt>
                <c:pt idx="2">
                  <c:v>6349.3333</c:v>
                </c:pt>
                <c:pt idx="3">
                  <c:v>5043.3333</c:v>
                </c:pt>
                <c:pt idx="4">
                  <c:v>5971.5</c:v>
                </c:pt>
                <c:pt idx="5">
                  <c:v>7694.0</c:v>
                </c:pt>
                <c:pt idx="6">
                  <c:v>5895.0</c:v>
                </c:pt>
                <c:pt idx="7">
                  <c:v>4277.0</c:v>
                </c:pt>
                <c:pt idx="8">
                  <c:v>7050.6667</c:v>
                </c:pt>
                <c:pt idx="9">
                  <c:v>5817.6</c:v>
                </c:pt>
                <c:pt idx="10">
                  <c:v>5290.25</c:v>
                </c:pt>
                <c:pt idx="11">
                  <c:v>4469.2857</c:v>
                </c:pt>
                <c:pt idx="12">
                  <c:v>7055.8</c:v>
                </c:pt>
                <c:pt idx="13">
                  <c:v>5252.6667</c:v>
                </c:pt>
                <c:pt idx="14">
                  <c:v>0.0</c:v>
                </c:pt>
                <c:pt idx="15">
                  <c:v>3753.0</c:v>
                </c:pt>
                <c:pt idx="16">
                  <c:v>2170.25</c:v>
                </c:pt>
                <c:pt idx="17">
                  <c:v>6580.0</c:v>
                </c:pt>
                <c:pt idx="18">
                  <c:v>0.0</c:v>
                </c:pt>
                <c:pt idx="19">
                  <c:v>3807.0</c:v>
                </c:pt>
                <c:pt idx="20">
                  <c:v>5072.3333</c:v>
                </c:pt>
                <c:pt idx="21">
                  <c:v>6718.0</c:v>
                </c:pt>
                <c:pt idx="22">
                  <c:v>5462.25</c:v>
                </c:pt>
                <c:pt idx="23">
                  <c:v>6538.6667</c:v>
                </c:pt>
                <c:pt idx="24">
                  <c:v>6316.5</c:v>
                </c:pt>
                <c:pt idx="25">
                  <c:v>4606.0</c:v>
                </c:pt>
                <c:pt idx="26">
                  <c:v>6402.0</c:v>
                </c:pt>
                <c:pt idx="27">
                  <c:v>15524.0</c:v>
                </c:pt>
                <c:pt idx="28">
                  <c:v>3345.4</c:v>
                </c:pt>
                <c:pt idx="29">
                  <c:v>7017.0</c:v>
                </c:pt>
                <c:pt idx="30">
                  <c:v>3873.25</c:v>
                </c:pt>
                <c:pt idx="31">
                  <c:v>5011.5</c:v>
                </c:pt>
                <c:pt idx="32">
                  <c:v>8655.5</c:v>
                </c:pt>
                <c:pt idx="33">
                  <c:v>3845.7778</c:v>
                </c:pt>
                <c:pt idx="34">
                  <c:v>3505.4167</c:v>
                </c:pt>
                <c:pt idx="35">
                  <c:v>3707.5</c:v>
                </c:pt>
                <c:pt idx="36">
                  <c:v>6482.5</c:v>
                </c:pt>
                <c:pt idx="37">
                  <c:v>4574.0</c:v>
                </c:pt>
                <c:pt idx="38">
                  <c:v>7663.0</c:v>
                </c:pt>
                <c:pt idx="39">
                  <c:v>5600.75</c:v>
                </c:pt>
                <c:pt idx="40">
                  <c:v>8541.5</c:v>
                </c:pt>
                <c:pt idx="41">
                  <c:v>5335.6667</c:v>
                </c:pt>
                <c:pt idx="42">
                  <c:v>10645.0</c:v>
                </c:pt>
                <c:pt idx="43">
                  <c:v>7240.0</c:v>
                </c:pt>
                <c:pt idx="44">
                  <c:v>4505.0</c:v>
                </c:pt>
                <c:pt idx="45">
                  <c:v>4392.2</c:v>
                </c:pt>
                <c:pt idx="46">
                  <c:v>4084.1818</c:v>
                </c:pt>
                <c:pt idx="47">
                  <c:v>3419.4286</c:v>
                </c:pt>
                <c:pt idx="48">
                  <c:v>4401.9</c:v>
                </c:pt>
                <c:pt idx="49">
                  <c:v>3402.25</c:v>
                </c:pt>
                <c:pt idx="50">
                  <c:v>4337.6</c:v>
                </c:pt>
                <c:pt idx="51">
                  <c:v>4108.2</c:v>
                </c:pt>
                <c:pt idx="52">
                  <c:v>4801.75</c:v>
                </c:pt>
                <c:pt idx="53">
                  <c:v>3999.4</c:v>
                </c:pt>
                <c:pt idx="54">
                  <c:v>4201.4444</c:v>
                </c:pt>
                <c:pt idx="55">
                  <c:v>4984.2</c:v>
                </c:pt>
                <c:pt idx="56">
                  <c:v>10395.0</c:v>
                </c:pt>
                <c:pt idx="57">
                  <c:v>4042.75</c:v>
                </c:pt>
                <c:pt idx="58">
                  <c:v>4289.0</c:v>
                </c:pt>
                <c:pt idx="59">
                  <c:v>3433.0</c:v>
                </c:pt>
                <c:pt idx="60">
                  <c:v>3007.3571</c:v>
                </c:pt>
                <c:pt idx="61">
                  <c:v>2989.9286</c:v>
                </c:pt>
                <c:pt idx="62">
                  <c:v>3040.0833</c:v>
                </c:pt>
                <c:pt idx="63">
                  <c:v>2470.9444</c:v>
                </c:pt>
                <c:pt idx="64">
                  <c:v>2609.3158</c:v>
                </c:pt>
                <c:pt idx="65">
                  <c:v>2489.9333</c:v>
                </c:pt>
                <c:pt idx="66">
                  <c:v>2358.7273</c:v>
                </c:pt>
                <c:pt idx="67">
                  <c:v>3155.3333</c:v>
                </c:pt>
                <c:pt idx="68">
                  <c:v>2346.9231</c:v>
                </c:pt>
                <c:pt idx="69">
                  <c:v>2135.0</c:v>
                </c:pt>
                <c:pt idx="70">
                  <c:v>2302.5</c:v>
                </c:pt>
                <c:pt idx="71">
                  <c:v>1857.8</c:v>
                </c:pt>
                <c:pt idx="72">
                  <c:v>2952.3636</c:v>
                </c:pt>
                <c:pt idx="73">
                  <c:v>2025.9474</c:v>
                </c:pt>
                <c:pt idx="74">
                  <c:v>2531.4762</c:v>
                </c:pt>
                <c:pt idx="75">
                  <c:v>3962.4444</c:v>
                </c:pt>
                <c:pt idx="76">
                  <c:v>3882.0</c:v>
                </c:pt>
                <c:pt idx="77">
                  <c:v>4467.6957</c:v>
                </c:pt>
                <c:pt idx="78">
                  <c:v>3018.5429</c:v>
                </c:pt>
                <c:pt idx="79">
                  <c:v>4773.4</c:v>
                </c:pt>
                <c:pt idx="80">
                  <c:v>4299.5</c:v>
                </c:pt>
                <c:pt idx="81">
                  <c:v>3470.475</c:v>
                </c:pt>
                <c:pt idx="82">
                  <c:v>4188.0</c:v>
                </c:pt>
                <c:pt idx="83">
                  <c:v>4291.4286</c:v>
                </c:pt>
                <c:pt idx="84">
                  <c:v>4199.35</c:v>
                </c:pt>
                <c:pt idx="85">
                  <c:v>3644.0476</c:v>
                </c:pt>
                <c:pt idx="86">
                  <c:v>4846.4231</c:v>
                </c:pt>
                <c:pt idx="87">
                  <c:v>4906.68</c:v>
                </c:pt>
                <c:pt idx="88">
                  <c:v>4199.0333</c:v>
                </c:pt>
                <c:pt idx="89">
                  <c:v>3929.7353</c:v>
                </c:pt>
                <c:pt idx="90">
                  <c:v>4177.2903</c:v>
                </c:pt>
                <c:pt idx="91">
                  <c:v>3942.625</c:v>
                </c:pt>
                <c:pt idx="92">
                  <c:v>4270.3235</c:v>
                </c:pt>
                <c:pt idx="93">
                  <c:v>4332.2286</c:v>
                </c:pt>
                <c:pt idx="94">
                  <c:v>5011.5517</c:v>
                </c:pt>
                <c:pt idx="95">
                  <c:v>4381.1064</c:v>
                </c:pt>
                <c:pt idx="96">
                  <c:v>3358.3295</c:v>
                </c:pt>
                <c:pt idx="97">
                  <c:v>3539.0348</c:v>
                </c:pt>
                <c:pt idx="98">
                  <c:v>3390.072</c:v>
                </c:pt>
                <c:pt idx="99">
                  <c:v>3491.0956</c:v>
                </c:pt>
                <c:pt idx="100">
                  <c:v>3928.0486</c:v>
                </c:pt>
                <c:pt idx="101">
                  <c:v>3765.3274</c:v>
                </c:pt>
                <c:pt idx="102">
                  <c:v>3902.8667</c:v>
                </c:pt>
                <c:pt idx="103">
                  <c:v>3989.4744</c:v>
                </c:pt>
                <c:pt idx="104">
                  <c:v>4479.7</c:v>
                </c:pt>
              </c:numCache>
            </c:numRef>
          </c:xVal>
          <c:yVal>
            <c:numRef>
              <c:f>Sheet1!$B$2:$B$106</c:f>
              <c:numCache>
                <c:formatCode>General</c:formatCode>
                <c:ptCount val="105"/>
                <c:pt idx="0">
                  <c:v>0.0011239840913020924</c:v>
                </c:pt>
                <c:pt idx="1">
                  <c:v>0.0003037359522122102</c:v>
                </c:pt>
                <c:pt idx="2">
                  <c:v>0.0003105268605734396</c:v>
                </c:pt>
                <c:pt idx="3">
                  <c:v>0.00033415014479839606</c:v>
                </c:pt>
                <c:pt idx="4">
                  <c:v>0.00024978144123891593</c:v>
                </c:pt>
                <c:pt idx="5">
                  <c:v>0.0003697769012695674</c:v>
                </c:pt>
                <c:pt idx="6">
                  <c:v>0.0006844626967830253</c:v>
                </c:pt>
                <c:pt idx="7">
                  <c:v>0.0008228195282501371</c:v>
                </c:pt>
                <c:pt idx="8">
                  <c:v>0.00042319085907744394</c:v>
                </c:pt>
                <c:pt idx="9">
                  <c:v>0.0005163688939378292</c:v>
                </c:pt>
                <c:pt idx="10">
                  <c:v>0.00040261701056869655</c:v>
                </c:pt>
                <c:pt idx="11">
                  <c:v>0.0007121782480415098</c:v>
                </c:pt>
                <c:pt idx="12">
                  <c:v>0.0004589261128958238</c:v>
                </c:pt>
                <c:pt idx="13">
                  <c:v>0.0005639627784566219</c:v>
                </c:pt>
                <c:pt idx="14">
                  <c:v>0.0</c:v>
                </c:pt>
                <c:pt idx="15">
                  <c:v>0.000576169624337405</c:v>
                </c:pt>
                <c:pt idx="16">
                  <c:v>0.0005341880341880342</c:v>
                </c:pt>
                <c:pt idx="17">
                  <c:v>0.0002938583602703497</c:v>
                </c:pt>
                <c:pt idx="18">
                  <c:v>0.0</c:v>
                </c:pt>
                <c:pt idx="19">
                  <c:v>0.0006090133982947625</c:v>
                </c:pt>
                <c:pt idx="20">
                  <c:v>0.00048725028422933245</c:v>
                </c:pt>
                <c:pt idx="21">
                  <c:v>0.00021204410517387616</c:v>
                </c:pt>
                <c:pt idx="22">
                  <c:v>0.0008235536339304097</c:v>
                </c:pt>
                <c:pt idx="23">
                  <c:v>0.0006513243595310464</c:v>
                </c:pt>
                <c:pt idx="24">
                  <c:v>0.0008066142367412785</c:v>
                </c:pt>
                <c:pt idx="25">
                  <c:v>0.001372055796935742</c:v>
                </c:pt>
                <c:pt idx="26">
                  <c:v>0.0009633911368015414</c:v>
                </c:pt>
                <c:pt idx="27">
                  <c:v>0.0001840264998159735</c:v>
                </c:pt>
                <c:pt idx="28">
                  <c:v>0.0009633911368015414</c:v>
                </c:pt>
                <c:pt idx="29">
                  <c:v>0.0007037297677691766</c:v>
                </c:pt>
                <c:pt idx="30">
                  <c:v>0.0008710801393728223</c:v>
                </c:pt>
                <c:pt idx="31">
                  <c:v>0.0008378718056137411</c:v>
                </c:pt>
                <c:pt idx="32">
                  <c:v>0.00042927666881305</c:v>
                </c:pt>
                <c:pt idx="33">
                  <c:v>0.0015287922541192458</c:v>
                </c:pt>
                <c:pt idx="34">
                  <c:v>0.0017421602787456446</c:v>
                </c:pt>
                <c:pt idx="35">
                  <c:v>0.0016525023607176581</c:v>
                </c:pt>
                <c:pt idx="36">
                  <c:v>0.0006046863189720333</c:v>
                </c:pt>
                <c:pt idx="37">
                  <c:v>0.0007292616226071103</c:v>
                </c:pt>
                <c:pt idx="38">
                  <c:v>0.00037167812674224123</c:v>
                </c:pt>
                <c:pt idx="39">
                  <c:v>0.0007756447547023463</c:v>
                </c:pt>
                <c:pt idx="40">
                  <c:v>0.0003134304967873374</c:v>
                </c:pt>
                <c:pt idx="41">
                  <c:v>0.0005368647100930566</c:v>
                </c:pt>
                <c:pt idx="42">
                  <c:v>0.0001497678598172832</c:v>
                </c:pt>
                <c:pt idx="43">
                  <c:v>0.00040149892933618843</c:v>
                </c:pt>
                <c:pt idx="44">
                  <c:v>0.000522420548541576</c:v>
                </c:pt>
                <c:pt idx="45">
                  <c:v>0.00039203387172651716</c:v>
                </c:pt>
                <c:pt idx="46">
                  <c:v>0.0008500115910671509</c:v>
                </c:pt>
                <c:pt idx="47">
                  <c:v>0.001103491763222196</c:v>
                </c:pt>
                <c:pt idx="48">
                  <c:v>0.0005687635081333182</c:v>
                </c:pt>
                <c:pt idx="49">
                  <c:v>0.0006174745291756715</c:v>
                </c:pt>
                <c:pt idx="50">
                  <c:v>0.0007512019230769231</c:v>
                </c:pt>
                <c:pt idx="51">
                  <c:v>0.0009592326139088729</c:v>
                </c:pt>
                <c:pt idx="52">
                  <c:v>0.00031421838177533385</c:v>
                </c:pt>
                <c:pt idx="53">
                  <c:v>0.000519588485919152</c:v>
                </c:pt>
                <c:pt idx="54">
                  <c:v>0.001055470857276885</c:v>
                </c:pt>
                <c:pt idx="55">
                  <c:v>0.0006065016982047549</c:v>
                </c:pt>
                <c:pt idx="56">
                  <c:v>0.00025078369905956113</c:v>
                </c:pt>
                <c:pt idx="57">
                  <c:v>0.00044072278536800354</c:v>
                </c:pt>
                <c:pt idx="58">
                  <c:v>0.00039428289797930016</c:v>
                </c:pt>
                <c:pt idx="59">
                  <c:v>0.0006261348694508798</c:v>
                </c:pt>
                <c:pt idx="60">
                  <c:v>0.0009566108643662453</c:v>
                </c:pt>
                <c:pt idx="61">
                  <c:v>0.0013627956779908499</c:v>
                </c:pt>
                <c:pt idx="62">
                  <c:v>0.0011056850640375933</c:v>
                </c:pt>
                <c:pt idx="63">
                  <c:v>0.0014931563666528412</c:v>
                </c:pt>
                <c:pt idx="64">
                  <c:v>0.001472411655300682</c:v>
                </c:pt>
                <c:pt idx="65">
                  <c:v>0.0012552301255230125</c:v>
                </c:pt>
                <c:pt idx="66">
                  <c:v>0.0009909017205657147</c:v>
                </c:pt>
                <c:pt idx="67">
                  <c:v>0.000872262066291917</c:v>
                </c:pt>
                <c:pt idx="68">
                  <c:v>0.0015526095784067838</c:v>
                </c:pt>
                <c:pt idx="69">
                  <c:v>0.0016910069177555726</c:v>
                </c:pt>
                <c:pt idx="70">
                  <c:v>0.0014920919128618322</c:v>
                </c:pt>
                <c:pt idx="71">
                  <c:v>0.001650437365901964</c:v>
                </c:pt>
                <c:pt idx="72">
                  <c:v>0.0016536380036079375</c:v>
                </c:pt>
                <c:pt idx="73">
                  <c:v>0.0031306640303180094</c:v>
                </c:pt>
                <c:pt idx="74">
                  <c:v>0.003278688524590164</c:v>
                </c:pt>
                <c:pt idx="75">
                  <c:v>0.0032537960954446853</c:v>
                </c:pt>
                <c:pt idx="76">
                  <c:v>0.004493942946463462</c:v>
                </c:pt>
                <c:pt idx="77">
                  <c:v>0.004625905068382945</c:v>
                </c:pt>
                <c:pt idx="78">
                  <c:v>0.007889990982867448</c:v>
                </c:pt>
                <c:pt idx="79">
                  <c:v>0.005297732570459843</c:v>
                </c:pt>
                <c:pt idx="80">
                  <c:v>0.004957653377401363</c:v>
                </c:pt>
                <c:pt idx="81">
                  <c:v>0.006846970215679562</c:v>
                </c:pt>
                <c:pt idx="82">
                  <c:v>0.005604124635731899</c:v>
                </c:pt>
                <c:pt idx="83">
                  <c:v>0.005520504731861199</c:v>
                </c:pt>
                <c:pt idx="84">
                  <c:v>0.005243838489774515</c:v>
                </c:pt>
                <c:pt idx="85">
                  <c:v>0.004848764719464327</c:v>
                </c:pt>
                <c:pt idx="86">
                  <c:v>0.004335501083875271</c:v>
                </c:pt>
                <c:pt idx="87">
                  <c:v>0.003652834599649328</c:v>
                </c:pt>
                <c:pt idx="88">
                  <c:v>0.005715374357020385</c:v>
                </c:pt>
                <c:pt idx="89">
                  <c:v>0.0075656430796617715</c:v>
                </c:pt>
                <c:pt idx="90">
                  <c:v>0.007111722872218399</c:v>
                </c:pt>
                <c:pt idx="91">
                  <c:v>0.007095343680709534</c:v>
                </c:pt>
                <c:pt idx="92">
                  <c:v>0.00567139282735613</c:v>
                </c:pt>
                <c:pt idx="93">
                  <c:v>0.005577689243027889</c:v>
                </c:pt>
                <c:pt idx="94">
                  <c:v>0.005150062155922571</c:v>
                </c:pt>
                <c:pt idx="95">
                  <c:v>0.005925365607665154</c:v>
                </c:pt>
                <c:pt idx="96">
                  <c:v>0.007888839085611834</c:v>
                </c:pt>
                <c:pt idx="97">
                  <c:v>0.008973158551810237</c:v>
                </c:pt>
                <c:pt idx="98">
                  <c:v>0.008416374899003501</c:v>
                </c:pt>
                <c:pt idx="99">
                  <c:v>0.008028335301062573</c:v>
                </c:pt>
                <c:pt idx="100">
                  <c:v>0.005974855815111407</c:v>
                </c:pt>
                <c:pt idx="101">
                  <c:v>0.008578152281181204</c:v>
                </c:pt>
                <c:pt idx="102">
                  <c:v>0.007513524343818874</c:v>
                </c:pt>
                <c:pt idx="103">
                  <c:v>0.006814012404996943</c:v>
                </c:pt>
                <c:pt idx="104">
                  <c:v>0.0051888750518887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numCache>
            </c:numRef>
          </c:xVal>
          <c:yVal>
            <c:numRef>
              <c:f>Sheet1!$B$109:$B$160</c:f>
              <c:numCache>
                <c:formatCode>General</c:formatCode>
                <c:ptCount val="52"/>
                <c:pt idx="0">
                  <c:v>0.005727043292564551</c:v>
                </c:pt>
                <c:pt idx="1">
                  <c:v>0.006910778751933987</c:v>
                </c:pt>
                <c:pt idx="2">
                  <c:v>0.006043370067543548</c:v>
                </c:pt>
                <c:pt idx="3">
                  <c:v>0.0066200809121000365</c:v>
                </c:pt>
                <c:pt idx="4">
                  <c:v>0.006716635841526332</c:v>
                </c:pt>
                <c:pt idx="5">
                  <c:v>0.005764796310530361</c:v>
                </c:pt>
                <c:pt idx="6">
                  <c:v>0.006267599236987919</c:v>
                </c:pt>
                <c:pt idx="7">
                  <c:v>0.00736695033659342</c:v>
                </c:pt>
                <c:pt idx="8">
                  <c:v>0.00918748205569911</c:v>
                </c:pt>
                <c:pt idx="9">
                  <c:v>0.009224159716957291</c:v>
                </c:pt>
                <c:pt idx="10">
                  <c:v>0.008955956324377377</c:v>
                </c:pt>
                <c:pt idx="11">
                  <c:v>0.008676599474145487</c:v>
                </c:pt>
                <c:pt idx="12">
                  <c:v>0.009002700810243073</c:v>
                </c:pt>
                <c:pt idx="13">
                  <c:v>0.01323937646807602</c:v>
                </c:pt>
                <c:pt idx="14">
                  <c:v>0.013218458633305796</c:v>
                </c:pt>
                <c:pt idx="15">
                  <c:v>0.01261307172888266</c:v>
                </c:pt>
                <c:pt idx="16">
                  <c:v>0.012533572068039392</c:v>
                </c:pt>
                <c:pt idx="17">
                  <c:v>0.01579191825359963</c:v>
                </c:pt>
                <c:pt idx="18">
                  <c:v>0.008359076867163365</c:v>
                </c:pt>
                <c:pt idx="19">
                  <c:v>0.0075200820372585886</c:v>
                </c:pt>
                <c:pt idx="20">
                  <c:v>0.009334657398212513</c:v>
                </c:pt>
                <c:pt idx="21">
                  <c:v>0.013249819320645628</c:v>
                </c:pt>
                <c:pt idx="22">
                  <c:v>0.011156924569488236</c:v>
                </c:pt>
                <c:pt idx="23">
                  <c:v>0.010964912280701754</c:v>
                </c:pt>
                <c:pt idx="24">
                  <c:v>0.010142923005993546</c:v>
                </c:pt>
                <c:pt idx="25">
                  <c:v>0.010506654214335746</c:v>
                </c:pt>
                <c:pt idx="26">
                  <c:v>0.011258278145695364</c:v>
                </c:pt>
                <c:pt idx="27">
                  <c:v>0.011251480457954995</c:v>
                </c:pt>
                <c:pt idx="28">
                  <c:v>0.009651076466221232</c:v>
                </c:pt>
                <c:pt idx="29">
                  <c:v>0.011070944419340261</c:v>
                </c:pt>
                <c:pt idx="30">
                  <c:v>0.010507080858839652</c:v>
                </c:pt>
                <c:pt idx="31">
                  <c:v>0.010919248349415947</c:v>
                </c:pt>
                <c:pt idx="32">
                  <c:v>0.009582477754962354</c:v>
                </c:pt>
                <c:pt idx="33">
                  <c:v>0.008687943262411348</c:v>
                </c:pt>
                <c:pt idx="34">
                  <c:v>0.007735396105628167</c:v>
                </c:pt>
                <c:pt idx="35">
                  <c:v>0.009371029224904702</c:v>
                </c:pt>
                <c:pt idx="36">
                  <c:v>0.01274403470715835</c:v>
                </c:pt>
                <c:pt idx="37">
                  <c:v>0.012673653424323665</c:v>
                </c:pt>
                <c:pt idx="38">
                  <c:v>0.01510912143256855</c:v>
                </c:pt>
                <c:pt idx="39">
                  <c:v>0.013777955271565496</c:v>
                </c:pt>
                <c:pt idx="40">
                  <c:v>0.013238490416913653</c:v>
                </c:pt>
                <c:pt idx="41">
                  <c:v>0.010689273866568375</c:v>
                </c:pt>
                <c:pt idx="42">
                  <c:v>0.012421052631578947</c:v>
                </c:pt>
                <c:pt idx="43">
                  <c:v>0.009294265910523</c:v>
                </c:pt>
                <c:pt idx="44">
                  <c:v>0.006724181679776706</c:v>
                </c:pt>
                <c:pt idx="45">
                  <c:v>0.005326351900334025</c:v>
                </c:pt>
                <c:pt idx="46">
                  <c:v>0.005492730210016155</c:v>
                </c:pt>
                <c:pt idx="47">
                  <c:v>0.005336495701156241</c:v>
                </c:pt>
                <c:pt idx="48">
                  <c:v>0.005799903334944417</c:v>
                </c:pt>
                <c:pt idx="49">
                  <c:v>0.005066222769052616</c:v>
                </c:pt>
                <c:pt idx="50">
                  <c:v>0.0041575185686924835</c:v>
                </c:pt>
                <c:pt idx="51">
                  <c:v>0.00519148936170212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648.7556598510387</c:v>
                </c:pt>
              </c:numCache>
            </c:numRef>
          </c:xVal>
          <c:yVal>
            <c:numRef>
              <c:f>Sheet1!$B$163:$B$164</c:f>
              <c:numCache>
                <c:formatCode>General</c:formatCode>
                <c:ptCount val="2"/>
                <c:pt idx="0">
                  <c:v>0.01090149608468514</c:v>
                </c:pt>
                <c:pt idx="1">
                  <c:v>0.0109014960846851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648.7556598510387</c:v>
                </c:pt>
                <c:pt idx="1">
                  <c:v>3648.7556598510387</c:v>
                </c:pt>
              </c:numCache>
            </c:numRef>
          </c:xVal>
          <c:yVal>
            <c:numRef>
              <c:f>Sheet1!$B$167:$B$168</c:f>
              <c:numCache>
                <c:formatCode>General</c:formatCode>
                <c:ptCount val="2"/>
                <c:pt idx="0">
                  <c:v>0.0109014960846851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648.7556598510387</c:v>
                </c:pt>
              </c:numCache>
            </c:numRef>
          </c:xVal>
          <c:yVal>
            <c:numRef>
              <c:f>Sheet1!$B$171:$B$172</c:f>
              <c:numCache>
                <c:formatCode>General</c:formatCode>
                <c:ptCount val="2"/>
                <c:pt idx="0">
                  <c:v>0.01090149608468514</c:v>
                </c:pt>
                <c:pt idx="1">
                  <c:v>0.0109014960846851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648.7556598510387</c:v>
                </c:pt>
                <c:pt idx="1">
                  <c:v>3648.7556598510387</c:v>
                </c:pt>
              </c:numCache>
            </c:numRef>
          </c:xVal>
          <c:yVal>
            <c:numRef>
              <c:f>Sheet1!$B$175:$B$176</c:f>
              <c:numCache>
                <c:formatCode>General</c:formatCode>
                <c:ptCount val="2"/>
                <c:pt idx="0">
                  <c:v>0.0109014960846851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289.018032650738</c:v>
                </c:pt>
              </c:numCache>
            </c:numRef>
          </c:xVal>
          <c:yVal>
            <c:numRef>
              <c:f>Sheet1!$B$179:$B$180</c:f>
              <c:numCache>
                <c:formatCode>General</c:formatCode>
                <c:ptCount val="2"/>
                <c:pt idx="0">
                  <c:v>0.007885840894063405</c:v>
                </c:pt>
                <c:pt idx="1">
                  <c:v>0.0078858408940634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289.018032650738</c:v>
                </c:pt>
                <c:pt idx="1">
                  <c:v>4289.018032650738</c:v>
                </c:pt>
              </c:numCache>
            </c:numRef>
          </c:xVal>
          <c:yVal>
            <c:numRef>
              <c:f>Sheet1!$B$183:$B$184</c:f>
              <c:numCache>
                <c:formatCode>General</c:formatCode>
                <c:ptCount val="2"/>
                <c:pt idx="0">
                  <c:v>0.0078858408940634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pt idx="52">
                  <c:v>3648.7556598510387</c:v>
                </c:pt>
                <c:pt idx="53">
                  <c:v>3648.7556598510387</c:v>
                </c:pt>
                <c:pt idx="54">
                  <c:v>4289.018032650738</c:v>
                </c:pt>
              </c:numCache>
            </c:numRef>
          </c:xVal>
          <c:yVal>
            <c:numRef>
              <c:f>Sheet1!$B$187:$B$241</c:f>
              <c:numCache>
                <c:formatCode>General</c:formatCode>
                <c:ptCount val="55"/>
                <c:pt idx="0">
                  <c:v>0.007688503494393671</c:v>
                </c:pt>
                <c:pt idx="1">
                  <c:v>0.010505124706751561</c:v>
                </c:pt>
                <c:pt idx="2">
                  <c:v>0.007553522503388418</c:v>
                </c:pt>
                <c:pt idx="3">
                  <c:v>0.010207905308258297</c:v>
                </c:pt>
                <c:pt idx="4">
                  <c:v>0.00707552743106454</c:v>
                </c:pt>
                <c:pt idx="5">
                  <c:v>0.005738623004097321</c:v>
                </c:pt>
                <c:pt idx="6">
                  <c:v>0.006709851509849377</c:v>
                </c:pt>
                <c:pt idx="7">
                  <c:v>0.006865879271353365</c:v>
                </c:pt>
                <c:pt idx="8">
                  <c:v>0.008141812826791186</c:v>
                </c:pt>
                <c:pt idx="9">
                  <c:v>0.008785864257182988</c:v>
                </c:pt>
                <c:pt idx="10">
                  <c:v>0.008574041947474676</c:v>
                </c:pt>
                <c:pt idx="11">
                  <c:v>0.008841776556145386</c:v>
                </c:pt>
                <c:pt idx="12">
                  <c:v>0.010373240560683748</c:v>
                </c:pt>
                <c:pt idx="13">
                  <c:v>0.011881437015426034</c:v>
                </c:pt>
                <c:pt idx="14">
                  <c:v>0.011667575733590858</c:v>
                </c:pt>
                <c:pt idx="15">
                  <c:v>0.010484530570166874</c:v>
                </c:pt>
                <c:pt idx="16">
                  <c:v>0.009619721431540829</c:v>
                </c:pt>
                <c:pt idx="17">
                  <c:v>0.013847762105592428</c:v>
                </c:pt>
                <c:pt idx="18">
                  <c:v>0.007981559697084351</c:v>
                </c:pt>
                <c:pt idx="19">
                  <c:v>0.006400660627283908</c:v>
                </c:pt>
                <c:pt idx="20">
                  <c:v>0.007182928839512919</c:v>
                </c:pt>
                <c:pt idx="21">
                  <c:v>0.01109731022523153</c:v>
                </c:pt>
                <c:pt idx="22">
                  <c:v>0.009419142906219806</c:v>
                </c:pt>
                <c:pt idx="23">
                  <c:v>0.012947638572612934</c:v>
                </c:pt>
                <c:pt idx="24">
                  <c:v>0.008543938259667663</c:v>
                </c:pt>
                <c:pt idx="25">
                  <c:v>0.009854299781752125</c:v>
                </c:pt>
                <c:pt idx="26">
                  <c:v>0.009749989566204792</c:v>
                </c:pt>
                <c:pt idx="27">
                  <c:v>0.010914557751674315</c:v>
                </c:pt>
                <c:pt idx="28">
                  <c:v>0.010471460707023324</c:v>
                </c:pt>
                <c:pt idx="29">
                  <c:v>0.010521812815189314</c:v>
                </c:pt>
                <c:pt idx="30">
                  <c:v>0.010919083148808743</c:v>
                </c:pt>
                <c:pt idx="31">
                  <c:v>0.009379991250162131</c:v>
                </c:pt>
                <c:pt idx="32">
                  <c:v>0.00708880924557263</c:v>
                </c:pt>
                <c:pt idx="33">
                  <c:v>0.007624855441628622</c:v>
                </c:pt>
                <c:pt idx="34">
                  <c:v>0.00710341128158028</c:v>
                </c:pt>
                <c:pt idx="35">
                  <c:v>0.00853311602299429</c:v>
                </c:pt>
                <c:pt idx="36">
                  <c:v>0.008612272792604188</c:v>
                </c:pt>
                <c:pt idx="37">
                  <c:v>0.008380388579737698</c:v>
                </c:pt>
                <c:pt idx="38">
                  <c:v>0.010800300894090675</c:v>
                </c:pt>
                <c:pt idx="39">
                  <c:v>0.012389602186984483</c:v>
                </c:pt>
                <c:pt idx="40">
                  <c:v>0.012914269891785953</c:v>
                </c:pt>
                <c:pt idx="41">
                  <c:v>0.011453367793523902</c:v>
                </c:pt>
                <c:pt idx="42">
                  <c:v>0.012248451527259015</c:v>
                </c:pt>
                <c:pt idx="43">
                  <c:v>0.011103754488719586</c:v>
                </c:pt>
                <c:pt idx="44">
                  <c:v>0.008643707534980505</c:v>
                </c:pt>
                <c:pt idx="45">
                  <c:v>0.008190401499604212</c:v>
                </c:pt>
                <c:pt idx="46">
                  <c:v>0.007085959677227156</c:v>
                </c:pt>
                <c:pt idx="47">
                  <c:v>0.008998103404574891</c:v>
                </c:pt>
                <c:pt idx="48">
                  <c:v>0.010398203721396139</c:v>
                </c:pt>
                <c:pt idx="49">
                  <c:v>0.010077368230862884</c:v>
                </c:pt>
                <c:pt idx="50">
                  <c:v>0.009094921845890312</c:v>
                </c:pt>
                <c:pt idx="51">
                  <c:v>0.0074849557659569695</c:v>
                </c:pt>
                <c:pt idx="52">
                  <c:v>0.010901496084685141</c:v>
                </c:pt>
                <c:pt idx="53">
                  <c:v>0.010901496084685141</c:v>
                </c:pt>
                <c:pt idx="54">
                  <c:v>0.0078858408940634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2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895030190431955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856.3077</c:v>
                </c:pt>
                <c:pt idx="1">
                  <c:v>6230.0</c:v>
                </c:pt>
                <c:pt idx="2">
                  <c:v>6349.3333</c:v>
                </c:pt>
                <c:pt idx="3">
                  <c:v>5043.3333</c:v>
                </c:pt>
                <c:pt idx="4">
                  <c:v>5971.5</c:v>
                </c:pt>
                <c:pt idx="5">
                  <c:v>7694.0</c:v>
                </c:pt>
                <c:pt idx="6">
                  <c:v>5895.0</c:v>
                </c:pt>
                <c:pt idx="7">
                  <c:v>4277.0</c:v>
                </c:pt>
                <c:pt idx="8">
                  <c:v>7050.6667</c:v>
                </c:pt>
                <c:pt idx="9">
                  <c:v>5817.6</c:v>
                </c:pt>
                <c:pt idx="10">
                  <c:v>5290.25</c:v>
                </c:pt>
                <c:pt idx="11">
                  <c:v>4469.2857</c:v>
                </c:pt>
                <c:pt idx="12">
                  <c:v>7055.8</c:v>
                </c:pt>
                <c:pt idx="13">
                  <c:v>5252.6667</c:v>
                </c:pt>
                <c:pt idx="14">
                  <c:v>0.0</c:v>
                </c:pt>
                <c:pt idx="15">
                  <c:v>3753.0</c:v>
                </c:pt>
                <c:pt idx="16">
                  <c:v>2170.25</c:v>
                </c:pt>
                <c:pt idx="17">
                  <c:v>6580.0</c:v>
                </c:pt>
                <c:pt idx="18">
                  <c:v>0.0</c:v>
                </c:pt>
                <c:pt idx="19">
                  <c:v>3807.0</c:v>
                </c:pt>
                <c:pt idx="20">
                  <c:v>5072.3333</c:v>
                </c:pt>
                <c:pt idx="21">
                  <c:v>6718.0</c:v>
                </c:pt>
                <c:pt idx="22">
                  <c:v>5462.25</c:v>
                </c:pt>
                <c:pt idx="23">
                  <c:v>6538.6667</c:v>
                </c:pt>
                <c:pt idx="24">
                  <c:v>6316.5</c:v>
                </c:pt>
                <c:pt idx="25">
                  <c:v>4606.0</c:v>
                </c:pt>
                <c:pt idx="26">
                  <c:v>6402.0</c:v>
                </c:pt>
                <c:pt idx="27">
                  <c:v>15524.0</c:v>
                </c:pt>
                <c:pt idx="28">
                  <c:v>3345.4</c:v>
                </c:pt>
                <c:pt idx="29">
                  <c:v>7017.0</c:v>
                </c:pt>
                <c:pt idx="30">
                  <c:v>3873.25</c:v>
                </c:pt>
                <c:pt idx="31">
                  <c:v>5011.5</c:v>
                </c:pt>
                <c:pt idx="32">
                  <c:v>8655.5</c:v>
                </c:pt>
                <c:pt idx="33">
                  <c:v>3845.7778</c:v>
                </c:pt>
                <c:pt idx="34">
                  <c:v>3505.4167</c:v>
                </c:pt>
                <c:pt idx="35">
                  <c:v>3707.5</c:v>
                </c:pt>
                <c:pt idx="36">
                  <c:v>6482.5</c:v>
                </c:pt>
                <c:pt idx="37">
                  <c:v>4574.0</c:v>
                </c:pt>
                <c:pt idx="38">
                  <c:v>7663.0</c:v>
                </c:pt>
                <c:pt idx="39">
                  <c:v>5600.75</c:v>
                </c:pt>
                <c:pt idx="40">
                  <c:v>8541.5</c:v>
                </c:pt>
                <c:pt idx="41">
                  <c:v>5335.6667</c:v>
                </c:pt>
                <c:pt idx="42">
                  <c:v>10645.0</c:v>
                </c:pt>
                <c:pt idx="43">
                  <c:v>7240.0</c:v>
                </c:pt>
                <c:pt idx="44">
                  <c:v>4505.0</c:v>
                </c:pt>
                <c:pt idx="45">
                  <c:v>4392.2</c:v>
                </c:pt>
                <c:pt idx="46">
                  <c:v>4084.1818</c:v>
                </c:pt>
                <c:pt idx="47">
                  <c:v>3419.4286</c:v>
                </c:pt>
                <c:pt idx="48">
                  <c:v>4401.9</c:v>
                </c:pt>
                <c:pt idx="49">
                  <c:v>3402.25</c:v>
                </c:pt>
                <c:pt idx="50">
                  <c:v>4337.6</c:v>
                </c:pt>
                <c:pt idx="51">
                  <c:v>4108.2</c:v>
                </c:pt>
                <c:pt idx="52">
                  <c:v>4801.75</c:v>
                </c:pt>
                <c:pt idx="53">
                  <c:v>3999.4</c:v>
                </c:pt>
                <c:pt idx="54">
                  <c:v>4201.4444</c:v>
                </c:pt>
                <c:pt idx="55">
                  <c:v>4984.2</c:v>
                </c:pt>
                <c:pt idx="56">
                  <c:v>10395.0</c:v>
                </c:pt>
                <c:pt idx="57">
                  <c:v>4042.75</c:v>
                </c:pt>
                <c:pt idx="58">
                  <c:v>4289.0</c:v>
                </c:pt>
                <c:pt idx="59">
                  <c:v>3433.0</c:v>
                </c:pt>
                <c:pt idx="60">
                  <c:v>3007.3571</c:v>
                </c:pt>
                <c:pt idx="61">
                  <c:v>2989.9286</c:v>
                </c:pt>
                <c:pt idx="62">
                  <c:v>3040.0833</c:v>
                </c:pt>
                <c:pt idx="63">
                  <c:v>2470.9444</c:v>
                </c:pt>
                <c:pt idx="64">
                  <c:v>2609.3158</c:v>
                </c:pt>
                <c:pt idx="65">
                  <c:v>2489.9333</c:v>
                </c:pt>
                <c:pt idx="66">
                  <c:v>2358.7273</c:v>
                </c:pt>
                <c:pt idx="67">
                  <c:v>3155.3333</c:v>
                </c:pt>
                <c:pt idx="68">
                  <c:v>2346.9231</c:v>
                </c:pt>
                <c:pt idx="69">
                  <c:v>2135.0</c:v>
                </c:pt>
                <c:pt idx="70">
                  <c:v>2302.5</c:v>
                </c:pt>
                <c:pt idx="71">
                  <c:v>1857.8</c:v>
                </c:pt>
                <c:pt idx="72">
                  <c:v>2952.3636</c:v>
                </c:pt>
                <c:pt idx="73">
                  <c:v>2025.9474</c:v>
                </c:pt>
                <c:pt idx="74">
                  <c:v>2531.4762</c:v>
                </c:pt>
                <c:pt idx="75">
                  <c:v>3962.4444</c:v>
                </c:pt>
                <c:pt idx="76">
                  <c:v>3882.0</c:v>
                </c:pt>
                <c:pt idx="77">
                  <c:v>4467.6957</c:v>
                </c:pt>
                <c:pt idx="78">
                  <c:v>3018.5429</c:v>
                </c:pt>
                <c:pt idx="79">
                  <c:v>4773.4</c:v>
                </c:pt>
                <c:pt idx="80">
                  <c:v>4299.5</c:v>
                </c:pt>
                <c:pt idx="81">
                  <c:v>3470.475</c:v>
                </c:pt>
                <c:pt idx="82">
                  <c:v>4188.0</c:v>
                </c:pt>
                <c:pt idx="83">
                  <c:v>4291.4286</c:v>
                </c:pt>
                <c:pt idx="84">
                  <c:v>4199.35</c:v>
                </c:pt>
                <c:pt idx="85">
                  <c:v>3644.0476</c:v>
                </c:pt>
                <c:pt idx="86">
                  <c:v>4846.4231</c:v>
                </c:pt>
                <c:pt idx="87">
                  <c:v>4906.68</c:v>
                </c:pt>
                <c:pt idx="88">
                  <c:v>4199.0333</c:v>
                </c:pt>
                <c:pt idx="89">
                  <c:v>3929.7353</c:v>
                </c:pt>
                <c:pt idx="90">
                  <c:v>4177.2903</c:v>
                </c:pt>
                <c:pt idx="91">
                  <c:v>3942.625</c:v>
                </c:pt>
                <c:pt idx="92">
                  <c:v>4270.3235</c:v>
                </c:pt>
                <c:pt idx="93">
                  <c:v>4332.2286</c:v>
                </c:pt>
                <c:pt idx="94">
                  <c:v>5011.5517</c:v>
                </c:pt>
                <c:pt idx="95">
                  <c:v>4381.1064</c:v>
                </c:pt>
                <c:pt idx="96">
                  <c:v>3358.3295</c:v>
                </c:pt>
                <c:pt idx="97">
                  <c:v>3539.0348</c:v>
                </c:pt>
                <c:pt idx="98">
                  <c:v>3390.072</c:v>
                </c:pt>
                <c:pt idx="99">
                  <c:v>3491.0956</c:v>
                </c:pt>
                <c:pt idx="100">
                  <c:v>3928.0486</c:v>
                </c:pt>
                <c:pt idx="101">
                  <c:v>3765.3274</c:v>
                </c:pt>
                <c:pt idx="102">
                  <c:v>3902.8667</c:v>
                </c:pt>
                <c:pt idx="103">
                  <c:v>3989.4744</c:v>
                </c:pt>
                <c:pt idx="104">
                  <c:v>4479.7</c:v>
                </c:pt>
              </c:numCache>
            </c:numRef>
          </c:xVal>
          <c:yVal>
            <c:numRef>
              <c:f>Sheet1!$B$2:$B$106</c:f>
              <c:numCache>
                <c:formatCode>General</c:formatCode>
                <c:ptCount val="105"/>
                <c:pt idx="0">
                  <c:v>0.00031891666462232905</c:v>
                </c:pt>
                <c:pt idx="1">
                  <c:v>7.925395609330832e-05</c:v>
                </c:pt>
                <c:pt idx="2">
                  <c:v>7.552299675251114e-05</c:v>
                </c:pt>
                <c:pt idx="3">
                  <c:v>8.004482510205715e-05</c:v>
                </c:pt>
                <c:pt idx="4">
                  <c:v>6.23966555392631e-05</c:v>
                </c:pt>
                <c:pt idx="5">
                  <c:v>9.592939596457007e-05</c:v>
                </c:pt>
                <c:pt idx="6">
                  <c:v>0.00018364348677766894</c:v>
                </c:pt>
                <c:pt idx="7">
                  <c:v>0.00021239689900527452</c:v>
                </c:pt>
                <c:pt idx="8">
                  <c:v>0.00011040777270719859</c:v>
                </c:pt>
                <c:pt idx="9">
                  <c:v>0.00013936505281935503</c:v>
                </c:pt>
                <c:pt idx="10">
                  <c:v>0.00010755868670843529</c:v>
                </c:pt>
                <c:pt idx="11">
                  <c:v>0.00018949648077964268</c:v>
                </c:pt>
                <c:pt idx="12">
                  <c:v>0.0001240664003374606</c:v>
                </c:pt>
                <c:pt idx="13">
                  <c:v>0.0001557955961778147</c:v>
                </c:pt>
                <c:pt idx="14">
                  <c:v>0.0</c:v>
                </c:pt>
                <c:pt idx="15">
                  <c:v>0.0001552891483943102</c:v>
                </c:pt>
                <c:pt idx="16">
                  <c:v>0.00014245014245014244</c:v>
                </c:pt>
                <c:pt idx="17">
                  <c:v>7.810974419058778e-05</c:v>
                </c:pt>
                <c:pt idx="18">
                  <c:v>0.0</c:v>
                </c:pt>
                <c:pt idx="19">
                  <c:v>0.00015323322096230462</c:v>
                </c:pt>
                <c:pt idx="20">
                  <c:v>0.00012568077084206116</c:v>
                </c:pt>
                <c:pt idx="21">
                  <c:v>5.258176464402145e-05</c:v>
                </c:pt>
                <c:pt idx="22">
                  <c:v>0.00020876826722338206</c:v>
                </c:pt>
                <c:pt idx="23">
                  <c:v>0.00016326530612244898</c:v>
                </c:pt>
                <c:pt idx="24">
                  <c:v>0.00020263424518743666</c:v>
                </c:pt>
                <c:pt idx="25">
                  <c:v>0.00034784625195663515</c:v>
                </c:pt>
                <c:pt idx="26">
                  <c:v>0.00025718841623373286</c:v>
                </c:pt>
                <c:pt idx="27">
                  <c:v>5.061241016297196e-05</c:v>
                </c:pt>
                <c:pt idx="28">
                  <c:v>0.0002570694087403599</c:v>
                </c:pt>
                <c:pt idx="29">
                  <c:v>0.00017968644714972374</c:v>
                </c:pt>
                <c:pt idx="30">
                  <c:v>0.00023078698361412417</c:v>
                </c:pt>
                <c:pt idx="31">
                  <c:v>0.0002249212775528565</c:v>
                </c:pt>
                <c:pt idx="32">
                  <c:v>0.00011039355301650383</c:v>
                </c:pt>
                <c:pt idx="33">
                  <c:v>0.00039227651135422567</c:v>
                </c:pt>
                <c:pt idx="34">
                  <c:v>0.0004630165528417641</c:v>
                </c:pt>
                <c:pt idx="35">
                  <c:v>0.0004770504651242035</c:v>
                </c:pt>
                <c:pt idx="36">
                  <c:v>0.00016523463317911433</c:v>
                </c:pt>
                <c:pt idx="37">
                  <c:v>0.00019287333044023337</c:v>
                </c:pt>
                <c:pt idx="38">
                  <c:v>9.664637092877162e-05</c:v>
                </c:pt>
                <c:pt idx="39">
                  <c:v>0.00020469781485082646</c:v>
                </c:pt>
                <c:pt idx="40">
                  <c:v>8.289468230613006e-05</c:v>
                </c:pt>
                <c:pt idx="41">
                  <c:v>0.0001376399339328317</c:v>
                </c:pt>
                <c:pt idx="42">
                  <c:v>3.913894324853229e-05</c:v>
                </c:pt>
                <c:pt idx="43">
                  <c:v>0.00010425716768027802</c:v>
                </c:pt>
                <c:pt idx="44">
                  <c:v>0.00014063708599957808</c:v>
                </c:pt>
                <c:pt idx="45">
                  <c:v>0.0001060332944544587</c:v>
                </c:pt>
                <c:pt idx="46">
                  <c:v>0.00022583559168925022</c:v>
                </c:pt>
                <c:pt idx="47">
                  <c:v>0.000293581059827626</c:v>
                </c:pt>
                <c:pt idx="48">
                  <c:v>0.00015294027682190105</c:v>
                </c:pt>
                <c:pt idx="49">
                  <c:v>0.00016961550285696112</c:v>
                </c:pt>
                <c:pt idx="50">
                  <c:v>0.0002012477359629704</c:v>
                </c:pt>
                <c:pt idx="51">
                  <c:v>0.0002486139770777913</c:v>
                </c:pt>
                <c:pt idx="52">
                  <c:v>8.450228156160216e-05</c:v>
                </c:pt>
                <c:pt idx="53">
                  <c:v>0.0001316586354899018</c:v>
                </c:pt>
                <c:pt idx="54">
                  <c:v>0.0002624289254993439</c:v>
                </c:pt>
                <c:pt idx="55">
                  <c:v>0.00014956178397295924</c:v>
                </c:pt>
                <c:pt idx="56">
                  <c:v>6.046680372475511e-05</c:v>
                </c:pt>
                <c:pt idx="57">
                  <c:v>0.00010392849719393057</c:v>
                </c:pt>
                <c:pt idx="58">
                  <c:v>9.544716999140975e-05</c:v>
                </c:pt>
                <c:pt idx="59">
                  <c:v>0.0001570869790603057</c:v>
                </c:pt>
                <c:pt idx="60">
                  <c:v>0.0002410260824653525</c:v>
                </c:pt>
                <c:pt idx="61">
                  <c:v>0.00032864621235240263</c:v>
                </c:pt>
                <c:pt idx="62">
                  <c:v>0.00027110679348440006</c:v>
                </c:pt>
                <c:pt idx="63">
                  <c:v>0.00036864849366129393</c:v>
                </c:pt>
                <c:pt idx="64">
                  <c:v>0.0003807615230460922</c:v>
                </c:pt>
                <c:pt idx="65">
                  <c:v>0.00032711808963035657</c:v>
                </c:pt>
                <c:pt idx="66">
                  <c:v>0.0002484135407962783</c:v>
                </c:pt>
                <c:pt idx="67">
                  <c:v>0.0002141174791235458</c:v>
                </c:pt>
                <c:pt idx="68">
                  <c:v>0.0003691608689478915</c:v>
                </c:pt>
                <c:pt idx="69">
                  <c:v>0.00041263410608447746</c:v>
                </c:pt>
                <c:pt idx="70">
                  <c:v>0.0003591051100657162</c:v>
                </c:pt>
                <c:pt idx="71">
                  <c:v>0.0003860854793251226</c:v>
                </c:pt>
                <c:pt idx="72">
                  <c:v>0.00040169442009932807</c:v>
                </c:pt>
                <c:pt idx="73">
                  <c:v>0.0007383515330509462</c:v>
                </c:pt>
                <c:pt idx="74">
                  <c:v>0.0007898597058712905</c:v>
                </c:pt>
                <c:pt idx="75">
                  <c:v>0.0007884708046782601</c:v>
                </c:pt>
                <c:pt idx="76">
                  <c:v>0.0010745153001635132</c:v>
                </c:pt>
                <c:pt idx="77">
                  <c:v>0.0011077397293262053</c:v>
                </c:pt>
                <c:pt idx="78">
                  <c:v>0.0018812147272238647</c:v>
                </c:pt>
                <c:pt idx="79">
                  <c:v>0.0011912703707233393</c:v>
                </c:pt>
                <c:pt idx="80">
                  <c:v>0.0011436195558944058</c:v>
                </c:pt>
                <c:pt idx="81">
                  <c:v>0.0016303240269003464</c:v>
                </c:pt>
                <c:pt idx="82">
                  <c:v>0.0013089005235602095</c:v>
                </c:pt>
                <c:pt idx="83">
                  <c:v>0.001287395782246199</c:v>
                </c:pt>
                <c:pt idx="84">
                  <c:v>0.0012380068090374497</c:v>
                </c:pt>
                <c:pt idx="85">
                  <c:v>0.0011462256427050926</c:v>
                </c:pt>
                <c:pt idx="86">
                  <c:v>0.0010637427379101548</c:v>
                </c:pt>
                <c:pt idx="87">
                  <c:v>0.0009602827072290082</c:v>
                </c:pt>
                <c:pt idx="88">
                  <c:v>0.001459356910054969</c:v>
                </c:pt>
                <c:pt idx="89">
                  <c:v>0.0018212984786800943</c:v>
                </c:pt>
                <c:pt idx="90">
                  <c:v>0.0017051705170517053</c:v>
                </c:pt>
                <c:pt idx="91">
                  <c:v>0.0016994158258098779</c:v>
                </c:pt>
                <c:pt idx="92">
                  <c:v>0.0014476709529081156</c:v>
                </c:pt>
                <c:pt idx="93">
                  <c:v>0.0014341911162104573</c:v>
                </c:pt>
                <c:pt idx="94">
                  <c:v>0.0013409784518634976</c:v>
                </c:pt>
                <c:pt idx="95">
                  <c:v>0.0015918173812910655</c:v>
                </c:pt>
                <c:pt idx="96">
                  <c:v>0.0021358186495801174</c:v>
                </c:pt>
                <c:pt idx="97">
                  <c:v>0.0024340169746227274</c:v>
                </c:pt>
                <c:pt idx="98">
                  <c:v>0.002288203851504723</c:v>
                </c:pt>
                <c:pt idx="99">
                  <c:v>0.0021538071709109336</c:v>
                </c:pt>
                <c:pt idx="100">
                  <c:v>0.0016596553909986745</c:v>
                </c:pt>
                <c:pt idx="101">
                  <c:v>0.002235498931708475</c:v>
                </c:pt>
                <c:pt idx="102">
                  <c:v>0.0018664144933306789</c:v>
                </c:pt>
                <c:pt idx="103">
                  <c:v>0.001825415399017084</c:v>
                </c:pt>
                <c:pt idx="104">
                  <c:v>0.001356668023334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numCache>
            </c:numRef>
          </c:xVal>
          <c:yVal>
            <c:numRef>
              <c:f>Sheet1!$B$109:$B$160</c:f>
              <c:numCache>
                <c:formatCode>General</c:formatCode>
                <c:ptCount val="52"/>
                <c:pt idx="0">
                  <c:v>0.001457509881422925</c:v>
                </c:pt>
                <c:pt idx="1">
                  <c:v>0.0017574231455251286</c:v>
                </c:pt>
                <c:pt idx="2">
                  <c:v>0.0015984203845611396</c:v>
                </c:pt>
                <c:pt idx="3">
                  <c:v>0.0016922064491868007</c:v>
                </c:pt>
                <c:pt idx="4">
                  <c:v>0.0016828857832735787</c:v>
                </c:pt>
                <c:pt idx="5">
                  <c:v>0.0014700117600940808</c:v>
                </c:pt>
                <c:pt idx="6">
                  <c:v>0.0015873015873015873</c:v>
                </c:pt>
                <c:pt idx="7">
                  <c:v>0.0018249897737641987</c:v>
                </c:pt>
                <c:pt idx="8">
                  <c:v>0.002156697556866049</c:v>
                </c:pt>
                <c:pt idx="9">
                  <c:v>0.0022656734947237743</c:v>
                </c:pt>
                <c:pt idx="10">
                  <c:v>0.00216855301072394</c:v>
                </c:pt>
                <c:pt idx="11">
                  <c:v>0.002222671246716508</c:v>
                </c:pt>
                <c:pt idx="12">
                  <c:v>0.0022723829722769277</c:v>
                </c:pt>
                <c:pt idx="13">
                  <c:v>0.003267112820783053</c:v>
                </c:pt>
                <c:pt idx="14">
                  <c:v>0.003253449527959332</c:v>
                </c:pt>
                <c:pt idx="15">
                  <c:v>0.0030752982107355863</c:v>
                </c:pt>
                <c:pt idx="16">
                  <c:v>0.003027027027027027</c:v>
                </c:pt>
                <c:pt idx="17">
                  <c:v>0.0038471693131671256</c:v>
                </c:pt>
                <c:pt idx="18">
                  <c:v>0.0021012241914854742</c:v>
                </c:pt>
                <c:pt idx="19">
                  <c:v>0.0018450184501845018</c:v>
                </c:pt>
                <c:pt idx="20">
                  <c:v>0.0021869619840863617</c:v>
                </c:pt>
                <c:pt idx="21">
                  <c:v>0.0031607378886270906</c:v>
                </c:pt>
                <c:pt idx="22">
                  <c:v>0.0026081533140556784</c:v>
                </c:pt>
                <c:pt idx="23">
                  <c:v>0.002629118953026408</c:v>
                </c:pt>
                <c:pt idx="24">
                  <c:v>0.002383144667713806</c:v>
                </c:pt>
                <c:pt idx="25">
                  <c:v>0.0025560920193126954</c:v>
                </c:pt>
                <c:pt idx="26">
                  <c:v>0.00275974025974026</c:v>
                </c:pt>
                <c:pt idx="27">
                  <c:v>0.00279452860714811</c:v>
                </c:pt>
                <c:pt idx="28">
                  <c:v>0.002308341101788964</c:v>
                </c:pt>
                <c:pt idx="29">
                  <c:v>0.0026159841973199508</c:v>
                </c:pt>
                <c:pt idx="30">
                  <c:v>0.0025581136692247805</c:v>
                </c:pt>
                <c:pt idx="31">
                  <c:v>0.0026047976738551005</c:v>
                </c:pt>
                <c:pt idx="32">
                  <c:v>0.0022266991835436325</c:v>
                </c:pt>
                <c:pt idx="33">
                  <c:v>0.002169677647892313</c:v>
                </c:pt>
                <c:pt idx="34">
                  <c:v>0.0019911428473342718</c:v>
                </c:pt>
                <c:pt idx="35">
                  <c:v>0.0024312852845427948</c:v>
                </c:pt>
                <c:pt idx="36">
                  <c:v>0.0030529392659954533</c:v>
                </c:pt>
                <c:pt idx="37">
                  <c:v>0.0030101302460202603</c:v>
                </c:pt>
                <c:pt idx="38">
                  <c:v>0.0035083160083160085</c:v>
                </c:pt>
                <c:pt idx="39">
                  <c:v>0.0032721582017356666</c:v>
                </c:pt>
                <c:pt idx="40">
                  <c:v>0.0030994124994217515</c:v>
                </c:pt>
                <c:pt idx="41">
                  <c:v>0.0025199860966284324</c:v>
                </c:pt>
                <c:pt idx="42">
                  <c:v>0.002878750914857282</c:v>
                </c:pt>
                <c:pt idx="43">
                  <c:v>0.0021096292058497513</c:v>
                </c:pt>
                <c:pt idx="44">
                  <c:v>0.0015517493778363343</c:v>
                </c:pt>
                <c:pt idx="45">
                  <c:v>0.001299645351014384</c:v>
                </c:pt>
                <c:pt idx="46">
                  <c:v>0.0013464635530797053</c:v>
                </c:pt>
                <c:pt idx="47">
                  <c:v>0.0013384558185648779</c:v>
                </c:pt>
                <c:pt idx="48">
                  <c:v>0.0014958863126402393</c:v>
                </c:pt>
                <c:pt idx="49">
                  <c:v>0.0013139124558900817</c:v>
                </c:pt>
                <c:pt idx="50">
                  <c:v>0.0011037664479803555</c:v>
                </c:pt>
                <c:pt idx="51">
                  <c:v>0.001310869471784071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614.923680821968</c:v>
                </c:pt>
              </c:numCache>
            </c:numRef>
          </c:xVal>
          <c:yVal>
            <c:numRef>
              <c:f>Sheet1!$B$163:$B$164</c:f>
              <c:numCache>
                <c:formatCode>General</c:formatCode>
                <c:ptCount val="2"/>
                <c:pt idx="0">
                  <c:v>0.0026687138568074384</c:v>
                </c:pt>
                <c:pt idx="1">
                  <c:v>0.002668713856807438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614.923680821968</c:v>
                </c:pt>
                <c:pt idx="1">
                  <c:v>3614.923680821968</c:v>
                </c:pt>
              </c:numCache>
            </c:numRef>
          </c:xVal>
          <c:yVal>
            <c:numRef>
              <c:f>Sheet1!$B$167:$B$168</c:f>
              <c:numCache>
                <c:formatCode>General</c:formatCode>
                <c:ptCount val="2"/>
                <c:pt idx="0">
                  <c:v>0.002668713856807438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614.923680821968</c:v>
                </c:pt>
              </c:numCache>
            </c:numRef>
          </c:xVal>
          <c:yVal>
            <c:numRef>
              <c:f>Sheet1!$B$171:$B$172</c:f>
              <c:numCache>
                <c:formatCode>General</c:formatCode>
                <c:ptCount val="2"/>
                <c:pt idx="0">
                  <c:v>0.0026687138568074384</c:v>
                </c:pt>
                <c:pt idx="1">
                  <c:v>0.002668713856807438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614.923680821968</c:v>
                </c:pt>
                <c:pt idx="1">
                  <c:v>3614.923680821968</c:v>
                </c:pt>
              </c:numCache>
            </c:numRef>
          </c:xVal>
          <c:yVal>
            <c:numRef>
              <c:f>Sheet1!$B$175:$B$176</c:f>
              <c:numCache>
                <c:formatCode>General</c:formatCode>
                <c:ptCount val="2"/>
                <c:pt idx="0">
                  <c:v>0.00266871385680743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328.89008377117</c:v>
                </c:pt>
              </c:numCache>
            </c:numRef>
          </c:xVal>
          <c:yVal>
            <c:numRef>
              <c:f>Sheet1!$B$179:$B$180</c:f>
              <c:numCache>
                <c:formatCode>General</c:formatCode>
                <c:ptCount val="2"/>
                <c:pt idx="0">
                  <c:v>0.0018954373620986874</c:v>
                </c:pt>
                <c:pt idx="1">
                  <c:v>0.001895437362098687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328.89008377117</c:v>
                </c:pt>
                <c:pt idx="1">
                  <c:v>4328.89008377117</c:v>
                </c:pt>
              </c:numCache>
            </c:numRef>
          </c:xVal>
          <c:yVal>
            <c:numRef>
              <c:f>Sheet1!$B$183:$B$184</c:f>
              <c:numCache>
                <c:formatCode>General</c:formatCode>
                <c:ptCount val="2"/>
                <c:pt idx="0">
                  <c:v>0.001895437362098687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pt idx="52">
                  <c:v>3614.923680821968</c:v>
                </c:pt>
                <c:pt idx="53">
                  <c:v>3614.923680821968</c:v>
                </c:pt>
                <c:pt idx="54">
                  <c:v>4328.89008377117</c:v>
                </c:pt>
              </c:numCache>
            </c:numRef>
          </c:xVal>
          <c:yVal>
            <c:numRef>
              <c:f>Sheet1!$B$187:$B$241</c:f>
              <c:numCache>
                <c:formatCode>General</c:formatCode>
                <c:ptCount val="55"/>
                <c:pt idx="0">
                  <c:v>0.0018932439085972514</c:v>
                </c:pt>
                <c:pt idx="1">
                  <c:v>0.0025409258316968697</c:v>
                </c:pt>
                <c:pt idx="2">
                  <c:v>0.0018622050356907347</c:v>
                </c:pt>
                <c:pt idx="3">
                  <c:v>0.002472580244170218</c:v>
                </c:pt>
                <c:pt idx="4">
                  <c:v>0.001752290089969047</c:v>
                </c:pt>
                <c:pt idx="5">
                  <c:v>0.0014448689761680702</c:v>
                </c:pt>
                <c:pt idx="6">
                  <c:v>0.00166820292807283</c:v>
                </c:pt>
                <c:pt idx="7">
                  <c:v>0.001704081504923862</c:v>
                </c:pt>
                <c:pt idx="8">
                  <c:v>0.001997482369515624</c:v>
                </c:pt>
                <c:pt idx="9">
                  <c:v>0.0021455819674242897</c:v>
                </c:pt>
                <c:pt idx="10">
                  <c:v>0.0020968734366835044</c:v>
                </c:pt>
                <c:pt idx="11">
                  <c:v>0.002158438998095649</c:v>
                </c:pt>
                <c:pt idx="12">
                  <c:v>0.002510599078146631</c:v>
                </c:pt>
                <c:pt idx="13">
                  <c:v>0.0028574087861519795</c:v>
                </c:pt>
                <c:pt idx="14">
                  <c:v>0.0028082313938608797</c:v>
                </c:pt>
                <c:pt idx="15">
                  <c:v>0.002536190210900852</c:v>
                </c:pt>
                <c:pt idx="16">
                  <c:v>0.002337327387755902</c:v>
                </c:pt>
                <c:pt idx="17">
                  <c:v>0.0033095651535933316</c:v>
                </c:pt>
                <c:pt idx="18">
                  <c:v>0.0019606321694333895</c:v>
                </c:pt>
                <c:pt idx="19">
                  <c:v>0.0015971044983137108</c:v>
                </c:pt>
                <c:pt idx="20">
                  <c:v>0.001776987039087464</c:v>
                </c:pt>
                <c:pt idx="21">
                  <c:v>0.0026770988654573344</c:v>
                </c:pt>
                <c:pt idx="22">
                  <c:v>0.0022912043647372498</c:v>
                </c:pt>
                <c:pt idx="23">
                  <c:v>0.003102581787030052</c:v>
                </c:pt>
                <c:pt idx="24">
                  <c:v>0.0020899510950048673</c:v>
                </c:pt>
                <c:pt idx="25">
                  <c:v>0.002391268669003018</c:v>
                </c:pt>
                <c:pt idx="26">
                  <c:v>0.0023672825395553605</c:v>
                </c:pt>
                <c:pt idx="27">
                  <c:v>0.002635074942252672</c:v>
                </c:pt>
                <c:pt idx="28">
                  <c:v>0.0025331847964495504</c:v>
                </c:pt>
                <c:pt idx="29">
                  <c:v>0.002544763261493406</c:v>
                </c:pt>
                <c:pt idx="30">
                  <c:v>0.0026361155571234104</c:v>
                </c:pt>
                <c:pt idx="31">
                  <c:v>0.002282201443159896</c:v>
                </c:pt>
                <c:pt idx="32">
                  <c:v>0.0017553442426272428</c:v>
                </c:pt>
                <c:pt idx="33">
                  <c:v>0.001878608041681407</c:v>
                </c:pt>
                <c:pt idx="34">
                  <c:v>0.0017587019801608202</c:v>
                </c:pt>
                <c:pt idx="35">
                  <c:v>0.002087462522160889</c:v>
                </c:pt>
                <c:pt idx="36">
                  <c:v>0.0021056646178286877</c:v>
                </c:pt>
                <c:pt idx="37">
                  <c:v>0.0020523428533447503</c:v>
                </c:pt>
                <c:pt idx="38">
                  <c:v>0.00260880158290907</c:v>
                </c:pt>
                <c:pt idx="39">
                  <c:v>0.0029742613448571304</c:v>
                </c:pt>
                <c:pt idx="40">
                  <c:v>0.0030949086603510034</c:v>
                </c:pt>
                <c:pt idx="41">
                  <c:v>0.0027589742875247275</c:v>
                </c:pt>
                <c:pt idx="42">
                  <c:v>0.0029418037569015104</c:v>
                </c:pt>
                <c:pt idx="43">
                  <c:v>0.002678580723561147</c:v>
                </c:pt>
                <c:pt idx="44">
                  <c:v>0.0021128930354466155</c:v>
                </c:pt>
                <c:pt idx="45">
                  <c:v>0.002008655332678127</c:v>
                </c:pt>
                <c:pt idx="46">
                  <c:v>0.0017546889845123414</c:v>
                </c:pt>
                <c:pt idx="47">
                  <c:v>0.002194386349971964</c:v>
                </c:pt>
                <c:pt idx="48">
                  <c:v>0.0025163393558474117</c:v>
                </c:pt>
                <c:pt idx="49">
                  <c:v>0.0024425632490015685</c:v>
                </c:pt>
                <c:pt idx="50">
                  <c:v>0.0022166497462666286</c:v>
                </c:pt>
                <c:pt idx="51">
                  <c:v>0.0018464381174535856</c:v>
                </c:pt>
                <c:pt idx="52">
                  <c:v>0.002668713856807438</c:v>
                </c:pt>
                <c:pt idx="53">
                  <c:v>0.002668713856807438</c:v>
                </c:pt>
                <c:pt idx="54">
                  <c:v>0.001895437362098687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2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1660317580055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c:f>
              <c:numCache>
                <c:formatCode>General</c:formatCode>
                <c:ptCount val="9"/>
                <c:pt idx="0">
                  <c:v>0.07338230843074144</c:v>
                </c:pt>
                <c:pt idx="1">
                  <c:v>0.049098610133056594</c:v>
                </c:pt>
                <c:pt idx="2">
                  <c:v>0.10850404801837013</c:v>
                </c:pt>
                <c:pt idx="3">
                  <c:v>0.14036565428109854</c:v>
                </c:pt>
                <c:pt idx="4">
                  <c:v>0.14080755112837615</c:v>
                </c:pt>
                <c:pt idx="5">
                  <c:v>0.18121851388813393</c:v>
                </c:pt>
                <c:pt idx="6">
                  <c:v>0.16499372453137734</c:v>
                </c:pt>
                <c:pt idx="7">
                  <c:v>0.11794084119260234</c:v>
                </c:pt>
                <c:pt idx="8">
                  <c:v>0.1753281631352557</c:v>
                </c:pt>
              </c:numCache>
            </c:numRef>
          </c:xVal>
          <c:yVal>
            <c:numRef>
              <c:f>Sheet1!$B$2:$B$10</c:f>
              <c:numCache>
                <c:formatCode>General</c:formatCode>
                <c:ptCount val="9"/>
                <c:pt idx="0">
                  <c:v>0.983669548511047</c:v>
                </c:pt>
                <c:pt idx="1">
                  <c:v>0.9830508474576272</c:v>
                </c:pt>
                <c:pt idx="2">
                  <c:v>0.98</c:v>
                </c:pt>
                <c:pt idx="3">
                  <c:v>0.9832723470987977</c:v>
                </c:pt>
                <c:pt idx="4">
                  <c:v>0.984677923702314</c:v>
                </c:pt>
                <c:pt idx="5">
                  <c:v>0.9710873664362036</c:v>
                </c:pt>
                <c:pt idx="6">
                  <c:v>0.9651394422310757</c:v>
                </c:pt>
                <c:pt idx="7">
                  <c:v>0.9658580413297394</c:v>
                </c:pt>
                <c:pt idx="8">
                  <c:v>0.9702602230483272</c:v>
                </c:pt>
              </c:numCache>
            </c:numRef>
          </c:yVal>
          <c:smooth val="0"/>
          <c:extLst>
            <c:ext xmlns:c16="http://schemas.microsoft.com/office/drawing/2014/chart" uri="{C3380CC4-5D6E-409C-BE32-E72D297353CC}">
              <c16:uniqueId val="{00000000-096C-4121-9522-6AB7243CCAAE}"/>
            </c:ext>
          </c:extLst>
        </c:ser>
        <c:ser>
          <c:idx val="1"/>
          <c:order val="1"/>
          <c:tx>
            <c:strRef>
              <c:f>Sheet1!$B$1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3:$A$64</c:f>
              <c:numCache>
                <c:formatCode>General</c:formatCode>
                <c:ptCount val="52"/>
                <c:pt idx="0">
                  <c:v>0.21698577140923797</c:v>
                </c:pt>
                <c:pt idx="1">
                  <c:v>0.2203264281419122</c:v>
                </c:pt>
                <c:pt idx="2">
                  <c:v>0.19293902211564082</c:v>
                </c:pt>
                <c:pt idx="3">
                  <c:v>0.23156645389981656</c:v>
                </c:pt>
                <c:pt idx="4">
                  <c:v>0.21070689874977944</c:v>
                </c:pt>
                <c:pt idx="5">
                  <c:v>0.21565162718183345</c:v>
                </c:pt>
                <c:pt idx="6">
                  <c:v>0.19967717229519805</c:v>
                </c:pt>
                <c:pt idx="7">
                  <c:v>0.1322392550077219</c:v>
                </c:pt>
                <c:pt idx="8">
                  <c:v>0.14371754822641924</c:v>
                </c:pt>
                <c:pt idx="9">
                  <c:v>0.21823841959772136</c:v>
                </c:pt>
                <c:pt idx="10">
                  <c:v>0.0886478054422597</c:v>
                </c:pt>
                <c:pt idx="11">
                  <c:v>0.1258070395325826</c:v>
                </c:pt>
                <c:pt idx="12">
                  <c:v>0.16726951141828716</c:v>
                </c:pt>
                <c:pt idx="13">
                  <c:v>0.14364654730933896</c:v>
                </c:pt>
                <c:pt idx="14">
                  <c:v>0.19031589357218037</c:v>
                </c:pt>
                <c:pt idx="15">
                  <c:v>0.13887714620568414</c:v>
                </c:pt>
                <c:pt idx="16">
                  <c:v>0.1867338089993898</c:v>
                </c:pt>
                <c:pt idx="17">
                  <c:v>0.19453216010165184</c:v>
                </c:pt>
                <c:pt idx="18">
                  <c:v>0.2383278342466012</c:v>
                </c:pt>
                <c:pt idx="19">
                  <c:v>0.13792812241521918</c:v>
                </c:pt>
                <c:pt idx="20">
                  <c:v>0.2324252044628737</c:v>
                </c:pt>
                <c:pt idx="21">
                  <c:v>0.12797572094784107</c:v>
                </c:pt>
                <c:pt idx="22">
                  <c:v>0.12616104421627275</c:v>
                </c:pt>
                <c:pt idx="23">
                  <c:v>0.1559034851548458</c:v>
                </c:pt>
                <c:pt idx="24">
                  <c:v>0.1428431931979216</c:v>
                </c:pt>
                <c:pt idx="25">
                  <c:v>0.0953735027102524</c:v>
                </c:pt>
                <c:pt idx="26">
                  <c:v>0.05409589970501475</c:v>
                </c:pt>
                <c:pt idx="27">
                  <c:v>0.12583058152654214</c:v>
                </c:pt>
                <c:pt idx="28">
                  <c:v>0.22676716399987992</c:v>
                </c:pt>
                <c:pt idx="29">
                  <c:v>0.17718551980198022</c:v>
                </c:pt>
                <c:pt idx="30">
                  <c:v>0.14565594457406783</c:v>
                </c:pt>
                <c:pt idx="31">
                  <c:v>0.13966745429947405</c:v>
                </c:pt>
                <c:pt idx="32">
                  <c:v>0.1302629930606282</c:v>
                </c:pt>
                <c:pt idx="33">
                  <c:v>0.25844586043826734</c:v>
                </c:pt>
                <c:pt idx="34">
                  <c:v>0.18389426554577254</c:v>
                </c:pt>
                <c:pt idx="35">
                  <c:v>0.21179658167942175</c:v>
                </c:pt>
                <c:pt idx="36">
                  <c:v>0.14064601772969745</c:v>
                </c:pt>
                <c:pt idx="37">
                  <c:v>0.18030545812922114</c:v>
                </c:pt>
                <c:pt idx="38">
                  <c:v>0.0947980889209956</c:v>
                </c:pt>
                <c:pt idx="39">
                  <c:v>0.1939117875912907</c:v>
                </c:pt>
                <c:pt idx="40">
                  <c:v>0.20809971599873778</c:v>
                </c:pt>
                <c:pt idx="41">
                  <c:v>0.21810233643488217</c:v>
                </c:pt>
                <c:pt idx="42">
                  <c:v>0.1918095281632653</c:v>
                </c:pt>
                <c:pt idx="43">
                  <c:v>0.16507440475366011</c:v>
                </c:pt>
                <c:pt idx="44">
                  <c:v>0.21025914805779697</c:v>
                </c:pt>
                <c:pt idx="45">
                  <c:v>0.18765896386214706</c:v>
                </c:pt>
                <c:pt idx="46">
                  <c:v>0.21050979714500376</c:v>
                </c:pt>
                <c:pt idx="47">
                  <c:v>0.1742614257327372</c:v>
                </c:pt>
                <c:pt idx="48">
                  <c:v>0.21731074903956993</c:v>
                </c:pt>
                <c:pt idx="49">
                  <c:v>0.18591964345234333</c:v>
                </c:pt>
                <c:pt idx="50">
                  <c:v>0.16389239305390163</c:v>
                </c:pt>
                <c:pt idx="51">
                  <c:v>0.13967941695336322</c:v>
                </c:pt>
              </c:numCache>
            </c:numRef>
          </c:xVal>
          <c:yVal>
            <c:numRef>
              <c:f>Sheet1!$B$13:$B$64</c:f>
              <c:numCache>
                <c:formatCode>General</c:formatCode>
                <c:ptCount val="52"/>
                <c:pt idx="0">
                  <c:v>0.963963963963964</c:v>
                </c:pt>
                <c:pt idx="1">
                  <c:v>0.9608993157380255</c:v>
                </c:pt>
                <c:pt idx="2">
                  <c:v>0.9586709886547812</c:v>
                </c:pt>
                <c:pt idx="3">
                  <c:v>0.9610591900311527</c:v>
                </c:pt>
                <c:pt idx="4">
                  <c:v>0.9662731871838112</c:v>
                </c:pt>
                <c:pt idx="5">
                  <c:v>0.9595426561125769</c:v>
                </c:pt>
                <c:pt idx="6">
                  <c:v>0.9733750978856696</c:v>
                </c:pt>
                <c:pt idx="7">
                  <c:v>0.9765432098765432</c:v>
                </c:pt>
                <c:pt idx="8">
                  <c:v>0.9538653366583542</c:v>
                </c:pt>
                <c:pt idx="9">
                  <c:v>0.9523316062176166</c:v>
                </c:pt>
                <c:pt idx="10">
                  <c:v>0.9553398058252427</c:v>
                </c:pt>
                <c:pt idx="11">
                  <c:v>0.9700797872340425</c:v>
                </c:pt>
                <c:pt idx="12">
                  <c:v>0.9617977528089887</c:v>
                </c:pt>
                <c:pt idx="13">
                  <c:v>0.9629927594529365</c:v>
                </c:pt>
                <c:pt idx="14">
                  <c:v>0.9629941126997477</c:v>
                </c:pt>
                <c:pt idx="15">
                  <c:v>0.9543292102759277</c:v>
                </c:pt>
                <c:pt idx="16">
                  <c:v>0.9457459926017263</c:v>
                </c:pt>
                <c:pt idx="17">
                  <c:v>0.945619335347432</c:v>
                </c:pt>
                <c:pt idx="18">
                  <c:v>0.9314516129032258</c:v>
                </c:pt>
                <c:pt idx="19">
                  <c:v>0.9107142857142857</c:v>
                </c:pt>
                <c:pt idx="20">
                  <c:v>0.907843137254902</c:v>
                </c:pt>
                <c:pt idx="21">
                  <c:v>0.9308855291576674</c:v>
                </c:pt>
                <c:pt idx="22">
                  <c:v>0.9346846846846847</c:v>
                </c:pt>
                <c:pt idx="23">
                  <c:v>0.925</c:v>
                </c:pt>
                <c:pt idx="24">
                  <c:v>0.9355555555555556</c:v>
                </c:pt>
                <c:pt idx="25">
                  <c:v>0.9282608695652174</c:v>
                </c:pt>
                <c:pt idx="26">
                  <c:v>0.9397321428571429</c:v>
                </c:pt>
                <c:pt idx="27">
                  <c:v>0.9137577002053389</c:v>
                </c:pt>
                <c:pt idx="28">
                  <c:v>0.9238938053097345</c:v>
                </c:pt>
                <c:pt idx="29">
                  <c:v>0.9205298013245033</c:v>
                </c:pt>
                <c:pt idx="30">
                  <c:v>0.9149797570850202</c:v>
                </c:pt>
                <c:pt idx="31">
                  <c:v>0.9197396963123644</c:v>
                </c:pt>
                <c:pt idx="32">
                  <c:v>0.9285714285714286</c:v>
                </c:pt>
                <c:pt idx="33">
                  <c:v>0.9275167785234899</c:v>
                </c:pt>
                <c:pt idx="34">
                  <c:v>0.9421641791044776</c:v>
                </c:pt>
                <c:pt idx="35">
                  <c:v>0.9201349831271091</c:v>
                </c:pt>
                <c:pt idx="36">
                  <c:v>0.9016786570743405</c:v>
                </c:pt>
                <c:pt idx="37">
                  <c:v>0.8708240534521158</c:v>
                </c:pt>
                <c:pt idx="38">
                  <c:v>0.9156327543424317</c:v>
                </c:pt>
                <c:pt idx="39">
                  <c:v>0.9034690799396682</c:v>
                </c:pt>
                <c:pt idx="40">
                  <c:v>0.7283163265306123</c:v>
                </c:pt>
                <c:pt idx="41">
                  <c:v>0.83008356545961</c:v>
                </c:pt>
                <c:pt idx="42">
                  <c:v>0.863013698630137</c:v>
                </c:pt>
                <c:pt idx="43">
                  <c:v>0.8707571801566579</c:v>
                </c:pt>
                <c:pt idx="44">
                  <c:v>0.9010011123470523</c:v>
                </c:pt>
                <c:pt idx="45">
                  <c:v>0.9201581027667984</c:v>
                </c:pt>
                <c:pt idx="46">
                  <c:v>0.9165808444902163</c:v>
                </c:pt>
                <c:pt idx="47">
                  <c:v>0.931640625</c:v>
                </c:pt>
                <c:pt idx="48">
                  <c:v>0.9058728881737731</c:v>
                </c:pt>
                <c:pt idx="49">
                  <c:v>0.9117840684660962</c:v>
                </c:pt>
                <c:pt idx="50">
                  <c:v>0.9426535459789617</c:v>
                </c:pt>
                <c:pt idx="51">
                  <c:v>0.9189736664415935</c:v>
                </c:pt>
              </c:numCache>
            </c:numRef>
          </c:yVal>
          <c:smooth val="0"/>
          <c:extLst>
            <c:ext xmlns:c16="http://schemas.microsoft.com/office/drawing/2014/chart" uri="{C3380CC4-5D6E-409C-BE32-E72D297353CC}">
              <c16:uniqueId val="{00000002-096C-4121-9522-6AB7243CCAAE}"/>
            </c:ext>
          </c:extLst>
        </c:ser>
        <c:ser>
          <c:idx val="2"/>
          <c:order val="2"/>
          <c:tx>
            <c:strRef>
              <c:f>Sheet1!$B$6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67:$A$68</c:f>
              <c:numCache>
                <c:formatCode>General</c:formatCode>
                <c:ptCount val="2"/>
                <c:pt idx="0">
                  <c:v>0</c:v>
                </c:pt>
                <c:pt idx="1">
                  <c:v>-0.2722307078083542</c:v>
                </c:pt>
              </c:numCache>
            </c:numRef>
          </c:xVal>
          <c:yVal>
            <c:numRef>
              <c:f>Sheet1!$B$67:$B$68</c:f>
              <c:numCache>
                <c:formatCode>General</c:formatCode>
                <c:ptCount val="2"/>
                <c:pt idx="0">
                  <c:v>0.9829341333539572</c:v>
                </c:pt>
                <c:pt idx="1">
                  <c:v>0.9829341333539572</c:v>
                </c:pt>
              </c:numCache>
            </c:numRef>
          </c:yVal>
          <c:smooth val="0"/>
          <c:extLst>
            <c:ext xmlns:c16="http://schemas.microsoft.com/office/drawing/2014/chart" uri="{C3380CC4-5D6E-409C-BE32-E72D297353CC}">
              <c16:uniqueId val="{00000005-096C-4121-9522-6AB7243CCAAE}"/>
            </c:ext>
          </c:extLst>
        </c:ser>
        <c:ser>
          <c:idx val="3"/>
          <c:order val="3"/>
          <c:tx>
            <c:strRef>
              <c:f>Sheet1!$B$7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1:$A$72</c:f>
              <c:numCache>
                <c:formatCode>General</c:formatCode>
                <c:ptCount val="2"/>
                <c:pt idx="0">
                  <c:v>-0.2722307078083542</c:v>
                </c:pt>
                <c:pt idx="1">
                  <c:v>-0.2722307078083542</c:v>
                </c:pt>
              </c:numCache>
            </c:numRef>
          </c:xVal>
          <c:yVal>
            <c:numRef>
              <c:f>Sheet1!$B$71:$B$72</c:f>
              <c:numCache>
                <c:formatCode>General</c:formatCode>
                <c:ptCount val="2"/>
                <c:pt idx="0">
                  <c:v>0.982934133353957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7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75:$A$76</c:f>
              <c:numCache>
                <c:formatCode>General</c:formatCode>
                <c:ptCount val="2"/>
                <c:pt idx="0">
                  <c:v>0</c:v>
                </c:pt>
                <c:pt idx="1">
                  <c:v>-0.1214149719999551</c:v>
                </c:pt>
              </c:numCache>
            </c:numRef>
          </c:xVal>
          <c:yVal>
            <c:numRef>
              <c:f>Sheet1!$B$75:$B$76</c:f>
              <c:numCache>
                <c:formatCode>General</c:formatCode>
                <c:ptCount val="2"/>
                <c:pt idx="0">
                  <c:v>0.9637992162338753</c:v>
                </c:pt>
                <c:pt idx="1">
                  <c:v>0.9637992162338753</c:v>
                </c:pt>
              </c:numCache>
            </c:numRef>
          </c:yVal>
          <c:smooth val="0"/>
          <c:extLst>
            <c:ext xmlns:c16="http://schemas.microsoft.com/office/drawing/2014/chart" uri="{C3380CC4-5D6E-409C-BE32-E72D297353CC}">
              <c16:uniqueId val="{0000000D-096C-4121-9522-6AB7243CCAAE}"/>
            </c:ext>
          </c:extLst>
        </c:ser>
        <c:ser>
          <c:idx val="5"/>
          <c:order val="5"/>
          <c:tx>
            <c:strRef>
              <c:f>Sheet1!$B$7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9:$A$80</c:f>
              <c:numCache>
                <c:formatCode>General</c:formatCode>
                <c:ptCount val="2"/>
                <c:pt idx="0">
                  <c:v>-0.1214149719999551</c:v>
                </c:pt>
                <c:pt idx="1">
                  <c:v>-0.1214149719999551</c:v>
                </c:pt>
              </c:numCache>
            </c:numRef>
          </c:xVal>
          <c:yVal>
            <c:numRef>
              <c:f>Sheet1!$B$79:$B$80</c:f>
              <c:numCache>
                <c:formatCode>General</c:formatCode>
                <c:ptCount val="2"/>
                <c:pt idx="0">
                  <c:v>0.96379921623387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82</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83:$A$84</c:f>
              <c:numCache>
                <c:formatCode>General</c:formatCode>
                <c:ptCount val="2"/>
                <c:pt idx="0">
                  <c:v>0</c:v>
                </c:pt>
                <c:pt idx="1">
                  <c:v>0.4758272088071958</c:v>
                </c:pt>
              </c:numCache>
            </c:numRef>
          </c:xVal>
          <c:yVal>
            <c:numRef>
              <c:f>Sheet1!$B$83:$B$84</c:f>
              <c:numCache>
                <c:formatCode>General</c:formatCode>
                <c:ptCount val="2"/>
                <c:pt idx="0">
                  <c:v>0.888023438798552</c:v>
                </c:pt>
                <c:pt idx="1">
                  <c:v>0.888023438798552</c:v>
                </c:pt>
              </c:numCache>
            </c:numRef>
          </c:yVal>
          <c:smooth val="0"/>
          <c:extLst>
            <c:ext xmlns:c16="http://schemas.microsoft.com/office/drawing/2014/chart" uri="{C3380CC4-5D6E-409C-BE32-E72D297353CC}">
              <c16:uniqueId val="{00000015-096C-4121-9522-6AB7243CCAAE}"/>
            </c:ext>
          </c:extLst>
        </c:ser>
        <c:ser>
          <c:idx val="7"/>
          <c:order val="7"/>
          <c:tx>
            <c:strRef>
              <c:f>Sheet1!$B$86</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7:$A$88</c:f>
              <c:numCache>
                <c:formatCode>General</c:formatCode>
                <c:ptCount val="2"/>
                <c:pt idx="0">
                  <c:v>0.4758272088071958</c:v>
                </c:pt>
                <c:pt idx="1">
                  <c:v>0.4758272088071958</c:v>
                </c:pt>
              </c:numCache>
            </c:numRef>
          </c:xVal>
          <c:yVal>
            <c:numRef>
              <c:f>Sheet1!$B$87:$B$88</c:f>
              <c:numCache>
                <c:formatCode>General</c:formatCode>
                <c:ptCount val="2"/>
                <c:pt idx="0">
                  <c:v>0.88802343879855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90</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91:$A$145</c:f>
              <c:numCache>
                <c:formatCode>General</c:formatCode>
                <c:ptCount val="55"/>
                <c:pt idx="0">
                  <c:v>0.21698577140923797</c:v>
                </c:pt>
                <c:pt idx="1">
                  <c:v>0.2203264281419122</c:v>
                </c:pt>
                <c:pt idx="2">
                  <c:v>0.19293902211564082</c:v>
                </c:pt>
                <c:pt idx="3">
                  <c:v>0.23156645389981656</c:v>
                </c:pt>
                <c:pt idx="4">
                  <c:v>0.21070689874977944</c:v>
                </c:pt>
                <c:pt idx="5">
                  <c:v>0.21565162718183345</c:v>
                </c:pt>
                <c:pt idx="6">
                  <c:v>0.19967717229519805</c:v>
                </c:pt>
                <c:pt idx="7">
                  <c:v>0.1322392550077219</c:v>
                </c:pt>
                <c:pt idx="8">
                  <c:v>0.14371754822641924</c:v>
                </c:pt>
                <c:pt idx="9">
                  <c:v>0.21823841959772136</c:v>
                </c:pt>
                <c:pt idx="10">
                  <c:v>0.0886478054422597</c:v>
                </c:pt>
                <c:pt idx="11">
                  <c:v>0.1258070395325826</c:v>
                </c:pt>
                <c:pt idx="12">
                  <c:v>0.16726951141828716</c:v>
                </c:pt>
                <c:pt idx="13">
                  <c:v>0.14364654730933896</c:v>
                </c:pt>
                <c:pt idx="14">
                  <c:v>0.19031589357218037</c:v>
                </c:pt>
                <c:pt idx="15">
                  <c:v>0.13887714620568414</c:v>
                </c:pt>
                <c:pt idx="16">
                  <c:v>0.1867338089993898</c:v>
                </c:pt>
                <c:pt idx="17">
                  <c:v>0.19453216010165184</c:v>
                </c:pt>
                <c:pt idx="18">
                  <c:v>0.2383278342466012</c:v>
                </c:pt>
                <c:pt idx="19">
                  <c:v>0.13792812241521918</c:v>
                </c:pt>
                <c:pt idx="20">
                  <c:v>0.2324252044628737</c:v>
                </c:pt>
                <c:pt idx="21">
                  <c:v>0.12797572094784107</c:v>
                </c:pt>
                <c:pt idx="22">
                  <c:v>0.12616104421627275</c:v>
                </c:pt>
                <c:pt idx="23">
                  <c:v>0.1559034851548458</c:v>
                </c:pt>
                <c:pt idx="24">
                  <c:v>0.1428431931979216</c:v>
                </c:pt>
                <c:pt idx="25">
                  <c:v>0.0953735027102524</c:v>
                </c:pt>
                <c:pt idx="26">
                  <c:v>0.05409589970501475</c:v>
                </c:pt>
                <c:pt idx="27">
                  <c:v>0.12583058152654214</c:v>
                </c:pt>
                <c:pt idx="28">
                  <c:v>0.22676716399987992</c:v>
                </c:pt>
                <c:pt idx="29">
                  <c:v>0.17718551980198022</c:v>
                </c:pt>
                <c:pt idx="30">
                  <c:v>0.14565594457406783</c:v>
                </c:pt>
                <c:pt idx="31">
                  <c:v>0.13966745429947405</c:v>
                </c:pt>
                <c:pt idx="32">
                  <c:v>0.1302629930606282</c:v>
                </c:pt>
                <c:pt idx="33">
                  <c:v>0.25844586043826734</c:v>
                </c:pt>
                <c:pt idx="34">
                  <c:v>0.18389426554577254</c:v>
                </c:pt>
                <c:pt idx="35">
                  <c:v>0.21179658167942175</c:v>
                </c:pt>
                <c:pt idx="36">
                  <c:v>0.14064601772969745</c:v>
                </c:pt>
                <c:pt idx="37">
                  <c:v>0.18030545812922114</c:v>
                </c:pt>
                <c:pt idx="38">
                  <c:v>0.0947980889209956</c:v>
                </c:pt>
                <c:pt idx="39">
                  <c:v>0.1939117875912907</c:v>
                </c:pt>
                <c:pt idx="40">
                  <c:v>0.20809971599873778</c:v>
                </c:pt>
                <c:pt idx="41">
                  <c:v>0.21810233643488217</c:v>
                </c:pt>
                <c:pt idx="42">
                  <c:v>0.1918095281632653</c:v>
                </c:pt>
                <c:pt idx="43">
                  <c:v>0.16507440475366011</c:v>
                </c:pt>
                <c:pt idx="44">
                  <c:v>0.21025914805779697</c:v>
                </c:pt>
                <c:pt idx="45">
                  <c:v>0.18765896386214706</c:v>
                </c:pt>
                <c:pt idx="46">
                  <c:v>0.21050979714500376</c:v>
                </c:pt>
                <c:pt idx="47">
                  <c:v>0.1742614257327372</c:v>
                </c:pt>
                <c:pt idx="48">
                  <c:v>0.21731074903956993</c:v>
                </c:pt>
                <c:pt idx="49">
                  <c:v>0.18591964345234333</c:v>
                </c:pt>
                <c:pt idx="50">
                  <c:v>0.16389239305390163</c:v>
                </c:pt>
                <c:pt idx="51">
                  <c:v>0.13967941695336322</c:v>
                </c:pt>
                <c:pt idx="52">
                  <c:v>-0.1214149719999551</c:v>
                </c:pt>
                <c:pt idx="53">
                  <c:v>-0.2722307078083542</c:v>
                </c:pt>
                <c:pt idx="54">
                  <c:v>0.4758272088071958</c:v>
                </c:pt>
              </c:numCache>
            </c:numRef>
          </c:xVal>
          <c:yVal>
            <c:numRef>
              <c:f>Sheet1!$B$91:$B$145</c:f>
              <c:numCache>
                <c:formatCode>General</c:formatCode>
                <c:ptCount val="55"/>
                <c:pt idx="0">
                  <c:v>0.9208642390327205</c:v>
                </c:pt>
                <c:pt idx="1">
                  <c:v>0.9204403894300002</c:v>
                </c:pt>
                <c:pt idx="2">
                  <c:v>0.9239151975568691</c:v>
                </c:pt>
                <c:pt idx="3">
                  <c:v>0.9190142984445189</c:v>
                </c:pt>
                <c:pt idx="4">
                  <c:v>0.9216608781055752</c:v>
                </c:pt>
                <c:pt idx="5">
                  <c:v>0.9210335100910805</c:v>
                </c:pt>
                <c:pt idx="6">
                  <c:v>0.9230602871290057</c:v>
                </c:pt>
                <c:pt idx="7">
                  <c:v>0.9316165491870059</c:v>
                </c:pt>
                <c:pt idx="8">
                  <c:v>0.9301602277478505</c:v>
                </c:pt>
                <c:pt idx="9">
                  <c:v>0.9207053078765068</c:v>
                </c:pt>
                <c:pt idx="10">
                  <c:v>0.9371472636718594</c:v>
                </c:pt>
                <c:pt idx="11">
                  <c:v>0.9324326438030986</c:v>
                </c:pt>
                <c:pt idx="12">
                  <c:v>0.9271720457701811</c:v>
                </c:pt>
                <c:pt idx="13">
                  <c:v>0.9301692360695385</c:v>
                </c:pt>
                <c:pt idx="14">
                  <c:v>0.9242480099587408</c:v>
                </c:pt>
                <c:pt idx="15">
                  <c:v>0.9307743592308697</c:v>
                </c:pt>
                <c:pt idx="16">
                  <c:v>0.9247024909918377</c:v>
                </c:pt>
                <c:pt idx="17">
                  <c:v>0.9237130663723493</c:v>
                </c:pt>
                <c:pt idx="18">
                  <c:v>0.9181564406629049</c:v>
                </c:pt>
                <c:pt idx="19">
                  <c:v>0.9308947676980511</c:v>
                </c:pt>
                <c:pt idx="20">
                  <c:v>0.9189053434952038</c:v>
                </c:pt>
                <c:pt idx="21">
                  <c:v>0.9321574898947985</c:v>
                </c:pt>
                <c:pt idx="22">
                  <c:v>0.9323877290583193</c:v>
                </c:pt>
                <c:pt idx="23">
                  <c:v>0.9286141232123647</c:v>
                </c:pt>
                <c:pt idx="24">
                  <c:v>0.9302711625313739</c:v>
                </c:pt>
                <c:pt idx="25">
                  <c:v>0.9362939332212404</c:v>
                </c:pt>
                <c:pt idx="26">
                  <c:v>0.9415310758057802</c:v>
                </c:pt>
                <c:pt idx="27">
                  <c:v>0.9324296568859786</c:v>
                </c:pt>
                <c:pt idx="28">
                  <c:v>0.9196232137806958</c:v>
                </c:pt>
                <c:pt idx="29">
                  <c:v>0.9259139409871029</c:v>
                </c:pt>
                <c:pt idx="30">
                  <c:v>0.9299142915180578</c:v>
                </c:pt>
                <c:pt idx="31">
                  <c:v>0.9306740879972816</c:v>
                </c:pt>
                <c:pt idx="32">
                  <c:v>0.9318672896575709</c:v>
                </c:pt>
                <c:pt idx="33">
                  <c:v>0.9156039433274397</c:v>
                </c:pt>
                <c:pt idx="34">
                  <c:v>0.9250627612802966</c:v>
                </c:pt>
                <c:pt idx="35">
                  <c:v>0.9215226233509628</c:v>
                </c:pt>
                <c:pt idx="36">
                  <c:v>0.9305499316548834</c:v>
                </c:pt>
                <c:pt idx="37">
                  <c:v>0.9255180952818022</c:v>
                </c:pt>
                <c:pt idx="38">
                  <c:v>0.9363669394968003</c:v>
                </c:pt>
                <c:pt idx="39">
                  <c:v>0.9237917768365174</c:v>
                </c:pt>
                <c:pt idx="40">
                  <c:v>0.9219916673669919</c:v>
                </c:pt>
                <c:pt idx="41">
                  <c:v>0.9207225735817623</c:v>
                </c:pt>
                <c:pt idx="42">
                  <c:v>0.9240585033800346</c:v>
                </c:pt>
                <c:pt idx="43">
                  <c:v>0.9274505524118934</c:v>
                </c:pt>
                <c:pt idx="44">
                  <c:v>0.9217176869812247</c:v>
                </c:pt>
                <c:pt idx="45">
                  <c:v>0.9245851109218655</c:v>
                </c:pt>
                <c:pt idx="46">
                  <c:v>0.9216858855946902</c:v>
                </c:pt>
                <c:pt idx="47">
                  <c:v>0.9262849387305835</c:v>
                </c:pt>
                <c:pt idx="48">
                  <c:v>0.9208230071281786</c:v>
                </c:pt>
                <c:pt idx="49">
                  <c:v>0.924805789166801</c:v>
                </c:pt>
                <c:pt idx="50">
                  <c:v>0.927600521483679</c:v>
                </c:pt>
                <c:pt idx="51">
                  <c:v>0.9306725702220343</c:v>
                </c:pt>
                <c:pt idx="52">
                  <c:v>0.9637992162338753</c:v>
                </c:pt>
                <c:pt idx="53">
                  <c:v>0.9829341333539572</c:v>
                </c:pt>
                <c:pt idx="54">
                  <c:v>0.88802343879855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Mustel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816135084427768"/>
          <c:min val="0.582653061224489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c:f>
              <c:numCache>
                <c:formatCode>General</c:formatCode>
                <c:ptCount val="9"/>
                <c:pt idx="0">
                  <c:v>1299.5273</c:v>
                </c:pt>
                <c:pt idx="1">
                  <c:v>1324.7296</c:v>
                </c:pt>
                <c:pt idx="2">
                  <c:v>1327.8002</c:v>
                </c:pt>
                <c:pt idx="3">
                  <c:v>1303.2951</c:v>
                </c:pt>
                <c:pt idx="4">
                  <c:v>1242.4389</c:v>
                </c:pt>
                <c:pt idx="5">
                  <c:v>1333.5508</c:v>
                </c:pt>
                <c:pt idx="6">
                  <c:v>1417.1311</c:v>
                </c:pt>
                <c:pt idx="7">
                  <c:v>1333.2819</c:v>
                </c:pt>
                <c:pt idx="8">
                  <c:v>1375.6686</c:v>
                </c:pt>
              </c:numCache>
            </c:numRef>
          </c:xVal>
          <c:yVal>
            <c:numRef>
              <c:f>Sheet1!$B$2:$B$10</c:f>
              <c:numCache>
                <c:formatCode>General</c:formatCode>
                <c:ptCount val="9"/>
                <c:pt idx="0">
                  <c:v>0.983669548511047</c:v>
                </c:pt>
                <c:pt idx="1">
                  <c:v>0.9830508474576272</c:v>
                </c:pt>
                <c:pt idx="2">
                  <c:v>0.98</c:v>
                </c:pt>
                <c:pt idx="3">
                  <c:v>0.9832723470987977</c:v>
                </c:pt>
                <c:pt idx="4">
                  <c:v>0.984677923702314</c:v>
                </c:pt>
                <c:pt idx="5">
                  <c:v>0.9710873664362036</c:v>
                </c:pt>
                <c:pt idx="6">
                  <c:v>0.9651394422310757</c:v>
                </c:pt>
                <c:pt idx="7">
                  <c:v>0.9658580413297394</c:v>
                </c:pt>
                <c:pt idx="8">
                  <c:v>0.9702602230483272</c:v>
                </c:pt>
              </c:numCache>
            </c:numRef>
          </c:yVal>
          <c:smooth val="0"/>
          <c:extLst>
            <c:ext xmlns:c16="http://schemas.microsoft.com/office/drawing/2014/chart" uri="{C3380CC4-5D6E-409C-BE32-E72D297353CC}">
              <c16:uniqueId val="{00000000-F32D-48B7-BC20-E66FC6253BAD}"/>
            </c:ext>
          </c:extLst>
        </c:ser>
        <c:ser>
          <c:idx val="1"/>
          <c:order val="1"/>
          <c:tx>
            <c:strRef>
              <c:f>Sheet1!$B$1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3:$A$64</c:f>
              <c:numCache>
                <c:formatCode>General</c:formatCode>
                <c:ptCount val="52"/>
                <c:pt idx="0">
                  <c:v>1437.6754</c:v>
                </c:pt>
                <c:pt idx="1">
                  <c:v>1465.6114</c:v>
                </c:pt>
                <c:pt idx="2">
                  <c:v>1448.2003</c:v>
                </c:pt>
                <c:pt idx="3">
                  <c:v>1464.4797</c:v>
                </c:pt>
                <c:pt idx="4">
                  <c:v>1472.1213</c:v>
                </c:pt>
                <c:pt idx="5">
                  <c:v>1486.6544</c:v>
                </c:pt>
                <c:pt idx="6">
                  <c:v>1381.786</c:v>
                </c:pt>
                <c:pt idx="7">
                  <c:v>1434.2339</c:v>
                </c:pt>
                <c:pt idx="8">
                  <c:v>1524.1725</c:v>
                </c:pt>
                <c:pt idx="9">
                  <c:v>1428.9597</c:v>
                </c:pt>
                <c:pt idx="10">
                  <c:v>1456.2175</c:v>
                </c:pt>
                <c:pt idx="11">
                  <c:v>1335.0014</c:v>
                </c:pt>
                <c:pt idx="12">
                  <c:v>1366.6636</c:v>
                </c:pt>
                <c:pt idx="13">
                  <c:v>1402.4787</c:v>
                </c:pt>
                <c:pt idx="14">
                  <c:v>1406.5432</c:v>
                </c:pt>
                <c:pt idx="15">
                  <c:v>1421.9631</c:v>
                </c:pt>
                <c:pt idx="16">
                  <c:v>1542.2034</c:v>
                </c:pt>
                <c:pt idx="17">
                  <c:v>1530.9681</c:v>
                </c:pt>
                <c:pt idx="18">
                  <c:v>1559.5152</c:v>
                </c:pt>
                <c:pt idx="19">
                  <c:v>1667.551</c:v>
                </c:pt>
                <c:pt idx="20">
                  <c:v>1622.8186</c:v>
                </c:pt>
                <c:pt idx="21">
                  <c:v>1481.4896</c:v>
                </c:pt>
                <c:pt idx="22">
                  <c:v>1530.6699</c:v>
                </c:pt>
                <c:pt idx="23">
                  <c:v>1513.7189</c:v>
                </c:pt>
                <c:pt idx="24">
                  <c:v>1511.9952</c:v>
                </c:pt>
                <c:pt idx="25">
                  <c:v>1433.9883</c:v>
                </c:pt>
                <c:pt idx="26">
                  <c:v>1467.0808</c:v>
                </c:pt>
                <c:pt idx="27">
                  <c:v>1532.1551</c:v>
                </c:pt>
                <c:pt idx="28">
                  <c:v>1510.7682</c:v>
                </c:pt>
                <c:pt idx="29">
                  <c:v>1574.8249</c:v>
                </c:pt>
                <c:pt idx="30">
                  <c:v>1452.8695</c:v>
                </c:pt>
                <c:pt idx="31">
                  <c:v>1279.5401</c:v>
                </c:pt>
                <c:pt idx="32">
                  <c:v>1426.6403</c:v>
                </c:pt>
                <c:pt idx="33">
                  <c:v>1455.0825</c:v>
                </c:pt>
                <c:pt idx="34">
                  <c:v>1472.599</c:v>
                </c:pt>
                <c:pt idx="35">
                  <c:v>1464.3313</c:v>
                </c:pt>
                <c:pt idx="36">
                  <c:v>1501.7713</c:v>
                </c:pt>
                <c:pt idx="37">
                  <c:v>1555.0895</c:v>
                </c:pt>
                <c:pt idx="38">
                  <c:v>1443.4905</c:v>
                </c:pt>
                <c:pt idx="39">
                  <c:v>1420.5008</c:v>
                </c:pt>
                <c:pt idx="40">
                  <c:v>1401.3695</c:v>
                </c:pt>
                <c:pt idx="41">
                  <c:v>1486.1057</c:v>
                </c:pt>
                <c:pt idx="42">
                  <c:v>1468.5417</c:v>
                </c:pt>
                <c:pt idx="43">
                  <c:v>1489.7346</c:v>
                </c:pt>
                <c:pt idx="44">
                  <c:v>1456.6123</c:v>
                </c:pt>
                <c:pt idx="45">
                  <c:v>1408.5369</c:v>
                </c:pt>
                <c:pt idx="46">
                  <c:v>1400.9427</c:v>
                </c:pt>
                <c:pt idx="47">
                  <c:v>1403.153</c:v>
                </c:pt>
                <c:pt idx="48">
                  <c:v>1373.6714</c:v>
                </c:pt>
                <c:pt idx="49">
                  <c:v>1383.8874</c:v>
                </c:pt>
                <c:pt idx="50">
                  <c:v>1252.4165</c:v>
                </c:pt>
                <c:pt idx="51">
                  <c:v>1239.8707</c:v>
                </c:pt>
              </c:numCache>
            </c:numRef>
          </c:xVal>
          <c:yVal>
            <c:numRef>
              <c:f>Sheet1!$B$13:$B$64</c:f>
              <c:numCache>
                <c:formatCode>General</c:formatCode>
                <c:ptCount val="52"/>
                <c:pt idx="0">
                  <c:v>0.963963963963964</c:v>
                </c:pt>
                <c:pt idx="1">
                  <c:v>0.9608993157380255</c:v>
                </c:pt>
                <c:pt idx="2">
                  <c:v>0.9586709886547812</c:v>
                </c:pt>
                <c:pt idx="3">
                  <c:v>0.9610591900311527</c:v>
                </c:pt>
                <c:pt idx="4">
                  <c:v>0.9662731871838112</c:v>
                </c:pt>
                <c:pt idx="5">
                  <c:v>0.9595426561125769</c:v>
                </c:pt>
                <c:pt idx="6">
                  <c:v>0.9733750978856696</c:v>
                </c:pt>
                <c:pt idx="7">
                  <c:v>0.9765432098765432</c:v>
                </c:pt>
                <c:pt idx="8">
                  <c:v>0.9538653366583542</c:v>
                </c:pt>
                <c:pt idx="9">
                  <c:v>0.9523316062176166</c:v>
                </c:pt>
                <c:pt idx="10">
                  <c:v>0.9553398058252427</c:v>
                </c:pt>
                <c:pt idx="11">
                  <c:v>0.9700797872340425</c:v>
                </c:pt>
                <c:pt idx="12">
                  <c:v>0.9617977528089887</c:v>
                </c:pt>
                <c:pt idx="13">
                  <c:v>0.9629927594529365</c:v>
                </c:pt>
                <c:pt idx="14">
                  <c:v>0.9629941126997477</c:v>
                </c:pt>
                <c:pt idx="15">
                  <c:v>0.9543292102759277</c:v>
                </c:pt>
                <c:pt idx="16">
                  <c:v>0.9457459926017263</c:v>
                </c:pt>
                <c:pt idx="17">
                  <c:v>0.945619335347432</c:v>
                </c:pt>
                <c:pt idx="18">
                  <c:v>0.9314516129032258</c:v>
                </c:pt>
                <c:pt idx="19">
                  <c:v>0.9107142857142857</c:v>
                </c:pt>
                <c:pt idx="20">
                  <c:v>0.907843137254902</c:v>
                </c:pt>
                <c:pt idx="21">
                  <c:v>0.9308855291576674</c:v>
                </c:pt>
                <c:pt idx="22">
                  <c:v>0.9346846846846847</c:v>
                </c:pt>
                <c:pt idx="23">
                  <c:v>0.925</c:v>
                </c:pt>
                <c:pt idx="24">
                  <c:v>0.9355555555555556</c:v>
                </c:pt>
                <c:pt idx="25">
                  <c:v>0.9282608695652174</c:v>
                </c:pt>
                <c:pt idx="26">
                  <c:v>0.9397321428571429</c:v>
                </c:pt>
                <c:pt idx="27">
                  <c:v>0.9137577002053389</c:v>
                </c:pt>
                <c:pt idx="28">
                  <c:v>0.9238938053097345</c:v>
                </c:pt>
                <c:pt idx="29">
                  <c:v>0.9205298013245033</c:v>
                </c:pt>
                <c:pt idx="30">
                  <c:v>0.9149797570850202</c:v>
                </c:pt>
                <c:pt idx="31">
                  <c:v>0.9197396963123644</c:v>
                </c:pt>
                <c:pt idx="32">
                  <c:v>0.9285714285714286</c:v>
                </c:pt>
                <c:pt idx="33">
                  <c:v>0.9275167785234899</c:v>
                </c:pt>
                <c:pt idx="34">
                  <c:v>0.9421641791044776</c:v>
                </c:pt>
                <c:pt idx="35">
                  <c:v>0.9201349831271091</c:v>
                </c:pt>
                <c:pt idx="36">
                  <c:v>0.9016786570743405</c:v>
                </c:pt>
                <c:pt idx="37">
                  <c:v>0.8708240534521158</c:v>
                </c:pt>
                <c:pt idx="38">
                  <c:v>0.9156327543424317</c:v>
                </c:pt>
                <c:pt idx="39">
                  <c:v>0.9034690799396682</c:v>
                </c:pt>
                <c:pt idx="40">
                  <c:v>0.7283163265306123</c:v>
                </c:pt>
                <c:pt idx="41">
                  <c:v>0.83008356545961</c:v>
                </c:pt>
                <c:pt idx="42">
                  <c:v>0.863013698630137</c:v>
                </c:pt>
                <c:pt idx="43">
                  <c:v>0.8707571801566579</c:v>
                </c:pt>
                <c:pt idx="44">
                  <c:v>0.9010011123470523</c:v>
                </c:pt>
                <c:pt idx="45">
                  <c:v>0.9201581027667984</c:v>
                </c:pt>
                <c:pt idx="46">
                  <c:v>0.9165808444902163</c:v>
                </c:pt>
                <c:pt idx="47">
                  <c:v>0.931640625</c:v>
                </c:pt>
                <c:pt idx="48">
                  <c:v>0.9058728881737731</c:v>
                </c:pt>
                <c:pt idx="49">
                  <c:v>0.9117840684660962</c:v>
                </c:pt>
                <c:pt idx="50">
                  <c:v>0.9426535459789617</c:v>
                </c:pt>
                <c:pt idx="51">
                  <c:v>0.9189736664415935</c:v>
                </c:pt>
              </c:numCache>
            </c:numRef>
          </c:yVal>
          <c:smooth val="0"/>
          <c:extLst>
            <c:ext xmlns:c16="http://schemas.microsoft.com/office/drawing/2014/chart" uri="{C3380CC4-5D6E-409C-BE32-E72D297353CC}">
              <c16:uniqueId val="{00000002-F32D-48B7-BC20-E66FC6253BAD}"/>
            </c:ext>
          </c:extLst>
        </c:ser>
        <c:ser>
          <c:idx val="2"/>
          <c:order val="2"/>
          <c:tx>
            <c:strRef>
              <c:f>Sheet1!$B$66</c:f>
              <c:strCache>
                <c:ptCount val="1"/>
                <c:pt idx="0">
                  <c:v>Custom Linep3yQ</c:v>
                </c:pt>
              </c:strCache>
            </c:strRef>
          </c:tx>
          <c:spPr>
            <a:ln w="19050" cap="rnd">
              <a:solidFill>
                <a:srgbClr val="C00000"/>
              </a:solidFill>
              <a:prstDash val="sysDot"/>
              <a:round/>
            </a:ln>
            <a:effectLst/>
          </c:spPr>
          <c:marker>
            <c:symbol val="none"/>
          </c:marker>
          <c:xVal>
            <c:numRef>
              <c:f>Sheet1!$A$67:$A$68</c:f>
              <c:numCache>
                <c:formatCode>General</c:formatCode>
                <c:ptCount val="2"/>
                <c:pt idx="0">
                  <c:v>0</c:v>
                </c:pt>
                <c:pt idx="1">
                  <c:v>277.80994601489</c:v>
                </c:pt>
              </c:numCache>
            </c:numRef>
          </c:xVal>
          <c:yVal>
            <c:numRef>
              <c:f>Sheet1!$B$67:$B$68</c:f>
              <c:numCache>
                <c:formatCode>General</c:formatCode>
                <c:ptCount val="2"/>
                <c:pt idx="0">
                  <c:v>0.9829341333539572</c:v>
                </c:pt>
                <c:pt idx="1">
                  <c:v>0.9829341333539572</c:v>
                </c:pt>
              </c:numCache>
            </c:numRef>
          </c:yVal>
          <c:smooth val="0"/>
          <c:extLst>
            <c:ext xmlns:c16="http://schemas.microsoft.com/office/drawing/2014/chart" uri="{C3380CC4-5D6E-409C-BE32-E72D297353CC}">
              <c16:uniqueId val="{00000003-F32D-48B7-BC20-E66FC6253BAD}"/>
            </c:ext>
          </c:extLst>
        </c:ser>
        <c:ser>
          <c:idx val="3"/>
          <c:order val="3"/>
          <c:tx>
            <c:strRef>
              <c:f>Sheet1!$B$7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1:$A$72</c:f>
              <c:numCache>
                <c:formatCode>General</c:formatCode>
                <c:ptCount val="2"/>
                <c:pt idx="0">
                  <c:v>277.80994601489</c:v>
                </c:pt>
                <c:pt idx="1">
                  <c:v>277.80994601489</c:v>
                </c:pt>
              </c:numCache>
            </c:numRef>
          </c:xVal>
          <c:yVal>
            <c:numRef>
              <c:f>Sheet1!$B$71:$B$72</c:f>
              <c:numCache>
                <c:formatCode>General</c:formatCode>
                <c:ptCount val="2"/>
                <c:pt idx="0">
                  <c:v>0.982934133353957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7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75:$A$76</c:f>
              <c:numCache>
                <c:formatCode>General</c:formatCode>
                <c:ptCount val="2"/>
                <c:pt idx="0">
                  <c:v>0</c:v>
                </c:pt>
                <c:pt idx="1">
                  <c:v>676.2446000889545</c:v>
                </c:pt>
              </c:numCache>
            </c:numRef>
          </c:xVal>
          <c:yVal>
            <c:numRef>
              <c:f>Sheet1!$B$75:$B$76</c:f>
              <c:numCache>
                <c:formatCode>General</c:formatCode>
                <c:ptCount val="2"/>
                <c:pt idx="0">
                  <c:v>0.9637992162338753</c:v>
                </c:pt>
                <c:pt idx="1">
                  <c:v>0.9637992162338753</c:v>
                </c:pt>
              </c:numCache>
            </c:numRef>
          </c:yVal>
          <c:smooth val="0"/>
          <c:extLst>
            <c:ext xmlns:c16="http://schemas.microsoft.com/office/drawing/2014/chart" uri="{C3380CC4-5D6E-409C-BE32-E72D297353CC}">
              <c16:uniqueId val="{0000000A-F32D-48B7-BC20-E66FC6253BAD}"/>
            </c:ext>
          </c:extLst>
        </c:ser>
        <c:ser>
          <c:idx val="5"/>
          <c:order val="5"/>
          <c:tx>
            <c:strRef>
              <c:f>Sheet1!$B$7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9:$A$80</c:f>
              <c:numCache>
                <c:formatCode>General</c:formatCode>
                <c:ptCount val="2"/>
                <c:pt idx="0">
                  <c:v>676.2446000889545</c:v>
                </c:pt>
                <c:pt idx="1">
                  <c:v>676.2446000889545</c:v>
                </c:pt>
              </c:numCache>
            </c:numRef>
          </c:xVal>
          <c:yVal>
            <c:numRef>
              <c:f>Sheet1!$B$79:$B$80</c:f>
              <c:numCache>
                <c:formatCode>General</c:formatCode>
                <c:ptCount val="2"/>
                <c:pt idx="0">
                  <c:v>0.96379921623387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82</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83:$A$84</c:f>
              <c:numCache>
                <c:formatCode>General</c:formatCode>
                <c:ptCount val="2"/>
                <c:pt idx="0">
                  <c:v>0</c:v>
                </c:pt>
                <c:pt idx="1">
                  <c:v>2254.0771812371922</c:v>
                </c:pt>
              </c:numCache>
            </c:numRef>
          </c:xVal>
          <c:yVal>
            <c:numRef>
              <c:f>Sheet1!$B$83:$B$84</c:f>
              <c:numCache>
                <c:formatCode>General</c:formatCode>
                <c:ptCount val="2"/>
                <c:pt idx="0">
                  <c:v>0.888023438798552</c:v>
                </c:pt>
                <c:pt idx="1">
                  <c:v>0.888023438798552</c:v>
                </c:pt>
              </c:numCache>
            </c:numRef>
          </c:yVal>
          <c:smooth val="0"/>
          <c:extLst>
            <c:ext xmlns:c16="http://schemas.microsoft.com/office/drawing/2014/chart" uri="{C3380CC4-5D6E-409C-BE32-E72D297353CC}">
              <c16:uniqueId val="{00000011-F32D-48B7-BC20-E66FC6253BAD}"/>
            </c:ext>
          </c:extLst>
        </c:ser>
        <c:ser>
          <c:idx val="7"/>
          <c:order val="7"/>
          <c:tx>
            <c:strRef>
              <c:f>Sheet1!$B$86</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7:$A$88</c:f>
              <c:numCache>
                <c:formatCode>General</c:formatCode>
                <c:ptCount val="2"/>
                <c:pt idx="0">
                  <c:v>2254.0771812371922</c:v>
                </c:pt>
                <c:pt idx="1">
                  <c:v>2254.0771812371922</c:v>
                </c:pt>
              </c:numCache>
            </c:numRef>
          </c:xVal>
          <c:yVal>
            <c:numRef>
              <c:f>Sheet1!$B$87:$B$88</c:f>
              <c:numCache>
                <c:formatCode>General</c:formatCode>
                <c:ptCount val="2"/>
                <c:pt idx="0">
                  <c:v>0.88802343879855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90</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91:$A$145</c:f>
              <c:numCache>
                <c:formatCode>General</c:formatCode>
                <c:ptCount val="55"/>
                <c:pt idx="0">
                  <c:v>1437.6754</c:v>
                </c:pt>
                <c:pt idx="1">
                  <c:v>1465.6114</c:v>
                </c:pt>
                <c:pt idx="2">
                  <c:v>1448.2003</c:v>
                </c:pt>
                <c:pt idx="3">
                  <c:v>1464.4797</c:v>
                </c:pt>
                <c:pt idx="4">
                  <c:v>1472.1213</c:v>
                </c:pt>
                <c:pt idx="5">
                  <c:v>1486.6544</c:v>
                </c:pt>
                <c:pt idx="6">
                  <c:v>1381.786</c:v>
                </c:pt>
                <c:pt idx="7">
                  <c:v>1434.2339</c:v>
                </c:pt>
                <c:pt idx="8">
                  <c:v>1524.1725</c:v>
                </c:pt>
                <c:pt idx="9">
                  <c:v>1428.9597</c:v>
                </c:pt>
                <c:pt idx="10">
                  <c:v>1456.2175</c:v>
                </c:pt>
                <c:pt idx="11">
                  <c:v>1335.0014</c:v>
                </c:pt>
                <c:pt idx="12">
                  <c:v>1366.6636</c:v>
                </c:pt>
                <c:pt idx="13">
                  <c:v>1402.4787</c:v>
                </c:pt>
                <c:pt idx="14">
                  <c:v>1406.5432</c:v>
                </c:pt>
                <c:pt idx="15">
                  <c:v>1421.9631</c:v>
                </c:pt>
                <c:pt idx="16">
                  <c:v>1542.2034</c:v>
                </c:pt>
                <c:pt idx="17">
                  <c:v>1530.9681</c:v>
                </c:pt>
                <c:pt idx="18">
                  <c:v>1559.5152</c:v>
                </c:pt>
                <c:pt idx="19">
                  <c:v>1667.551</c:v>
                </c:pt>
                <c:pt idx="20">
                  <c:v>1622.8186</c:v>
                </c:pt>
                <c:pt idx="21">
                  <c:v>1481.4896</c:v>
                </c:pt>
                <c:pt idx="22">
                  <c:v>1530.6699</c:v>
                </c:pt>
                <c:pt idx="23">
                  <c:v>1513.7189</c:v>
                </c:pt>
                <c:pt idx="24">
                  <c:v>1511.9952</c:v>
                </c:pt>
                <c:pt idx="25">
                  <c:v>1433.9883</c:v>
                </c:pt>
                <c:pt idx="26">
                  <c:v>1467.0808</c:v>
                </c:pt>
                <c:pt idx="27">
                  <c:v>1532.1551</c:v>
                </c:pt>
                <c:pt idx="28">
                  <c:v>1510.7682</c:v>
                </c:pt>
                <c:pt idx="29">
                  <c:v>1574.8249</c:v>
                </c:pt>
                <c:pt idx="30">
                  <c:v>1452.8695</c:v>
                </c:pt>
                <c:pt idx="31">
                  <c:v>1279.5401</c:v>
                </c:pt>
                <c:pt idx="32">
                  <c:v>1426.6403</c:v>
                </c:pt>
                <c:pt idx="33">
                  <c:v>1455.0825</c:v>
                </c:pt>
                <c:pt idx="34">
                  <c:v>1472.599</c:v>
                </c:pt>
                <c:pt idx="35">
                  <c:v>1464.3313</c:v>
                </c:pt>
                <c:pt idx="36">
                  <c:v>1501.7713</c:v>
                </c:pt>
                <c:pt idx="37">
                  <c:v>1555.0895</c:v>
                </c:pt>
                <c:pt idx="38">
                  <c:v>1443.4905</c:v>
                </c:pt>
                <c:pt idx="39">
                  <c:v>1420.5008</c:v>
                </c:pt>
                <c:pt idx="40">
                  <c:v>1401.3695</c:v>
                </c:pt>
                <c:pt idx="41">
                  <c:v>1486.1057</c:v>
                </c:pt>
                <c:pt idx="42">
                  <c:v>1468.5417</c:v>
                </c:pt>
                <c:pt idx="43">
                  <c:v>1489.7346</c:v>
                </c:pt>
                <c:pt idx="44">
                  <c:v>1456.6123</c:v>
                </c:pt>
                <c:pt idx="45">
                  <c:v>1408.5369</c:v>
                </c:pt>
                <c:pt idx="46">
                  <c:v>1400.9427</c:v>
                </c:pt>
                <c:pt idx="47">
                  <c:v>1403.153</c:v>
                </c:pt>
                <c:pt idx="48">
                  <c:v>1373.6714</c:v>
                </c:pt>
                <c:pt idx="49">
                  <c:v>1383.8874</c:v>
                </c:pt>
                <c:pt idx="50">
                  <c:v>1252.4165</c:v>
                </c:pt>
                <c:pt idx="51">
                  <c:v>1239.8707</c:v>
                </c:pt>
                <c:pt idx="52">
                  <c:v>676.2446000889545</c:v>
                </c:pt>
                <c:pt idx="53">
                  <c:v>277.80994601489</c:v>
                </c:pt>
                <c:pt idx="54">
                  <c:v>2254.0771812371922</c:v>
                </c:pt>
              </c:numCache>
            </c:numRef>
          </c:xVal>
          <c:yVal>
            <c:numRef>
              <c:f>Sheet1!$B$91:$B$145</c:f>
              <c:numCache>
                <c:formatCode>General</c:formatCode>
                <c:ptCount val="55"/>
                <c:pt idx="0">
                  <c:v>0.9272313246110068</c:v>
                </c:pt>
                <c:pt idx="1">
                  <c:v>0.9258896917003132</c:v>
                </c:pt>
                <c:pt idx="2">
                  <c:v>0.9267258638356002</c:v>
                </c:pt>
                <c:pt idx="3">
                  <c:v>0.9259440418565643</c:v>
                </c:pt>
                <c:pt idx="4">
                  <c:v>0.9255770522356324</c:v>
                </c:pt>
                <c:pt idx="5">
                  <c:v>0.9248790967210847</c:v>
                </c:pt>
                <c:pt idx="6">
                  <c:v>0.9299154260714493</c:v>
                </c:pt>
                <c:pt idx="7">
                  <c:v>0.9273966034505741</c:v>
                </c:pt>
                <c:pt idx="8">
                  <c:v>0.923077281224711</c:v>
                </c:pt>
                <c:pt idx="9">
                  <c:v>0.9276498981347658</c:v>
                </c:pt>
                <c:pt idx="10">
                  <c:v>0.9263408359371318</c:v>
                </c:pt>
                <c:pt idx="11">
                  <c:v>0.9321622673899501</c:v>
                </c:pt>
                <c:pt idx="12">
                  <c:v>0.9306416828558377</c:v>
                </c:pt>
                <c:pt idx="13">
                  <c:v>0.9289216543313609</c:v>
                </c:pt>
                <c:pt idx="14">
                  <c:v>0.9287264557715987</c:v>
                </c:pt>
                <c:pt idx="15">
                  <c:v>0.9279859114803758</c:v>
                </c:pt>
                <c:pt idx="16">
                  <c:v>0.922211343049975</c:v>
                </c:pt>
                <c:pt idx="17">
                  <c:v>0.9227509209509456</c:v>
                </c:pt>
                <c:pt idx="18">
                  <c:v>0.9213799398203305</c:v>
                </c:pt>
                <c:pt idx="19">
                  <c:v>0.9161914953467797</c:v>
                </c:pt>
                <c:pt idx="20">
                  <c:v>0.9183397792819998</c:v>
                </c:pt>
                <c:pt idx="21">
                  <c:v>0.9251271374447799</c:v>
                </c:pt>
                <c:pt idx="22">
                  <c:v>0.9227652420754433</c:v>
                </c:pt>
                <c:pt idx="23">
                  <c:v>0.9235793178010007</c:v>
                </c:pt>
                <c:pt idx="24">
                  <c:v>0.9236620988952218</c:v>
                </c:pt>
                <c:pt idx="25">
                  <c:v>0.927408398447813</c:v>
                </c:pt>
                <c:pt idx="26">
                  <c:v>0.9258191234228585</c:v>
                </c:pt>
                <c:pt idx="27">
                  <c:v>0.9226939149993064</c:v>
                </c:pt>
                <c:pt idx="28">
                  <c:v>0.9237210258561833</c:v>
                </c:pt>
                <c:pt idx="29">
                  <c:v>0.9206446879097905</c:v>
                </c:pt>
                <c:pt idx="30">
                  <c:v>0.9265016244174082</c:v>
                </c:pt>
                <c:pt idx="31">
                  <c:v>0.9348258092481208</c:v>
                </c:pt>
                <c:pt idx="32">
                  <c:v>0.9277612878603194</c:v>
                </c:pt>
                <c:pt idx="33">
                  <c:v>0.9263953445766521</c:v>
                </c:pt>
                <c:pt idx="34">
                  <c:v>0.9255541105818007</c:v>
                </c:pt>
                <c:pt idx="35">
                  <c:v>0.92595116880115</c:v>
                </c:pt>
                <c:pt idx="36">
                  <c:v>0.9241531040754781</c:v>
                </c:pt>
                <c:pt idx="37">
                  <c:v>0.9215924850942729</c:v>
                </c:pt>
                <c:pt idx="38">
                  <c:v>0.9269520530782542</c:v>
                </c:pt>
                <c:pt idx="39">
                  <c:v>0.9280561387786758</c:v>
                </c:pt>
                <c:pt idx="40">
                  <c:v>0.9289749239198682</c:v>
                </c:pt>
                <c:pt idx="41">
                  <c:v>0.9249054481664634</c:v>
                </c:pt>
                <c:pt idx="42">
                  <c:v>0.9257489633598849</c:v>
                </c:pt>
                <c:pt idx="43">
                  <c:v>0.9247311693982211</c:v>
                </c:pt>
                <c:pt idx="44">
                  <c:v>0.9263218755751207</c:v>
                </c:pt>
                <c:pt idx="45">
                  <c:v>0.9286307078644521</c:v>
                </c:pt>
                <c:pt idx="46">
                  <c:v>0.9289954210893372</c:v>
                </c:pt>
                <c:pt idx="47">
                  <c:v>0.9288892709167103</c:v>
                </c:pt>
                <c:pt idx="48">
                  <c:v>0.9303051316276175</c:v>
                </c:pt>
                <c:pt idx="49">
                  <c:v>0.9298145058467023</c:v>
                </c:pt>
                <c:pt idx="50">
                  <c:v>0.9361284264594785</c:v>
                </c:pt>
                <c:pt idx="51">
                  <c:v>0.936730941428371</c:v>
                </c:pt>
                <c:pt idx="52">
                  <c:v>0.9637992162338753</c:v>
                </c:pt>
                <c:pt idx="53">
                  <c:v>0.9829341333539572</c:v>
                </c:pt>
                <c:pt idx="54">
                  <c:v>0.88802343879855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05.0"/>
          <c:min val="22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816135084427768"/>
          <c:min val="0.582653061224489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9742318322381135</c:v>
                </c:pt>
                <c:pt idx="1">
                  <c:v>0.0</c:v>
                </c:pt>
                <c:pt idx="2">
                  <c:v>0.29543638451885473</c:v>
                </c:pt>
                <c:pt idx="3">
                  <c:v>0.2566957822887941</c:v>
                </c:pt>
                <c:pt idx="4">
                  <c:v>0.0</c:v>
                </c:pt>
                <c:pt idx="5">
                  <c:v>0.1838024894924022</c:v>
                </c:pt>
                <c:pt idx="6">
                  <c:v>0.47270051858254103</c:v>
                </c:pt>
                <c:pt idx="7">
                  <c:v>0.2004648716119829</c:v>
                </c:pt>
                <c:pt idx="8">
                  <c:v>0.3503273067717496</c:v>
                </c:pt>
                <c:pt idx="9">
                  <c:v>0.4012720292504571</c:v>
                </c:pt>
                <c:pt idx="10">
                  <c:v>0.35313905853458866</c:v>
                </c:pt>
                <c:pt idx="11">
                  <c:v>0.36267270955165687</c:v>
                </c:pt>
                <c:pt idx="12">
                  <c:v>0.36207475597910566</c:v>
                </c:pt>
                <c:pt idx="13">
                  <c:v>0.3789100176991151</c:v>
                </c:pt>
                <c:pt idx="14">
                  <c:v>0.5852671553337492</c:v>
                </c:pt>
                <c:pt idx="15">
                  <c:v>0.42572817438839844</c:v>
                </c:pt>
                <c:pt idx="16">
                  <c:v>0.26329874326269537</c:v>
                </c:pt>
                <c:pt idx="17">
                  <c:v>0.2559117774484095</c:v>
                </c:pt>
                <c:pt idx="18">
                  <c:v>0.34630049610205527</c:v>
                </c:pt>
                <c:pt idx="19">
                  <c:v>0.21664452603471296</c:v>
                </c:pt>
                <c:pt idx="20">
                  <c:v>0.18044626188734456</c:v>
                </c:pt>
                <c:pt idx="21">
                  <c:v>0.31339446531430004</c:v>
                </c:pt>
                <c:pt idx="22">
                  <c:v>0.0</c:v>
                </c:pt>
                <c:pt idx="23">
                  <c:v>0.16461656109791503</c:v>
                </c:pt>
                <c:pt idx="24">
                  <c:v>0.5924999046620268</c:v>
                </c:pt>
                <c:pt idx="25">
                  <c:v>0.5136599137477649</c:v>
                </c:pt>
                <c:pt idx="26">
                  <c:v>0.5467012434188417</c:v>
                </c:pt>
                <c:pt idx="27">
                  <c:v>0.7382592190373317</c:v>
                </c:pt>
                <c:pt idx="28">
                  <c:v>0.47534898925076213</c:v>
                </c:pt>
                <c:pt idx="29">
                  <c:v>0.45867079991083004</c:v>
                </c:pt>
                <c:pt idx="30">
                  <c:v>0.4953461699087812</c:v>
                </c:pt>
                <c:pt idx="31">
                  <c:v>0.3574637699886933</c:v>
                </c:pt>
                <c:pt idx="32">
                  <c:v>0.34505009352913285</c:v>
                </c:pt>
                <c:pt idx="33">
                  <c:v>0.40318734565421205</c:v>
                </c:pt>
                <c:pt idx="34">
                  <c:v>0.5961064204545455</c:v>
                </c:pt>
                <c:pt idx="35">
                  <c:v>0.5324810476780492</c:v>
                </c:pt>
                <c:pt idx="36">
                  <c:v>0.5376933222036728</c:v>
                </c:pt>
                <c:pt idx="37">
                  <c:v>0.34014520838863815</c:v>
                </c:pt>
                <c:pt idx="38">
                  <c:v>0.18042243936243937</c:v>
                </c:pt>
                <c:pt idx="39">
                  <c:v>0.5791564772670981</c:v>
                </c:pt>
                <c:pt idx="40">
                  <c:v>0.3545487338362069</c:v>
                </c:pt>
                <c:pt idx="41">
                  <c:v>0.7305293544722433</c:v>
                </c:pt>
                <c:pt idx="42">
                  <c:v>0.5563809035420879</c:v>
                </c:pt>
                <c:pt idx="43">
                  <c:v>0.9259979666401905</c:v>
                </c:pt>
                <c:pt idx="44">
                  <c:v>0.4638959898725906</c:v>
                </c:pt>
                <c:pt idx="45">
                  <c:v>0.5627623020579002</c:v>
                </c:pt>
                <c:pt idx="46">
                  <c:v>0.2843498753856319</c:v>
                </c:pt>
                <c:pt idx="47">
                  <c:v>0.37010362392098917</c:v>
                </c:pt>
                <c:pt idx="48">
                  <c:v>0.5602261548662786</c:v>
                </c:pt>
                <c:pt idx="49">
                  <c:v>0.6261704281269259</c:v>
                </c:pt>
                <c:pt idx="50">
                  <c:v>0.5875694032111481</c:v>
                </c:pt>
                <c:pt idx="51">
                  <c:v>0.6938828112587674</c:v>
                </c:pt>
                <c:pt idx="52">
                  <c:v>0.4400082587169494</c:v>
                </c:pt>
                <c:pt idx="53">
                  <c:v>0.6085553434058475</c:v>
                </c:pt>
                <c:pt idx="54">
                  <c:v>0.7081630211379396</c:v>
                </c:pt>
                <c:pt idx="55">
                  <c:v>0.7234649333333334</c:v>
                </c:pt>
                <c:pt idx="56">
                  <c:v>0.4086567073928432</c:v>
                </c:pt>
                <c:pt idx="57">
                  <c:v>0.753599496852099</c:v>
                </c:pt>
                <c:pt idx="58">
                  <c:v>0.6241720970537262</c:v>
                </c:pt>
                <c:pt idx="59">
                  <c:v>0.7274791438224932</c:v>
                </c:pt>
                <c:pt idx="60">
                  <c:v>0.5910194842028891</c:v>
                </c:pt>
                <c:pt idx="61">
                  <c:v>0.8149455032551652</c:v>
                </c:pt>
                <c:pt idx="62">
                  <c:v>0.5721273789165695</c:v>
                </c:pt>
                <c:pt idx="63">
                  <c:v>0.6536881114903299</c:v>
                </c:pt>
                <c:pt idx="64">
                  <c:v>0.628697021044001</c:v>
                </c:pt>
                <c:pt idx="65">
                  <c:v>0.36077323135755257</c:v>
                </c:pt>
                <c:pt idx="66">
                  <c:v>0.5968127310061602</c:v>
                </c:pt>
                <c:pt idx="67">
                  <c:v>0.3816626776745155</c:v>
                </c:pt>
                <c:pt idx="68">
                  <c:v>0.3171249521822292</c:v>
                </c:pt>
                <c:pt idx="69">
                  <c:v>0.369828864498923</c:v>
                </c:pt>
                <c:pt idx="70">
                  <c:v>0.40038864547403746</c:v>
                </c:pt>
                <c:pt idx="71">
                  <c:v>0.41736195421288647</c:v>
                </c:pt>
                <c:pt idx="72">
                  <c:v>0.426936865942029</c:v>
                </c:pt>
                <c:pt idx="73">
                  <c:v>0.4184940260680666</c:v>
                </c:pt>
                <c:pt idx="74">
                  <c:v>0.29531608899297496</c:v>
                </c:pt>
                <c:pt idx="75">
                  <c:v>0.471666231292517</c:v>
                </c:pt>
                <c:pt idx="76">
                  <c:v>0.34150574125049155</c:v>
                </c:pt>
                <c:pt idx="77">
                  <c:v>0.26616333118140734</c:v>
                </c:pt>
                <c:pt idx="78">
                  <c:v>0.15472573348631372</c:v>
                </c:pt>
                <c:pt idx="79">
                  <c:v>0.2016153129849974</c:v>
                </c:pt>
                <c:pt idx="80">
                  <c:v>0.15482802886441321</c:v>
                </c:pt>
                <c:pt idx="81">
                  <c:v>0.29681545119193076</c:v>
                </c:pt>
                <c:pt idx="82">
                  <c:v>0.23081092771770062</c:v>
                </c:pt>
                <c:pt idx="83">
                  <c:v>0.571881225033289</c:v>
                </c:pt>
                <c:pt idx="84">
                  <c:v>0.30055474007401767</c:v>
                </c:pt>
                <c:pt idx="85">
                  <c:v>0.3182903115663679</c:v>
                </c:pt>
                <c:pt idx="86">
                  <c:v>0.3766429776310964</c:v>
                </c:pt>
                <c:pt idx="87">
                  <c:v>0.34574743796326135</c:v>
                </c:pt>
                <c:pt idx="88">
                  <c:v>0.44255241064006645</c:v>
                </c:pt>
                <c:pt idx="89">
                  <c:v>0.37827595041322315</c:v>
                </c:pt>
                <c:pt idx="90">
                  <c:v>0.34035747779751335</c:v>
                </c:pt>
                <c:pt idx="91">
                  <c:v>0.6056650128314799</c:v>
                </c:pt>
                <c:pt idx="92">
                  <c:v>0.5317710559681217</c:v>
                </c:pt>
                <c:pt idx="93">
                  <c:v>0.6475115724721261</c:v>
                </c:pt>
                <c:pt idx="94">
                  <c:v>0.30093852040816327</c:v>
                </c:pt>
                <c:pt idx="95">
                  <c:v>0.6331947757743874</c:v>
                </c:pt>
                <c:pt idx="96">
                  <c:v>0.7243741917502787</c:v>
                </c:pt>
                <c:pt idx="97">
                  <c:v>0.6935238196053289</c:v>
                </c:pt>
                <c:pt idx="98">
                  <c:v>0.6689169773299748</c:v>
                </c:pt>
                <c:pt idx="99">
                  <c:v>0.7078423777423497</c:v>
                </c:pt>
                <c:pt idx="100">
                  <c:v>0.614023857915058</c:v>
                </c:pt>
                <c:pt idx="101">
                  <c:v>0.6817744376278119</c:v>
                </c:pt>
                <c:pt idx="102">
                  <c:v>0.7668458333333333</c:v>
                </c:pt>
                <c:pt idx="103">
                  <c:v>0.5164756536897153</c:v>
                </c:pt>
                <c:pt idx="104">
                  <c:v>0.7944952930984696</c:v>
                </c:pt>
              </c:numCache>
            </c:numRef>
          </c:xVal>
          <c:yVal>
            <c:numRef>
              <c:f>Sheet1!$B$2:$B$106</c:f>
              <c:numCache>
                <c:formatCode>General</c:formatCode>
                <c:ptCount val="105"/>
                <c:pt idx="0">
                  <c:v>0.9961277831558567</c:v>
                </c:pt>
                <c:pt idx="1">
                  <c:v>0.996316758747698</c:v>
                </c:pt>
                <c:pt idx="2">
                  <c:v>0.9902740937223696</c:v>
                </c:pt>
                <c:pt idx="3">
                  <c:v>0.9931330472103004</c:v>
                </c:pt>
                <c:pt idx="4">
                  <c:v>0.9957850368809273</c:v>
                </c:pt>
                <c:pt idx="5">
                  <c:v>0.9978021978021978</c:v>
                </c:pt>
                <c:pt idx="6">
                  <c:v>0.9921104536489151</c:v>
                </c:pt>
                <c:pt idx="7">
                  <c:v>0.9943757030371203</c:v>
                </c:pt>
                <c:pt idx="8">
                  <c:v>0.9901356350184957</c:v>
                </c:pt>
                <c:pt idx="9">
                  <c:v>0.9901185770750988</c:v>
                </c:pt>
                <c:pt idx="10">
                  <c:v>0.990418118466899</c:v>
                </c:pt>
                <c:pt idx="11">
                  <c:v>0.9939393939393939</c:v>
                </c:pt>
                <c:pt idx="12">
                  <c:v>0.9899916597164303</c:v>
                </c:pt>
                <c:pt idx="13">
                  <c:v>0.9921875</c:v>
                </c:pt>
                <c:pt idx="14">
                  <c:v>0.9899451553930531</c:v>
                </c:pt>
                <c:pt idx="15">
                  <c:v>0.9874285714285714</c:v>
                </c:pt>
                <c:pt idx="16">
                  <c:v>0.9914285714285714</c:v>
                </c:pt>
                <c:pt idx="17">
                  <c:v>0.9911190053285968</c:v>
                </c:pt>
                <c:pt idx="18">
                  <c:v>0.9876543209876543</c:v>
                </c:pt>
                <c:pt idx="19">
                  <c:v>0.9902912621359223</c:v>
                </c:pt>
                <c:pt idx="20">
                  <c:v>0.9904306220095693</c:v>
                </c:pt>
                <c:pt idx="21">
                  <c:v>0.984984984984985</c:v>
                </c:pt>
                <c:pt idx="22">
                  <c:v>0.9917582417582418</c:v>
                </c:pt>
                <c:pt idx="23">
                  <c:v>0.9808917197452229</c:v>
                </c:pt>
                <c:pt idx="24">
                  <c:v>0.9779005524861878</c:v>
                </c:pt>
                <c:pt idx="25">
                  <c:v>0.9798270893371758</c:v>
                </c:pt>
                <c:pt idx="26">
                  <c:v>0.9835294117647059</c:v>
                </c:pt>
                <c:pt idx="27">
                  <c:v>0.9815242494226328</c:v>
                </c:pt>
                <c:pt idx="28">
                  <c:v>0.9836448598130841</c:v>
                </c:pt>
                <c:pt idx="29">
                  <c:v>0.9906716417910447</c:v>
                </c:pt>
                <c:pt idx="30">
                  <c:v>0.9878640776699029</c:v>
                </c:pt>
                <c:pt idx="31">
                  <c:v>0.9850374064837906</c:v>
                </c:pt>
                <c:pt idx="32">
                  <c:v>0.9835294117647059</c:v>
                </c:pt>
                <c:pt idx="33">
                  <c:v>0.9880952380952381</c:v>
                </c:pt>
                <c:pt idx="34">
                  <c:v>0.9878706199460916</c:v>
                </c:pt>
                <c:pt idx="35">
                  <c:v>0.9890510948905109</c:v>
                </c:pt>
                <c:pt idx="36">
                  <c:v>0.9759825327510917</c:v>
                </c:pt>
                <c:pt idx="37">
                  <c:v>0.9866666666666667</c:v>
                </c:pt>
                <c:pt idx="38">
                  <c:v>0.988795518207283</c:v>
                </c:pt>
                <c:pt idx="39">
                  <c:v>0.975</c:v>
                </c:pt>
                <c:pt idx="40">
                  <c:v>0.9886621315192744</c:v>
                </c:pt>
                <c:pt idx="41">
                  <c:v>0.9761273209549072</c:v>
                </c:pt>
                <c:pt idx="42">
                  <c:v>0.9861431870669746</c:v>
                </c:pt>
                <c:pt idx="43">
                  <c:v>0.9807355516637478</c:v>
                </c:pt>
                <c:pt idx="44">
                  <c:v>0.9938650306748467</c:v>
                </c:pt>
                <c:pt idx="45">
                  <c:v>0.9943037974683544</c:v>
                </c:pt>
                <c:pt idx="46">
                  <c:v>0.9972051425377306</c:v>
                </c:pt>
                <c:pt idx="47">
                  <c:v>0.9950819672131147</c:v>
                </c:pt>
                <c:pt idx="48">
                  <c:v>0.9954497724886244</c:v>
                </c:pt>
                <c:pt idx="49">
                  <c:v>0.9971289752650176</c:v>
                </c:pt>
                <c:pt idx="50">
                  <c:v>0.9962121212121212</c:v>
                </c:pt>
                <c:pt idx="51">
                  <c:v>0.9915773353751914</c:v>
                </c:pt>
                <c:pt idx="52">
                  <c:v>0.9965136548518303</c:v>
                </c:pt>
                <c:pt idx="53">
                  <c:v>0.9914101646385111</c:v>
                </c:pt>
                <c:pt idx="54">
                  <c:v>0.9893858984078847</c:v>
                </c:pt>
                <c:pt idx="55">
                  <c:v>0.9906858594411516</c:v>
                </c:pt>
                <c:pt idx="56">
                  <c:v>0.9922413793103448</c:v>
                </c:pt>
                <c:pt idx="57">
                  <c:v>0.99215965787598</c:v>
                </c:pt>
                <c:pt idx="58">
                  <c:v>0.9949968730456535</c:v>
                </c:pt>
                <c:pt idx="59">
                  <c:v>0.9948623853211009</c:v>
                </c:pt>
                <c:pt idx="60">
                  <c:v>0.9939734833266372</c:v>
                </c:pt>
                <c:pt idx="61">
                  <c:v>0.9943534726143421</c:v>
                </c:pt>
                <c:pt idx="62">
                  <c:v>0.9943246311010215</c:v>
                </c:pt>
                <c:pt idx="63">
                  <c:v>0.9955882352941177</c:v>
                </c:pt>
                <c:pt idx="64">
                  <c:v>0.9954591321897074</c:v>
                </c:pt>
                <c:pt idx="65">
                  <c:v>0.9966517857142857</c:v>
                </c:pt>
                <c:pt idx="66">
                  <c:v>0.9953319502074689</c:v>
                </c:pt>
                <c:pt idx="67">
                  <c:v>0.9960649286768323</c:v>
                </c:pt>
                <c:pt idx="68">
                  <c:v>0.996316758747698</c:v>
                </c:pt>
                <c:pt idx="69">
                  <c:v>0.992988606485539</c:v>
                </c:pt>
                <c:pt idx="70">
                  <c:v>0.9912126537785588</c:v>
                </c:pt>
                <c:pt idx="71">
                  <c:v>0.9895038167938931</c:v>
                </c:pt>
                <c:pt idx="72">
                  <c:v>0.9876425855513308</c:v>
                </c:pt>
                <c:pt idx="73">
                  <c:v>0.9912959381044487</c:v>
                </c:pt>
                <c:pt idx="74">
                  <c:v>0.9935956084172004</c:v>
                </c:pt>
                <c:pt idx="75">
                  <c:v>0.9903938520653218</c:v>
                </c:pt>
                <c:pt idx="76">
                  <c:v>0.9898190045248869</c:v>
                </c:pt>
                <c:pt idx="77">
                  <c:v>0.9912472647702407</c:v>
                </c:pt>
                <c:pt idx="78">
                  <c:v>0.993920972644377</c:v>
                </c:pt>
                <c:pt idx="79">
                  <c:v>0.9963331587218439</c:v>
                </c:pt>
                <c:pt idx="80">
                  <c:v>0.9944102850754611</c:v>
                </c:pt>
                <c:pt idx="81">
                  <c:v>0.9929797191887676</c:v>
                </c:pt>
                <c:pt idx="82">
                  <c:v>0.9941291585127201</c:v>
                </c:pt>
                <c:pt idx="83">
                  <c:v>0.983957219251337</c:v>
                </c:pt>
                <c:pt idx="84">
                  <c:v>0.9887640449438202</c:v>
                </c:pt>
                <c:pt idx="85">
                  <c:v>0.9897039897039897</c:v>
                </c:pt>
                <c:pt idx="86">
                  <c:v>0.9876084262701363</c:v>
                </c:pt>
                <c:pt idx="87">
                  <c:v>0.9912472647702407</c:v>
                </c:pt>
                <c:pt idx="88">
                  <c:v>0.98145285935085</c:v>
                </c:pt>
                <c:pt idx="89">
                  <c:v>0.9829059829059829</c:v>
                </c:pt>
                <c:pt idx="90">
                  <c:v>0.9887429643527205</c:v>
                </c:pt>
                <c:pt idx="91">
                  <c:v>0.981651376146789</c:v>
                </c:pt>
                <c:pt idx="92">
                  <c:v>0.9780907668231612</c:v>
                </c:pt>
                <c:pt idx="93">
                  <c:v>0.9834162520729685</c:v>
                </c:pt>
                <c:pt idx="94">
                  <c:v>0.9853747714808044</c:v>
                </c:pt>
                <c:pt idx="95">
                  <c:v>0.9868035190615836</c:v>
                </c:pt>
                <c:pt idx="96">
                  <c:v>0.983669548511047</c:v>
                </c:pt>
                <c:pt idx="97">
                  <c:v>0.9830508474576272</c:v>
                </c:pt>
                <c:pt idx="98">
                  <c:v>0.98</c:v>
                </c:pt>
                <c:pt idx="99">
                  <c:v>0.9832723470987977</c:v>
                </c:pt>
                <c:pt idx="100">
                  <c:v>0.984677923702314</c:v>
                </c:pt>
                <c:pt idx="101">
                  <c:v>0.9710873664362036</c:v>
                </c:pt>
                <c:pt idx="102">
                  <c:v>0.9651394422310757</c:v>
                </c:pt>
                <c:pt idx="103">
                  <c:v>0.9658580413297394</c:v>
                </c:pt>
                <c:pt idx="104">
                  <c:v>0.970260223048327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252575039903959</c:v>
                </c:pt>
                <c:pt idx="1">
                  <c:v>0.5782645097652397</c:v>
                </c:pt>
                <c:pt idx="2">
                  <c:v>0.6660229488594555</c:v>
                </c:pt>
                <c:pt idx="3">
                  <c:v>0.6428795873573311</c:v>
                </c:pt>
                <c:pt idx="4">
                  <c:v>0.6425048168614986</c:v>
                </c:pt>
                <c:pt idx="5">
                  <c:v>0.7465310499806495</c:v>
                </c:pt>
                <c:pt idx="6">
                  <c:v>0.5351314987253417</c:v>
                </c:pt>
                <c:pt idx="7">
                  <c:v>0.49000133242227534</c:v>
                </c:pt>
                <c:pt idx="8">
                  <c:v>0.6831407922012437</c:v>
                </c:pt>
                <c:pt idx="9">
                  <c:v>0.6059407187533129</c:v>
                </c:pt>
                <c:pt idx="10">
                  <c:v>0.6100873517952156</c:v>
                </c:pt>
                <c:pt idx="11">
                  <c:v>0.6868174405144695</c:v>
                </c:pt>
                <c:pt idx="12">
                  <c:v>0.5992824380618286</c:v>
                </c:pt>
                <c:pt idx="13">
                  <c:v>0.6307324783903948</c:v>
                </c:pt>
                <c:pt idx="14">
                  <c:v>0.6464317900288581</c:v>
                </c:pt>
                <c:pt idx="15">
                  <c:v>0.7070925410243659</c:v>
                </c:pt>
                <c:pt idx="16">
                  <c:v>0.755149173705472</c:v>
                </c:pt>
                <c:pt idx="17">
                  <c:v>0.6871490574506284</c:v>
                </c:pt>
                <c:pt idx="18">
                  <c:v>0.4353755443886097</c:v>
                </c:pt>
                <c:pt idx="19">
                  <c:v>0.6789702768729642</c:v>
                </c:pt>
                <c:pt idx="20">
                  <c:v>0.5732720785643635</c:v>
                </c:pt>
                <c:pt idx="21">
                  <c:v>0.5353491753234062</c:v>
                </c:pt>
                <c:pt idx="22">
                  <c:v>0.6405548627385337</c:v>
                </c:pt>
                <c:pt idx="23">
                  <c:v>0.6603397943920285</c:v>
                </c:pt>
                <c:pt idx="24">
                  <c:v>0.5915474178403756</c:v>
                </c:pt>
                <c:pt idx="25">
                  <c:v>0.5884581003949718</c:v>
                </c:pt>
                <c:pt idx="26">
                  <c:v>0.5691139143869388</c:v>
                </c:pt>
                <c:pt idx="27">
                  <c:v>0.740779915872939</c:v>
                </c:pt>
                <c:pt idx="28">
                  <c:v>0.7459110299200158</c:v>
                </c:pt>
                <c:pt idx="29">
                  <c:v>0.8253258565345563</c:v>
                </c:pt>
                <c:pt idx="30">
                  <c:v>0.6701869325242886</c:v>
                </c:pt>
                <c:pt idx="31">
                  <c:v>0.503888205616805</c:v>
                </c:pt>
                <c:pt idx="32">
                  <c:v>0.6565806497902992</c:v>
                </c:pt>
                <c:pt idx="33">
                  <c:v>0.5898983028392121</c:v>
                </c:pt>
                <c:pt idx="34">
                  <c:v>0.5239074284901095</c:v>
                </c:pt>
                <c:pt idx="35">
                  <c:v>0.6186070557886472</c:v>
                </c:pt>
                <c:pt idx="36">
                  <c:v>0.6199902157085355</c:v>
                </c:pt>
                <c:pt idx="37">
                  <c:v>0.704265884697251</c:v>
                </c:pt>
                <c:pt idx="38">
                  <c:v>0.7253200260142124</c:v>
                </c:pt>
                <c:pt idx="39">
                  <c:v>0.6543824945295404</c:v>
                </c:pt>
                <c:pt idx="40">
                  <c:v>4.078984824705203</c:v>
                </c:pt>
                <c:pt idx="41">
                  <c:v>2.368785170610536</c:v>
                </c:pt>
                <c:pt idx="42">
                  <c:v>1.0168391678233446</c:v>
                </c:pt>
                <c:pt idx="43">
                  <c:v>0.9089817785633431</c:v>
                </c:pt>
                <c:pt idx="44">
                  <c:v>1.0295898922071038</c:v>
                </c:pt>
                <c:pt idx="45">
                  <c:v>0.8528465072718019</c:v>
                </c:pt>
                <c:pt idx="46">
                  <c:v>0.6881083481467689</c:v>
                </c:pt>
                <c:pt idx="47">
                  <c:v>0.6526495496395167</c:v>
                </c:pt>
                <c:pt idx="48">
                  <c:v>0.8776901183976674</c:v>
                </c:pt>
                <c:pt idx="49">
                  <c:v>0.8909280755887798</c:v>
                </c:pt>
                <c:pt idx="50">
                  <c:v>0.7841018617791378</c:v>
                </c:pt>
                <c:pt idx="51">
                  <c:v>0.799525535284968</c:v>
                </c:pt>
              </c:numCache>
            </c:numRef>
          </c:xVal>
          <c:yVal>
            <c:numRef>
              <c:f>Sheet1!$B$109:$B$160</c:f>
              <c:numCache>
                <c:formatCode>General</c:formatCode>
                <c:ptCount val="52"/>
                <c:pt idx="0">
                  <c:v>0.963963963963964</c:v>
                </c:pt>
                <c:pt idx="1">
                  <c:v>0.9608993157380255</c:v>
                </c:pt>
                <c:pt idx="2">
                  <c:v>0.9586709886547812</c:v>
                </c:pt>
                <c:pt idx="3">
                  <c:v>0.9610591900311527</c:v>
                </c:pt>
                <c:pt idx="4">
                  <c:v>0.9662731871838112</c:v>
                </c:pt>
                <c:pt idx="5">
                  <c:v>0.9595426561125769</c:v>
                </c:pt>
                <c:pt idx="6">
                  <c:v>0.9733750978856696</c:v>
                </c:pt>
                <c:pt idx="7">
                  <c:v>0.9765432098765432</c:v>
                </c:pt>
                <c:pt idx="8">
                  <c:v>0.9538653366583542</c:v>
                </c:pt>
                <c:pt idx="9">
                  <c:v>0.9523316062176166</c:v>
                </c:pt>
                <c:pt idx="10">
                  <c:v>0.9553398058252427</c:v>
                </c:pt>
                <c:pt idx="11">
                  <c:v>0.9700797872340425</c:v>
                </c:pt>
                <c:pt idx="12">
                  <c:v>0.9617977528089887</c:v>
                </c:pt>
                <c:pt idx="13">
                  <c:v>0.9629927594529365</c:v>
                </c:pt>
                <c:pt idx="14">
                  <c:v>0.9629941126997477</c:v>
                </c:pt>
                <c:pt idx="15">
                  <c:v>0.9543292102759277</c:v>
                </c:pt>
                <c:pt idx="16">
                  <c:v>0.9457459926017263</c:v>
                </c:pt>
                <c:pt idx="17">
                  <c:v>0.945619335347432</c:v>
                </c:pt>
                <c:pt idx="18">
                  <c:v>0.9314516129032258</c:v>
                </c:pt>
                <c:pt idx="19">
                  <c:v>0.9107142857142857</c:v>
                </c:pt>
                <c:pt idx="20">
                  <c:v>0.907843137254902</c:v>
                </c:pt>
                <c:pt idx="21">
                  <c:v>0.9308855291576674</c:v>
                </c:pt>
                <c:pt idx="22">
                  <c:v>0.9346846846846847</c:v>
                </c:pt>
                <c:pt idx="23">
                  <c:v>0.925</c:v>
                </c:pt>
                <c:pt idx="24">
                  <c:v>0.9355555555555556</c:v>
                </c:pt>
                <c:pt idx="25">
                  <c:v>0.9282608695652174</c:v>
                </c:pt>
                <c:pt idx="26">
                  <c:v>0.9397321428571429</c:v>
                </c:pt>
                <c:pt idx="27">
                  <c:v>0.9137577002053389</c:v>
                </c:pt>
                <c:pt idx="28">
                  <c:v>0.9238938053097345</c:v>
                </c:pt>
                <c:pt idx="29">
                  <c:v>0.9205298013245033</c:v>
                </c:pt>
                <c:pt idx="30">
                  <c:v>0.9149797570850202</c:v>
                </c:pt>
                <c:pt idx="31">
                  <c:v>0.9197396963123644</c:v>
                </c:pt>
                <c:pt idx="32">
                  <c:v>0.9285714285714286</c:v>
                </c:pt>
                <c:pt idx="33">
                  <c:v>0.9275167785234899</c:v>
                </c:pt>
                <c:pt idx="34">
                  <c:v>0.9421641791044776</c:v>
                </c:pt>
                <c:pt idx="35">
                  <c:v>0.9201349831271091</c:v>
                </c:pt>
                <c:pt idx="36">
                  <c:v>0.9016786570743405</c:v>
                </c:pt>
                <c:pt idx="37">
                  <c:v>0.8708240534521158</c:v>
                </c:pt>
                <c:pt idx="38">
                  <c:v>0.9156327543424317</c:v>
                </c:pt>
                <c:pt idx="39">
                  <c:v>0.9034690799396682</c:v>
                </c:pt>
                <c:pt idx="40">
                  <c:v>0.7283163265306123</c:v>
                </c:pt>
                <c:pt idx="41">
                  <c:v>0.83008356545961</c:v>
                </c:pt>
                <c:pt idx="42">
                  <c:v>0.863013698630137</c:v>
                </c:pt>
                <c:pt idx="43">
                  <c:v>0.8707571801566579</c:v>
                </c:pt>
                <c:pt idx="44">
                  <c:v>0.9010011123470523</c:v>
                </c:pt>
                <c:pt idx="45">
                  <c:v>0.9201581027667984</c:v>
                </c:pt>
                <c:pt idx="46">
                  <c:v>0.9165808444902163</c:v>
                </c:pt>
                <c:pt idx="47">
                  <c:v>0.931640625</c:v>
                </c:pt>
                <c:pt idx="48">
                  <c:v>0.9058728881737731</c:v>
                </c:pt>
                <c:pt idx="49">
                  <c:v>0.9117840684660962</c:v>
                </c:pt>
                <c:pt idx="50">
                  <c:v>0.9426535459789617</c:v>
                </c:pt>
                <c:pt idx="51">
                  <c:v>0.918973666441593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013187227112258</c:v>
                </c:pt>
              </c:numCache>
            </c:numRef>
          </c:xVal>
          <c:yVal>
            <c:numRef>
              <c:f>Sheet1!$B$163:$B$164</c:f>
              <c:numCache>
                <c:formatCode>General</c:formatCode>
                <c:ptCount val="2"/>
                <c:pt idx="0">
                  <c:v>0.9940067454693201</c:v>
                </c:pt>
                <c:pt idx="1">
                  <c:v>0.9940067454693201</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013187227112258</c:v>
                </c:pt>
                <c:pt idx="1">
                  <c:v>-0.3013187227112258</c:v>
                </c:pt>
              </c:numCache>
            </c:numRef>
          </c:xVal>
          <c:yVal>
            <c:numRef>
              <c:f>Sheet1!$B$167:$B$168</c:f>
              <c:numCache>
                <c:formatCode>General</c:formatCode>
                <c:ptCount val="2"/>
                <c:pt idx="0">
                  <c:v>0.994006745469320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7999859403392696</c:v>
                </c:pt>
              </c:numCache>
            </c:numRef>
          </c:xVal>
          <c:yVal>
            <c:numRef>
              <c:f>Sheet1!$B$171:$B$172</c:f>
              <c:numCache>
                <c:formatCode>General</c:formatCode>
                <c:ptCount val="2"/>
                <c:pt idx="0">
                  <c:v>0.9637992162338753</c:v>
                </c:pt>
                <c:pt idx="1">
                  <c:v>0.963799216233875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7999859403392696</c:v>
                </c:pt>
                <c:pt idx="1">
                  <c:v>0.17999859403392696</c:v>
                </c:pt>
              </c:numCache>
            </c:numRef>
          </c:xVal>
          <c:yVal>
            <c:numRef>
              <c:f>Sheet1!$B$175:$B$176</c:f>
              <c:numCache>
                <c:formatCode>General</c:formatCode>
                <c:ptCount val="2"/>
                <c:pt idx="0">
                  <c:v>0.96379921623387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3873861160379493</c:v>
                </c:pt>
              </c:numCache>
            </c:numRef>
          </c:xVal>
          <c:yVal>
            <c:numRef>
              <c:f>Sheet1!$B$179:$B$180</c:f>
              <c:numCache>
                <c:formatCode>General</c:formatCode>
                <c:ptCount val="2"/>
                <c:pt idx="0">
                  <c:v>0.888023438798552</c:v>
                </c:pt>
                <c:pt idx="1">
                  <c:v>0.88802343879855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3873861160379493</c:v>
                </c:pt>
                <c:pt idx="1">
                  <c:v>1.3873861160379493</c:v>
                </c:pt>
              </c:numCache>
            </c:numRef>
          </c:xVal>
          <c:yVal>
            <c:numRef>
              <c:f>Sheet1!$B$183:$B$184</c:f>
              <c:numCache>
                <c:formatCode>General</c:formatCode>
                <c:ptCount val="2"/>
                <c:pt idx="0">
                  <c:v>0.88802343879855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252575039903959</c:v>
                </c:pt>
                <c:pt idx="1">
                  <c:v>0.5782645097652397</c:v>
                </c:pt>
                <c:pt idx="2">
                  <c:v>0.6660229488594555</c:v>
                </c:pt>
                <c:pt idx="3">
                  <c:v>0.6428795873573311</c:v>
                </c:pt>
                <c:pt idx="4">
                  <c:v>0.6425048168614986</c:v>
                </c:pt>
                <c:pt idx="5">
                  <c:v>0.7465310499806495</c:v>
                </c:pt>
                <c:pt idx="6">
                  <c:v>0.5351314987253417</c:v>
                </c:pt>
                <c:pt idx="7">
                  <c:v>0.49000133242227534</c:v>
                </c:pt>
                <c:pt idx="8">
                  <c:v>0.6831407922012437</c:v>
                </c:pt>
                <c:pt idx="9">
                  <c:v>0.6059407187533129</c:v>
                </c:pt>
                <c:pt idx="10">
                  <c:v>0.6100873517952156</c:v>
                </c:pt>
                <c:pt idx="11">
                  <c:v>0.6868174405144695</c:v>
                </c:pt>
                <c:pt idx="12">
                  <c:v>0.5992824380618286</c:v>
                </c:pt>
                <c:pt idx="13">
                  <c:v>0.6307324783903948</c:v>
                </c:pt>
                <c:pt idx="14">
                  <c:v>0.6464317900288581</c:v>
                </c:pt>
                <c:pt idx="15">
                  <c:v>0.7070925410243659</c:v>
                </c:pt>
                <c:pt idx="16">
                  <c:v>0.755149173705472</c:v>
                </c:pt>
                <c:pt idx="17">
                  <c:v>0.6871490574506284</c:v>
                </c:pt>
                <c:pt idx="18">
                  <c:v>0.4353755443886097</c:v>
                </c:pt>
                <c:pt idx="19">
                  <c:v>0.6789702768729642</c:v>
                </c:pt>
                <c:pt idx="20">
                  <c:v>0.5732720785643635</c:v>
                </c:pt>
                <c:pt idx="21">
                  <c:v>0.5353491753234062</c:v>
                </c:pt>
                <c:pt idx="22">
                  <c:v>0.6405548627385337</c:v>
                </c:pt>
                <c:pt idx="23">
                  <c:v>0.6603397943920285</c:v>
                </c:pt>
                <c:pt idx="24">
                  <c:v>0.5915474178403756</c:v>
                </c:pt>
                <c:pt idx="25">
                  <c:v>0.5884581003949718</c:v>
                </c:pt>
                <c:pt idx="26">
                  <c:v>0.5691139143869388</c:v>
                </c:pt>
                <c:pt idx="27">
                  <c:v>0.740779915872939</c:v>
                </c:pt>
                <c:pt idx="28">
                  <c:v>0.7459110299200158</c:v>
                </c:pt>
                <c:pt idx="29">
                  <c:v>0.8253258565345563</c:v>
                </c:pt>
                <c:pt idx="30">
                  <c:v>0.6701869325242886</c:v>
                </c:pt>
                <c:pt idx="31">
                  <c:v>0.503888205616805</c:v>
                </c:pt>
                <c:pt idx="32">
                  <c:v>0.6565806497902992</c:v>
                </c:pt>
                <c:pt idx="33">
                  <c:v>0.5898983028392121</c:v>
                </c:pt>
                <c:pt idx="34">
                  <c:v>0.5239074284901095</c:v>
                </c:pt>
                <c:pt idx="35">
                  <c:v>0.6186070557886472</c:v>
                </c:pt>
                <c:pt idx="36">
                  <c:v>0.6199902157085355</c:v>
                </c:pt>
                <c:pt idx="37">
                  <c:v>0.704265884697251</c:v>
                </c:pt>
                <c:pt idx="38">
                  <c:v>0.7253200260142124</c:v>
                </c:pt>
                <c:pt idx="39">
                  <c:v>0.6543824945295404</c:v>
                </c:pt>
                <c:pt idx="40">
                  <c:v>4.078984824705203</c:v>
                </c:pt>
                <c:pt idx="41">
                  <c:v>2.368785170610536</c:v>
                </c:pt>
                <c:pt idx="42">
                  <c:v>1.0168391678233446</c:v>
                </c:pt>
                <c:pt idx="43">
                  <c:v>0.9089817785633431</c:v>
                </c:pt>
                <c:pt idx="44">
                  <c:v>1.0295898922071038</c:v>
                </c:pt>
                <c:pt idx="45">
                  <c:v>0.8528465072718019</c:v>
                </c:pt>
                <c:pt idx="46">
                  <c:v>0.6881083481467689</c:v>
                </c:pt>
                <c:pt idx="47">
                  <c:v>0.6526495496395167</c:v>
                </c:pt>
                <c:pt idx="48">
                  <c:v>0.8776901183976674</c:v>
                </c:pt>
                <c:pt idx="49">
                  <c:v>0.8909280755887798</c:v>
                </c:pt>
                <c:pt idx="50">
                  <c:v>0.7841018617791378</c:v>
                </c:pt>
                <c:pt idx="51">
                  <c:v>0.799525535284968</c:v>
                </c:pt>
                <c:pt idx="52">
                  <c:v>0.17999859403392696</c:v>
                </c:pt>
                <c:pt idx="53">
                  <c:v>-0.3013187227112258</c:v>
                </c:pt>
                <c:pt idx="54">
                  <c:v>1.3873861160379493</c:v>
                </c:pt>
              </c:numCache>
            </c:numRef>
          </c:xVal>
          <c:yVal>
            <c:numRef>
              <c:f>Sheet1!$B$187:$B$241</c:f>
              <c:numCache>
                <c:formatCode>General</c:formatCode>
                <c:ptCount val="55"/>
                <c:pt idx="0">
                  <c:v>0.935854716686659</c:v>
                </c:pt>
                <c:pt idx="1">
                  <c:v>0.9388040023190916</c:v>
                </c:pt>
                <c:pt idx="2">
                  <c:v>0.9332962727561447</c:v>
                </c:pt>
                <c:pt idx="3">
                  <c:v>0.9347487527415097</c:v>
                </c:pt>
                <c:pt idx="4">
                  <c:v>0.9347722733802143</c:v>
                </c:pt>
                <c:pt idx="5">
                  <c:v>0.9282435752243909</c:v>
                </c:pt>
                <c:pt idx="6">
                  <c:v>0.941511034970257</c:v>
                </c:pt>
                <c:pt idx="7">
                  <c:v>0.9443434093116153</c:v>
                </c:pt>
                <c:pt idx="8">
                  <c:v>0.9322219549720028</c:v>
                </c:pt>
                <c:pt idx="9">
                  <c:v>0.9370670403128478</c:v>
                </c:pt>
                <c:pt idx="10">
                  <c:v>0.9368067971541579</c:v>
                </c:pt>
                <c:pt idx="11">
                  <c:v>0.9319912081080394</c:v>
                </c:pt>
                <c:pt idx="12">
                  <c:v>0.9374849147620905</c:v>
                </c:pt>
                <c:pt idx="13">
                  <c:v>0.9355111066741008</c:v>
                </c:pt>
                <c:pt idx="14">
                  <c:v>0.934525816100094</c:v>
                </c:pt>
                <c:pt idx="15">
                  <c:v>0.9307187405069441</c:v>
                </c:pt>
                <c:pt idx="16">
                  <c:v>0.9277027008047196</c:v>
                </c:pt>
                <c:pt idx="17">
                  <c:v>0.9319703957916204</c:v>
                </c:pt>
                <c:pt idx="18">
                  <c:v>0.9477717299467314</c:v>
                </c:pt>
                <c:pt idx="19">
                  <c:v>0.9324836969856868</c:v>
                </c:pt>
                <c:pt idx="20">
                  <c:v>0.9391173278658976</c:v>
                </c:pt>
                <c:pt idx="21">
                  <c:v>0.9414973735623435</c:v>
                </c:pt>
                <c:pt idx="22">
                  <c:v>0.9348946527215095</c:v>
                </c:pt>
                <c:pt idx="23">
                  <c:v>0.9336529481732797</c:v>
                </c:pt>
                <c:pt idx="24">
                  <c:v>0.9379703655060121</c:v>
                </c:pt>
                <c:pt idx="25">
                  <c:v>0.9381642514182844</c:v>
                </c:pt>
                <c:pt idx="26">
                  <c:v>0.9393782947199572</c:v>
                </c:pt>
                <c:pt idx="27">
                  <c:v>0.9286045170514384</c:v>
                </c:pt>
                <c:pt idx="28">
                  <c:v>0.92828248775352</c:v>
                </c:pt>
                <c:pt idx="29">
                  <c:v>0.923298404253452</c:v>
                </c:pt>
                <c:pt idx="30">
                  <c:v>0.9330349406703973</c:v>
                </c:pt>
                <c:pt idx="31">
                  <c:v>0.9434718675793348</c:v>
                </c:pt>
                <c:pt idx="32">
                  <c:v>0.9338888725136398</c:v>
                </c:pt>
                <c:pt idx="33">
                  <c:v>0.9380738641499984</c:v>
                </c:pt>
                <c:pt idx="34">
                  <c:v>0.9422154588876516</c:v>
                </c:pt>
                <c:pt idx="35">
                  <c:v>0.9362720995679599</c:v>
                </c:pt>
                <c:pt idx="36">
                  <c:v>0.9361852922949537</c:v>
                </c:pt>
                <c:pt idx="37">
                  <c:v>0.930896141777726</c:v>
                </c:pt>
                <c:pt idx="38">
                  <c:v>0.9295747814874706</c:v>
                </c:pt>
                <c:pt idx="39">
                  <c:v>0.9340268289864142</c:v>
                </c:pt>
                <c:pt idx="40">
                  <c:v>0.7190983994254068</c:v>
                </c:pt>
                <c:pt idx="41">
                  <c:v>0.8264307231383007</c:v>
                </c:pt>
                <c:pt idx="42">
                  <c:v>0.911279007176999</c:v>
                </c:pt>
                <c:pt idx="43">
                  <c:v>0.9180481491255221</c:v>
                </c:pt>
                <c:pt idx="44">
                  <c:v>0.9104787702725797</c:v>
                </c:pt>
                <c:pt idx="45">
                  <c:v>0.9215712051006236</c:v>
                </c:pt>
                <c:pt idx="46">
                  <c:v>0.9319101905990358</c:v>
                </c:pt>
                <c:pt idx="47">
                  <c:v>0.9341355888037065</c:v>
                </c:pt>
                <c:pt idx="48">
                  <c:v>0.9200120172565762</c:v>
                </c:pt>
                <c:pt idx="49">
                  <c:v>0.9191812015660619</c:v>
                </c:pt>
                <c:pt idx="50">
                  <c:v>0.9258856268266956</c:v>
                </c:pt>
                <c:pt idx="51">
                  <c:v>0.9249176353330673</c:v>
                </c:pt>
                <c:pt idx="52">
                  <c:v>0.9637992162338753</c:v>
                </c:pt>
                <c:pt idx="53">
                  <c:v>0.9940067454693201</c:v>
                </c:pt>
                <c:pt idx="54">
                  <c:v>0.88802343879855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73626373626374"/>
          <c:min val="0.582653061224489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08.1351</c:v>
                </c:pt>
                <c:pt idx="1">
                  <c:v>1078.7634</c:v>
                </c:pt>
                <c:pt idx="2">
                  <c:v>1103.9473</c:v>
                </c:pt>
                <c:pt idx="3">
                  <c:v>1123.3863</c:v>
                </c:pt>
                <c:pt idx="4">
                  <c:v>1131.1386</c:v>
                </c:pt>
                <c:pt idx="5">
                  <c:v>1137.0022</c:v>
                </c:pt>
                <c:pt idx="6">
                  <c:v>1093.829</c:v>
                </c:pt>
                <c:pt idx="7">
                  <c:v>1124.207</c:v>
                </c:pt>
                <c:pt idx="8">
                  <c:v>1118.0112</c:v>
                </c:pt>
                <c:pt idx="9">
                  <c:v>1097.479</c:v>
                </c:pt>
                <c:pt idx="10">
                  <c:v>1078.3984</c:v>
                </c:pt>
                <c:pt idx="11">
                  <c:v>1116.3066</c:v>
                </c:pt>
                <c:pt idx="12">
                  <c:v>1106.0177</c:v>
                </c:pt>
                <c:pt idx="13">
                  <c:v>1070.4208</c:v>
                </c:pt>
                <c:pt idx="14">
                  <c:v>1125.8199</c:v>
                </c:pt>
                <c:pt idx="15">
                  <c:v>1105.5451</c:v>
                </c:pt>
                <c:pt idx="16">
                  <c:v>1122.5303</c:v>
                </c:pt>
                <c:pt idx="17">
                  <c:v>1122.3011</c:v>
                </c:pt>
                <c:pt idx="18">
                  <c:v>1221.575</c:v>
                </c:pt>
                <c:pt idx="19">
                  <c:v>1298.134</c:v>
                </c:pt>
                <c:pt idx="20">
                  <c:v>1233.3502</c:v>
                </c:pt>
                <c:pt idx="21">
                  <c:v>1251.3841</c:v>
                </c:pt>
                <c:pt idx="22">
                  <c:v>1241.2438</c:v>
                </c:pt>
                <c:pt idx="23">
                  <c:v>1247.4643</c:v>
                </c:pt>
                <c:pt idx="24">
                  <c:v>1242.9463</c:v>
                </c:pt>
                <c:pt idx="25">
                  <c:v>1220.8412</c:v>
                </c:pt>
                <c:pt idx="26">
                  <c:v>1220.1005</c:v>
                </c:pt>
                <c:pt idx="27">
                  <c:v>1202.5012</c:v>
                </c:pt>
                <c:pt idx="28">
                  <c:v>1185.1401</c:v>
                </c:pt>
                <c:pt idx="29">
                  <c:v>1143.7721</c:v>
                </c:pt>
                <c:pt idx="30">
                  <c:v>1126.7887</c:v>
                </c:pt>
                <c:pt idx="31">
                  <c:v>1106.5291</c:v>
                </c:pt>
                <c:pt idx="32">
                  <c:v>1087.7129</c:v>
                </c:pt>
                <c:pt idx="33">
                  <c:v>1058.2324</c:v>
                </c:pt>
                <c:pt idx="34">
                  <c:v>1049.1473</c:v>
                </c:pt>
                <c:pt idx="35">
                  <c:v>1115.9028</c:v>
                </c:pt>
                <c:pt idx="36">
                  <c:v>1288.3132</c:v>
                </c:pt>
                <c:pt idx="37">
                  <c:v>1281.327</c:v>
                </c:pt>
                <c:pt idx="38">
                  <c:v>1301.7479</c:v>
                </c:pt>
                <c:pt idx="39">
                  <c:v>1333.9904</c:v>
                </c:pt>
                <c:pt idx="40">
                  <c:v>1316.0849</c:v>
                </c:pt>
                <c:pt idx="41">
                  <c:v>1385.5707</c:v>
                </c:pt>
                <c:pt idx="42">
                  <c:v>1452.3396</c:v>
                </c:pt>
                <c:pt idx="43">
                  <c:v>1457.2893</c:v>
                </c:pt>
                <c:pt idx="44">
                  <c:v>1135.9885</c:v>
                </c:pt>
                <c:pt idx="45">
                  <c:v>1008.3997</c:v>
                </c:pt>
                <c:pt idx="46">
                  <c:v>967.1687</c:v>
                </c:pt>
                <c:pt idx="47">
                  <c:v>951.8325</c:v>
                </c:pt>
                <c:pt idx="48">
                  <c:v>950.4937</c:v>
                </c:pt>
                <c:pt idx="49">
                  <c:v>954.3533</c:v>
                </c:pt>
                <c:pt idx="50">
                  <c:v>969.7833</c:v>
                </c:pt>
                <c:pt idx="51">
                  <c:v>1021.0981</c:v>
                </c:pt>
                <c:pt idx="52">
                  <c:v>1044.2496</c:v>
                </c:pt>
                <c:pt idx="53">
                  <c:v>1056.8578</c:v>
                </c:pt>
                <c:pt idx="54">
                  <c:v>1059.5004</c:v>
                </c:pt>
                <c:pt idx="55">
                  <c:v>1085.1974</c:v>
                </c:pt>
                <c:pt idx="56">
                  <c:v>1117.8123</c:v>
                </c:pt>
                <c:pt idx="57">
                  <c:v>1086.0625</c:v>
                </c:pt>
                <c:pt idx="58">
                  <c:v>1080.4419</c:v>
                </c:pt>
                <c:pt idx="59">
                  <c:v>1063.8978</c:v>
                </c:pt>
                <c:pt idx="60">
                  <c:v>1120.0558</c:v>
                </c:pt>
                <c:pt idx="61">
                  <c:v>1108.908</c:v>
                </c:pt>
                <c:pt idx="62">
                  <c:v>1121.7511</c:v>
                </c:pt>
                <c:pt idx="63">
                  <c:v>1149.1837</c:v>
                </c:pt>
                <c:pt idx="64">
                  <c:v>1150.2012</c:v>
                </c:pt>
                <c:pt idx="65">
                  <c:v>1132.1064</c:v>
                </c:pt>
                <c:pt idx="66">
                  <c:v>1017.2673</c:v>
                </c:pt>
                <c:pt idx="67">
                  <c:v>930.3664</c:v>
                </c:pt>
                <c:pt idx="68">
                  <c:v>911.8928</c:v>
                </c:pt>
                <c:pt idx="69">
                  <c:v>901.3654</c:v>
                </c:pt>
                <c:pt idx="70">
                  <c:v>858.9938</c:v>
                </c:pt>
                <c:pt idx="71">
                  <c:v>884.1813</c:v>
                </c:pt>
                <c:pt idx="72">
                  <c:v>942.6766</c:v>
                </c:pt>
                <c:pt idx="73">
                  <c:v>924.7044</c:v>
                </c:pt>
                <c:pt idx="74">
                  <c:v>905.3407</c:v>
                </c:pt>
                <c:pt idx="75">
                  <c:v>866.6867</c:v>
                </c:pt>
                <c:pt idx="76">
                  <c:v>868.4491</c:v>
                </c:pt>
                <c:pt idx="77">
                  <c:v>824.574</c:v>
                </c:pt>
                <c:pt idx="78">
                  <c:v>943.9817</c:v>
                </c:pt>
                <c:pt idx="79">
                  <c:v>389.7224</c:v>
                </c:pt>
                <c:pt idx="80">
                  <c:v>407.6622</c:v>
                </c:pt>
                <c:pt idx="81">
                  <c:v>607.4823</c:v>
                </c:pt>
                <c:pt idx="82">
                  <c:v>608.3022</c:v>
                </c:pt>
                <c:pt idx="83">
                  <c:v>644.2242</c:v>
                </c:pt>
                <c:pt idx="84">
                  <c:v>670.6378</c:v>
                </c:pt>
                <c:pt idx="85">
                  <c:v>745.7542</c:v>
                </c:pt>
                <c:pt idx="86">
                  <c:v>1027.1054</c:v>
                </c:pt>
                <c:pt idx="87">
                  <c:v>1072.8543</c:v>
                </c:pt>
                <c:pt idx="88">
                  <c:v>1064.7811</c:v>
                </c:pt>
                <c:pt idx="89">
                  <c:v>915.4278</c:v>
                </c:pt>
                <c:pt idx="90">
                  <c:v>958.1063</c:v>
                </c:pt>
                <c:pt idx="91">
                  <c:v>1062.0336</c:v>
                </c:pt>
                <c:pt idx="92">
                  <c:v>1174.3632</c:v>
                </c:pt>
                <c:pt idx="93">
                  <c:v>1263.1332</c:v>
                </c:pt>
                <c:pt idx="94">
                  <c:v>1179.679</c:v>
                </c:pt>
                <c:pt idx="95">
                  <c:v>1369.6003</c:v>
                </c:pt>
                <c:pt idx="96">
                  <c:v>1299.5273</c:v>
                </c:pt>
                <c:pt idx="97">
                  <c:v>1324.7296</c:v>
                </c:pt>
                <c:pt idx="98">
                  <c:v>1327.8002</c:v>
                </c:pt>
                <c:pt idx="99">
                  <c:v>1303.2951</c:v>
                </c:pt>
                <c:pt idx="100">
                  <c:v>1242.4389</c:v>
                </c:pt>
                <c:pt idx="101">
                  <c:v>1333.5508</c:v>
                </c:pt>
                <c:pt idx="102">
                  <c:v>1417.1311</c:v>
                </c:pt>
                <c:pt idx="103">
                  <c:v>1333.2819</c:v>
                </c:pt>
                <c:pt idx="104">
                  <c:v>1375.6686</c:v>
                </c:pt>
              </c:numCache>
            </c:numRef>
          </c:xVal>
          <c:yVal>
            <c:numRef>
              <c:f>Sheet1!$B$2:$B$106</c:f>
              <c:numCache>
                <c:formatCode>General</c:formatCode>
                <c:ptCount val="105"/>
                <c:pt idx="0">
                  <c:v>0.9961277831558567</c:v>
                </c:pt>
                <c:pt idx="1">
                  <c:v>0.996316758747698</c:v>
                </c:pt>
                <c:pt idx="2">
                  <c:v>0.9902740937223696</c:v>
                </c:pt>
                <c:pt idx="3">
                  <c:v>0.9931330472103004</c:v>
                </c:pt>
                <c:pt idx="4">
                  <c:v>0.9957850368809273</c:v>
                </c:pt>
                <c:pt idx="5">
                  <c:v>0.9978021978021978</c:v>
                </c:pt>
                <c:pt idx="6">
                  <c:v>0.9921104536489151</c:v>
                </c:pt>
                <c:pt idx="7">
                  <c:v>0.9943757030371203</c:v>
                </c:pt>
                <c:pt idx="8">
                  <c:v>0.9901356350184957</c:v>
                </c:pt>
                <c:pt idx="9">
                  <c:v>0.9901185770750988</c:v>
                </c:pt>
                <c:pt idx="10">
                  <c:v>0.990418118466899</c:v>
                </c:pt>
                <c:pt idx="11">
                  <c:v>0.9939393939393939</c:v>
                </c:pt>
                <c:pt idx="12">
                  <c:v>0.9899916597164303</c:v>
                </c:pt>
                <c:pt idx="13">
                  <c:v>0.9921875</c:v>
                </c:pt>
                <c:pt idx="14">
                  <c:v>0.9899451553930531</c:v>
                </c:pt>
                <c:pt idx="15">
                  <c:v>0.9874285714285714</c:v>
                </c:pt>
                <c:pt idx="16">
                  <c:v>0.9914285714285714</c:v>
                </c:pt>
                <c:pt idx="17">
                  <c:v>0.9911190053285968</c:v>
                </c:pt>
                <c:pt idx="18">
                  <c:v>0.9876543209876543</c:v>
                </c:pt>
                <c:pt idx="19">
                  <c:v>0.9902912621359223</c:v>
                </c:pt>
                <c:pt idx="20">
                  <c:v>0.9904306220095693</c:v>
                </c:pt>
                <c:pt idx="21">
                  <c:v>0.984984984984985</c:v>
                </c:pt>
                <c:pt idx="22">
                  <c:v>0.9917582417582418</c:v>
                </c:pt>
                <c:pt idx="23">
                  <c:v>0.9808917197452229</c:v>
                </c:pt>
                <c:pt idx="24">
                  <c:v>0.9779005524861878</c:v>
                </c:pt>
                <c:pt idx="25">
                  <c:v>0.9798270893371758</c:v>
                </c:pt>
                <c:pt idx="26">
                  <c:v>0.9835294117647059</c:v>
                </c:pt>
                <c:pt idx="27">
                  <c:v>0.9815242494226328</c:v>
                </c:pt>
                <c:pt idx="28">
                  <c:v>0.9836448598130841</c:v>
                </c:pt>
                <c:pt idx="29">
                  <c:v>0.9906716417910447</c:v>
                </c:pt>
                <c:pt idx="30">
                  <c:v>0.9878640776699029</c:v>
                </c:pt>
                <c:pt idx="31">
                  <c:v>0.9850374064837906</c:v>
                </c:pt>
                <c:pt idx="32">
                  <c:v>0.9835294117647059</c:v>
                </c:pt>
                <c:pt idx="33">
                  <c:v>0.9880952380952381</c:v>
                </c:pt>
                <c:pt idx="34">
                  <c:v>0.9878706199460916</c:v>
                </c:pt>
                <c:pt idx="35">
                  <c:v>0.9890510948905109</c:v>
                </c:pt>
                <c:pt idx="36">
                  <c:v>0.9759825327510917</c:v>
                </c:pt>
                <c:pt idx="37">
                  <c:v>0.9866666666666667</c:v>
                </c:pt>
                <c:pt idx="38">
                  <c:v>0.988795518207283</c:v>
                </c:pt>
                <c:pt idx="39">
                  <c:v>0.975</c:v>
                </c:pt>
                <c:pt idx="40">
                  <c:v>0.9886621315192744</c:v>
                </c:pt>
                <c:pt idx="41">
                  <c:v>0.9761273209549072</c:v>
                </c:pt>
                <c:pt idx="42">
                  <c:v>0.9861431870669746</c:v>
                </c:pt>
                <c:pt idx="43">
                  <c:v>0.9807355516637478</c:v>
                </c:pt>
                <c:pt idx="44">
                  <c:v>0.9938650306748467</c:v>
                </c:pt>
                <c:pt idx="45">
                  <c:v>0.9943037974683544</c:v>
                </c:pt>
                <c:pt idx="46">
                  <c:v>0.9972051425377306</c:v>
                </c:pt>
                <c:pt idx="47">
                  <c:v>0.9950819672131147</c:v>
                </c:pt>
                <c:pt idx="48">
                  <c:v>0.9954497724886244</c:v>
                </c:pt>
                <c:pt idx="49">
                  <c:v>0.9971289752650176</c:v>
                </c:pt>
                <c:pt idx="50">
                  <c:v>0.9962121212121212</c:v>
                </c:pt>
                <c:pt idx="51">
                  <c:v>0.9915773353751914</c:v>
                </c:pt>
                <c:pt idx="52">
                  <c:v>0.9965136548518303</c:v>
                </c:pt>
                <c:pt idx="53">
                  <c:v>0.9914101646385111</c:v>
                </c:pt>
                <c:pt idx="54">
                  <c:v>0.9893858984078847</c:v>
                </c:pt>
                <c:pt idx="55">
                  <c:v>0.9906858594411516</c:v>
                </c:pt>
                <c:pt idx="56">
                  <c:v>0.9922413793103448</c:v>
                </c:pt>
                <c:pt idx="57">
                  <c:v>0.99215965787598</c:v>
                </c:pt>
                <c:pt idx="58">
                  <c:v>0.9949968730456535</c:v>
                </c:pt>
                <c:pt idx="59">
                  <c:v>0.9948623853211009</c:v>
                </c:pt>
                <c:pt idx="60">
                  <c:v>0.9939734833266372</c:v>
                </c:pt>
                <c:pt idx="61">
                  <c:v>0.9943534726143421</c:v>
                </c:pt>
                <c:pt idx="62">
                  <c:v>0.9943246311010215</c:v>
                </c:pt>
                <c:pt idx="63">
                  <c:v>0.9955882352941177</c:v>
                </c:pt>
                <c:pt idx="64">
                  <c:v>0.9954591321897074</c:v>
                </c:pt>
                <c:pt idx="65">
                  <c:v>0.9966517857142857</c:v>
                </c:pt>
                <c:pt idx="66">
                  <c:v>0.9953319502074689</c:v>
                </c:pt>
                <c:pt idx="67">
                  <c:v>0.9960649286768323</c:v>
                </c:pt>
                <c:pt idx="68">
                  <c:v>0.996316758747698</c:v>
                </c:pt>
                <c:pt idx="69">
                  <c:v>0.992988606485539</c:v>
                </c:pt>
                <c:pt idx="70">
                  <c:v>0.9912126537785588</c:v>
                </c:pt>
                <c:pt idx="71">
                  <c:v>0.9895038167938931</c:v>
                </c:pt>
                <c:pt idx="72">
                  <c:v>0.9876425855513308</c:v>
                </c:pt>
                <c:pt idx="73">
                  <c:v>0.9912959381044487</c:v>
                </c:pt>
                <c:pt idx="74">
                  <c:v>0.9935956084172004</c:v>
                </c:pt>
                <c:pt idx="75">
                  <c:v>0.9903938520653218</c:v>
                </c:pt>
                <c:pt idx="76">
                  <c:v>0.9898190045248869</c:v>
                </c:pt>
                <c:pt idx="77">
                  <c:v>0.9912472647702407</c:v>
                </c:pt>
                <c:pt idx="78">
                  <c:v>0.993920972644377</c:v>
                </c:pt>
                <c:pt idx="79">
                  <c:v>0.9963331587218439</c:v>
                </c:pt>
                <c:pt idx="80">
                  <c:v>0.9944102850754611</c:v>
                </c:pt>
                <c:pt idx="81">
                  <c:v>0.9929797191887676</c:v>
                </c:pt>
                <c:pt idx="82">
                  <c:v>0.9941291585127201</c:v>
                </c:pt>
                <c:pt idx="83">
                  <c:v>0.983957219251337</c:v>
                </c:pt>
                <c:pt idx="84">
                  <c:v>0.9887640449438202</c:v>
                </c:pt>
                <c:pt idx="85">
                  <c:v>0.9897039897039897</c:v>
                </c:pt>
                <c:pt idx="86">
                  <c:v>0.9876084262701363</c:v>
                </c:pt>
                <c:pt idx="87">
                  <c:v>0.9912472647702407</c:v>
                </c:pt>
                <c:pt idx="88">
                  <c:v>0.98145285935085</c:v>
                </c:pt>
                <c:pt idx="89">
                  <c:v>0.9829059829059829</c:v>
                </c:pt>
                <c:pt idx="90">
                  <c:v>0.9887429643527205</c:v>
                </c:pt>
                <c:pt idx="91">
                  <c:v>0.981651376146789</c:v>
                </c:pt>
                <c:pt idx="92">
                  <c:v>0.9780907668231612</c:v>
                </c:pt>
                <c:pt idx="93">
                  <c:v>0.9834162520729685</c:v>
                </c:pt>
                <c:pt idx="94">
                  <c:v>0.9853747714808044</c:v>
                </c:pt>
                <c:pt idx="95">
                  <c:v>0.9868035190615836</c:v>
                </c:pt>
                <c:pt idx="96">
                  <c:v>0.983669548511047</c:v>
                </c:pt>
                <c:pt idx="97">
                  <c:v>0.9830508474576272</c:v>
                </c:pt>
                <c:pt idx="98">
                  <c:v>0.98</c:v>
                </c:pt>
                <c:pt idx="99">
                  <c:v>0.9832723470987977</c:v>
                </c:pt>
                <c:pt idx="100">
                  <c:v>0.984677923702314</c:v>
                </c:pt>
                <c:pt idx="101">
                  <c:v>0.9710873664362036</c:v>
                </c:pt>
                <c:pt idx="102">
                  <c:v>0.9651394422310757</c:v>
                </c:pt>
                <c:pt idx="103">
                  <c:v>0.9658580413297394</c:v>
                </c:pt>
                <c:pt idx="104">
                  <c:v>0.970260223048327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37.6754</c:v>
                </c:pt>
                <c:pt idx="1">
                  <c:v>1465.6114</c:v>
                </c:pt>
                <c:pt idx="2">
                  <c:v>1448.2003</c:v>
                </c:pt>
                <c:pt idx="3">
                  <c:v>1464.4797</c:v>
                </c:pt>
                <c:pt idx="4">
                  <c:v>1472.1213</c:v>
                </c:pt>
                <c:pt idx="5">
                  <c:v>1486.6544</c:v>
                </c:pt>
                <c:pt idx="6">
                  <c:v>1381.786</c:v>
                </c:pt>
                <c:pt idx="7">
                  <c:v>1434.2339</c:v>
                </c:pt>
                <c:pt idx="8">
                  <c:v>1524.1725</c:v>
                </c:pt>
                <c:pt idx="9">
                  <c:v>1428.9597</c:v>
                </c:pt>
                <c:pt idx="10">
                  <c:v>1456.2175</c:v>
                </c:pt>
                <c:pt idx="11">
                  <c:v>1335.0014</c:v>
                </c:pt>
                <c:pt idx="12">
                  <c:v>1366.6636</c:v>
                </c:pt>
                <c:pt idx="13">
                  <c:v>1402.4787</c:v>
                </c:pt>
                <c:pt idx="14">
                  <c:v>1406.5432</c:v>
                </c:pt>
                <c:pt idx="15">
                  <c:v>1421.9631</c:v>
                </c:pt>
                <c:pt idx="16">
                  <c:v>1542.2034</c:v>
                </c:pt>
                <c:pt idx="17">
                  <c:v>1530.9681</c:v>
                </c:pt>
                <c:pt idx="18">
                  <c:v>1559.5152</c:v>
                </c:pt>
                <c:pt idx="19">
                  <c:v>1667.551</c:v>
                </c:pt>
                <c:pt idx="20">
                  <c:v>1622.8186</c:v>
                </c:pt>
                <c:pt idx="21">
                  <c:v>1481.4896</c:v>
                </c:pt>
                <c:pt idx="22">
                  <c:v>1530.6699</c:v>
                </c:pt>
                <c:pt idx="23">
                  <c:v>1513.7189</c:v>
                </c:pt>
                <c:pt idx="24">
                  <c:v>1511.9952</c:v>
                </c:pt>
                <c:pt idx="25">
                  <c:v>1433.9883</c:v>
                </c:pt>
                <c:pt idx="26">
                  <c:v>1467.0808</c:v>
                </c:pt>
                <c:pt idx="27">
                  <c:v>1532.1551</c:v>
                </c:pt>
                <c:pt idx="28">
                  <c:v>1510.7682</c:v>
                </c:pt>
                <c:pt idx="29">
                  <c:v>1574.8249</c:v>
                </c:pt>
                <c:pt idx="30">
                  <c:v>1452.8695</c:v>
                </c:pt>
                <c:pt idx="31">
                  <c:v>1279.5401</c:v>
                </c:pt>
                <c:pt idx="32">
                  <c:v>1426.6403</c:v>
                </c:pt>
                <c:pt idx="33">
                  <c:v>1455.0825</c:v>
                </c:pt>
                <c:pt idx="34">
                  <c:v>1472.599</c:v>
                </c:pt>
                <c:pt idx="35">
                  <c:v>1464.3313</c:v>
                </c:pt>
                <c:pt idx="36">
                  <c:v>1501.7713</c:v>
                </c:pt>
                <c:pt idx="37">
                  <c:v>1555.0895</c:v>
                </c:pt>
                <c:pt idx="38">
                  <c:v>1443.4905</c:v>
                </c:pt>
                <c:pt idx="39">
                  <c:v>1420.5008</c:v>
                </c:pt>
                <c:pt idx="40">
                  <c:v>1401.3695</c:v>
                </c:pt>
                <c:pt idx="41">
                  <c:v>1486.1057</c:v>
                </c:pt>
                <c:pt idx="42">
                  <c:v>1468.5417</c:v>
                </c:pt>
                <c:pt idx="43">
                  <c:v>1489.7346</c:v>
                </c:pt>
                <c:pt idx="44">
                  <c:v>1456.6123</c:v>
                </c:pt>
                <c:pt idx="45">
                  <c:v>1408.5369</c:v>
                </c:pt>
                <c:pt idx="46">
                  <c:v>1400.9427</c:v>
                </c:pt>
                <c:pt idx="47">
                  <c:v>1403.153</c:v>
                </c:pt>
                <c:pt idx="48">
                  <c:v>1373.6714</c:v>
                </c:pt>
                <c:pt idx="49">
                  <c:v>1383.8874</c:v>
                </c:pt>
                <c:pt idx="50">
                  <c:v>1252.4165</c:v>
                </c:pt>
                <c:pt idx="51">
                  <c:v>1239.8707</c:v>
                </c:pt>
              </c:numCache>
            </c:numRef>
          </c:xVal>
          <c:yVal>
            <c:numRef>
              <c:f>Sheet1!$B$109:$B$160</c:f>
              <c:numCache>
                <c:formatCode>General</c:formatCode>
                <c:ptCount val="52"/>
                <c:pt idx="0">
                  <c:v>0.963963963963964</c:v>
                </c:pt>
                <c:pt idx="1">
                  <c:v>0.9608993157380255</c:v>
                </c:pt>
                <c:pt idx="2">
                  <c:v>0.9586709886547812</c:v>
                </c:pt>
                <c:pt idx="3">
                  <c:v>0.9610591900311527</c:v>
                </c:pt>
                <c:pt idx="4">
                  <c:v>0.9662731871838112</c:v>
                </c:pt>
                <c:pt idx="5">
                  <c:v>0.9595426561125769</c:v>
                </c:pt>
                <c:pt idx="6">
                  <c:v>0.9733750978856696</c:v>
                </c:pt>
                <c:pt idx="7">
                  <c:v>0.9765432098765432</c:v>
                </c:pt>
                <c:pt idx="8">
                  <c:v>0.9538653366583542</c:v>
                </c:pt>
                <c:pt idx="9">
                  <c:v>0.9523316062176166</c:v>
                </c:pt>
                <c:pt idx="10">
                  <c:v>0.9553398058252427</c:v>
                </c:pt>
                <c:pt idx="11">
                  <c:v>0.9700797872340425</c:v>
                </c:pt>
                <c:pt idx="12">
                  <c:v>0.9617977528089887</c:v>
                </c:pt>
                <c:pt idx="13">
                  <c:v>0.9629927594529365</c:v>
                </c:pt>
                <c:pt idx="14">
                  <c:v>0.9629941126997477</c:v>
                </c:pt>
                <c:pt idx="15">
                  <c:v>0.9543292102759277</c:v>
                </c:pt>
                <c:pt idx="16">
                  <c:v>0.9457459926017263</c:v>
                </c:pt>
                <c:pt idx="17">
                  <c:v>0.945619335347432</c:v>
                </c:pt>
                <c:pt idx="18">
                  <c:v>0.9314516129032258</c:v>
                </c:pt>
                <c:pt idx="19">
                  <c:v>0.9107142857142857</c:v>
                </c:pt>
                <c:pt idx="20">
                  <c:v>0.907843137254902</c:v>
                </c:pt>
                <c:pt idx="21">
                  <c:v>0.9308855291576674</c:v>
                </c:pt>
                <c:pt idx="22">
                  <c:v>0.9346846846846847</c:v>
                </c:pt>
                <c:pt idx="23">
                  <c:v>0.925</c:v>
                </c:pt>
                <c:pt idx="24">
                  <c:v>0.9355555555555556</c:v>
                </c:pt>
                <c:pt idx="25">
                  <c:v>0.9282608695652174</c:v>
                </c:pt>
                <c:pt idx="26">
                  <c:v>0.9397321428571429</c:v>
                </c:pt>
                <c:pt idx="27">
                  <c:v>0.9137577002053389</c:v>
                </c:pt>
                <c:pt idx="28">
                  <c:v>0.9238938053097345</c:v>
                </c:pt>
                <c:pt idx="29">
                  <c:v>0.9205298013245033</c:v>
                </c:pt>
                <c:pt idx="30">
                  <c:v>0.9149797570850202</c:v>
                </c:pt>
                <c:pt idx="31">
                  <c:v>0.9197396963123644</c:v>
                </c:pt>
                <c:pt idx="32">
                  <c:v>0.9285714285714286</c:v>
                </c:pt>
                <c:pt idx="33">
                  <c:v>0.9275167785234899</c:v>
                </c:pt>
                <c:pt idx="34">
                  <c:v>0.9421641791044776</c:v>
                </c:pt>
                <c:pt idx="35">
                  <c:v>0.9201349831271091</c:v>
                </c:pt>
                <c:pt idx="36">
                  <c:v>0.9016786570743405</c:v>
                </c:pt>
                <c:pt idx="37">
                  <c:v>0.8708240534521158</c:v>
                </c:pt>
                <c:pt idx="38">
                  <c:v>0.9156327543424317</c:v>
                </c:pt>
                <c:pt idx="39">
                  <c:v>0.9034690799396682</c:v>
                </c:pt>
                <c:pt idx="40">
                  <c:v>0.7283163265306123</c:v>
                </c:pt>
                <c:pt idx="41">
                  <c:v>0.83008356545961</c:v>
                </c:pt>
                <c:pt idx="42">
                  <c:v>0.863013698630137</c:v>
                </c:pt>
                <c:pt idx="43">
                  <c:v>0.8707571801566579</c:v>
                </c:pt>
                <c:pt idx="44">
                  <c:v>0.9010011123470523</c:v>
                </c:pt>
                <c:pt idx="45">
                  <c:v>0.9201581027667984</c:v>
                </c:pt>
                <c:pt idx="46">
                  <c:v>0.9165808444902163</c:v>
                </c:pt>
                <c:pt idx="47">
                  <c:v>0.931640625</c:v>
                </c:pt>
                <c:pt idx="48">
                  <c:v>0.9058728881737731</c:v>
                </c:pt>
                <c:pt idx="49">
                  <c:v>0.9117840684660962</c:v>
                </c:pt>
                <c:pt idx="50">
                  <c:v>0.9426535459789617</c:v>
                </c:pt>
                <c:pt idx="51">
                  <c:v>0.918973666441593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7.251728793719856</c:v>
                </c:pt>
              </c:numCache>
            </c:numRef>
          </c:xVal>
          <c:yVal>
            <c:numRef>
              <c:f>Sheet1!$B$163:$B$164</c:f>
              <c:numCache>
                <c:formatCode>General</c:formatCode>
                <c:ptCount val="2"/>
                <c:pt idx="0">
                  <c:v>0.9940067454693201</c:v>
                </c:pt>
                <c:pt idx="1">
                  <c:v>0.9940067454693201</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7.251728793719856</c:v>
                </c:pt>
                <c:pt idx="1">
                  <c:v>47.251728793719856</c:v>
                </c:pt>
              </c:numCache>
            </c:numRef>
          </c:xVal>
          <c:yVal>
            <c:numRef>
              <c:f>Sheet1!$B$167:$B$168</c:f>
              <c:numCache>
                <c:formatCode>General</c:formatCode>
                <c:ptCount val="2"/>
                <c:pt idx="0">
                  <c:v>0.994006745469320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76.2446000889545</c:v>
                </c:pt>
              </c:numCache>
            </c:numRef>
          </c:xVal>
          <c:yVal>
            <c:numRef>
              <c:f>Sheet1!$B$171:$B$172</c:f>
              <c:numCache>
                <c:formatCode>General</c:formatCode>
                <c:ptCount val="2"/>
                <c:pt idx="0">
                  <c:v>0.9637992162338753</c:v>
                </c:pt>
                <c:pt idx="1">
                  <c:v>0.963799216233875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76.2446000889545</c:v>
                </c:pt>
                <c:pt idx="1">
                  <c:v>676.2446000889545</c:v>
                </c:pt>
              </c:numCache>
            </c:numRef>
          </c:xVal>
          <c:yVal>
            <c:numRef>
              <c:f>Sheet1!$B$175:$B$176</c:f>
              <c:numCache>
                <c:formatCode>General</c:formatCode>
                <c:ptCount val="2"/>
                <c:pt idx="0">
                  <c:v>0.96379921623387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2254.0771812371922</c:v>
                </c:pt>
              </c:numCache>
            </c:numRef>
          </c:xVal>
          <c:yVal>
            <c:numRef>
              <c:f>Sheet1!$B$179:$B$180</c:f>
              <c:numCache>
                <c:formatCode>General</c:formatCode>
                <c:ptCount val="2"/>
                <c:pt idx="0">
                  <c:v>0.888023438798552</c:v>
                </c:pt>
                <c:pt idx="1">
                  <c:v>0.88802343879855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2254.0771812371922</c:v>
                </c:pt>
                <c:pt idx="1">
                  <c:v>2254.0771812371922</c:v>
                </c:pt>
              </c:numCache>
            </c:numRef>
          </c:xVal>
          <c:yVal>
            <c:numRef>
              <c:f>Sheet1!$B$183:$B$184</c:f>
              <c:numCache>
                <c:formatCode>General</c:formatCode>
                <c:ptCount val="2"/>
                <c:pt idx="0">
                  <c:v>0.88802343879855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37.6754</c:v>
                </c:pt>
                <c:pt idx="1">
                  <c:v>1465.6114</c:v>
                </c:pt>
                <c:pt idx="2">
                  <c:v>1448.2003</c:v>
                </c:pt>
                <c:pt idx="3">
                  <c:v>1464.4797</c:v>
                </c:pt>
                <c:pt idx="4">
                  <c:v>1472.1213</c:v>
                </c:pt>
                <c:pt idx="5">
                  <c:v>1486.6544</c:v>
                </c:pt>
                <c:pt idx="6">
                  <c:v>1381.786</c:v>
                </c:pt>
                <c:pt idx="7">
                  <c:v>1434.2339</c:v>
                </c:pt>
                <c:pt idx="8">
                  <c:v>1524.1725</c:v>
                </c:pt>
                <c:pt idx="9">
                  <c:v>1428.9597</c:v>
                </c:pt>
                <c:pt idx="10">
                  <c:v>1456.2175</c:v>
                </c:pt>
                <c:pt idx="11">
                  <c:v>1335.0014</c:v>
                </c:pt>
                <c:pt idx="12">
                  <c:v>1366.6636</c:v>
                </c:pt>
                <c:pt idx="13">
                  <c:v>1402.4787</c:v>
                </c:pt>
                <c:pt idx="14">
                  <c:v>1406.5432</c:v>
                </c:pt>
                <c:pt idx="15">
                  <c:v>1421.9631</c:v>
                </c:pt>
                <c:pt idx="16">
                  <c:v>1542.2034</c:v>
                </c:pt>
                <c:pt idx="17">
                  <c:v>1530.9681</c:v>
                </c:pt>
                <c:pt idx="18">
                  <c:v>1559.5152</c:v>
                </c:pt>
                <c:pt idx="19">
                  <c:v>1667.551</c:v>
                </c:pt>
                <c:pt idx="20">
                  <c:v>1622.8186</c:v>
                </c:pt>
                <c:pt idx="21">
                  <c:v>1481.4896</c:v>
                </c:pt>
                <c:pt idx="22">
                  <c:v>1530.6699</c:v>
                </c:pt>
                <c:pt idx="23">
                  <c:v>1513.7189</c:v>
                </c:pt>
                <c:pt idx="24">
                  <c:v>1511.9952</c:v>
                </c:pt>
                <c:pt idx="25">
                  <c:v>1433.9883</c:v>
                </c:pt>
                <c:pt idx="26">
                  <c:v>1467.0808</c:v>
                </c:pt>
                <c:pt idx="27">
                  <c:v>1532.1551</c:v>
                </c:pt>
                <c:pt idx="28">
                  <c:v>1510.7682</c:v>
                </c:pt>
                <c:pt idx="29">
                  <c:v>1574.8249</c:v>
                </c:pt>
                <c:pt idx="30">
                  <c:v>1452.8695</c:v>
                </c:pt>
                <c:pt idx="31">
                  <c:v>1279.5401</c:v>
                </c:pt>
                <c:pt idx="32">
                  <c:v>1426.6403</c:v>
                </c:pt>
                <c:pt idx="33">
                  <c:v>1455.0825</c:v>
                </c:pt>
                <c:pt idx="34">
                  <c:v>1472.599</c:v>
                </c:pt>
                <c:pt idx="35">
                  <c:v>1464.3313</c:v>
                </c:pt>
                <c:pt idx="36">
                  <c:v>1501.7713</c:v>
                </c:pt>
                <c:pt idx="37">
                  <c:v>1555.0895</c:v>
                </c:pt>
                <c:pt idx="38">
                  <c:v>1443.4905</c:v>
                </c:pt>
                <c:pt idx="39">
                  <c:v>1420.5008</c:v>
                </c:pt>
                <c:pt idx="40">
                  <c:v>1401.3695</c:v>
                </c:pt>
                <c:pt idx="41">
                  <c:v>1486.1057</c:v>
                </c:pt>
                <c:pt idx="42">
                  <c:v>1468.5417</c:v>
                </c:pt>
                <c:pt idx="43">
                  <c:v>1489.7346</c:v>
                </c:pt>
                <c:pt idx="44">
                  <c:v>1456.6123</c:v>
                </c:pt>
                <c:pt idx="45">
                  <c:v>1408.5369</c:v>
                </c:pt>
                <c:pt idx="46">
                  <c:v>1400.9427</c:v>
                </c:pt>
                <c:pt idx="47">
                  <c:v>1403.153</c:v>
                </c:pt>
                <c:pt idx="48">
                  <c:v>1373.6714</c:v>
                </c:pt>
                <c:pt idx="49">
                  <c:v>1383.8874</c:v>
                </c:pt>
                <c:pt idx="50">
                  <c:v>1252.4165</c:v>
                </c:pt>
                <c:pt idx="51">
                  <c:v>1239.8707</c:v>
                </c:pt>
                <c:pt idx="52">
                  <c:v>676.2446000889545</c:v>
                </c:pt>
                <c:pt idx="53">
                  <c:v>47.251728793719856</c:v>
                </c:pt>
                <c:pt idx="54">
                  <c:v>2254.0771812371922</c:v>
                </c:pt>
              </c:numCache>
            </c:numRef>
          </c:xVal>
          <c:yVal>
            <c:numRef>
              <c:f>Sheet1!$B$187:$B$241</c:f>
              <c:numCache>
                <c:formatCode>General</c:formatCode>
                <c:ptCount val="55"/>
                <c:pt idx="0">
                  <c:v>0.9272313246110068</c:v>
                </c:pt>
                <c:pt idx="1">
                  <c:v>0.9258896917003132</c:v>
                </c:pt>
                <c:pt idx="2">
                  <c:v>0.9267258638356002</c:v>
                </c:pt>
                <c:pt idx="3">
                  <c:v>0.9259440418565643</c:v>
                </c:pt>
                <c:pt idx="4">
                  <c:v>0.9255770522356324</c:v>
                </c:pt>
                <c:pt idx="5">
                  <c:v>0.9248790967210847</c:v>
                </c:pt>
                <c:pt idx="6">
                  <c:v>0.9299154260714493</c:v>
                </c:pt>
                <c:pt idx="7">
                  <c:v>0.9273966034505741</c:v>
                </c:pt>
                <c:pt idx="8">
                  <c:v>0.923077281224711</c:v>
                </c:pt>
                <c:pt idx="9">
                  <c:v>0.9276498981347658</c:v>
                </c:pt>
                <c:pt idx="10">
                  <c:v>0.9263408359371318</c:v>
                </c:pt>
                <c:pt idx="11">
                  <c:v>0.9321622673899501</c:v>
                </c:pt>
                <c:pt idx="12">
                  <c:v>0.9306416828558377</c:v>
                </c:pt>
                <c:pt idx="13">
                  <c:v>0.9289216543313609</c:v>
                </c:pt>
                <c:pt idx="14">
                  <c:v>0.9287264557715987</c:v>
                </c:pt>
                <c:pt idx="15">
                  <c:v>0.9279859114803758</c:v>
                </c:pt>
                <c:pt idx="16">
                  <c:v>0.922211343049975</c:v>
                </c:pt>
                <c:pt idx="17">
                  <c:v>0.9227509209509456</c:v>
                </c:pt>
                <c:pt idx="18">
                  <c:v>0.9213799398203305</c:v>
                </c:pt>
                <c:pt idx="19">
                  <c:v>0.9161914953467797</c:v>
                </c:pt>
                <c:pt idx="20">
                  <c:v>0.9183397792819998</c:v>
                </c:pt>
                <c:pt idx="21">
                  <c:v>0.9251271374447799</c:v>
                </c:pt>
                <c:pt idx="22">
                  <c:v>0.9227652420754433</c:v>
                </c:pt>
                <c:pt idx="23">
                  <c:v>0.9235793178010007</c:v>
                </c:pt>
                <c:pt idx="24">
                  <c:v>0.9236620988952218</c:v>
                </c:pt>
                <c:pt idx="25">
                  <c:v>0.927408398447813</c:v>
                </c:pt>
                <c:pt idx="26">
                  <c:v>0.9258191234228585</c:v>
                </c:pt>
                <c:pt idx="27">
                  <c:v>0.9226939149993064</c:v>
                </c:pt>
                <c:pt idx="28">
                  <c:v>0.9237210258561833</c:v>
                </c:pt>
                <c:pt idx="29">
                  <c:v>0.9206446879097905</c:v>
                </c:pt>
                <c:pt idx="30">
                  <c:v>0.9265016244174082</c:v>
                </c:pt>
                <c:pt idx="31">
                  <c:v>0.9348258092481208</c:v>
                </c:pt>
                <c:pt idx="32">
                  <c:v>0.9277612878603194</c:v>
                </c:pt>
                <c:pt idx="33">
                  <c:v>0.9263953445766521</c:v>
                </c:pt>
                <c:pt idx="34">
                  <c:v>0.9255541105818007</c:v>
                </c:pt>
                <c:pt idx="35">
                  <c:v>0.92595116880115</c:v>
                </c:pt>
                <c:pt idx="36">
                  <c:v>0.9241531040754781</c:v>
                </c:pt>
                <c:pt idx="37">
                  <c:v>0.9215924850942729</c:v>
                </c:pt>
                <c:pt idx="38">
                  <c:v>0.9269520530782542</c:v>
                </c:pt>
                <c:pt idx="39">
                  <c:v>0.9280561387786758</c:v>
                </c:pt>
                <c:pt idx="40">
                  <c:v>0.9289749239198682</c:v>
                </c:pt>
                <c:pt idx="41">
                  <c:v>0.9249054481664634</c:v>
                </c:pt>
                <c:pt idx="42">
                  <c:v>0.9257489633598849</c:v>
                </c:pt>
                <c:pt idx="43">
                  <c:v>0.9247311693982211</c:v>
                </c:pt>
                <c:pt idx="44">
                  <c:v>0.9263218755751207</c:v>
                </c:pt>
                <c:pt idx="45">
                  <c:v>0.9286307078644521</c:v>
                </c:pt>
                <c:pt idx="46">
                  <c:v>0.9289954210893372</c:v>
                </c:pt>
                <c:pt idx="47">
                  <c:v>0.9288892709167103</c:v>
                </c:pt>
                <c:pt idx="48">
                  <c:v>0.9303051316276175</c:v>
                </c:pt>
                <c:pt idx="49">
                  <c:v>0.9298145058467023</c:v>
                </c:pt>
                <c:pt idx="50">
                  <c:v>0.9361284264594785</c:v>
                </c:pt>
                <c:pt idx="51">
                  <c:v>0.936730941428371</c:v>
                </c:pt>
                <c:pt idx="52">
                  <c:v>0.9637992162338753</c:v>
                </c:pt>
                <c:pt idx="53">
                  <c:v>0.9940067454693201</c:v>
                </c:pt>
                <c:pt idx="54">
                  <c:v>0.88802343879855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05.0"/>
          <c:min val="3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73626373626374"/>
          <c:min val="0.582653061224489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592060755456271</c:v>
                </c:pt>
                <c:pt idx="1">
                  <c:v>0.857693023255814</c:v>
                </c:pt>
                <c:pt idx="2">
                  <c:v>0.9729622562520657</c:v>
                </c:pt>
                <c:pt idx="3">
                  <c:v>0.9375615923885827</c:v>
                </c:pt>
                <c:pt idx="4">
                  <c:v>0.8768516279069768</c:v>
                </c:pt>
                <c:pt idx="5">
                  <c:v>0.6966925245098039</c:v>
                </c:pt>
                <c:pt idx="6">
                  <c:v>0.6660213246604693</c:v>
                </c:pt>
                <c:pt idx="7">
                  <c:v>0.8743589344740424</c:v>
                </c:pt>
                <c:pt idx="8">
                  <c:v>0.8192959108896379</c:v>
                </c:pt>
                <c:pt idx="9">
                  <c:v>0.965807303191766</c:v>
                </c:pt>
                <c:pt idx="10">
                  <c:v>0.9261180977519791</c:v>
                </c:pt>
                <c:pt idx="11">
                  <c:v>0.9702795306388525</c:v>
                </c:pt>
                <c:pt idx="12">
                  <c:v>0.942896589940324</c:v>
                </c:pt>
                <c:pt idx="13">
                  <c:v>0.9416087262491205</c:v>
                </c:pt>
                <c:pt idx="14">
                  <c:v>0.8074252404356979</c:v>
                </c:pt>
                <c:pt idx="15">
                  <c:v>0.8166236519426799</c:v>
                </c:pt>
                <c:pt idx="16">
                  <c:v>0.7301801762831781</c:v>
                </c:pt>
                <c:pt idx="17">
                  <c:v>0.777396264664136</c:v>
                </c:pt>
                <c:pt idx="18">
                  <c:v>0.9033091176561281</c:v>
                </c:pt>
                <c:pt idx="19">
                  <c:v>0.872108834397044</c:v>
                </c:pt>
                <c:pt idx="20">
                  <c:v>0.7945137812865317</c:v>
                </c:pt>
                <c:pt idx="21">
                  <c:v>1.1558350321479363</c:v>
                </c:pt>
                <c:pt idx="22">
                  <c:v>0.8597855723900815</c:v>
                </c:pt>
                <c:pt idx="23">
                  <c:v>1.0447774706867672</c:v>
                </c:pt>
                <c:pt idx="24">
                  <c:v>0.8106171697960255</c:v>
                </c:pt>
                <c:pt idx="25">
                  <c:v>0.9663650914608204</c:v>
                </c:pt>
                <c:pt idx="26">
                  <c:v>0.9019964045836273</c:v>
                </c:pt>
                <c:pt idx="27">
                  <c:v>0.9876806570841888</c:v>
                </c:pt>
                <c:pt idx="28">
                  <c:v>0.8762588539741221</c:v>
                </c:pt>
                <c:pt idx="29">
                  <c:v>1.0570906654343808</c:v>
                </c:pt>
                <c:pt idx="30">
                  <c:v>0.6946909371146733</c:v>
                </c:pt>
                <c:pt idx="31">
                  <c:v>0.9096005754212906</c:v>
                </c:pt>
                <c:pt idx="32">
                  <c:v>0.8471284267912772</c:v>
                </c:pt>
                <c:pt idx="33">
                  <c:v>0.870256907894737</c:v>
                </c:pt>
                <c:pt idx="34">
                  <c:v>0.8961964152563664</c:v>
                </c:pt>
                <c:pt idx="35">
                  <c:v>0.8849348136399683</c:v>
                </c:pt>
                <c:pt idx="36">
                  <c:v>1.0595770124396011</c:v>
                </c:pt>
                <c:pt idx="37">
                  <c:v>0.9484285714285714</c:v>
                </c:pt>
                <c:pt idx="38">
                  <c:v>0.9635439674315323</c:v>
                </c:pt>
                <c:pt idx="39">
                  <c:v>1.1221318977119785</c:v>
                </c:pt>
                <c:pt idx="40">
                  <c:v>1.1242182766452655</c:v>
                </c:pt>
                <c:pt idx="41">
                  <c:v>1.0253360144384809</c:v>
                </c:pt>
                <c:pt idx="42">
                  <c:v>1.0076361935161007</c:v>
                </c:pt>
                <c:pt idx="43">
                  <c:v>1.2441286352910823</c:v>
                </c:pt>
                <c:pt idx="44">
                  <c:v>0.7642034981500168</c:v>
                </c:pt>
                <c:pt idx="45">
                  <c:v>0.6220849475632326</c:v>
                </c:pt>
                <c:pt idx="46">
                  <c:v>1.022377061310782</c:v>
                </c:pt>
                <c:pt idx="47">
                  <c:v>0.7046696279844531</c:v>
                </c:pt>
                <c:pt idx="48">
                  <c:v>0.7996749957933704</c:v>
                </c:pt>
                <c:pt idx="49">
                  <c:v>0.7065358504534518</c:v>
                </c:pt>
                <c:pt idx="50">
                  <c:v>0.5986316666666667</c:v>
                </c:pt>
                <c:pt idx="51">
                  <c:v>0.7958675759937647</c:v>
                </c:pt>
                <c:pt idx="52">
                  <c:v>0.8594646913580247</c:v>
                </c:pt>
                <c:pt idx="53">
                  <c:v>0.8696032602743626</c:v>
                </c:pt>
                <c:pt idx="54">
                  <c:v>0.840650961138613</c:v>
                </c:pt>
                <c:pt idx="55">
                  <c:v>0.8372144730751427</c:v>
                </c:pt>
                <c:pt idx="56">
                  <c:v>0.9197578145846905</c:v>
                </c:pt>
                <c:pt idx="57">
                  <c:v>0.837752622647331</c:v>
                </c:pt>
                <c:pt idx="58">
                  <c:v>0.941151480836237</c:v>
                </c:pt>
                <c:pt idx="59">
                  <c:v>0.8561868662481893</c:v>
                </c:pt>
                <c:pt idx="60">
                  <c:v>0.9672329879101901</c:v>
                </c:pt>
                <c:pt idx="61">
                  <c:v>0.7697186309644</c:v>
                </c:pt>
                <c:pt idx="62">
                  <c:v>0.9083004858299595</c:v>
                </c:pt>
                <c:pt idx="63">
                  <c:v>0.9245242960579244</c:v>
                </c:pt>
                <c:pt idx="64">
                  <c:v>0.887090236001851</c:v>
                </c:pt>
                <c:pt idx="65">
                  <c:v>0.8384731150940601</c:v>
                </c:pt>
                <c:pt idx="66">
                  <c:v>0.7991999258989875</c:v>
                </c:pt>
                <c:pt idx="67">
                  <c:v>0.7488461043142305</c:v>
                </c:pt>
                <c:pt idx="68">
                  <c:v>0.7106119618157023</c:v>
                </c:pt>
                <c:pt idx="69">
                  <c:v>0.7720474518201285</c:v>
                </c:pt>
                <c:pt idx="70">
                  <c:v>0.635820725388601</c:v>
                </c:pt>
                <c:pt idx="71">
                  <c:v>0.6940198587127159</c:v>
                </c:pt>
                <c:pt idx="72">
                  <c:v>0.7655048007039538</c:v>
                </c:pt>
                <c:pt idx="73">
                  <c:v>0.7201747663551401</c:v>
                </c:pt>
                <c:pt idx="74">
                  <c:v>0.7052313145082765</c:v>
                </c:pt>
                <c:pt idx="75">
                  <c:v>0.662182647706167</c:v>
                </c:pt>
                <c:pt idx="76">
                  <c:v>0.7142830353470332</c:v>
                </c:pt>
                <c:pt idx="77">
                  <c:v>0.6784756082960945</c:v>
                </c:pt>
                <c:pt idx="78">
                  <c:v>0.7493900569094984</c:v>
                </c:pt>
                <c:pt idx="79">
                  <c:v>0.309467239530631</c:v>
                </c:pt>
                <c:pt idx="80">
                  <c:v>0.34540326202075833</c:v>
                </c:pt>
                <c:pt idx="81">
                  <c:v>0.5198080000054763</c:v>
                </c:pt>
                <c:pt idx="82">
                  <c:v>0.4751432923257176</c:v>
                </c:pt>
                <c:pt idx="83">
                  <c:v>0.5520344473007712</c:v>
                </c:pt>
                <c:pt idx="84">
                  <c:v>0.5188285625870339</c:v>
                </c:pt>
                <c:pt idx="85">
                  <c:v>0.5729959277756435</c:v>
                </c:pt>
                <c:pt idx="86">
                  <c:v>0.8090174369082352</c:v>
                </c:pt>
                <c:pt idx="87">
                  <c:v>0.9193267352185089</c:v>
                </c:pt>
                <c:pt idx="88">
                  <c:v>0.8595956244449825</c:v>
                </c:pt>
                <c:pt idx="89">
                  <c:v>0.7556151877837392</c:v>
                </c:pt>
                <c:pt idx="90">
                  <c:v>0.773914620355412</c:v>
                </c:pt>
                <c:pt idx="91">
                  <c:v>0.8769889347646573</c:v>
                </c:pt>
                <c:pt idx="92">
                  <c:v>0.9578818923327895</c:v>
                </c:pt>
                <c:pt idx="93">
                  <c:v>1.0430497109826589</c:v>
                </c:pt>
                <c:pt idx="94">
                  <c:v>0.9298224194367479</c:v>
                </c:pt>
                <c:pt idx="95">
                  <c:v>1.1309663914120562</c:v>
                </c:pt>
                <c:pt idx="96">
                  <c:v>1.0864603630883451</c:v>
                </c:pt>
                <c:pt idx="97">
                  <c:v>1.0939137902559868</c:v>
                </c:pt>
                <c:pt idx="98">
                  <c:v>1.1290818027210883</c:v>
                </c:pt>
                <c:pt idx="99">
                  <c:v>1.0484022926093515</c:v>
                </c:pt>
                <c:pt idx="100">
                  <c:v>1.0566079727862232</c:v>
                </c:pt>
                <c:pt idx="101">
                  <c:v>1.0367965970420974</c:v>
                </c:pt>
                <c:pt idx="102">
                  <c:v>1.255431520198441</c:v>
                </c:pt>
                <c:pt idx="103">
                  <c:v>1.0263909930715935</c:v>
                </c:pt>
                <c:pt idx="104">
                  <c:v>1.059021247113164</c:v>
                </c:pt>
              </c:numCache>
            </c:numRef>
          </c:xVal>
          <c:yVal>
            <c:numRef>
              <c:f>Sheet1!$B$2:$B$106</c:f>
              <c:numCache>
                <c:formatCode>General</c:formatCode>
                <c:ptCount val="105"/>
                <c:pt idx="0">
                  <c:v>0.9961277831558567</c:v>
                </c:pt>
                <c:pt idx="1">
                  <c:v>0.996316758747698</c:v>
                </c:pt>
                <c:pt idx="2">
                  <c:v>0.9902740937223696</c:v>
                </c:pt>
                <c:pt idx="3">
                  <c:v>0.9931330472103004</c:v>
                </c:pt>
                <c:pt idx="4">
                  <c:v>0.9957850368809273</c:v>
                </c:pt>
                <c:pt idx="5">
                  <c:v>0.9978021978021978</c:v>
                </c:pt>
                <c:pt idx="6">
                  <c:v>0.9921104536489151</c:v>
                </c:pt>
                <c:pt idx="7">
                  <c:v>0.9943757030371203</c:v>
                </c:pt>
                <c:pt idx="8">
                  <c:v>0.9901356350184957</c:v>
                </c:pt>
                <c:pt idx="9">
                  <c:v>0.9901185770750988</c:v>
                </c:pt>
                <c:pt idx="10">
                  <c:v>0.990418118466899</c:v>
                </c:pt>
                <c:pt idx="11">
                  <c:v>0.9939393939393939</c:v>
                </c:pt>
                <c:pt idx="12">
                  <c:v>0.9899916597164303</c:v>
                </c:pt>
                <c:pt idx="13">
                  <c:v>0.9921875</c:v>
                </c:pt>
                <c:pt idx="14">
                  <c:v>0.9899451553930531</c:v>
                </c:pt>
                <c:pt idx="15">
                  <c:v>0.9874285714285714</c:v>
                </c:pt>
                <c:pt idx="16">
                  <c:v>0.9914285714285714</c:v>
                </c:pt>
                <c:pt idx="17">
                  <c:v>0.9911190053285968</c:v>
                </c:pt>
                <c:pt idx="18">
                  <c:v>0.9876543209876543</c:v>
                </c:pt>
                <c:pt idx="19">
                  <c:v>0.9902912621359223</c:v>
                </c:pt>
                <c:pt idx="20">
                  <c:v>0.9904306220095693</c:v>
                </c:pt>
                <c:pt idx="21">
                  <c:v>0.984984984984985</c:v>
                </c:pt>
                <c:pt idx="22">
                  <c:v>0.9917582417582418</c:v>
                </c:pt>
                <c:pt idx="23">
                  <c:v>0.9808917197452229</c:v>
                </c:pt>
                <c:pt idx="24">
                  <c:v>0.9779005524861878</c:v>
                </c:pt>
                <c:pt idx="25">
                  <c:v>0.9798270893371758</c:v>
                </c:pt>
                <c:pt idx="26">
                  <c:v>0.9835294117647059</c:v>
                </c:pt>
                <c:pt idx="27">
                  <c:v>0.9815242494226328</c:v>
                </c:pt>
                <c:pt idx="28">
                  <c:v>0.9836448598130841</c:v>
                </c:pt>
                <c:pt idx="29">
                  <c:v>0.9906716417910447</c:v>
                </c:pt>
                <c:pt idx="30">
                  <c:v>0.9878640776699029</c:v>
                </c:pt>
                <c:pt idx="31">
                  <c:v>0.9850374064837906</c:v>
                </c:pt>
                <c:pt idx="32">
                  <c:v>0.9835294117647059</c:v>
                </c:pt>
                <c:pt idx="33">
                  <c:v>0.9880952380952381</c:v>
                </c:pt>
                <c:pt idx="34">
                  <c:v>0.9878706199460916</c:v>
                </c:pt>
                <c:pt idx="35">
                  <c:v>0.9890510948905109</c:v>
                </c:pt>
                <c:pt idx="36">
                  <c:v>0.9759825327510917</c:v>
                </c:pt>
                <c:pt idx="37">
                  <c:v>0.9866666666666667</c:v>
                </c:pt>
                <c:pt idx="38">
                  <c:v>0.988795518207283</c:v>
                </c:pt>
                <c:pt idx="39">
                  <c:v>0.975</c:v>
                </c:pt>
                <c:pt idx="40">
                  <c:v>0.9886621315192744</c:v>
                </c:pt>
                <c:pt idx="41">
                  <c:v>0.9761273209549072</c:v>
                </c:pt>
                <c:pt idx="42">
                  <c:v>0.9861431870669746</c:v>
                </c:pt>
                <c:pt idx="43">
                  <c:v>0.9807355516637478</c:v>
                </c:pt>
                <c:pt idx="44">
                  <c:v>0.9938650306748467</c:v>
                </c:pt>
                <c:pt idx="45">
                  <c:v>0.9943037974683544</c:v>
                </c:pt>
                <c:pt idx="46">
                  <c:v>0.9972051425377306</c:v>
                </c:pt>
                <c:pt idx="47">
                  <c:v>0.9950819672131147</c:v>
                </c:pt>
                <c:pt idx="48">
                  <c:v>0.9954497724886244</c:v>
                </c:pt>
                <c:pt idx="49">
                  <c:v>0.9971289752650176</c:v>
                </c:pt>
                <c:pt idx="50">
                  <c:v>0.9962121212121212</c:v>
                </c:pt>
                <c:pt idx="51">
                  <c:v>0.9915773353751914</c:v>
                </c:pt>
                <c:pt idx="52">
                  <c:v>0.9965136548518303</c:v>
                </c:pt>
                <c:pt idx="53">
                  <c:v>0.9914101646385111</c:v>
                </c:pt>
                <c:pt idx="54">
                  <c:v>0.9893858984078847</c:v>
                </c:pt>
                <c:pt idx="55">
                  <c:v>0.9906858594411516</c:v>
                </c:pt>
                <c:pt idx="56">
                  <c:v>0.9922413793103448</c:v>
                </c:pt>
                <c:pt idx="57">
                  <c:v>0.99215965787598</c:v>
                </c:pt>
                <c:pt idx="58">
                  <c:v>0.9949968730456535</c:v>
                </c:pt>
                <c:pt idx="59">
                  <c:v>0.9948623853211009</c:v>
                </c:pt>
                <c:pt idx="60">
                  <c:v>0.9939734833266372</c:v>
                </c:pt>
                <c:pt idx="61">
                  <c:v>0.9943534726143421</c:v>
                </c:pt>
                <c:pt idx="62">
                  <c:v>0.9943246311010215</c:v>
                </c:pt>
                <c:pt idx="63">
                  <c:v>0.9955882352941177</c:v>
                </c:pt>
                <c:pt idx="64">
                  <c:v>0.9954591321897074</c:v>
                </c:pt>
                <c:pt idx="65">
                  <c:v>0.9966517857142857</c:v>
                </c:pt>
                <c:pt idx="66">
                  <c:v>0.9953319502074689</c:v>
                </c:pt>
                <c:pt idx="67">
                  <c:v>0.9960649286768323</c:v>
                </c:pt>
                <c:pt idx="68">
                  <c:v>0.996316758747698</c:v>
                </c:pt>
                <c:pt idx="69">
                  <c:v>0.992988606485539</c:v>
                </c:pt>
                <c:pt idx="70">
                  <c:v>0.9912126537785588</c:v>
                </c:pt>
                <c:pt idx="71">
                  <c:v>0.9895038167938931</c:v>
                </c:pt>
                <c:pt idx="72">
                  <c:v>0.9876425855513308</c:v>
                </c:pt>
                <c:pt idx="73">
                  <c:v>0.9912959381044487</c:v>
                </c:pt>
                <c:pt idx="74">
                  <c:v>0.9935956084172004</c:v>
                </c:pt>
                <c:pt idx="75">
                  <c:v>0.9903938520653218</c:v>
                </c:pt>
                <c:pt idx="76">
                  <c:v>0.9898190045248869</c:v>
                </c:pt>
                <c:pt idx="77">
                  <c:v>0.9912472647702407</c:v>
                </c:pt>
                <c:pt idx="78">
                  <c:v>0.993920972644377</c:v>
                </c:pt>
                <c:pt idx="79">
                  <c:v>0.9963331587218439</c:v>
                </c:pt>
                <c:pt idx="80">
                  <c:v>0.9944102850754611</c:v>
                </c:pt>
                <c:pt idx="81">
                  <c:v>0.9929797191887676</c:v>
                </c:pt>
                <c:pt idx="82">
                  <c:v>0.9941291585127201</c:v>
                </c:pt>
                <c:pt idx="83">
                  <c:v>0.983957219251337</c:v>
                </c:pt>
                <c:pt idx="84">
                  <c:v>0.9887640449438202</c:v>
                </c:pt>
                <c:pt idx="85">
                  <c:v>0.9897039897039897</c:v>
                </c:pt>
                <c:pt idx="86">
                  <c:v>0.9876084262701363</c:v>
                </c:pt>
                <c:pt idx="87">
                  <c:v>0.9912472647702407</c:v>
                </c:pt>
                <c:pt idx="88">
                  <c:v>0.98145285935085</c:v>
                </c:pt>
                <c:pt idx="89">
                  <c:v>0.9829059829059829</c:v>
                </c:pt>
                <c:pt idx="90">
                  <c:v>0.9887429643527205</c:v>
                </c:pt>
                <c:pt idx="91">
                  <c:v>0.981651376146789</c:v>
                </c:pt>
                <c:pt idx="92">
                  <c:v>0.9780907668231612</c:v>
                </c:pt>
                <c:pt idx="93">
                  <c:v>0.9834162520729685</c:v>
                </c:pt>
                <c:pt idx="94">
                  <c:v>0.9853747714808044</c:v>
                </c:pt>
                <c:pt idx="95">
                  <c:v>0.9868035190615836</c:v>
                </c:pt>
                <c:pt idx="96">
                  <c:v>0.983669548511047</c:v>
                </c:pt>
                <c:pt idx="97">
                  <c:v>0.9830508474576272</c:v>
                </c:pt>
                <c:pt idx="98">
                  <c:v>0.98</c:v>
                </c:pt>
                <c:pt idx="99">
                  <c:v>0.9832723470987977</c:v>
                </c:pt>
                <c:pt idx="100">
                  <c:v>0.984677923702314</c:v>
                </c:pt>
                <c:pt idx="101">
                  <c:v>0.9710873664362036</c:v>
                </c:pt>
                <c:pt idx="102">
                  <c:v>0.9651394422310757</c:v>
                </c:pt>
                <c:pt idx="103">
                  <c:v>0.9658580413297394</c:v>
                </c:pt>
                <c:pt idx="104">
                  <c:v>0.970260223048327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193943192160478</c:v>
                </c:pt>
                <c:pt idx="1">
                  <c:v>1.1478111796377877</c:v>
                </c:pt>
                <c:pt idx="2">
                  <c:v>1.178767713459714</c:v>
                </c:pt>
                <c:pt idx="3">
                  <c:v>1.1367977488841452</c:v>
                </c:pt>
                <c:pt idx="4">
                  <c:v>1.0427634496192668</c:v>
                </c:pt>
                <c:pt idx="5">
                  <c:v>1.1289413255242349</c:v>
                </c:pt>
                <c:pt idx="6">
                  <c:v>1.1419719008264464</c:v>
                </c:pt>
                <c:pt idx="7">
                  <c:v>1.018993889875666</c:v>
                </c:pt>
                <c:pt idx="8">
                  <c:v>1.128682242298578</c:v>
                </c:pt>
                <c:pt idx="9">
                  <c:v>1.0637417385543857</c:v>
                </c:pt>
                <c:pt idx="10">
                  <c:v>1.1659067253803042</c:v>
                </c:pt>
                <c:pt idx="11">
                  <c:v>0.9820519346770634</c:v>
                </c:pt>
                <c:pt idx="12">
                  <c:v>1.1232851199099967</c:v>
                </c:pt>
                <c:pt idx="13">
                  <c:v>1.1144050059594754</c:v>
                </c:pt>
                <c:pt idx="14">
                  <c:v>1.0505410886005042</c:v>
                </c:pt>
                <c:pt idx="15">
                  <c:v>1.013155040969006</c:v>
                </c:pt>
                <c:pt idx="16">
                  <c:v>1.1515855734767027</c:v>
                </c:pt>
                <c:pt idx="17">
                  <c:v>1.1541410478703356</c:v>
                </c:pt>
                <c:pt idx="18">
                  <c:v>1.2654294060370008</c:v>
                </c:pt>
                <c:pt idx="19">
                  <c:v>1.3317767794748927</c:v>
                </c:pt>
                <c:pt idx="20">
                  <c:v>1.2795731125566727</c:v>
                </c:pt>
                <c:pt idx="21">
                  <c:v>1.141509930435596</c:v>
                </c:pt>
                <c:pt idx="22">
                  <c:v>1.144426093457944</c:v>
                </c:pt>
                <c:pt idx="23">
                  <c:v>1.164399153846154</c:v>
                </c:pt>
                <c:pt idx="24">
                  <c:v>1.348791436217663</c:v>
                </c:pt>
                <c:pt idx="25">
                  <c:v>1.1499505212510024</c:v>
                </c:pt>
                <c:pt idx="26">
                  <c:v>1.1068131271218409</c:v>
                </c:pt>
                <c:pt idx="27">
                  <c:v>1.1749655674846626</c:v>
                </c:pt>
                <c:pt idx="28">
                  <c:v>1.0809216532095958</c:v>
                </c:pt>
                <c:pt idx="29">
                  <c:v>1.014379967793881</c:v>
                </c:pt>
                <c:pt idx="30">
                  <c:v>1.110756498470948</c:v>
                </c:pt>
                <c:pt idx="31">
                  <c:v>0.8637759645314123</c:v>
                </c:pt>
                <c:pt idx="32">
                  <c:v>1.2233238724061053</c:v>
                </c:pt>
                <c:pt idx="33">
                  <c:v>1.1126610590709234</c:v>
                </c:pt>
                <c:pt idx="34">
                  <c:v>1.1779221123071026</c:v>
                </c:pt>
                <c:pt idx="35">
                  <c:v>1.1758998758276917</c:v>
                </c:pt>
                <c:pt idx="36">
                  <c:v>1.1871709881422925</c:v>
                </c:pt>
                <c:pt idx="37">
                  <c:v>1.2225546383647798</c:v>
                </c:pt>
                <c:pt idx="38">
                  <c:v>1.1674003234937325</c:v>
                </c:pt>
                <c:pt idx="39">
                  <c:v>1.0031279496217493</c:v>
                </c:pt>
                <c:pt idx="40">
                  <c:v>1.0424271272607768</c:v>
                </c:pt>
                <c:pt idx="41">
                  <c:v>1.1464783438624144</c:v>
                </c:pt>
                <c:pt idx="42">
                  <c:v>1.1654475909886357</c:v>
                </c:pt>
                <c:pt idx="43">
                  <c:v>1.1033708652420475</c:v>
                </c:pt>
                <c:pt idx="44">
                  <c:v>1.0075879043157892</c:v>
                </c:pt>
                <c:pt idx="45">
                  <c:v>1.0342102805371496</c:v>
                </c:pt>
                <c:pt idx="46">
                  <c:v>1.087936849555477</c:v>
                </c:pt>
                <c:pt idx="47">
                  <c:v>1.0289366596848866</c:v>
                </c:pt>
                <c:pt idx="48">
                  <c:v>1.0411108263076911</c:v>
                </c:pt>
                <c:pt idx="49">
                  <c:v>1.0035896478266781</c:v>
                </c:pt>
                <c:pt idx="50">
                  <c:v>0.9248451381101848</c:v>
                </c:pt>
                <c:pt idx="51">
                  <c:v>0.9235535940409683</c:v>
                </c:pt>
              </c:numCache>
            </c:numRef>
          </c:xVal>
          <c:yVal>
            <c:numRef>
              <c:f>Sheet1!$B$109:$B$160</c:f>
              <c:numCache>
                <c:formatCode>General</c:formatCode>
                <c:ptCount val="52"/>
                <c:pt idx="0">
                  <c:v>0.963963963963964</c:v>
                </c:pt>
                <c:pt idx="1">
                  <c:v>0.9608993157380255</c:v>
                </c:pt>
                <c:pt idx="2">
                  <c:v>0.9586709886547812</c:v>
                </c:pt>
                <c:pt idx="3">
                  <c:v>0.9610591900311527</c:v>
                </c:pt>
                <c:pt idx="4">
                  <c:v>0.9662731871838112</c:v>
                </c:pt>
                <c:pt idx="5">
                  <c:v>0.9595426561125769</c:v>
                </c:pt>
                <c:pt idx="6">
                  <c:v>0.9733750978856696</c:v>
                </c:pt>
                <c:pt idx="7">
                  <c:v>0.9765432098765432</c:v>
                </c:pt>
                <c:pt idx="8">
                  <c:v>0.9538653366583542</c:v>
                </c:pt>
                <c:pt idx="9">
                  <c:v>0.9523316062176166</c:v>
                </c:pt>
                <c:pt idx="10">
                  <c:v>0.9553398058252427</c:v>
                </c:pt>
                <c:pt idx="11">
                  <c:v>0.9700797872340425</c:v>
                </c:pt>
                <c:pt idx="12">
                  <c:v>0.9617977528089887</c:v>
                </c:pt>
                <c:pt idx="13">
                  <c:v>0.9629927594529365</c:v>
                </c:pt>
                <c:pt idx="14">
                  <c:v>0.9629941126997477</c:v>
                </c:pt>
                <c:pt idx="15">
                  <c:v>0.9543292102759277</c:v>
                </c:pt>
                <c:pt idx="16">
                  <c:v>0.9457459926017263</c:v>
                </c:pt>
                <c:pt idx="17">
                  <c:v>0.945619335347432</c:v>
                </c:pt>
                <c:pt idx="18">
                  <c:v>0.9314516129032258</c:v>
                </c:pt>
                <c:pt idx="19">
                  <c:v>0.9107142857142857</c:v>
                </c:pt>
                <c:pt idx="20">
                  <c:v>0.907843137254902</c:v>
                </c:pt>
                <c:pt idx="21">
                  <c:v>0.9308855291576674</c:v>
                </c:pt>
                <c:pt idx="22">
                  <c:v>0.9346846846846847</c:v>
                </c:pt>
                <c:pt idx="23">
                  <c:v>0.925</c:v>
                </c:pt>
                <c:pt idx="24">
                  <c:v>0.9355555555555556</c:v>
                </c:pt>
                <c:pt idx="25">
                  <c:v>0.9282608695652174</c:v>
                </c:pt>
                <c:pt idx="26">
                  <c:v>0.9397321428571429</c:v>
                </c:pt>
                <c:pt idx="27">
                  <c:v>0.9137577002053389</c:v>
                </c:pt>
                <c:pt idx="28">
                  <c:v>0.9238938053097345</c:v>
                </c:pt>
                <c:pt idx="29">
                  <c:v>0.9205298013245033</c:v>
                </c:pt>
                <c:pt idx="30">
                  <c:v>0.9149797570850202</c:v>
                </c:pt>
                <c:pt idx="31">
                  <c:v>0.9197396963123644</c:v>
                </c:pt>
                <c:pt idx="32">
                  <c:v>0.9285714285714286</c:v>
                </c:pt>
                <c:pt idx="33">
                  <c:v>0.9275167785234899</c:v>
                </c:pt>
                <c:pt idx="34">
                  <c:v>0.9421641791044776</c:v>
                </c:pt>
                <c:pt idx="35">
                  <c:v>0.9201349831271091</c:v>
                </c:pt>
                <c:pt idx="36">
                  <c:v>0.9016786570743405</c:v>
                </c:pt>
                <c:pt idx="37">
                  <c:v>0.8708240534521158</c:v>
                </c:pt>
                <c:pt idx="38">
                  <c:v>0.9156327543424317</c:v>
                </c:pt>
                <c:pt idx="39">
                  <c:v>0.9034690799396682</c:v>
                </c:pt>
                <c:pt idx="40">
                  <c:v>0.7283163265306123</c:v>
                </c:pt>
                <c:pt idx="41">
                  <c:v>0.83008356545961</c:v>
                </c:pt>
                <c:pt idx="42">
                  <c:v>0.863013698630137</c:v>
                </c:pt>
                <c:pt idx="43">
                  <c:v>0.8707571801566579</c:v>
                </c:pt>
                <c:pt idx="44">
                  <c:v>0.9010011123470523</c:v>
                </c:pt>
                <c:pt idx="45">
                  <c:v>0.9201581027667984</c:v>
                </c:pt>
                <c:pt idx="46">
                  <c:v>0.9165808444902163</c:v>
                </c:pt>
                <c:pt idx="47">
                  <c:v>0.931640625</c:v>
                </c:pt>
                <c:pt idx="48">
                  <c:v>0.9058728881737731</c:v>
                </c:pt>
                <c:pt idx="49">
                  <c:v>0.9117840684660962</c:v>
                </c:pt>
                <c:pt idx="50">
                  <c:v>0.9426535459789617</c:v>
                </c:pt>
                <c:pt idx="51">
                  <c:v>0.918973666441593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7.131825876381253</c:v>
                </c:pt>
              </c:numCache>
            </c:numRef>
          </c:xVal>
          <c:yVal>
            <c:numRef>
              <c:f>Sheet1!$B$163:$B$164</c:f>
              <c:numCache>
                <c:formatCode>General</c:formatCode>
                <c:ptCount val="2"/>
                <c:pt idx="0">
                  <c:v>0.9940067454693201</c:v>
                </c:pt>
                <c:pt idx="1">
                  <c:v>0.9940067454693201</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7.131825876381253</c:v>
                </c:pt>
                <c:pt idx="1">
                  <c:v>-7.131825876381253</c:v>
                </c:pt>
              </c:numCache>
            </c:numRef>
          </c:xVal>
          <c:yVal>
            <c:numRef>
              <c:f>Sheet1!$B$167:$B$168</c:f>
              <c:numCache>
                <c:formatCode>General</c:formatCode>
                <c:ptCount val="2"/>
                <c:pt idx="0">
                  <c:v>0.994006745469320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3.447914925505934</c:v>
                </c:pt>
              </c:numCache>
            </c:numRef>
          </c:xVal>
          <c:yVal>
            <c:numRef>
              <c:f>Sheet1!$B$171:$B$172</c:f>
              <c:numCache>
                <c:formatCode>General</c:formatCode>
                <c:ptCount val="2"/>
                <c:pt idx="0">
                  <c:v>0.9637992162338753</c:v>
                </c:pt>
                <c:pt idx="1">
                  <c:v>0.963799216233875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3.447914925505934</c:v>
                </c:pt>
                <c:pt idx="1">
                  <c:v>-3.447914925505934</c:v>
                </c:pt>
              </c:numCache>
            </c:numRef>
          </c:xVal>
          <c:yVal>
            <c:numRef>
              <c:f>Sheet1!$B$175:$B$176</c:f>
              <c:numCache>
                <c:formatCode>General</c:formatCode>
                <c:ptCount val="2"/>
                <c:pt idx="0">
                  <c:v>0.96379921623387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5.79319890837656</c:v>
                </c:pt>
              </c:numCache>
            </c:numRef>
          </c:xVal>
          <c:yVal>
            <c:numRef>
              <c:f>Sheet1!$B$179:$B$180</c:f>
              <c:numCache>
                <c:formatCode>General</c:formatCode>
                <c:ptCount val="2"/>
                <c:pt idx="0">
                  <c:v>0.888023438798552</c:v>
                </c:pt>
                <c:pt idx="1">
                  <c:v>0.888023438798552</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5.79319890837656</c:v>
                </c:pt>
                <c:pt idx="1">
                  <c:v>5.79319890837656</c:v>
                </c:pt>
              </c:numCache>
            </c:numRef>
          </c:xVal>
          <c:yVal>
            <c:numRef>
              <c:f>Sheet1!$B$183:$B$184</c:f>
              <c:numCache>
                <c:formatCode>General</c:formatCode>
                <c:ptCount val="2"/>
                <c:pt idx="0">
                  <c:v>0.88802343879855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193943192160478</c:v>
                </c:pt>
                <c:pt idx="1">
                  <c:v>1.1478111796377877</c:v>
                </c:pt>
                <c:pt idx="2">
                  <c:v>1.178767713459714</c:v>
                </c:pt>
                <c:pt idx="3">
                  <c:v>1.1367977488841452</c:v>
                </c:pt>
                <c:pt idx="4">
                  <c:v>1.0427634496192668</c:v>
                </c:pt>
                <c:pt idx="5">
                  <c:v>1.1289413255242349</c:v>
                </c:pt>
                <c:pt idx="6">
                  <c:v>1.1419719008264464</c:v>
                </c:pt>
                <c:pt idx="7">
                  <c:v>1.018993889875666</c:v>
                </c:pt>
                <c:pt idx="8">
                  <c:v>1.128682242298578</c:v>
                </c:pt>
                <c:pt idx="9">
                  <c:v>1.0637417385543857</c:v>
                </c:pt>
                <c:pt idx="10">
                  <c:v>1.1659067253803042</c:v>
                </c:pt>
                <c:pt idx="11">
                  <c:v>0.9820519346770634</c:v>
                </c:pt>
                <c:pt idx="12">
                  <c:v>1.1232851199099967</c:v>
                </c:pt>
                <c:pt idx="13">
                  <c:v>1.1144050059594754</c:v>
                </c:pt>
                <c:pt idx="14">
                  <c:v>1.0505410886005042</c:v>
                </c:pt>
                <c:pt idx="15">
                  <c:v>1.013155040969006</c:v>
                </c:pt>
                <c:pt idx="16">
                  <c:v>1.1515855734767027</c:v>
                </c:pt>
                <c:pt idx="17">
                  <c:v>1.1541410478703356</c:v>
                </c:pt>
                <c:pt idx="18">
                  <c:v>1.2654294060370008</c:v>
                </c:pt>
                <c:pt idx="19">
                  <c:v>1.3317767794748927</c:v>
                </c:pt>
                <c:pt idx="20">
                  <c:v>1.2795731125566727</c:v>
                </c:pt>
                <c:pt idx="21">
                  <c:v>1.141509930435596</c:v>
                </c:pt>
                <c:pt idx="22">
                  <c:v>1.144426093457944</c:v>
                </c:pt>
                <c:pt idx="23">
                  <c:v>1.164399153846154</c:v>
                </c:pt>
                <c:pt idx="24">
                  <c:v>1.348791436217663</c:v>
                </c:pt>
                <c:pt idx="25">
                  <c:v>1.1499505212510024</c:v>
                </c:pt>
                <c:pt idx="26">
                  <c:v>1.1068131271218409</c:v>
                </c:pt>
                <c:pt idx="27">
                  <c:v>1.1749655674846626</c:v>
                </c:pt>
                <c:pt idx="28">
                  <c:v>1.0809216532095958</c:v>
                </c:pt>
                <c:pt idx="29">
                  <c:v>1.014379967793881</c:v>
                </c:pt>
                <c:pt idx="30">
                  <c:v>1.110756498470948</c:v>
                </c:pt>
                <c:pt idx="31">
                  <c:v>0.8637759645314123</c:v>
                </c:pt>
                <c:pt idx="32">
                  <c:v>1.2233238724061053</c:v>
                </c:pt>
                <c:pt idx="33">
                  <c:v>1.1126610590709234</c:v>
                </c:pt>
                <c:pt idx="34">
                  <c:v>1.1779221123071026</c:v>
                </c:pt>
                <c:pt idx="35">
                  <c:v>1.1758998758276917</c:v>
                </c:pt>
                <c:pt idx="36">
                  <c:v>1.1871709881422925</c:v>
                </c:pt>
                <c:pt idx="37">
                  <c:v>1.2225546383647798</c:v>
                </c:pt>
                <c:pt idx="38">
                  <c:v>1.1674003234937325</c:v>
                </c:pt>
                <c:pt idx="39">
                  <c:v>1.0031279496217493</c:v>
                </c:pt>
                <c:pt idx="40">
                  <c:v>1.0424271272607768</c:v>
                </c:pt>
                <c:pt idx="41">
                  <c:v>1.1464783438624144</c:v>
                </c:pt>
                <c:pt idx="42">
                  <c:v>1.1654475909886357</c:v>
                </c:pt>
                <c:pt idx="43">
                  <c:v>1.1033708652420475</c:v>
                </c:pt>
                <c:pt idx="44">
                  <c:v>1.0075879043157892</c:v>
                </c:pt>
                <c:pt idx="45">
                  <c:v>1.0342102805371496</c:v>
                </c:pt>
                <c:pt idx="46">
                  <c:v>1.087936849555477</c:v>
                </c:pt>
                <c:pt idx="47">
                  <c:v>1.0289366596848866</c:v>
                </c:pt>
                <c:pt idx="48">
                  <c:v>1.0411108263076911</c:v>
                </c:pt>
                <c:pt idx="49">
                  <c:v>1.0035896478266781</c:v>
                </c:pt>
                <c:pt idx="50">
                  <c:v>0.9248451381101848</c:v>
                </c:pt>
                <c:pt idx="51">
                  <c:v>0.9235535940409683</c:v>
                </c:pt>
                <c:pt idx="52">
                  <c:v>-3.447914925505934</c:v>
                </c:pt>
                <c:pt idx="53">
                  <c:v>-7.131825876381253</c:v>
                </c:pt>
                <c:pt idx="54">
                  <c:v>5.79319890837656</c:v>
                </c:pt>
              </c:numCache>
            </c:numRef>
          </c:xVal>
          <c:yVal>
            <c:numRef>
              <c:f>Sheet1!$B$187:$B$241</c:f>
              <c:numCache>
                <c:formatCode>General</c:formatCode>
                <c:ptCount val="55"/>
                <c:pt idx="0">
                  <c:v>0.9263479506150702</c:v>
                </c:pt>
                <c:pt idx="1">
                  <c:v>0.9261149365293836</c:v>
                </c:pt>
                <c:pt idx="2">
                  <c:v>0.9258610974944764</c:v>
                </c:pt>
                <c:pt idx="3">
                  <c:v>0.9262052450454985</c:v>
                </c:pt>
                <c:pt idx="4">
                  <c:v>0.9269763125012696</c:v>
                </c:pt>
                <c:pt idx="5">
                  <c:v>0.9262696665642309</c:v>
                </c:pt>
                <c:pt idx="6">
                  <c:v>0.9261628177588052</c:v>
                </c:pt>
                <c:pt idx="7">
                  <c:v>0.9271712194033209</c:v>
                </c:pt>
                <c:pt idx="8">
                  <c:v>0.9262717910086645</c:v>
                </c:pt>
                <c:pt idx="9">
                  <c:v>0.9268042936102682</c:v>
                </c:pt>
                <c:pt idx="10">
                  <c:v>0.9259665557095599</c:v>
                </c:pt>
                <c:pt idx="11">
                  <c:v>0.927474138015241</c:v>
                </c:pt>
                <c:pt idx="12">
                  <c:v>0.9263160466202996</c:v>
                </c:pt>
                <c:pt idx="13">
                  <c:v>0.9263888622516631</c:v>
                </c:pt>
                <c:pt idx="14">
                  <c:v>0.9269125370028817</c:v>
                </c:pt>
                <c:pt idx="15">
                  <c:v>0.9272190971075872</c:v>
                </c:pt>
                <c:pt idx="16">
                  <c:v>0.9260839870537433</c:v>
                </c:pt>
                <c:pt idx="17">
                  <c:v>0.9260630325386952</c:v>
                </c:pt>
                <c:pt idx="18">
                  <c:v>0.9251504843317181</c:v>
                </c:pt>
                <c:pt idx="19">
                  <c:v>0.9246064456050643</c:v>
                </c:pt>
                <c:pt idx="20">
                  <c:v>0.9250345080136454</c:v>
                </c:pt>
                <c:pt idx="21">
                  <c:v>0.9261666058482225</c:v>
                </c:pt>
                <c:pt idx="22">
                  <c:v>0.9261426937393449</c:v>
                </c:pt>
                <c:pt idx="23">
                  <c:v>0.9259789175749251</c:v>
                </c:pt>
                <c:pt idx="24">
                  <c:v>0.9244669279164335</c:v>
                </c:pt>
                <c:pt idx="25">
                  <c:v>0.9260973942420733</c:v>
                </c:pt>
                <c:pt idx="26">
                  <c:v>0.926451114544131</c:v>
                </c:pt>
                <c:pt idx="27">
                  <c:v>0.9258922745335608</c:v>
                </c:pt>
                <c:pt idx="28">
                  <c:v>0.9266634208310045</c:v>
                </c:pt>
                <c:pt idx="29">
                  <c:v>0.9272090528873639</c:v>
                </c:pt>
                <c:pt idx="30">
                  <c:v>0.9264187794777022</c:v>
                </c:pt>
                <c:pt idx="31">
                  <c:v>0.9284439836151126</c:v>
                </c:pt>
                <c:pt idx="32">
                  <c:v>0.925495743529101</c:v>
                </c:pt>
                <c:pt idx="33">
                  <c:v>0.9264031623602497</c:v>
                </c:pt>
                <c:pt idx="34">
                  <c:v>0.9258680312998478</c:v>
                </c:pt>
                <c:pt idx="35">
                  <c:v>0.9258846133422445</c:v>
                </c:pt>
                <c:pt idx="36">
                  <c:v>0.9257921918751408</c:v>
                </c:pt>
                <c:pt idx="37">
                  <c:v>0.9255020511353657</c:v>
                </c:pt>
                <c:pt idx="38">
                  <c:v>0.9259543084241941</c:v>
                </c:pt>
                <c:pt idx="39">
                  <c:v>0.9273013177853011</c:v>
                </c:pt>
                <c:pt idx="40">
                  <c:v>0.9269790702952586</c:v>
                </c:pt>
                <c:pt idx="41">
                  <c:v>0.9261258655871668</c:v>
                </c:pt>
                <c:pt idx="42">
                  <c:v>0.9259703205442</c:v>
                </c:pt>
                <c:pt idx="43">
                  <c:v>0.9264793405864422</c:v>
                </c:pt>
                <c:pt idx="44">
                  <c:v>0.9272647468112452</c:v>
                </c:pt>
                <c:pt idx="45">
                  <c:v>0.9270464472326865</c:v>
                </c:pt>
                <c:pt idx="46">
                  <c:v>0.9266058972503489</c:v>
                </c:pt>
                <c:pt idx="47">
                  <c:v>0.9270896901498459</c:v>
                </c:pt>
                <c:pt idx="48">
                  <c:v>0.9269898637699254</c:v>
                </c:pt>
                <c:pt idx="49">
                  <c:v>0.9272975319277684</c:v>
                </c:pt>
                <c:pt idx="50">
                  <c:v>0.9279432253528026</c:v>
                </c:pt>
                <c:pt idx="51">
                  <c:v>0.9279538158246544</c:v>
                </c:pt>
                <c:pt idx="52">
                  <c:v>0.9637992162338753</c:v>
                </c:pt>
                <c:pt idx="53">
                  <c:v>0.9940067454693201</c:v>
                </c:pt>
                <c:pt idx="54">
                  <c:v>0.88802343879855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73626373626374"/>
          <c:min val="0.582653061224489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08.1351</c:v>
                </c:pt>
                <c:pt idx="1">
                  <c:v>1078.7634</c:v>
                </c:pt>
                <c:pt idx="2">
                  <c:v>1103.9473</c:v>
                </c:pt>
                <c:pt idx="3">
                  <c:v>1123.3863</c:v>
                </c:pt>
                <c:pt idx="4">
                  <c:v>1131.1386</c:v>
                </c:pt>
                <c:pt idx="5">
                  <c:v>1137.0022</c:v>
                </c:pt>
                <c:pt idx="6">
                  <c:v>1093.829</c:v>
                </c:pt>
                <c:pt idx="7">
                  <c:v>1124.207</c:v>
                </c:pt>
                <c:pt idx="8">
                  <c:v>1118.0112</c:v>
                </c:pt>
                <c:pt idx="9">
                  <c:v>1097.479</c:v>
                </c:pt>
                <c:pt idx="10">
                  <c:v>1078.3984</c:v>
                </c:pt>
                <c:pt idx="11">
                  <c:v>1116.3066</c:v>
                </c:pt>
                <c:pt idx="12">
                  <c:v>1106.0177</c:v>
                </c:pt>
                <c:pt idx="13">
                  <c:v>1070.4208</c:v>
                </c:pt>
                <c:pt idx="14">
                  <c:v>1125.8199</c:v>
                </c:pt>
                <c:pt idx="15">
                  <c:v>1105.5451</c:v>
                </c:pt>
                <c:pt idx="16">
                  <c:v>1122.5303</c:v>
                </c:pt>
                <c:pt idx="17">
                  <c:v>1122.3011</c:v>
                </c:pt>
                <c:pt idx="18">
                  <c:v>1221.575</c:v>
                </c:pt>
                <c:pt idx="19">
                  <c:v>1298.134</c:v>
                </c:pt>
                <c:pt idx="20">
                  <c:v>1233.3502</c:v>
                </c:pt>
                <c:pt idx="21">
                  <c:v>1251.3841</c:v>
                </c:pt>
                <c:pt idx="22">
                  <c:v>1241.2438</c:v>
                </c:pt>
                <c:pt idx="23">
                  <c:v>1247.4643</c:v>
                </c:pt>
                <c:pt idx="24">
                  <c:v>1242.9463</c:v>
                </c:pt>
                <c:pt idx="25">
                  <c:v>1220.8412</c:v>
                </c:pt>
                <c:pt idx="26">
                  <c:v>1220.1005</c:v>
                </c:pt>
                <c:pt idx="27">
                  <c:v>1202.5012</c:v>
                </c:pt>
                <c:pt idx="28">
                  <c:v>1185.1401</c:v>
                </c:pt>
                <c:pt idx="29">
                  <c:v>1143.7721</c:v>
                </c:pt>
                <c:pt idx="30">
                  <c:v>1126.7887</c:v>
                </c:pt>
                <c:pt idx="31">
                  <c:v>1106.5291</c:v>
                </c:pt>
                <c:pt idx="32">
                  <c:v>1087.7129</c:v>
                </c:pt>
                <c:pt idx="33">
                  <c:v>1058.2324</c:v>
                </c:pt>
                <c:pt idx="34">
                  <c:v>1049.1473</c:v>
                </c:pt>
                <c:pt idx="35">
                  <c:v>1115.9028</c:v>
                </c:pt>
                <c:pt idx="36">
                  <c:v>1288.3132</c:v>
                </c:pt>
                <c:pt idx="37">
                  <c:v>1281.327</c:v>
                </c:pt>
                <c:pt idx="38">
                  <c:v>1301.7479</c:v>
                </c:pt>
                <c:pt idx="39">
                  <c:v>1333.9904</c:v>
                </c:pt>
                <c:pt idx="40">
                  <c:v>1316.0849</c:v>
                </c:pt>
                <c:pt idx="41">
                  <c:v>1385.5707</c:v>
                </c:pt>
                <c:pt idx="42">
                  <c:v>1452.3396</c:v>
                </c:pt>
                <c:pt idx="43">
                  <c:v>1457.2893</c:v>
                </c:pt>
                <c:pt idx="44">
                  <c:v>1135.9885</c:v>
                </c:pt>
                <c:pt idx="45">
                  <c:v>1008.3997</c:v>
                </c:pt>
                <c:pt idx="46">
                  <c:v>967.1687</c:v>
                </c:pt>
                <c:pt idx="47">
                  <c:v>951.8325</c:v>
                </c:pt>
                <c:pt idx="48">
                  <c:v>950.4937</c:v>
                </c:pt>
                <c:pt idx="49">
                  <c:v>954.3533</c:v>
                </c:pt>
                <c:pt idx="50">
                  <c:v>969.7833</c:v>
                </c:pt>
                <c:pt idx="51">
                  <c:v>1021.0981</c:v>
                </c:pt>
                <c:pt idx="52">
                  <c:v>1044.2496</c:v>
                </c:pt>
                <c:pt idx="53">
                  <c:v>1056.8578</c:v>
                </c:pt>
                <c:pt idx="54">
                  <c:v>1059.5004</c:v>
                </c:pt>
                <c:pt idx="55">
                  <c:v>1085.1974</c:v>
                </c:pt>
                <c:pt idx="56">
                  <c:v>1117.8123</c:v>
                </c:pt>
                <c:pt idx="57">
                  <c:v>1086.0625</c:v>
                </c:pt>
                <c:pt idx="58">
                  <c:v>1080.4419</c:v>
                </c:pt>
                <c:pt idx="59">
                  <c:v>1063.8978</c:v>
                </c:pt>
                <c:pt idx="60">
                  <c:v>1120.0558</c:v>
                </c:pt>
                <c:pt idx="61">
                  <c:v>1108.908</c:v>
                </c:pt>
                <c:pt idx="62">
                  <c:v>1121.7511</c:v>
                </c:pt>
                <c:pt idx="63">
                  <c:v>1149.1837</c:v>
                </c:pt>
                <c:pt idx="64">
                  <c:v>1150.2012</c:v>
                </c:pt>
                <c:pt idx="65">
                  <c:v>1132.1064</c:v>
                </c:pt>
                <c:pt idx="66">
                  <c:v>1017.2673</c:v>
                </c:pt>
                <c:pt idx="67">
                  <c:v>930.3664</c:v>
                </c:pt>
                <c:pt idx="68">
                  <c:v>911.8928</c:v>
                </c:pt>
                <c:pt idx="69">
                  <c:v>901.3654</c:v>
                </c:pt>
                <c:pt idx="70">
                  <c:v>858.9938</c:v>
                </c:pt>
                <c:pt idx="71">
                  <c:v>884.1813</c:v>
                </c:pt>
                <c:pt idx="72">
                  <c:v>942.6766</c:v>
                </c:pt>
                <c:pt idx="73">
                  <c:v>924.7044</c:v>
                </c:pt>
                <c:pt idx="74">
                  <c:v>905.3407</c:v>
                </c:pt>
                <c:pt idx="75">
                  <c:v>866.6867</c:v>
                </c:pt>
                <c:pt idx="76">
                  <c:v>868.4491</c:v>
                </c:pt>
                <c:pt idx="77">
                  <c:v>824.574</c:v>
                </c:pt>
                <c:pt idx="78">
                  <c:v>943.9817</c:v>
                </c:pt>
                <c:pt idx="79">
                  <c:v>389.7224</c:v>
                </c:pt>
                <c:pt idx="80">
                  <c:v>407.6622</c:v>
                </c:pt>
                <c:pt idx="81">
                  <c:v>607.4823</c:v>
                </c:pt>
                <c:pt idx="82">
                  <c:v>608.3022</c:v>
                </c:pt>
                <c:pt idx="83">
                  <c:v>644.2242</c:v>
                </c:pt>
                <c:pt idx="84">
                  <c:v>670.6378</c:v>
                </c:pt>
                <c:pt idx="85">
                  <c:v>745.7542</c:v>
                </c:pt>
                <c:pt idx="86">
                  <c:v>1027.1054</c:v>
                </c:pt>
                <c:pt idx="87">
                  <c:v>1072.8543</c:v>
                </c:pt>
                <c:pt idx="88">
                  <c:v>1064.7811</c:v>
                </c:pt>
                <c:pt idx="89">
                  <c:v>915.4278</c:v>
                </c:pt>
                <c:pt idx="90">
                  <c:v>958.1063</c:v>
                </c:pt>
                <c:pt idx="91">
                  <c:v>1062.0336</c:v>
                </c:pt>
                <c:pt idx="92">
                  <c:v>1174.3632</c:v>
                </c:pt>
                <c:pt idx="93">
                  <c:v>1263.1332</c:v>
                </c:pt>
                <c:pt idx="94">
                  <c:v>1179.679</c:v>
                </c:pt>
                <c:pt idx="95">
                  <c:v>1369.6003</c:v>
                </c:pt>
                <c:pt idx="96">
                  <c:v>1299.5273</c:v>
                </c:pt>
                <c:pt idx="97">
                  <c:v>1324.7296</c:v>
                </c:pt>
                <c:pt idx="98">
                  <c:v>1327.8002</c:v>
                </c:pt>
                <c:pt idx="99">
                  <c:v>1303.2951</c:v>
                </c:pt>
                <c:pt idx="100">
                  <c:v>1242.4389</c:v>
                </c:pt>
                <c:pt idx="101">
                  <c:v>1333.5508</c:v>
                </c:pt>
                <c:pt idx="102">
                  <c:v>1417.1311</c:v>
                </c:pt>
                <c:pt idx="103">
                  <c:v>1333.2819</c:v>
                </c:pt>
                <c:pt idx="104">
                  <c:v>1375.6686</c:v>
                </c:pt>
              </c:numCache>
            </c:numRef>
          </c:xVal>
          <c:yVal>
            <c:numRef>
              <c:f>Sheet1!$B$2:$B$106</c:f>
              <c:numCache>
                <c:formatCode>General</c:formatCode>
                <c:ptCount val="105"/>
                <c:pt idx="0">
                  <c:v>0.9961277831558567</c:v>
                </c:pt>
                <c:pt idx="1">
                  <c:v>0.996316758747698</c:v>
                </c:pt>
                <c:pt idx="2">
                  <c:v>0.9902740937223696</c:v>
                </c:pt>
                <c:pt idx="3">
                  <c:v>0.9931330472103004</c:v>
                </c:pt>
                <c:pt idx="4">
                  <c:v>0.9957850368809273</c:v>
                </c:pt>
                <c:pt idx="5">
                  <c:v>0.9978021978021978</c:v>
                </c:pt>
                <c:pt idx="6">
                  <c:v>0.9921104536489151</c:v>
                </c:pt>
                <c:pt idx="7">
                  <c:v>0.9943757030371203</c:v>
                </c:pt>
                <c:pt idx="8">
                  <c:v>0.9901356350184957</c:v>
                </c:pt>
                <c:pt idx="9">
                  <c:v>0.9901185770750988</c:v>
                </c:pt>
                <c:pt idx="10">
                  <c:v>0.990418118466899</c:v>
                </c:pt>
                <c:pt idx="11">
                  <c:v>0.9939393939393939</c:v>
                </c:pt>
                <c:pt idx="12">
                  <c:v>0.9899916597164303</c:v>
                </c:pt>
                <c:pt idx="13">
                  <c:v>0.9921875</c:v>
                </c:pt>
                <c:pt idx="14">
                  <c:v>0.9899451553930531</c:v>
                </c:pt>
                <c:pt idx="15">
                  <c:v>0.9874285714285714</c:v>
                </c:pt>
                <c:pt idx="16">
                  <c:v>0.9914285714285714</c:v>
                </c:pt>
                <c:pt idx="17">
                  <c:v>0.9911190053285968</c:v>
                </c:pt>
                <c:pt idx="18">
                  <c:v>0.9876543209876543</c:v>
                </c:pt>
                <c:pt idx="19">
                  <c:v>0.9902912621359223</c:v>
                </c:pt>
                <c:pt idx="20">
                  <c:v>0.9904306220095693</c:v>
                </c:pt>
                <c:pt idx="21">
                  <c:v>0.984984984984985</c:v>
                </c:pt>
                <c:pt idx="22">
                  <c:v>0.9917582417582418</c:v>
                </c:pt>
                <c:pt idx="23">
                  <c:v>0.9808917197452229</c:v>
                </c:pt>
                <c:pt idx="24">
                  <c:v>0.9779005524861878</c:v>
                </c:pt>
                <c:pt idx="25">
                  <c:v>0.9798270893371758</c:v>
                </c:pt>
                <c:pt idx="26">
                  <c:v>0.9835294117647059</c:v>
                </c:pt>
                <c:pt idx="27">
                  <c:v>0.9815242494226328</c:v>
                </c:pt>
                <c:pt idx="28">
                  <c:v>0.9836448598130841</c:v>
                </c:pt>
                <c:pt idx="29">
                  <c:v>0.9906716417910447</c:v>
                </c:pt>
                <c:pt idx="30">
                  <c:v>0.9878640776699029</c:v>
                </c:pt>
                <c:pt idx="31">
                  <c:v>0.9850374064837906</c:v>
                </c:pt>
                <c:pt idx="32">
                  <c:v>0.9835294117647059</c:v>
                </c:pt>
                <c:pt idx="33">
                  <c:v>0.9880952380952381</c:v>
                </c:pt>
                <c:pt idx="34">
                  <c:v>0.9878706199460916</c:v>
                </c:pt>
                <c:pt idx="35">
                  <c:v>0.9890510948905109</c:v>
                </c:pt>
                <c:pt idx="36">
                  <c:v>0.9759825327510917</c:v>
                </c:pt>
                <c:pt idx="37">
                  <c:v>0.9866666666666667</c:v>
                </c:pt>
                <c:pt idx="38">
                  <c:v>0.988795518207283</c:v>
                </c:pt>
                <c:pt idx="39">
                  <c:v>0.975</c:v>
                </c:pt>
                <c:pt idx="40">
                  <c:v>0.9886621315192744</c:v>
                </c:pt>
                <c:pt idx="41">
                  <c:v>0.9761273209549072</c:v>
                </c:pt>
                <c:pt idx="42">
                  <c:v>0.9861431870669746</c:v>
                </c:pt>
                <c:pt idx="43">
                  <c:v>0.9807355516637478</c:v>
                </c:pt>
                <c:pt idx="44">
                  <c:v>0.9938650306748467</c:v>
                </c:pt>
                <c:pt idx="45">
                  <c:v>0.9943037974683544</c:v>
                </c:pt>
                <c:pt idx="46">
                  <c:v>0.9972051425377306</c:v>
                </c:pt>
                <c:pt idx="47">
                  <c:v>0.9950819672131147</c:v>
                </c:pt>
                <c:pt idx="48">
                  <c:v>0.9954497724886244</c:v>
                </c:pt>
                <c:pt idx="49">
                  <c:v>0.9971289752650176</c:v>
                </c:pt>
                <c:pt idx="50">
                  <c:v>0.9962121212121212</c:v>
                </c:pt>
                <c:pt idx="51">
                  <c:v>0.9915773353751914</c:v>
                </c:pt>
                <c:pt idx="52">
                  <c:v>0.9965136548518303</c:v>
                </c:pt>
                <c:pt idx="53">
                  <c:v>0.9914101646385111</c:v>
                </c:pt>
                <c:pt idx="54">
                  <c:v>0.9893858984078847</c:v>
                </c:pt>
                <c:pt idx="55">
                  <c:v>0.9906858594411516</c:v>
                </c:pt>
                <c:pt idx="56">
                  <c:v>0.9922413793103448</c:v>
                </c:pt>
                <c:pt idx="57">
                  <c:v>0.99215965787598</c:v>
                </c:pt>
                <c:pt idx="58">
                  <c:v>0.9949968730456535</c:v>
                </c:pt>
                <c:pt idx="59">
                  <c:v>0.9948623853211009</c:v>
                </c:pt>
                <c:pt idx="60">
                  <c:v>0.9939734833266372</c:v>
                </c:pt>
                <c:pt idx="61">
                  <c:v>0.9943534726143421</c:v>
                </c:pt>
                <c:pt idx="62">
                  <c:v>0.9943246311010215</c:v>
                </c:pt>
                <c:pt idx="63">
                  <c:v>0.9955882352941177</c:v>
                </c:pt>
                <c:pt idx="64">
                  <c:v>0.9954591321897074</c:v>
                </c:pt>
                <c:pt idx="65">
                  <c:v>0.9966517857142857</c:v>
                </c:pt>
                <c:pt idx="66">
                  <c:v>0.9953319502074689</c:v>
                </c:pt>
                <c:pt idx="67">
                  <c:v>0.9960649286768323</c:v>
                </c:pt>
                <c:pt idx="68">
                  <c:v>0.996316758747698</c:v>
                </c:pt>
                <c:pt idx="69">
                  <c:v>0.992988606485539</c:v>
                </c:pt>
                <c:pt idx="70">
                  <c:v>0.9912126537785588</c:v>
                </c:pt>
                <c:pt idx="71">
                  <c:v>0.9895038167938931</c:v>
                </c:pt>
                <c:pt idx="72">
                  <c:v>0.9876425855513308</c:v>
                </c:pt>
                <c:pt idx="73">
                  <c:v>0.9912959381044487</c:v>
                </c:pt>
                <c:pt idx="74">
                  <c:v>0.9935956084172004</c:v>
                </c:pt>
                <c:pt idx="75">
                  <c:v>0.9903938520653218</c:v>
                </c:pt>
                <c:pt idx="76">
                  <c:v>0.9898190045248869</c:v>
                </c:pt>
                <c:pt idx="77">
                  <c:v>0.9912472647702407</c:v>
                </c:pt>
                <c:pt idx="78">
                  <c:v>0.993920972644377</c:v>
                </c:pt>
                <c:pt idx="79">
                  <c:v>0.9963331587218439</c:v>
                </c:pt>
                <c:pt idx="80">
                  <c:v>0.9944102850754611</c:v>
                </c:pt>
                <c:pt idx="81">
                  <c:v>0.9929797191887676</c:v>
                </c:pt>
                <c:pt idx="82">
                  <c:v>0.9941291585127201</c:v>
                </c:pt>
                <c:pt idx="83">
                  <c:v>0.983957219251337</c:v>
                </c:pt>
                <c:pt idx="84">
                  <c:v>0.9887640449438202</c:v>
                </c:pt>
                <c:pt idx="85">
                  <c:v>0.9897039897039897</c:v>
                </c:pt>
                <c:pt idx="86">
                  <c:v>0.9876084262701363</c:v>
                </c:pt>
                <c:pt idx="87">
                  <c:v>0.9912472647702407</c:v>
                </c:pt>
                <c:pt idx="88">
                  <c:v>0.98145285935085</c:v>
                </c:pt>
                <c:pt idx="89">
                  <c:v>0.9829059829059829</c:v>
                </c:pt>
                <c:pt idx="90">
                  <c:v>0.9887429643527205</c:v>
                </c:pt>
                <c:pt idx="91">
                  <c:v>0.981651376146789</c:v>
                </c:pt>
                <c:pt idx="92">
                  <c:v>0.9780907668231612</c:v>
                </c:pt>
                <c:pt idx="93">
                  <c:v>0.9834162520729685</c:v>
                </c:pt>
                <c:pt idx="94">
                  <c:v>0.9853747714808044</c:v>
                </c:pt>
                <c:pt idx="95">
                  <c:v>0.9868035190615836</c:v>
                </c:pt>
                <c:pt idx="96">
                  <c:v>0.983669548511047</c:v>
                </c:pt>
                <c:pt idx="97">
                  <c:v>0.9830508474576272</c:v>
                </c:pt>
                <c:pt idx="98">
                  <c:v>0.98</c:v>
                </c:pt>
                <c:pt idx="99">
                  <c:v>0.9832723470987977</c:v>
                </c:pt>
                <c:pt idx="100">
                  <c:v>0.984677923702314</c:v>
                </c:pt>
                <c:pt idx="101">
                  <c:v>0.9710873664362036</c:v>
                </c:pt>
                <c:pt idx="102">
                  <c:v>0.9651394422310757</c:v>
                </c:pt>
                <c:pt idx="103">
                  <c:v>0.9658580413297394</c:v>
                </c:pt>
                <c:pt idx="104">
                  <c:v>0.970260223048327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37.6754</c:v>
                </c:pt>
                <c:pt idx="1">
                  <c:v>1465.6114</c:v>
                </c:pt>
                <c:pt idx="2">
                  <c:v>1448.2003</c:v>
                </c:pt>
                <c:pt idx="3">
                  <c:v>1464.4797</c:v>
                </c:pt>
                <c:pt idx="4">
                  <c:v>1472.1213</c:v>
                </c:pt>
                <c:pt idx="5">
                  <c:v>1486.6544</c:v>
                </c:pt>
                <c:pt idx="6">
                  <c:v>1381.786</c:v>
                </c:pt>
                <c:pt idx="7">
                  <c:v>1434.2339</c:v>
                </c:pt>
                <c:pt idx="8">
                  <c:v>1524.1725</c:v>
                </c:pt>
                <c:pt idx="9">
                  <c:v>1428.9597</c:v>
                </c:pt>
                <c:pt idx="10">
                  <c:v>1456.2175</c:v>
                </c:pt>
                <c:pt idx="11">
                  <c:v>1335.0014</c:v>
                </c:pt>
                <c:pt idx="12">
                  <c:v>1366.6636</c:v>
                </c:pt>
                <c:pt idx="13">
                  <c:v>1402.4787</c:v>
                </c:pt>
                <c:pt idx="14">
                  <c:v>1406.5432</c:v>
                </c:pt>
                <c:pt idx="15">
                  <c:v>1421.9631</c:v>
                </c:pt>
                <c:pt idx="16">
                  <c:v>1542.2034</c:v>
                </c:pt>
                <c:pt idx="17">
                  <c:v>1530.9681</c:v>
                </c:pt>
                <c:pt idx="18">
                  <c:v>1559.5152</c:v>
                </c:pt>
                <c:pt idx="19">
                  <c:v>1667.551</c:v>
                </c:pt>
                <c:pt idx="20">
                  <c:v>1622.8186</c:v>
                </c:pt>
                <c:pt idx="21">
                  <c:v>1481.4896</c:v>
                </c:pt>
                <c:pt idx="22">
                  <c:v>1530.6699</c:v>
                </c:pt>
                <c:pt idx="23">
                  <c:v>1513.7189</c:v>
                </c:pt>
                <c:pt idx="24">
                  <c:v>1511.9952</c:v>
                </c:pt>
                <c:pt idx="25">
                  <c:v>1433.9883</c:v>
                </c:pt>
                <c:pt idx="26">
                  <c:v>1467.0808</c:v>
                </c:pt>
                <c:pt idx="27">
                  <c:v>1532.1551</c:v>
                </c:pt>
                <c:pt idx="28">
                  <c:v>1510.7682</c:v>
                </c:pt>
                <c:pt idx="29">
                  <c:v>1574.8249</c:v>
                </c:pt>
                <c:pt idx="30">
                  <c:v>1452.8695</c:v>
                </c:pt>
                <c:pt idx="31">
                  <c:v>1279.5401</c:v>
                </c:pt>
                <c:pt idx="32">
                  <c:v>1426.6403</c:v>
                </c:pt>
                <c:pt idx="33">
                  <c:v>1455.0825</c:v>
                </c:pt>
                <c:pt idx="34">
                  <c:v>1472.599</c:v>
                </c:pt>
                <c:pt idx="35">
                  <c:v>1464.3313</c:v>
                </c:pt>
                <c:pt idx="36">
                  <c:v>1501.7713</c:v>
                </c:pt>
                <c:pt idx="37">
                  <c:v>1555.0895</c:v>
                </c:pt>
                <c:pt idx="38">
                  <c:v>1443.4905</c:v>
                </c:pt>
                <c:pt idx="39">
                  <c:v>1420.5008</c:v>
                </c:pt>
                <c:pt idx="40">
                  <c:v>1401.3695</c:v>
                </c:pt>
                <c:pt idx="41">
                  <c:v>1486.1057</c:v>
                </c:pt>
                <c:pt idx="42">
                  <c:v>1468.5417</c:v>
                </c:pt>
                <c:pt idx="43">
                  <c:v>1489.7346</c:v>
                </c:pt>
                <c:pt idx="44">
                  <c:v>1456.6123</c:v>
                </c:pt>
                <c:pt idx="45">
                  <c:v>1408.5369</c:v>
                </c:pt>
                <c:pt idx="46">
                  <c:v>1400.9427</c:v>
                </c:pt>
                <c:pt idx="47">
                  <c:v>1403.153</c:v>
                </c:pt>
                <c:pt idx="48">
                  <c:v>1373.6714</c:v>
                </c:pt>
                <c:pt idx="49">
                  <c:v>1383.8874</c:v>
                </c:pt>
                <c:pt idx="50">
                  <c:v>1252.4165</c:v>
                </c:pt>
                <c:pt idx="51">
                  <c:v>1239.8707</c:v>
                </c:pt>
              </c:numCache>
            </c:numRef>
          </c:xVal>
          <c:yVal>
            <c:numRef>
              <c:f>Sheet1!$B$109:$B$160</c:f>
              <c:numCache>
                <c:formatCode>General</c:formatCode>
                <c:ptCount val="52"/>
                <c:pt idx="0">
                  <c:v>0.963963963963964</c:v>
                </c:pt>
                <c:pt idx="1">
                  <c:v>0.9608993157380255</c:v>
                </c:pt>
                <c:pt idx="2">
                  <c:v>0.9586709886547812</c:v>
                </c:pt>
                <c:pt idx="3">
                  <c:v>0.9610591900311527</c:v>
                </c:pt>
                <c:pt idx="4">
                  <c:v>0.9662731871838112</c:v>
                </c:pt>
                <c:pt idx="5">
                  <c:v>0.9595426561125769</c:v>
                </c:pt>
                <c:pt idx="6">
                  <c:v>0.9733750978856696</c:v>
                </c:pt>
                <c:pt idx="7">
                  <c:v>0.9765432098765432</c:v>
                </c:pt>
                <c:pt idx="8">
                  <c:v>0.9538653366583542</c:v>
                </c:pt>
                <c:pt idx="9">
                  <c:v>0.9523316062176166</c:v>
                </c:pt>
                <c:pt idx="10">
                  <c:v>0.9553398058252427</c:v>
                </c:pt>
                <c:pt idx="11">
                  <c:v>0.9700797872340425</c:v>
                </c:pt>
                <c:pt idx="12">
                  <c:v>0.9617977528089887</c:v>
                </c:pt>
                <c:pt idx="13">
                  <c:v>0.9629927594529365</c:v>
                </c:pt>
                <c:pt idx="14">
                  <c:v>0.9629941126997477</c:v>
                </c:pt>
                <c:pt idx="15">
                  <c:v>0.9543292102759277</c:v>
                </c:pt>
                <c:pt idx="16">
                  <c:v>0.9457459926017263</c:v>
                </c:pt>
                <c:pt idx="17">
                  <c:v>0.945619335347432</c:v>
                </c:pt>
                <c:pt idx="18">
                  <c:v>0.9314516129032258</c:v>
                </c:pt>
                <c:pt idx="19">
                  <c:v>0.9107142857142857</c:v>
                </c:pt>
                <c:pt idx="20">
                  <c:v>0.907843137254902</c:v>
                </c:pt>
                <c:pt idx="21">
                  <c:v>0.9308855291576674</c:v>
                </c:pt>
                <c:pt idx="22">
                  <c:v>0.9346846846846847</c:v>
                </c:pt>
                <c:pt idx="23">
                  <c:v>0.925</c:v>
                </c:pt>
                <c:pt idx="24">
                  <c:v>0.9355555555555556</c:v>
                </c:pt>
                <c:pt idx="25">
                  <c:v>0.9282608695652174</c:v>
                </c:pt>
                <c:pt idx="26">
                  <c:v>0.9397321428571429</c:v>
                </c:pt>
                <c:pt idx="27">
                  <c:v>0.9137577002053389</c:v>
                </c:pt>
                <c:pt idx="28">
                  <c:v>0.9238938053097345</c:v>
                </c:pt>
                <c:pt idx="29">
                  <c:v>0.9205298013245033</c:v>
                </c:pt>
                <c:pt idx="30">
                  <c:v>0.9149797570850202</c:v>
                </c:pt>
                <c:pt idx="31">
                  <c:v>0.9197396963123644</c:v>
                </c:pt>
                <c:pt idx="32">
                  <c:v>0.9285714285714286</c:v>
                </c:pt>
                <c:pt idx="33">
                  <c:v>0.9275167785234899</c:v>
                </c:pt>
                <c:pt idx="34">
                  <c:v>0.9421641791044776</c:v>
                </c:pt>
                <c:pt idx="35">
                  <c:v>0.9201349831271091</c:v>
                </c:pt>
                <c:pt idx="36">
                  <c:v>0.9016786570743405</c:v>
                </c:pt>
                <c:pt idx="37">
                  <c:v>0.8708240534521158</c:v>
                </c:pt>
                <c:pt idx="38">
                  <c:v>0.9156327543424317</c:v>
                </c:pt>
                <c:pt idx="39">
                  <c:v>0.9034690799396682</c:v>
                </c:pt>
                <c:pt idx="40">
                  <c:v>0.7283163265306123</c:v>
                </c:pt>
                <c:pt idx="41">
                  <c:v>0.83008356545961</c:v>
                </c:pt>
                <c:pt idx="42">
                  <c:v>0.863013698630137</c:v>
                </c:pt>
                <c:pt idx="43">
                  <c:v>0.8707571801566579</c:v>
                </c:pt>
                <c:pt idx="44">
                  <c:v>0.9010011123470523</c:v>
                </c:pt>
                <c:pt idx="45">
                  <c:v>0.9201581027667984</c:v>
                </c:pt>
                <c:pt idx="46">
                  <c:v>0.9165808444902163</c:v>
                </c:pt>
                <c:pt idx="47">
                  <c:v>0.931640625</c:v>
                </c:pt>
                <c:pt idx="48">
                  <c:v>0.9058728881737731</c:v>
                </c:pt>
                <c:pt idx="49">
                  <c:v>0.9117840684660962</c:v>
                </c:pt>
                <c:pt idx="50">
                  <c:v>0.9426535459789617</c:v>
                </c:pt>
                <c:pt idx="51">
                  <c:v>0.918973666441593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7.251728793719856</c:v>
                </c:pt>
              </c:numCache>
            </c:numRef>
          </c:xVal>
          <c:yVal>
            <c:numRef>
              <c:f>Sheet1!$B$163:$B$164</c:f>
              <c:numCache>
                <c:formatCode>General</c:formatCode>
                <c:ptCount val="2"/>
                <c:pt idx="0">
                  <c:v>0.9940067454693201</c:v>
                </c:pt>
                <c:pt idx="1">
                  <c:v>0.9940067454693201</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7.251728793719856</c:v>
                </c:pt>
                <c:pt idx="1">
                  <c:v>47.251728793719856</c:v>
                </c:pt>
              </c:numCache>
            </c:numRef>
          </c:xVal>
          <c:yVal>
            <c:numRef>
              <c:f>Sheet1!$B$167:$B$168</c:f>
              <c:numCache>
                <c:formatCode>General</c:formatCode>
                <c:ptCount val="2"/>
                <c:pt idx="0">
                  <c:v>0.994006745469320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676.2446000889545</c:v>
                </c:pt>
              </c:numCache>
            </c:numRef>
          </c:xVal>
          <c:yVal>
            <c:numRef>
              <c:f>Sheet1!$B$171:$B$172</c:f>
              <c:numCache>
                <c:formatCode>General</c:formatCode>
                <c:ptCount val="2"/>
                <c:pt idx="0">
                  <c:v>0.9637992162338753</c:v>
                </c:pt>
                <c:pt idx="1">
                  <c:v>0.963799216233875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676.2446000889545</c:v>
                </c:pt>
                <c:pt idx="1">
                  <c:v>676.2446000889545</c:v>
                </c:pt>
              </c:numCache>
            </c:numRef>
          </c:xVal>
          <c:yVal>
            <c:numRef>
              <c:f>Sheet1!$B$175:$B$176</c:f>
              <c:numCache>
                <c:formatCode>General</c:formatCode>
                <c:ptCount val="2"/>
                <c:pt idx="0">
                  <c:v>0.96379921623387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2254.0771812371922</c:v>
                </c:pt>
              </c:numCache>
            </c:numRef>
          </c:xVal>
          <c:yVal>
            <c:numRef>
              <c:f>Sheet1!$B$179:$B$180</c:f>
              <c:numCache>
                <c:formatCode>General</c:formatCode>
                <c:ptCount val="2"/>
                <c:pt idx="0">
                  <c:v>0.888023438798552</c:v>
                </c:pt>
                <c:pt idx="1">
                  <c:v>0.888023438798552</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2254.0771812371922</c:v>
                </c:pt>
                <c:pt idx="1">
                  <c:v>2254.0771812371922</c:v>
                </c:pt>
              </c:numCache>
            </c:numRef>
          </c:xVal>
          <c:yVal>
            <c:numRef>
              <c:f>Sheet1!$B$183:$B$184</c:f>
              <c:numCache>
                <c:formatCode>General</c:formatCode>
                <c:ptCount val="2"/>
                <c:pt idx="0">
                  <c:v>0.88802343879855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37.6754</c:v>
                </c:pt>
                <c:pt idx="1">
                  <c:v>1465.6114</c:v>
                </c:pt>
                <c:pt idx="2">
                  <c:v>1448.2003</c:v>
                </c:pt>
                <c:pt idx="3">
                  <c:v>1464.4797</c:v>
                </c:pt>
                <c:pt idx="4">
                  <c:v>1472.1213</c:v>
                </c:pt>
                <c:pt idx="5">
                  <c:v>1486.6544</c:v>
                </c:pt>
                <c:pt idx="6">
                  <c:v>1381.786</c:v>
                </c:pt>
                <c:pt idx="7">
                  <c:v>1434.2339</c:v>
                </c:pt>
                <c:pt idx="8">
                  <c:v>1524.1725</c:v>
                </c:pt>
                <c:pt idx="9">
                  <c:v>1428.9597</c:v>
                </c:pt>
                <c:pt idx="10">
                  <c:v>1456.2175</c:v>
                </c:pt>
                <c:pt idx="11">
                  <c:v>1335.0014</c:v>
                </c:pt>
                <c:pt idx="12">
                  <c:v>1366.6636</c:v>
                </c:pt>
                <c:pt idx="13">
                  <c:v>1402.4787</c:v>
                </c:pt>
                <c:pt idx="14">
                  <c:v>1406.5432</c:v>
                </c:pt>
                <c:pt idx="15">
                  <c:v>1421.9631</c:v>
                </c:pt>
                <c:pt idx="16">
                  <c:v>1542.2034</c:v>
                </c:pt>
                <c:pt idx="17">
                  <c:v>1530.9681</c:v>
                </c:pt>
                <c:pt idx="18">
                  <c:v>1559.5152</c:v>
                </c:pt>
                <c:pt idx="19">
                  <c:v>1667.551</c:v>
                </c:pt>
                <c:pt idx="20">
                  <c:v>1622.8186</c:v>
                </c:pt>
                <c:pt idx="21">
                  <c:v>1481.4896</c:v>
                </c:pt>
                <c:pt idx="22">
                  <c:v>1530.6699</c:v>
                </c:pt>
                <c:pt idx="23">
                  <c:v>1513.7189</c:v>
                </c:pt>
                <c:pt idx="24">
                  <c:v>1511.9952</c:v>
                </c:pt>
                <c:pt idx="25">
                  <c:v>1433.9883</c:v>
                </c:pt>
                <c:pt idx="26">
                  <c:v>1467.0808</c:v>
                </c:pt>
                <c:pt idx="27">
                  <c:v>1532.1551</c:v>
                </c:pt>
                <c:pt idx="28">
                  <c:v>1510.7682</c:v>
                </c:pt>
                <c:pt idx="29">
                  <c:v>1574.8249</c:v>
                </c:pt>
                <c:pt idx="30">
                  <c:v>1452.8695</c:v>
                </c:pt>
                <c:pt idx="31">
                  <c:v>1279.5401</c:v>
                </c:pt>
                <c:pt idx="32">
                  <c:v>1426.6403</c:v>
                </c:pt>
                <c:pt idx="33">
                  <c:v>1455.0825</c:v>
                </c:pt>
                <c:pt idx="34">
                  <c:v>1472.599</c:v>
                </c:pt>
                <c:pt idx="35">
                  <c:v>1464.3313</c:v>
                </c:pt>
                <c:pt idx="36">
                  <c:v>1501.7713</c:v>
                </c:pt>
                <c:pt idx="37">
                  <c:v>1555.0895</c:v>
                </c:pt>
                <c:pt idx="38">
                  <c:v>1443.4905</c:v>
                </c:pt>
                <c:pt idx="39">
                  <c:v>1420.5008</c:v>
                </c:pt>
                <c:pt idx="40">
                  <c:v>1401.3695</c:v>
                </c:pt>
                <c:pt idx="41">
                  <c:v>1486.1057</c:v>
                </c:pt>
                <c:pt idx="42">
                  <c:v>1468.5417</c:v>
                </c:pt>
                <c:pt idx="43">
                  <c:v>1489.7346</c:v>
                </c:pt>
                <c:pt idx="44">
                  <c:v>1456.6123</c:v>
                </c:pt>
                <c:pt idx="45">
                  <c:v>1408.5369</c:v>
                </c:pt>
                <c:pt idx="46">
                  <c:v>1400.9427</c:v>
                </c:pt>
                <c:pt idx="47">
                  <c:v>1403.153</c:v>
                </c:pt>
                <c:pt idx="48">
                  <c:v>1373.6714</c:v>
                </c:pt>
                <c:pt idx="49">
                  <c:v>1383.8874</c:v>
                </c:pt>
                <c:pt idx="50">
                  <c:v>1252.4165</c:v>
                </c:pt>
                <c:pt idx="51">
                  <c:v>1239.8707</c:v>
                </c:pt>
                <c:pt idx="52">
                  <c:v>676.2446000889545</c:v>
                </c:pt>
                <c:pt idx="53">
                  <c:v>47.251728793719856</c:v>
                </c:pt>
                <c:pt idx="54">
                  <c:v>2254.0771812371922</c:v>
                </c:pt>
              </c:numCache>
            </c:numRef>
          </c:xVal>
          <c:yVal>
            <c:numRef>
              <c:f>Sheet1!$B$187:$B$241</c:f>
              <c:numCache>
                <c:formatCode>General</c:formatCode>
                <c:ptCount val="55"/>
                <c:pt idx="0">
                  <c:v>0.9272313246110068</c:v>
                </c:pt>
                <c:pt idx="1">
                  <c:v>0.9258896917003132</c:v>
                </c:pt>
                <c:pt idx="2">
                  <c:v>0.9267258638356002</c:v>
                </c:pt>
                <c:pt idx="3">
                  <c:v>0.9259440418565643</c:v>
                </c:pt>
                <c:pt idx="4">
                  <c:v>0.9255770522356324</c:v>
                </c:pt>
                <c:pt idx="5">
                  <c:v>0.9248790967210847</c:v>
                </c:pt>
                <c:pt idx="6">
                  <c:v>0.9299154260714493</c:v>
                </c:pt>
                <c:pt idx="7">
                  <c:v>0.9273966034505741</c:v>
                </c:pt>
                <c:pt idx="8">
                  <c:v>0.923077281224711</c:v>
                </c:pt>
                <c:pt idx="9">
                  <c:v>0.9276498981347658</c:v>
                </c:pt>
                <c:pt idx="10">
                  <c:v>0.9263408359371318</c:v>
                </c:pt>
                <c:pt idx="11">
                  <c:v>0.9321622673899501</c:v>
                </c:pt>
                <c:pt idx="12">
                  <c:v>0.9306416828558377</c:v>
                </c:pt>
                <c:pt idx="13">
                  <c:v>0.9289216543313609</c:v>
                </c:pt>
                <c:pt idx="14">
                  <c:v>0.9287264557715987</c:v>
                </c:pt>
                <c:pt idx="15">
                  <c:v>0.9279859114803758</c:v>
                </c:pt>
                <c:pt idx="16">
                  <c:v>0.922211343049975</c:v>
                </c:pt>
                <c:pt idx="17">
                  <c:v>0.9227509209509456</c:v>
                </c:pt>
                <c:pt idx="18">
                  <c:v>0.9213799398203305</c:v>
                </c:pt>
                <c:pt idx="19">
                  <c:v>0.9161914953467797</c:v>
                </c:pt>
                <c:pt idx="20">
                  <c:v>0.9183397792819998</c:v>
                </c:pt>
                <c:pt idx="21">
                  <c:v>0.9251271374447799</c:v>
                </c:pt>
                <c:pt idx="22">
                  <c:v>0.9227652420754433</c:v>
                </c:pt>
                <c:pt idx="23">
                  <c:v>0.9235793178010007</c:v>
                </c:pt>
                <c:pt idx="24">
                  <c:v>0.9236620988952218</c:v>
                </c:pt>
                <c:pt idx="25">
                  <c:v>0.927408398447813</c:v>
                </c:pt>
                <c:pt idx="26">
                  <c:v>0.9258191234228585</c:v>
                </c:pt>
                <c:pt idx="27">
                  <c:v>0.9226939149993064</c:v>
                </c:pt>
                <c:pt idx="28">
                  <c:v>0.9237210258561833</c:v>
                </c:pt>
                <c:pt idx="29">
                  <c:v>0.9206446879097905</c:v>
                </c:pt>
                <c:pt idx="30">
                  <c:v>0.9265016244174082</c:v>
                </c:pt>
                <c:pt idx="31">
                  <c:v>0.9348258092481208</c:v>
                </c:pt>
                <c:pt idx="32">
                  <c:v>0.9277612878603194</c:v>
                </c:pt>
                <c:pt idx="33">
                  <c:v>0.9263953445766521</c:v>
                </c:pt>
                <c:pt idx="34">
                  <c:v>0.9255541105818007</c:v>
                </c:pt>
                <c:pt idx="35">
                  <c:v>0.92595116880115</c:v>
                </c:pt>
                <c:pt idx="36">
                  <c:v>0.9241531040754781</c:v>
                </c:pt>
                <c:pt idx="37">
                  <c:v>0.9215924850942729</c:v>
                </c:pt>
                <c:pt idx="38">
                  <c:v>0.9269520530782542</c:v>
                </c:pt>
                <c:pt idx="39">
                  <c:v>0.9280561387786758</c:v>
                </c:pt>
                <c:pt idx="40">
                  <c:v>0.9289749239198682</c:v>
                </c:pt>
                <c:pt idx="41">
                  <c:v>0.9249054481664634</c:v>
                </c:pt>
                <c:pt idx="42">
                  <c:v>0.9257489633598849</c:v>
                </c:pt>
                <c:pt idx="43">
                  <c:v>0.9247311693982211</c:v>
                </c:pt>
                <c:pt idx="44">
                  <c:v>0.9263218755751207</c:v>
                </c:pt>
                <c:pt idx="45">
                  <c:v>0.9286307078644521</c:v>
                </c:pt>
                <c:pt idx="46">
                  <c:v>0.9289954210893372</c:v>
                </c:pt>
                <c:pt idx="47">
                  <c:v>0.9288892709167103</c:v>
                </c:pt>
                <c:pt idx="48">
                  <c:v>0.9303051316276175</c:v>
                </c:pt>
                <c:pt idx="49">
                  <c:v>0.9298145058467023</c:v>
                </c:pt>
                <c:pt idx="50">
                  <c:v>0.9361284264594785</c:v>
                </c:pt>
                <c:pt idx="51">
                  <c:v>0.936730941428371</c:v>
                </c:pt>
                <c:pt idx="52">
                  <c:v>0.9637992162338753</c:v>
                </c:pt>
                <c:pt idx="53">
                  <c:v>0.9940067454693201</c:v>
                </c:pt>
                <c:pt idx="54">
                  <c:v>0.88802343879855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05.0"/>
          <c:min val="3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73626373626374"/>
          <c:min val="0.582653061224489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7</c:f>
              <c:numCache>
                <c:formatCode>General</c:formatCode>
                <c:ptCount val="56"/>
                <c:pt idx="0">
                  <c:v>0.0</c:v>
                </c:pt>
                <c:pt idx="1">
                  <c:v>0.5558955759951733</c:v>
                </c:pt>
                <c:pt idx="2">
                  <c:v>0.6272303585817889</c:v>
                </c:pt>
                <c:pt idx="3">
                  <c:v>0.5886192284755282</c:v>
                </c:pt>
                <c:pt idx="4">
                  <c:v>0.6112803516319087</c:v>
                </c:pt>
                <c:pt idx="5">
                  <c:v>0.7582963437888824</c:v>
                </c:pt>
                <c:pt idx="6">
                  <c:v>0.6735856662498215</c:v>
                </c:pt>
                <c:pt idx="7">
                  <c:v>0.8030927162367224</c:v>
                </c:pt>
                <c:pt idx="8">
                  <c:v>0.6056381798002219</c:v>
                </c:pt>
                <c:pt idx="9">
                  <c:v>0.5826012079831933</c:v>
                </c:pt>
                <c:pt idx="10">
                  <c:v>0.6168917865020833</c:v>
                </c:pt>
                <c:pt idx="11">
                  <c:v>0.6778049727518534</c:v>
                </c:pt>
                <c:pt idx="12">
                  <c:v>0.788168491313181</c:v>
                </c:pt>
                <c:pt idx="13">
                  <c:v>0.5286469467787115</c:v>
                </c:pt>
                <c:pt idx="14">
                  <c:v>0.6669473535305905</c:v>
                </c:pt>
                <c:pt idx="15">
                  <c:v>0.7257141871371997</c:v>
                </c:pt>
                <c:pt idx="16">
                  <c:v>0.7174429657794676</c:v>
                </c:pt>
                <c:pt idx="17">
                  <c:v>0.6140514503816794</c:v>
                </c:pt>
                <c:pt idx="18">
                  <c:v>0.6184746466768526</c:v>
                </c:pt>
                <c:pt idx="19">
                  <c:v>0.7518233654056419</c:v>
                </c:pt>
                <c:pt idx="20">
                  <c:v>0.7808196177215543</c:v>
                </c:pt>
                <c:pt idx="21">
                  <c:v>0.5844774025453452</c:v>
                </c:pt>
                <c:pt idx="22">
                  <c:v>0.5137550901443745</c:v>
                </c:pt>
                <c:pt idx="23">
                  <c:v>0.44453685086155675</c:v>
                </c:pt>
                <c:pt idx="24">
                  <c:v>0.32901652734658116</c:v>
                </c:pt>
                <c:pt idx="25">
                  <c:v>0.41230530846484936</c:v>
                </c:pt>
                <c:pt idx="26">
                  <c:v>0.41397610779791777</c:v>
                </c:pt>
                <c:pt idx="27">
                  <c:v>0.3731865684804656</c:v>
                </c:pt>
                <c:pt idx="28">
                  <c:v>0.6020558281495806</c:v>
                </c:pt>
                <c:pt idx="29">
                  <c:v>0.5998613911290323</c:v>
                </c:pt>
                <c:pt idx="30">
                  <c:v>0.5614761416500994</c:v>
                </c:pt>
                <c:pt idx="31">
                  <c:v>0.3981570673076923</c:v>
                </c:pt>
                <c:pt idx="32">
                  <c:v>0.6386725379909216</c:v>
                </c:pt>
                <c:pt idx="33">
                  <c:v>0.6743295019157088</c:v>
                </c:pt>
                <c:pt idx="34">
                  <c:v>0.6554607930570103</c:v>
                </c:pt>
                <c:pt idx="35">
                  <c:v>0.70080575347939</c:v>
                </c:pt>
                <c:pt idx="36">
                  <c:v>0.6349339627162506</c:v>
                </c:pt>
                <c:pt idx="37">
                  <c:v>0.6286136124734872</c:v>
                </c:pt>
                <c:pt idx="38">
                  <c:v>0.6043253115856342</c:v>
                </c:pt>
                <c:pt idx="39">
                  <c:v>0.7433483924082388</c:v>
                </c:pt>
                <c:pt idx="40">
                  <c:v>0.7323122050247678</c:v>
                </c:pt>
                <c:pt idx="41">
                  <c:v>0.7349400568532938</c:v>
                </c:pt>
                <c:pt idx="42">
                  <c:v>0.6985874445711496</c:v>
                </c:pt>
                <c:pt idx="43">
                  <c:v>0.7222094262924802</c:v>
                </c:pt>
                <c:pt idx="44">
                  <c:v>0.6760185417850921</c:v>
                </c:pt>
                <c:pt idx="45">
                  <c:v>0.6036458575906851</c:v>
                </c:pt>
                <c:pt idx="46">
                  <c:v>0.5446543620474535</c:v>
                </c:pt>
                <c:pt idx="47">
                  <c:v>0.5753228762222548</c:v>
                </c:pt>
                <c:pt idx="48">
                  <c:v>0.4965504777565848</c:v>
                </c:pt>
                <c:pt idx="49">
                  <c:v>0.6774071310531323</c:v>
                </c:pt>
                <c:pt idx="50">
                  <c:v>0.6608352039609245</c:v>
                </c:pt>
                <c:pt idx="51">
                  <c:v>0.652515640418202</c:v>
                </c:pt>
                <c:pt idx="52">
                  <c:v>0.7373022617575978</c:v>
                </c:pt>
                <c:pt idx="53">
                  <c:v>0.583544417729072</c:v>
                </c:pt>
                <c:pt idx="54">
                  <c:v>0.7143585131894484</c:v>
                </c:pt>
                <c:pt idx="55">
                  <c:v>0.6295179875712522</c:v>
                </c:pt>
              </c:numCache>
            </c:numRef>
          </c:xVal>
          <c:yVal>
            <c:numRef>
              <c:f>Sheet1!$B$2:$B$57</c:f>
              <c:numCache>
                <c:formatCode>General</c:formatCode>
                <c:ptCount val="56"/>
                <c:pt idx="0">
                  <c:v>0.9777777777777777</c:v>
                </c:pt>
                <c:pt idx="1">
                  <c:v>0.7096774193548387</c:v>
                </c:pt>
                <c:pt idx="2">
                  <c:v>0.4827586206896552</c:v>
                </c:pt>
                <c:pt idx="3">
                  <c:v>0.5135135135135135</c:v>
                </c:pt>
                <c:pt idx="4">
                  <c:v>0.5428571428571428</c:v>
                </c:pt>
                <c:pt idx="5">
                  <c:v>0.4642857142857143</c:v>
                </c:pt>
                <c:pt idx="6">
                  <c:v>0.59375</c:v>
                </c:pt>
                <c:pt idx="7">
                  <c:v>0.45161290322580644</c:v>
                </c:pt>
                <c:pt idx="8">
                  <c:v>0.6666666666666666</c:v>
                </c:pt>
                <c:pt idx="9">
                  <c:v>0.7746478873239436</c:v>
                </c:pt>
                <c:pt idx="10">
                  <c:v>0.7288135593220338</c:v>
                </c:pt>
                <c:pt idx="11">
                  <c:v>0.7428571428571429</c:v>
                </c:pt>
                <c:pt idx="12">
                  <c:v>0.7380952380952381</c:v>
                </c:pt>
                <c:pt idx="13">
                  <c:v>0.7931034482758621</c:v>
                </c:pt>
                <c:pt idx="14">
                  <c:v>0.6363636363636364</c:v>
                </c:pt>
                <c:pt idx="15">
                  <c:v>0.5961538461538461</c:v>
                </c:pt>
                <c:pt idx="16">
                  <c:v>0.5853658536585366</c:v>
                </c:pt>
                <c:pt idx="17">
                  <c:v>0.6792452830188679</c:v>
                </c:pt>
                <c:pt idx="18">
                  <c:v>0.6428571428571429</c:v>
                </c:pt>
                <c:pt idx="19">
                  <c:v>0.53125</c:v>
                </c:pt>
                <c:pt idx="20">
                  <c:v>0.55</c:v>
                </c:pt>
                <c:pt idx="21">
                  <c:v>0.5454545454545454</c:v>
                </c:pt>
                <c:pt idx="22">
                  <c:v>0.75</c:v>
                </c:pt>
                <c:pt idx="23">
                  <c:v>0.75</c:v>
                </c:pt>
                <c:pt idx="24">
                  <c:v>0.7346938775510204</c:v>
                </c:pt>
                <c:pt idx="25">
                  <c:v>0.6216216216216216</c:v>
                </c:pt>
                <c:pt idx="26">
                  <c:v>0.5588235294117647</c:v>
                </c:pt>
                <c:pt idx="27">
                  <c:v>0.6153846153846154</c:v>
                </c:pt>
                <c:pt idx="28">
                  <c:v>0.4090909090909091</c:v>
                </c:pt>
                <c:pt idx="29">
                  <c:v>0.42105263157894735</c:v>
                </c:pt>
                <c:pt idx="30">
                  <c:v>0.5</c:v>
                </c:pt>
                <c:pt idx="31">
                  <c:v>0.6</c:v>
                </c:pt>
                <c:pt idx="32">
                  <c:v>0.34210526315789475</c:v>
                </c:pt>
                <c:pt idx="33">
                  <c:v>0.29411764705882354</c:v>
                </c:pt>
                <c:pt idx="34">
                  <c:v>0.36</c:v>
                </c:pt>
                <c:pt idx="35">
                  <c:v>0.2727272727272727</c:v>
                </c:pt>
                <c:pt idx="36">
                  <c:v>0.5454545454545454</c:v>
                </c:pt>
                <c:pt idx="37">
                  <c:v>0.39473684210526316</c:v>
                </c:pt>
                <c:pt idx="38">
                  <c:v>0.3877551020408163</c:v>
                </c:pt>
                <c:pt idx="39">
                  <c:v>0.32727272727272727</c:v>
                </c:pt>
                <c:pt idx="40">
                  <c:v>0.5</c:v>
                </c:pt>
                <c:pt idx="41">
                  <c:v>0.45454545454545453</c:v>
                </c:pt>
                <c:pt idx="42">
                  <c:v>0.32558139534883723</c:v>
                </c:pt>
                <c:pt idx="43">
                  <c:v>0.3148148148148148</c:v>
                </c:pt>
                <c:pt idx="44">
                  <c:v>0.32653061224489793</c:v>
                </c:pt>
                <c:pt idx="45">
                  <c:v>0.32075471698113206</c:v>
                </c:pt>
                <c:pt idx="46">
                  <c:v>0.30952380952380953</c:v>
                </c:pt>
                <c:pt idx="47">
                  <c:v>0.4</c:v>
                </c:pt>
                <c:pt idx="48">
                  <c:v>0.4222222222222222</c:v>
                </c:pt>
                <c:pt idx="49">
                  <c:v>0.5121951219512195</c:v>
                </c:pt>
                <c:pt idx="50">
                  <c:v>0.5964912280701754</c:v>
                </c:pt>
                <c:pt idx="51">
                  <c:v>0.4603174603174603</c:v>
                </c:pt>
                <c:pt idx="52">
                  <c:v>0.3404255319148936</c:v>
                </c:pt>
                <c:pt idx="53">
                  <c:v>0.46875</c:v>
                </c:pt>
                <c:pt idx="54">
                  <c:v>0.43243243243243246</c:v>
                </c:pt>
                <c:pt idx="55">
                  <c:v>0.38235294117647056</c:v>
                </c:pt>
              </c:numCache>
            </c:numRef>
          </c:yVal>
          <c:smooth val="0"/>
          <c:extLst>
            <c:ext xmlns:c16="http://schemas.microsoft.com/office/drawing/2014/chart" uri="{C3380CC4-5D6E-409C-BE32-E72D297353CC}">
              <c16:uniqueId val="{00000000-096C-4121-9522-6AB7243CCAAE}"/>
            </c:ext>
          </c:extLst>
        </c:ser>
        <c:ser>
          <c:idx val="1"/>
          <c:order val="1"/>
          <c:tx>
            <c:strRef>
              <c:f>Sheet1!$B$5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0:$A$111</c:f>
              <c:numCache>
                <c:formatCode>General</c:formatCode>
                <c:ptCount val="52"/>
                <c:pt idx="0">
                  <c:v>0.8333388634300289</c:v>
                </c:pt>
                <c:pt idx="1">
                  <c:v>0.6582560315115706</c:v>
                </c:pt>
                <c:pt idx="2">
                  <c:v>0.6331142442239822</c:v>
                </c:pt>
                <c:pt idx="3">
                  <c:v>0.673721452544982</c:v>
                </c:pt>
                <c:pt idx="4">
                  <c:v>0.6066238819590701</c:v>
                </c:pt>
                <c:pt idx="5">
                  <c:v>0.6453710173210683</c:v>
                </c:pt>
                <c:pt idx="6">
                  <c:v>0.5062270186153311</c:v>
                </c:pt>
                <c:pt idx="7">
                  <c:v>0.5054466486911247</c:v>
                </c:pt>
                <c:pt idx="8">
                  <c:v>0.6570140879881364</c:v>
                </c:pt>
                <c:pt idx="9">
                  <c:v>0.5798366126363097</c:v>
                </c:pt>
                <c:pt idx="10">
                  <c:v>0.5813181785239763</c:v>
                </c:pt>
                <c:pt idx="11">
                  <c:v>0.4983219786096257</c:v>
                </c:pt>
                <c:pt idx="12">
                  <c:v>0.40092052035337195</c:v>
                </c:pt>
                <c:pt idx="13">
                  <c:v>0.38681740944084897</c:v>
                </c:pt>
                <c:pt idx="14">
                  <c:v>0.3872475467915078</c:v>
                </c:pt>
                <c:pt idx="15">
                  <c:v>0.38889357631600086</c:v>
                </c:pt>
                <c:pt idx="16">
                  <c:v>0.4550364999547175</c:v>
                </c:pt>
                <c:pt idx="17">
                  <c:v>0.2694523921530451</c:v>
                </c:pt>
                <c:pt idx="18">
                  <c:v>0.40294632470803754</c:v>
                </c:pt>
                <c:pt idx="19">
                  <c:v>0.39777367153100407</c:v>
                </c:pt>
                <c:pt idx="20">
                  <c:v>0.3436207045248958</c:v>
                </c:pt>
                <c:pt idx="21">
                  <c:v>0.5632775735995422</c:v>
                </c:pt>
                <c:pt idx="22">
                  <c:v>0.5489092074022861</c:v>
                </c:pt>
                <c:pt idx="23">
                  <c:v>0.6337880622549742</c:v>
                </c:pt>
                <c:pt idx="24">
                  <c:v>0.4808405460750853</c:v>
                </c:pt>
                <c:pt idx="25">
                  <c:v>0.4423701298701299</c:v>
                </c:pt>
                <c:pt idx="26">
                  <c:v>0.5564195967338778</c:v>
                </c:pt>
                <c:pt idx="27">
                  <c:v>0.4814823093289167</c:v>
                </c:pt>
                <c:pt idx="28">
                  <c:v>0.6389809218961884</c:v>
                </c:pt>
                <c:pt idx="29">
                  <c:v>0.6017631605636267</c:v>
                </c:pt>
                <c:pt idx="30">
                  <c:v>0.8781268424155647</c:v>
                </c:pt>
                <c:pt idx="31">
                  <c:v>0.8547130206249901</c:v>
                </c:pt>
                <c:pt idx="32">
                  <c:v>0.6667345809233819</c:v>
                </c:pt>
                <c:pt idx="33">
                  <c:v>0.566544772265167</c:v>
                </c:pt>
                <c:pt idx="34">
                  <c:v>0.8110950040074807</c:v>
                </c:pt>
                <c:pt idx="35">
                  <c:v>0.6398687598250117</c:v>
                </c:pt>
                <c:pt idx="36">
                  <c:v>0.5875671479355015</c:v>
                </c:pt>
                <c:pt idx="37">
                  <c:v>0.35863072771193477</c:v>
                </c:pt>
                <c:pt idx="38">
                  <c:v>0.30951707429200365</c:v>
                </c:pt>
                <c:pt idx="39">
                  <c:v>0.47629545789127575</c:v>
                </c:pt>
                <c:pt idx="40">
                  <c:v>0.4090239019407559</c:v>
                </c:pt>
                <c:pt idx="41">
                  <c:v>0.42465471149638356</c:v>
                </c:pt>
                <c:pt idx="42">
                  <c:v>0.6421297105537157</c:v>
                </c:pt>
                <c:pt idx="43">
                  <c:v>0.44371922906381234</c:v>
                </c:pt>
                <c:pt idx="44">
                  <c:v>0.4255966266048468</c:v>
                </c:pt>
                <c:pt idx="45">
                  <c:v>0.5761174114860136</c:v>
                </c:pt>
                <c:pt idx="46">
                  <c:v>0.4267269146220224</c:v>
                </c:pt>
                <c:pt idx="47">
                  <c:v>0.3142894361897008</c:v>
                </c:pt>
                <c:pt idx="48">
                  <c:v>0.47318519357430694</c:v>
                </c:pt>
                <c:pt idx="49">
                  <c:v>0.5590738891433806</c:v>
                </c:pt>
                <c:pt idx="50">
                  <c:v>0.6071834792656815</c:v>
                </c:pt>
                <c:pt idx="51">
                  <c:v>0.6990082380434327</c:v>
                </c:pt>
              </c:numCache>
            </c:numRef>
          </c:xVal>
          <c:yVal>
            <c:numRef>
              <c:f>Sheet1!$B$60:$B$111</c:f>
              <c:numCache>
                <c:formatCode>General</c:formatCode>
                <c:ptCount val="52"/>
                <c:pt idx="0">
                  <c:v>0.3170731707317073</c:v>
                </c:pt>
                <c:pt idx="1">
                  <c:v>0.7439024390243902</c:v>
                </c:pt>
                <c:pt idx="2">
                  <c:v>0.8692307692307693</c:v>
                </c:pt>
                <c:pt idx="3">
                  <c:v>0.831081081081081</c:v>
                </c:pt>
                <c:pt idx="4">
                  <c:v>0.8264462809917356</c:v>
                </c:pt>
                <c:pt idx="5">
                  <c:v>0.7981651376146789</c:v>
                </c:pt>
                <c:pt idx="6">
                  <c:v>0.8636363636363636</c:v>
                </c:pt>
                <c:pt idx="7">
                  <c:v>0.9204545454545454</c:v>
                </c:pt>
                <c:pt idx="8">
                  <c:v>0.7166666666666667</c:v>
                </c:pt>
                <c:pt idx="9">
                  <c:v>0.7222222222222222</c:v>
                </c:pt>
                <c:pt idx="10">
                  <c:v>0.7407407407407407</c:v>
                </c:pt>
                <c:pt idx="11">
                  <c:v>0.7909090909090909</c:v>
                </c:pt>
                <c:pt idx="12">
                  <c:v>0.8114754098360656</c:v>
                </c:pt>
                <c:pt idx="13">
                  <c:v>0.8244274809160306</c:v>
                </c:pt>
                <c:pt idx="14">
                  <c:v>0.8383838383838383</c:v>
                </c:pt>
                <c:pt idx="15">
                  <c:v>0.8048780487804879</c:v>
                </c:pt>
                <c:pt idx="16">
                  <c:v>0.7654320987654321</c:v>
                </c:pt>
                <c:pt idx="17">
                  <c:v>0.8947368421052632</c:v>
                </c:pt>
                <c:pt idx="18">
                  <c:v>0.7346938775510204</c:v>
                </c:pt>
                <c:pt idx="19">
                  <c:v>0.7049180327868853</c:v>
                </c:pt>
                <c:pt idx="20">
                  <c:v>0.7209302325581395</c:v>
                </c:pt>
                <c:pt idx="21">
                  <c:v>0.5</c:v>
                </c:pt>
                <c:pt idx="22">
                  <c:v>0.5517241379310345</c:v>
                </c:pt>
                <c:pt idx="23">
                  <c:v>0.5833333333333334</c:v>
                </c:pt>
                <c:pt idx="24">
                  <c:v>0.6071428571428571</c:v>
                </c:pt>
                <c:pt idx="25">
                  <c:v>0.64</c:v>
                </c:pt>
                <c:pt idx="26">
                  <c:v>0.42857142857142855</c:v>
                </c:pt>
                <c:pt idx="27">
                  <c:v>0.3783783783783784</c:v>
                </c:pt>
                <c:pt idx="28">
                  <c:v>0.3695652173913043</c:v>
                </c:pt>
                <c:pt idx="29">
                  <c:v>0.3611111111111111</c:v>
                </c:pt>
                <c:pt idx="30">
                  <c:v>0.23255813953488372</c:v>
                </c:pt>
                <c:pt idx="31">
                  <c:v>0.2</c:v>
                </c:pt>
                <c:pt idx="32">
                  <c:v>0.39473684210526316</c:v>
                </c:pt>
                <c:pt idx="33">
                  <c:v>0.47058823529411764</c:v>
                </c:pt>
                <c:pt idx="34">
                  <c:v>0.3111111111111111</c:v>
                </c:pt>
                <c:pt idx="35">
                  <c:v>0.26506024096385544</c:v>
                </c:pt>
                <c:pt idx="36">
                  <c:v>0.3137254901960784</c:v>
                </c:pt>
                <c:pt idx="37">
                  <c:v>0.5</c:v>
                </c:pt>
                <c:pt idx="38">
                  <c:v>0.4909090909090909</c:v>
                </c:pt>
                <c:pt idx="39">
                  <c:v>0.3291139240506329</c:v>
                </c:pt>
                <c:pt idx="40">
                  <c:v>0.19402985074626866</c:v>
                </c:pt>
                <c:pt idx="41">
                  <c:v>0.2682926829268293</c:v>
                </c:pt>
                <c:pt idx="42">
                  <c:v>0.18309859154929578</c:v>
                </c:pt>
                <c:pt idx="43">
                  <c:v>0.25</c:v>
                </c:pt>
                <c:pt idx="44">
                  <c:v>0.17094017094017094</c:v>
                </c:pt>
                <c:pt idx="45">
                  <c:v>0.1839080459770115</c:v>
                </c:pt>
                <c:pt idx="46">
                  <c:v>0.2804878048780488</c:v>
                </c:pt>
                <c:pt idx="47">
                  <c:v>0.27848101265822783</c:v>
                </c:pt>
                <c:pt idx="48">
                  <c:v>0.2898550724637681</c:v>
                </c:pt>
                <c:pt idx="49">
                  <c:v>0.2696629213483146</c:v>
                </c:pt>
                <c:pt idx="50">
                  <c:v>0.23148148148148148</c:v>
                </c:pt>
                <c:pt idx="51">
                  <c:v>0.2125</c:v>
                </c:pt>
              </c:numCache>
            </c:numRef>
          </c:yVal>
          <c:smooth val="0"/>
          <c:extLst>
            <c:ext xmlns:c16="http://schemas.microsoft.com/office/drawing/2014/chart" uri="{C3380CC4-5D6E-409C-BE32-E72D297353CC}">
              <c16:uniqueId val="{00000002-096C-4121-9522-6AB7243CCAAE}"/>
            </c:ext>
          </c:extLst>
        </c:ser>
        <c:ser>
          <c:idx val="2"/>
          <c:order val="2"/>
          <c:tx>
            <c:strRef>
              <c:f>Sheet1!$B$1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4:$A$115</c:f>
              <c:numCache>
                <c:formatCode>General</c:formatCode>
                <c:ptCount val="2"/>
                <c:pt idx="0">
                  <c:v>0</c:v>
                </c:pt>
                <c:pt idx="1">
                  <c:v>0.05039493507081115</c:v>
                </c:pt>
              </c:numCache>
            </c:numRef>
          </c:xVal>
          <c:yVal>
            <c:numRef>
              <c:f>Sheet1!$B$114:$B$115</c:f>
              <c:numCache>
                <c:formatCode>General</c:formatCode>
                <c:ptCount val="2"/>
                <c:pt idx="0">
                  <c:v>0.7579806088888628</c:v>
                </c:pt>
                <c:pt idx="1">
                  <c:v>0.7579806088888628</c:v>
                </c:pt>
              </c:numCache>
            </c:numRef>
          </c:yVal>
          <c:smooth val="0"/>
          <c:extLst>
            <c:ext xmlns:c16="http://schemas.microsoft.com/office/drawing/2014/chart" uri="{C3380CC4-5D6E-409C-BE32-E72D297353CC}">
              <c16:uniqueId val="{00000005-096C-4121-9522-6AB7243CCAAE}"/>
            </c:ext>
          </c:extLst>
        </c:ser>
        <c:ser>
          <c:idx val="3"/>
          <c:order val="3"/>
          <c:tx>
            <c:strRef>
              <c:f>Sheet1!$B$1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8:$A$119</c:f>
              <c:numCache>
                <c:formatCode>General</c:formatCode>
                <c:ptCount val="2"/>
                <c:pt idx="0">
                  <c:v>0.05039493507081115</c:v>
                </c:pt>
                <c:pt idx="1">
                  <c:v>0.05039493507081115</c:v>
                </c:pt>
              </c:numCache>
            </c:numRef>
          </c:xVal>
          <c:yVal>
            <c:numRef>
              <c:f>Sheet1!$B$118:$B$119</c:f>
              <c:numCache>
                <c:formatCode>General</c:formatCode>
                <c:ptCount val="2"/>
                <c:pt idx="0">
                  <c:v>0.757980608888862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2:$A$123</c:f>
              <c:numCache>
                <c:formatCode>General</c:formatCode>
                <c:ptCount val="2"/>
                <c:pt idx="0">
                  <c:v>0</c:v>
                </c:pt>
                <c:pt idx="1">
                  <c:v>0.035744761617916176</c:v>
                </c:pt>
              </c:numCache>
            </c:numRef>
          </c:xVal>
          <c:yVal>
            <c:numRef>
              <c:f>Sheet1!$B$122:$B$123</c:f>
              <c:numCache>
                <c:formatCode>General</c:formatCode>
                <c:ptCount val="2"/>
                <c:pt idx="0">
                  <c:v>0.7651840504924375</c:v>
                </c:pt>
                <c:pt idx="1">
                  <c:v>0.7651840504924375</c:v>
                </c:pt>
              </c:numCache>
            </c:numRef>
          </c:yVal>
          <c:smooth val="0"/>
          <c:extLst>
            <c:ext xmlns:c16="http://schemas.microsoft.com/office/drawing/2014/chart" uri="{C3380CC4-5D6E-409C-BE32-E72D297353CC}">
              <c16:uniqueId val="{0000000D-096C-4121-9522-6AB7243CCAAE}"/>
            </c:ext>
          </c:extLst>
        </c:ser>
        <c:ser>
          <c:idx val="5"/>
          <c:order val="5"/>
          <c:tx>
            <c:strRef>
              <c:f>Sheet1!$B$1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0.035744761617916176</c:v>
                </c:pt>
                <c:pt idx="1">
                  <c:v>0.035744761617916176</c:v>
                </c:pt>
              </c:numCache>
            </c:numRef>
          </c:xVal>
          <c:yVal>
            <c:numRef>
              <c:f>Sheet1!$B$126:$B$127</c:f>
              <c:numCache>
                <c:formatCode>General</c:formatCode>
                <c:ptCount val="2"/>
                <c:pt idx="0">
                  <c:v>0.765184050492437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9</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0:$A$131</c:f>
              <c:numCache>
                <c:formatCode>General</c:formatCode>
                <c:ptCount val="2"/>
                <c:pt idx="0">
                  <c:v>0</c:v>
                </c:pt>
                <c:pt idx="1">
                  <c:v>1.1004319679278294</c:v>
                </c:pt>
              </c:numCache>
            </c:numRef>
          </c:xVal>
          <c:yVal>
            <c:numRef>
              <c:f>Sheet1!$B$130:$B$131</c:f>
              <c:numCache>
                <c:formatCode>General</c:formatCode>
                <c:ptCount val="2"/>
                <c:pt idx="0">
                  <c:v>0.24168088915538843</c:v>
                </c:pt>
                <c:pt idx="1">
                  <c:v>0.24168088915538843</c:v>
                </c:pt>
              </c:numCache>
            </c:numRef>
          </c:yVal>
          <c:smooth val="0"/>
          <c:extLst>
            <c:ext xmlns:c16="http://schemas.microsoft.com/office/drawing/2014/chart" uri="{C3380CC4-5D6E-409C-BE32-E72D297353CC}">
              <c16:uniqueId val="{00000015-096C-4121-9522-6AB7243CCAAE}"/>
            </c:ext>
          </c:extLst>
        </c:ser>
        <c:ser>
          <c:idx val="7"/>
          <c:order val="7"/>
          <c:tx>
            <c:strRef>
              <c:f>Sheet1!$B$133</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1.1004319679278294</c:v>
                </c:pt>
                <c:pt idx="1">
                  <c:v>1.1004319679278294</c:v>
                </c:pt>
              </c:numCache>
            </c:numRef>
          </c:xVal>
          <c:yVal>
            <c:numRef>
              <c:f>Sheet1!$B$134:$B$135</c:f>
              <c:numCache>
                <c:formatCode>General</c:formatCode>
                <c:ptCount val="2"/>
                <c:pt idx="0">
                  <c:v>0.2416808891553884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7</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8:$A$192</c:f>
              <c:numCache>
                <c:formatCode>General</c:formatCode>
                <c:ptCount val="55"/>
                <c:pt idx="0">
                  <c:v>0.8333388634300289</c:v>
                </c:pt>
                <c:pt idx="1">
                  <c:v>0.6582560315115706</c:v>
                </c:pt>
                <c:pt idx="2">
                  <c:v>0.6331142442239822</c:v>
                </c:pt>
                <c:pt idx="3">
                  <c:v>0.673721452544982</c:v>
                </c:pt>
                <c:pt idx="4">
                  <c:v>0.6066238819590701</c:v>
                </c:pt>
                <c:pt idx="5">
                  <c:v>0.6453710173210683</c:v>
                </c:pt>
                <c:pt idx="6">
                  <c:v>0.5062270186153311</c:v>
                </c:pt>
                <c:pt idx="7">
                  <c:v>0.5054466486911247</c:v>
                </c:pt>
                <c:pt idx="8">
                  <c:v>0.6570140879881364</c:v>
                </c:pt>
                <c:pt idx="9">
                  <c:v>0.5798366126363097</c:v>
                </c:pt>
                <c:pt idx="10">
                  <c:v>0.5813181785239763</c:v>
                </c:pt>
                <c:pt idx="11">
                  <c:v>0.4983219786096257</c:v>
                </c:pt>
                <c:pt idx="12">
                  <c:v>0.40092052035337195</c:v>
                </c:pt>
                <c:pt idx="13">
                  <c:v>0.38681740944084897</c:v>
                </c:pt>
                <c:pt idx="14">
                  <c:v>0.3872475467915078</c:v>
                </c:pt>
                <c:pt idx="15">
                  <c:v>0.38889357631600086</c:v>
                </c:pt>
                <c:pt idx="16">
                  <c:v>0.4550364999547175</c:v>
                </c:pt>
                <c:pt idx="17">
                  <c:v>0.2694523921530451</c:v>
                </c:pt>
                <c:pt idx="18">
                  <c:v>0.40294632470803754</c:v>
                </c:pt>
                <c:pt idx="19">
                  <c:v>0.39777367153100407</c:v>
                </c:pt>
                <c:pt idx="20">
                  <c:v>0.3436207045248958</c:v>
                </c:pt>
                <c:pt idx="21">
                  <c:v>0.5632775735995422</c:v>
                </c:pt>
                <c:pt idx="22">
                  <c:v>0.5489092074022861</c:v>
                </c:pt>
                <c:pt idx="23">
                  <c:v>0.6337880622549742</c:v>
                </c:pt>
                <c:pt idx="24">
                  <c:v>0.4808405460750853</c:v>
                </c:pt>
                <c:pt idx="25">
                  <c:v>0.4423701298701299</c:v>
                </c:pt>
                <c:pt idx="26">
                  <c:v>0.5564195967338778</c:v>
                </c:pt>
                <c:pt idx="27">
                  <c:v>0.4814823093289167</c:v>
                </c:pt>
                <c:pt idx="28">
                  <c:v>0.6389809218961884</c:v>
                </c:pt>
                <c:pt idx="29">
                  <c:v>0.6017631605636267</c:v>
                </c:pt>
                <c:pt idx="30">
                  <c:v>0.8781268424155647</c:v>
                </c:pt>
                <c:pt idx="31">
                  <c:v>0.8547130206249901</c:v>
                </c:pt>
                <c:pt idx="32">
                  <c:v>0.6667345809233819</c:v>
                </c:pt>
                <c:pt idx="33">
                  <c:v>0.566544772265167</c:v>
                </c:pt>
                <c:pt idx="34">
                  <c:v>0.8110950040074807</c:v>
                </c:pt>
                <c:pt idx="35">
                  <c:v>0.6398687598250117</c:v>
                </c:pt>
                <c:pt idx="36">
                  <c:v>0.5875671479355015</c:v>
                </c:pt>
                <c:pt idx="37">
                  <c:v>0.35863072771193477</c:v>
                </c:pt>
                <c:pt idx="38">
                  <c:v>0.30951707429200365</c:v>
                </c:pt>
                <c:pt idx="39">
                  <c:v>0.47629545789127575</c:v>
                </c:pt>
                <c:pt idx="40">
                  <c:v>0.4090239019407559</c:v>
                </c:pt>
                <c:pt idx="41">
                  <c:v>0.42465471149638356</c:v>
                </c:pt>
                <c:pt idx="42">
                  <c:v>0.6421297105537157</c:v>
                </c:pt>
                <c:pt idx="43">
                  <c:v>0.44371922906381234</c:v>
                </c:pt>
                <c:pt idx="44">
                  <c:v>0.4255966266048468</c:v>
                </c:pt>
                <c:pt idx="45">
                  <c:v>0.5761174114860136</c:v>
                </c:pt>
                <c:pt idx="46">
                  <c:v>0.4267269146220224</c:v>
                </c:pt>
                <c:pt idx="47">
                  <c:v>0.3142894361897008</c:v>
                </c:pt>
                <c:pt idx="48">
                  <c:v>0.47318519357430694</c:v>
                </c:pt>
                <c:pt idx="49">
                  <c:v>0.5590738891433806</c:v>
                </c:pt>
                <c:pt idx="50">
                  <c:v>0.6071834792656815</c:v>
                </c:pt>
                <c:pt idx="51">
                  <c:v>0.6990082380434327</c:v>
                </c:pt>
                <c:pt idx="52">
                  <c:v>0.035744761617916176</c:v>
                </c:pt>
                <c:pt idx="53">
                  <c:v>0.05039493507081115</c:v>
                </c:pt>
                <c:pt idx="54">
                  <c:v>1.1004319679278294</c:v>
                </c:pt>
              </c:numCache>
            </c:numRef>
          </c:xVal>
          <c:yVal>
            <c:numRef>
              <c:f>Sheet1!$B$138:$B$192</c:f>
              <c:numCache>
                <c:formatCode>General</c:formatCode>
                <c:ptCount val="55"/>
                <c:pt idx="0">
                  <c:v>0.37300968107404026</c:v>
                </c:pt>
                <c:pt idx="1">
                  <c:v>0.45909732771988193</c:v>
                </c:pt>
                <c:pt idx="2">
                  <c:v>0.4714594609818505</c:v>
                </c:pt>
                <c:pt idx="3">
                  <c:v>0.4514930315900732</c:v>
                </c:pt>
                <c:pt idx="4">
                  <c:v>0.4844846840787912</c:v>
                </c:pt>
                <c:pt idx="5">
                  <c:v>0.4654328463798453</c:v>
                </c:pt>
                <c:pt idx="6">
                  <c:v>0.5338494881614207</c:v>
                </c:pt>
                <c:pt idx="7">
                  <c:v>0.5342331934599472</c:v>
                </c:pt>
                <c:pt idx="8">
                  <c:v>0.4597079872233179</c:v>
                </c:pt>
                <c:pt idx="9">
                  <c:v>0.49765589538943983</c:v>
                </c:pt>
                <c:pt idx="10">
                  <c:v>0.49692741436578713</c:v>
                </c:pt>
                <c:pt idx="11">
                  <c:v>0.5377363700634074</c:v>
                </c:pt>
                <c:pt idx="12">
                  <c:v>0.585628343418392</c:v>
                </c:pt>
                <c:pt idx="13">
                  <c:v>0.5925627961887804</c:v>
                </c:pt>
                <c:pt idx="14">
                  <c:v>0.592351299082828</c:v>
                </c:pt>
                <c:pt idx="15">
                  <c:v>0.5915419518354681</c:v>
                </c:pt>
                <c:pt idx="16">
                  <c:v>0.5590196960783494</c:v>
                </c:pt>
                <c:pt idx="17">
                  <c:v>0.650270785179735</c:v>
                </c:pt>
                <c:pt idx="18">
                  <c:v>0.5846322621490458</c:v>
                </c:pt>
                <c:pt idx="19">
                  <c:v>0.587175638527224</c:v>
                </c:pt>
                <c:pt idx="20">
                  <c:v>0.6138024724512776</c:v>
                </c:pt>
                <c:pt idx="21">
                  <c:v>0.5057979198573548</c:v>
                </c:pt>
                <c:pt idx="22">
                  <c:v>0.5128627977697907</c:v>
                </c:pt>
                <c:pt idx="23">
                  <c:v>0.47112814689514065</c:v>
                </c:pt>
                <c:pt idx="24">
                  <c:v>0.5463319323490204</c:v>
                </c:pt>
                <c:pt idx="25">
                  <c:v>0.5652477081579992</c:v>
                </c:pt>
                <c:pt idx="26">
                  <c:v>0.5091699642928231</c:v>
                </c:pt>
                <c:pt idx="27">
                  <c:v>0.5460163794897209</c:v>
                </c:pt>
                <c:pt idx="28">
                  <c:v>0.4685748350656719</c:v>
                </c:pt>
                <c:pt idx="29">
                  <c:v>0.4868746846365255</c:v>
                </c:pt>
                <c:pt idx="30">
                  <c:v>0.35098758063940766</c:v>
                </c:pt>
                <c:pt idx="31">
                  <c:v>0.362500079008605</c:v>
                </c:pt>
                <c:pt idx="32">
                  <c:v>0.4549284531487118</c:v>
                </c:pt>
                <c:pt idx="33">
                  <c:v>0.5041914491305216</c:v>
                </c:pt>
                <c:pt idx="34">
                  <c:v>0.3839469128347188</c:v>
                </c:pt>
                <c:pt idx="35">
                  <c:v>0.4681382881063965</c:v>
                </c:pt>
                <c:pt idx="36">
                  <c:v>0.4938548168717587</c:v>
                </c:pt>
                <c:pt idx="37">
                  <c:v>0.6064220939292218</c:v>
                </c:pt>
                <c:pt idx="38">
                  <c:v>0.6305711141088275</c:v>
                </c:pt>
                <c:pt idx="39">
                  <c:v>0.5485667371054583</c:v>
                </c:pt>
                <c:pt idx="40">
                  <c:v>0.5816439376197925</c:v>
                </c:pt>
                <c:pt idx="41">
                  <c:v>0.5739583205032038</c:v>
                </c:pt>
                <c:pt idx="42">
                  <c:v>0.46702658614633813</c:v>
                </c:pt>
                <c:pt idx="43">
                  <c:v>0.5645843605675854</c:v>
                </c:pt>
                <c:pt idx="44">
                  <c:v>0.5734951839744006</c:v>
                </c:pt>
                <c:pt idx="45">
                  <c:v>0.4994846142359605</c:v>
                </c:pt>
                <c:pt idx="46">
                  <c:v>0.5729394251123554</c:v>
                </c:pt>
                <c:pt idx="47">
                  <c:v>0.6282245596225122</c:v>
                </c:pt>
                <c:pt idx="48">
                  <c:v>0.5500960437345577</c:v>
                </c:pt>
                <c:pt idx="49">
                  <c:v>0.5078648575354088</c:v>
                </c:pt>
                <c:pt idx="50">
                  <c:v>0.4842095319426985</c:v>
                </c:pt>
                <c:pt idx="51">
                  <c:v>0.4390596031896595</c:v>
                </c:pt>
                <c:pt idx="52">
                  <c:v>0.7651840504924375</c:v>
                </c:pt>
                <c:pt idx="53">
                  <c:v>0.7579806088888628</c:v>
                </c:pt>
                <c:pt idx="54">
                  <c:v>0.241680889155388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733333333333333"/>
          <c:min val="0.1367521367521367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354326722392351</c:v>
                </c:pt>
                <c:pt idx="1">
                  <c:v>1.2139280689748084</c:v>
                </c:pt>
                <c:pt idx="2">
                  <c:v>1.2138461547873327</c:v>
                </c:pt>
                <c:pt idx="3">
                  <c:v>0.960878519868561</c:v>
                </c:pt>
                <c:pt idx="4">
                  <c:v>1.1017638461493755</c:v>
                </c:pt>
                <c:pt idx="5">
                  <c:v>1.4078760325445898</c:v>
                </c:pt>
                <c:pt idx="6">
                  <c:v>1.1245485710078025</c:v>
                </c:pt>
                <c:pt idx="7">
                  <c:v>0.7874624199347999</c:v>
                </c:pt>
                <c:pt idx="8">
                  <c:v>1.295691016358969</c:v>
                </c:pt>
                <c:pt idx="9">
                  <c:v>1.091377727621227</c:v>
                </c:pt>
                <c:pt idx="10">
                  <c:v>1.0330073603861336</c:v>
                </c:pt>
                <c:pt idx="11">
                  <c:v>0.8964961557336332</c:v>
                </c:pt>
                <c:pt idx="12">
                  <c:v>1.4409365797775933</c:v>
                </c:pt>
                <c:pt idx="13">
                  <c:v>1.0476375859015612</c:v>
                </c:pt>
                <c:pt idx="14">
                  <c:v>0.0</c:v>
                </c:pt>
                <c:pt idx="15">
                  <c:v>0.7307795486173535</c:v>
                </c:pt>
                <c:pt idx="16">
                  <c:v>0.3977090638486649</c:v>
                </c:pt>
                <c:pt idx="17">
                  <c:v>1.178227375178359</c:v>
                </c:pt>
                <c:pt idx="18">
                  <c:v>0.0</c:v>
                </c:pt>
                <c:pt idx="19">
                  <c:v>0.6245355867579098</c:v>
                </c:pt>
                <c:pt idx="20">
                  <c:v>0.8637252522024399</c:v>
                </c:pt>
                <c:pt idx="21">
                  <c:v>1.0824098141798166</c:v>
                </c:pt>
                <c:pt idx="22">
                  <c:v>0.8416657303268639</c:v>
                </c:pt>
                <c:pt idx="23">
                  <c:v>0.9937441083198905</c:v>
                </c:pt>
                <c:pt idx="24">
                  <c:v>0.9821927131610091</c:v>
                </c:pt>
                <c:pt idx="25">
                  <c:v>0.6829339375731956</c:v>
                </c:pt>
                <c:pt idx="26">
                  <c:v>0.978965589359534</c:v>
                </c:pt>
                <c:pt idx="27">
                  <c:v>2.331883922171076</c:v>
                </c:pt>
                <c:pt idx="28">
                  <c:v>0.49361327514281944</c:v>
                </c:pt>
                <c:pt idx="29">
                  <c:v>1.0689113449469985</c:v>
                </c:pt>
                <c:pt idx="30">
                  <c:v>0.5548744587672944</c:v>
                </c:pt>
                <c:pt idx="31">
                  <c:v>0.6830057152375475</c:v>
                </c:pt>
                <c:pt idx="32">
                  <c:v>1.205662041347487</c:v>
                </c:pt>
                <c:pt idx="33">
                  <c:v>0.5583772902994998</c:v>
                </c:pt>
                <c:pt idx="34">
                  <c:v>0.5405858458231345</c:v>
                </c:pt>
                <c:pt idx="35">
                  <c:v>0.5876717763017041</c:v>
                </c:pt>
                <c:pt idx="36">
                  <c:v>0.9257283404237769</c:v>
                </c:pt>
                <c:pt idx="37">
                  <c:v>0.6020718432033275</c:v>
                </c:pt>
                <c:pt idx="38">
                  <c:v>1.0370971673293956</c:v>
                </c:pt>
                <c:pt idx="39">
                  <c:v>0.753391245937411</c:v>
                </c:pt>
                <c:pt idx="40">
                  <c:v>1.2494158836296547</c:v>
                </c:pt>
                <c:pt idx="41">
                  <c:v>0.7449761615774397</c:v>
                </c:pt>
                <c:pt idx="42">
                  <c:v>1.465789700776348</c:v>
                </c:pt>
                <c:pt idx="43">
                  <c:v>1.05118167266496</c:v>
                </c:pt>
                <c:pt idx="44">
                  <c:v>0.7149264956377344</c:v>
                </c:pt>
                <c:pt idx="45">
                  <c:v>0.736054558866911</c:v>
                </c:pt>
                <c:pt idx="46">
                  <c:v>0.6874516835891648</c:v>
                </c:pt>
                <c:pt idx="47">
                  <c:v>0.5628935892760796</c:v>
                </c:pt>
                <c:pt idx="48">
                  <c:v>0.8283181188675169</c:v>
                </c:pt>
                <c:pt idx="49">
                  <c:v>0.699047200053224</c:v>
                </c:pt>
                <c:pt idx="50">
                  <c:v>0.7699652216280705</c:v>
                </c:pt>
                <c:pt idx="51">
                  <c:v>0.6807484255766341</c:v>
                </c:pt>
                <c:pt idx="52">
                  <c:v>0.866692707307237</c:v>
                </c:pt>
                <c:pt idx="53">
                  <c:v>0.6653841459624622</c:v>
                </c:pt>
                <c:pt idx="54">
                  <c:v>0.678615365347346</c:v>
                </c:pt>
                <c:pt idx="55">
                  <c:v>0.7858752104524525</c:v>
                </c:pt>
                <c:pt idx="56">
                  <c:v>1.6630597441934136</c:v>
                </c:pt>
                <c:pt idx="57">
                  <c:v>0.6427016185699633</c:v>
                </c:pt>
                <c:pt idx="58">
                  <c:v>0.7334291984063468</c:v>
                </c:pt>
                <c:pt idx="59">
                  <c:v>0.6634164221981338</c:v>
                </c:pt>
                <c:pt idx="60">
                  <c:v>0.5771739105610265</c:v>
                </c:pt>
                <c:pt idx="61">
                  <c:v>0.5412662460462861</c:v>
                </c:pt>
                <c:pt idx="62">
                  <c:v>0.5716319330495948</c:v>
                </c:pt>
                <c:pt idx="63">
                  <c:v>0.4648851163257724</c:v>
                </c:pt>
                <c:pt idx="64">
                  <c:v>0.5047695237045823</c:v>
                </c:pt>
                <c:pt idx="65">
                  <c:v>0.46160119506374564</c:v>
                </c:pt>
                <c:pt idx="66">
                  <c:v>0.42860474642963137</c:v>
                </c:pt>
                <c:pt idx="67">
                  <c:v>0.5820918607009272</c:v>
                </c:pt>
                <c:pt idx="68">
                  <c:v>0.40210025885516915</c:v>
                </c:pt>
                <c:pt idx="69">
                  <c:v>0.34140886566064854</c:v>
                </c:pt>
                <c:pt idx="70">
                  <c:v>0.3599212853321361</c:v>
                </c:pt>
                <c:pt idx="71">
                  <c:v>0.28911647201337615</c:v>
                </c:pt>
                <c:pt idx="72">
                  <c:v>0.48028682476340856</c:v>
                </c:pt>
                <c:pt idx="73">
                  <c:v>0.32535558185197816</c:v>
                </c:pt>
                <c:pt idx="74">
                  <c:v>0.4044535588525164</c:v>
                </c:pt>
                <c:pt idx="75">
                  <c:v>0.6151950544237516</c:v>
                </c:pt>
                <c:pt idx="76">
                  <c:v>0.5858818148397041</c:v>
                </c:pt>
                <c:pt idx="77">
                  <c:v>0.6853186929800134</c:v>
                </c:pt>
                <c:pt idx="78">
                  <c:v>0.4425839792448145</c:v>
                </c:pt>
                <c:pt idx="79">
                  <c:v>0.6644279561897357</c:v>
                </c:pt>
                <c:pt idx="80">
                  <c:v>0.5909437888412907</c:v>
                </c:pt>
                <c:pt idx="81">
                  <c:v>0.5049044315448753</c:v>
                </c:pt>
                <c:pt idx="82">
                  <c:v>0.5828822432983052</c:v>
                </c:pt>
                <c:pt idx="83">
                  <c:v>0.5632173684715948</c:v>
                </c:pt>
                <c:pt idx="84">
                  <c:v>0.5331968578264198</c:v>
                </c:pt>
                <c:pt idx="85">
                  <c:v>0.47738395542392525</c:v>
                </c:pt>
                <c:pt idx="86">
                  <c:v>0.6678114329092059</c:v>
                </c:pt>
                <c:pt idx="87">
                  <c:v>0.7403176856500857</c:v>
                </c:pt>
                <c:pt idx="88">
                  <c:v>0.5605992952525707</c:v>
                </c:pt>
                <c:pt idx="89">
                  <c:v>0.5023520158871536</c:v>
                </c:pt>
                <c:pt idx="90">
                  <c:v>0.5424675639731874</c:v>
                </c:pt>
                <c:pt idx="91">
                  <c:v>0.5321009460866502</c:v>
                </c:pt>
                <c:pt idx="92">
                  <c:v>0.6070644610828161</c:v>
                </c:pt>
                <c:pt idx="93">
                  <c:v>0.6016996618506891</c:v>
                </c:pt>
                <c:pt idx="94">
                  <c:v>0.6819400382290702</c:v>
                </c:pt>
                <c:pt idx="95">
                  <c:v>0.6403855656009306</c:v>
                </c:pt>
                <c:pt idx="96">
                  <c:v>0.5275219180109367</c:v>
                </c:pt>
                <c:pt idx="97">
                  <c:v>0.5866189472841119</c:v>
                </c:pt>
                <c:pt idx="98">
                  <c:v>0.5989823347252456</c:v>
                </c:pt>
                <c:pt idx="99">
                  <c:v>0.6468964754576311</c:v>
                </c:pt>
                <c:pt idx="100">
                  <c:v>0.7917562344942517</c:v>
                </c:pt>
                <c:pt idx="101">
                  <c:v>0.6839619332442171</c:v>
                </c:pt>
                <c:pt idx="102">
                  <c:v>0.6993203316708484</c:v>
                </c:pt>
                <c:pt idx="103">
                  <c:v>0.6982485182448284</c:v>
                </c:pt>
                <c:pt idx="104">
                  <c:v>0.7825778947747967</c:v>
                </c:pt>
              </c:numCache>
            </c:numRef>
          </c:xVal>
          <c:yVal>
            <c:numRef>
              <c:f>Sheet1!$B$2:$B$106</c:f>
              <c:numCache>
                <c:formatCode>General</c:formatCode>
                <c:ptCount val="105"/>
                <c:pt idx="0">
                  <c:v>0.00031891666462232905</c:v>
                </c:pt>
                <c:pt idx="1">
                  <c:v>7.925395609330832e-05</c:v>
                </c:pt>
                <c:pt idx="2">
                  <c:v>7.552299675251114e-05</c:v>
                </c:pt>
                <c:pt idx="3">
                  <c:v>8.004482510205715e-05</c:v>
                </c:pt>
                <c:pt idx="4">
                  <c:v>6.23966555392631e-05</c:v>
                </c:pt>
                <c:pt idx="5">
                  <c:v>9.592939596457007e-05</c:v>
                </c:pt>
                <c:pt idx="6">
                  <c:v>0.00018364348677766894</c:v>
                </c:pt>
                <c:pt idx="7">
                  <c:v>0.00021239689900527452</c:v>
                </c:pt>
                <c:pt idx="8">
                  <c:v>0.00011040777270719859</c:v>
                </c:pt>
                <c:pt idx="9">
                  <c:v>0.00013936505281935503</c:v>
                </c:pt>
                <c:pt idx="10">
                  <c:v>0.00010755868670843529</c:v>
                </c:pt>
                <c:pt idx="11">
                  <c:v>0.00018949648077964268</c:v>
                </c:pt>
                <c:pt idx="12">
                  <c:v>0.0001240664003374606</c:v>
                </c:pt>
                <c:pt idx="13">
                  <c:v>0.0001557955961778147</c:v>
                </c:pt>
                <c:pt idx="14">
                  <c:v>0.0</c:v>
                </c:pt>
                <c:pt idx="15">
                  <c:v>0.0001552891483943102</c:v>
                </c:pt>
                <c:pt idx="16">
                  <c:v>0.00014245014245014244</c:v>
                </c:pt>
                <c:pt idx="17">
                  <c:v>7.810974419058778e-05</c:v>
                </c:pt>
                <c:pt idx="18">
                  <c:v>0.0</c:v>
                </c:pt>
                <c:pt idx="19">
                  <c:v>0.00015323322096230462</c:v>
                </c:pt>
                <c:pt idx="20">
                  <c:v>0.00012568077084206116</c:v>
                </c:pt>
                <c:pt idx="21">
                  <c:v>5.258176464402145e-05</c:v>
                </c:pt>
                <c:pt idx="22">
                  <c:v>0.00020876826722338206</c:v>
                </c:pt>
                <c:pt idx="23">
                  <c:v>0.00016326530612244898</c:v>
                </c:pt>
                <c:pt idx="24">
                  <c:v>0.00020263424518743666</c:v>
                </c:pt>
                <c:pt idx="25">
                  <c:v>0.00034784625195663515</c:v>
                </c:pt>
                <c:pt idx="26">
                  <c:v>0.00025718841623373286</c:v>
                </c:pt>
                <c:pt idx="27">
                  <c:v>5.061241016297196e-05</c:v>
                </c:pt>
                <c:pt idx="28">
                  <c:v>0.0002570694087403599</c:v>
                </c:pt>
                <c:pt idx="29">
                  <c:v>0.00017968644714972374</c:v>
                </c:pt>
                <c:pt idx="30">
                  <c:v>0.00023078698361412417</c:v>
                </c:pt>
                <c:pt idx="31">
                  <c:v>0.0002249212775528565</c:v>
                </c:pt>
                <c:pt idx="32">
                  <c:v>0.00011039355301650383</c:v>
                </c:pt>
                <c:pt idx="33">
                  <c:v>0.00039227651135422567</c:v>
                </c:pt>
                <c:pt idx="34">
                  <c:v>0.0004630165528417641</c:v>
                </c:pt>
                <c:pt idx="35">
                  <c:v>0.0004770504651242035</c:v>
                </c:pt>
                <c:pt idx="36">
                  <c:v>0.00016523463317911433</c:v>
                </c:pt>
                <c:pt idx="37">
                  <c:v>0.00019287333044023337</c:v>
                </c:pt>
                <c:pt idx="38">
                  <c:v>9.664637092877162e-05</c:v>
                </c:pt>
                <c:pt idx="39">
                  <c:v>0.00020469781485082646</c:v>
                </c:pt>
                <c:pt idx="40">
                  <c:v>8.289468230613006e-05</c:v>
                </c:pt>
                <c:pt idx="41">
                  <c:v>0.0001376399339328317</c:v>
                </c:pt>
                <c:pt idx="42">
                  <c:v>3.913894324853229e-05</c:v>
                </c:pt>
                <c:pt idx="43">
                  <c:v>0.00010425716768027802</c:v>
                </c:pt>
                <c:pt idx="44">
                  <c:v>0.00014063708599957808</c:v>
                </c:pt>
                <c:pt idx="45">
                  <c:v>0.0001060332944544587</c:v>
                </c:pt>
                <c:pt idx="46">
                  <c:v>0.00022583559168925022</c:v>
                </c:pt>
                <c:pt idx="47">
                  <c:v>0.000293581059827626</c:v>
                </c:pt>
                <c:pt idx="48">
                  <c:v>0.00015294027682190105</c:v>
                </c:pt>
                <c:pt idx="49">
                  <c:v>0.00016961550285696112</c:v>
                </c:pt>
                <c:pt idx="50">
                  <c:v>0.0002012477359629704</c:v>
                </c:pt>
                <c:pt idx="51">
                  <c:v>0.0002486139770777913</c:v>
                </c:pt>
                <c:pt idx="52">
                  <c:v>8.450228156160216e-05</c:v>
                </c:pt>
                <c:pt idx="53">
                  <c:v>0.0001316586354899018</c:v>
                </c:pt>
                <c:pt idx="54">
                  <c:v>0.0002624289254993439</c:v>
                </c:pt>
                <c:pt idx="55">
                  <c:v>0.00014956178397295924</c:v>
                </c:pt>
                <c:pt idx="56">
                  <c:v>6.046680372475511e-05</c:v>
                </c:pt>
                <c:pt idx="57">
                  <c:v>0.00010392849719393057</c:v>
                </c:pt>
                <c:pt idx="58">
                  <c:v>9.544716999140975e-05</c:v>
                </c:pt>
                <c:pt idx="59">
                  <c:v>0.0001570869790603057</c:v>
                </c:pt>
                <c:pt idx="60">
                  <c:v>0.0002410260824653525</c:v>
                </c:pt>
                <c:pt idx="61">
                  <c:v>0.00032864621235240263</c:v>
                </c:pt>
                <c:pt idx="62">
                  <c:v>0.00027110679348440006</c:v>
                </c:pt>
                <c:pt idx="63">
                  <c:v>0.00036864849366129393</c:v>
                </c:pt>
                <c:pt idx="64">
                  <c:v>0.0003807615230460922</c:v>
                </c:pt>
                <c:pt idx="65">
                  <c:v>0.00032711808963035657</c:v>
                </c:pt>
                <c:pt idx="66">
                  <c:v>0.0002484135407962783</c:v>
                </c:pt>
                <c:pt idx="67">
                  <c:v>0.0002141174791235458</c:v>
                </c:pt>
                <c:pt idx="68">
                  <c:v>0.0003691608689478915</c:v>
                </c:pt>
                <c:pt idx="69">
                  <c:v>0.00041263410608447746</c:v>
                </c:pt>
                <c:pt idx="70">
                  <c:v>0.0003591051100657162</c:v>
                </c:pt>
                <c:pt idx="71">
                  <c:v>0.0003860854793251226</c:v>
                </c:pt>
                <c:pt idx="72">
                  <c:v>0.00040169442009932807</c:v>
                </c:pt>
                <c:pt idx="73">
                  <c:v>0.0007383515330509462</c:v>
                </c:pt>
                <c:pt idx="74">
                  <c:v>0.0007898597058712905</c:v>
                </c:pt>
                <c:pt idx="75">
                  <c:v>0.0007884708046782601</c:v>
                </c:pt>
                <c:pt idx="76">
                  <c:v>0.0010745153001635132</c:v>
                </c:pt>
                <c:pt idx="77">
                  <c:v>0.0011077397293262053</c:v>
                </c:pt>
                <c:pt idx="78">
                  <c:v>0.0018812147272238647</c:v>
                </c:pt>
                <c:pt idx="79">
                  <c:v>0.0011912703707233393</c:v>
                </c:pt>
                <c:pt idx="80">
                  <c:v>0.0011436195558944058</c:v>
                </c:pt>
                <c:pt idx="81">
                  <c:v>0.0016303240269003464</c:v>
                </c:pt>
                <c:pt idx="82">
                  <c:v>0.0013089005235602095</c:v>
                </c:pt>
                <c:pt idx="83">
                  <c:v>0.001287395782246199</c:v>
                </c:pt>
                <c:pt idx="84">
                  <c:v>0.0012380068090374497</c:v>
                </c:pt>
                <c:pt idx="85">
                  <c:v>0.0011462256427050926</c:v>
                </c:pt>
                <c:pt idx="86">
                  <c:v>0.0010637427379101548</c:v>
                </c:pt>
                <c:pt idx="87">
                  <c:v>0.0009602827072290082</c:v>
                </c:pt>
                <c:pt idx="88">
                  <c:v>0.001459356910054969</c:v>
                </c:pt>
                <c:pt idx="89">
                  <c:v>0.0018212984786800943</c:v>
                </c:pt>
                <c:pt idx="90">
                  <c:v>0.0017051705170517053</c:v>
                </c:pt>
                <c:pt idx="91">
                  <c:v>0.0016994158258098779</c:v>
                </c:pt>
                <c:pt idx="92">
                  <c:v>0.0014476709529081156</c:v>
                </c:pt>
                <c:pt idx="93">
                  <c:v>0.0014341911162104573</c:v>
                </c:pt>
                <c:pt idx="94">
                  <c:v>0.0013409784518634976</c:v>
                </c:pt>
                <c:pt idx="95">
                  <c:v>0.0015918173812910655</c:v>
                </c:pt>
                <c:pt idx="96">
                  <c:v>0.0021358186495801174</c:v>
                </c:pt>
                <c:pt idx="97">
                  <c:v>0.0024340169746227274</c:v>
                </c:pt>
                <c:pt idx="98">
                  <c:v>0.002288203851504723</c:v>
                </c:pt>
                <c:pt idx="99">
                  <c:v>0.0021538071709109336</c:v>
                </c:pt>
                <c:pt idx="100">
                  <c:v>0.0016596553909986745</c:v>
                </c:pt>
                <c:pt idx="101">
                  <c:v>0.002235498931708475</c:v>
                </c:pt>
                <c:pt idx="102">
                  <c:v>0.0018664144933306789</c:v>
                </c:pt>
                <c:pt idx="103">
                  <c:v>0.001825415399017084</c:v>
                </c:pt>
                <c:pt idx="104">
                  <c:v>0.001356668023334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718938076491056</c:v>
                </c:pt>
                <c:pt idx="1">
                  <c:v>0.6612642460649361</c:v>
                </c:pt>
                <c:pt idx="2">
                  <c:v>0.7648028119147305</c:v>
                </c:pt>
                <c:pt idx="3">
                  <c:v>0.6726884884052126</c:v>
                </c:pt>
                <c:pt idx="4">
                  <c:v>0.7573826445672042</c:v>
                </c:pt>
                <c:pt idx="5">
                  <c:v>0.8235296812947596</c:v>
                </c:pt>
                <c:pt idx="6">
                  <c:v>0.7827845698488042</c:v>
                </c:pt>
                <c:pt idx="7">
                  <c:v>0.7323505806636011</c:v>
                </c:pt>
                <c:pt idx="8">
                  <c:v>0.7101908288896149</c:v>
                </c:pt>
                <c:pt idx="9">
                  <c:v>0.6989284384920412</c:v>
                </c:pt>
                <c:pt idx="10">
                  <c:v>0.721086369348953</c:v>
                </c:pt>
                <c:pt idx="11">
                  <c:v>0.7291036609971637</c:v>
                </c:pt>
                <c:pt idx="12">
                  <c:v>0.6696651077161577</c:v>
                </c:pt>
                <c:pt idx="13">
                  <c:v>0.5815979400620894</c:v>
                </c:pt>
                <c:pt idx="14">
                  <c:v>0.5867555960642734</c:v>
                </c:pt>
                <c:pt idx="15">
                  <c:v>0.5994301305576156</c:v>
                </c:pt>
                <c:pt idx="16">
                  <c:v>0.6050601259624225</c:v>
                </c:pt>
                <c:pt idx="17">
                  <c:v>0.46294145268706133</c:v>
                </c:pt>
                <c:pt idx="18">
                  <c:v>0.5951455360045427</c:v>
                </c:pt>
                <c:pt idx="19">
                  <c:v>0.7013892465521328</c:v>
                </c:pt>
                <c:pt idx="20">
                  <c:v>0.6309129565761962</c:v>
                </c:pt>
                <c:pt idx="21">
                  <c:v>0.49515642818881894</c:v>
                </c:pt>
                <c:pt idx="22">
                  <c:v>0.5547066490566577</c:v>
                </c:pt>
                <c:pt idx="23">
                  <c:v>0.42413749486509045</c:v>
                </c:pt>
                <c:pt idx="24">
                  <c:v>0.5434056843913441</c:v>
                </c:pt>
                <c:pt idx="25">
                  <c:v>0.5019971532448385</c:v>
                </c:pt>
                <c:pt idx="26">
                  <c:v>0.5152332479281841</c:v>
                </c:pt>
                <c:pt idx="27">
                  <c:v>0.4790986180093562</c:v>
                </c:pt>
                <c:pt idx="28">
                  <c:v>0.5061954867846511</c:v>
                </c:pt>
                <c:pt idx="29">
                  <c:v>0.4781669436295672</c:v>
                </c:pt>
                <c:pt idx="30">
                  <c:v>0.45433566705084494</c:v>
                </c:pt>
                <c:pt idx="31">
                  <c:v>0.5014668045697296</c:v>
                </c:pt>
                <c:pt idx="32">
                  <c:v>0.5478687605621625</c:v>
                </c:pt>
                <c:pt idx="33">
                  <c:v>0.5735765212768106</c:v>
                </c:pt>
                <c:pt idx="34">
                  <c:v>0.6365441167855845</c:v>
                </c:pt>
                <c:pt idx="35">
                  <c:v>0.5609177372852707</c:v>
                </c:pt>
                <c:pt idx="36">
                  <c:v>0.50350663844043</c:v>
                </c:pt>
                <c:pt idx="37">
                  <c:v>0.512509536014409</c:v>
                </c:pt>
                <c:pt idx="38">
                  <c:v>0.4544445107700062</c:v>
                </c:pt>
                <c:pt idx="39">
                  <c:v>0.44554847249849994</c:v>
                </c:pt>
                <c:pt idx="40">
                  <c:v>0.42720577506219837</c:v>
                </c:pt>
                <c:pt idx="41">
                  <c:v>0.4763191665412451</c:v>
                </c:pt>
                <c:pt idx="42">
                  <c:v>0.44602026046132925</c:v>
                </c:pt>
                <c:pt idx="43">
                  <c:v>0.49985407692896844</c:v>
                </c:pt>
                <c:pt idx="44">
                  <c:v>0.6034270706537154</c:v>
                </c:pt>
                <c:pt idx="45">
                  <c:v>0.6566373604755394</c:v>
                </c:pt>
                <c:pt idx="46">
                  <c:v>0.6476621232758639</c:v>
                </c:pt>
                <c:pt idx="47">
                  <c:v>0.5954714162817111</c:v>
                </c:pt>
                <c:pt idx="48">
                  <c:v>0.5712672497299053</c:v>
                </c:pt>
                <c:pt idx="49">
                  <c:v>0.6436552557937756</c:v>
                </c:pt>
                <c:pt idx="50">
                  <c:v>0.7478186799878787</c:v>
                </c:pt>
                <c:pt idx="51">
                  <c:v>0.723015997117279</c:v>
                </c:pt>
              </c:numCache>
            </c:numRef>
          </c:xVal>
          <c:yVal>
            <c:numRef>
              <c:f>Sheet1!$B$109:$B$160</c:f>
              <c:numCache>
                <c:formatCode>General</c:formatCode>
                <c:ptCount val="52"/>
                <c:pt idx="0">
                  <c:v>0.001457509881422925</c:v>
                </c:pt>
                <c:pt idx="1">
                  <c:v>0.0017574231455251286</c:v>
                </c:pt>
                <c:pt idx="2">
                  <c:v>0.0015984203845611396</c:v>
                </c:pt>
                <c:pt idx="3">
                  <c:v>0.0016922064491868007</c:v>
                </c:pt>
                <c:pt idx="4">
                  <c:v>0.0016828857832735787</c:v>
                </c:pt>
                <c:pt idx="5">
                  <c:v>0.0014700117600940808</c:v>
                </c:pt>
                <c:pt idx="6">
                  <c:v>0.0015873015873015873</c:v>
                </c:pt>
                <c:pt idx="7">
                  <c:v>0.0018249897737641987</c:v>
                </c:pt>
                <c:pt idx="8">
                  <c:v>0.002156697556866049</c:v>
                </c:pt>
                <c:pt idx="9">
                  <c:v>0.0022656734947237743</c:v>
                </c:pt>
                <c:pt idx="10">
                  <c:v>0.00216855301072394</c:v>
                </c:pt>
                <c:pt idx="11">
                  <c:v>0.002222671246716508</c:v>
                </c:pt>
                <c:pt idx="12">
                  <c:v>0.0022723829722769277</c:v>
                </c:pt>
                <c:pt idx="13">
                  <c:v>0.003267112820783053</c:v>
                </c:pt>
                <c:pt idx="14">
                  <c:v>0.003253449527959332</c:v>
                </c:pt>
                <c:pt idx="15">
                  <c:v>0.0030752982107355863</c:v>
                </c:pt>
                <c:pt idx="16">
                  <c:v>0.003027027027027027</c:v>
                </c:pt>
                <c:pt idx="17">
                  <c:v>0.0038471693131671256</c:v>
                </c:pt>
                <c:pt idx="18">
                  <c:v>0.0021012241914854742</c:v>
                </c:pt>
                <c:pt idx="19">
                  <c:v>0.0018450184501845018</c:v>
                </c:pt>
                <c:pt idx="20">
                  <c:v>0.0021869619840863617</c:v>
                </c:pt>
                <c:pt idx="21">
                  <c:v>0.0031607378886270906</c:v>
                </c:pt>
                <c:pt idx="22">
                  <c:v>0.0026081533140556784</c:v>
                </c:pt>
                <c:pt idx="23">
                  <c:v>0.002629118953026408</c:v>
                </c:pt>
                <c:pt idx="24">
                  <c:v>0.002383144667713806</c:v>
                </c:pt>
                <c:pt idx="25">
                  <c:v>0.0025560920193126954</c:v>
                </c:pt>
                <c:pt idx="26">
                  <c:v>0.00275974025974026</c:v>
                </c:pt>
                <c:pt idx="27">
                  <c:v>0.00279452860714811</c:v>
                </c:pt>
                <c:pt idx="28">
                  <c:v>0.002308341101788964</c:v>
                </c:pt>
                <c:pt idx="29">
                  <c:v>0.0026159841973199508</c:v>
                </c:pt>
                <c:pt idx="30">
                  <c:v>0.0025581136692247805</c:v>
                </c:pt>
                <c:pt idx="31">
                  <c:v>0.0026047976738551005</c:v>
                </c:pt>
                <c:pt idx="32">
                  <c:v>0.0022266991835436325</c:v>
                </c:pt>
                <c:pt idx="33">
                  <c:v>0.002169677647892313</c:v>
                </c:pt>
                <c:pt idx="34">
                  <c:v>0.0019911428473342718</c:v>
                </c:pt>
                <c:pt idx="35">
                  <c:v>0.0024312852845427948</c:v>
                </c:pt>
                <c:pt idx="36">
                  <c:v>0.0030529392659954533</c:v>
                </c:pt>
                <c:pt idx="37">
                  <c:v>0.0030101302460202603</c:v>
                </c:pt>
                <c:pt idx="38">
                  <c:v>0.0035083160083160085</c:v>
                </c:pt>
                <c:pt idx="39">
                  <c:v>0.0032721582017356666</c:v>
                </c:pt>
                <c:pt idx="40">
                  <c:v>0.0030994124994217515</c:v>
                </c:pt>
                <c:pt idx="41">
                  <c:v>0.0025199860966284324</c:v>
                </c:pt>
                <c:pt idx="42">
                  <c:v>0.002878750914857282</c:v>
                </c:pt>
                <c:pt idx="43">
                  <c:v>0.0021096292058497513</c:v>
                </c:pt>
                <c:pt idx="44">
                  <c:v>0.0015517493778363343</c:v>
                </c:pt>
                <c:pt idx="45">
                  <c:v>0.001299645351014384</c:v>
                </c:pt>
                <c:pt idx="46">
                  <c:v>0.0013464635530797053</c:v>
                </c:pt>
                <c:pt idx="47">
                  <c:v>0.0013384558185648779</c:v>
                </c:pt>
                <c:pt idx="48">
                  <c:v>0.0014958863126402393</c:v>
                </c:pt>
                <c:pt idx="49">
                  <c:v>0.0013139124558900817</c:v>
                </c:pt>
                <c:pt idx="50">
                  <c:v>0.0011037664479803555</c:v>
                </c:pt>
                <c:pt idx="51">
                  <c:v>0.001310869471784071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088709661232128</c:v>
                </c:pt>
              </c:numCache>
            </c:numRef>
          </c:xVal>
          <c:yVal>
            <c:numRef>
              <c:f>Sheet1!$B$163:$B$164</c:f>
              <c:numCache>
                <c:formatCode>General</c:formatCode>
                <c:ptCount val="2"/>
                <c:pt idx="0">
                  <c:v>0.0026687138568074384</c:v>
                </c:pt>
                <c:pt idx="1">
                  <c:v>0.002668713856807438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088709661232128</c:v>
                </c:pt>
                <c:pt idx="1">
                  <c:v>0.5088709661232128</c:v>
                </c:pt>
              </c:numCache>
            </c:numRef>
          </c:xVal>
          <c:yVal>
            <c:numRef>
              <c:f>Sheet1!$B$167:$B$168</c:f>
              <c:numCache>
                <c:formatCode>General</c:formatCode>
                <c:ptCount val="2"/>
                <c:pt idx="0">
                  <c:v>0.002668713856807438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088709661232128</c:v>
                </c:pt>
              </c:numCache>
            </c:numRef>
          </c:xVal>
          <c:yVal>
            <c:numRef>
              <c:f>Sheet1!$B$171:$B$172</c:f>
              <c:numCache>
                <c:formatCode>General</c:formatCode>
                <c:ptCount val="2"/>
                <c:pt idx="0">
                  <c:v>0.0026687138568074384</c:v>
                </c:pt>
                <c:pt idx="1">
                  <c:v>0.002668713856807438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088709661232128</c:v>
                </c:pt>
                <c:pt idx="1">
                  <c:v>0.5088709661232128</c:v>
                </c:pt>
              </c:numCache>
            </c:numRef>
          </c:xVal>
          <c:yVal>
            <c:numRef>
              <c:f>Sheet1!$B$175:$B$176</c:f>
              <c:numCache>
                <c:formatCode>General</c:formatCode>
                <c:ptCount val="2"/>
                <c:pt idx="0">
                  <c:v>0.00266871385680743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837858157259493</c:v>
                </c:pt>
              </c:numCache>
            </c:numRef>
          </c:xVal>
          <c:yVal>
            <c:numRef>
              <c:f>Sheet1!$B$179:$B$180</c:f>
              <c:numCache>
                <c:formatCode>General</c:formatCode>
                <c:ptCount val="2"/>
                <c:pt idx="0">
                  <c:v>0.0018954373620986874</c:v>
                </c:pt>
                <c:pt idx="1">
                  <c:v>0.001895437362098687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837858157259493</c:v>
                </c:pt>
                <c:pt idx="1">
                  <c:v>0.6837858157259493</c:v>
                </c:pt>
              </c:numCache>
            </c:numRef>
          </c:xVal>
          <c:yVal>
            <c:numRef>
              <c:f>Sheet1!$B$183:$B$184</c:f>
              <c:numCache>
                <c:formatCode>General</c:formatCode>
                <c:ptCount val="2"/>
                <c:pt idx="0">
                  <c:v>0.001895437362098687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718938076491056</c:v>
                </c:pt>
                <c:pt idx="1">
                  <c:v>0.6612642460649361</c:v>
                </c:pt>
                <c:pt idx="2">
                  <c:v>0.7648028119147305</c:v>
                </c:pt>
                <c:pt idx="3">
                  <c:v>0.6726884884052126</c:v>
                </c:pt>
                <c:pt idx="4">
                  <c:v>0.7573826445672042</c:v>
                </c:pt>
                <c:pt idx="5">
                  <c:v>0.8235296812947596</c:v>
                </c:pt>
                <c:pt idx="6">
                  <c:v>0.7827845698488042</c:v>
                </c:pt>
                <c:pt idx="7">
                  <c:v>0.7323505806636011</c:v>
                </c:pt>
                <c:pt idx="8">
                  <c:v>0.7101908288896149</c:v>
                </c:pt>
                <c:pt idx="9">
                  <c:v>0.6989284384920412</c:v>
                </c:pt>
                <c:pt idx="10">
                  <c:v>0.721086369348953</c:v>
                </c:pt>
                <c:pt idx="11">
                  <c:v>0.7291036609971637</c:v>
                </c:pt>
                <c:pt idx="12">
                  <c:v>0.6696651077161577</c:v>
                </c:pt>
                <c:pt idx="13">
                  <c:v>0.5815979400620894</c:v>
                </c:pt>
                <c:pt idx="14">
                  <c:v>0.5867555960642734</c:v>
                </c:pt>
                <c:pt idx="15">
                  <c:v>0.5994301305576156</c:v>
                </c:pt>
                <c:pt idx="16">
                  <c:v>0.6050601259624225</c:v>
                </c:pt>
                <c:pt idx="17">
                  <c:v>0.46294145268706133</c:v>
                </c:pt>
                <c:pt idx="18">
                  <c:v>0.5951455360045427</c:v>
                </c:pt>
                <c:pt idx="19">
                  <c:v>0.7013892465521328</c:v>
                </c:pt>
                <c:pt idx="20">
                  <c:v>0.6309129565761962</c:v>
                </c:pt>
                <c:pt idx="21">
                  <c:v>0.49515642818881894</c:v>
                </c:pt>
                <c:pt idx="22">
                  <c:v>0.5547066490566577</c:v>
                </c:pt>
                <c:pt idx="23">
                  <c:v>0.42413749486509045</c:v>
                </c:pt>
                <c:pt idx="24">
                  <c:v>0.5434056843913441</c:v>
                </c:pt>
                <c:pt idx="25">
                  <c:v>0.5019971532448385</c:v>
                </c:pt>
                <c:pt idx="26">
                  <c:v>0.5152332479281841</c:v>
                </c:pt>
                <c:pt idx="27">
                  <c:v>0.4790986180093562</c:v>
                </c:pt>
                <c:pt idx="28">
                  <c:v>0.5061954867846511</c:v>
                </c:pt>
                <c:pt idx="29">
                  <c:v>0.4781669436295672</c:v>
                </c:pt>
                <c:pt idx="30">
                  <c:v>0.45433566705084494</c:v>
                </c:pt>
                <c:pt idx="31">
                  <c:v>0.5014668045697296</c:v>
                </c:pt>
                <c:pt idx="32">
                  <c:v>0.5478687605621625</c:v>
                </c:pt>
                <c:pt idx="33">
                  <c:v>0.5735765212768106</c:v>
                </c:pt>
                <c:pt idx="34">
                  <c:v>0.6365441167855845</c:v>
                </c:pt>
                <c:pt idx="35">
                  <c:v>0.5609177372852707</c:v>
                </c:pt>
                <c:pt idx="36">
                  <c:v>0.50350663844043</c:v>
                </c:pt>
                <c:pt idx="37">
                  <c:v>0.512509536014409</c:v>
                </c:pt>
                <c:pt idx="38">
                  <c:v>0.4544445107700062</c:v>
                </c:pt>
                <c:pt idx="39">
                  <c:v>0.44554847249849994</c:v>
                </c:pt>
                <c:pt idx="40">
                  <c:v>0.42720577506219837</c:v>
                </c:pt>
                <c:pt idx="41">
                  <c:v>0.4763191665412451</c:v>
                </c:pt>
                <c:pt idx="42">
                  <c:v>0.44602026046132925</c:v>
                </c:pt>
                <c:pt idx="43">
                  <c:v>0.49985407692896844</c:v>
                </c:pt>
                <c:pt idx="44">
                  <c:v>0.6034270706537154</c:v>
                </c:pt>
                <c:pt idx="45">
                  <c:v>0.6566373604755394</c:v>
                </c:pt>
                <c:pt idx="46">
                  <c:v>0.6476621232758639</c:v>
                </c:pt>
                <c:pt idx="47">
                  <c:v>0.5954714162817111</c:v>
                </c:pt>
                <c:pt idx="48">
                  <c:v>0.5712672497299053</c:v>
                </c:pt>
                <c:pt idx="49">
                  <c:v>0.6436552557937756</c:v>
                </c:pt>
                <c:pt idx="50">
                  <c:v>0.7478186799878787</c:v>
                </c:pt>
                <c:pt idx="51">
                  <c:v>0.723015997117279</c:v>
                </c:pt>
                <c:pt idx="52">
                  <c:v>0.5088709661232128</c:v>
                </c:pt>
                <c:pt idx="53">
                  <c:v>0.5088709661232128</c:v>
                </c:pt>
                <c:pt idx="54">
                  <c:v>0.6837858157259493</c:v>
                </c:pt>
              </c:numCache>
            </c:numRef>
          </c:xVal>
          <c:yVal>
            <c:numRef>
              <c:f>Sheet1!$B$187:$B$241</c:f>
              <c:numCache>
                <c:formatCode>General</c:formatCode>
                <c:ptCount val="55"/>
                <c:pt idx="0">
                  <c:v>0.0015059230395302776</c:v>
                </c:pt>
                <c:pt idx="1">
                  <c:v>0.0019950023817774678</c:v>
                </c:pt>
                <c:pt idx="2">
                  <c:v>0.0015372714375532347</c:v>
                </c:pt>
                <c:pt idx="3">
                  <c:v>0.0019444972468980895</c:v>
                </c:pt>
                <c:pt idx="4">
                  <c:v>0.0015700750617719857</c:v>
                </c:pt>
                <c:pt idx="5">
                  <c:v>0.0012776473530198363</c:v>
                </c:pt>
                <c:pt idx="6">
                  <c:v>0.0014577763530847507</c:v>
                </c:pt>
                <c:pt idx="7">
                  <c:v>0.0016807386599437032</c:v>
                </c:pt>
                <c:pt idx="8">
                  <c:v>0.0017787041283663222</c:v>
                </c:pt>
                <c:pt idx="9">
                  <c:v>0.0018284937362152663</c:v>
                </c:pt>
                <c:pt idx="10">
                  <c:v>0.00173053631783743</c:v>
                </c:pt>
                <c:pt idx="11">
                  <c:v>0.0016950928823780249</c:v>
                </c:pt>
                <c:pt idx="12">
                  <c:v>0.0019578632316999077</c:v>
                </c:pt>
                <c:pt idx="13">
                  <c:v>0.0023471970753222984</c:v>
                </c:pt>
                <c:pt idx="14">
                  <c:v>0.0023243957284764445</c:v>
                </c:pt>
                <c:pt idx="15">
                  <c:v>0.0022683632096403565</c:v>
                </c:pt>
                <c:pt idx="16">
                  <c:v>0.0022434737098537853</c:v>
                </c:pt>
                <c:pt idx="17">
                  <c:v>0.00287176244435875</c:v>
                </c:pt>
                <c:pt idx="18">
                  <c:v>0.0022873048619058635</c:v>
                </c:pt>
                <c:pt idx="19">
                  <c:v>0.0018176148140701177</c:v>
                </c:pt>
                <c:pt idx="20">
                  <c:v>0.0021291816055486216</c:v>
                </c:pt>
                <c:pt idx="21">
                  <c:v>0.002729344099720173</c:v>
                </c:pt>
                <c:pt idx="22">
                  <c:v>0.0024660800820773057</c:v>
                </c:pt>
                <c:pt idx="23">
                  <c:v>0.0030433098490162125</c:v>
                </c:pt>
                <c:pt idx="24">
                  <c:v>0.002516040221900017</c:v>
                </c:pt>
                <c:pt idx="25">
                  <c:v>0.002699102116809064</c:v>
                </c:pt>
                <c:pt idx="26">
                  <c:v>0.0026405870111812883</c:v>
                </c:pt>
                <c:pt idx="27">
                  <c:v>0.0028003336537601813</c:v>
                </c:pt>
                <c:pt idx="28">
                  <c:v>0.002680541813606347</c:v>
                </c:pt>
                <c:pt idx="29">
                  <c:v>0.002804452468716427</c:v>
                </c:pt>
                <c:pt idx="30">
                  <c:v>0.0029098075375346712</c:v>
                </c:pt>
                <c:pt idx="31">
                  <c:v>0.0027014467214289293</c:v>
                </c:pt>
                <c:pt idx="32">
                  <c:v>0.0024963095249075835</c:v>
                </c:pt>
                <c:pt idx="33">
                  <c:v>0.0023826587563342823</c:v>
                </c:pt>
                <c:pt idx="34">
                  <c:v>0.0021042869563078683</c:v>
                </c:pt>
                <c:pt idx="35">
                  <c:v>0.0024386216441879163</c:v>
                </c:pt>
                <c:pt idx="36">
                  <c:v>0.002692428873093549</c:v>
                </c:pt>
                <c:pt idx="37">
                  <c:v>0.0026526281981134672</c:v>
                </c:pt>
                <c:pt idx="38">
                  <c:v>0.002909326353176595</c:v>
                </c:pt>
                <c:pt idx="39">
                  <c:v>0.002948654616654561</c:v>
                </c:pt>
                <c:pt idx="40">
                  <c:v>0.0030297453691507663</c:v>
                </c:pt>
                <c:pt idx="41">
                  <c:v>0.0028126212582337607</c:v>
                </c:pt>
                <c:pt idx="42">
                  <c:v>0.002946568901559639</c:v>
                </c:pt>
                <c:pt idx="43">
                  <c:v>0.0027085763869764807</c:v>
                </c:pt>
                <c:pt idx="44">
                  <c:v>0.0022506932414581666</c:v>
                </c:pt>
                <c:pt idx="45">
                  <c:v>0.0020154572595543576</c:v>
                </c:pt>
                <c:pt idx="46">
                  <c:v>0.002055135651507399</c:v>
                </c:pt>
                <c:pt idx="47">
                  <c:v>0.0022858641862914383</c:v>
                </c:pt>
                <c:pt idx="48">
                  <c:v>0.002392867754662196</c:v>
                </c:pt>
                <c:pt idx="49">
                  <c:v>0.002072849507411279</c:v>
                </c:pt>
                <c:pt idx="50">
                  <c:v>0.0016123561432365738</c:v>
                </c:pt>
                <c:pt idx="51">
                  <c:v>0.001722005676784525</c:v>
                </c:pt>
                <c:pt idx="52">
                  <c:v>0.002668713856807439</c:v>
                </c:pt>
                <c:pt idx="53">
                  <c:v>0.002668713856807439</c:v>
                </c:pt>
                <c:pt idx="54">
                  <c:v>0.00189543736209868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1660317580055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7</c:f>
              <c:numCache>
                <c:formatCode>General</c:formatCode>
                <c:ptCount val="56"/>
                <c:pt idx="0">
                  <c:v>1245.7045</c:v>
                </c:pt>
                <c:pt idx="1">
                  <c:v>1148.7273</c:v>
                </c:pt>
                <c:pt idx="2">
                  <c:v>1245.4286</c:v>
                </c:pt>
                <c:pt idx="3">
                  <c:v>1273.0526</c:v>
                </c:pt>
                <c:pt idx="4">
                  <c:v>1225.5789</c:v>
                </c:pt>
                <c:pt idx="5">
                  <c:v>1538.0</c:v>
                </c:pt>
                <c:pt idx="6">
                  <c:v>1412.6316</c:v>
                </c:pt>
                <c:pt idx="7">
                  <c:v>1587.7143</c:v>
                </c:pt>
                <c:pt idx="8">
                  <c:v>1364.2</c:v>
                </c:pt>
                <c:pt idx="9">
                  <c:v>1109.2727</c:v>
                </c:pt>
                <c:pt idx="10">
                  <c:v>1261.2558</c:v>
                </c:pt>
                <c:pt idx="11">
                  <c:v>1432.6538</c:v>
                </c:pt>
                <c:pt idx="12">
                  <c:v>1459.2581</c:v>
                </c:pt>
                <c:pt idx="13">
                  <c:v>1179.5435</c:v>
                </c:pt>
                <c:pt idx="14">
                  <c:v>1414.4286</c:v>
                </c:pt>
                <c:pt idx="15">
                  <c:v>1413.4839</c:v>
                </c:pt>
                <c:pt idx="16">
                  <c:v>1509.5</c:v>
                </c:pt>
                <c:pt idx="17">
                  <c:v>1206.6111</c:v>
                </c:pt>
                <c:pt idx="18">
                  <c:v>1295.3333</c:v>
                </c:pt>
                <c:pt idx="19">
                  <c:v>1375.2353</c:v>
                </c:pt>
                <c:pt idx="20">
                  <c:v>1556.0</c:v>
                </c:pt>
                <c:pt idx="21">
                  <c:v>1166.5</c:v>
                </c:pt>
                <c:pt idx="22">
                  <c:v>964.3611</c:v>
                </c:pt>
                <c:pt idx="23">
                  <c:v>935.1944</c:v>
                </c:pt>
                <c:pt idx="24">
                  <c:v>729.2778</c:v>
                </c:pt>
                <c:pt idx="25">
                  <c:v>862.1304</c:v>
                </c:pt>
                <c:pt idx="26">
                  <c:v>821.0526</c:v>
                </c:pt>
                <c:pt idx="27">
                  <c:v>846.3125</c:v>
                </c:pt>
                <c:pt idx="28">
                  <c:v>1120.3333</c:v>
                </c:pt>
                <c:pt idx="29">
                  <c:v>1190.125</c:v>
                </c:pt>
                <c:pt idx="30">
                  <c:v>1062.5</c:v>
                </c:pt>
                <c:pt idx="31">
                  <c:v>828.1667</c:v>
                </c:pt>
                <c:pt idx="32">
                  <c:v>1294.4615</c:v>
                </c:pt>
                <c:pt idx="33">
                  <c:v>1430.0</c:v>
                </c:pt>
                <c:pt idx="34">
                  <c:v>1368.8889</c:v>
                </c:pt>
                <c:pt idx="35">
                  <c:v>1315.5</c:v>
                </c:pt>
                <c:pt idx="36">
                  <c:v>1324.9167</c:v>
                </c:pt>
                <c:pt idx="37">
                  <c:v>1295.6</c:v>
                </c:pt>
                <c:pt idx="38">
                  <c:v>1258.7895</c:v>
                </c:pt>
                <c:pt idx="39">
                  <c:v>1472.1111</c:v>
                </c:pt>
                <c:pt idx="40">
                  <c:v>1414.2105</c:v>
                </c:pt>
                <c:pt idx="41">
                  <c:v>1486.6</c:v>
                </c:pt>
                <c:pt idx="42">
                  <c:v>1421.0714</c:v>
                </c:pt>
                <c:pt idx="43">
                  <c:v>1437.3529</c:v>
                </c:pt>
                <c:pt idx="44">
                  <c:v>1411.875</c:v>
                </c:pt>
                <c:pt idx="45">
                  <c:v>1347.9412</c:v>
                </c:pt>
                <c:pt idx="46">
                  <c:v>1354.4615</c:v>
                </c:pt>
                <c:pt idx="47">
                  <c:v>1408.5</c:v>
                </c:pt>
                <c:pt idx="48">
                  <c:v>1227.0526</c:v>
                </c:pt>
                <c:pt idx="49">
                  <c:v>1352.7143</c:v>
                </c:pt>
                <c:pt idx="50">
                  <c:v>1330.1176</c:v>
                </c:pt>
                <c:pt idx="51">
                  <c:v>1294.0345</c:v>
                </c:pt>
                <c:pt idx="52">
                  <c:v>1353.375</c:v>
                </c:pt>
                <c:pt idx="53">
                  <c:v>1353.7333</c:v>
                </c:pt>
                <c:pt idx="54">
                  <c:v>1489.4375</c:v>
                </c:pt>
                <c:pt idx="55">
                  <c:v>1463.7692</c:v>
                </c:pt>
              </c:numCache>
            </c:numRef>
          </c:xVal>
          <c:yVal>
            <c:numRef>
              <c:f>Sheet1!$B$2:$B$57</c:f>
              <c:numCache>
                <c:formatCode>General</c:formatCode>
                <c:ptCount val="56"/>
                <c:pt idx="0">
                  <c:v>0.9777777777777777</c:v>
                </c:pt>
                <c:pt idx="1">
                  <c:v>0.7096774193548387</c:v>
                </c:pt>
                <c:pt idx="2">
                  <c:v>0.4827586206896552</c:v>
                </c:pt>
                <c:pt idx="3">
                  <c:v>0.5135135135135135</c:v>
                </c:pt>
                <c:pt idx="4">
                  <c:v>0.5428571428571428</c:v>
                </c:pt>
                <c:pt idx="5">
                  <c:v>0.4642857142857143</c:v>
                </c:pt>
                <c:pt idx="6">
                  <c:v>0.59375</c:v>
                </c:pt>
                <c:pt idx="7">
                  <c:v>0.45161290322580644</c:v>
                </c:pt>
                <c:pt idx="8">
                  <c:v>0.6666666666666666</c:v>
                </c:pt>
                <c:pt idx="9">
                  <c:v>0.7746478873239436</c:v>
                </c:pt>
                <c:pt idx="10">
                  <c:v>0.7288135593220338</c:v>
                </c:pt>
                <c:pt idx="11">
                  <c:v>0.7428571428571429</c:v>
                </c:pt>
                <c:pt idx="12">
                  <c:v>0.7380952380952381</c:v>
                </c:pt>
                <c:pt idx="13">
                  <c:v>0.7931034482758621</c:v>
                </c:pt>
                <c:pt idx="14">
                  <c:v>0.6363636363636364</c:v>
                </c:pt>
                <c:pt idx="15">
                  <c:v>0.5961538461538461</c:v>
                </c:pt>
                <c:pt idx="16">
                  <c:v>0.5853658536585366</c:v>
                </c:pt>
                <c:pt idx="17">
                  <c:v>0.6792452830188679</c:v>
                </c:pt>
                <c:pt idx="18">
                  <c:v>0.6428571428571429</c:v>
                </c:pt>
                <c:pt idx="19">
                  <c:v>0.53125</c:v>
                </c:pt>
                <c:pt idx="20">
                  <c:v>0.55</c:v>
                </c:pt>
                <c:pt idx="21">
                  <c:v>0.5454545454545454</c:v>
                </c:pt>
                <c:pt idx="22">
                  <c:v>0.75</c:v>
                </c:pt>
                <c:pt idx="23">
                  <c:v>0.75</c:v>
                </c:pt>
                <c:pt idx="24">
                  <c:v>0.7346938775510204</c:v>
                </c:pt>
                <c:pt idx="25">
                  <c:v>0.6216216216216216</c:v>
                </c:pt>
                <c:pt idx="26">
                  <c:v>0.5588235294117647</c:v>
                </c:pt>
                <c:pt idx="27">
                  <c:v>0.6153846153846154</c:v>
                </c:pt>
                <c:pt idx="28">
                  <c:v>0.4090909090909091</c:v>
                </c:pt>
                <c:pt idx="29">
                  <c:v>0.42105263157894735</c:v>
                </c:pt>
                <c:pt idx="30">
                  <c:v>0.5</c:v>
                </c:pt>
                <c:pt idx="31">
                  <c:v>0.6</c:v>
                </c:pt>
                <c:pt idx="32">
                  <c:v>0.34210526315789475</c:v>
                </c:pt>
                <c:pt idx="33">
                  <c:v>0.29411764705882354</c:v>
                </c:pt>
                <c:pt idx="34">
                  <c:v>0.36</c:v>
                </c:pt>
                <c:pt idx="35">
                  <c:v>0.2727272727272727</c:v>
                </c:pt>
                <c:pt idx="36">
                  <c:v>0.5454545454545454</c:v>
                </c:pt>
                <c:pt idx="37">
                  <c:v>0.39473684210526316</c:v>
                </c:pt>
                <c:pt idx="38">
                  <c:v>0.3877551020408163</c:v>
                </c:pt>
                <c:pt idx="39">
                  <c:v>0.32727272727272727</c:v>
                </c:pt>
                <c:pt idx="40">
                  <c:v>0.5</c:v>
                </c:pt>
                <c:pt idx="41">
                  <c:v>0.45454545454545453</c:v>
                </c:pt>
                <c:pt idx="42">
                  <c:v>0.32558139534883723</c:v>
                </c:pt>
                <c:pt idx="43">
                  <c:v>0.3148148148148148</c:v>
                </c:pt>
                <c:pt idx="44">
                  <c:v>0.32653061224489793</c:v>
                </c:pt>
                <c:pt idx="45">
                  <c:v>0.32075471698113206</c:v>
                </c:pt>
                <c:pt idx="46">
                  <c:v>0.30952380952380953</c:v>
                </c:pt>
                <c:pt idx="47">
                  <c:v>0.4</c:v>
                </c:pt>
                <c:pt idx="48">
                  <c:v>0.4222222222222222</c:v>
                </c:pt>
                <c:pt idx="49">
                  <c:v>0.5121951219512195</c:v>
                </c:pt>
                <c:pt idx="50">
                  <c:v>0.5964912280701754</c:v>
                </c:pt>
                <c:pt idx="51">
                  <c:v>0.4603174603174603</c:v>
                </c:pt>
                <c:pt idx="52">
                  <c:v>0.3404255319148936</c:v>
                </c:pt>
                <c:pt idx="53">
                  <c:v>0.46875</c:v>
                </c:pt>
                <c:pt idx="54">
                  <c:v>0.43243243243243246</c:v>
                </c:pt>
                <c:pt idx="55">
                  <c:v>0.38235294117647056</c:v>
                </c:pt>
              </c:numCache>
            </c:numRef>
          </c:yVal>
          <c:smooth val="0"/>
          <c:extLst>
            <c:ext xmlns:c16="http://schemas.microsoft.com/office/drawing/2014/chart" uri="{C3380CC4-5D6E-409C-BE32-E72D297353CC}">
              <c16:uniqueId val="{00000000-F32D-48B7-BC20-E66FC6253BAD}"/>
            </c:ext>
          </c:extLst>
        </c:ser>
        <c:ser>
          <c:idx val="1"/>
          <c:order val="1"/>
          <c:tx>
            <c:strRef>
              <c:f>Sheet1!$B$5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0:$A$111</c:f>
              <c:numCache>
                <c:formatCode>General</c:formatCode>
                <c:ptCount val="52"/>
                <c:pt idx="0">
                  <c:v>1542.0769</c:v>
                </c:pt>
                <c:pt idx="1">
                  <c:v>1336.918</c:v>
                </c:pt>
                <c:pt idx="2">
                  <c:v>1298.7434</c:v>
                </c:pt>
                <c:pt idx="3">
                  <c:v>1334.878</c:v>
                </c:pt>
                <c:pt idx="4">
                  <c:v>1322.96</c:v>
                </c:pt>
                <c:pt idx="5">
                  <c:v>1343.5632</c:v>
                </c:pt>
                <c:pt idx="6">
                  <c:v>1220.8026</c:v>
                </c:pt>
                <c:pt idx="7">
                  <c:v>1088.3951</c:v>
                </c:pt>
                <c:pt idx="8">
                  <c:v>1329.1395</c:v>
                </c:pt>
                <c:pt idx="9">
                  <c:v>1362.4872</c:v>
                </c:pt>
                <c:pt idx="10">
                  <c:v>1203.1833</c:v>
                </c:pt>
                <c:pt idx="11">
                  <c:v>931.8621</c:v>
                </c:pt>
                <c:pt idx="12">
                  <c:v>861.2828</c:v>
                </c:pt>
                <c:pt idx="13">
                  <c:v>788.213</c:v>
                </c:pt>
                <c:pt idx="14">
                  <c:v>821.0</c:v>
                </c:pt>
                <c:pt idx="15">
                  <c:v>841.6364</c:v>
                </c:pt>
                <c:pt idx="16">
                  <c:v>849.629</c:v>
                </c:pt>
                <c:pt idx="17">
                  <c:v>827.0392</c:v>
                </c:pt>
                <c:pt idx="18">
                  <c:v>879.8333</c:v>
                </c:pt>
                <c:pt idx="19">
                  <c:v>859.0465</c:v>
                </c:pt>
                <c:pt idx="20">
                  <c:v>875.7419</c:v>
                </c:pt>
                <c:pt idx="21">
                  <c:v>1107.3333</c:v>
                </c:pt>
                <c:pt idx="22">
                  <c:v>994.5625</c:v>
                </c:pt>
                <c:pt idx="23">
                  <c:v>1054.0952</c:v>
                </c:pt>
                <c:pt idx="24">
                  <c:v>1056.6471</c:v>
                </c:pt>
                <c:pt idx="25">
                  <c:v>1008.25</c:v>
                </c:pt>
                <c:pt idx="26">
                  <c:v>1001.7222</c:v>
                </c:pt>
                <c:pt idx="27">
                  <c:v>971.5</c:v>
                </c:pt>
                <c:pt idx="28">
                  <c:v>1017.4706</c:v>
                </c:pt>
                <c:pt idx="29">
                  <c:v>1164.1538</c:v>
                </c:pt>
                <c:pt idx="30">
                  <c:v>1563.9</c:v>
                </c:pt>
                <c:pt idx="31">
                  <c:v>1285.0</c:v>
                </c:pt>
                <c:pt idx="32">
                  <c:v>1078.2667</c:v>
                </c:pt>
                <c:pt idx="33">
                  <c:v>1183.2917</c:v>
                </c:pt>
                <c:pt idx="34">
                  <c:v>1517.9643</c:v>
                </c:pt>
                <c:pt idx="35">
                  <c:v>1277.8636</c:v>
                </c:pt>
                <c:pt idx="36">
                  <c:v>1131.8125</c:v>
                </c:pt>
                <c:pt idx="37">
                  <c:v>760.125</c:v>
                </c:pt>
                <c:pt idx="38">
                  <c:v>645.6667</c:v>
                </c:pt>
                <c:pt idx="39">
                  <c:v>945.6923</c:v>
                </c:pt>
                <c:pt idx="40">
                  <c:v>850.9231</c:v>
                </c:pt>
                <c:pt idx="41">
                  <c:v>892.9545</c:v>
                </c:pt>
                <c:pt idx="42">
                  <c:v>1337.9231</c:v>
                </c:pt>
                <c:pt idx="43">
                  <c:v>909.6364</c:v>
                </c:pt>
                <c:pt idx="44">
                  <c:v>927.75</c:v>
                </c:pt>
                <c:pt idx="45">
                  <c:v>1199.8125</c:v>
                </c:pt>
                <c:pt idx="46">
                  <c:v>881.087</c:v>
                </c:pt>
                <c:pt idx="47">
                  <c:v>675.5455</c:v>
                </c:pt>
                <c:pt idx="48">
                  <c:v>991.05</c:v>
                </c:pt>
                <c:pt idx="49">
                  <c:v>1220.4583</c:v>
                </c:pt>
                <c:pt idx="50">
                  <c:v>1287.16</c:v>
                </c:pt>
                <c:pt idx="51">
                  <c:v>1332.5294</c:v>
                </c:pt>
              </c:numCache>
            </c:numRef>
          </c:xVal>
          <c:yVal>
            <c:numRef>
              <c:f>Sheet1!$B$60:$B$111</c:f>
              <c:numCache>
                <c:formatCode>General</c:formatCode>
                <c:ptCount val="52"/>
                <c:pt idx="0">
                  <c:v>0.3170731707317073</c:v>
                </c:pt>
                <c:pt idx="1">
                  <c:v>0.7439024390243902</c:v>
                </c:pt>
                <c:pt idx="2">
                  <c:v>0.8692307692307693</c:v>
                </c:pt>
                <c:pt idx="3">
                  <c:v>0.831081081081081</c:v>
                </c:pt>
                <c:pt idx="4">
                  <c:v>0.8264462809917356</c:v>
                </c:pt>
                <c:pt idx="5">
                  <c:v>0.7981651376146789</c:v>
                </c:pt>
                <c:pt idx="6">
                  <c:v>0.8636363636363636</c:v>
                </c:pt>
                <c:pt idx="7">
                  <c:v>0.9204545454545454</c:v>
                </c:pt>
                <c:pt idx="8">
                  <c:v>0.7166666666666667</c:v>
                </c:pt>
                <c:pt idx="9">
                  <c:v>0.7222222222222222</c:v>
                </c:pt>
                <c:pt idx="10">
                  <c:v>0.7407407407407407</c:v>
                </c:pt>
                <c:pt idx="11">
                  <c:v>0.7909090909090909</c:v>
                </c:pt>
                <c:pt idx="12">
                  <c:v>0.8114754098360656</c:v>
                </c:pt>
                <c:pt idx="13">
                  <c:v>0.8244274809160306</c:v>
                </c:pt>
                <c:pt idx="14">
                  <c:v>0.8383838383838383</c:v>
                </c:pt>
                <c:pt idx="15">
                  <c:v>0.8048780487804879</c:v>
                </c:pt>
                <c:pt idx="16">
                  <c:v>0.7654320987654321</c:v>
                </c:pt>
                <c:pt idx="17">
                  <c:v>0.8947368421052632</c:v>
                </c:pt>
                <c:pt idx="18">
                  <c:v>0.7346938775510204</c:v>
                </c:pt>
                <c:pt idx="19">
                  <c:v>0.7049180327868853</c:v>
                </c:pt>
                <c:pt idx="20">
                  <c:v>0.7209302325581395</c:v>
                </c:pt>
                <c:pt idx="21">
                  <c:v>0.5</c:v>
                </c:pt>
                <c:pt idx="22">
                  <c:v>0.5517241379310345</c:v>
                </c:pt>
                <c:pt idx="23">
                  <c:v>0.5833333333333334</c:v>
                </c:pt>
                <c:pt idx="24">
                  <c:v>0.6071428571428571</c:v>
                </c:pt>
                <c:pt idx="25">
                  <c:v>0.64</c:v>
                </c:pt>
                <c:pt idx="26">
                  <c:v>0.42857142857142855</c:v>
                </c:pt>
                <c:pt idx="27">
                  <c:v>0.3783783783783784</c:v>
                </c:pt>
                <c:pt idx="28">
                  <c:v>0.3695652173913043</c:v>
                </c:pt>
                <c:pt idx="29">
                  <c:v>0.3611111111111111</c:v>
                </c:pt>
                <c:pt idx="30">
                  <c:v>0.23255813953488372</c:v>
                </c:pt>
                <c:pt idx="31">
                  <c:v>0.2</c:v>
                </c:pt>
                <c:pt idx="32">
                  <c:v>0.39473684210526316</c:v>
                </c:pt>
                <c:pt idx="33">
                  <c:v>0.47058823529411764</c:v>
                </c:pt>
                <c:pt idx="34">
                  <c:v>0.3111111111111111</c:v>
                </c:pt>
                <c:pt idx="35">
                  <c:v>0.26506024096385544</c:v>
                </c:pt>
                <c:pt idx="36">
                  <c:v>0.3137254901960784</c:v>
                </c:pt>
                <c:pt idx="37">
                  <c:v>0.5</c:v>
                </c:pt>
                <c:pt idx="38">
                  <c:v>0.4909090909090909</c:v>
                </c:pt>
                <c:pt idx="39">
                  <c:v>0.3291139240506329</c:v>
                </c:pt>
                <c:pt idx="40">
                  <c:v>0.19402985074626866</c:v>
                </c:pt>
                <c:pt idx="41">
                  <c:v>0.2682926829268293</c:v>
                </c:pt>
                <c:pt idx="42">
                  <c:v>0.18309859154929578</c:v>
                </c:pt>
                <c:pt idx="43">
                  <c:v>0.25</c:v>
                </c:pt>
                <c:pt idx="44">
                  <c:v>0.17094017094017094</c:v>
                </c:pt>
                <c:pt idx="45">
                  <c:v>0.1839080459770115</c:v>
                </c:pt>
                <c:pt idx="46">
                  <c:v>0.2804878048780488</c:v>
                </c:pt>
                <c:pt idx="47">
                  <c:v>0.27848101265822783</c:v>
                </c:pt>
                <c:pt idx="48">
                  <c:v>0.2898550724637681</c:v>
                </c:pt>
                <c:pt idx="49">
                  <c:v>0.2696629213483146</c:v>
                </c:pt>
                <c:pt idx="50">
                  <c:v>0.23148148148148148</c:v>
                </c:pt>
                <c:pt idx="51">
                  <c:v>0.2125</c:v>
                </c:pt>
              </c:numCache>
            </c:numRef>
          </c:yVal>
          <c:smooth val="0"/>
          <c:extLst>
            <c:ext xmlns:c16="http://schemas.microsoft.com/office/drawing/2014/chart" uri="{C3380CC4-5D6E-409C-BE32-E72D297353CC}">
              <c16:uniqueId val="{00000002-F32D-48B7-BC20-E66FC6253BAD}"/>
            </c:ext>
          </c:extLst>
        </c:ser>
        <c:ser>
          <c:idx val="2"/>
          <c:order val="2"/>
          <c:tx>
            <c:strRef>
              <c:f>Sheet1!$B$113</c:f>
              <c:strCache>
                <c:ptCount val="1"/>
                <c:pt idx="0">
                  <c:v>Custom Linep3yQ</c:v>
                </c:pt>
              </c:strCache>
            </c:strRef>
          </c:tx>
          <c:spPr>
            <a:ln w="19050" cap="rnd">
              <a:solidFill>
                <a:srgbClr val="C00000"/>
              </a:solidFill>
              <a:prstDash val="sysDot"/>
              <a:round/>
            </a:ln>
            <a:effectLst/>
          </c:spPr>
          <c:marker>
            <c:symbol val="none"/>
          </c:marker>
          <c:xVal>
            <c:numRef>
              <c:f>Sheet1!$A$114:$A$115</c:f>
              <c:numCache>
                <c:formatCode>General</c:formatCode>
                <c:ptCount val="2"/>
                <c:pt idx="0">
                  <c:v>0</c:v>
                </c:pt>
                <c:pt idx="1">
                  <c:v>-528.5344042910627</c:v>
                </c:pt>
              </c:numCache>
            </c:numRef>
          </c:xVal>
          <c:yVal>
            <c:numRef>
              <c:f>Sheet1!$B$114:$B$115</c:f>
              <c:numCache>
                <c:formatCode>General</c:formatCode>
                <c:ptCount val="2"/>
                <c:pt idx="0">
                  <c:v>0.7579806088888628</c:v>
                </c:pt>
                <c:pt idx="1">
                  <c:v>0.7579806088888628</c:v>
                </c:pt>
              </c:numCache>
            </c:numRef>
          </c:yVal>
          <c:smooth val="0"/>
          <c:extLst>
            <c:ext xmlns:c16="http://schemas.microsoft.com/office/drawing/2014/chart" uri="{C3380CC4-5D6E-409C-BE32-E72D297353CC}">
              <c16:uniqueId val="{00000003-F32D-48B7-BC20-E66FC6253BAD}"/>
            </c:ext>
          </c:extLst>
        </c:ser>
        <c:ser>
          <c:idx val="3"/>
          <c:order val="3"/>
          <c:tx>
            <c:strRef>
              <c:f>Sheet1!$B$1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8:$A$119</c:f>
              <c:numCache>
                <c:formatCode>General</c:formatCode>
                <c:ptCount val="2"/>
                <c:pt idx="0">
                  <c:v>-528.5344042910627</c:v>
                </c:pt>
                <c:pt idx="1">
                  <c:v>-528.5344042910627</c:v>
                </c:pt>
              </c:numCache>
            </c:numRef>
          </c:xVal>
          <c:yVal>
            <c:numRef>
              <c:f>Sheet1!$B$118:$B$119</c:f>
              <c:numCache>
                <c:formatCode>General</c:formatCode>
                <c:ptCount val="2"/>
                <c:pt idx="0">
                  <c:v>0.757980608888862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2:$A$123</c:f>
              <c:numCache>
                <c:formatCode>General</c:formatCode>
                <c:ptCount val="2"/>
                <c:pt idx="0">
                  <c:v>0</c:v>
                </c:pt>
                <c:pt idx="1">
                  <c:v>-577.008970112606</c:v>
                </c:pt>
              </c:numCache>
            </c:numRef>
          </c:xVal>
          <c:yVal>
            <c:numRef>
              <c:f>Sheet1!$B$122:$B$123</c:f>
              <c:numCache>
                <c:formatCode>General</c:formatCode>
                <c:ptCount val="2"/>
                <c:pt idx="0">
                  <c:v>0.7651840504924375</c:v>
                </c:pt>
                <c:pt idx="1">
                  <c:v>0.7651840504924375</c:v>
                </c:pt>
              </c:numCache>
            </c:numRef>
          </c:yVal>
          <c:smooth val="0"/>
          <c:extLst>
            <c:ext xmlns:c16="http://schemas.microsoft.com/office/drawing/2014/chart" uri="{C3380CC4-5D6E-409C-BE32-E72D297353CC}">
              <c16:uniqueId val="{0000000A-F32D-48B7-BC20-E66FC6253BAD}"/>
            </c:ext>
          </c:extLst>
        </c:ser>
        <c:ser>
          <c:idx val="5"/>
          <c:order val="5"/>
          <c:tx>
            <c:strRef>
              <c:f>Sheet1!$B$1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577.008970112606</c:v>
                </c:pt>
                <c:pt idx="1">
                  <c:v>-577.008970112606</c:v>
                </c:pt>
              </c:numCache>
            </c:numRef>
          </c:xVal>
          <c:yVal>
            <c:numRef>
              <c:f>Sheet1!$B$126:$B$127</c:f>
              <c:numCache>
                <c:formatCode>General</c:formatCode>
                <c:ptCount val="2"/>
                <c:pt idx="0">
                  <c:v>0.765184050492437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9</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0:$A$131</c:f>
              <c:numCache>
                <c:formatCode>General</c:formatCode>
                <c:ptCount val="2"/>
                <c:pt idx="0">
                  <c:v>0</c:v>
                </c:pt>
                <c:pt idx="1">
                  <c:v>2945.833283432612</c:v>
                </c:pt>
              </c:numCache>
            </c:numRef>
          </c:xVal>
          <c:yVal>
            <c:numRef>
              <c:f>Sheet1!$B$130:$B$131</c:f>
              <c:numCache>
                <c:formatCode>General</c:formatCode>
                <c:ptCount val="2"/>
                <c:pt idx="0">
                  <c:v>0.24168088915538843</c:v>
                </c:pt>
                <c:pt idx="1">
                  <c:v>0.24168088915538843</c:v>
                </c:pt>
              </c:numCache>
            </c:numRef>
          </c:yVal>
          <c:smooth val="0"/>
          <c:extLst>
            <c:ext xmlns:c16="http://schemas.microsoft.com/office/drawing/2014/chart" uri="{C3380CC4-5D6E-409C-BE32-E72D297353CC}">
              <c16:uniqueId val="{00000011-F32D-48B7-BC20-E66FC6253BAD}"/>
            </c:ext>
          </c:extLst>
        </c:ser>
        <c:ser>
          <c:idx val="7"/>
          <c:order val="7"/>
          <c:tx>
            <c:strRef>
              <c:f>Sheet1!$B$133</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2945.833283432612</c:v>
                </c:pt>
                <c:pt idx="1">
                  <c:v>2945.833283432612</c:v>
                </c:pt>
              </c:numCache>
            </c:numRef>
          </c:xVal>
          <c:yVal>
            <c:numRef>
              <c:f>Sheet1!$B$134:$B$135</c:f>
              <c:numCache>
                <c:formatCode>General</c:formatCode>
                <c:ptCount val="2"/>
                <c:pt idx="0">
                  <c:v>0.2416808891553884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7</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8:$A$192</c:f>
              <c:numCache>
                <c:formatCode>General</c:formatCode>
                <c:ptCount val="55"/>
                <c:pt idx="0">
                  <c:v>1542.0769</c:v>
                </c:pt>
                <c:pt idx="1">
                  <c:v>1336.918</c:v>
                </c:pt>
                <c:pt idx="2">
                  <c:v>1298.7434</c:v>
                </c:pt>
                <c:pt idx="3">
                  <c:v>1334.878</c:v>
                </c:pt>
                <c:pt idx="4">
                  <c:v>1322.96</c:v>
                </c:pt>
                <c:pt idx="5">
                  <c:v>1343.5632</c:v>
                </c:pt>
                <c:pt idx="6">
                  <c:v>1220.8026</c:v>
                </c:pt>
                <c:pt idx="7">
                  <c:v>1088.3951</c:v>
                </c:pt>
                <c:pt idx="8">
                  <c:v>1329.1395</c:v>
                </c:pt>
                <c:pt idx="9">
                  <c:v>1362.4872</c:v>
                </c:pt>
                <c:pt idx="10">
                  <c:v>1203.1833</c:v>
                </c:pt>
                <c:pt idx="11">
                  <c:v>931.8621</c:v>
                </c:pt>
                <c:pt idx="12">
                  <c:v>861.2828</c:v>
                </c:pt>
                <c:pt idx="13">
                  <c:v>788.213</c:v>
                </c:pt>
                <c:pt idx="14">
                  <c:v>821.0</c:v>
                </c:pt>
                <c:pt idx="15">
                  <c:v>841.6364</c:v>
                </c:pt>
                <c:pt idx="16">
                  <c:v>849.629</c:v>
                </c:pt>
                <c:pt idx="17">
                  <c:v>827.0392</c:v>
                </c:pt>
                <c:pt idx="18">
                  <c:v>879.8333</c:v>
                </c:pt>
                <c:pt idx="19">
                  <c:v>859.0465</c:v>
                </c:pt>
                <c:pt idx="20">
                  <c:v>875.7419</c:v>
                </c:pt>
                <c:pt idx="21">
                  <c:v>1107.3333</c:v>
                </c:pt>
                <c:pt idx="22">
                  <c:v>994.5625</c:v>
                </c:pt>
                <c:pt idx="23">
                  <c:v>1054.0952</c:v>
                </c:pt>
                <c:pt idx="24">
                  <c:v>1056.6471</c:v>
                </c:pt>
                <c:pt idx="25">
                  <c:v>1008.25</c:v>
                </c:pt>
                <c:pt idx="26">
                  <c:v>1001.7222</c:v>
                </c:pt>
                <c:pt idx="27">
                  <c:v>971.5</c:v>
                </c:pt>
                <c:pt idx="28">
                  <c:v>1017.4706</c:v>
                </c:pt>
                <c:pt idx="29">
                  <c:v>1164.1538</c:v>
                </c:pt>
                <c:pt idx="30">
                  <c:v>1563.9</c:v>
                </c:pt>
                <c:pt idx="31">
                  <c:v>1285.0</c:v>
                </c:pt>
                <c:pt idx="32">
                  <c:v>1078.2667</c:v>
                </c:pt>
                <c:pt idx="33">
                  <c:v>1183.2917</c:v>
                </c:pt>
                <c:pt idx="34">
                  <c:v>1517.9643</c:v>
                </c:pt>
                <c:pt idx="35">
                  <c:v>1277.8636</c:v>
                </c:pt>
                <c:pt idx="36">
                  <c:v>1131.8125</c:v>
                </c:pt>
                <c:pt idx="37">
                  <c:v>760.125</c:v>
                </c:pt>
                <c:pt idx="38">
                  <c:v>645.6667</c:v>
                </c:pt>
                <c:pt idx="39">
                  <c:v>945.6923</c:v>
                </c:pt>
                <c:pt idx="40">
                  <c:v>850.9231</c:v>
                </c:pt>
                <c:pt idx="41">
                  <c:v>892.9545</c:v>
                </c:pt>
                <c:pt idx="42">
                  <c:v>1337.9231</c:v>
                </c:pt>
                <c:pt idx="43">
                  <c:v>909.6364</c:v>
                </c:pt>
                <c:pt idx="44">
                  <c:v>927.75</c:v>
                </c:pt>
                <c:pt idx="45">
                  <c:v>1199.8125</c:v>
                </c:pt>
                <c:pt idx="46">
                  <c:v>881.087</c:v>
                </c:pt>
                <c:pt idx="47">
                  <c:v>675.5455</c:v>
                </c:pt>
                <c:pt idx="48">
                  <c:v>991.05</c:v>
                </c:pt>
                <c:pt idx="49">
                  <c:v>1220.4583</c:v>
                </c:pt>
                <c:pt idx="50">
                  <c:v>1287.16</c:v>
                </c:pt>
                <c:pt idx="51">
                  <c:v>1332.5294</c:v>
                </c:pt>
                <c:pt idx="52">
                  <c:v>-577.008970112606</c:v>
                </c:pt>
                <c:pt idx="53">
                  <c:v>-528.5344042910627</c:v>
                </c:pt>
                <c:pt idx="54">
                  <c:v>2945.833283432612</c:v>
                </c:pt>
              </c:numCache>
            </c:numRef>
          </c:xVal>
          <c:yVal>
            <c:numRef>
              <c:f>Sheet1!$B$138:$B$192</c:f>
              <c:numCache>
                <c:formatCode>General</c:formatCode>
                <c:ptCount val="55"/>
                <c:pt idx="0">
                  <c:v>0.45028259527336656</c:v>
                </c:pt>
                <c:pt idx="1">
                  <c:v>0.48076972044008326</c:v>
                </c:pt>
                <c:pt idx="2">
                  <c:v>0.48644256138624425</c:v>
                </c:pt>
                <c:pt idx="3">
                  <c:v>0.48107286953739326</c:v>
                </c:pt>
                <c:pt idx="4">
                  <c:v>0.4828439141166775</c:v>
                </c:pt>
                <c:pt idx="5">
                  <c:v>0.47978222711584595</c:v>
                </c:pt>
                <c:pt idx="6">
                  <c:v>0.49802475901546744</c:v>
                </c:pt>
                <c:pt idx="7">
                  <c:v>0.5177008443596179</c:v>
                </c:pt>
                <c:pt idx="8">
                  <c:v>0.48192562497607616</c:v>
                </c:pt>
                <c:pt idx="9">
                  <c:v>0.47697007343080017</c:v>
                </c:pt>
                <c:pt idx="10">
                  <c:v>0.5006430310204837</c:v>
                </c:pt>
                <c:pt idx="11">
                  <c:v>0.5409620392857053</c:v>
                </c:pt>
                <c:pt idx="12">
                  <c:v>0.5514502996208859</c:v>
                </c:pt>
                <c:pt idx="13">
                  <c:v>0.5623086544790321</c:v>
                </c:pt>
                <c:pt idx="14">
                  <c:v>0.5574364243547668</c:v>
                </c:pt>
                <c:pt idx="15">
                  <c:v>0.554369803750979</c:v>
                </c:pt>
                <c:pt idx="16">
                  <c:v>0.5531820834200185</c:v>
                </c:pt>
                <c:pt idx="17">
                  <c:v>0.5565389841447304</c:v>
                </c:pt>
                <c:pt idx="18">
                  <c:v>0.5486936489690974</c:v>
                </c:pt>
                <c:pt idx="19">
                  <c:v>0.5517826193886869</c:v>
                </c:pt>
                <c:pt idx="20">
                  <c:v>0.5493016412322024</c:v>
                </c:pt>
                <c:pt idx="21">
                  <c:v>0.5148865805190909</c:v>
                </c:pt>
                <c:pt idx="22">
                  <c:v>0.5316446031773854</c:v>
                </c:pt>
                <c:pt idx="23">
                  <c:v>0.5227978952041383</c:v>
                </c:pt>
                <c:pt idx="24">
                  <c:v>0.5224186764877534</c:v>
                </c:pt>
                <c:pt idx="25">
                  <c:v>0.5296106064766845</c:v>
                </c:pt>
                <c:pt idx="26">
                  <c:v>0.5305806538675766</c:v>
                </c:pt>
                <c:pt idx="27">
                  <c:v>0.535071748303224</c:v>
                </c:pt>
                <c:pt idx="28">
                  <c:v>0.5282404022773433</c:v>
                </c:pt>
                <c:pt idx="29">
                  <c:v>0.5064429122427674</c:v>
                </c:pt>
                <c:pt idx="30">
                  <c:v>0.44703962808439357</c:v>
                </c:pt>
                <c:pt idx="31">
                  <c:v>0.48848486496662147</c:v>
                </c:pt>
                <c:pt idx="32">
                  <c:v>0.5192059499072621</c:v>
                </c:pt>
                <c:pt idx="33">
                  <c:v>0.5035989724832536</c:v>
                </c:pt>
                <c:pt idx="34">
                  <c:v>0.4538657878830704</c:v>
                </c:pt>
                <c:pt idx="35">
                  <c:v>0.4895453518382111</c:v>
                </c:pt>
                <c:pt idx="36">
                  <c:v>0.5112489102333704</c:v>
                </c:pt>
                <c:pt idx="37">
                  <c:v>0.5664826014619938</c:v>
                </c:pt>
                <c:pt idx="38">
                  <c:v>0.5834913908368131</c:v>
                </c:pt>
                <c:pt idx="39">
                  <c:v>0.5389068370084426</c:v>
                </c:pt>
                <c:pt idx="40">
                  <c:v>0.552989776926475</c:v>
                </c:pt>
                <c:pt idx="41">
                  <c:v>0.5467438058633998</c:v>
                </c:pt>
                <c:pt idx="42">
                  <c:v>0.48062036006865866</c:v>
                </c:pt>
                <c:pt idx="43">
                  <c:v>0.5442648338406474</c:v>
                </c:pt>
                <c:pt idx="44">
                  <c:v>0.5415731076205329</c:v>
                </c:pt>
                <c:pt idx="45">
                  <c:v>0.5011439403230388</c:v>
                </c:pt>
                <c:pt idx="46">
                  <c:v>0.5485073460165006</c:v>
                </c:pt>
                <c:pt idx="47">
                  <c:v>0.5790513264992129</c:v>
                </c:pt>
                <c:pt idx="48">
                  <c:v>0.5321665694540036</c:v>
                </c:pt>
                <c:pt idx="49">
                  <c:v>0.4980759228557634</c:v>
                </c:pt>
                <c:pt idx="50">
                  <c:v>0.48816388356946977</c:v>
                </c:pt>
                <c:pt idx="51">
                  <c:v>0.4814218773657962</c:v>
                </c:pt>
                <c:pt idx="52">
                  <c:v>0.7651840504924375</c:v>
                </c:pt>
                <c:pt idx="53">
                  <c:v>0.7579806088888628</c:v>
                </c:pt>
                <c:pt idx="54">
                  <c:v>0.2416808891553884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53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733333333333333"/>
          <c:min val="0.1367521367521367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c:f>
              <c:numCache>
                <c:formatCode>General</c:formatCode>
                <c:ptCount val="5"/>
                <c:pt idx="0">
                  <c:v>0.6130109840335183</c:v>
                </c:pt>
                <c:pt idx="1">
                  <c:v>0.6080095665843253</c:v>
                </c:pt>
                <c:pt idx="2">
                  <c:v>0.6001762847525012</c:v>
                </c:pt>
                <c:pt idx="3">
                  <c:v>0.26833532538955085</c:v>
                </c:pt>
                <c:pt idx="4">
                  <c:v>0.0</c:v>
                </c:pt>
              </c:numCache>
            </c:numRef>
          </c:xVal>
          <c:yVal>
            <c:numRef>
              <c:f>Sheet1!$B$2:$B$6</c:f>
              <c:numCache>
                <c:formatCode>General</c:formatCode>
                <c:ptCount val="5"/>
                <c:pt idx="0">
                  <c:v>0.3404255319148936</c:v>
                </c:pt>
                <c:pt idx="1">
                  <c:v>0.46875</c:v>
                </c:pt>
                <c:pt idx="2">
                  <c:v>0.43243243243243246</c:v>
                </c:pt>
                <c:pt idx="3">
                  <c:v>0.38235294117647056</c:v>
                </c:pt>
                <c:pt idx="4">
                  <c:v>0.9204545454545454</c:v>
                </c:pt>
              </c:numCache>
            </c:numRef>
          </c:yVal>
          <c:smooth val="0"/>
          <c:extLst>
            <c:ext xmlns:c16="http://schemas.microsoft.com/office/drawing/2014/chart" uri="{C3380CC4-5D6E-409C-BE32-E72D297353CC}">
              <c16:uniqueId val="{00000000-096C-4121-9522-6AB7243CCAAE}"/>
            </c:ext>
          </c:extLst>
        </c:ser>
        <c:ser>
          <c:idx val="1"/>
          <c:order val="1"/>
          <c:tx>
            <c:strRef>
              <c:f>Sheet1!$B$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A$59</c:f>
              <c:numCache>
                <c:formatCode>General</c:formatCode>
                <c:ptCount val="51"/>
                <c:pt idx="0">
                  <c:v>0.3309888173427774</c:v>
                </c:pt>
                <c:pt idx="1">
                  <c:v>0.5387177899433473</c:v>
                </c:pt>
                <c:pt idx="2">
                  <c:v>0.450639625260236</c:v>
                </c:pt>
                <c:pt idx="3">
                  <c:v>0.4201693421466792</c:v>
                </c:pt>
                <c:pt idx="4">
                  <c:v>0.5924055167472686</c:v>
                </c:pt>
                <c:pt idx="5">
                  <c:v>0.48030143565659483</c:v>
                </c:pt>
                <c:pt idx="6">
                  <c:v>0.48267375704260157</c:v>
                </c:pt>
                <c:pt idx="7">
                  <c:v>0.46222900365153885</c:v>
                </c:pt>
                <c:pt idx="8">
                  <c:v>0.45167817006464445</c:v>
                </c:pt>
                <c:pt idx="9">
                  <c:v>0.4100130516271937</c:v>
                </c:pt>
                <c:pt idx="10">
                  <c:v>0.30164671036659385</c:v>
                </c:pt>
                <c:pt idx="11">
                  <c:v>0.2468094732370859</c:v>
                </c:pt>
                <c:pt idx="12">
                  <c:v>0.26411104409596564</c:v>
                </c:pt>
                <c:pt idx="13">
                  <c:v>0.31280957098224493</c:v>
                </c:pt>
                <c:pt idx="14">
                  <c:v>0.28717440928090077</c:v>
                </c:pt>
                <c:pt idx="15">
                  <c:v>0.3904032453091982</c:v>
                </c:pt>
                <c:pt idx="16">
                  <c:v>0.3344274969672463</c:v>
                </c:pt>
                <c:pt idx="17">
                  <c:v>0.36991099432415386</c:v>
                </c:pt>
                <c:pt idx="18">
                  <c:v>0.47293160876238133</c:v>
                </c:pt>
                <c:pt idx="19">
                  <c:v>0.4222885041951972</c:v>
                </c:pt>
                <c:pt idx="20">
                  <c:v>0.5102918433179724</c:v>
                </c:pt>
                <c:pt idx="21">
                  <c:v>0.5417007080610022</c:v>
                </c:pt>
                <c:pt idx="22">
                  <c:v>0.31325265973254085</c:v>
                </c:pt>
                <c:pt idx="23">
                  <c:v>0.44052659884932877</c:v>
                </c:pt>
                <c:pt idx="24">
                  <c:v>0.3865989263803681</c:v>
                </c:pt>
                <c:pt idx="25">
                  <c:v>0.45945290677674583</c:v>
                </c:pt>
                <c:pt idx="26">
                  <c:v>0.49018893036839756</c:v>
                </c:pt>
                <c:pt idx="27">
                  <c:v>0.6812984564511487</c:v>
                </c:pt>
                <c:pt idx="28">
                  <c:v>0.8004724914158261</c:v>
                </c:pt>
                <c:pt idx="29">
                  <c:v>0.9293025328678601</c:v>
                </c:pt>
                <c:pt idx="30">
                  <c:v>1.3346237119323252</c:v>
                </c:pt>
                <c:pt idx="31">
                  <c:v>0.6238525225642212</c:v>
                </c:pt>
                <c:pt idx="32">
                  <c:v>0.5635057801059586</c:v>
                </c:pt>
                <c:pt idx="33">
                  <c:v>0.6805350081403854</c:v>
                </c:pt>
                <c:pt idx="34">
                  <c:v>0.56475997989452</c:v>
                </c:pt>
                <c:pt idx="35">
                  <c:v>0.43378313083637005</c:v>
                </c:pt>
                <c:pt idx="36">
                  <c:v>0.34561133957113777</c:v>
                </c:pt>
                <c:pt idx="37">
                  <c:v>0.21737789748337683</c:v>
                </c:pt>
                <c:pt idx="38">
                  <c:v>0.4686284935579782</c:v>
                </c:pt>
                <c:pt idx="39">
                  <c:v>0.37443611140018973</c:v>
                </c:pt>
                <c:pt idx="40">
                  <c:v>0.4035040668775418</c:v>
                </c:pt>
                <c:pt idx="41">
                  <c:v>0.6451622251911464</c:v>
                </c:pt>
                <c:pt idx="42">
                  <c:v>0.3969069895552101</c:v>
                </c:pt>
                <c:pt idx="43">
                  <c:v>0.44573770972253524</c:v>
                </c:pt>
                <c:pt idx="44">
                  <c:v>0.5658425297113752</c:v>
                </c:pt>
                <c:pt idx="45">
                  <c:v>0.39559411830732966</c:v>
                </c:pt>
                <c:pt idx="46">
                  <c:v>0.28635840187421346</c:v>
                </c:pt>
                <c:pt idx="47">
                  <c:v>0.4862590660538574</c:v>
                </c:pt>
                <c:pt idx="48">
                  <c:v>0.6064389068322982</c:v>
                </c:pt>
                <c:pt idx="49">
                  <c:v>0.6237402570265758</c:v>
                </c:pt>
                <c:pt idx="50">
                  <c:v>0.5790773643326633</c:v>
                </c:pt>
              </c:numCache>
            </c:numRef>
          </c:xVal>
          <c:yVal>
            <c:numRef>
              <c:f>Sheet1!$B$9:$B$59</c:f>
              <c:numCache>
                <c:formatCode>General</c:formatCode>
                <c:ptCount val="51"/>
                <c:pt idx="0">
                  <c:v>0.3170731707317073</c:v>
                </c:pt>
                <c:pt idx="1">
                  <c:v>0.7439024390243902</c:v>
                </c:pt>
                <c:pt idx="2">
                  <c:v>0.8692307692307693</c:v>
                </c:pt>
                <c:pt idx="3">
                  <c:v>0.831081081081081</c:v>
                </c:pt>
                <c:pt idx="4">
                  <c:v>0.8264462809917356</c:v>
                </c:pt>
                <c:pt idx="5">
                  <c:v>0.7981651376146789</c:v>
                </c:pt>
                <c:pt idx="6">
                  <c:v>0.8636363636363636</c:v>
                </c:pt>
                <c:pt idx="7">
                  <c:v>0.7166666666666667</c:v>
                </c:pt>
                <c:pt idx="8">
                  <c:v>0.7222222222222222</c:v>
                </c:pt>
                <c:pt idx="9">
                  <c:v>0.7407407407407407</c:v>
                </c:pt>
                <c:pt idx="10">
                  <c:v>0.7909090909090909</c:v>
                </c:pt>
                <c:pt idx="11">
                  <c:v>0.8114754098360656</c:v>
                </c:pt>
                <c:pt idx="12">
                  <c:v>0.8244274809160306</c:v>
                </c:pt>
                <c:pt idx="13">
                  <c:v>0.8383838383838383</c:v>
                </c:pt>
                <c:pt idx="14">
                  <c:v>0.8048780487804879</c:v>
                </c:pt>
                <c:pt idx="15">
                  <c:v>0.7654320987654321</c:v>
                </c:pt>
                <c:pt idx="16">
                  <c:v>0.8947368421052632</c:v>
                </c:pt>
                <c:pt idx="17">
                  <c:v>0.7346938775510204</c:v>
                </c:pt>
                <c:pt idx="18">
                  <c:v>0.7049180327868853</c:v>
                </c:pt>
                <c:pt idx="19">
                  <c:v>0.7209302325581395</c:v>
                </c:pt>
                <c:pt idx="20">
                  <c:v>0.5</c:v>
                </c:pt>
                <c:pt idx="21">
                  <c:v>0.5517241379310345</c:v>
                </c:pt>
                <c:pt idx="22">
                  <c:v>0.5833333333333334</c:v>
                </c:pt>
                <c:pt idx="23">
                  <c:v>0.6071428571428571</c:v>
                </c:pt>
                <c:pt idx="24">
                  <c:v>0.64</c:v>
                </c:pt>
                <c:pt idx="25">
                  <c:v>0.42857142857142855</c:v>
                </c:pt>
                <c:pt idx="26">
                  <c:v>0.3783783783783784</c:v>
                </c:pt>
                <c:pt idx="27">
                  <c:v>0.3695652173913043</c:v>
                </c:pt>
                <c:pt idx="28">
                  <c:v>0.3611111111111111</c:v>
                </c:pt>
                <c:pt idx="29">
                  <c:v>0.23255813953488372</c:v>
                </c:pt>
                <c:pt idx="30">
                  <c:v>0.2</c:v>
                </c:pt>
                <c:pt idx="31">
                  <c:v>0.39473684210526316</c:v>
                </c:pt>
                <c:pt idx="32">
                  <c:v>0.47058823529411764</c:v>
                </c:pt>
                <c:pt idx="33">
                  <c:v>0.3111111111111111</c:v>
                </c:pt>
                <c:pt idx="34">
                  <c:v>0.26506024096385544</c:v>
                </c:pt>
                <c:pt idx="35">
                  <c:v>0.3137254901960784</c:v>
                </c:pt>
                <c:pt idx="36">
                  <c:v>0.5</c:v>
                </c:pt>
                <c:pt idx="37">
                  <c:v>0.4909090909090909</c:v>
                </c:pt>
                <c:pt idx="38">
                  <c:v>0.3291139240506329</c:v>
                </c:pt>
                <c:pt idx="39">
                  <c:v>0.19402985074626866</c:v>
                </c:pt>
                <c:pt idx="40">
                  <c:v>0.2682926829268293</c:v>
                </c:pt>
                <c:pt idx="41">
                  <c:v>0.18309859154929578</c:v>
                </c:pt>
                <c:pt idx="42">
                  <c:v>0.25</c:v>
                </c:pt>
                <c:pt idx="43">
                  <c:v>0.17094017094017094</c:v>
                </c:pt>
                <c:pt idx="44">
                  <c:v>0.1839080459770115</c:v>
                </c:pt>
                <c:pt idx="45">
                  <c:v>0.2804878048780488</c:v>
                </c:pt>
                <c:pt idx="46">
                  <c:v>0.27848101265822783</c:v>
                </c:pt>
                <c:pt idx="47">
                  <c:v>0.2898550724637681</c:v>
                </c:pt>
                <c:pt idx="48">
                  <c:v>0.2696629213483146</c:v>
                </c:pt>
                <c:pt idx="49">
                  <c:v>0.23148148148148148</c:v>
                </c:pt>
                <c:pt idx="50">
                  <c:v>0.2125</c:v>
                </c:pt>
              </c:numCache>
            </c:numRef>
          </c:yVal>
          <c:smooth val="0"/>
          <c:extLst>
            <c:ext xmlns:c16="http://schemas.microsoft.com/office/drawing/2014/chart" uri="{C3380CC4-5D6E-409C-BE32-E72D297353CC}">
              <c16:uniqueId val="{00000002-096C-4121-9522-6AB7243CCAAE}"/>
            </c:ext>
          </c:extLst>
        </c:ser>
        <c:ser>
          <c:idx val="2"/>
          <c:order val="2"/>
          <c:tx>
            <c:strRef>
              <c:f>Sheet1!$B$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62:$A$63</c:f>
              <c:numCache>
                <c:formatCode>General</c:formatCode>
                <c:ptCount val="2"/>
                <c:pt idx="0">
                  <c:v>0</c:v>
                </c:pt>
                <c:pt idx="1">
                  <c:v>0.048828446706219976</c:v>
                </c:pt>
              </c:numCache>
            </c:numRef>
          </c:xVal>
          <c:yVal>
            <c:numRef>
              <c:f>Sheet1!$B$62:$B$63</c:f>
              <c:numCache>
                <c:formatCode>General</c:formatCode>
                <c:ptCount val="2"/>
                <c:pt idx="0">
                  <c:v>0.7579806088888628</c:v>
                </c:pt>
                <c:pt idx="1">
                  <c:v>0.7579806088888628</c:v>
                </c:pt>
              </c:numCache>
            </c:numRef>
          </c:yVal>
          <c:smooth val="0"/>
          <c:extLst>
            <c:ext xmlns:c16="http://schemas.microsoft.com/office/drawing/2014/chart" uri="{C3380CC4-5D6E-409C-BE32-E72D297353CC}">
              <c16:uniqueId val="{00000005-096C-4121-9522-6AB7243CCAAE}"/>
            </c:ext>
          </c:extLst>
        </c:ser>
        <c:ser>
          <c:idx val="3"/>
          <c:order val="3"/>
          <c:tx>
            <c:strRef>
              <c:f>Sheet1!$B$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6:$A$67</c:f>
              <c:numCache>
                <c:formatCode>General</c:formatCode>
                <c:ptCount val="2"/>
                <c:pt idx="0">
                  <c:v>0.048828446706219976</c:v>
                </c:pt>
                <c:pt idx="1">
                  <c:v>0.048828446706219976</c:v>
                </c:pt>
              </c:numCache>
            </c:numRef>
          </c:xVal>
          <c:yVal>
            <c:numRef>
              <c:f>Sheet1!$B$66:$B$67</c:f>
              <c:numCache>
                <c:formatCode>General</c:formatCode>
                <c:ptCount val="2"/>
                <c:pt idx="0">
                  <c:v>0.757980608888862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70:$A$71</c:f>
              <c:numCache>
                <c:formatCode>General</c:formatCode>
                <c:ptCount val="2"/>
                <c:pt idx="0">
                  <c:v>0</c:v>
                </c:pt>
                <c:pt idx="1">
                  <c:v>0.036175139850083506</c:v>
                </c:pt>
              </c:numCache>
            </c:numRef>
          </c:xVal>
          <c:yVal>
            <c:numRef>
              <c:f>Sheet1!$B$70:$B$71</c:f>
              <c:numCache>
                <c:formatCode>General</c:formatCode>
                <c:ptCount val="2"/>
                <c:pt idx="0">
                  <c:v>0.7651840504924375</c:v>
                </c:pt>
                <c:pt idx="1">
                  <c:v>0.7651840504924375</c:v>
                </c:pt>
              </c:numCache>
            </c:numRef>
          </c:yVal>
          <c:smooth val="0"/>
          <c:extLst>
            <c:ext xmlns:c16="http://schemas.microsoft.com/office/drawing/2014/chart" uri="{C3380CC4-5D6E-409C-BE32-E72D297353CC}">
              <c16:uniqueId val="{0000000D-096C-4121-9522-6AB7243CCAAE}"/>
            </c:ext>
          </c:extLst>
        </c:ser>
        <c:ser>
          <c:idx val="5"/>
          <c:order val="5"/>
          <c:tx>
            <c:strRef>
              <c:f>Sheet1!$B$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4:$A$75</c:f>
              <c:numCache>
                <c:formatCode>General</c:formatCode>
                <c:ptCount val="2"/>
                <c:pt idx="0">
                  <c:v>0.036175139850083506</c:v>
                </c:pt>
                <c:pt idx="1">
                  <c:v>0.036175139850083506</c:v>
                </c:pt>
              </c:numCache>
            </c:numRef>
          </c:xVal>
          <c:yVal>
            <c:numRef>
              <c:f>Sheet1!$B$74:$B$75</c:f>
              <c:numCache>
                <c:formatCode>General</c:formatCode>
                <c:ptCount val="2"/>
                <c:pt idx="0">
                  <c:v>0.765184050492437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78:$A$79</c:f>
              <c:numCache>
                <c:formatCode>General</c:formatCode>
                <c:ptCount val="2"/>
                <c:pt idx="0">
                  <c:v>0</c:v>
                </c:pt>
                <c:pt idx="1">
                  <c:v>0.9557419948472772</c:v>
                </c:pt>
              </c:numCache>
            </c:numRef>
          </c:xVal>
          <c:yVal>
            <c:numRef>
              <c:f>Sheet1!$B$78:$B$79</c:f>
              <c:numCache>
                <c:formatCode>General</c:formatCode>
                <c:ptCount val="2"/>
                <c:pt idx="0">
                  <c:v>0.24168088915538843</c:v>
                </c:pt>
                <c:pt idx="1">
                  <c:v>0.24168088915538843</c:v>
                </c:pt>
              </c:numCache>
            </c:numRef>
          </c:yVal>
          <c:smooth val="0"/>
          <c:extLst>
            <c:ext xmlns:c16="http://schemas.microsoft.com/office/drawing/2014/chart" uri="{C3380CC4-5D6E-409C-BE32-E72D297353CC}">
              <c16:uniqueId val="{00000015-096C-4121-9522-6AB7243CCAAE}"/>
            </c:ext>
          </c:extLst>
        </c:ser>
        <c:ser>
          <c:idx val="7"/>
          <c:order val="7"/>
          <c:tx>
            <c:strRef>
              <c:f>Sheet1!$B$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2:$A$83</c:f>
              <c:numCache>
                <c:formatCode>General</c:formatCode>
                <c:ptCount val="2"/>
                <c:pt idx="0">
                  <c:v>0.9557419948472772</c:v>
                </c:pt>
                <c:pt idx="1">
                  <c:v>0.9557419948472772</c:v>
                </c:pt>
              </c:numCache>
            </c:numRef>
          </c:xVal>
          <c:yVal>
            <c:numRef>
              <c:f>Sheet1!$B$82:$B$83</c:f>
              <c:numCache>
                <c:formatCode>General</c:formatCode>
                <c:ptCount val="2"/>
                <c:pt idx="0">
                  <c:v>0.2416808891553884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86:$A$139</c:f>
              <c:numCache>
                <c:formatCode>General</c:formatCode>
                <c:ptCount val="54"/>
                <c:pt idx="0">
                  <c:v>0.3309888173427774</c:v>
                </c:pt>
                <c:pt idx="1">
                  <c:v>0.5387177899433473</c:v>
                </c:pt>
                <c:pt idx="2">
                  <c:v>0.450639625260236</c:v>
                </c:pt>
                <c:pt idx="3">
                  <c:v>0.4201693421466792</c:v>
                </c:pt>
                <c:pt idx="4">
                  <c:v>0.5924055167472686</c:v>
                </c:pt>
                <c:pt idx="5">
                  <c:v>0.48030143565659483</c:v>
                </c:pt>
                <c:pt idx="6">
                  <c:v>0.48267375704260157</c:v>
                </c:pt>
                <c:pt idx="7">
                  <c:v>0.46222900365153885</c:v>
                </c:pt>
                <c:pt idx="8">
                  <c:v>0.45167817006464445</c:v>
                </c:pt>
                <c:pt idx="9">
                  <c:v>0.4100130516271937</c:v>
                </c:pt>
                <c:pt idx="10">
                  <c:v>0.30164671036659385</c:v>
                </c:pt>
                <c:pt idx="11">
                  <c:v>0.2468094732370859</c:v>
                </c:pt>
                <c:pt idx="12">
                  <c:v>0.26411104409596564</c:v>
                </c:pt>
                <c:pt idx="13">
                  <c:v>0.31280957098224493</c:v>
                </c:pt>
                <c:pt idx="14">
                  <c:v>0.28717440928090077</c:v>
                </c:pt>
                <c:pt idx="15">
                  <c:v>0.3904032453091982</c:v>
                </c:pt>
                <c:pt idx="16">
                  <c:v>0.3344274969672463</c:v>
                </c:pt>
                <c:pt idx="17">
                  <c:v>0.36991099432415386</c:v>
                </c:pt>
                <c:pt idx="18">
                  <c:v>0.47293160876238133</c:v>
                </c:pt>
                <c:pt idx="19">
                  <c:v>0.4222885041951972</c:v>
                </c:pt>
                <c:pt idx="20">
                  <c:v>0.5102918433179724</c:v>
                </c:pt>
                <c:pt idx="21">
                  <c:v>0.5417007080610022</c:v>
                </c:pt>
                <c:pt idx="22">
                  <c:v>0.31325265973254085</c:v>
                </c:pt>
                <c:pt idx="23">
                  <c:v>0.44052659884932877</c:v>
                </c:pt>
                <c:pt idx="24">
                  <c:v>0.3865989263803681</c:v>
                </c:pt>
                <c:pt idx="25">
                  <c:v>0.45945290677674583</c:v>
                </c:pt>
                <c:pt idx="26">
                  <c:v>0.49018893036839756</c:v>
                </c:pt>
                <c:pt idx="27">
                  <c:v>0.6812984564511487</c:v>
                </c:pt>
                <c:pt idx="28">
                  <c:v>0.8004724914158261</c:v>
                </c:pt>
                <c:pt idx="29">
                  <c:v>0.9293025328678601</c:v>
                </c:pt>
                <c:pt idx="30">
                  <c:v>1.3346237119323252</c:v>
                </c:pt>
                <c:pt idx="31">
                  <c:v>0.6238525225642212</c:v>
                </c:pt>
                <c:pt idx="32">
                  <c:v>0.5635057801059586</c:v>
                </c:pt>
                <c:pt idx="33">
                  <c:v>0.6805350081403854</c:v>
                </c:pt>
                <c:pt idx="34">
                  <c:v>0.56475997989452</c:v>
                </c:pt>
                <c:pt idx="35">
                  <c:v>0.43378313083637005</c:v>
                </c:pt>
                <c:pt idx="36">
                  <c:v>0.34561133957113777</c:v>
                </c:pt>
                <c:pt idx="37">
                  <c:v>0.21737789748337683</c:v>
                </c:pt>
                <c:pt idx="38">
                  <c:v>0.4686284935579782</c:v>
                </c:pt>
                <c:pt idx="39">
                  <c:v>0.37443611140018973</c:v>
                </c:pt>
                <c:pt idx="40">
                  <c:v>0.4035040668775418</c:v>
                </c:pt>
                <c:pt idx="41">
                  <c:v>0.6451622251911464</c:v>
                </c:pt>
                <c:pt idx="42">
                  <c:v>0.3969069895552101</c:v>
                </c:pt>
                <c:pt idx="43">
                  <c:v>0.44573770972253524</c:v>
                </c:pt>
                <c:pt idx="44">
                  <c:v>0.5658425297113752</c:v>
                </c:pt>
                <c:pt idx="45">
                  <c:v>0.39559411830732966</c:v>
                </c:pt>
                <c:pt idx="46">
                  <c:v>0.28635840187421346</c:v>
                </c:pt>
                <c:pt idx="47">
                  <c:v>0.4862590660538574</c:v>
                </c:pt>
                <c:pt idx="48">
                  <c:v>0.6064389068322982</c:v>
                </c:pt>
                <c:pt idx="49">
                  <c:v>0.6237402570265758</c:v>
                </c:pt>
                <c:pt idx="50">
                  <c:v>0.5790773643326633</c:v>
                </c:pt>
                <c:pt idx="51">
                  <c:v>0.036175139850083506</c:v>
                </c:pt>
                <c:pt idx="52">
                  <c:v>0.048828446706219976</c:v>
                </c:pt>
                <c:pt idx="53">
                  <c:v>0.9557419948472772</c:v>
                </c:pt>
              </c:numCache>
            </c:numRef>
          </c:xVal>
          <c:yVal>
            <c:numRef>
              <c:f>Sheet1!$B$86:$B$139</c:f>
              <c:numCache>
                <c:formatCode>General</c:formatCode>
                <c:ptCount val="54"/>
                <c:pt idx="0">
                  <c:v>0.5973486273971831</c:v>
                </c:pt>
                <c:pt idx="1">
                  <c:v>0.47908993498484354</c:v>
                </c:pt>
                <c:pt idx="2">
                  <c:v>0.5292322355753913</c:v>
                </c:pt>
                <c:pt idx="3">
                  <c:v>0.5465787606813126</c:v>
                </c:pt>
                <c:pt idx="4">
                  <c:v>0.44852587696761714</c:v>
                </c:pt>
                <c:pt idx="5">
                  <c:v>0.512345968493134</c:v>
                </c:pt>
                <c:pt idx="6">
                  <c:v>0.5109954220499547</c:v>
                </c:pt>
                <c:pt idx="7">
                  <c:v>0.5226344812165777</c:v>
                </c:pt>
                <c:pt idx="8">
                  <c:v>0.5286409990760075</c:v>
                </c:pt>
                <c:pt idx="9">
                  <c:v>0.5523606678537111</c:v>
                </c:pt>
                <c:pt idx="10">
                  <c:v>0.6140528894949822</c:v>
                </c:pt>
                <c:pt idx="11">
                  <c:v>0.6452713559286973</c:v>
                </c:pt>
                <c:pt idx="12">
                  <c:v>0.6354216892171365</c:v>
                </c:pt>
                <c:pt idx="13">
                  <c:v>0.6076979488073081</c:v>
                </c:pt>
                <c:pt idx="14">
                  <c:v>0.6222918721518822</c:v>
                </c:pt>
                <c:pt idx="15">
                  <c:v>0.5635243973257886</c:v>
                </c:pt>
                <c:pt idx="16">
                  <c:v>0.5953910104556284</c:v>
                </c:pt>
                <c:pt idx="17">
                  <c:v>0.5751904965498801</c:v>
                </c:pt>
                <c:pt idx="18">
                  <c:v>0.5165415608599765</c:v>
                </c:pt>
                <c:pt idx="19">
                  <c:v>0.5453723361285399</c:v>
                </c:pt>
                <c:pt idx="20">
                  <c:v>0.49527263322099013</c:v>
                </c:pt>
                <c:pt idx="21">
                  <c:v>0.47739177997184373</c:v>
                </c:pt>
                <c:pt idx="22">
                  <c:v>0.607445701392917</c:v>
                </c:pt>
                <c:pt idx="23">
                  <c:v>0.5349895127847915</c:v>
                </c:pt>
                <c:pt idx="24">
                  <c:v>0.5656901702384967</c:v>
                </c:pt>
                <c:pt idx="25">
                  <c:v>0.5242148943015366</c:v>
                </c:pt>
                <c:pt idx="26">
                  <c:v>0.5067170849473608</c:v>
                </c:pt>
                <c:pt idx="27">
                  <c:v>0.3979197304948118</c:v>
                </c:pt>
                <c:pt idx="28">
                  <c:v>0.3300747622749742</c:v>
                </c:pt>
                <c:pt idx="29">
                  <c:v>0.2567326951823877</c:v>
                </c:pt>
                <c:pt idx="30">
                  <c:v>0.02598610243165711</c:v>
                </c:pt>
                <c:pt idx="31">
                  <c:v>0.43062331026428646</c:v>
                </c:pt>
                <c:pt idx="32">
                  <c:v>0.46497830064004286</c:v>
                </c:pt>
                <c:pt idx="33">
                  <c:v>0.3983543564298704</c:v>
                </c:pt>
                <c:pt idx="34">
                  <c:v>0.4642642932237337</c:v>
                </c:pt>
                <c:pt idx="35">
                  <c:v>0.5388285232971591</c:v>
                </c:pt>
                <c:pt idx="36">
                  <c:v>0.5890241248646388</c:v>
                </c:pt>
                <c:pt idx="37">
                  <c:v>0.6620265519935278</c:v>
                </c:pt>
                <c:pt idx="38">
                  <c:v>0.5189912951026374</c:v>
                </c:pt>
                <c:pt idx="39">
                  <c:v>0.5726143781503841</c:v>
                </c:pt>
                <c:pt idx="40">
                  <c:v>0.5560661886377848</c:v>
                </c:pt>
                <c:pt idx="41">
                  <c:v>0.41849184137572826</c:v>
                </c:pt>
                <c:pt idx="42">
                  <c:v>0.5598218599248237</c:v>
                </c:pt>
                <c:pt idx="43">
                  <c:v>0.532022862778458</c:v>
                </c:pt>
                <c:pt idx="44">
                  <c:v>0.4636480049698141</c:v>
                </c:pt>
                <c:pt idx="45">
                  <c:v>0.5605692686042024</c:v>
                </c:pt>
                <c:pt idx="46">
                  <c:v>0.622756419623068</c:v>
                </c:pt>
                <c:pt idx="47">
                  <c:v>0.5089543299949695</c:v>
                </c:pt>
                <c:pt idx="48">
                  <c:v>0.44053676336063374</c:v>
                </c:pt>
                <c:pt idx="49">
                  <c:v>0.4306872222719314</c:v>
                </c:pt>
                <c:pt idx="50">
                  <c:v>0.45611350356149777</c:v>
                </c:pt>
                <c:pt idx="51">
                  <c:v>0.7651840504924375</c:v>
                </c:pt>
                <c:pt idx="52">
                  <c:v>0.7579806088888628</c:v>
                </c:pt>
                <c:pt idx="53">
                  <c:v>0.241680889155388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cean Poti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045454545454545"/>
          <c:min val="0.1367521367521367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c:f>
              <c:numCache>
                <c:formatCode>General</c:formatCode>
                <c:ptCount val="4"/>
                <c:pt idx="0">
                  <c:v>1353.375</c:v>
                </c:pt>
                <c:pt idx="1">
                  <c:v>1353.7333</c:v>
                </c:pt>
                <c:pt idx="2">
                  <c:v>1489.4375</c:v>
                </c:pt>
                <c:pt idx="3">
                  <c:v>1463.7692</c:v>
                </c:pt>
              </c:numCache>
            </c:numRef>
          </c:xVal>
          <c:yVal>
            <c:numRef>
              <c:f>Sheet1!$B$2:$B$5</c:f>
              <c:numCache>
                <c:formatCode>General</c:formatCode>
                <c:ptCount val="4"/>
                <c:pt idx="0">
                  <c:v>0.3404255319148936</c:v>
                </c:pt>
                <c:pt idx="1">
                  <c:v>0.46875</c:v>
                </c:pt>
                <c:pt idx="2">
                  <c:v>0.43243243243243246</c:v>
                </c:pt>
                <c:pt idx="3">
                  <c:v>0.38235294117647056</c:v>
                </c:pt>
              </c:numCache>
            </c:numRef>
          </c:yVal>
          <c:smooth val="0"/>
          <c:extLst>
            <c:ext xmlns:c16="http://schemas.microsoft.com/office/drawing/2014/chart" uri="{C3380CC4-5D6E-409C-BE32-E72D297353CC}">
              <c16:uniqueId val="{00000000-F32D-48B7-BC20-E66FC6253BAD}"/>
            </c:ext>
          </c:extLst>
        </c:ser>
        <c:ser>
          <c:idx val="1"/>
          <c:order val="1"/>
          <c:tx>
            <c:strRef>
              <c:f>Sheet1!$B$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A$59</c:f>
              <c:numCache>
                <c:formatCode>General</c:formatCode>
                <c:ptCount val="52"/>
                <c:pt idx="0">
                  <c:v>1542.0769</c:v>
                </c:pt>
                <c:pt idx="1">
                  <c:v>1336.918</c:v>
                </c:pt>
                <c:pt idx="2">
                  <c:v>1298.7434</c:v>
                </c:pt>
                <c:pt idx="3">
                  <c:v>1334.878</c:v>
                </c:pt>
                <c:pt idx="4">
                  <c:v>1322.96</c:v>
                </c:pt>
                <c:pt idx="5">
                  <c:v>1343.5632</c:v>
                </c:pt>
                <c:pt idx="6">
                  <c:v>1220.8026</c:v>
                </c:pt>
                <c:pt idx="7">
                  <c:v>1088.3951</c:v>
                </c:pt>
                <c:pt idx="8">
                  <c:v>1329.1395</c:v>
                </c:pt>
                <c:pt idx="9">
                  <c:v>1362.4872</c:v>
                </c:pt>
                <c:pt idx="10">
                  <c:v>1203.1833</c:v>
                </c:pt>
                <c:pt idx="11">
                  <c:v>931.8621</c:v>
                </c:pt>
                <c:pt idx="12">
                  <c:v>861.2828</c:v>
                </c:pt>
                <c:pt idx="13">
                  <c:v>788.213</c:v>
                </c:pt>
                <c:pt idx="14">
                  <c:v>821.0</c:v>
                </c:pt>
                <c:pt idx="15">
                  <c:v>841.6364</c:v>
                </c:pt>
                <c:pt idx="16">
                  <c:v>849.629</c:v>
                </c:pt>
                <c:pt idx="17">
                  <c:v>827.0392</c:v>
                </c:pt>
                <c:pt idx="18">
                  <c:v>879.8333</c:v>
                </c:pt>
                <c:pt idx="19">
                  <c:v>859.0465</c:v>
                </c:pt>
                <c:pt idx="20">
                  <c:v>875.7419</c:v>
                </c:pt>
                <c:pt idx="21">
                  <c:v>1107.3333</c:v>
                </c:pt>
                <c:pt idx="22">
                  <c:v>994.5625</c:v>
                </c:pt>
                <c:pt idx="23">
                  <c:v>1054.0952</c:v>
                </c:pt>
                <c:pt idx="24">
                  <c:v>1056.6471</c:v>
                </c:pt>
                <c:pt idx="25">
                  <c:v>1008.25</c:v>
                </c:pt>
                <c:pt idx="26">
                  <c:v>1001.7222</c:v>
                </c:pt>
                <c:pt idx="27">
                  <c:v>971.5</c:v>
                </c:pt>
                <c:pt idx="28">
                  <c:v>1017.4706</c:v>
                </c:pt>
                <c:pt idx="29">
                  <c:v>1164.1538</c:v>
                </c:pt>
                <c:pt idx="30">
                  <c:v>1563.9</c:v>
                </c:pt>
                <c:pt idx="31">
                  <c:v>1285.0</c:v>
                </c:pt>
                <c:pt idx="32">
                  <c:v>1078.2667</c:v>
                </c:pt>
                <c:pt idx="33">
                  <c:v>1183.2917</c:v>
                </c:pt>
                <c:pt idx="34">
                  <c:v>1517.9643</c:v>
                </c:pt>
                <c:pt idx="35">
                  <c:v>1277.8636</c:v>
                </c:pt>
                <c:pt idx="36">
                  <c:v>1131.8125</c:v>
                </c:pt>
                <c:pt idx="37">
                  <c:v>760.125</c:v>
                </c:pt>
                <c:pt idx="38">
                  <c:v>645.6667</c:v>
                </c:pt>
                <c:pt idx="39">
                  <c:v>945.6923</c:v>
                </c:pt>
                <c:pt idx="40">
                  <c:v>850.9231</c:v>
                </c:pt>
                <c:pt idx="41">
                  <c:v>892.9545</c:v>
                </c:pt>
                <c:pt idx="42">
                  <c:v>1337.9231</c:v>
                </c:pt>
                <c:pt idx="43">
                  <c:v>909.6364</c:v>
                </c:pt>
                <c:pt idx="44">
                  <c:v>927.75</c:v>
                </c:pt>
                <c:pt idx="45">
                  <c:v>1199.8125</c:v>
                </c:pt>
                <c:pt idx="46">
                  <c:v>881.087</c:v>
                </c:pt>
                <c:pt idx="47">
                  <c:v>675.5455</c:v>
                </c:pt>
                <c:pt idx="48">
                  <c:v>991.05</c:v>
                </c:pt>
                <c:pt idx="49">
                  <c:v>1220.4583</c:v>
                </c:pt>
                <c:pt idx="50">
                  <c:v>1287.16</c:v>
                </c:pt>
                <c:pt idx="51">
                  <c:v>1332.5294</c:v>
                </c:pt>
              </c:numCache>
            </c:numRef>
          </c:xVal>
          <c:yVal>
            <c:numRef>
              <c:f>Sheet1!$B$8:$B$59</c:f>
              <c:numCache>
                <c:formatCode>General</c:formatCode>
                <c:ptCount val="52"/>
                <c:pt idx="0">
                  <c:v>0.3170731707317073</c:v>
                </c:pt>
                <c:pt idx="1">
                  <c:v>0.7439024390243902</c:v>
                </c:pt>
                <c:pt idx="2">
                  <c:v>0.8692307692307693</c:v>
                </c:pt>
                <c:pt idx="3">
                  <c:v>0.831081081081081</c:v>
                </c:pt>
                <c:pt idx="4">
                  <c:v>0.8264462809917356</c:v>
                </c:pt>
                <c:pt idx="5">
                  <c:v>0.7981651376146789</c:v>
                </c:pt>
                <c:pt idx="6">
                  <c:v>0.8636363636363636</c:v>
                </c:pt>
                <c:pt idx="7">
                  <c:v>0.9204545454545454</c:v>
                </c:pt>
                <c:pt idx="8">
                  <c:v>0.7166666666666667</c:v>
                </c:pt>
                <c:pt idx="9">
                  <c:v>0.7222222222222222</c:v>
                </c:pt>
                <c:pt idx="10">
                  <c:v>0.7407407407407407</c:v>
                </c:pt>
                <c:pt idx="11">
                  <c:v>0.7909090909090909</c:v>
                </c:pt>
                <c:pt idx="12">
                  <c:v>0.8114754098360656</c:v>
                </c:pt>
                <c:pt idx="13">
                  <c:v>0.8244274809160306</c:v>
                </c:pt>
                <c:pt idx="14">
                  <c:v>0.8383838383838383</c:v>
                </c:pt>
                <c:pt idx="15">
                  <c:v>0.8048780487804879</c:v>
                </c:pt>
                <c:pt idx="16">
                  <c:v>0.7654320987654321</c:v>
                </c:pt>
                <c:pt idx="17">
                  <c:v>0.8947368421052632</c:v>
                </c:pt>
                <c:pt idx="18">
                  <c:v>0.7346938775510204</c:v>
                </c:pt>
                <c:pt idx="19">
                  <c:v>0.7049180327868853</c:v>
                </c:pt>
                <c:pt idx="20">
                  <c:v>0.7209302325581395</c:v>
                </c:pt>
                <c:pt idx="21">
                  <c:v>0.5</c:v>
                </c:pt>
                <c:pt idx="22">
                  <c:v>0.5517241379310345</c:v>
                </c:pt>
                <c:pt idx="23">
                  <c:v>0.5833333333333334</c:v>
                </c:pt>
                <c:pt idx="24">
                  <c:v>0.6071428571428571</c:v>
                </c:pt>
                <c:pt idx="25">
                  <c:v>0.64</c:v>
                </c:pt>
                <c:pt idx="26">
                  <c:v>0.42857142857142855</c:v>
                </c:pt>
                <c:pt idx="27">
                  <c:v>0.3783783783783784</c:v>
                </c:pt>
                <c:pt idx="28">
                  <c:v>0.3695652173913043</c:v>
                </c:pt>
                <c:pt idx="29">
                  <c:v>0.3611111111111111</c:v>
                </c:pt>
                <c:pt idx="30">
                  <c:v>0.23255813953488372</c:v>
                </c:pt>
                <c:pt idx="31">
                  <c:v>0.2</c:v>
                </c:pt>
                <c:pt idx="32">
                  <c:v>0.39473684210526316</c:v>
                </c:pt>
                <c:pt idx="33">
                  <c:v>0.47058823529411764</c:v>
                </c:pt>
                <c:pt idx="34">
                  <c:v>0.3111111111111111</c:v>
                </c:pt>
                <c:pt idx="35">
                  <c:v>0.26506024096385544</c:v>
                </c:pt>
                <c:pt idx="36">
                  <c:v>0.3137254901960784</c:v>
                </c:pt>
                <c:pt idx="37">
                  <c:v>0.5</c:v>
                </c:pt>
                <c:pt idx="38">
                  <c:v>0.4909090909090909</c:v>
                </c:pt>
                <c:pt idx="39">
                  <c:v>0.3291139240506329</c:v>
                </c:pt>
                <c:pt idx="40">
                  <c:v>0.19402985074626866</c:v>
                </c:pt>
                <c:pt idx="41">
                  <c:v>0.2682926829268293</c:v>
                </c:pt>
                <c:pt idx="42">
                  <c:v>0.18309859154929578</c:v>
                </c:pt>
                <c:pt idx="43">
                  <c:v>0.25</c:v>
                </c:pt>
                <c:pt idx="44">
                  <c:v>0.17094017094017094</c:v>
                </c:pt>
                <c:pt idx="45">
                  <c:v>0.1839080459770115</c:v>
                </c:pt>
                <c:pt idx="46">
                  <c:v>0.2804878048780488</c:v>
                </c:pt>
                <c:pt idx="47">
                  <c:v>0.27848101265822783</c:v>
                </c:pt>
                <c:pt idx="48">
                  <c:v>0.2898550724637681</c:v>
                </c:pt>
                <c:pt idx="49">
                  <c:v>0.2696629213483146</c:v>
                </c:pt>
                <c:pt idx="50">
                  <c:v>0.23148148148148148</c:v>
                </c:pt>
                <c:pt idx="51">
                  <c:v>0.2125</c:v>
                </c:pt>
              </c:numCache>
            </c:numRef>
          </c:yVal>
          <c:smooth val="0"/>
          <c:extLst>
            <c:ext xmlns:c16="http://schemas.microsoft.com/office/drawing/2014/chart" uri="{C3380CC4-5D6E-409C-BE32-E72D297353CC}">
              <c16:uniqueId val="{00000002-F32D-48B7-BC20-E66FC6253BAD}"/>
            </c:ext>
          </c:extLst>
        </c:ser>
        <c:ser>
          <c:idx val="2"/>
          <c:order val="2"/>
          <c:tx>
            <c:strRef>
              <c:f>Sheet1!$B$61</c:f>
              <c:strCache>
                <c:ptCount val="1"/>
                <c:pt idx="0">
                  <c:v>Custom Linep3yQ</c:v>
                </c:pt>
              </c:strCache>
            </c:strRef>
          </c:tx>
          <c:spPr>
            <a:ln w="19050" cap="rnd">
              <a:solidFill>
                <a:srgbClr val="C00000"/>
              </a:solidFill>
              <a:prstDash val="sysDot"/>
              <a:round/>
            </a:ln>
            <a:effectLst/>
          </c:spPr>
          <c:marker>
            <c:symbol val="none"/>
          </c:marker>
          <c:xVal>
            <c:numRef>
              <c:f>Sheet1!$A$62:$A$63</c:f>
              <c:numCache>
                <c:formatCode>General</c:formatCode>
                <c:ptCount val="2"/>
                <c:pt idx="0">
                  <c:v>0</c:v>
                </c:pt>
                <c:pt idx="1">
                  <c:v>-528.5344042910627</c:v>
                </c:pt>
              </c:numCache>
            </c:numRef>
          </c:xVal>
          <c:yVal>
            <c:numRef>
              <c:f>Sheet1!$B$62:$B$63</c:f>
              <c:numCache>
                <c:formatCode>General</c:formatCode>
                <c:ptCount val="2"/>
                <c:pt idx="0">
                  <c:v>0.7579806088888628</c:v>
                </c:pt>
                <c:pt idx="1">
                  <c:v>0.7579806088888628</c:v>
                </c:pt>
              </c:numCache>
            </c:numRef>
          </c:yVal>
          <c:smooth val="0"/>
          <c:extLst>
            <c:ext xmlns:c16="http://schemas.microsoft.com/office/drawing/2014/chart" uri="{C3380CC4-5D6E-409C-BE32-E72D297353CC}">
              <c16:uniqueId val="{00000003-F32D-48B7-BC20-E66FC6253BAD}"/>
            </c:ext>
          </c:extLst>
        </c:ser>
        <c:ser>
          <c:idx val="3"/>
          <c:order val="3"/>
          <c:tx>
            <c:strRef>
              <c:f>Sheet1!$B$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6:$A$67</c:f>
              <c:numCache>
                <c:formatCode>General</c:formatCode>
                <c:ptCount val="2"/>
                <c:pt idx="0">
                  <c:v>-528.5344042910627</c:v>
                </c:pt>
                <c:pt idx="1">
                  <c:v>-528.5344042910627</c:v>
                </c:pt>
              </c:numCache>
            </c:numRef>
          </c:xVal>
          <c:yVal>
            <c:numRef>
              <c:f>Sheet1!$B$66:$B$67</c:f>
              <c:numCache>
                <c:formatCode>General</c:formatCode>
                <c:ptCount val="2"/>
                <c:pt idx="0">
                  <c:v>0.757980608888862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70:$A$71</c:f>
              <c:numCache>
                <c:formatCode>General</c:formatCode>
                <c:ptCount val="2"/>
                <c:pt idx="0">
                  <c:v>0</c:v>
                </c:pt>
                <c:pt idx="1">
                  <c:v>-577.008970112606</c:v>
                </c:pt>
              </c:numCache>
            </c:numRef>
          </c:xVal>
          <c:yVal>
            <c:numRef>
              <c:f>Sheet1!$B$70:$B$71</c:f>
              <c:numCache>
                <c:formatCode>General</c:formatCode>
                <c:ptCount val="2"/>
                <c:pt idx="0">
                  <c:v>0.7651840504924375</c:v>
                </c:pt>
                <c:pt idx="1">
                  <c:v>0.7651840504924375</c:v>
                </c:pt>
              </c:numCache>
            </c:numRef>
          </c:yVal>
          <c:smooth val="0"/>
          <c:extLst>
            <c:ext xmlns:c16="http://schemas.microsoft.com/office/drawing/2014/chart" uri="{C3380CC4-5D6E-409C-BE32-E72D297353CC}">
              <c16:uniqueId val="{0000000A-F32D-48B7-BC20-E66FC6253BAD}"/>
            </c:ext>
          </c:extLst>
        </c:ser>
        <c:ser>
          <c:idx val="5"/>
          <c:order val="5"/>
          <c:tx>
            <c:strRef>
              <c:f>Sheet1!$B$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4:$A$75</c:f>
              <c:numCache>
                <c:formatCode>General</c:formatCode>
                <c:ptCount val="2"/>
                <c:pt idx="0">
                  <c:v>-577.008970112606</c:v>
                </c:pt>
                <c:pt idx="1">
                  <c:v>-577.008970112606</c:v>
                </c:pt>
              </c:numCache>
            </c:numRef>
          </c:xVal>
          <c:yVal>
            <c:numRef>
              <c:f>Sheet1!$B$74:$B$75</c:f>
              <c:numCache>
                <c:formatCode>General</c:formatCode>
                <c:ptCount val="2"/>
                <c:pt idx="0">
                  <c:v>0.765184050492437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78:$A$79</c:f>
              <c:numCache>
                <c:formatCode>General</c:formatCode>
                <c:ptCount val="2"/>
                <c:pt idx="0">
                  <c:v>0</c:v>
                </c:pt>
                <c:pt idx="1">
                  <c:v>2945.833283432612</c:v>
                </c:pt>
              </c:numCache>
            </c:numRef>
          </c:xVal>
          <c:yVal>
            <c:numRef>
              <c:f>Sheet1!$B$78:$B$79</c:f>
              <c:numCache>
                <c:formatCode>General</c:formatCode>
                <c:ptCount val="2"/>
                <c:pt idx="0">
                  <c:v>0.24168088915538843</c:v>
                </c:pt>
                <c:pt idx="1">
                  <c:v>0.24168088915538843</c:v>
                </c:pt>
              </c:numCache>
            </c:numRef>
          </c:yVal>
          <c:smooth val="0"/>
          <c:extLst>
            <c:ext xmlns:c16="http://schemas.microsoft.com/office/drawing/2014/chart" uri="{C3380CC4-5D6E-409C-BE32-E72D297353CC}">
              <c16:uniqueId val="{00000011-F32D-48B7-BC20-E66FC6253BAD}"/>
            </c:ext>
          </c:extLst>
        </c:ser>
        <c:ser>
          <c:idx val="7"/>
          <c:order val="7"/>
          <c:tx>
            <c:strRef>
              <c:f>Sheet1!$B$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2:$A$83</c:f>
              <c:numCache>
                <c:formatCode>General</c:formatCode>
                <c:ptCount val="2"/>
                <c:pt idx="0">
                  <c:v>2945.833283432612</c:v>
                </c:pt>
                <c:pt idx="1">
                  <c:v>2945.833283432612</c:v>
                </c:pt>
              </c:numCache>
            </c:numRef>
          </c:xVal>
          <c:yVal>
            <c:numRef>
              <c:f>Sheet1!$B$82:$B$83</c:f>
              <c:numCache>
                <c:formatCode>General</c:formatCode>
                <c:ptCount val="2"/>
                <c:pt idx="0">
                  <c:v>0.2416808891553884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86:$A$140</c:f>
              <c:numCache>
                <c:formatCode>General</c:formatCode>
                <c:ptCount val="55"/>
                <c:pt idx="0">
                  <c:v>1542.0769</c:v>
                </c:pt>
                <c:pt idx="1">
                  <c:v>1336.918</c:v>
                </c:pt>
                <c:pt idx="2">
                  <c:v>1298.7434</c:v>
                </c:pt>
                <c:pt idx="3">
                  <c:v>1334.878</c:v>
                </c:pt>
                <c:pt idx="4">
                  <c:v>1322.96</c:v>
                </c:pt>
                <c:pt idx="5">
                  <c:v>1343.5632</c:v>
                </c:pt>
                <c:pt idx="6">
                  <c:v>1220.8026</c:v>
                </c:pt>
                <c:pt idx="7">
                  <c:v>1088.3951</c:v>
                </c:pt>
                <c:pt idx="8">
                  <c:v>1329.1395</c:v>
                </c:pt>
                <c:pt idx="9">
                  <c:v>1362.4872</c:v>
                </c:pt>
                <c:pt idx="10">
                  <c:v>1203.1833</c:v>
                </c:pt>
                <c:pt idx="11">
                  <c:v>931.8621</c:v>
                </c:pt>
                <c:pt idx="12">
                  <c:v>861.2828</c:v>
                </c:pt>
                <c:pt idx="13">
                  <c:v>788.213</c:v>
                </c:pt>
                <c:pt idx="14">
                  <c:v>821.0</c:v>
                </c:pt>
                <c:pt idx="15">
                  <c:v>841.6364</c:v>
                </c:pt>
                <c:pt idx="16">
                  <c:v>849.629</c:v>
                </c:pt>
                <c:pt idx="17">
                  <c:v>827.0392</c:v>
                </c:pt>
                <c:pt idx="18">
                  <c:v>879.8333</c:v>
                </c:pt>
                <c:pt idx="19">
                  <c:v>859.0465</c:v>
                </c:pt>
                <c:pt idx="20">
                  <c:v>875.7419</c:v>
                </c:pt>
                <c:pt idx="21">
                  <c:v>1107.3333</c:v>
                </c:pt>
                <c:pt idx="22">
                  <c:v>994.5625</c:v>
                </c:pt>
                <c:pt idx="23">
                  <c:v>1054.0952</c:v>
                </c:pt>
                <c:pt idx="24">
                  <c:v>1056.6471</c:v>
                </c:pt>
                <c:pt idx="25">
                  <c:v>1008.25</c:v>
                </c:pt>
                <c:pt idx="26">
                  <c:v>1001.7222</c:v>
                </c:pt>
                <c:pt idx="27">
                  <c:v>971.5</c:v>
                </c:pt>
                <c:pt idx="28">
                  <c:v>1017.4706</c:v>
                </c:pt>
                <c:pt idx="29">
                  <c:v>1164.1538</c:v>
                </c:pt>
                <c:pt idx="30">
                  <c:v>1563.9</c:v>
                </c:pt>
                <c:pt idx="31">
                  <c:v>1285.0</c:v>
                </c:pt>
                <c:pt idx="32">
                  <c:v>1078.2667</c:v>
                </c:pt>
                <c:pt idx="33">
                  <c:v>1183.2917</c:v>
                </c:pt>
                <c:pt idx="34">
                  <c:v>1517.9643</c:v>
                </c:pt>
                <c:pt idx="35">
                  <c:v>1277.8636</c:v>
                </c:pt>
                <c:pt idx="36">
                  <c:v>1131.8125</c:v>
                </c:pt>
                <c:pt idx="37">
                  <c:v>760.125</c:v>
                </c:pt>
                <c:pt idx="38">
                  <c:v>645.6667</c:v>
                </c:pt>
                <c:pt idx="39">
                  <c:v>945.6923</c:v>
                </c:pt>
                <c:pt idx="40">
                  <c:v>850.9231</c:v>
                </c:pt>
                <c:pt idx="41">
                  <c:v>892.9545</c:v>
                </c:pt>
                <c:pt idx="42">
                  <c:v>1337.9231</c:v>
                </c:pt>
                <c:pt idx="43">
                  <c:v>909.6364</c:v>
                </c:pt>
                <c:pt idx="44">
                  <c:v>927.75</c:v>
                </c:pt>
                <c:pt idx="45">
                  <c:v>1199.8125</c:v>
                </c:pt>
                <c:pt idx="46">
                  <c:v>881.087</c:v>
                </c:pt>
                <c:pt idx="47">
                  <c:v>675.5455</c:v>
                </c:pt>
                <c:pt idx="48">
                  <c:v>991.05</c:v>
                </c:pt>
                <c:pt idx="49">
                  <c:v>1220.4583</c:v>
                </c:pt>
                <c:pt idx="50">
                  <c:v>1287.16</c:v>
                </c:pt>
                <c:pt idx="51">
                  <c:v>1332.5294</c:v>
                </c:pt>
                <c:pt idx="52">
                  <c:v>-577.008970112606</c:v>
                </c:pt>
                <c:pt idx="53">
                  <c:v>-528.5344042910627</c:v>
                </c:pt>
                <c:pt idx="54">
                  <c:v>2945.833283432612</c:v>
                </c:pt>
              </c:numCache>
            </c:numRef>
          </c:xVal>
          <c:yVal>
            <c:numRef>
              <c:f>Sheet1!$B$86:$B$140</c:f>
              <c:numCache>
                <c:formatCode>General</c:formatCode>
                <c:ptCount val="55"/>
                <c:pt idx="0">
                  <c:v>0.45028259527336656</c:v>
                </c:pt>
                <c:pt idx="1">
                  <c:v>0.48076972044008326</c:v>
                </c:pt>
                <c:pt idx="2">
                  <c:v>0.48644256138624425</c:v>
                </c:pt>
                <c:pt idx="3">
                  <c:v>0.48107286953739326</c:v>
                </c:pt>
                <c:pt idx="4">
                  <c:v>0.4828439141166775</c:v>
                </c:pt>
                <c:pt idx="5">
                  <c:v>0.47978222711584595</c:v>
                </c:pt>
                <c:pt idx="6">
                  <c:v>0.49802475901546744</c:v>
                </c:pt>
                <c:pt idx="7">
                  <c:v>0.5177008443596179</c:v>
                </c:pt>
                <c:pt idx="8">
                  <c:v>0.48192562497607616</c:v>
                </c:pt>
                <c:pt idx="9">
                  <c:v>0.47697007343080017</c:v>
                </c:pt>
                <c:pt idx="10">
                  <c:v>0.5006430310204837</c:v>
                </c:pt>
                <c:pt idx="11">
                  <c:v>0.5409620392857053</c:v>
                </c:pt>
                <c:pt idx="12">
                  <c:v>0.5514502996208859</c:v>
                </c:pt>
                <c:pt idx="13">
                  <c:v>0.5623086544790321</c:v>
                </c:pt>
                <c:pt idx="14">
                  <c:v>0.5574364243547668</c:v>
                </c:pt>
                <c:pt idx="15">
                  <c:v>0.554369803750979</c:v>
                </c:pt>
                <c:pt idx="16">
                  <c:v>0.5531820834200185</c:v>
                </c:pt>
                <c:pt idx="17">
                  <c:v>0.5565389841447304</c:v>
                </c:pt>
                <c:pt idx="18">
                  <c:v>0.5486936489690974</c:v>
                </c:pt>
                <c:pt idx="19">
                  <c:v>0.5517826193886869</c:v>
                </c:pt>
                <c:pt idx="20">
                  <c:v>0.5493016412322024</c:v>
                </c:pt>
                <c:pt idx="21">
                  <c:v>0.5148865805190909</c:v>
                </c:pt>
                <c:pt idx="22">
                  <c:v>0.5316446031773854</c:v>
                </c:pt>
                <c:pt idx="23">
                  <c:v>0.5227978952041383</c:v>
                </c:pt>
                <c:pt idx="24">
                  <c:v>0.5224186764877534</c:v>
                </c:pt>
                <c:pt idx="25">
                  <c:v>0.5296106064766845</c:v>
                </c:pt>
                <c:pt idx="26">
                  <c:v>0.5305806538675766</c:v>
                </c:pt>
                <c:pt idx="27">
                  <c:v>0.535071748303224</c:v>
                </c:pt>
                <c:pt idx="28">
                  <c:v>0.5282404022773433</c:v>
                </c:pt>
                <c:pt idx="29">
                  <c:v>0.5064429122427674</c:v>
                </c:pt>
                <c:pt idx="30">
                  <c:v>0.44703962808439357</c:v>
                </c:pt>
                <c:pt idx="31">
                  <c:v>0.48848486496662147</c:v>
                </c:pt>
                <c:pt idx="32">
                  <c:v>0.5192059499072621</c:v>
                </c:pt>
                <c:pt idx="33">
                  <c:v>0.5035989724832536</c:v>
                </c:pt>
                <c:pt idx="34">
                  <c:v>0.4538657878830704</c:v>
                </c:pt>
                <c:pt idx="35">
                  <c:v>0.4895453518382111</c:v>
                </c:pt>
                <c:pt idx="36">
                  <c:v>0.5112489102333704</c:v>
                </c:pt>
                <c:pt idx="37">
                  <c:v>0.5664826014619938</c:v>
                </c:pt>
                <c:pt idx="38">
                  <c:v>0.5834913908368131</c:v>
                </c:pt>
                <c:pt idx="39">
                  <c:v>0.5389068370084426</c:v>
                </c:pt>
                <c:pt idx="40">
                  <c:v>0.552989776926475</c:v>
                </c:pt>
                <c:pt idx="41">
                  <c:v>0.5467438058633998</c:v>
                </c:pt>
                <c:pt idx="42">
                  <c:v>0.48062036006865866</c:v>
                </c:pt>
                <c:pt idx="43">
                  <c:v>0.5442648338406474</c:v>
                </c:pt>
                <c:pt idx="44">
                  <c:v>0.5415731076205329</c:v>
                </c:pt>
                <c:pt idx="45">
                  <c:v>0.5011439403230388</c:v>
                </c:pt>
                <c:pt idx="46">
                  <c:v>0.5485073460165006</c:v>
                </c:pt>
                <c:pt idx="47">
                  <c:v>0.5790513264992129</c:v>
                </c:pt>
                <c:pt idx="48">
                  <c:v>0.5321665694540036</c:v>
                </c:pt>
                <c:pt idx="49">
                  <c:v>0.4980759228557634</c:v>
                </c:pt>
                <c:pt idx="50">
                  <c:v>0.48816388356946977</c:v>
                </c:pt>
                <c:pt idx="51">
                  <c:v>0.4814218773657962</c:v>
                </c:pt>
                <c:pt idx="52">
                  <c:v>0.7651840504924375</c:v>
                </c:pt>
                <c:pt idx="53">
                  <c:v>0.7579806088888628</c:v>
                </c:pt>
                <c:pt idx="54">
                  <c:v>0.2416808891553884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53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045454545454545"/>
          <c:min val="0.1367521367521367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236721488271771</c:v>
                </c:pt>
                <c:pt idx="1">
                  <c:v>0.8916371882133237</c:v>
                </c:pt>
                <c:pt idx="2">
                  <c:v>0.6692995259437228</c:v>
                </c:pt>
                <c:pt idx="3">
                  <c:v>0.8800486801549132</c:v>
                </c:pt>
                <c:pt idx="4">
                  <c:v>0.8544698753692033</c:v>
                </c:pt>
                <c:pt idx="5">
                  <c:v>0.6614064506105991</c:v>
                </c:pt>
                <c:pt idx="6">
                  <c:v>0.7728095630021555</c:v>
                </c:pt>
                <c:pt idx="7">
                  <c:v>0.8458305084745763</c:v>
                </c:pt>
                <c:pt idx="8">
                  <c:v>0.45975314084196606</c:v>
                </c:pt>
                <c:pt idx="9">
                  <c:v>0.5970911279141441</c:v>
                </c:pt>
                <c:pt idx="10">
                  <c:v>0.4230323523679595</c:v>
                </c:pt>
                <c:pt idx="11">
                  <c:v>0.6772304995617878</c:v>
                </c:pt>
                <c:pt idx="12">
                  <c:v>0.503073790822654</c:v>
                </c:pt>
                <c:pt idx="13">
                  <c:v>1.0859902064330293</c:v>
                </c:pt>
                <c:pt idx="14">
                  <c:v>0.7449771003067797</c:v>
                </c:pt>
                <c:pt idx="15">
                  <c:v>0.6553830669330669</c:v>
                </c:pt>
                <c:pt idx="16">
                  <c:v>0.5240630323679727</c:v>
                </c:pt>
                <c:pt idx="17">
                  <c:v>0.7628165207877462</c:v>
                </c:pt>
                <c:pt idx="18">
                  <c:v>0.5817572420397414</c:v>
                </c:pt>
                <c:pt idx="19">
                  <c:v>0.6715334749137245</c:v>
                </c:pt>
                <c:pt idx="20">
                  <c:v>1.489836816490123</c:v>
                </c:pt>
                <c:pt idx="21">
                  <c:v>0.4934426229508197</c:v>
                </c:pt>
                <c:pt idx="22">
                  <c:v>0.6348788198103267</c:v>
                </c:pt>
                <c:pt idx="23">
                  <c:v>0.0</c:v>
                </c:pt>
                <c:pt idx="24">
                  <c:v>0.5064269319051262</c:v>
                </c:pt>
                <c:pt idx="25">
                  <c:v>0.0</c:v>
                </c:pt>
                <c:pt idx="26">
                  <c:v>0.36762042738138356</c:v>
                </c:pt>
                <c:pt idx="27">
                  <c:v>1.017864434463046</c:v>
                </c:pt>
                <c:pt idx="28">
                  <c:v>1.3672043010752688</c:v>
                </c:pt>
                <c:pt idx="29">
                  <c:v>2.2904970238831326</c:v>
                </c:pt>
                <c:pt idx="30">
                  <c:v>0.0</c:v>
                </c:pt>
                <c:pt idx="31">
                  <c:v>0.9072810967741934</c:v>
                </c:pt>
                <c:pt idx="32">
                  <c:v>1.1857608348134991</c:v>
                </c:pt>
                <c:pt idx="33">
                  <c:v>1.149857566137566</c:v>
                </c:pt>
                <c:pt idx="34">
                  <c:v>1.0977328124999999</c:v>
                </c:pt>
                <c:pt idx="35">
                  <c:v>1.343487394957983</c:v>
                </c:pt>
                <c:pt idx="36">
                  <c:v>1.4620967741935484</c:v>
                </c:pt>
                <c:pt idx="37">
                  <c:v>0.0</c:v>
                </c:pt>
                <c:pt idx="38">
                  <c:v>0.0</c:v>
                </c:pt>
                <c:pt idx="39">
                  <c:v>0.0</c:v>
                </c:pt>
                <c:pt idx="40">
                  <c:v>0.9598504080652904</c:v>
                </c:pt>
                <c:pt idx="41">
                  <c:v>0.6547306336707912</c:v>
                </c:pt>
                <c:pt idx="42">
                  <c:v>1.5567028532608698</c:v>
                </c:pt>
                <c:pt idx="43">
                  <c:v>0.7608695652173914</c:v>
                </c:pt>
                <c:pt idx="44">
                  <c:v>0.6602763687150839</c:v>
                </c:pt>
                <c:pt idx="45">
                  <c:v>0.0</c:v>
                </c:pt>
                <c:pt idx="46">
                  <c:v>1.4615173913043478</c:v>
                </c:pt>
                <c:pt idx="47">
                  <c:v>2.574647</c:v>
                </c:pt>
                <c:pt idx="48">
                  <c:v>1.1481147465437789</c:v>
                </c:pt>
                <c:pt idx="49">
                  <c:v>0.0</c:v>
                </c:pt>
                <c:pt idx="50">
                  <c:v>0.0</c:v>
                </c:pt>
                <c:pt idx="51">
                  <c:v>0.0</c:v>
                </c:pt>
                <c:pt idx="52">
                  <c:v>5.7388059701492535</c:v>
                </c:pt>
                <c:pt idx="53">
                  <c:v>8.285229325513196</c:v>
                </c:pt>
                <c:pt idx="54">
                  <c:v>0.0</c:v>
                </c:pt>
                <c:pt idx="55">
                  <c:v>0.0</c:v>
                </c:pt>
                <c:pt idx="56">
                  <c:v>1.8657630177514792</c:v>
                </c:pt>
                <c:pt idx="57">
                  <c:v>0.0</c:v>
                </c:pt>
                <c:pt idx="58">
                  <c:v>0.0</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pt idx="80">
                  <c:v>0.0</c:v>
                </c:pt>
                <c:pt idx="81">
                  <c:v>0.0</c:v>
                </c:pt>
                <c:pt idx="82">
                  <c:v>0.0</c:v>
                </c:pt>
                <c:pt idx="83">
                  <c:v>0.0</c:v>
                </c:pt>
                <c:pt idx="84">
                  <c:v>0.0</c:v>
                </c:pt>
                <c:pt idx="85">
                  <c:v>0.0</c:v>
                </c:pt>
                <c:pt idx="86">
                  <c:v>0.0</c:v>
                </c:pt>
                <c:pt idx="87">
                  <c:v>0.0</c:v>
                </c:pt>
                <c:pt idx="88">
                  <c:v>0.0</c:v>
                </c:pt>
                <c:pt idx="89">
                  <c:v>0.0</c:v>
                </c:pt>
                <c:pt idx="90">
                  <c:v>0.0</c:v>
                </c:pt>
                <c:pt idx="91">
                  <c:v>0.0</c:v>
                </c:pt>
                <c:pt idx="92">
                  <c:v>0.0</c:v>
                </c:pt>
                <c:pt idx="93">
                  <c:v>0.0</c:v>
                </c:pt>
                <c:pt idx="94">
                  <c:v>0.0</c:v>
                </c:pt>
                <c:pt idx="95">
                  <c:v>0.0</c:v>
                </c:pt>
                <c:pt idx="96">
                  <c:v>0.0</c:v>
                </c:pt>
                <c:pt idx="97">
                  <c:v>0.0</c:v>
                </c:pt>
                <c:pt idx="98">
                  <c:v>0.0</c:v>
                </c:pt>
                <c:pt idx="99">
                  <c:v>0.0</c:v>
                </c:pt>
                <c:pt idx="100">
                  <c:v>0.0</c:v>
                </c:pt>
                <c:pt idx="101">
                  <c:v>0.0</c:v>
                </c:pt>
                <c:pt idx="102">
                  <c:v>0.0</c:v>
                </c:pt>
                <c:pt idx="103">
                  <c:v>0.0</c:v>
                </c:pt>
                <c:pt idx="104">
                  <c:v>0.0</c:v>
                </c:pt>
              </c:numCache>
            </c:numRef>
          </c:xVal>
          <c:yVal>
            <c:numRef>
              <c:f>Sheet1!$B$2:$B$106</c:f>
              <c:numCache>
                <c:formatCode>General</c:formatCode>
                <c:ptCount val="105"/>
                <c:pt idx="0">
                  <c:v>0.5</c:v>
                </c:pt>
                <c:pt idx="1">
                  <c:v>0.48</c:v>
                </c:pt>
                <c:pt idx="2">
                  <c:v>0.6666666666666666</c:v>
                </c:pt>
                <c:pt idx="3">
                  <c:v>0.6818181818181818</c:v>
                </c:pt>
                <c:pt idx="4">
                  <c:v>0.7272727272727273</c:v>
                </c:pt>
                <c:pt idx="5">
                  <c:v>0.8571428571428571</c:v>
                </c:pt>
                <c:pt idx="6">
                  <c:v>0.8947368421052632</c:v>
                </c:pt>
                <c:pt idx="7">
                  <c:v>0.8928571428571429</c:v>
                </c:pt>
                <c:pt idx="8">
                  <c:v>0.9090909090909091</c:v>
                </c:pt>
                <c:pt idx="9">
                  <c:v>0.8333333333333334</c:v>
                </c:pt>
                <c:pt idx="10">
                  <c:v>0.95</c:v>
                </c:pt>
                <c:pt idx="11">
                  <c:v>0.9259259259259259</c:v>
                </c:pt>
                <c:pt idx="12">
                  <c:v>0.96875</c:v>
                </c:pt>
                <c:pt idx="13">
                  <c:v>0.9444444444444444</c:v>
                </c:pt>
                <c:pt idx="14">
                  <c:v>0.9117647058823529</c:v>
                </c:pt>
                <c:pt idx="15">
                  <c:v>0.9285714285714286</c:v>
                </c:pt>
                <c:pt idx="16">
                  <c:v>0.9333333333333333</c:v>
                </c:pt>
                <c:pt idx="17">
                  <c:v>0.7777777777777778</c:v>
                </c:pt>
                <c:pt idx="18">
                  <c:v>0.8181818181818182</c:v>
                </c:pt>
                <c:pt idx="19">
                  <c:v>0.75</c:v>
                </c:pt>
                <c:pt idx="20">
                  <c:v>0.7647058823529411</c:v>
                </c:pt>
                <c:pt idx="21">
                  <c:v>0.8571428571428571</c:v>
                </c:pt>
                <c:pt idx="22">
                  <c:v>0.8333333333333334</c:v>
                </c:pt>
                <c:pt idx="23">
                  <c:v>1.0</c:v>
                </c:pt>
                <c:pt idx="24">
                  <c:v>0.9090909090909091</c:v>
                </c:pt>
                <c:pt idx="25">
                  <c:v>1.0</c:v>
                </c:pt>
                <c:pt idx="26">
                  <c:v>0.8888888888888888</c:v>
                </c:pt>
                <c:pt idx="27">
                  <c:v>0.8</c:v>
                </c:pt>
                <c:pt idx="28">
                  <c:v>0.9230769230769231</c:v>
                </c:pt>
                <c:pt idx="29">
                  <c:v>0.8333333333333334</c:v>
                </c:pt>
                <c:pt idx="30">
                  <c:v>1.0</c:v>
                </c:pt>
                <c:pt idx="31">
                  <c:v>0.875</c:v>
                </c:pt>
                <c:pt idx="32">
                  <c:v>0.8571428571428571</c:v>
                </c:pt>
                <c:pt idx="33">
                  <c:v>0.9285714285714286</c:v>
                </c:pt>
                <c:pt idx="34">
                  <c:v>0.85</c:v>
                </c:pt>
                <c:pt idx="35">
                  <c:v>0.7222222222222222</c:v>
                </c:pt>
                <c:pt idx="36">
                  <c:v>0.9166666666666666</c:v>
                </c:pt>
                <c:pt idx="37">
                  <c:v>1.0</c:v>
                </c:pt>
                <c:pt idx="38">
                  <c:v>1.0</c:v>
                </c:pt>
                <c:pt idx="39">
                  <c:v>1.0</c:v>
                </c:pt>
                <c:pt idx="40">
                  <c:v>0.9047619047619048</c:v>
                </c:pt>
                <c:pt idx="41">
                  <c:v>0.8571428571428571</c:v>
                </c:pt>
                <c:pt idx="42">
                  <c:v>0.7894736842105263</c:v>
                </c:pt>
                <c:pt idx="43">
                  <c:v>0.9333333333333333</c:v>
                </c:pt>
                <c:pt idx="44">
                  <c:v>0.95</c:v>
                </c:pt>
                <c:pt idx="45">
                  <c:v>1.0</c:v>
                </c:pt>
                <c:pt idx="46">
                  <c:v>0.96</c:v>
                </c:pt>
                <c:pt idx="47">
                  <c:v>0.918918918918919</c:v>
                </c:pt>
                <c:pt idx="48">
                  <c:v>0.9777777777777777</c:v>
                </c:pt>
                <c:pt idx="49">
                  <c:v>0.7096774193548387</c:v>
                </c:pt>
                <c:pt idx="50">
                  <c:v>0.5135135135135135</c:v>
                </c:pt>
                <c:pt idx="51">
                  <c:v>0.5428571428571428</c:v>
                </c:pt>
                <c:pt idx="52">
                  <c:v>0.4642857142857143</c:v>
                </c:pt>
                <c:pt idx="53">
                  <c:v>0.59375</c:v>
                </c:pt>
                <c:pt idx="54">
                  <c:v>0.45161290322580644</c:v>
                </c:pt>
                <c:pt idx="55">
                  <c:v>0.7746478873239436</c:v>
                </c:pt>
                <c:pt idx="56">
                  <c:v>0.7288135593220338</c:v>
                </c:pt>
                <c:pt idx="57">
                  <c:v>0.7428571428571429</c:v>
                </c:pt>
                <c:pt idx="58">
                  <c:v>0.7931034482758621</c:v>
                </c:pt>
                <c:pt idx="59">
                  <c:v>0.5853658536585366</c:v>
                </c:pt>
                <c:pt idx="60">
                  <c:v>0.6792452830188679</c:v>
                </c:pt>
                <c:pt idx="61">
                  <c:v>0.6428571428571429</c:v>
                </c:pt>
                <c:pt idx="62">
                  <c:v>0.5454545454545454</c:v>
                </c:pt>
                <c:pt idx="63">
                  <c:v>0.75</c:v>
                </c:pt>
                <c:pt idx="64">
                  <c:v>0.7346938775510204</c:v>
                </c:pt>
                <c:pt idx="65">
                  <c:v>0.6216216216216216</c:v>
                </c:pt>
                <c:pt idx="66">
                  <c:v>0.5588235294117647</c:v>
                </c:pt>
                <c:pt idx="67">
                  <c:v>0.6153846153846154</c:v>
                </c:pt>
                <c:pt idx="68">
                  <c:v>0.4090909090909091</c:v>
                </c:pt>
                <c:pt idx="69">
                  <c:v>0.29411764705882354</c:v>
                </c:pt>
                <c:pt idx="70">
                  <c:v>0.36</c:v>
                </c:pt>
                <c:pt idx="71">
                  <c:v>0.5454545454545454</c:v>
                </c:pt>
                <c:pt idx="72">
                  <c:v>0.39473684210526316</c:v>
                </c:pt>
                <c:pt idx="73">
                  <c:v>0.3877551020408163</c:v>
                </c:pt>
                <c:pt idx="74">
                  <c:v>0.32727272727272727</c:v>
                </c:pt>
                <c:pt idx="75">
                  <c:v>0.32558139534883723</c:v>
                </c:pt>
                <c:pt idx="76">
                  <c:v>0.3148148148148148</c:v>
                </c:pt>
                <c:pt idx="77">
                  <c:v>0.32653061224489793</c:v>
                </c:pt>
                <c:pt idx="78">
                  <c:v>0.30952380952380953</c:v>
                </c:pt>
                <c:pt idx="79">
                  <c:v>0.4</c:v>
                </c:pt>
                <c:pt idx="80">
                  <c:v>0.4222222222222222</c:v>
                </c:pt>
                <c:pt idx="81">
                  <c:v>0.5121951219512195</c:v>
                </c:pt>
                <c:pt idx="82">
                  <c:v>0.5964912280701754</c:v>
                </c:pt>
                <c:pt idx="83">
                  <c:v>0.4603174603174603</c:v>
                </c:pt>
                <c:pt idx="84">
                  <c:v>0.3404255319148936</c:v>
                </c:pt>
                <c:pt idx="85">
                  <c:v>0.46875</c:v>
                </c:pt>
                <c:pt idx="86">
                  <c:v>0.43243243243243246</c:v>
                </c:pt>
                <c:pt idx="87">
                  <c:v>0.38235294117647056</c:v>
                </c:pt>
                <c:pt idx="88">
                  <c:v>0.3170731707317073</c:v>
                </c:pt>
                <c:pt idx="89">
                  <c:v>0.7439024390243902</c:v>
                </c:pt>
                <c:pt idx="90">
                  <c:v>0.8692307692307693</c:v>
                </c:pt>
                <c:pt idx="91">
                  <c:v>0.831081081081081</c:v>
                </c:pt>
                <c:pt idx="92">
                  <c:v>0.7981651376146789</c:v>
                </c:pt>
                <c:pt idx="93">
                  <c:v>0.8636363636363636</c:v>
                </c:pt>
                <c:pt idx="94">
                  <c:v>0.9204545454545454</c:v>
                </c:pt>
                <c:pt idx="95">
                  <c:v>0.7166666666666667</c:v>
                </c:pt>
                <c:pt idx="96">
                  <c:v>0.7909090909090909</c:v>
                </c:pt>
                <c:pt idx="97">
                  <c:v>0.8114754098360656</c:v>
                </c:pt>
                <c:pt idx="98">
                  <c:v>0.8383838383838383</c:v>
                </c:pt>
                <c:pt idx="99">
                  <c:v>0.8947368421052632</c:v>
                </c:pt>
                <c:pt idx="100">
                  <c:v>0.7346938775510204</c:v>
                </c:pt>
                <c:pt idx="101">
                  <c:v>0.7049180327868853</c:v>
                </c:pt>
                <c:pt idx="102">
                  <c:v>0.5517241379310345</c:v>
                </c:pt>
                <c:pt idx="103">
                  <c:v>0.5833333333333334</c:v>
                </c:pt>
                <c:pt idx="104">
                  <c:v>0.607142857142857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35</c:f>
              <c:numCache>
                <c:formatCode>General</c:formatCode>
                <c:ptCount val="27"/>
                <c:pt idx="0">
                  <c:v>5.428235856573705</c:v>
                </c:pt>
                <c:pt idx="1">
                  <c:v>0.7154306697909614</c:v>
                </c:pt>
                <c:pt idx="2">
                  <c:v>0.4787286543812197</c:v>
                </c:pt>
                <c:pt idx="3">
                  <c:v>0.5821602631955372</c:v>
                </c:pt>
                <c:pt idx="4">
                  <c:v>0.5430666063898832</c:v>
                </c:pt>
                <c:pt idx="5">
                  <c:v>1.0907759372275503</c:v>
                </c:pt>
                <c:pt idx="6">
                  <c:v>0.7875382883036101</c:v>
                </c:pt>
                <c:pt idx="7">
                  <c:v>0.33269568034557234</c:v>
                </c:pt>
                <c:pt idx="8">
                  <c:v>0.33885787514318444</c:v>
                </c:pt>
                <c:pt idx="9">
                  <c:v>0.942600782414307</c:v>
                </c:pt>
                <c:pt idx="10">
                  <c:v>0.8681138586956522</c:v>
                </c:pt>
                <c:pt idx="11">
                  <c:v>0.8437966163965361</c:v>
                </c:pt>
                <c:pt idx="12">
                  <c:v>0.5231417756366139</c:v>
                </c:pt>
                <c:pt idx="13">
                  <c:v>0.26316148359486446</c:v>
                </c:pt>
                <c:pt idx="14">
                  <c:v>0.6520517042530845</c:v>
                </c:pt>
                <c:pt idx="15">
                  <c:v>0.6427397084371931</c:v>
                </c:pt>
                <c:pt idx="16">
                  <c:v>0.5949063957361759</c:v>
                </c:pt>
                <c:pt idx="17">
                  <c:v>0.9327219911817152</c:v>
                </c:pt>
                <c:pt idx="18">
                  <c:v>0.4424301556420233</c:v>
                </c:pt>
                <c:pt idx="19">
                  <c:v>0.5894753723193802</c:v>
                </c:pt>
                <c:pt idx="20">
                  <c:v>0.7972990861125875</c:v>
                </c:pt>
                <c:pt idx="21">
                  <c:v>0.49536374633876035</c:v>
                </c:pt>
                <c:pt idx="22">
                  <c:v>0.4337138822687685</c:v>
                </c:pt>
                <c:pt idx="23">
                  <c:v>0.6575120746232582</c:v>
                </c:pt>
                <c:pt idx="24">
                  <c:v>0.9258170301536127</c:v>
                </c:pt>
                <c:pt idx="25">
                  <c:v>0.8609544168929428</c:v>
                </c:pt>
                <c:pt idx="26">
                  <c:v>0.9146333996842609</c:v>
                </c:pt>
              </c:numCache>
            </c:numRef>
          </c:xVal>
          <c:yVal>
            <c:numRef>
              <c:f>Sheet1!$B$109:$B$135</c:f>
              <c:numCache>
                <c:formatCode>General</c:formatCode>
                <c:ptCount val="27"/>
                <c:pt idx="0">
                  <c:v>0.7222222222222222</c:v>
                </c:pt>
                <c:pt idx="1">
                  <c:v>0.42857142857142855</c:v>
                </c:pt>
                <c:pt idx="2">
                  <c:v>0.3783783783783784</c:v>
                </c:pt>
                <c:pt idx="3">
                  <c:v>0.3695652173913043</c:v>
                </c:pt>
                <c:pt idx="4">
                  <c:v>0.3611111111111111</c:v>
                </c:pt>
                <c:pt idx="5">
                  <c:v>0.23255813953488372</c:v>
                </c:pt>
                <c:pt idx="6">
                  <c:v>0.2</c:v>
                </c:pt>
                <c:pt idx="7">
                  <c:v>0.39473684210526316</c:v>
                </c:pt>
                <c:pt idx="8">
                  <c:v>0.47058823529411764</c:v>
                </c:pt>
                <c:pt idx="9">
                  <c:v>0.3111111111111111</c:v>
                </c:pt>
                <c:pt idx="10">
                  <c:v>0.26506024096385544</c:v>
                </c:pt>
                <c:pt idx="11">
                  <c:v>0.3137254901960784</c:v>
                </c:pt>
                <c:pt idx="12">
                  <c:v>0.5</c:v>
                </c:pt>
                <c:pt idx="13">
                  <c:v>0.4909090909090909</c:v>
                </c:pt>
                <c:pt idx="14">
                  <c:v>0.3291139240506329</c:v>
                </c:pt>
                <c:pt idx="15">
                  <c:v>0.19402985074626866</c:v>
                </c:pt>
                <c:pt idx="16">
                  <c:v>0.2682926829268293</c:v>
                </c:pt>
                <c:pt idx="17">
                  <c:v>0.18309859154929578</c:v>
                </c:pt>
                <c:pt idx="18">
                  <c:v>0.25</c:v>
                </c:pt>
                <c:pt idx="19">
                  <c:v>0.17094017094017094</c:v>
                </c:pt>
                <c:pt idx="20">
                  <c:v>0.1839080459770115</c:v>
                </c:pt>
                <c:pt idx="21">
                  <c:v>0.2804878048780488</c:v>
                </c:pt>
                <c:pt idx="22">
                  <c:v>0.27848101265822783</c:v>
                </c:pt>
                <c:pt idx="23">
                  <c:v>0.2898550724637681</c:v>
                </c:pt>
                <c:pt idx="24">
                  <c:v>0.2696629213483146</c:v>
                </c:pt>
                <c:pt idx="25">
                  <c:v>0.23148148148148148</c:v>
                </c:pt>
                <c:pt idx="26">
                  <c:v>0.2125</c:v>
                </c:pt>
              </c:numCache>
            </c:numRef>
          </c:yVal>
          <c:smooth val="0"/>
          <c:extLst>
            <c:ext xmlns:c16="http://schemas.microsoft.com/office/drawing/2014/chart" uri="{C3380CC4-5D6E-409C-BE32-E72D297353CC}">
              <c16:uniqueId val="{00000002-096C-4121-9522-6AB7243CCAAE}"/>
            </c:ext>
          </c:extLst>
        </c:ser>
        <c:ser>
          <c:idx val="2"/>
          <c:order val="2"/>
          <c:tx>
            <c:strRef>
              <c:f>Sheet1!$B$13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8:$A$139</c:f>
              <c:numCache>
                <c:formatCode>General</c:formatCode>
                <c:ptCount val="2"/>
                <c:pt idx="0">
                  <c:v>0</c:v>
                </c:pt>
                <c:pt idx="1">
                  <c:v>9.43555152815524</c:v>
                </c:pt>
              </c:numCache>
            </c:numRef>
          </c:xVal>
          <c:yVal>
            <c:numRef>
              <c:f>Sheet1!$B$138:$B$139</c:f>
              <c:numCache>
                <c:formatCode>General</c:formatCode>
                <c:ptCount val="2"/>
                <c:pt idx="0">
                  <c:v>0.9194667223614591</c:v>
                </c:pt>
                <c:pt idx="1">
                  <c:v>0.9194667223614591</c:v>
                </c:pt>
              </c:numCache>
            </c:numRef>
          </c:yVal>
          <c:smooth val="0"/>
          <c:extLst>
            <c:ext xmlns:c16="http://schemas.microsoft.com/office/drawing/2014/chart" uri="{C3380CC4-5D6E-409C-BE32-E72D297353CC}">
              <c16:uniqueId val="{00000005-096C-4121-9522-6AB7243CCAAE}"/>
            </c:ext>
          </c:extLst>
        </c:ser>
        <c:ser>
          <c:idx val="3"/>
          <c:order val="3"/>
          <c:tx>
            <c:strRef>
              <c:f>Sheet1!$B$14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9.43555152815524</c:v>
                </c:pt>
                <c:pt idx="1">
                  <c:v>9.43555152815524</c:v>
                </c:pt>
              </c:numCache>
            </c:numRef>
          </c:xVal>
          <c:yVal>
            <c:numRef>
              <c:f>Sheet1!$B$142:$B$143</c:f>
              <c:numCache>
                <c:formatCode>General</c:formatCode>
                <c:ptCount val="2"/>
                <c:pt idx="0">
                  <c:v>0.919466722361459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6:$A$147</c:f>
              <c:numCache>
                <c:formatCode>General</c:formatCode>
                <c:ptCount val="2"/>
                <c:pt idx="0">
                  <c:v>0</c:v>
                </c:pt>
                <c:pt idx="1">
                  <c:v>7.519310498100025</c:v>
                </c:pt>
              </c:numCache>
            </c:numRef>
          </c:xVal>
          <c:yVal>
            <c:numRef>
              <c:f>Sheet1!$B$146:$B$147</c:f>
              <c:numCache>
                <c:formatCode>General</c:formatCode>
                <c:ptCount val="2"/>
                <c:pt idx="0">
                  <c:v>0.7853341876849124</c:v>
                </c:pt>
                <c:pt idx="1">
                  <c:v>0.7853341876849124</c:v>
                </c:pt>
              </c:numCache>
            </c:numRef>
          </c:yVal>
          <c:smooth val="0"/>
          <c:extLst>
            <c:ext xmlns:c16="http://schemas.microsoft.com/office/drawing/2014/chart" uri="{C3380CC4-5D6E-409C-BE32-E72D297353CC}">
              <c16:uniqueId val="{0000000D-096C-4121-9522-6AB7243CCAAE}"/>
            </c:ext>
          </c:extLst>
        </c:ser>
        <c:ser>
          <c:idx val="5"/>
          <c:order val="5"/>
          <c:tx>
            <c:strRef>
              <c:f>Sheet1!$B$14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0:$A$151</c:f>
              <c:numCache>
                <c:formatCode>General</c:formatCode>
                <c:ptCount val="2"/>
                <c:pt idx="0">
                  <c:v>7.519310498100025</c:v>
                </c:pt>
                <c:pt idx="1">
                  <c:v>7.519310498100025</c:v>
                </c:pt>
              </c:numCache>
            </c:numRef>
          </c:xVal>
          <c:yVal>
            <c:numRef>
              <c:f>Sheet1!$B$150:$B$151</c:f>
              <c:numCache>
                <c:formatCode>General</c:formatCode>
                <c:ptCount val="2"/>
                <c:pt idx="0">
                  <c:v>0.785334187684912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4:$A$155</c:f>
              <c:numCache>
                <c:formatCode>General</c:formatCode>
                <c:ptCount val="2"/>
                <c:pt idx="0">
                  <c:v>0</c:v>
                </c:pt>
                <c:pt idx="1">
                  <c:v>-0.24741633875058436</c:v>
                </c:pt>
              </c:numCache>
            </c:numRef>
          </c:xVal>
          <c:yVal>
            <c:numRef>
              <c:f>Sheet1!$B$154:$B$155</c:f>
              <c:numCache>
                <c:formatCode>General</c:formatCode>
                <c:ptCount val="2"/>
                <c:pt idx="0">
                  <c:v>0.24168088915538843</c:v>
                </c:pt>
                <c:pt idx="1">
                  <c:v>0.24168088915538843</c:v>
                </c:pt>
              </c:numCache>
            </c:numRef>
          </c:yVal>
          <c:smooth val="0"/>
          <c:extLst>
            <c:ext xmlns:c16="http://schemas.microsoft.com/office/drawing/2014/chart" uri="{C3380CC4-5D6E-409C-BE32-E72D297353CC}">
              <c16:uniqueId val="{00000015-096C-4121-9522-6AB7243CCAAE}"/>
            </c:ext>
          </c:extLst>
        </c:ser>
        <c:ser>
          <c:idx val="7"/>
          <c:order val="7"/>
          <c:tx>
            <c:strRef>
              <c:f>Sheet1!$B$15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8:$A$159</c:f>
              <c:numCache>
                <c:formatCode>General</c:formatCode>
                <c:ptCount val="2"/>
                <c:pt idx="0">
                  <c:v>-0.24741633875058436</c:v>
                </c:pt>
                <c:pt idx="1">
                  <c:v>-0.24741633875058436</c:v>
                </c:pt>
              </c:numCache>
            </c:numRef>
          </c:xVal>
          <c:yVal>
            <c:numRef>
              <c:f>Sheet1!$B$158:$B$159</c:f>
              <c:numCache>
                <c:formatCode>General</c:formatCode>
                <c:ptCount val="2"/>
                <c:pt idx="0">
                  <c:v>0.2416808891553884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2:$A$191</c:f>
              <c:numCache>
                <c:formatCode>General</c:formatCode>
                <c:ptCount val="30"/>
                <c:pt idx="0">
                  <c:v>5.428235856573705</c:v>
                </c:pt>
                <c:pt idx="1">
                  <c:v>0.7154306697909614</c:v>
                </c:pt>
                <c:pt idx="2">
                  <c:v>0.4787286543812197</c:v>
                </c:pt>
                <c:pt idx="3">
                  <c:v>0.5821602631955372</c:v>
                </c:pt>
                <c:pt idx="4">
                  <c:v>0.5430666063898832</c:v>
                </c:pt>
                <c:pt idx="5">
                  <c:v>1.0907759372275503</c:v>
                </c:pt>
                <c:pt idx="6">
                  <c:v>0.7875382883036101</c:v>
                </c:pt>
                <c:pt idx="7">
                  <c:v>0.33269568034557234</c:v>
                </c:pt>
                <c:pt idx="8">
                  <c:v>0.33885787514318444</c:v>
                </c:pt>
                <c:pt idx="9">
                  <c:v>0.942600782414307</c:v>
                </c:pt>
                <c:pt idx="10">
                  <c:v>0.8681138586956522</c:v>
                </c:pt>
                <c:pt idx="11">
                  <c:v>0.8437966163965361</c:v>
                </c:pt>
                <c:pt idx="12">
                  <c:v>0.5231417756366139</c:v>
                </c:pt>
                <c:pt idx="13">
                  <c:v>0.26316148359486446</c:v>
                </c:pt>
                <c:pt idx="14">
                  <c:v>0.6520517042530845</c:v>
                </c:pt>
                <c:pt idx="15">
                  <c:v>0.6427397084371931</c:v>
                </c:pt>
                <c:pt idx="16">
                  <c:v>0.5949063957361759</c:v>
                </c:pt>
                <c:pt idx="17">
                  <c:v>0.9327219911817152</c:v>
                </c:pt>
                <c:pt idx="18">
                  <c:v>0.4424301556420233</c:v>
                </c:pt>
                <c:pt idx="19">
                  <c:v>0.5894753723193802</c:v>
                </c:pt>
                <c:pt idx="20">
                  <c:v>0.7972990861125875</c:v>
                </c:pt>
                <c:pt idx="21">
                  <c:v>0.49536374633876035</c:v>
                </c:pt>
                <c:pt idx="22">
                  <c:v>0.4337138822687685</c:v>
                </c:pt>
                <c:pt idx="23">
                  <c:v>0.6575120746232582</c:v>
                </c:pt>
                <c:pt idx="24">
                  <c:v>0.9258170301536127</c:v>
                </c:pt>
                <c:pt idx="25">
                  <c:v>0.8609544168929428</c:v>
                </c:pt>
                <c:pt idx="26">
                  <c:v>0.9146333996842609</c:v>
                </c:pt>
                <c:pt idx="27">
                  <c:v>7.519310498100025</c:v>
                </c:pt>
                <c:pt idx="28">
                  <c:v>9.43555152815524</c:v>
                </c:pt>
                <c:pt idx="29">
                  <c:v>-0.24741633875058436</c:v>
                </c:pt>
              </c:numCache>
            </c:numRef>
          </c:xVal>
          <c:yVal>
            <c:numRef>
              <c:f>Sheet1!$B$162:$B$191</c:f>
              <c:numCache>
                <c:formatCode>General</c:formatCode>
                <c:ptCount val="30"/>
                <c:pt idx="0">
                  <c:v>0.6389636959427046</c:v>
                </c:pt>
                <c:pt idx="1">
                  <c:v>0.30907800034118055</c:v>
                </c:pt>
                <c:pt idx="2">
                  <c:v>0.2925093950394556</c:v>
                </c:pt>
                <c:pt idx="3">
                  <c:v>0.29974937353816133</c:v>
                </c:pt>
                <c:pt idx="4">
                  <c:v>0.297012906050579</c:v>
                </c:pt>
                <c:pt idx="5">
                  <c:v>0.3353513194646445</c:v>
                </c:pt>
                <c:pt idx="6">
                  <c:v>0.3141253704208789</c:v>
                </c:pt>
                <c:pt idx="7">
                  <c:v>0.2822874174037971</c:v>
                </c:pt>
                <c:pt idx="8">
                  <c:v>0.2827187570914514</c:v>
                </c:pt>
                <c:pt idx="9">
                  <c:v>0.32497939402339804</c:v>
                </c:pt>
                <c:pt idx="10">
                  <c:v>0.31976547796485616</c:v>
                </c:pt>
                <c:pt idx="11">
                  <c:v>0.3180633260461958</c:v>
                </c:pt>
                <c:pt idx="12">
                  <c:v>0.2956182129978683</c:v>
                </c:pt>
                <c:pt idx="13">
                  <c:v>0.2774201810224733</c:v>
                </c:pt>
                <c:pt idx="14">
                  <c:v>0.3046416162123385</c:v>
                </c:pt>
                <c:pt idx="15">
                  <c:v>0.30398979758300515</c:v>
                </c:pt>
                <c:pt idx="16">
                  <c:v>0.30064157396503033</c:v>
                </c:pt>
                <c:pt idx="17">
                  <c:v>0.32428790099784177</c:v>
                </c:pt>
                <c:pt idx="18">
                  <c:v>0.28996858228966205</c:v>
                </c:pt>
                <c:pt idx="19">
                  <c:v>0.30026141461902073</c:v>
                </c:pt>
                <c:pt idx="20">
                  <c:v>0.3148086041738613</c:v>
                </c:pt>
                <c:pt idx="21">
                  <c:v>0.29367381382281615</c:v>
                </c:pt>
                <c:pt idx="22">
                  <c:v>0.28935846288289063</c:v>
                </c:pt>
                <c:pt idx="23">
                  <c:v>0.30502382977865744</c:v>
                </c:pt>
                <c:pt idx="24">
                  <c:v>0.3238045693553106</c:v>
                </c:pt>
                <c:pt idx="25">
                  <c:v>0.31926433324412185</c:v>
                </c:pt>
                <c:pt idx="26">
                  <c:v>0.32302174053669547</c:v>
                </c:pt>
                <c:pt idx="27">
                  <c:v>0.7853341876849125</c:v>
                </c:pt>
                <c:pt idx="28">
                  <c:v>0.9194667223614592</c:v>
                </c:pt>
                <c:pt idx="29">
                  <c:v>0.241680889155388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1367521367521367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1156.6</c:v>
                </c:pt>
                <c:pt idx="1">
                  <c:v>1202.75</c:v>
                </c:pt>
                <c:pt idx="2">
                  <c:v>1181.6111</c:v>
                </c:pt>
                <c:pt idx="3">
                  <c:v>1273.9333</c:v>
                </c:pt>
                <c:pt idx="4">
                  <c:v>1164.5</c:v>
                </c:pt>
                <c:pt idx="5">
                  <c:v>1061.7778</c:v>
                </c:pt>
                <c:pt idx="6">
                  <c:v>985.9118</c:v>
                </c:pt>
                <c:pt idx="7">
                  <c:v>998.08</c:v>
                </c:pt>
                <c:pt idx="8">
                  <c:v>1042.95</c:v>
                </c:pt>
                <c:pt idx="9">
                  <c:v>1286.3333</c:v>
                </c:pt>
                <c:pt idx="10">
                  <c:v>1085.2895</c:v>
                </c:pt>
                <c:pt idx="11">
                  <c:v>1159.08</c:v>
                </c:pt>
                <c:pt idx="12">
                  <c:v>1216.9355</c:v>
                </c:pt>
                <c:pt idx="13">
                  <c:v>1131.0588</c:v>
                </c:pt>
                <c:pt idx="14">
                  <c:v>1135.0968</c:v>
                </c:pt>
                <c:pt idx="15">
                  <c:v>1312.0769</c:v>
                </c:pt>
                <c:pt idx="16">
                  <c:v>1230.5</c:v>
                </c:pt>
                <c:pt idx="17">
                  <c:v>1394.4286</c:v>
                </c:pt>
                <c:pt idx="18">
                  <c:v>1215.0</c:v>
                </c:pt>
                <c:pt idx="19">
                  <c:v>1264.8333</c:v>
                </c:pt>
                <c:pt idx="20">
                  <c:v>1301.0</c:v>
                </c:pt>
                <c:pt idx="21">
                  <c:v>1354.5</c:v>
                </c:pt>
                <c:pt idx="22">
                  <c:v>1205.0</c:v>
                </c:pt>
                <c:pt idx="23">
                  <c:v>1333.75</c:v>
                </c:pt>
                <c:pt idx="24">
                  <c:v>1323.8</c:v>
                </c:pt>
                <c:pt idx="25">
                  <c:v>1110.4</c:v>
                </c:pt>
                <c:pt idx="26">
                  <c:v>1015.0</c:v>
                </c:pt>
                <c:pt idx="27">
                  <c:v>1246.375</c:v>
                </c:pt>
                <c:pt idx="28">
                  <c:v>1271.5</c:v>
                </c:pt>
                <c:pt idx="29">
                  <c:v>1213.2</c:v>
                </c:pt>
                <c:pt idx="30">
                  <c:v>1465.5714</c:v>
                </c:pt>
                <c:pt idx="31">
                  <c:v>1406.2857</c:v>
                </c:pt>
                <c:pt idx="32">
                  <c:v>1335.1667</c:v>
                </c:pt>
                <c:pt idx="33">
                  <c:v>1086.6154</c:v>
                </c:pt>
                <c:pt idx="34">
                  <c:v>1053.8235</c:v>
                </c:pt>
                <c:pt idx="35">
                  <c:v>1279.0</c:v>
                </c:pt>
                <c:pt idx="36">
                  <c:v>906.5</c:v>
                </c:pt>
                <c:pt idx="37">
                  <c:v>827.4211</c:v>
                </c:pt>
                <c:pt idx="38">
                  <c:v>946.4375</c:v>
                </c:pt>
                <c:pt idx="39">
                  <c:v>1188.9091</c:v>
                </c:pt>
                <c:pt idx="40">
                  <c:v>999.6842</c:v>
                </c:pt>
                <c:pt idx="41">
                  <c:v>873.0833</c:v>
                </c:pt>
                <c:pt idx="42">
                  <c:v>1145.7333</c:v>
                </c:pt>
                <c:pt idx="43">
                  <c:v>857.5</c:v>
                </c:pt>
                <c:pt idx="44">
                  <c:v>1181.8947</c:v>
                </c:pt>
                <c:pt idx="45">
                  <c:v>1202.75</c:v>
                </c:pt>
                <c:pt idx="46">
                  <c:v>1109.2917</c:v>
                </c:pt>
                <c:pt idx="47">
                  <c:v>1287.3235</c:v>
                </c:pt>
                <c:pt idx="48">
                  <c:v>1245.7045</c:v>
                </c:pt>
                <c:pt idx="49">
                  <c:v>1148.7273</c:v>
                </c:pt>
                <c:pt idx="50">
                  <c:v>1273.0526</c:v>
                </c:pt>
                <c:pt idx="51">
                  <c:v>1225.5789</c:v>
                </c:pt>
                <c:pt idx="52">
                  <c:v>1538.0</c:v>
                </c:pt>
                <c:pt idx="53">
                  <c:v>1412.6316</c:v>
                </c:pt>
                <c:pt idx="54">
                  <c:v>1587.7143</c:v>
                </c:pt>
                <c:pt idx="55">
                  <c:v>1109.2727</c:v>
                </c:pt>
                <c:pt idx="56">
                  <c:v>1261.2558</c:v>
                </c:pt>
                <c:pt idx="57">
                  <c:v>1432.6538</c:v>
                </c:pt>
                <c:pt idx="58">
                  <c:v>1179.5435</c:v>
                </c:pt>
                <c:pt idx="59">
                  <c:v>1509.5</c:v>
                </c:pt>
                <c:pt idx="60">
                  <c:v>1206.6111</c:v>
                </c:pt>
                <c:pt idx="61">
                  <c:v>1295.3333</c:v>
                </c:pt>
                <c:pt idx="62">
                  <c:v>1166.5</c:v>
                </c:pt>
                <c:pt idx="63">
                  <c:v>935.1944</c:v>
                </c:pt>
                <c:pt idx="64">
                  <c:v>729.2778</c:v>
                </c:pt>
                <c:pt idx="65">
                  <c:v>862.1304</c:v>
                </c:pt>
                <c:pt idx="66">
                  <c:v>821.0526</c:v>
                </c:pt>
                <c:pt idx="67">
                  <c:v>846.3125</c:v>
                </c:pt>
                <c:pt idx="68">
                  <c:v>1120.3333</c:v>
                </c:pt>
                <c:pt idx="69">
                  <c:v>1430.0</c:v>
                </c:pt>
                <c:pt idx="70">
                  <c:v>1368.8889</c:v>
                </c:pt>
                <c:pt idx="71">
                  <c:v>1324.9167</c:v>
                </c:pt>
                <c:pt idx="72">
                  <c:v>1295.6</c:v>
                </c:pt>
                <c:pt idx="73">
                  <c:v>1258.7895</c:v>
                </c:pt>
                <c:pt idx="74">
                  <c:v>1472.1111</c:v>
                </c:pt>
                <c:pt idx="75">
                  <c:v>1421.0714</c:v>
                </c:pt>
                <c:pt idx="76">
                  <c:v>1437.3529</c:v>
                </c:pt>
                <c:pt idx="77">
                  <c:v>1411.875</c:v>
                </c:pt>
                <c:pt idx="78">
                  <c:v>1354.4615</c:v>
                </c:pt>
                <c:pt idx="79">
                  <c:v>1408.5</c:v>
                </c:pt>
                <c:pt idx="80">
                  <c:v>1227.0526</c:v>
                </c:pt>
                <c:pt idx="81">
                  <c:v>1352.7143</c:v>
                </c:pt>
                <c:pt idx="82">
                  <c:v>1330.1176</c:v>
                </c:pt>
                <c:pt idx="83">
                  <c:v>1294.0345</c:v>
                </c:pt>
                <c:pt idx="84">
                  <c:v>1353.375</c:v>
                </c:pt>
                <c:pt idx="85">
                  <c:v>1353.7333</c:v>
                </c:pt>
                <c:pt idx="86">
                  <c:v>1489.4375</c:v>
                </c:pt>
                <c:pt idx="87">
                  <c:v>1463.7692</c:v>
                </c:pt>
              </c:numCache>
            </c:numRef>
          </c:xVal>
          <c:yVal>
            <c:numRef>
              <c:f>Sheet1!$B$2:$B$89</c:f>
              <c:numCache>
                <c:formatCode>General</c:formatCode>
                <c:ptCount val="88"/>
                <c:pt idx="0">
                  <c:v>0.5</c:v>
                </c:pt>
                <c:pt idx="1">
                  <c:v>0.48</c:v>
                </c:pt>
                <c:pt idx="2">
                  <c:v>0.6666666666666666</c:v>
                </c:pt>
                <c:pt idx="3">
                  <c:v>0.6818181818181818</c:v>
                </c:pt>
                <c:pt idx="4">
                  <c:v>0.7272727272727273</c:v>
                </c:pt>
                <c:pt idx="5">
                  <c:v>0.8571428571428571</c:v>
                </c:pt>
                <c:pt idx="6">
                  <c:v>0.8947368421052632</c:v>
                </c:pt>
                <c:pt idx="7">
                  <c:v>0.8928571428571429</c:v>
                </c:pt>
                <c:pt idx="8">
                  <c:v>0.9090909090909091</c:v>
                </c:pt>
                <c:pt idx="9">
                  <c:v>0.8333333333333334</c:v>
                </c:pt>
                <c:pt idx="10">
                  <c:v>0.95</c:v>
                </c:pt>
                <c:pt idx="11">
                  <c:v>0.9259259259259259</c:v>
                </c:pt>
                <c:pt idx="12">
                  <c:v>0.96875</c:v>
                </c:pt>
                <c:pt idx="13">
                  <c:v>0.9444444444444444</c:v>
                </c:pt>
                <c:pt idx="14">
                  <c:v>0.9117647058823529</c:v>
                </c:pt>
                <c:pt idx="15">
                  <c:v>0.9285714285714286</c:v>
                </c:pt>
                <c:pt idx="16">
                  <c:v>0.9333333333333333</c:v>
                </c:pt>
                <c:pt idx="17">
                  <c:v>0.7777777777777778</c:v>
                </c:pt>
                <c:pt idx="18">
                  <c:v>0.8181818181818182</c:v>
                </c:pt>
                <c:pt idx="19">
                  <c:v>0.75</c:v>
                </c:pt>
                <c:pt idx="20">
                  <c:v>0.7647058823529411</c:v>
                </c:pt>
                <c:pt idx="21">
                  <c:v>0.8571428571428571</c:v>
                </c:pt>
                <c:pt idx="22">
                  <c:v>0.8333333333333334</c:v>
                </c:pt>
                <c:pt idx="23">
                  <c:v>1.0</c:v>
                </c:pt>
                <c:pt idx="24">
                  <c:v>0.9090909090909091</c:v>
                </c:pt>
                <c:pt idx="25">
                  <c:v>1.0</c:v>
                </c:pt>
                <c:pt idx="26">
                  <c:v>0.8888888888888888</c:v>
                </c:pt>
                <c:pt idx="27">
                  <c:v>0.8</c:v>
                </c:pt>
                <c:pt idx="28">
                  <c:v>0.9230769230769231</c:v>
                </c:pt>
                <c:pt idx="29">
                  <c:v>0.8333333333333334</c:v>
                </c:pt>
                <c:pt idx="30">
                  <c:v>1.0</c:v>
                </c:pt>
                <c:pt idx="31">
                  <c:v>0.875</c:v>
                </c:pt>
                <c:pt idx="32">
                  <c:v>0.8571428571428571</c:v>
                </c:pt>
                <c:pt idx="33">
                  <c:v>0.9285714285714286</c:v>
                </c:pt>
                <c:pt idx="34">
                  <c:v>0.85</c:v>
                </c:pt>
                <c:pt idx="35">
                  <c:v>0.7222222222222222</c:v>
                </c:pt>
                <c:pt idx="36">
                  <c:v>0.9166666666666666</c:v>
                </c:pt>
                <c:pt idx="37">
                  <c:v>1.0</c:v>
                </c:pt>
                <c:pt idx="38">
                  <c:v>1.0</c:v>
                </c:pt>
                <c:pt idx="39">
                  <c:v>1.0</c:v>
                </c:pt>
                <c:pt idx="40">
                  <c:v>0.9047619047619048</c:v>
                </c:pt>
                <c:pt idx="41">
                  <c:v>0.8571428571428571</c:v>
                </c:pt>
                <c:pt idx="42">
                  <c:v>0.7894736842105263</c:v>
                </c:pt>
                <c:pt idx="43">
                  <c:v>0.9333333333333333</c:v>
                </c:pt>
                <c:pt idx="44">
                  <c:v>0.95</c:v>
                </c:pt>
                <c:pt idx="45">
                  <c:v>1.0</c:v>
                </c:pt>
                <c:pt idx="46">
                  <c:v>0.96</c:v>
                </c:pt>
                <c:pt idx="47">
                  <c:v>0.918918918918919</c:v>
                </c:pt>
                <c:pt idx="48">
                  <c:v>0.9777777777777777</c:v>
                </c:pt>
                <c:pt idx="49">
                  <c:v>0.7096774193548387</c:v>
                </c:pt>
                <c:pt idx="50">
                  <c:v>0.5135135135135135</c:v>
                </c:pt>
                <c:pt idx="51">
                  <c:v>0.5428571428571428</c:v>
                </c:pt>
                <c:pt idx="52">
                  <c:v>0.4642857142857143</c:v>
                </c:pt>
                <c:pt idx="53">
                  <c:v>0.59375</c:v>
                </c:pt>
                <c:pt idx="54">
                  <c:v>0.45161290322580644</c:v>
                </c:pt>
                <c:pt idx="55">
                  <c:v>0.7746478873239436</c:v>
                </c:pt>
                <c:pt idx="56">
                  <c:v>0.7288135593220338</c:v>
                </c:pt>
                <c:pt idx="57">
                  <c:v>0.7428571428571429</c:v>
                </c:pt>
                <c:pt idx="58">
                  <c:v>0.7931034482758621</c:v>
                </c:pt>
                <c:pt idx="59">
                  <c:v>0.5853658536585366</c:v>
                </c:pt>
                <c:pt idx="60">
                  <c:v>0.6792452830188679</c:v>
                </c:pt>
                <c:pt idx="61">
                  <c:v>0.6428571428571429</c:v>
                </c:pt>
                <c:pt idx="62">
                  <c:v>0.5454545454545454</c:v>
                </c:pt>
                <c:pt idx="63">
                  <c:v>0.75</c:v>
                </c:pt>
                <c:pt idx="64">
                  <c:v>0.7346938775510204</c:v>
                </c:pt>
                <c:pt idx="65">
                  <c:v>0.6216216216216216</c:v>
                </c:pt>
                <c:pt idx="66">
                  <c:v>0.5588235294117647</c:v>
                </c:pt>
                <c:pt idx="67">
                  <c:v>0.6153846153846154</c:v>
                </c:pt>
                <c:pt idx="68">
                  <c:v>0.4090909090909091</c:v>
                </c:pt>
                <c:pt idx="69">
                  <c:v>0.29411764705882354</c:v>
                </c:pt>
                <c:pt idx="70">
                  <c:v>0.36</c:v>
                </c:pt>
                <c:pt idx="71">
                  <c:v>0.5454545454545454</c:v>
                </c:pt>
                <c:pt idx="72">
                  <c:v>0.39473684210526316</c:v>
                </c:pt>
                <c:pt idx="73">
                  <c:v>0.3877551020408163</c:v>
                </c:pt>
                <c:pt idx="74">
                  <c:v>0.32727272727272727</c:v>
                </c:pt>
                <c:pt idx="75">
                  <c:v>0.32558139534883723</c:v>
                </c:pt>
                <c:pt idx="76">
                  <c:v>0.3148148148148148</c:v>
                </c:pt>
                <c:pt idx="77">
                  <c:v>0.32653061224489793</c:v>
                </c:pt>
                <c:pt idx="78">
                  <c:v>0.30952380952380953</c:v>
                </c:pt>
                <c:pt idx="79">
                  <c:v>0.4</c:v>
                </c:pt>
                <c:pt idx="80">
                  <c:v>0.4222222222222222</c:v>
                </c:pt>
                <c:pt idx="81">
                  <c:v>0.5121951219512195</c:v>
                </c:pt>
                <c:pt idx="82">
                  <c:v>0.5964912280701754</c:v>
                </c:pt>
                <c:pt idx="83">
                  <c:v>0.4603174603174603</c:v>
                </c:pt>
                <c:pt idx="84">
                  <c:v>0.3404255319148936</c:v>
                </c:pt>
                <c:pt idx="85">
                  <c:v>0.46875</c:v>
                </c:pt>
                <c:pt idx="86">
                  <c:v>0.43243243243243246</c:v>
                </c:pt>
                <c:pt idx="87">
                  <c:v>0.38235294117647056</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35</c:f>
              <c:numCache>
                <c:formatCode>General</c:formatCode>
                <c:ptCount val="44"/>
                <c:pt idx="0">
                  <c:v>1542.0769</c:v>
                </c:pt>
                <c:pt idx="1">
                  <c:v>1336.918</c:v>
                </c:pt>
                <c:pt idx="2">
                  <c:v>1298.7434</c:v>
                </c:pt>
                <c:pt idx="3">
                  <c:v>1334.878</c:v>
                </c:pt>
                <c:pt idx="4">
                  <c:v>1343.5632</c:v>
                </c:pt>
                <c:pt idx="5">
                  <c:v>1220.8026</c:v>
                </c:pt>
                <c:pt idx="6">
                  <c:v>1088.3951</c:v>
                </c:pt>
                <c:pt idx="7">
                  <c:v>1329.1395</c:v>
                </c:pt>
                <c:pt idx="8">
                  <c:v>1362.4872</c:v>
                </c:pt>
                <c:pt idx="9">
                  <c:v>931.8621</c:v>
                </c:pt>
                <c:pt idx="10">
                  <c:v>861.2828</c:v>
                </c:pt>
                <c:pt idx="11">
                  <c:v>821.0</c:v>
                </c:pt>
                <c:pt idx="12">
                  <c:v>827.0392</c:v>
                </c:pt>
                <c:pt idx="13">
                  <c:v>879.8333</c:v>
                </c:pt>
                <c:pt idx="14">
                  <c:v>859.0465</c:v>
                </c:pt>
                <c:pt idx="15">
                  <c:v>994.5625</c:v>
                </c:pt>
                <c:pt idx="16">
                  <c:v>1054.0952</c:v>
                </c:pt>
                <c:pt idx="17">
                  <c:v>1056.6471</c:v>
                </c:pt>
                <c:pt idx="18">
                  <c:v>1001.7222</c:v>
                </c:pt>
                <c:pt idx="19">
                  <c:v>971.5</c:v>
                </c:pt>
                <c:pt idx="20">
                  <c:v>1017.4706</c:v>
                </c:pt>
                <c:pt idx="21">
                  <c:v>1164.1538</c:v>
                </c:pt>
                <c:pt idx="22">
                  <c:v>1563.9</c:v>
                </c:pt>
                <c:pt idx="23">
                  <c:v>1285.0</c:v>
                </c:pt>
                <c:pt idx="24">
                  <c:v>1078.2667</c:v>
                </c:pt>
                <c:pt idx="25">
                  <c:v>1183.2917</c:v>
                </c:pt>
                <c:pt idx="26">
                  <c:v>1517.9643</c:v>
                </c:pt>
                <c:pt idx="27">
                  <c:v>1277.8636</c:v>
                </c:pt>
                <c:pt idx="28">
                  <c:v>1131.8125</c:v>
                </c:pt>
                <c:pt idx="29">
                  <c:v>760.125</c:v>
                </c:pt>
                <c:pt idx="30">
                  <c:v>645.6667</c:v>
                </c:pt>
                <c:pt idx="31">
                  <c:v>945.6923</c:v>
                </c:pt>
                <c:pt idx="32">
                  <c:v>850.9231</c:v>
                </c:pt>
                <c:pt idx="33">
                  <c:v>892.9545</c:v>
                </c:pt>
                <c:pt idx="34">
                  <c:v>1337.9231</c:v>
                </c:pt>
                <c:pt idx="35">
                  <c:v>909.6364</c:v>
                </c:pt>
                <c:pt idx="36">
                  <c:v>927.75</c:v>
                </c:pt>
                <c:pt idx="37">
                  <c:v>1199.8125</c:v>
                </c:pt>
                <c:pt idx="38">
                  <c:v>881.087</c:v>
                </c:pt>
                <c:pt idx="39">
                  <c:v>675.5455</c:v>
                </c:pt>
                <c:pt idx="40">
                  <c:v>991.05</c:v>
                </c:pt>
                <c:pt idx="41">
                  <c:v>1220.4583</c:v>
                </c:pt>
                <c:pt idx="42">
                  <c:v>1287.16</c:v>
                </c:pt>
                <c:pt idx="43">
                  <c:v>1332.5294</c:v>
                </c:pt>
              </c:numCache>
            </c:numRef>
          </c:xVal>
          <c:yVal>
            <c:numRef>
              <c:f>Sheet1!$B$92:$B$135</c:f>
              <c:numCache>
                <c:formatCode>General</c:formatCode>
                <c:ptCount val="44"/>
                <c:pt idx="0">
                  <c:v>0.3170731707317073</c:v>
                </c:pt>
                <c:pt idx="1">
                  <c:v>0.7439024390243902</c:v>
                </c:pt>
                <c:pt idx="2">
                  <c:v>0.8692307692307693</c:v>
                </c:pt>
                <c:pt idx="3">
                  <c:v>0.831081081081081</c:v>
                </c:pt>
                <c:pt idx="4">
                  <c:v>0.7981651376146789</c:v>
                </c:pt>
                <c:pt idx="5">
                  <c:v>0.8636363636363636</c:v>
                </c:pt>
                <c:pt idx="6">
                  <c:v>0.9204545454545454</c:v>
                </c:pt>
                <c:pt idx="7">
                  <c:v>0.7166666666666667</c:v>
                </c:pt>
                <c:pt idx="8">
                  <c:v>0.7222222222222222</c:v>
                </c:pt>
                <c:pt idx="9">
                  <c:v>0.7909090909090909</c:v>
                </c:pt>
                <c:pt idx="10">
                  <c:v>0.8114754098360656</c:v>
                </c:pt>
                <c:pt idx="11">
                  <c:v>0.8383838383838383</c:v>
                </c:pt>
                <c:pt idx="12">
                  <c:v>0.8947368421052632</c:v>
                </c:pt>
                <c:pt idx="13">
                  <c:v>0.7346938775510204</c:v>
                </c:pt>
                <c:pt idx="14">
                  <c:v>0.7049180327868853</c:v>
                </c:pt>
                <c:pt idx="15">
                  <c:v>0.5517241379310345</c:v>
                </c:pt>
                <c:pt idx="16">
                  <c:v>0.5833333333333334</c:v>
                </c:pt>
                <c:pt idx="17">
                  <c:v>0.6071428571428571</c:v>
                </c:pt>
                <c:pt idx="18">
                  <c:v>0.42857142857142855</c:v>
                </c:pt>
                <c:pt idx="19">
                  <c:v>0.3783783783783784</c:v>
                </c:pt>
                <c:pt idx="20">
                  <c:v>0.3695652173913043</c:v>
                </c:pt>
                <c:pt idx="21">
                  <c:v>0.3611111111111111</c:v>
                </c:pt>
                <c:pt idx="22">
                  <c:v>0.23255813953488372</c:v>
                </c:pt>
                <c:pt idx="23">
                  <c:v>0.2</c:v>
                </c:pt>
                <c:pt idx="24">
                  <c:v>0.39473684210526316</c:v>
                </c:pt>
                <c:pt idx="25">
                  <c:v>0.47058823529411764</c:v>
                </c:pt>
                <c:pt idx="26">
                  <c:v>0.3111111111111111</c:v>
                </c:pt>
                <c:pt idx="27">
                  <c:v>0.26506024096385544</c:v>
                </c:pt>
                <c:pt idx="28">
                  <c:v>0.3137254901960784</c:v>
                </c:pt>
                <c:pt idx="29">
                  <c:v>0.5</c:v>
                </c:pt>
                <c:pt idx="30">
                  <c:v>0.4909090909090909</c:v>
                </c:pt>
                <c:pt idx="31">
                  <c:v>0.3291139240506329</c:v>
                </c:pt>
                <c:pt idx="32">
                  <c:v>0.19402985074626866</c:v>
                </c:pt>
                <c:pt idx="33">
                  <c:v>0.2682926829268293</c:v>
                </c:pt>
                <c:pt idx="34">
                  <c:v>0.18309859154929578</c:v>
                </c:pt>
                <c:pt idx="35">
                  <c:v>0.25</c:v>
                </c:pt>
                <c:pt idx="36">
                  <c:v>0.17094017094017094</c:v>
                </c:pt>
                <c:pt idx="37">
                  <c:v>0.1839080459770115</c:v>
                </c:pt>
                <c:pt idx="38">
                  <c:v>0.2804878048780488</c:v>
                </c:pt>
                <c:pt idx="39">
                  <c:v>0.27848101265822783</c:v>
                </c:pt>
                <c:pt idx="40">
                  <c:v>0.2898550724637681</c:v>
                </c:pt>
                <c:pt idx="41">
                  <c:v>0.2696629213483146</c:v>
                </c:pt>
                <c:pt idx="42">
                  <c:v>0.23148148148148148</c:v>
                </c:pt>
                <c:pt idx="43">
                  <c:v>0.2125</c:v>
                </c:pt>
              </c:numCache>
            </c:numRef>
          </c:yVal>
          <c:smooth val="0"/>
          <c:extLst>
            <c:ext xmlns:c16="http://schemas.microsoft.com/office/drawing/2014/chart" uri="{C3380CC4-5D6E-409C-BE32-E72D297353CC}">
              <c16:uniqueId val="{00000002-F32D-48B7-BC20-E66FC6253BAD}"/>
            </c:ext>
          </c:extLst>
        </c:ser>
        <c:ser>
          <c:idx val="2"/>
          <c:order val="2"/>
          <c:tx>
            <c:strRef>
              <c:f>Sheet1!$B$137</c:f>
              <c:strCache>
                <c:ptCount val="1"/>
                <c:pt idx="0">
                  <c:v>Custom Linep3yQ</c:v>
                </c:pt>
              </c:strCache>
            </c:strRef>
          </c:tx>
          <c:spPr>
            <a:ln w="19050" cap="rnd">
              <a:solidFill>
                <a:srgbClr val="C00000"/>
              </a:solidFill>
              <a:prstDash val="sysDot"/>
              <a:round/>
            </a:ln>
            <a:effectLst/>
          </c:spPr>
          <c:marker>
            <c:symbol val="none"/>
          </c:marker>
          <c:xVal>
            <c:numRef>
              <c:f>Sheet1!$A$138:$A$139</c:f>
              <c:numCache>
                <c:formatCode>General</c:formatCode>
                <c:ptCount val="2"/>
                <c:pt idx="0">
                  <c:v>0</c:v>
                </c:pt>
                <c:pt idx="1">
                  <c:v>-3851.719602090872</c:v>
                </c:pt>
              </c:numCache>
            </c:numRef>
          </c:xVal>
          <c:yVal>
            <c:numRef>
              <c:f>Sheet1!$B$138:$B$139</c:f>
              <c:numCache>
                <c:formatCode>General</c:formatCode>
                <c:ptCount val="2"/>
                <c:pt idx="0">
                  <c:v>0.9194667223614591</c:v>
                </c:pt>
                <c:pt idx="1">
                  <c:v>0.9194667223614591</c:v>
                </c:pt>
              </c:numCache>
            </c:numRef>
          </c:yVal>
          <c:smooth val="0"/>
          <c:extLst>
            <c:ext xmlns:c16="http://schemas.microsoft.com/office/drawing/2014/chart" uri="{C3380CC4-5D6E-409C-BE32-E72D297353CC}">
              <c16:uniqueId val="{00000003-F32D-48B7-BC20-E66FC6253BAD}"/>
            </c:ext>
          </c:extLst>
        </c:ser>
        <c:ser>
          <c:idx val="3"/>
          <c:order val="3"/>
          <c:tx>
            <c:strRef>
              <c:f>Sheet1!$B$14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3851.719602090872</c:v>
                </c:pt>
                <c:pt idx="1">
                  <c:v>-3851.719602090872</c:v>
                </c:pt>
              </c:numCache>
            </c:numRef>
          </c:xVal>
          <c:yVal>
            <c:numRef>
              <c:f>Sheet1!$B$142:$B$143</c:f>
              <c:numCache>
                <c:formatCode>General</c:formatCode>
                <c:ptCount val="2"/>
                <c:pt idx="0">
                  <c:v>0.919466722361459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6:$A$147</c:f>
              <c:numCache>
                <c:formatCode>General</c:formatCode>
                <c:ptCount val="2"/>
                <c:pt idx="0">
                  <c:v>0</c:v>
                </c:pt>
                <c:pt idx="1">
                  <c:v>-2338.837567498959</c:v>
                </c:pt>
              </c:numCache>
            </c:numRef>
          </c:xVal>
          <c:yVal>
            <c:numRef>
              <c:f>Sheet1!$B$146:$B$147</c:f>
              <c:numCache>
                <c:formatCode>General</c:formatCode>
                <c:ptCount val="2"/>
                <c:pt idx="0">
                  <c:v>0.7853341876849124</c:v>
                </c:pt>
                <c:pt idx="1">
                  <c:v>0.7853341876849124</c:v>
                </c:pt>
              </c:numCache>
            </c:numRef>
          </c:yVal>
          <c:smooth val="0"/>
          <c:extLst>
            <c:ext xmlns:c16="http://schemas.microsoft.com/office/drawing/2014/chart" uri="{C3380CC4-5D6E-409C-BE32-E72D297353CC}">
              <c16:uniqueId val="{0000000A-F32D-48B7-BC20-E66FC6253BAD}"/>
            </c:ext>
          </c:extLst>
        </c:ser>
        <c:ser>
          <c:idx val="5"/>
          <c:order val="5"/>
          <c:tx>
            <c:strRef>
              <c:f>Sheet1!$B$14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0:$A$151</c:f>
              <c:numCache>
                <c:formatCode>General</c:formatCode>
                <c:ptCount val="2"/>
                <c:pt idx="0">
                  <c:v>-2338.837567498959</c:v>
                </c:pt>
                <c:pt idx="1">
                  <c:v>-2338.837567498959</c:v>
                </c:pt>
              </c:numCache>
            </c:numRef>
          </c:xVal>
          <c:yVal>
            <c:numRef>
              <c:f>Sheet1!$B$150:$B$151</c:f>
              <c:numCache>
                <c:formatCode>General</c:formatCode>
                <c:ptCount val="2"/>
                <c:pt idx="0">
                  <c:v>0.785334187684912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4:$A$155</c:f>
              <c:numCache>
                <c:formatCode>General</c:formatCode>
                <c:ptCount val="2"/>
                <c:pt idx="0">
                  <c:v>0</c:v>
                </c:pt>
                <c:pt idx="1">
                  <c:v>3793.032752966722</c:v>
                </c:pt>
              </c:numCache>
            </c:numRef>
          </c:xVal>
          <c:yVal>
            <c:numRef>
              <c:f>Sheet1!$B$154:$B$155</c:f>
              <c:numCache>
                <c:formatCode>General</c:formatCode>
                <c:ptCount val="2"/>
                <c:pt idx="0">
                  <c:v>0.24168088915538843</c:v>
                </c:pt>
                <c:pt idx="1">
                  <c:v>0.24168088915538843</c:v>
                </c:pt>
              </c:numCache>
            </c:numRef>
          </c:yVal>
          <c:smooth val="0"/>
          <c:extLst>
            <c:ext xmlns:c16="http://schemas.microsoft.com/office/drawing/2014/chart" uri="{C3380CC4-5D6E-409C-BE32-E72D297353CC}">
              <c16:uniqueId val="{00000011-F32D-48B7-BC20-E66FC6253BAD}"/>
            </c:ext>
          </c:extLst>
        </c:ser>
        <c:ser>
          <c:idx val="7"/>
          <c:order val="7"/>
          <c:tx>
            <c:strRef>
              <c:f>Sheet1!$B$15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8:$A$159</c:f>
              <c:numCache>
                <c:formatCode>General</c:formatCode>
                <c:ptCount val="2"/>
                <c:pt idx="0">
                  <c:v>3793.032752966722</c:v>
                </c:pt>
                <c:pt idx="1">
                  <c:v>3793.032752966722</c:v>
                </c:pt>
              </c:numCache>
            </c:numRef>
          </c:xVal>
          <c:yVal>
            <c:numRef>
              <c:f>Sheet1!$B$158:$B$159</c:f>
              <c:numCache>
                <c:formatCode>General</c:formatCode>
                <c:ptCount val="2"/>
                <c:pt idx="0">
                  <c:v>0.2416808891553884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2:$A$208</c:f>
              <c:numCache>
                <c:formatCode>General</c:formatCode>
                <c:ptCount val="47"/>
                <c:pt idx="0">
                  <c:v>1542.0769</c:v>
                </c:pt>
                <c:pt idx="1">
                  <c:v>1336.918</c:v>
                </c:pt>
                <c:pt idx="2">
                  <c:v>1298.7434</c:v>
                </c:pt>
                <c:pt idx="3">
                  <c:v>1334.878</c:v>
                </c:pt>
                <c:pt idx="4">
                  <c:v>1343.5632</c:v>
                </c:pt>
                <c:pt idx="5">
                  <c:v>1220.8026</c:v>
                </c:pt>
                <c:pt idx="6">
                  <c:v>1088.3951</c:v>
                </c:pt>
                <c:pt idx="7">
                  <c:v>1329.1395</c:v>
                </c:pt>
                <c:pt idx="8">
                  <c:v>1362.4872</c:v>
                </c:pt>
                <c:pt idx="9">
                  <c:v>931.8621</c:v>
                </c:pt>
                <c:pt idx="10">
                  <c:v>861.2828</c:v>
                </c:pt>
                <c:pt idx="11">
                  <c:v>821.0</c:v>
                </c:pt>
                <c:pt idx="12">
                  <c:v>827.0392</c:v>
                </c:pt>
                <c:pt idx="13">
                  <c:v>879.8333</c:v>
                </c:pt>
                <c:pt idx="14">
                  <c:v>859.0465</c:v>
                </c:pt>
                <c:pt idx="15">
                  <c:v>994.5625</c:v>
                </c:pt>
                <c:pt idx="16">
                  <c:v>1054.0952</c:v>
                </c:pt>
                <c:pt idx="17">
                  <c:v>1056.6471</c:v>
                </c:pt>
                <c:pt idx="18">
                  <c:v>1001.7222</c:v>
                </c:pt>
                <c:pt idx="19">
                  <c:v>971.5</c:v>
                </c:pt>
                <c:pt idx="20">
                  <c:v>1017.4706</c:v>
                </c:pt>
                <c:pt idx="21">
                  <c:v>1164.1538</c:v>
                </c:pt>
                <c:pt idx="22">
                  <c:v>1563.9</c:v>
                </c:pt>
                <c:pt idx="23">
                  <c:v>1285.0</c:v>
                </c:pt>
                <c:pt idx="24">
                  <c:v>1078.2667</c:v>
                </c:pt>
                <c:pt idx="25">
                  <c:v>1183.2917</c:v>
                </c:pt>
                <c:pt idx="26">
                  <c:v>1517.9643</c:v>
                </c:pt>
                <c:pt idx="27">
                  <c:v>1277.8636</c:v>
                </c:pt>
                <c:pt idx="28">
                  <c:v>1131.8125</c:v>
                </c:pt>
                <c:pt idx="29">
                  <c:v>760.125</c:v>
                </c:pt>
                <c:pt idx="30">
                  <c:v>645.6667</c:v>
                </c:pt>
                <c:pt idx="31">
                  <c:v>945.6923</c:v>
                </c:pt>
                <c:pt idx="32">
                  <c:v>850.9231</c:v>
                </c:pt>
                <c:pt idx="33">
                  <c:v>892.9545</c:v>
                </c:pt>
                <c:pt idx="34">
                  <c:v>1337.9231</c:v>
                </c:pt>
                <c:pt idx="35">
                  <c:v>909.6364</c:v>
                </c:pt>
                <c:pt idx="36">
                  <c:v>927.75</c:v>
                </c:pt>
                <c:pt idx="37">
                  <c:v>1199.8125</c:v>
                </c:pt>
                <c:pt idx="38">
                  <c:v>881.087</c:v>
                </c:pt>
                <c:pt idx="39">
                  <c:v>675.5455</c:v>
                </c:pt>
                <c:pt idx="40">
                  <c:v>991.05</c:v>
                </c:pt>
                <c:pt idx="41">
                  <c:v>1220.4583</c:v>
                </c:pt>
                <c:pt idx="42">
                  <c:v>1287.16</c:v>
                </c:pt>
                <c:pt idx="43">
                  <c:v>1332.5294</c:v>
                </c:pt>
                <c:pt idx="44">
                  <c:v>-2338.837567498959</c:v>
                </c:pt>
                <c:pt idx="45">
                  <c:v>-3851.719602090872</c:v>
                </c:pt>
                <c:pt idx="46">
                  <c:v>3793.032752966722</c:v>
                </c:pt>
              </c:numCache>
            </c:numRef>
          </c:xVal>
          <c:yVal>
            <c:numRef>
              <c:f>Sheet1!$B$162:$B$208</c:f>
              <c:numCache>
                <c:formatCode>General</c:formatCode>
                <c:ptCount val="47"/>
                <c:pt idx="0">
                  <c:v>0.4412512502938739</c:v>
                </c:pt>
                <c:pt idx="1">
                  <c:v>0.45944069444037344</c:v>
                </c:pt>
                <c:pt idx="2">
                  <c:v>0.4628252649099702</c:v>
                </c:pt>
                <c:pt idx="3">
                  <c:v>0.45962156139793103</c:v>
                </c:pt>
                <c:pt idx="4">
                  <c:v>0.458851529192157</c:v>
                </c:pt>
                <c:pt idx="5">
                  <c:v>0.46973551754016807</c:v>
                </c:pt>
                <c:pt idx="6">
                  <c:v>0.48147480267879783</c:v>
                </c:pt>
                <c:pt idx="7">
                  <c:v>0.460130338376335</c:v>
                </c:pt>
                <c:pt idx="8">
                  <c:v>0.4571737221799905</c:v>
                </c:pt>
                <c:pt idx="9">
                  <c:v>0.49535306124122924</c:v>
                </c:pt>
                <c:pt idx="10">
                  <c:v>0.5016106412694369</c:v>
                </c:pt>
                <c:pt idx="11">
                  <c:v>0.5051821253272312</c:v>
                </c:pt>
                <c:pt idx="12">
                  <c:v>0.5046466882046421</c:v>
                </c:pt>
                <c:pt idx="13">
                  <c:v>0.49996594886935264</c:v>
                </c:pt>
                <c:pt idx="14">
                  <c:v>0.5018089122386457</c:v>
                </c:pt>
                <c:pt idx="15">
                  <c:v>0.4897940266404239</c:v>
                </c:pt>
                <c:pt idx="16">
                  <c:v>0.48451584118739055</c:v>
                </c:pt>
                <c:pt idx="17">
                  <c:v>0.4842895890359243</c:v>
                </c:pt>
                <c:pt idx="18">
                  <c:v>0.4891592456815881</c:v>
                </c:pt>
                <c:pt idx="19">
                  <c:v>0.49183875419369427</c:v>
                </c:pt>
                <c:pt idx="20">
                  <c:v>0.4877629882333529</c:v>
                </c:pt>
                <c:pt idx="21">
                  <c:v>0.4747580156309953</c:v>
                </c:pt>
                <c:pt idx="22">
                  <c:v>0.43931640828334706</c:v>
                </c:pt>
                <c:pt idx="23">
                  <c:v>0.46404375851021373</c:v>
                </c:pt>
                <c:pt idx="24">
                  <c:v>0.4823727893910166</c:v>
                </c:pt>
                <c:pt idx="25">
                  <c:v>0.4730612441863673</c:v>
                </c:pt>
                <c:pt idx="26">
                  <c:v>0.44338908000014976</c:v>
                </c:pt>
                <c:pt idx="27">
                  <c:v>0.46467647368468135</c:v>
                </c:pt>
                <c:pt idx="28">
                  <c:v>0.4776254041282781</c:v>
                </c:pt>
                <c:pt idx="29">
                  <c:v>0.5105793194651318</c:v>
                </c:pt>
                <c:pt idx="30">
                  <c:v>0.5207272236260203</c:v>
                </c:pt>
                <c:pt idx="31">
                  <c:v>0.4941268719292622</c:v>
                </c:pt>
                <c:pt idx="32">
                  <c:v>0.5025291351028728</c:v>
                </c:pt>
                <c:pt idx="33">
                  <c:v>0.49880261969116413</c:v>
                </c:pt>
                <c:pt idx="34">
                  <c:v>0.459351581999667</c:v>
                </c:pt>
                <c:pt idx="35">
                  <c:v>0.49732359787779173</c:v>
                </c:pt>
                <c:pt idx="36">
                  <c:v>0.49571764115111777</c:v>
                </c:pt>
                <c:pt idx="37">
                  <c:v>0.47159650554302557</c:v>
                </c:pt>
                <c:pt idx="38">
                  <c:v>0.4998547954847007</c:v>
                </c:pt>
                <c:pt idx="39">
                  <c:v>0.5180781610517696</c:v>
                </c:pt>
                <c:pt idx="40">
                  <c:v>0.49010544585043414</c:v>
                </c:pt>
                <c:pt idx="41">
                  <c:v>0.46976604327226956</c:v>
                </c:pt>
                <c:pt idx="42">
                  <c:v>0.46385225231985866</c:v>
                </c:pt>
                <c:pt idx="43">
                  <c:v>0.4598297889158328</c:v>
                </c:pt>
                <c:pt idx="44">
                  <c:v>0.7853341876849124</c:v>
                </c:pt>
                <c:pt idx="45">
                  <c:v>0.9194667223614591</c:v>
                </c:pt>
                <c:pt idx="46">
                  <c:v>0.2416808891553884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55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1367521367521367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8256373149176406</c:v>
                </c:pt>
                <c:pt idx="1">
                  <c:v>2.016263018525901</c:v>
                </c:pt>
                <c:pt idx="2">
                  <c:v>2.1872766964713946</c:v>
                </c:pt>
                <c:pt idx="3">
                  <c:v>2.235183462866248</c:v>
                </c:pt>
                <c:pt idx="4">
                  <c:v>2.3156227884939486</c:v>
                </c:pt>
                <c:pt idx="5">
                  <c:v>1.9633545972365551</c:v>
                </c:pt>
                <c:pt idx="6">
                  <c:v>1.730945114425019</c:v>
                </c:pt>
                <c:pt idx="7">
                  <c:v>1.737559693804241</c:v>
                </c:pt>
                <c:pt idx="8">
                  <c:v>1.6998311098732977</c:v>
                </c:pt>
                <c:pt idx="9">
                  <c:v>1.6901465475491</c:v>
                </c:pt>
                <c:pt idx="10">
                  <c:v>1.5656923859545242</c:v>
                </c:pt>
                <c:pt idx="11">
                  <c:v>1.5940749067242832</c:v>
                </c:pt>
                <c:pt idx="12">
                  <c:v>1.5484986276904853</c:v>
                </c:pt>
                <c:pt idx="13">
                  <c:v>1.5621812642718957</c:v>
                </c:pt>
                <c:pt idx="14">
                  <c:v>1.7659454300623594</c:v>
                </c:pt>
                <c:pt idx="15">
                  <c:v>1.7343615124992404</c:v>
                </c:pt>
                <c:pt idx="16">
                  <c:v>1.7156041462822391</c:v>
                </c:pt>
                <c:pt idx="17">
                  <c:v>1.9551131242265354</c:v>
                </c:pt>
                <c:pt idx="18">
                  <c:v>2.0369186388738654</c:v>
                </c:pt>
                <c:pt idx="19">
                  <c:v>2.3944969696728067</c:v>
                </c:pt>
                <c:pt idx="20">
                  <c:v>2.6149314639436794</c:v>
                </c:pt>
                <c:pt idx="21">
                  <c:v>2.6311869137645645</c:v>
                </c:pt>
                <c:pt idx="22">
                  <c:v>2.609518206704917</c:v>
                </c:pt>
                <c:pt idx="23">
                  <c:v>2.5897635277531506</c:v>
                </c:pt>
                <c:pt idx="24">
                  <c:v>2.5961649501401007</c:v>
                </c:pt>
                <c:pt idx="25">
                  <c:v>2.5362478849157912</c:v>
                </c:pt>
                <c:pt idx="26">
                  <c:v>1.888429215589416</c:v>
                </c:pt>
                <c:pt idx="27">
                  <c:v>1.7934134817503602</c:v>
                </c:pt>
                <c:pt idx="28">
                  <c:v>1.8265870464645741</c:v>
                </c:pt>
                <c:pt idx="29">
                  <c:v>1.6329121882892104</c:v>
                </c:pt>
                <c:pt idx="30">
                  <c:v>1.6581647019192216</c:v>
                </c:pt>
                <c:pt idx="31">
                  <c:v>1.72146423405176</c:v>
                </c:pt>
                <c:pt idx="32">
                  <c:v>1.6746334148879158</c:v>
                </c:pt>
                <c:pt idx="33">
                  <c:v>1.5690823838007792</c:v>
                </c:pt>
                <c:pt idx="34">
                  <c:v>1.6940793291092944</c:v>
                </c:pt>
                <c:pt idx="35">
                  <c:v>1.8836997104399484</c:v>
                </c:pt>
                <c:pt idx="36">
                  <c:v>2.041933486116557</c:v>
                </c:pt>
                <c:pt idx="37">
                  <c:v>2.0278469762844313</c:v>
                </c:pt>
                <c:pt idx="38">
                  <c:v>2.040862913559067</c:v>
                </c:pt>
                <c:pt idx="39">
                  <c:v>2.0365645134786363</c:v>
                </c:pt>
                <c:pt idx="40">
                  <c:v>2.1289300324655165</c:v>
                </c:pt>
                <c:pt idx="41">
                  <c:v>2.187023830185053</c:v>
                </c:pt>
                <c:pt idx="42">
                  <c:v>2.176608714987789</c:v>
                </c:pt>
                <c:pt idx="43">
                  <c:v>2.1326550933327577</c:v>
                </c:pt>
                <c:pt idx="44">
                  <c:v>2.015235725960106</c:v>
                </c:pt>
                <c:pt idx="45">
                  <c:v>1.929657092015066</c:v>
                </c:pt>
                <c:pt idx="46">
                  <c:v>1.943189916672319</c:v>
                </c:pt>
                <c:pt idx="47">
                  <c:v>1.8909106793280446</c:v>
                </c:pt>
                <c:pt idx="48">
                  <c:v>1.7941396765532267</c:v>
                </c:pt>
                <c:pt idx="49">
                  <c:v>1.741381324158947</c:v>
                </c:pt>
                <c:pt idx="50">
                  <c:v>1.7136842011863525</c:v>
                </c:pt>
                <c:pt idx="51">
                  <c:v>1.6680977602081275</c:v>
                </c:pt>
                <c:pt idx="52">
                  <c:v>1.6906233365612506</c:v>
                </c:pt>
                <c:pt idx="53">
                  <c:v>2.0420416259458203</c:v>
                </c:pt>
                <c:pt idx="54">
                  <c:v>2.062323971039721</c:v>
                </c:pt>
                <c:pt idx="55">
                  <c:v>2.10029953359183</c:v>
                </c:pt>
                <c:pt idx="56">
                  <c:v>2.164914660466116</c:v>
                </c:pt>
                <c:pt idx="57">
                  <c:v>2.1352723280867676</c:v>
                </c:pt>
                <c:pt idx="58">
                  <c:v>2.0755050058297364</c:v>
                </c:pt>
                <c:pt idx="59">
                  <c:v>2.126063980134051</c:v>
                </c:pt>
                <c:pt idx="60">
                  <c:v>2.1315661988377617</c:v>
                </c:pt>
                <c:pt idx="61">
                  <c:v>2.043998428797463</c:v>
                </c:pt>
                <c:pt idx="62">
                  <c:v>1.928902700767</c:v>
                </c:pt>
                <c:pt idx="63">
                  <c:v>1.9391138799949685</c:v>
                </c:pt>
                <c:pt idx="64">
                  <c:v>1.894151891734674</c:v>
                </c:pt>
                <c:pt idx="65">
                  <c:v>1.8786058993021462</c:v>
                </c:pt>
                <c:pt idx="66">
                  <c:v>2.005130190669803</c:v>
                </c:pt>
                <c:pt idx="67">
                  <c:v>2.0759407449064207</c:v>
                </c:pt>
                <c:pt idx="68">
                  <c:v>2.049297997025752</c:v>
                </c:pt>
                <c:pt idx="69">
                  <c:v>2.046536112986882</c:v>
                </c:pt>
                <c:pt idx="70">
                  <c:v>2.027479437467005</c:v>
                </c:pt>
                <c:pt idx="71">
                  <c:v>2.101373865339929</c:v>
                </c:pt>
                <c:pt idx="72">
                  <c:v>2.2234337479891084</c:v>
                </c:pt>
                <c:pt idx="73">
                  <c:v>2.2575999436826244</c:v>
                </c:pt>
                <c:pt idx="74">
                  <c:v>2.171199531434204</c:v>
                </c:pt>
                <c:pt idx="75">
                  <c:v>2.117683857186451</c:v>
                </c:pt>
                <c:pt idx="76">
                  <c:v>2.196980430065784</c:v>
                </c:pt>
                <c:pt idx="77">
                  <c:v>2.2778843338126027</c:v>
                </c:pt>
                <c:pt idx="78">
                  <c:v>2.28513902496025</c:v>
                </c:pt>
                <c:pt idx="79">
                  <c:v>2.4223370415426535</c:v>
                </c:pt>
                <c:pt idx="80">
                  <c:v>2.3689550794144956</c:v>
                </c:pt>
                <c:pt idx="81">
                  <c:v>2.336722310465303</c:v>
                </c:pt>
                <c:pt idx="82">
                  <c:v>2.3451749762495617</c:v>
                </c:pt>
                <c:pt idx="83">
                  <c:v>2.3508119146441784</c:v>
                </c:pt>
                <c:pt idx="84">
                  <c:v>2.329658766337478</c:v>
                </c:pt>
                <c:pt idx="85">
                  <c:v>2.297944825100572</c:v>
                </c:pt>
                <c:pt idx="86">
                  <c:v>2.4055234253175355</c:v>
                </c:pt>
                <c:pt idx="87">
                  <c:v>2.4142960442014445</c:v>
                </c:pt>
                <c:pt idx="88">
                  <c:v>2.417602713172316</c:v>
                </c:pt>
                <c:pt idx="89">
                  <c:v>2.4098164471889074</c:v>
                </c:pt>
                <c:pt idx="90">
                  <c:v>2.5059710611046104</c:v>
                </c:pt>
                <c:pt idx="91">
                  <c:v>2.5215380019329</c:v>
                </c:pt>
                <c:pt idx="92">
                  <c:v>2.183527127300338</c:v>
                </c:pt>
                <c:pt idx="93">
                  <c:v>1.9848047947581062</c:v>
                </c:pt>
                <c:pt idx="94">
                  <c:v>1.8440000531174756</c:v>
                </c:pt>
                <c:pt idx="95">
                  <c:v>1.817369635296921</c:v>
                </c:pt>
                <c:pt idx="96">
                  <c:v>1.6504192161150233</c:v>
                </c:pt>
                <c:pt idx="97">
                  <c:v>1.658995776217221</c:v>
                </c:pt>
                <c:pt idx="98">
                  <c:v>1.6280522584387596</c:v>
                </c:pt>
                <c:pt idx="99">
                  <c:v>1.5796801673342262</c:v>
                </c:pt>
                <c:pt idx="100">
                  <c:v>1.476124701687661</c:v>
                </c:pt>
                <c:pt idx="101">
                  <c:v>1.6326071855060567</c:v>
                </c:pt>
                <c:pt idx="102">
                  <c:v>1.6618606569984669</c:v>
                </c:pt>
                <c:pt idx="103">
                  <c:v>1.5683576247216604</c:v>
                </c:pt>
                <c:pt idx="104">
                  <c:v>1.6552646591381308</c:v>
                </c:pt>
              </c:numCache>
            </c:numRef>
          </c:xVal>
          <c:yVal>
            <c:numRef>
              <c:f>Sheet1!$B$2:$B$106</c:f>
              <c:numCache>
                <c:formatCode>General</c:formatCode>
                <c:ptCount val="105"/>
                <c:pt idx="0">
                  <c:v>0.7359617682198327</c:v>
                </c:pt>
                <c:pt idx="1">
                  <c:v>0.7220270948319117</c:v>
                </c:pt>
                <c:pt idx="2">
                  <c:v>0.6135862373180415</c:v>
                </c:pt>
                <c:pt idx="3">
                  <c:v>0.5472344591287323</c:v>
                </c:pt>
                <c:pt idx="4">
                  <c:v>0.4623376623376623</c:v>
                </c:pt>
                <c:pt idx="5">
                  <c:v>0.4175</c:v>
                </c:pt>
                <c:pt idx="6">
                  <c:v>0.4377224199288256</c:v>
                </c:pt>
                <c:pt idx="7">
                  <c:v>0.40794979079497906</c:v>
                </c:pt>
                <c:pt idx="8">
                  <c:v>0.5460405156537753</c:v>
                </c:pt>
                <c:pt idx="9">
                  <c:v>0.6404761904761904</c:v>
                </c:pt>
                <c:pt idx="10">
                  <c:v>0.714371617558629</c:v>
                </c:pt>
                <c:pt idx="11">
                  <c:v>0.7245817245817245</c:v>
                </c:pt>
                <c:pt idx="12">
                  <c:v>0.7582710779082177</c:v>
                </c:pt>
                <c:pt idx="13">
                  <c:v>0.782941498086386</c:v>
                </c:pt>
                <c:pt idx="14">
                  <c:v>0.8114997036158862</c:v>
                </c:pt>
                <c:pt idx="15">
                  <c:v>0.77542062911485</c:v>
                </c:pt>
                <c:pt idx="16">
                  <c:v>0.7563237774030354</c:v>
                </c:pt>
                <c:pt idx="17">
                  <c:v>0.7209737827715356</c:v>
                </c:pt>
                <c:pt idx="18">
                  <c:v>0.7304347826086957</c:v>
                </c:pt>
                <c:pt idx="19">
                  <c:v>0.5945273631840796</c:v>
                </c:pt>
                <c:pt idx="20">
                  <c:v>0.6132437619961613</c:v>
                </c:pt>
                <c:pt idx="21">
                  <c:v>0.5900116144018583</c:v>
                </c:pt>
                <c:pt idx="22">
                  <c:v>0.5559174809989142</c:v>
                </c:pt>
                <c:pt idx="23">
                  <c:v>0.599523241954708</c:v>
                </c:pt>
                <c:pt idx="24">
                  <c:v>0.5746652935118435</c:v>
                </c:pt>
                <c:pt idx="25">
                  <c:v>0.5761670761670762</c:v>
                </c:pt>
                <c:pt idx="26">
                  <c:v>0.6653116531165312</c:v>
                </c:pt>
                <c:pt idx="27">
                  <c:v>0.6662234042553191</c:v>
                </c:pt>
                <c:pt idx="28">
                  <c:v>0.5950752393980848</c:v>
                </c:pt>
                <c:pt idx="29">
                  <c:v>0.571773220747889</c:v>
                </c:pt>
                <c:pt idx="30">
                  <c:v>0.5441696113074205</c:v>
                </c:pt>
                <c:pt idx="31">
                  <c:v>0.5286821705426357</c:v>
                </c:pt>
                <c:pt idx="32">
                  <c:v>0.552046783625731</c:v>
                </c:pt>
                <c:pt idx="33">
                  <c:v>0.5548172757475083</c:v>
                </c:pt>
                <c:pt idx="34">
                  <c:v>0.5738636363636364</c:v>
                </c:pt>
                <c:pt idx="35">
                  <c:v>0.6204620462046204</c:v>
                </c:pt>
                <c:pt idx="36">
                  <c:v>0.5808510638297872</c:v>
                </c:pt>
                <c:pt idx="37">
                  <c:v>0.5865139949109415</c:v>
                </c:pt>
                <c:pt idx="38">
                  <c:v>0.6368563685636857</c:v>
                </c:pt>
                <c:pt idx="39">
                  <c:v>0.6789554531490015</c:v>
                </c:pt>
                <c:pt idx="40">
                  <c:v>0.6104328523862376</c:v>
                </c:pt>
                <c:pt idx="41">
                  <c:v>0.5218543046357615</c:v>
                </c:pt>
                <c:pt idx="42">
                  <c:v>0.49524714828897337</c:v>
                </c:pt>
                <c:pt idx="43">
                  <c:v>0.46759941089838</c:v>
                </c:pt>
                <c:pt idx="44">
                  <c:v>0.5476304451890857</c:v>
                </c:pt>
                <c:pt idx="45">
                  <c:v>0.6167693036475604</c:v>
                </c:pt>
                <c:pt idx="46">
                  <c:v>0.610361340879408</c:v>
                </c:pt>
                <c:pt idx="47">
                  <c:v>0.5841995841995842</c:v>
                </c:pt>
                <c:pt idx="48">
                  <c:v>0.6094739741118149</c:v>
                </c:pt>
                <c:pt idx="49">
                  <c:v>0.6445806204519341</c:v>
                </c:pt>
                <c:pt idx="50">
                  <c:v>0.5920945395273024</c:v>
                </c:pt>
                <c:pt idx="51">
                  <c:v>0.5655860349127182</c:v>
                </c:pt>
                <c:pt idx="52">
                  <c:v>0.5844875346260388</c:v>
                </c:pt>
                <c:pt idx="53">
                  <c:v>0.5082389289392379</c:v>
                </c:pt>
                <c:pt idx="54">
                  <c:v>0.4942339373970346</c:v>
                </c:pt>
                <c:pt idx="55">
                  <c:v>0.47165532879818595</c:v>
                </c:pt>
                <c:pt idx="56">
                  <c:v>0.4898534385569335</c:v>
                </c:pt>
                <c:pt idx="57">
                  <c:v>0.48528678304239403</c:v>
                </c:pt>
                <c:pt idx="58">
                  <c:v>0.5340909090909091</c:v>
                </c:pt>
                <c:pt idx="59">
                  <c:v>0.5508136321768499</c:v>
                </c:pt>
                <c:pt idx="60">
                  <c:v>0.571334431630972</c:v>
                </c:pt>
                <c:pt idx="61">
                  <c:v>0.5356138706654171</c:v>
                </c:pt>
                <c:pt idx="62">
                  <c:v>0.5833692373976734</c:v>
                </c:pt>
                <c:pt idx="63">
                  <c:v>0.6275018532246108</c:v>
                </c:pt>
                <c:pt idx="64">
                  <c:v>0.6479190101237345</c:v>
                </c:pt>
                <c:pt idx="65">
                  <c:v>0.6186161449752883</c:v>
                </c:pt>
                <c:pt idx="66">
                  <c:v>0.593764761454889</c:v>
                </c:pt>
                <c:pt idx="67">
                  <c:v>0.606701030927835</c:v>
                </c:pt>
                <c:pt idx="68">
                  <c:v>0.577189666036547</c:v>
                </c:pt>
                <c:pt idx="69">
                  <c:v>0.5411365564037319</c:v>
                </c:pt>
                <c:pt idx="70">
                  <c:v>0.5108359133126935</c:v>
                </c:pt>
                <c:pt idx="71">
                  <c:v>0.5094339622641509</c:v>
                </c:pt>
                <c:pt idx="72">
                  <c:v>0.5107806691449814</c:v>
                </c:pt>
                <c:pt idx="73">
                  <c:v>0.5069659442724458</c:v>
                </c:pt>
                <c:pt idx="74">
                  <c:v>0.48457486832204666</c:v>
                </c:pt>
                <c:pt idx="75">
                  <c:v>0.4945652173913043</c:v>
                </c:pt>
                <c:pt idx="76">
                  <c:v>0.467444120505345</c:v>
                </c:pt>
                <c:pt idx="77">
                  <c:v>0.4854368932038835</c:v>
                </c:pt>
                <c:pt idx="78">
                  <c:v>0.4807692307692308</c:v>
                </c:pt>
                <c:pt idx="79">
                  <c:v>0.4920273348519362</c:v>
                </c:pt>
                <c:pt idx="80">
                  <c:v>0.4402234636871508</c:v>
                </c:pt>
                <c:pt idx="81">
                  <c:v>0.4524207011686144</c:v>
                </c:pt>
                <c:pt idx="82">
                  <c:v>0.43448275862068964</c:v>
                </c:pt>
                <c:pt idx="83">
                  <c:v>0.41153342070773263</c:v>
                </c:pt>
                <c:pt idx="84">
                  <c:v>0.4267425320056899</c:v>
                </c:pt>
                <c:pt idx="85">
                  <c:v>0.45410628019323673</c:v>
                </c:pt>
                <c:pt idx="86">
                  <c:v>0.5004730368968779</c:v>
                </c:pt>
                <c:pt idx="87">
                  <c:v>0.5261865793780688</c:v>
                </c:pt>
                <c:pt idx="88">
                  <c:v>0.4634888438133874</c:v>
                </c:pt>
                <c:pt idx="89">
                  <c:v>0.42075892857142855</c:v>
                </c:pt>
                <c:pt idx="90">
                  <c:v>0.3952434881087203</c:v>
                </c:pt>
                <c:pt idx="91">
                  <c:v>0.40870488322717624</c:v>
                </c:pt>
                <c:pt idx="92">
                  <c:v>0.4641509433962264</c:v>
                </c:pt>
                <c:pt idx="93">
                  <c:v>0.47092469018112487</c:v>
                </c:pt>
                <c:pt idx="94">
                  <c:v>0.4785867237687366</c:v>
                </c:pt>
                <c:pt idx="95">
                  <c:v>0.5048041389504804</c:v>
                </c:pt>
                <c:pt idx="96">
                  <c:v>0.5152928978745464</c:v>
                </c:pt>
                <c:pt idx="97">
                  <c:v>0.5479323308270677</c:v>
                </c:pt>
                <c:pt idx="98">
                  <c:v>0.5758258258258259</c:v>
                </c:pt>
                <c:pt idx="99">
                  <c:v>0.6135313531353135</c:v>
                </c:pt>
                <c:pt idx="100">
                  <c:v>0.6226334822378218</c:v>
                </c:pt>
                <c:pt idx="101">
                  <c:v>0.5709677419354838</c:v>
                </c:pt>
                <c:pt idx="102">
                  <c:v>0.5155529953917051</c:v>
                </c:pt>
                <c:pt idx="103">
                  <c:v>0.521099116781158</c:v>
                </c:pt>
                <c:pt idx="104">
                  <c:v>0.526887561108093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7532232989280998</c:v>
                </c:pt>
                <c:pt idx="1">
                  <c:v>1.766679950729292</c:v>
                </c:pt>
                <c:pt idx="2">
                  <c:v>1.7519282792890685</c:v>
                </c:pt>
                <c:pt idx="3">
                  <c:v>1.8124295790633655</c:v>
                </c:pt>
                <c:pt idx="4">
                  <c:v>1.8852567190197311</c:v>
                </c:pt>
                <c:pt idx="5">
                  <c:v>1.8555926943164223</c:v>
                </c:pt>
                <c:pt idx="6">
                  <c:v>1.7145790069965259</c:v>
                </c:pt>
                <c:pt idx="7">
                  <c:v>1.771238585012973</c:v>
                </c:pt>
                <c:pt idx="8">
                  <c:v>1.97208172928851</c:v>
                </c:pt>
                <c:pt idx="9">
                  <c:v>1.812447064715457</c:v>
                </c:pt>
                <c:pt idx="10">
                  <c:v>1.813549032668768</c:v>
                </c:pt>
                <c:pt idx="11">
                  <c:v>1.6739571540154583</c:v>
                </c:pt>
                <c:pt idx="12">
                  <c:v>1.7121984470829206</c:v>
                </c:pt>
                <c:pt idx="13">
                  <c:v>1.7267000424747057</c:v>
                </c:pt>
                <c:pt idx="14">
                  <c:v>1.8017455217299478</c:v>
                </c:pt>
                <c:pt idx="15">
                  <c:v>1.837514373088685</c:v>
                </c:pt>
                <c:pt idx="16">
                  <c:v>1.8589878031357079</c:v>
                </c:pt>
                <c:pt idx="17">
                  <c:v>1.8583548649543433</c:v>
                </c:pt>
                <c:pt idx="18">
                  <c:v>1.8065273100926034</c:v>
                </c:pt>
                <c:pt idx="19">
                  <c:v>1.694283230237909</c:v>
                </c:pt>
                <c:pt idx="20">
                  <c:v>1.655840184378745</c:v>
                </c:pt>
                <c:pt idx="21">
                  <c:v>1.6354302768194477</c:v>
                </c:pt>
                <c:pt idx="22">
                  <c:v>1.6539229830906388</c:v>
                </c:pt>
                <c:pt idx="23">
                  <c:v>1.6900622088605715</c:v>
                </c:pt>
                <c:pt idx="24">
                  <c:v>1.8343772517273755</c:v>
                </c:pt>
                <c:pt idx="25">
                  <c:v>1.8448024238911525</c:v>
                </c:pt>
                <c:pt idx="26">
                  <c:v>1.915462358813677</c:v>
                </c:pt>
                <c:pt idx="27">
                  <c:v>1.836401741098023</c:v>
                </c:pt>
                <c:pt idx="28">
                  <c:v>1.6878473520635737</c:v>
                </c:pt>
                <c:pt idx="29">
                  <c:v>1.7035772423037763</c:v>
                </c:pt>
                <c:pt idx="30">
                  <c:v>1.7803551699346605</c:v>
                </c:pt>
                <c:pt idx="31">
                  <c:v>1.7648209863863034</c:v>
                </c:pt>
                <c:pt idx="32">
                  <c:v>1.7086815594910933</c:v>
                </c:pt>
                <c:pt idx="33">
                  <c:v>1.732990127703177</c:v>
                </c:pt>
                <c:pt idx="34">
                  <c:v>1.7359508936313834</c:v>
                </c:pt>
                <c:pt idx="35">
                  <c:v>1.8104143458671262</c:v>
                </c:pt>
                <c:pt idx="36">
                  <c:v>1.8288979827250729</c:v>
                </c:pt>
                <c:pt idx="37">
                  <c:v>1.9773331053181955</c:v>
                </c:pt>
                <c:pt idx="38">
                  <c:v>1.9819716126173168</c:v>
                </c:pt>
                <c:pt idx="39">
                  <c:v>1.9695387970065914</c:v>
                </c:pt>
                <c:pt idx="40">
                  <c:v>1.9766198404151207</c:v>
                </c:pt>
                <c:pt idx="41">
                  <c:v>2.091086041991663</c:v>
                </c:pt>
                <c:pt idx="42">
                  <c:v>2.095957882534466</c:v>
                </c:pt>
                <c:pt idx="43">
                  <c:v>2.0802738561626097</c:v>
                </c:pt>
                <c:pt idx="44">
                  <c:v>1.9300570392366163</c:v>
                </c:pt>
                <c:pt idx="45">
                  <c:v>1.8904179207327199</c:v>
                </c:pt>
                <c:pt idx="46">
                  <c:v>1.890817511845029</c:v>
                </c:pt>
                <c:pt idx="47">
                  <c:v>1.8799211468348298</c:v>
                </c:pt>
                <c:pt idx="48">
                  <c:v>1.7709736488140362</c:v>
                </c:pt>
                <c:pt idx="49">
                  <c:v>1.7247646808721326</c:v>
                </c:pt>
                <c:pt idx="50">
                  <c:v>1.5899254199888833</c:v>
                </c:pt>
                <c:pt idx="51">
                  <c:v>1.6344345550911574</c:v>
                </c:pt>
              </c:numCache>
            </c:numRef>
          </c:xVal>
          <c:yVal>
            <c:numRef>
              <c:f>Sheet1!$B$109:$B$160</c:f>
              <c:numCache>
                <c:formatCode>General</c:formatCode>
                <c:ptCount val="52"/>
                <c:pt idx="0">
                  <c:v>0.5236943907156673</c:v>
                </c:pt>
                <c:pt idx="1">
                  <c:v>0.5107692307692308</c:v>
                </c:pt>
                <c:pt idx="2">
                  <c:v>0.5397196261682243</c:v>
                </c:pt>
                <c:pt idx="3">
                  <c:v>0.5381040892193308</c:v>
                </c:pt>
                <c:pt idx="4">
                  <c:v>0.4578366445916115</c:v>
                </c:pt>
                <c:pt idx="5">
                  <c:v>0.4815689981096408</c:v>
                </c:pt>
                <c:pt idx="6">
                  <c:v>0.5471537807986406</c:v>
                </c:pt>
                <c:pt idx="7">
                  <c:v>0.5608899297423887</c:v>
                </c:pt>
                <c:pt idx="8">
                  <c:v>0.5230664857530529</c:v>
                </c:pt>
                <c:pt idx="9">
                  <c:v>0.5547902316844082</c:v>
                </c:pt>
                <c:pt idx="10">
                  <c:v>0.5951515151515151</c:v>
                </c:pt>
                <c:pt idx="11">
                  <c:v>0.6142369991474851</c:v>
                </c:pt>
                <c:pt idx="12">
                  <c:v>0.5875542691751086</c:v>
                </c:pt>
                <c:pt idx="13">
                  <c:v>0.5629335976214074</c:v>
                </c:pt>
                <c:pt idx="14">
                  <c:v>0.5549886621315193</c:v>
                </c:pt>
                <c:pt idx="15">
                  <c:v>0.5574085952533675</c:v>
                </c:pt>
                <c:pt idx="16">
                  <c:v>0.5435779816513762</c:v>
                </c:pt>
                <c:pt idx="17">
                  <c:v>0.5291666666666667</c:v>
                </c:pt>
                <c:pt idx="18">
                  <c:v>0.5138755980861244</c:v>
                </c:pt>
                <c:pt idx="19">
                  <c:v>0.5081458494957332</c:v>
                </c:pt>
                <c:pt idx="20">
                  <c:v>0.47692307692307695</c:v>
                </c:pt>
                <c:pt idx="21">
                  <c:v>0.49527806925498424</c:v>
                </c:pt>
                <c:pt idx="22">
                  <c:v>0.4912087912087912</c:v>
                </c:pt>
                <c:pt idx="23">
                  <c:v>0.4882903981264637</c:v>
                </c:pt>
                <c:pt idx="24">
                  <c:v>0.4647577092511013</c:v>
                </c:pt>
                <c:pt idx="25">
                  <c:v>0.4809688581314879</c:v>
                </c:pt>
                <c:pt idx="26">
                  <c:v>0.4305717619603267</c:v>
                </c:pt>
                <c:pt idx="27">
                  <c:v>0.452431289640592</c:v>
                </c:pt>
                <c:pt idx="28">
                  <c:v>0.5059907834101383</c:v>
                </c:pt>
                <c:pt idx="29">
                  <c:v>0.5273348519362187</c:v>
                </c:pt>
                <c:pt idx="30">
                  <c:v>0.5406320541760722</c:v>
                </c:pt>
                <c:pt idx="31">
                  <c:v>0.5307692307692308</c:v>
                </c:pt>
                <c:pt idx="32">
                  <c:v>0.5467391304347826</c:v>
                </c:pt>
                <c:pt idx="33">
                  <c:v>0.5906779661016949</c:v>
                </c:pt>
                <c:pt idx="34">
                  <c:v>0.61051298290057</c:v>
                </c:pt>
                <c:pt idx="35">
                  <c:v>0.6208299430431244</c:v>
                </c:pt>
                <c:pt idx="36">
                  <c:v>0.5347313237221494</c:v>
                </c:pt>
                <c:pt idx="37">
                  <c:v>0.49557522123893805</c:v>
                </c:pt>
                <c:pt idx="38">
                  <c:v>0.4889406286379511</c:v>
                </c:pt>
                <c:pt idx="39">
                  <c:v>0.5372168284789643</c:v>
                </c:pt>
                <c:pt idx="40">
                  <c:v>0.5017391304347826</c:v>
                </c:pt>
                <c:pt idx="41">
                  <c:v>0.48458498023715413</c:v>
                </c:pt>
                <c:pt idx="42">
                  <c:v>0.49083895853423337</c:v>
                </c:pt>
                <c:pt idx="43">
                  <c:v>0.5026455026455027</c:v>
                </c:pt>
                <c:pt idx="44">
                  <c:v>0.547269524368761</c:v>
                </c:pt>
                <c:pt idx="45">
                  <c:v>0.6074168797953964</c:v>
                </c:pt>
                <c:pt idx="46">
                  <c:v>0.6006582556226001</c:v>
                </c:pt>
                <c:pt idx="47">
                  <c:v>0.5895702559150169</c:v>
                </c:pt>
                <c:pt idx="48">
                  <c:v>0.6004338394793927</c:v>
                </c:pt>
                <c:pt idx="49">
                  <c:v>0.639458413926499</c:v>
                </c:pt>
                <c:pt idx="50">
                  <c:v>0.6805496828752643</c:v>
                </c:pt>
                <c:pt idx="51">
                  <c:v>0.649822345045400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8019305033616</c:v>
                </c:pt>
              </c:numCache>
            </c:numRef>
          </c:xVal>
          <c:yVal>
            <c:numRef>
              <c:f>Sheet1!$B$163:$B$164</c:f>
              <c:numCache>
                <c:formatCode>General</c:formatCode>
                <c:ptCount val="2"/>
                <c:pt idx="0">
                  <c:v>0.7086982710544039</c:v>
                </c:pt>
                <c:pt idx="1">
                  <c:v>0.708698271054403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8019305033616</c:v>
                </c:pt>
                <c:pt idx="1">
                  <c:v>0.8019305033616</c:v>
                </c:pt>
              </c:numCache>
            </c:numRef>
          </c:xVal>
          <c:yVal>
            <c:numRef>
              <c:f>Sheet1!$B$167:$B$168</c:f>
              <c:numCache>
                <c:formatCode>General</c:formatCode>
                <c:ptCount val="2"/>
                <c:pt idx="0">
                  <c:v>0.708698271054403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194452914267746</c:v>
                </c:pt>
              </c:numCache>
            </c:numRef>
          </c:xVal>
          <c:yVal>
            <c:numRef>
              <c:f>Sheet1!$B$171:$B$172</c:f>
              <c:numCache>
                <c:formatCode>General</c:formatCode>
                <c:ptCount val="2"/>
                <c:pt idx="0">
                  <c:v>0.6425660703316391</c:v>
                </c:pt>
                <c:pt idx="1">
                  <c:v>0.642566070331639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194452914267746</c:v>
                </c:pt>
                <c:pt idx="1">
                  <c:v>1.194452914267746</c:v>
                </c:pt>
              </c:numCache>
            </c:numRef>
          </c:xVal>
          <c:yVal>
            <c:numRef>
              <c:f>Sheet1!$B$175:$B$176</c:f>
              <c:numCache>
                <c:formatCode>General</c:formatCode>
                <c:ptCount val="2"/>
                <c:pt idx="0">
                  <c:v>0.642566070331639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6150250751527915</c:v>
                </c:pt>
              </c:numCache>
            </c:numRef>
          </c:xVal>
          <c:yVal>
            <c:numRef>
              <c:f>Sheet1!$B$179:$B$180</c:f>
              <c:numCache>
                <c:formatCode>General</c:formatCode>
                <c:ptCount val="2"/>
                <c:pt idx="0">
                  <c:v>0.5717080459506898</c:v>
                </c:pt>
                <c:pt idx="1">
                  <c:v>0.571708045950689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6150250751527915</c:v>
                </c:pt>
                <c:pt idx="1">
                  <c:v>1.6150250751527915</c:v>
                </c:pt>
              </c:numCache>
            </c:numRef>
          </c:xVal>
          <c:yVal>
            <c:numRef>
              <c:f>Sheet1!$B$183:$B$184</c:f>
              <c:numCache>
                <c:formatCode>General</c:formatCode>
                <c:ptCount val="2"/>
                <c:pt idx="0">
                  <c:v>0.571708045950689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7532232989280998</c:v>
                </c:pt>
                <c:pt idx="1">
                  <c:v>1.766679950729292</c:v>
                </c:pt>
                <c:pt idx="2">
                  <c:v>1.7519282792890685</c:v>
                </c:pt>
                <c:pt idx="3">
                  <c:v>1.8124295790633655</c:v>
                </c:pt>
                <c:pt idx="4">
                  <c:v>1.8852567190197311</c:v>
                </c:pt>
                <c:pt idx="5">
                  <c:v>1.8555926943164223</c:v>
                </c:pt>
                <c:pt idx="6">
                  <c:v>1.7145790069965259</c:v>
                </c:pt>
                <c:pt idx="7">
                  <c:v>1.771238585012973</c:v>
                </c:pt>
                <c:pt idx="8">
                  <c:v>1.97208172928851</c:v>
                </c:pt>
                <c:pt idx="9">
                  <c:v>1.812447064715457</c:v>
                </c:pt>
                <c:pt idx="10">
                  <c:v>1.813549032668768</c:v>
                </c:pt>
                <c:pt idx="11">
                  <c:v>1.6739571540154583</c:v>
                </c:pt>
                <c:pt idx="12">
                  <c:v>1.7121984470829206</c:v>
                </c:pt>
                <c:pt idx="13">
                  <c:v>1.7267000424747057</c:v>
                </c:pt>
                <c:pt idx="14">
                  <c:v>1.8017455217299478</c:v>
                </c:pt>
                <c:pt idx="15">
                  <c:v>1.837514373088685</c:v>
                </c:pt>
                <c:pt idx="16">
                  <c:v>1.8589878031357079</c:v>
                </c:pt>
                <c:pt idx="17">
                  <c:v>1.8583548649543433</c:v>
                </c:pt>
                <c:pt idx="18">
                  <c:v>1.8065273100926034</c:v>
                </c:pt>
                <c:pt idx="19">
                  <c:v>1.694283230237909</c:v>
                </c:pt>
                <c:pt idx="20">
                  <c:v>1.655840184378745</c:v>
                </c:pt>
                <c:pt idx="21">
                  <c:v>1.6354302768194477</c:v>
                </c:pt>
                <c:pt idx="22">
                  <c:v>1.6539229830906388</c:v>
                </c:pt>
                <c:pt idx="23">
                  <c:v>1.6900622088605715</c:v>
                </c:pt>
                <c:pt idx="24">
                  <c:v>1.8343772517273755</c:v>
                </c:pt>
                <c:pt idx="25">
                  <c:v>1.8448024238911525</c:v>
                </c:pt>
                <c:pt idx="26">
                  <c:v>1.915462358813677</c:v>
                </c:pt>
                <c:pt idx="27">
                  <c:v>1.836401741098023</c:v>
                </c:pt>
                <c:pt idx="28">
                  <c:v>1.6878473520635737</c:v>
                </c:pt>
                <c:pt idx="29">
                  <c:v>1.7035772423037763</c:v>
                </c:pt>
                <c:pt idx="30">
                  <c:v>1.7803551699346605</c:v>
                </c:pt>
                <c:pt idx="31">
                  <c:v>1.7648209863863034</c:v>
                </c:pt>
                <c:pt idx="32">
                  <c:v>1.7086815594910933</c:v>
                </c:pt>
                <c:pt idx="33">
                  <c:v>1.732990127703177</c:v>
                </c:pt>
                <c:pt idx="34">
                  <c:v>1.7359508936313834</c:v>
                </c:pt>
                <c:pt idx="35">
                  <c:v>1.8104143458671262</c:v>
                </c:pt>
                <c:pt idx="36">
                  <c:v>1.8288979827250729</c:v>
                </c:pt>
                <c:pt idx="37">
                  <c:v>1.9773331053181955</c:v>
                </c:pt>
                <c:pt idx="38">
                  <c:v>1.9819716126173168</c:v>
                </c:pt>
                <c:pt idx="39">
                  <c:v>1.9695387970065914</c:v>
                </c:pt>
                <c:pt idx="40">
                  <c:v>1.9766198404151207</c:v>
                </c:pt>
                <c:pt idx="41">
                  <c:v>2.091086041991663</c:v>
                </c:pt>
                <c:pt idx="42">
                  <c:v>2.095957882534466</c:v>
                </c:pt>
                <c:pt idx="43">
                  <c:v>2.0802738561626097</c:v>
                </c:pt>
                <c:pt idx="44">
                  <c:v>1.9300570392366163</c:v>
                </c:pt>
                <c:pt idx="45">
                  <c:v>1.8904179207327199</c:v>
                </c:pt>
                <c:pt idx="46">
                  <c:v>1.890817511845029</c:v>
                </c:pt>
                <c:pt idx="47">
                  <c:v>1.8799211468348298</c:v>
                </c:pt>
                <c:pt idx="48">
                  <c:v>1.7709736488140362</c:v>
                </c:pt>
                <c:pt idx="49">
                  <c:v>1.7247646808721326</c:v>
                </c:pt>
                <c:pt idx="50">
                  <c:v>1.5899254199888833</c:v>
                </c:pt>
                <c:pt idx="51">
                  <c:v>1.6344345550911574</c:v>
                </c:pt>
                <c:pt idx="52">
                  <c:v>1.194452914267746</c:v>
                </c:pt>
                <c:pt idx="53">
                  <c:v>0.8019305033616</c:v>
                </c:pt>
                <c:pt idx="54">
                  <c:v>1.6150250751527915</c:v>
                </c:pt>
              </c:numCache>
            </c:numRef>
          </c:xVal>
          <c:yVal>
            <c:numRef>
              <c:f>Sheet1!$B$187:$B$241</c:f>
              <c:numCache>
                <c:formatCode>General</c:formatCode>
                <c:ptCount val="55"/>
                <c:pt idx="0">
                  <c:v>0.5484244004305783</c:v>
                </c:pt>
                <c:pt idx="1">
                  <c:v>0.5461572228803375</c:v>
                </c:pt>
                <c:pt idx="2">
                  <c:v>0.5486425854216228</c:v>
                </c:pt>
                <c:pt idx="3">
                  <c:v>0.5384493225925646</c:v>
                </c:pt>
                <c:pt idx="4">
                  <c:v>0.5261794014266854</c:v>
                </c:pt>
                <c:pt idx="5">
                  <c:v>0.5311771981929784</c:v>
                </c:pt>
                <c:pt idx="6">
                  <c:v>0.5549351931899222</c:v>
                </c:pt>
                <c:pt idx="7">
                  <c:v>0.5453891838866554</c:v>
                </c:pt>
                <c:pt idx="8">
                  <c:v>0.5115511181814163</c:v>
                </c:pt>
                <c:pt idx="9">
                  <c:v>0.5384463766087895</c:v>
                </c:pt>
                <c:pt idx="10">
                  <c:v>0.5382607169780179</c:v>
                </c:pt>
                <c:pt idx="11">
                  <c:v>0.5617791655605009</c:v>
                </c:pt>
                <c:pt idx="12">
                  <c:v>0.5553362700753813</c:v>
                </c:pt>
                <c:pt idx="13">
                  <c:v>0.552893040362622</c:v>
                </c:pt>
                <c:pt idx="14">
                  <c:v>0.5402493732507576</c:v>
                </c:pt>
                <c:pt idx="15">
                  <c:v>0.5342230349017751</c:v>
                </c:pt>
                <c:pt idx="16">
                  <c:v>0.5306051900434454</c:v>
                </c:pt>
                <c:pt idx="17">
                  <c:v>0.5307118275084465</c:v>
                </c:pt>
                <c:pt idx="18">
                  <c:v>0.5394437372436749</c:v>
                </c:pt>
                <c:pt idx="19">
                  <c:v>0.558354626947416</c:v>
                </c:pt>
                <c:pt idx="20">
                  <c:v>0.564831513755697</c:v>
                </c:pt>
                <c:pt idx="21">
                  <c:v>0.5682701762777389</c:v>
                </c:pt>
                <c:pt idx="22">
                  <c:v>0.5651545239504991</c:v>
                </c:pt>
                <c:pt idx="23">
                  <c:v>0.559065784897192</c:v>
                </c:pt>
                <c:pt idx="24">
                  <c:v>0.5347515773080007</c:v>
                </c:pt>
                <c:pt idx="25">
                  <c:v>0.5329951436396334</c:v>
                </c:pt>
                <c:pt idx="26">
                  <c:v>0.5210903533155181</c:v>
                </c:pt>
                <c:pt idx="27">
                  <c:v>0.534410491210237</c:v>
                </c:pt>
                <c:pt idx="28">
                  <c:v>0.5594389441110394</c:v>
                </c:pt>
                <c:pt idx="29">
                  <c:v>0.5567887712041966</c:v>
                </c:pt>
                <c:pt idx="30">
                  <c:v>0.5438532210799576</c:v>
                </c:pt>
                <c:pt idx="31">
                  <c:v>0.546470421310927</c:v>
                </c:pt>
                <c:pt idx="32">
                  <c:v>0.5559287955202475</c:v>
                </c:pt>
                <c:pt idx="33">
                  <c:v>0.5518332864037785</c:v>
                </c:pt>
                <c:pt idx="34">
                  <c:v>0.5513344563721243</c:v>
                </c:pt>
                <c:pt idx="35">
                  <c:v>0.538788849209476</c:v>
                </c:pt>
                <c:pt idx="36">
                  <c:v>0.5356747248975556</c:v>
                </c:pt>
                <c:pt idx="37">
                  <c:v>0.5106663660143639</c:v>
                </c:pt>
                <c:pt idx="38">
                  <c:v>0.5098848700099667</c:v>
                </c:pt>
                <c:pt idx="39">
                  <c:v>0.5119795515738028</c:v>
                </c:pt>
                <c:pt idx="40">
                  <c:v>0.510786536930541</c:v>
                </c:pt>
                <c:pt idx="41">
                  <c:v>0.49150126401795224</c:v>
                </c:pt>
                <c:pt idx="42">
                  <c:v>0.4906804560138381</c:v>
                </c:pt>
                <c:pt idx="43">
                  <c:v>0.4933229017732287</c:v>
                </c:pt>
                <c:pt idx="44">
                  <c:v>0.518631440630797</c:v>
                </c:pt>
                <c:pt idx="45">
                  <c:v>0.5253098418342379</c:v>
                </c:pt>
                <c:pt idx="46">
                  <c:v>0.5252425186982538</c:v>
                </c:pt>
                <c:pt idx="47">
                  <c:v>0.5270783389673168</c:v>
                </c:pt>
                <c:pt idx="48">
                  <c:v>0.5454338203542812</c:v>
                </c:pt>
                <c:pt idx="49">
                  <c:v>0.553219110208359</c:v>
                </c:pt>
                <c:pt idx="50">
                  <c:v>0.5759368374470526</c:v>
                </c:pt>
                <c:pt idx="51">
                  <c:v>0.5684379355377702</c:v>
                </c:pt>
                <c:pt idx="52">
                  <c:v>0.6425660703316391</c:v>
                </c:pt>
                <c:pt idx="53">
                  <c:v>0.7086982710544039</c:v>
                </c:pt>
                <c:pt idx="54">
                  <c:v>0.571708045950689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737996443390634"/>
          <c:min val="0.3161947904869762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856.3077</c:v>
                </c:pt>
                <c:pt idx="1">
                  <c:v>6230.0</c:v>
                </c:pt>
                <c:pt idx="2">
                  <c:v>6349.3333</c:v>
                </c:pt>
                <c:pt idx="3">
                  <c:v>5043.3333</c:v>
                </c:pt>
                <c:pt idx="4">
                  <c:v>5971.5</c:v>
                </c:pt>
                <c:pt idx="5">
                  <c:v>7694.0</c:v>
                </c:pt>
                <c:pt idx="6">
                  <c:v>5895.0</c:v>
                </c:pt>
                <c:pt idx="7">
                  <c:v>4277.0</c:v>
                </c:pt>
                <c:pt idx="8">
                  <c:v>7050.6667</c:v>
                </c:pt>
                <c:pt idx="9">
                  <c:v>5817.6</c:v>
                </c:pt>
                <c:pt idx="10">
                  <c:v>5290.25</c:v>
                </c:pt>
                <c:pt idx="11">
                  <c:v>4469.2857</c:v>
                </c:pt>
                <c:pt idx="12">
                  <c:v>7055.8</c:v>
                </c:pt>
                <c:pt idx="13">
                  <c:v>5252.6667</c:v>
                </c:pt>
                <c:pt idx="14">
                  <c:v>0.0</c:v>
                </c:pt>
                <c:pt idx="15">
                  <c:v>3753.0</c:v>
                </c:pt>
                <c:pt idx="16">
                  <c:v>2170.25</c:v>
                </c:pt>
                <c:pt idx="17">
                  <c:v>6580.0</c:v>
                </c:pt>
                <c:pt idx="18">
                  <c:v>0.0</c:v>
                </c:pt>
                <c:pt idx="19">
                  <c:v>3807.0</c:v>
                </c:pt>
                <c:pt idx="20">
                  <c:v>5072.3333</c:v>
                </c:pt>
                <c:pt idx="21">
                  <c:v>6718.0</c:v>
                </c:pt>
                <c:pt idx="22">
                  <c:v>5462.25</c:v>
                </c:pt>
                <c:pt idx="23">
                  <c:v>6538.6667</c:v>
                </c:pt>
                <c:pt idx="24">
                  <c:v>6316.5</c:v>
                </c:pt>
                <c:pt idx="25">
                  <c:v>4606.0</c:v>
                </c:pt>
                <c:pt idx="26">
                  <c:v>6402.0</c:v>
                </c:pt>
                <c:pt idx="27">
                  <c:v>15524.0</c:v>
                </c:pt>
                <c:pt idx="28">
                  <c:v>3345.4</c:v>
                </c:pt>
                <c:pt idx="29">
                  <c:v>7017.0</c:v>
                </c:pt>
                <c:pt idx="30">
                  <c:v>3873.25</c:v>
                </c:pt>
                <c:pt idx="31">
                  <c:v>5011.5</c:v>
                </c:pt>
                <c:pt idx="32">
                  <c:v>8655.5</c:v>
                </c:pt>
                <c:pt idx="33">
                  <c:v>3845.7778</c:v>
                </c:pt>
                <c:pt idx="34">
                  <c:v>3505.4167</c:v>
                </c:pt>
                <c:pt idx="35">
                  <c:v>3707.5</c:v>
                </c:pt>
                <c:pt idx="36">
                  <c:v>6482.5</c:v>
                </c:pt>
                <c:pt idx="37">
                  <c:v>4574.0</c:v>
                </c:pt>
                <c:pt idx="38">
                  <c:v>7663.0</c:v>
                </c:pt>
                <c:pt idx="39">
                  <c:v>5600.75</c:v>
                </c:pt>
                <c:pt idx="40">
                  <c:v>8541.5</c:v>
                </c:pt>
                <c:pt idx="41">
                  <c:v>5335.6667</c:v>
                </c:pt>
                <c:pt idx="42">
                  <c:v>10645.0</c:v>
                </c:pt>
                <c:pt idx="43">
                  <c:v>7240.0</c:v>
                </c:pt>
                <c:pt idx="44">
                  <c:v>4505.0</c:v>
                </c:pt>
                <c:pt idx="45">
                  <c:v>4392.2</c:v>
                </c:pt>
                <c:pt idx="46">
                  <c:v>4084.1818</c:v>
                </c:pt>
                <c:pt idx="47">
                  <c:v>3419.4286</c:v>
                </c:pt>
                <c:pt idx="48">
                  <c:v>4401.9</c:v>
                </c:pt>
                <c:pt idx="49">
                  <c:v>3402.25</c:v>
                </c:pt>
                <c:pt idx="50">
                  <c:v>4337.6</c:v>
                </c:pt>
                <c:pt idx="51">
                  <c:v>4108.2</c:v>
                </c:pt>
                <c:pt idx="52">
                  <c:v>4801.75</c:v>
                </c:pt>
                <c:pt idx="53">
                  <c:v>3999.4</c:v>
                </c:pt>
                <c:pt idx="54">
                  <c:v>4201.4444</c:v>
                </c:pt>
                <c:pt idx="55">
                  <c:v>4984.2</c:v>
                </c:pt>
                <c:pt idx="56">
                  <c:v>10395.0</c:v>
                </c:pt>
                <c:pt idx="57">
                  <c:v>4042.75</c:v>
                </c:pt>
                <c:pt idx="58">
                  <c:v>4289.0</c:v>
                </c:pt>
                <c:pt idx="59">
                  <c:v>3433.0</c:v>
                </c:pt>
                <c:pt idx="60">
                  <c:v>3007.3571</c:v>
                </c:pt>
                <c:pt idx="61">
                  <c:v>2989.9286</c:v>
                </c:pt>
                <c:pt idx="62">
                  <c:v>3040.0833</c:v>
                </c:pt>
                <c:pt idx="63">
                  <c:v>2470.9444</c:v>
                </c:pt>
                <c:pt idx="64">
                  <c:v>2609.3158</c:v>
                </c:pt>
                <c:pt idx="65">
                  <c:v>2489.9333</c:v>
                </c:pt>
                <c:pt idx="66">
                  <c:v>2358.7273</c:v>
                </c:pt>
                <c:pt idx="67">
                  <c:v>3155.3333</c:v>
                </c:pt>
                <c:pt idx="68">
                  <c:v>2346.9231</c:v>
                </c:pt>
                <c:pt idx="69">
                  <c:v>2135.0</c:v>
                </c:pt>
                <c:pt idx="70">
                  <c:v>2302.5</c:v>
                </c:pt>
                <c:pt idx="71">
                  <c:v>1857.8</c:v>
                </c:pt>
                <c:pt idx="72">
                  <c:v>2952.3636</c:v>
                </c:pt>
                <c:pt idx="73">
                  <c:v>2025.9474</c:v>
                </c:pt>
                <c:pt idx="74">
                  <c:v>2531.4762</c:v>
                </c:pt>
                <c:pt idx="75">
                  <c:v>3962.4444</c:v>
                </c:pt>
                <c:pt idx="76">
                  <c:v>3882.0</c:v>
                </c:pt>
                <c:pt idx="77">
                  <c:v>4467.6957</c:v>
                </c:pt>
                <c:pt idx="78">
                  <c:v>3018.5429</c:v>
                </c:pt>
                <c:pt idx="79">
                  <c:v>4773.4</c:v>
                </c:pt>
                <c:pt idx="80">
                  <c:v>4299.5</c:v>
                </c:pt>
                <c:pt idx="81">
                  <c:v>3470.475</c:v>
                </c:pt>
                <c:pt idx="82">
                  <c:v>4188.0</c:v>
                </c:pt>
                <c:pt idx="83">
                  <c:v>4291.4286</c:v>
                </c:pt>
                <c:pt idx="84">
                  <c:v>4199.35</c:v>
                </c:pt>
                <c:pt idx="85">
                  <c:v>3644.0476</c:v>
                </c:pt>
                <c:pt idx="86">
                  <c:v>4846.4231</c:v>
                </c:pt>
                <c:pt idx="87">
                  <c:v>4906.68</c:v>
                </c:pt>
                <c:pt idx="88">
                  <c:v>4199.0333</c:v>
                </c:pt>
                <c:pt idx="89">
                  <c:v>3929.7353</c:v>
                </c:pt>
                <c:pt idx="90">
                  <c:v>4177.2903</c:v>
                </c:pt>
                <c:pt idx="91">
                  <c:v>3942.625</c:v>
                </c:pt>
                <c:pt idx="92">
                  <c:v>4270.3235</c:v>
                </c:pt>
                <c:pt idx="93">
                  <c:v>4332.2286</c:v>
                </c:pt>
                <c:pt idx="94">
                  <c:v>5011.5517</c:v>
                </c:pt>
                <c:pt idx="95">
                  <c:v>4381.1064</c:v>
                </c:pt>
                <c:pt idx="96">
                  <c:v>3358.3295</c:v>
                </c:pt>
                <c:pt idx="97">
                  <c:v>3539.0348</c:v>
                </c:pt>
                <c:pt idx="98">
                  <c:v>3390.072</c:v>
                </c:pt>
                <c:pt idx="99">
                  <c:v>3491.0956</c:v>
                </c:pt>
                <c:pt idx="100">
                  <c:v>3928.0486</c:v>
                </c:pt>
                <c:pt idx="101">
                  <c:v>3765.3274</c:v>
                </c:pt>
                <c:pt idx="102">
                  <c:v>3902.8667</c:v>
                </c:pt>
                <c:pt idx="103">
                  <c:v>3989.4744</c:v>
                </c:pt>
                <c:pt idx="104">
                  <c:v>4479.7</c:v>
                </c:pt>
              </c:numCache>
            </c:numRef>
          </c:xVal>
          <c:yVal>
            <c:numRef>
              <c:f>Sheet1!$B$2:$B$106</c:f>
              <c:numCache>
                <c:formatCode>General</c:formatCode>
                <c:ptCount val="105"/>
                <c:pt idx="0">
                  <c:v>0.00031891666462232905</c:v>
                </c:pt>
                <c:pt idx="1">
                  <c:v>7.925395609330832e-05</c:v>
                </c:pt>
                <c:pt idx="2">
                  <c:v>7.552299675251114e-05</c:v>
                </c:pt>
                <c:pt idx="3">
                  <c:v>8.004482510205715e-05</c:v>
                </c:pt>
                <c:pt idx="4">
                  <c:v>6.23966555392631e-05</c:v>
                </c:pt>
                <c:pt idx="5">
                  <c:v>9.592939596457007e-05</c:v>
                </c:pt>
                <c:pt idx="6">
                  <c:v>0.00018364348677766894</c:v>
                </c:pt>
                <c:pt idx="7">
                  <c:v>0.00021239689900527452</c:v>
                </c:pt>
                <c:pt idx="8">
                  <c:v>0.00011040777270719859</c:v>
                </c:pt>
                <c:pt idx="9">
                  <c:v>0.00013936505281935503</c:v>
                </c:pt>
                <c:pt idx="10">
                  <c:v>0.00010755868670843529</c:v>
                </c:pt>
                <c:pt idx="11">
                  <c:v>0.00018949648077964268</c:v>
                </c:pt>
                <c:pt idx="12">
                  <c:v>0.0001240664003374606</c:v>
                </c:pt>
                <c:pt idx="13">
                  <c:v>0.0001557955961778147</c:v>
                </c:pt>
                <c:pt idx="14">
                  <c:v>0.0</c:v>
                </c:pt>
                <c:pt idx="15">
                  <c:v>0.0001552891483943102</c:v>
                </c:pt>
                <c:pt idx="16">
                  <c:v>0.00014245014245014244</c:v>
                </c:pt>
                <c:pt idx="17">
                  <c:v>7.810974419058778e-05</c:v>
                </c:pt>
                <c:pt idx="18">
                  <c:v>0.0</c:v>
                </c:pt>
                <c:pt idx="19">
                  <c:v>0.00015323322096230462</c:v>
                </c:pt>
                <c:pt idx="20">
                  <c:v>0.00012568077084206116</c:v>
                </c:pt>
                <c:pt idx="21">
                  <c:v>5.258176464402145e-05</c:v>
                </c:pt>
                <c:pt idx="22">
                  <c:v>0.00020876826722338206</c:v>
                </c:pt>
                <c:pt idx="23">
                  <c:v>0.00016326530612244898</c:v>
                </c:pt>
                <c:pt idx="24">
                  <c:v>0.00020263424518743666</c:v>
                </c:pt>
                <c:pt idx="25">
                  <c:v>0.00034784625195663515</c:v>
                </c:pt>
                <c:pt idx="26">
                  <c:v>0.00025718841623373286</c:v>
                </c:pt>
                <c:pt idx="27">
                  <c:v>5.061241016297196e-05</c:v>
                </c:pt>
                <c:pt idx="28">
                  <c:v>0.0002570694087403599</c:v>
                </c:pt>
                <c:pt idx="29">
                  <c:v>0.00017968644714972374</c:v>
                </c:pt>
                <c:pt idx="30">
                  <c:v>0.00023078698361412417</c:v>
                </c:pt>
                <c:pt idx="31">
                  <c:v>0.0002249212775528565</c:v>
                </c:pt>
                <c:pt idx="32">
                  <c:v>0.00011039355301650383</c:v>
                </c:pt>
                <c:pt idx="33">
                  <c:v>0.00039227651135422567</c:v>
                </c:pt>
                <c:pt idx="34">
                  <c:v>0.0004630165528417641</c:v>
                </c:pt>
                <c:pt idx="35">
                  <c:v>0.0004770504651242035</c:v>
                </c:pt>
                <c:pt idx="36">
                  <c:v>0.00016523463317911433</c:v>
                </c:pt>
                <c:pt idx="37">
                  <c:v>0.00019287333044023337</c:v>
                </c:pt>
                <c:pt idx="38">
                  <c:v>9.664637092877162e-05</c:v>
                </c:pt>
                <c:pt idx="39">
                  <c:v>0.00020469781485082646</c:v>
                </c:pt>
                <c:pt idx="40">
                  <c:v>8.289468230613006e-05</c:v>
                </c:pt>
                <c:pt idx="41">
                  <c:v>0.0001376399339328317</c:v>
                </c:pt>
                <c:pt idx="42">
                  <c:v>3.913894324853229e-05</c:v>
                </c:pt>
                <c:pt idx="43">
                  <c:v>0.00010425716768027802</c:v>
                </c:pt>
                <c:pt idx="44">
                  <c:v>0.00014063708599957808</c:v>
                </c:pt>
                <c:pt idx="45">
                  <c:v>0.0001060332944544587</c:v>
                </c:pt>
                <c:pt idx="46">
                  <c:v>0.00022583559168925022</c:v>
                </c:pt>
                <c:pt idx="47">
                  <c:v>0.000293581059827626</c:v>
                </c:pt>
                <c:pt idx="48">
                  <c:v>0.00015294027682190105</c:v>
                </c:pt>
                <c:pt idx="49">
                  <c:v>0.00016961550285696112</c:v>
                </c:pt>
                <c:pt idx="50">
                  <c:v>0.0002012477359629704</c:v>
                </c:pt>
                <c:pt idx="51">
                  <c:v>0.0002486139770777913</c:v>
                </c:pt>
                <c:pt idx="52">
                  <c:v>8.450228156160216e-05</c:v>
                </c:pt>
                <c:pt idx="53">
                  <c:v>0.0001316586354899018</c:v>
                </c:pt>
                <c:pt idx="54">
                  <c:v>0.0002624289254993439</c:v>
                </c:pt>
                <c:pt idx="55">
                  <c:v>0.00014956178397295924</c:v>
                </c:pt>
                <c:pt idx="56">
                  <c:v>6.046680372475511e-05</c:v>
                </c:pt>
                <c:pt idx="57">
                  <c:v>0.00010392849719393057</c:v>
                </c:pt>
                <c:pt idx="58">
                  <c:v>9.544716999140975e-05</c:v>
                </c:pt>
                <c:pt idx="59">
                  <c:v>0.0001570869790603057</c:v>
                </c:pt>
                <c:pt idx="60">
                  <c:v>0.0002410260824653525</c:v>
                </c:pt>
                <c:pt idx="61">
                  <c:v>0.00032864621235240263</c:v>
                </c:pt>
                <c:pt idx="62">
                  <c:v>0.00027110679348440006</c:v>
                </c:pt>
                <c:pt idx="63">
                  <c:v>0.00036864849366129393</c:v>
                </c:pt>
                <c:pt idx="64">
                  <c:v>0.0003807615230460922</c:v>
                </c:pt>
                <c:pt idx="65">
                  <c:v>0.00032711808963035657</c:v>
                </c:pt>
                <c:pt idx="66">
                  <c:v>0.0002484135407962783</c:v>
                </c:pt>
                <c:pt idx="67">
                  <c:v>0.0002141174791235458</c:v>
                </c:pt>
                <c:pt idx="68">
                  <c:v>0.0003691608689478915</c:v>
                </c:pt>
                <c:pt idx="69">
                  <c:v>0.00041263410608447746</c:v>
                </c:pt>
                <c:pt idx="70">
                  <c:v>0.0003591051100657162</c:v>
                </c:pt>
                <c:pt idx="71">
                  <c:v>0.0003860854793251226</c:v>
                </c:pt>
                <c:pt idx="72">
                  <c:v>0.00040169442009932807</c:v>
                </c:pt>
                <c:pt idx="73">
                  <c:v>0.0007383515330509462</c:v>
                </c:pt>
                <c:pt idx="74">
                  <c:v>0.0007898597058712905</c:v>
                </c:pt>
                <c:pt idx="75">
                  <c:v>0.0007884708046782601</c:v>
                </c:pt>
                <c:pt idx="76">
                  <c:v>0.0010745153001635132</c:v>
                </c:pt>
                <c:pt idx="77">
                  <c:v>0.0011077397293262053</c:v>
                </c:pt>
                <c:pt idx="78">
                  <c:v>0.0018812147272238647</c:v>
                </c:pt>
                <c:pt idx="79">
                  <c:v>0.0011912703707233393</c:v>
                </c:pt>
                <c:pt idx="80">
                  <c:v>0.0011436195558944058</c:v>
                </c:pt>
                <c:pt idx="81">
                  <c:v>0.0016303240269003464</c:v>
                </c:pt>
                <c:pt idx="82">
                  <c:v>0.0013089005235602095</c:v>
                </c:pt>
                <c:pt idx="83">
                  <c:v>0.001287395782246199</c:v>
                </c:pt>
                <c:pt idx="84">
                  <c:v>0.0012380068090374497</c:v>
                </c:pt>
                <c:pt idx="85">
                  <c:v>0.0011462256427050926</c:v>
                </c:pt>
                <c:pt idx="86">
                  <c:v>0.0010637427379101548</c:v>
                </c:pt>
                <c:pt idx="87">
                  <c:v>0.0009602827072290082</c:v>
                </c:pt>
                <c:pt idx="88">
                  <c:v>0.001459356910054969</c:v>
                </c:pt>
                <c:pt idx="89">
                  <c:v>0.0018212984786800943</c:v>
                </c:pt>
                <c:pt idx="90">
                  <c:v>0.0017051705170517053</c:v>
                </c:pt>
                <c:pt idx="91">
                  <c:v>0.0016994158258098779</c:v>
                </c:pt>
                <c:pt idx="92">
                  <c:v>0.0014476709529081156</c:v>
                </c:pt>
                <c:pt idx="93">
                  <c:v>0.0014341911162104573</c:v>
                </c:pt>
                <c:pt idx="94">
                  <c:v>0.0013409784518634976</c:v>
                </c:pt>
                <c:pt idx="95">
                  <c:v>0.0015918173812910655</c:v>
                </c:pt>
                <c:pt idx="96">
                  <c:v>0.0021358186495801174</c:v>
                </c:pt>
                <c:pt idx="97">
                  <c:v>0.0024340169746227274</c:v>
                </c:pt>
                <c:pt idx="98">
                  <c:v>0.002288203851504723</c:v>
                </c:pt>
                <c:pt idx="99">
                  <c:v>0.0021538071709109336</c:v>
                </c:pt>
                <c:pt idx="100">
                  <c:v>0.0016596553909986745</c:v>
                </c:pt>
                <c:pt idx="101">
                  <c:v>0.002235498931708475</c:v>
                </c:pt>
                <c:pt idx="102">
                  <c:v>0.0018664144933306789</c:v>
                </c:pt>
                <c:pt idx="103">
                  <c:v>0.001825415399017084</c:v>
                </c:pt>
                <c:pt idx="104">
                  <c:v>0.001356668023334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numCache>
            </c:numRef>
          </c:xVal>
          <c:yVal>
            <c:numRef>
              <c:f>Sheet1!$B$109:$B$160</c:f>
              <c:numCache>
                <c:formatCode>General</c:formatCode>
                <c:ptCount val="52"/>
                <c:pt idx="0">
                  <c:v>0.001457509881422925</c:v>
                </c:pt>
                <c:pt idx="1">
                  <c:v>0.0017574231455251286</c:v>
                </c:pt>
                <c:pt idx="2">
                  <c:v>0.0015984203845611396</c:v>
                </c:pt>
                <c:pt idx="3">
                  <c:v>0.0016922064491868007</c:v>
                </c:pt>
                <c:pt idx="4">
                  <c:v>0.0016828857832735787</c:v>
                </c:pt>
                <c:pt idx="5">
                  <c:v>0.0014700117600940808</c:v>
                </c:pt>
                <c:pt idx="6">
                  <c:v>0.0015873015873015873</c:v>
                </c:pt>
                <c:pt idx="7">
                  <c:v>0.0018249897737641987</c:v>
                </c:pt>
                <c:pt idx="8">
                  <c:v>0.002156697556866049</c:v>
                </c:pt>
                <c:pt idx="9">
                  <c:v>0.0022656734947237743</c:v>
                </c:pt>
                <c:pt idx="10">
                  <c:v>0.00216855301072394</c:v>
                </c:pt>
                <c:pt idx="11">
                  <c:v>0.002222671246716508</c:v>
                </c:pt>
                <c:pt idx="12">
                  <c:v>0.0022723829722769277</c:v>
                </c:pt>
                <c:pt idx="13">
                  <c:v>0.003267112820783053</c:v>
                </c:pt>
                <c:pt idx="14">
                  <c:v>0.003253449527959332</c:v>
                </c:pt>
                <c:pt idx="15">
                  <c:v>0.0030752982107355863</c:v>
                </c:pt>
                <c:pt idx="16">
                  <c:v>0.003027027027027027</c:v>
                </c:pt>
                <c:pt idx="17">
                  <c:v>0.0038471693131671256</c:v>
                </c:pt>
                <c:pt idx="18">
                  <c:v>0.0021012241914854742</c:v>
                </c:pt>
                <c:pt idx="19">
                  <c:v>0.0018450184501845018</c:v>
                </c:pt>
                <c:pt idx="20">
                  <c:v>0.0021869619840863617</c:v>
                </c:pt>
                <c:pt idx="21">
                  <c:v>0.0031607378886270906</c:v>
                </c:pt>
                <c:pt idx="22">
                  <c:v>0.0026081533140556784</c:v>
                </c:pt>
                <c:pt idx="23">
                  <c:v>0.002629118953026408</c:v>
                </c:pt>
                <c:pt idx="24">
                  <c:v>0.002383144667713806</c:v>
                </c:pt>
                <c:pt idx="25">
                  <c:v>0.0025560920193126954</c:v>
                </c:pt>
                <c:pt idx="26">
                  <c:v>0.00275974025974026</c:v>
                </c:pt>
                <c:pt idx="27">
                  <c:v>0.00279452860714811</c:v>
                </c:pt>
                <c:pt idx="28">
                  <c:v>0.002308341101788964</c:v>
                </c:pt>
                <c:pt idx="29">
                  <c:v>0.0026159841973199508</c:v>
                </c:pt>
                <c:pt idx="30">
                  <c:v>0.0025581136692247805</c:v>
                </c:pt>
                <c:pt idx="31">
                  <c:v>0.0026047976738551005</c:v>
                </c:pt>
                <c:pt idx="32">
                  <c:v>0.0022266991835436325</c:v>
                </c:pt>
                <c:pt idx="33">
                  <c:v>0.002169677647892313</c:v>
                </c:pt>
                <c:pt idx="34">
                  <c:v>0.0019911428473342718</c:v>
                </c:pt>
                <c:pt idx="35">
                  <c:v>0.0024312852845427948</c:v>
                </c:pt>
                <c:pt idx="36">
                  <c:v>0.0030529392659954533</c:v>
                </c:pt>
                <c:pt idx="37">
                  <c:v>0.0030101302460202603</c:v>
                </c:pt>
                <c:pt idx="38">
                  <c:v>0.0035083160083160085</c:v>
                </c:pt>
                <c:pt idx="39">
                  <c:v>0.0032721582017356666</c:v>
                </c:pt>
                <c:pt idx="40">
                  <c:v>0.0030994124994217515</c:v>
                </c:pt>
                <c:pt idx="41">
                  <c:v>0.0025199860966284324</c:v>
                </c:pt>
                <c:pt idx="42">
                  <c:v>0.002878750914857282</c:v>
                </c:pt>
                <c:pt idx="43">
                  <c:v>0.0021096292058497513</c:v>
                </c:pt>
                <c:pt idx="44">
                  <c:v>0.0015517493778363343</c:v>
                </c:pt>
                <c:pt idx="45">
                  <c:v>0.001299645351014384</c:v>
                </c:pt>
                <c:pt idx="46">
                  <c:v>0.0013464635530797053</c:v>
                </c:pt>
                <c:pt idx="47">
                  <c:v>0.0013384558185648779</c:v>
                </c:pt>
                <c:pt idx="48">
                  <c:v>0.0014958863126402393</c:v>
                </c:pt>
                <c:pt idx="49">
                  <c:v>0.0013139124558900817</c:v>
                </c:pt>
                <c:pt idx="50">
                  <c:v>0.0011037664479803555</c:v>
                </c:pt>
                <c:pt idx="51">
                  <c:v>0.001310869471784071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614.923680821968</c:v>
                </c:pt>
              </c:numCache>
            </c:numRef>
          </c:xVal>
          <c:yVal>
            <c:numRef>
              <c:f>Sheet1!$B$163:$B$164</c:f>
              <c:numCache>
                <c:formatCode>General</c:formatCode>
                <c:ptCount val="2"/>
                <c:pt idx="0">
                  <c:v>0.0026687138568074384</c:v>
                </c:pt>
                <c:pt idx="1">
                  <c:v>0.002668713856807438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614.923680821968</c:v>
                </c:pt>
                <c:pt idx="1">
                  <c:v>3614.923680821968</c:v>
                </c:pt>
              </c:numCache>
            </c:numRef>
          </c:xVal>
          <c:yVal>
            <c:numRef>
              <c:f>Sheet1!$B$167:$B$168</c:f>
              <c:numCache>
                <c:formatCode>General</c:formatCode>
                <c:ptCount val="2"/>
                <c:pt idx="0">
                  <c:v>0.002668713856807438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614.923680821968</c:v>
                </c:pt>
              </c:numCache>
            </c:numRef>
          </c:xVal>
          <c:yVal>
            <c:numRef>
              <c:f>Sheet1!$B$171:$B$172</c:f>
              <c:numCache>
                <c:formatCode>General</c:formatCode>
                <c:ptCount val="2"/>
                <c:pt idx="0">
                  <c:v>0.0026687138568074384</c:v>
                </c:pt>
                <c:pt idx="1">
                  <c:v>0.002668713856807438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614.923680821968</c:v>
                </c:pt>
                <c:pt idx="1">
                  <c:v>3614.923680821968</c:v>
                </c:pt>
              </c:numCache>
            </c:numRef>
          </c:xVal>
          <c:yVal>
            <c:numRef>
              <c:f>Sheet1!$B$175:$B$176</c:f>
              <c:numCache>
                <c:formatCode>General</c:formatCode>
                <c:ptCount val="2"/>
                <c:pt idx="0">
                  <c:v>0.00266871385680743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328.89008377117</c:v>
                </c:pt>
              </c:numCache>
            </c:numRef>
          </c:xVal>
          <c:yVal>
            <c:numRef>
              <c:f>Sheet1!$B$179:$B$180</c:f>
              <c:numCache>
                <c:formatCode>General</c:formatCode>
                <c:ptCount val="2"/>
                <c:pt idx="0">
                  <c:v>0.0018954373620986874</c:v>
                </c:pt>
                <c:pt idx="1">
                  <c:v>0.001895437362098687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328.89008377117</c:v>
                </c:pt>
                <c:pt idx="1">
                  <c:v>4328.89008377117</c:v>
                </c:pt>
              </c:numCache>
            </c:numRef>
          </c:xVal>
          <c:yVal>
            <c:numRef>
              <c:f>Sheet1!$B$183:$B$184</c:f>
              <c:numCache>
                <c:formatCode>General</c:formatCode>
                <c:ptCount val="2"/>
                <c:pt idx="0">
                  <c:v>0.001895437362098687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pt idx="52">
                  <c:v>3614.923680821968</c:v>
                </c:pt>
                <c:pt idx="53">
                  <c:v>3614.923680821968</c:v>
                </c:pt>
                <c:pt idx="54">
                  <c:v>4328.89008377117</c:v>
                </c:pt>
              </c:numCache>
            </c:numRef>
          </c:xVal>
          <c:yVal>
            <c:numRef>
              <c:f>Sheet1!$B$187:$B$241</c:f>
              <c:numCache>
                <c:formatCode>General</c:formatCode>
                <c:ptCount val="55"/>
                <c:pt idx="0">
                  <c:v>0.0018932439085972514</c:v>
                </c:pt>
                <c:pt idx="1">
                  <c:v>0.0025409258316968697</c:v>
                </c:pt>
                <c:pt idx="2">
                  <c:v>0.0018622050356907347</c:v>
                </c:pt>
                <c:pt idx="3">
                  <c:v>0.002472580244170218</c:v>
                </c:pt>
                <c:pt idx="4">
                  <c:v>0.001752290089969047</c:v>
                </c:pt>
                <c:pt idx="5">
                  <c:v>0.0014448689761680702</c:v>
                </c:pt>
                <c:pt idx="6">
                  <c:v>0.00166820292807283</c:v>
                </c:pt>
                <c:pt idx="7">
                  <c:v>0.001704081504923862</c:v>
                </c:pt>
                <c:pt idx="8">
                  <c:v>0.001997482369515624</c:v>
                </c:pt>
                <c:pt idx="9">
                  <c:v>0.0021455819674242897</c:v>
                </c:pt>
                <c:pt idx="10">
                  <c:v>0.0020968734366835044</c:v>
                </c:pt>
                <c:pt idx="11">
                  <c:v>0.002158438998095649</c:v>
                </c:pt>
                <c:pt idx="12">
                  <c:v>0.002510599078146631</c:v>
                </c:pt>
                <c:pt idx="13">
                  <c:v>0.0028574087861519795</c:v>
                </c:pt>
                <c:pt idx="14">
                  <c:v>0.0028082313938608797</c:v>
                </c:pt>
                <c:pt idx="15">
                  <c:v>0.002536190210900852</c:v>
                </c:pt>
                <c:pt idx="16">
                  <c:v>0.002337327387755902</c:v>
                </c:pt>
                <c:pt idx="17">
                  <c:v>0.0033095651535933316</c:v>
                </c:pt>
                <c:pt idx="18">
                  <c:v>0.0019606321694333895</c:v>
                </c:pt>
                <c:pt idx="19">
                  <c:v>0.0015971044983137108</c:v>
                </c:pt>
                <c:pt idx="20">
                  <c:v>0.001776987039087464</c:v>
                </c:pt>
                <c:pt idx="21">
                  <c:v>0.0026770988654573344</c:v>
                </c:pt>
                <c:pt idx="22">
                  <c:v>0.0022912043647372498</c:v>
                </c:pt>
                <c:pt idx="23">
                  <c:v>0.003102581787030052</c:v>
                </c:pt>
                <c:pt idx="24">
                  <c:v>0.0020899510950048673</c:v>
                </c:pt>
                <c:pt idx="25">
                  <c:v>0.002391268669003018</c:v>
                </c:pt>
                <c:pt idx="26">
                  <c:v>0.0023672825395553605</c:v>
                </c:pt>
                <c:pt idx="27">
                  <c:v>0.002635074942252672</c:v>
                </c:pt>
                <c:pt idx="28">
                  <c:v>0.0025331847964495504</c:v>
                </c:pt>
                <c:pt idx="29">
                  <c:v>0.002544763261493406</c:v>
                </c:pt>
                <c:pt idx="30">
                  <c:v>0.0026361155571234104</c:v>
                </c:pt>
                <c:pt idx="31">
                  <c:v>0.002282201443159896</c:v>
                </c:pt>
                <c:pt idx="32">
                  <c:v>0.0017553442426272428</c:v>
                </c:pt>
                <c:pt idx="33">
                  <c:v>0.001878608041681407</c:v>
                </c:pt>
                <c:pt idx="34">
                  <c:v>0.0017587019801608202</c:v>
                </c:pt>
                <c:pt idx="35">
                  <c:v>0.002087462522160889</c:v>
                </c:pt>
                <c:pt idx="36">
                  <c:v>0.0021056646178286877</c:v>
                </c:pt>
                <c:pt idx="37">
                  <c:v>0.0020523428533447503</c:v>
                </c:pt>
                <c:pt idx="38">
                  <c:v>0.00260880158290907</c:v>
                </c:pt>
                <c:pt idx="39">
                  <c:v>0.0029742613448571304</c:v>
                </c:pt>
                <c:pt idx="40">
                  <c:v>0.0030949086603510034</c:v>
                </c:pt>
                <c:pt idx="41">
                  <c:v>0.0027589742875247275</c:v>
                </c:pt>
                <c:pt idx="42">
                  <c:v>0.0029418037569015104</c:v>
                </c:pt>
                <c:pt idx="43">
                  <c:v>0.002678580723561147</c:v>
                </c:pt>
                <c:pt idx="44">
                  <c:v>0.0021128930354466155</c:v>
                </c:pt>
                <c:pt idx="45">
                  <c:v>0.002008655332678127</c:v>
                </c:pt>
                <c:pt idx="46">
                  <c:v>0.0017546889845123414</c:v>
                </c:pt>
                <c:pt idx="47">
                  <c:v>0.002194386349971964</c:v>
                </c:pt>
                <c:pt idx="48">
                  <c:v>0.0025163393558474117</c:v>
                </c:pt>
                <c:pt idx="49">
                  <c:v>0.0024425632490015685</c:v>
                </c:pt>
                <c:pt idx="50">
                  <c:v>0.0022166497462666286</c:v>
                </c:pt>
                <c:pt idx="51">
                  <c:v>0.0018464381174535856</c:v>
                </c:pt>
                <c:pt idx="52">
                  <c:v>0.002668713856807438</c:v>
                </c:pt>
                <c:pt idx="53">
                  <c:v>0.002668713856807438</c:v>
                </c:pt>
                <c:pt idx="54">
                  <c:v>0.001895437362098687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2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1660317580055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70.0268</c:v>
                </c:pt>
                <c:pt idx="1">
                  <c:v>833.9903</c:v>
                </c:pt>
                <c:pt idx="2">
                  <c:v>860.5593</c:v>
                </c:pt>
                <c:pt idx="3">
                  <c:v>871.6726</c:v>
                </c:pt>
                <c:pt idx="4">
                  <c:v>897.2163</c:v>
                </c:pt>
                <c:pt idx="5">
                  <c:v>948.4112</c:v>
                </c:pt>
                <c:pt idx="6">
                  <c:v>911.5427</c:v>
                </c:pt>
                <c:pt idx="7">
                  <c:v>925.0846</c:v>
                </c:pt>
                <c:pt idx="8">
                  <c:v>904.516</c:v>
                </c:pt>
                <c:pt idx="9">
                  <c:v>808.5967</c:v>
                </c:pt>
                <c:pt idx="10">
                  <c:v>765.7576</c:v>
                </c:pt>
                <c:pt idx="11">
                  <c:v>792.1607</c:v>
                </c:pt>
                <c:pt idx="12">
                  <c:v>784.8508</c:v>
                </c:pt>
                <c:pt idx="13">
                  <c:v>795.2165</c:v>
                </c:pt>
                <c:pt idx="14">
                  <c:v>887.0577</c:v>
                </c:pt>
                <c:pt idx="15">
                  <c:v>899.5292</c:v>
                </c:pt>
                <c:pt idx="16">
                  <c:v>908.6042</c:v>
                </c:pt>
                <c:pt idx="17">
                  <c:v>895.6078</c:v>
                </c:pt>
                <c:pt idx="18">
                  <c:v>920.4762</c:v>
                </c:pt>
                <c:pt idx="19">
                  <c:v>960.9351</c:v>
                </c:pt>
                <c:pt idx="20">
                  <c:v>1006.0282</c:v>
                </c:pt>
                <c:pt idx="21">
                  <c:v>1005.2618</c:v>
                </c:pt>
                <c:pt idx="22">
                  <c:v>976.3027</c:v>
                </c:pt>
                <c:pt idx="23">
                  <c:v>962.1909</c:v>
                </c:pt>
                <c:pt idx="24">
                  <c:v>964.8943</c:v>
                </c:pt>
                <c:pt idx="25">
                  <c:v>944.6098</c:v>
                </c:pt>
                <c:pt idx="26">
                  <c:v>954.1976</c:v>
                </c:pt>
                <c:pt idx="27">
                  <c:v>979.4491</c:v>
                </c:pt>
                <c:pt idx="28">
                  <c:v>1000.3609</c:v>
                </c:pt>
                <c:pt idx="29">
                  <c:v>888.2025</c:v>
                </c:pt>
                <c:pt idx="30">
                  <c:v>905.7078</c:v>
                </c:pt>
                <c:pt idx="31">
                  <c:v>937.2815</c:v>
                </c:pt>
                <c:pt idx="32">
                  <c:v>897.4682</c:v>
                </c:pt>
                <c:pt idx="33">
                  <c:v>834.3503</c:v>
                </c:pt>
                <c:pt idx="34">
                  <c:v>886.0948</c:v>
                </c:pt>
                <c:pt idx="35">
                  <c:v>986.8019</c:v>
                </c:pt>
                <c:pt idx="36">
                  <c:v>1071.2418</c:v>
                </c:pt>
                <c:pt idx="37">
                  <c:v>1071.4967</c:v>
                </c:pt>
                <c:pt idx="38">
                  <c:v>1069.7085</c:v>
                </c:pt>
                <c:pt idx="39">
                  <c:v>1063.3665</c:v>
                </c:pt>
                <c:pt idx="40">
                  <c:v>1114.4491</c:v>
                </c:pt>
                <c:pt idx="41">
                  <c:v>1150.5051</c:v>
                </c:pt>
                <c:pt idx="42">
                  <c:v>1155.0653</c:v>
                </c:pt>
                <c:pt idx="43">
                  <c:v>1145.8598</c:v>
                </c:pt>
                <c:pt idx="44">
                  <c:v>1071.2316</c:v>
                </c:pt>
                <c:pt idx="45">
                  <c:v>1030.6121</c:v>
                </c:pt>
                <c:pt idx="46">
                  <c:v>1011.3124</c:v>
                </c:pt>
                <c:pt idx="47">
                  <c:v>976.1573</c:v>
                </c:pt>
                <c:pt idx="48">
                  <c:v>949.5251</c:v>
                </c:pt>
                <c:pt idx="49">
                  <c:v>930.3173</c:v>
                </c:pt>
                <c:pt idx="50">
                  <c:v>927.0502</c:v>
                </c:pt>
                <c:pt idx="51">
                  <c:v>903.4259</c:v>
                </c:pt>
                <c:pt idx="52">
                  <c:v>911.8497</c:v>
                </c:pt>
                <c:pt idx="53">
                  <c:v>1106.7933</c:v>
                </c:pt>
                <c:pt idx="54">
                  <c:v>1092.7933</c:v>
                </c:pt>
                <c:pt idx="55">
                  <c:v>1104.3041</c:v>
                </c:pt>
                <c:pt idx="56">
                  <c:v>1135.7112</c:v>
                </c:pt>
                <c:pt idx="57">
                  <c:v>1112.9949</c:v>
                </c:pt>
                <c:pt idx="58">
                  <c:v>1082.836</c:v>
                </c:pt>
                <c:pt idx="59">
                  <c:v>1080.1366</c:v>
                </c:pt>
                <c:pt idx="60">
                  <c:v>1095.1661</c:v>
                </c:pt>
                <c:pt idx="61">
                  <c:v>1074.0341</c:v>
                </c:pt>
                <c:pt idx="62">
                  <c:v>988.9461</c:v>
                </c:pt>
                <c:pt idx="63">
                  <c:v>1005.104</c:v>
                </c:pt>
                <c:pt idx="64">
                  <c:v>1001.6082</c:v>
                </c:pt>
                <c:pt idx="65">
                  <c:v>991.2124</c:v>
                </c:pt>
                <c:pt idx="66">
                  <c:v>1053.8854</c:v>
                </c:pt>
                <c:pt idx="67">
                  <c:v>1085.2821</c:v>
                </c:pt>
                <c:pt idx="68">
                  <c:v>1074.7238</c:v>
                </c:pt>
                <c:pt idx="69">
                  <c:v>1068.3072</c:v>
                </c:pt>
                <c:pt idx="70">
                  <c:v>1074.1803</c:v>
                </c:pt>
                <c:pt idx="71">
                  <c:v>1108.6216</c:v>
                </c:pt>
                <c:pt idx="72">
                  <c:v>1179.3624</c:v>
                </c:pt>
                <c:pt idx="73">
                  <c:v>1205.8198</c:v>
                </c:pt>
                <c:pt idx="74">
                  <c:v>1159.5404</c:v>
                </c:pt>
                <c:pt idx="75">
                  <c:v>1138.1026</c:v>
                </c:pt>
                <c:pt idx="76">
                  <c:v>1143.1746</c:v>
                </c:pt>
                <c:pt idx="77">
                  <c:v>1140.3622</c:v>
                </c:pt>
                <c:pt idx="78">
                  <c:v>1145.0025</c:v>
                </c:pt>
                <c:pt idx="79">
                  <c:v>1183.7731</c:v>
                </c:pt>
                <c:pt idx="80">
                  <c:v>1178.698</c:v>
                </c:pt>
                <c:pt idx="81">
                  <c:v>1160.8764</c:v>
                </c:pt>
                <c:pt idx="82">
                  <c:v>1171.0847</c:v>
                </c:pt>
                <c:pt idx="83">
                  <c:v>1158.2006</c:v>
                </c:pt>
                <c:pt idx="84">
                  <c:v>1147.9333</c:v>
                </c:pt>
                <c:pt idx="85">
                  <c:v>1123.4149</c:v>
                </c:pt>
                <c:pt idx="86">
                  <c:v>1155.1285</c:v>
                </c:pt>
                <c:pt idx="87">
                  <c:v>1171.9331</c:v>
                </c:pt>
                <c:pt idx="88">
                  <c:v>1175.488</c:v>
                </c:pt>
                <c:pt idx="89">
                  <c:v>1171.9629</c:v>
                </c:pt>
                <c:pt idx="90">
                  <c:v>1205.5272</c:v>
                </c:pt>
                <c:pt idx="91">
                  <c:v>1213.7403</c:v>
                </c:pt>
                <c:pt idx="92">
                  <c:v>1142.2561</c:v>
                </c:pt>
                <c:pt idx="93">
                  <c:v>1196.0263</c:v>
                </c:pt>
                <c:pt idx="94">
                  <c:v>1152.5548</c:v>
                </c:pt>
                <c:pt idx="95">
                  <c:v>1143.2489</c:v>
                </c:pt>
                <c:pt idx="96">
                  <c:v>1060.9205</c:v>
                </c:pt>
                <c:pt idx="97">
                  <c:v>1084.53</c:v>
                </c:pt>
                <c:pt idx="98">
                  <c:v>1074.9329</c:v>
                </c:pt>
                <c:pt idx="99">
                  <c:v>1033.8983</c:v>
                </c:pt>
                <c:pt idx="100">
                  <c:v>1009.2579</c:v>
                </c:pt>
                <c:pt idx="101">
                  <c:v>1091.6681</c:v>
                </c:pt>
                <c:pt idx="102">
                  <c:v>1094.4883</c:v>
                </c:pt>
                <c:pt idx="103">
                  <c:v>1046.2222</c:v>
                </c:pt>
                <c:pt idx="104">
                  <c:v>1089.8289</c:v>
                </c:pt>
              </c:numCache>
            </c:numRef>
          </c:xVal>
          <c:yVal>
            <c:numRef>
              <c:f>Sheet1!$B$2:$B$106</c:f>
              <c:numCache>
                <c:formatCode>General</c:formatCode>
                <c:ptCount val="105"/>
                <c:pt idx="0">
                  <c:v>0.7359617682198327</c:v>
                </c:pt>
                <c:pt idx="1">
                  <c:v>0.7220270948319117</c:v>
                </c:pt>
                <c:pt idx="2">
                  <c:v>0.6135862373180415</c:v>
                </c:pt>
                <c:pt idx="3">
                  <c:v>0.5472344591287323</c:v>
                </c:pt>
                <c:pt idx="4">
                  <c:v>0.4623376623376623</c:v>
                </c:pt>
                <c:pt idx="5">
                  <c:v>0.4175</c:v>
                </c:pt>
                <c:pt idx="6">
                  <c:v>0.4377224199288256</c:v>
                </c:pt>
                <c:pt idx="7">
                  <c:v>0.40794979079497906</c:v>
                </c:pt>
                <c:pt idx="8">
                  <c:v>0.5460405156537753</c:v>
                </c:pt>
                <c:pt idx="9">
                  <c:v>0.6404761904761904</c:v>
                </c:pt>
                <c:pt idx="10">
                  <c:v>0.714371617558629</c:v>
                </c:pt>
                <c:pt idx="11">
                  <c:v>0.7245817245817245</c:v>
                </c:pt>
                <c:pt idx="12">
                  <c:v>0.7582710779082177</c:v>
                </c:pt>
                <c:pt idx="13">
                  <c:v>0.782941498086386</c:v>
                </c:pt>
                <c:pt idx="14">
                  <c:v>0.8114997036158862</c:v>
                </c:pt>
                <c:pt idx="15">
                  <c:v>0.77542062911485</c:v>
                </c:pt>
                <c:pt idx="16">
                  <c:v>0.7563237774030354</c:v>
                </c:pt>
                <c:pt idx="17">
                  <c:v>0.7209737827715356</c:v>
                </c:pt>
                <c:pt idx="18">
                  <c:v>0.7304347826086957</c:v>
                </c:pt>
                <c:pt idx="19">
                  <c:v>0.5945273631840796</c:v>
                </c:pt>
                <c:pt idx="20">
                  <c:v>0.6132437619961613</c:v>
                </c:pt>
                <c:pt idx="21">
                  <c:v>0.5900116144018583</c:v>
                </c:pt>
                <c:pt idx="22">
                  <c:v>0.5559174809989142</c:v>
                </c:pt>
                <c:pt idx="23">
                  <c:v>0.599523241954708</c:v>
                </c:pt>
                <c:pt idx="24">
                  <c:v>0.5746652935118435</c:v>
                </c:pt>
                <c:pt idx="25">
                  <c:v>0.5761670761670762</c:v>
                </c:pt>
                <c:pt idx="26">
                  <c:v>0.6653116531165312</c:v>
                </c:pt>
                <c:pt idx="27">
                  <c:v>0.6662234042553191</c:v>
                </c:pt>
                <c:pt idx="28">
                  <c:v>0.5950752393980848</c:v>
                </c:pt>
                <c:pt idx="29">
                  <c:v>0.571773220747889</c:v>
                </c:pt>
                <c:pt idx="30">
                  <c:v>0.5441696113074205</c:v>
                </c:pt>
                <c:pt idx="31">
                  <c:v>0.5286821705426357</c:v>
                </c:pt>
                <c:pt idx="32">
                  <c:v>0.552046783625731</c:v>
                </c:pt>
                <c:pt idx="33">
                  <c:v>0.5548172757475083</c:v>
                </c:pt>
                <c:pt idx="34">
                  <c:v>0.5738636363636364</c:v>
                </c:pt>
                <c:pt idx="35">
                  <c:v>0.6204620462046204</c:v>
                </c:pt>
                <c:pt idx="36">
                  <c:v>0.5808510638297872</c:v>
                </c:pt>
                <c:pt idx="37">
                  <c:v>0.5865139949109415</c:v>
                </c:pt>
                <c:pt idx="38">
                  <c:v>0.6368563685636857</c:v>
                </c:pt>
                <c:pt idx="39">
                  <c:v>0.6789554531490015</c:v>
                </c:pt>
                <c:pt idx="40">
                  <c:v>0.6104328523862376</c:v>
                </c:pt>
                <c:pt idx="41">
                  <c:v>0.5218543046357615</c:v>
                </c:pt>
                <c:pt idx="42">
                  <c:v>0.49524714828897337</c:v>
                </c:pt>
                <c:pt idx="43">
                  <c:v>0.46759941089838</c:v>
                </c:pt>
                <c:pt idx="44">
                  <c:v>0.5476304451890857</c:v>
                </c:pt>
                <c:pt idx="45">
                  <c:v>0.6167693036475604</c:v>
                </c:pt>
                <c:pt idx="46">
                  <c:v>0.610361340879408</c:v>
                </c:pt>
                <c:pt idx="47">
                  <c:v>0.5841995841995842</c:v>
                </c:pt>
                <c:pt idx="48">
                  <c:v>0.6094739741118149</c:v>
                </c:pt>
                <c:pt idx="49">
                  <c:v>0.6445806204519341</c:v>
                </c:pt>
                <c:pt idx="50">
                  <c:v>0.5920945395273024</c:v>
                </c:pt>
                <c:pt idx="51">
                  <c:v>0.5655860349127182</c:v>
                </c:pt>
                <c:pt idx="52">
                  <c:v>0.5844875346260388</c:v>
                </c:pt>
                <c:pt idx="53">
                  <c:v>0.5082389289392379</c:v>
                </c:pt>
                <c:pt idx="54">
                  <c:v>0.4942339373970346</c:v>
                </c:pt>
                <c:pt idx="55">
                  <c:v>0.47165532879818595</c:v>
                </c:pt>
                <c:pt idx="56">
                  <c:v>0.4898534385569335</c:v>
                </c:pt>
                <c:pt idx="57">
                  <c:v>0.48528678304239403</c:v>
                </c:pt>
                <c:pt idx="58">
                  <c:v>0.5340909090909091</c:v>
                </c:pt>
                <c:pt idx="59">
                  <c:v>0.5508136321768499</c:v>
                </c:pt>
                <c:pt idx="60">
                  <c:v>0.571334431630972</c:v>
                </c:pt>
                <c:pt idx="61">
                  <c:v>0.5356138706654171</c:v>
                </c:pt>
                <c:pt idx="62">
                  <c:v>0.5833692373976734</c:v>
                </c:pt>
                <c:pt idx="63">
                  <c:v>0.6275018532246108</c:v>
                </c:pt>
                <c:pt idx="64">
                  <c:v>0.6479190101237345</c:v>
                </c:pt>
                <c:pt idx="65">
                  <c:v>0.6186161449752883</c:v>
                </c:pt>
                <c:pt idx="66">
                  <c:v>0.593764761454889</c:v>
                </c:pt>
                <c:pt idx="67">
                  <c:v>0.606701030927835</c:v>
                </c:pt>
                <c:pt idx="68">
                  <c:v>0.577189666036547</c:v>
                </c:pt>
                <c:pt idx="69">
                  <c:v>0.5411365564037319</c:v>
                </c:pt>
                <c:pt idx="70">
                  <c:v>0.5108359133126935</c:v>
                </c:pt>
                <c:pt idx="71">
                  <c:v>0.5094339622641509</c:v>
                </c:pt>
                <c:pt idx="72">
                  <c:v>0.5107806691449814</c:v>
                </c:pt>
                <c:pt idx="73">
                  <c:v>0.5069659442724458</c:v>
                </c:pt>
                <c:pt idx="74">
                  <c:v>0.48457486832204666</c:v>
                </c:pt>
                <c:pt idx="75">
                  <c:v>0.4945652173913043</c:v>
                </c:pt>
                <c:pt idx="76">
                  <c:v>0.467444120505345</c:v>
                </c:pt>
                <c:pt idx="77">
                  <c:v>0.4854368932038835</c:v>
                </c:pt>
                <c:pt idx="78">
                  <c:v>0.4807692307692308</c:v>
                </c:pt>
                <c:pt idx="79">
                  <c:v>0.4920273348519362</c:v>
                </c:pt>
                <c:pt idx="80">
                  <c:v>0.4402234636871508</c:v>
                </c:pt>
                <c:pt idx="81">
                  <c:v>0.4524207011686144</c:v>
                </c:pt>
                <c:pt idx="82">
                  <c:v>0.43448275862068964</c:v>
                </c:pt>
                <c:pt idx="83">
                  <c:v>0.41153342070773263</c:v>
                </c:pt>
                <c:pt idx="84">
                  <c:v>0.4267425320056899</c:v>
                </c:pt>
                <c:pt idx="85">
                  <c:v>0.45410628019323673</c:v>
                </c:pt>
                <c:pt idx="86">
                  <c:v>0.5004730368968779</c:v>
                </c:pt>
                <c:pt idx="87">
                  <c:v>0.5261865793780688</c:v>
                </c:pt>
                <c:pt idx="88">
                  <c:v>0.4634888438133874</c:v>
                </c:pt>
                <c:pt idx="89">
                  <c:v>0.42075892857142855</c:v>
                </c:pt>
                <c:pt idx="90">
                  <c:v>0.3952434881087203</c:v>
                </c:pt>
                <c:pt idx="91">
                  <c:v>0.40870488322717624</c:v>
                </c:pt>
                <c:pt idx="92">
                  <c:v>0.4641509433962264</c:v>
                </c:pt>
                <c:pt idx="93">
                  <c:v>0.47092469018112487</c:v>
                </c:pt>
                <c:pt idx="94">
                  <c:v>0.4785867237687366</c:v>
                </c:pt>
                <c:pt idx="95">
                  <c:v>0.5048041389504804</c:v>
                </c:pt>
                <c:pt idx="96">
                  <c:v>0.5152928978745464</c:v>
                </c:pt>
                <c:pt idx="97">
                  <c:v>0.5479323308270677</c:v>
                </c:pt>
                <c:pt idx="98">
                  <c:v>0.5758258258258259</c:v>
                </c:pt>
                <c:pt idx="99">
                  <c:v>0.6135313531353135</c:v>
                </c:pt>
                <c:pt idx="100">
                  <c:v>0.6226334822378218</c:v>
                </c:pt>
                <c:pt idx="101">
                  <c:v>0.5709677419354838</c:v>
                </c:pt>
                <c:pt idx="102">
                  <c:v>0.5155529953917051</c:v>
                </c:pt>
                <c:pt idx="103">
                  <c:v>0.521099116781158</c:v>
                </c:pt>
                <c:pt idx="104">
                  <c:v>0.526887561108093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69.8947</c:v>
                </c:pt>
                <c:pt idx="1">
                  <c:v>1180.9729</c:v>
                </c:pt>
                <c:pt idx="2">
                  <c:v>1175.8615</c:v>
                </c:pt>
                <c:pt idx="3">
                  <c:v>1185.6753</c:v>
                </c:pt>
                <c:pt idx="4">
                  <c:v>1179.6779</c:v>
                </c:pt>
                <c:pt idx="5">
                  <c:v>1157.05</c:v>
                </c:pt>
                <c:pt idx="6">
                  <c:v>1061.0427</c:v>
                </c:pt>
                <c:pt idx="7">
                  <c:v>1078.4551</c:v>
                </c:pt>
                <c:pt idx="8">
                  <c:v>1187.1297</c:v>
                </c:pt>
                <c:pt idx="9">
                  <c:v>1082.8059</c:v>
                </c:pt>
                <c:pt idx="10">
                  <c:v>1105.9236</c:v>
                </c:pt>
                <c:pt idx="11">
                  <c:v>1007.0548</c:v>
                </c:pt>
                <c:pt idx="12">
                  <c:v>1046.9335</c:v>
                </c:pt>
                <c:pt idx="13">
                  <c:v>1076.8829</c:v>
                </c:pt>
                <c:pt idx="14">
                  <c:v>1117.5741</c:v>
                </c:pt>
                <c:pt idx="15">
                  <c:v>1126.626</c:v>
                </c:pt>
                <c:pt idx="16">
                  <c:v>1148.9212</c:v>
                </c:pt>
                <c:pt idx="17">
                  <c:v>1127.6882</c:v>
                </c:pt>
                <c:pt idx="18">
                  <c:v>1124.743</c:v>
                </c:pt>
                <c:pt idx="19">
                  <c:v>1062.658</c:v>
                </c:pt>
                <c:pt idx="20">
                  <c:v>1044.7724</c:v>
                </c:pt>
                <c:pt idx="21">
                  <c:v>1016.625</c:v>
                </c:pt>
                <c:pt idx="22">
                  <c:v>1050.5302</c:v>
                </c:pt>
                <c:pt idx="23">
                  <c:v>1068.554</c:v>
                </c:pt>
                <c:pt idx="24">
                  <c:v>1156.2986</c:v>
                </c:pt>
                <c:pt idx="25">
                  <c:v>1133.1127</c:v>
                </c:pt>
                <c:pt idx="26">
                  <c:v>1190.6152</c:v>
                </c:pt>
                <c:pt idx="27">
                  <c:v>1183.4579</c:v>
                </c:pt>
                <c:pt idx="28">
                  <c:v>1074.6995</c:v>
                </c:pt>
                <c:pt idx="29">
                  <c:v>1073.0</c:v>
                </c:pt>
                <c:pt idx="30">
                  <c:v>1095.2818</c:v>
                </c:pt>
                <c:pt idx="31">
                  <c:v>1117.7319</c:v>
                </c:pt>
                <c:pt idx="32">
                  <c:v>1074.0815</c:v>
                </c:pt>
                <c:pt idx="33">
                  <c:v>1091.2138</c:v>
                </c:pt>
                <c:pt idx="34">
                  <c:v>1114.0602</c:v>
                </c:pt>
                <c:pt idx="35">
                  <c:v>1155.3342</c:v>
                </c:pt>
                <c:pt idx="36">
                  <c:v>1136.473</c:v>
                </c:pt>
                <c:pt idx="37">
                  <c:v>1227.9464</c:v>
                </c:pt>
                <c:pt idx="38">
                  <c:v>1241.531</c:v>
                </c:pt>
                <c:pt idx="39">
                  <c:v>1213.2229</c:v>
                </c:pt>
                <c:pt idx="40">
                  <c:v>1247.1473</c:v>
                </c:pt>
                <c:pt idx="41">
                  <c:v>1308.2838</c:v>
                </c:pt>
                <c:pt idx="42">
                  <c:v>1305.4244</c:v>
                </c:pt>
                <c:pt idx="43">
                  <c:v>1302.9658</c:v>
                </c:pt>
                <c:pt idx="44">
                  <c:v>1201.8691</c:v>
                </c:pt>
                <c:pt idx="45">
                  <c:v>1186.2225</c:v>
                </c:pt>
                <c:pt idx="46">
                  <c:v>1176.8694</c:v>
                </c:pt>
                <c:pt idx="47">
                  <c:v>1159.2342</c:v>
                </c:pt>
                <c:pt idx="48">
                  <c:v>1119.2789</c:v>
                </c:pt>
                <c:pt idx="49">
                  <c:v>1097.3134</c:v>
                </c:pt>
                <c:pt idx="50">
                  <c:v>1024.3271</c:v>
                </c:pt>
                <c:pt idx="51">
                  <c:v>1013.7242</c:v>
                </c:pt>
              </c:numCache>
            </c:numRef>
          </c:xVal>
          <c:yVal>
            <c:numRef>
              <c:f>Sheet1!$B$109:$B$160</c:f>
              <c:numCache>
                <c:formatCode>General</c:formatCode>
                <c:ptCount val="52"/>
                <c:pt idx="0">
                  <c:v>0.5236943907156673</c:v>
                </c:pt>
                <c:pt idx="1">
                  <c:v>0.5107692307692308</c:v>
                </c:pt>
                <c:pt idx="2">
                  <c:v>0.5397196261682243</c:v>
                </c:pt>
                <c:pt idx="3">
                  <c:v>0.5381040892193308</c:v>
                </c:pt>
                <c:pt idx="4">
                  <c:v>0.4578366445916115</c:v>
                </c:pt>
                <c:pt idx="5">
                  <c:v>0.4815689981096408</c:v>
                </c:pt>
                <c:pt idx="6">
                  <c:v>0.5471537807986406</c:v>
                </c:pt>
                <c:pt idx="7">
                  <c:v>0.5608899297423887</c:v>
                </c:pt>
                <c:pt idx="8">
                  <c:v>0.5230664857530529</c:v>
                </c:pt>
                <c:pt idx="9">
                  <c:v>0.5547902316844082</c:v>
                </c:pt>
                <c:pt idx="10">
                  <c:v>0.5951515151515151</c:v>
                </c:pt>
                <c:pt idx="11">
                  <c:v>0.6142369991474851</c:v>
                </c:pt>
                <c:pt idx="12">
                  <c:v>0.5875542691751086</c:v>
                </c:pt>
                <c:pt idx="13">
                  <c:v>0.5629335976214074</c:v>
                </c:pt>
                <c:pt idx="14">
                  <c:v>0.5549886621315193</c:v>
                </c:pt>
                <c:pt idx="15">
                  <c:v>0.5574085952533675</c:v>
                </c:pt>
                <c:pt idx="16">
                  <c:v>0.5435779816513762</c:v>
                </c:pt>
                <c:pt idx="17">
                  <c:v>0.5291666666666667</c:v>
                </c:pt>
                <c:pt idx="18">
                  <c:v>0.5138755980861244</c:v>
                </c:pt>
                <c:pt idx="19">
                  <c:v>0.5081458494957332</c:v>
                </c:pt>
                <c:pt idx="20">
                  <c:v>0.47692307692307695</c:v>
                </c:pt>
                <c:pt idx="21">
                  <c:v>0.49527806925498424</c:v>
                </c:pt>
                <c:pt idx="22">
                  <c:v>0.4912087912087912</c:v>
                </c:pt>
                <c:pt idx="23">
                  <c:v>0.4882903981264637</c:v>
                </c:pt>
                <c:pt idx="24">
                  <c:v>0.4647577092511013</c:v>
                </c:pt>
                <c:pt idx="25">
                  <c:v>0.4809688581314879</c:v>
                </c:pt>
                <c:pt idx="26">
                  <c:v>0.4305717619603267</c:v>
                </c:pt>
                <c:pt idx="27">
                  <c:v>0.452431289640592</c:v>
                </c:pt>
                <c:pt idx="28">
                  <c:v>0.5059907834101383</c:v>
                </c:pt>
                <c:pt idx="29">
                  <c:v>0.5273348519362187</c:v>
                </c:pt>
                <c:pt idx="30">
                  <c:v>0.5406320541760722</c:v>
                </c:pt>
                <c:pt idx="31">
                  <c:v>0.5307692307692308</c:v>
                </c:pt>
                <c:pt idx="32">
                  <c:v>0.5467391304347826</c:v>
                </c:pt>
                <c:pt idx="33">
                  <c:v>0.5906779661016949</c:v>
                </c:pt>
                <c:pt idx="34">
                  <c:v>0.61051298290057</c:v>
                </c:pt>
                <c:pt idx="35">
                  <c:v>0.6208299430431244</c:v>
                </c:pt>
                <c:pt idx="36">
                  <c:v>0.5347313237221494</c:v>
                </c:pt>
                <c:pt idx="37">
                  <c:v>0.49557522123893805</c:v>
                </c:pt>
                <c:pt idx="38">
                  <c:v>0.4889406286379511</c:v>
                </c:pt>
                <c:pt idx="39">
                  <c:v>0.5372168284789643</c:v>
                </c:pt>
                <c:pt idx="40">
                  <c:v>0.5017391304347826</c:v>
                </c:pt>
                <c:pt idx="41">
                  <c:v>0.48458498023715413</c:v>
                </c:pt>
                <c:pt idx="42">
                  <c:v>0.49083895853423337</c:v>
                </c:pt>
                <c:pt idx="43">
                  <c:v>0.5026455026455027</c:v>
                </c:pt>
                <c:pt idx="44">
                  <c:v>0.547269524368761</c:v>
                </c:pt>
                <c:pt idx="45">
                  <c:v>0.6074168797953964</c:v>
                </c:pt>
                <c:pt idx="46">
                  <c:v>0.6006582556226001</c:v>
                </c:pt>
                <c:pt idx="47">
                  <c:v>0.5895702559150169</c:v>
                </c:pt>
                <c:pt idx="48">
                  <c:v>0.6004338394793927</c:v>
                </c:pt>
                <c:pt idx="49">
                  <c:v>0.639458413926499</c:v>
                </c:pt>
                <c:pt idx="50">
                  <c:v>0.6805496828752643</c:v>
                </c:pt>
                <c:pt idx="51">
                  <c:v>0.649822345045400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56.2058758382209</c:v>
                </c:pt>
              </c:numCache>
            </c:numRef>
          </c:xVal>
          <c:yVal>
            <c:numRef>
              <c:f>Sheet1!$B$163:$B$164</c:f>
              <c:numCache>
                <c:formatCode>General</c:formatCode>
                <c:ptCount val="2"/>
                <c:pt idx="0">
                  <c:v>0.7086982710544039</c:v>
                </c:pt>
                <c:pt idx="1">
                  <c:v>0.708698271054403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56.2058758382209</c:v>
                </c:pt>
                <c:pt idx="1">
                  <c:v>556.2058758382209</c:v>
                </c:pt>
              </c:numCache>
            </c:numRef>
          </c:xVal>
          <c:yVal>
            <c:numRef>
              <c:f>Sheet1!$B$167:$B$168</c:f>
              <c:numCache>
                <c:formatCode>General</c:formatCode>
                <c:ptCount val="2"/>
                <c:pt idx="0">
                  <c:v>0.708698271054403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781.1916237873111</c:v>
                </c:pt>
              </c:numCache>
            </c:numRef>
          </c:xVal>
          <c:yVal>
            <c:numRef>
              <c:f>Sheet1!$B$171:$B$172</c:f>
              <c:numCache>
                <c:formatCode>General</c:formatCode>
                <c:ptCount val="2"/>
                <c:pt idx="0">
                  <c:v>0.6425660703316391</c:v>
                </c:pt>
                <c:pt idx="1">
                  <c:v>0.642566070331639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781.1916237873111</c:v>
                </c:pt>
                <c:pt idx="1">
                  <c:v>781.1916237873111</c:v>
                </c:pt>
              </c:numCache>
            </c:numRef>
          </c:xVal>
          <c:yVal>
            <c:numRef>
              <c:f>Sheet1!$B$175:$B$176</c:f>
              <c:numCache>
                <c:formatCode>General</c:formatCode>
                <c:ptCount val="2"/>
                <c:pt idx="0">
                  <c:v>0.642566070331639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22.2549097404584</c:v>
                </c:pt>
              </c:numCache>
            </c:numRef>
          </c:xVal>
          <c:yVal>
            <c:numRef>
              <c:f>Sheet1!$B$179:$B$180</c:f>
              <c:numCache>
                <c:formatCode>General</c:formatCode>
                <c:ptCount val="2"/>
                <c:pt idx="0">
                  <c:v>0.5717080459506898</c:v>
                </c:pt>
                <c:pt idx="1">
                  <c:v>0.571708045950689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22.2549097404584</c:v>
                </c:pt>
                <c:pt idx="1">
                  <c:v>1022.2549097404584</c:v>
                </c:pt>
              </c:numCache>
            </c:numRef>
          </c:xVal>
          <c:yVal>
            <c:numRef>
              <c:f>Sheet1!$B$183:$B$184</c:f>
              <c:numCache>
                <c:formatCode>General</c:formatCode>
                <c:ptCount val="2"/>
                <c:pt idx="0">
                  <c:v>0.571708045950689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69.8947</c:v>
                </c:pt>
                <c:pt idx="1">
                  <c:v>1180.9729</c:v>
                </c:pt>
                <c:pt idx="2">
                  <c:v>1175.8615</c:v>
                </c:pt>
                <c:pt idx="3">
                  <c:v>1185.6753</c:v>
                </c:pt>
                <c:pt idx="4">
                  <c:v>1179.6779</c:v>
                </c:pt>
                <c:pt idx="5">
                  <c:v>1157.05</c:v>
                </c:pt>
                <c:pt idx="6">
                  <c:v>1061.0427</c:v>
                </c:pt>
                <c:pt idx="7">
                  <c:v>1078.4551</c:v>
                </c:pt>
                <c:pt idx="8">
                  <c:v>1187.1297</c:v>
                </c:pt>
                <c:pt idx="9">
                  <c:v>1082.8059</c:v>
                </c:pt>
                <c:pt idx="10">
                  <c:v>1105.9236</c:v>
                </c:pt>
                <c:pt idx="11">
                  <c:v>1007.0548</c:v>
                </c:pt>
                <c:pt idx="12">
                  <c:v>1046.9335</c:v>
                </c:pt>
                <c:pt idx="13">
                  <c:v>1076.8829</c:v>
                </c:pt>
                <c:pt idx="14">
                  <c:v>1117.5741</c:v>
                </c:pt>
                <c:pt idx="15">
                  <c:v>1126.626</c:v>
                </c:pt>
                <c:pt idx="16">
                  <c:v>1148.9212</c:v>
                </c:pt>
                <c:pt idx="17">
                  <c:v>1127.6882</c:v>
                </c:pt>
                <c:pt idx="18">
                  <c:v>1124.743</c:v>
                </c:pt>
                <c:pt idx="19">
                  <c:v>1062.658</c:v>
                </c:pt>
                <c:pt idx="20">
                  <c:v>1044.7724</c:v>
                </c:pt>
                <c:pt idx="21">
                  <c:v>1016.625</c:v>
                </c:pt>
                <c:pt idx="22">
                  <c:v>1050.5302</c:v>
                </c:pt>
                <c:pt idx="23">
                  <c:v>1068.554</c:v>
                </c:pt>
                <c:pt idx="24">
                  <c:v>1156.2986</c:v>
                </c:pt>
                <c:pt idx="25">
                  <c:v>1133.1127</c:v>
                </c:pt>
                <c:pt idx="26">
                  <c:v>1190.6152</c:v>
                </c:pt>
                <c:pt idx="27">
                  <c:v>1183.4579</c:v>
                </c:pt>
                <c:pt idx="28">
                  <c:v>1074.6995</c:v>
                </c:pt>
                <c:pt idx="29">
                  <c:v>1073.0</c:v>
                </c:pt>
                <c:pt idx="30">
                  <c:v>1095.2818</c:v>
                </c:pt>
                <c:pt idx="31">
                  <c:v>1117.7319</c:v>
                </c:pt>
                <c:pt idx="32">
                  <c:v>1074.0815</c:v>
                </c:pt>
                <c:pt idx="33">
                  <c:v>1091.2138</c:v>
                </c:pt>
                <c:pt idx="34">
                  <c:v>1114.0602</c:v>
                </c:pt>
                <c:pt idx="35">
                  <c:v>1155.3342</c:v>
                </c:pt>
                <c:pt idx="36">
                  <c:v>1136.473</c:v>
                </c:pt>
                <c:pt idx="37">
                  <c:v>1227.9464</c:v>
                </c:pt>
                <c:pt idx="38">
                  <c:v>1241.531</c:v>
                </c:pt>
                <c:pt idx="39">
                  <c:v>1213.2229</c:v>
                </c:pt>
                <c:pt idx="40">
                  <c:v>1247.1473</c:v>
                </c:pt>
                <c:pt idx="41">
                  <c:v>1308.2838</c:v>
                </c:pt>
                <c:pt idx="42">
                  <c:v>1305.4244</c:v>
                </c:pt>
                <c:pt idx="43">
                  <c:v>1302.9658</c:v>
                </c:pt>
                <c:pt idx="44">
                  <c:v>1201.8691</c:v>
                </c:pt>
                <c:pt idx="45">
                  <c:v>1186.2225</c:v>
                </c:pt>
                <c:pt idx="46">
                  <c:v>1176.8694</c:v>
                </c:pt>
                <c:pt idx="47">
                  <c:v>1159.2342</c:v>
                </c:pt>
                <c:pt idx="48">
                  <c:v>1119.2789</c:v>
                </c:pt>
                <c:pt idx="49">
                  <c:v>1097.3134</c:v>
                </c:pt>
                <c:pt idx="50">
                  <c:v>1024.3271</c:v>
                </c:pt>
                <c:pt idx="51">
                  <c:v>1013.7242</c:v>
                </c:pt>
                <c:pt idx="52">
                  <c:v>781.1916237873111</c:v>
                </c:pt>
                <c:pt idx="53">
                  <c:v>556.2058758382209</c:v>
                </c:pt>
                <c:pt idx="54">
                  <c:v>1022.2549097404584</c:v>
                </c:pt>
              </c:numCache>
            </c:numRef>
          </c:xVal>
          <c:yVal>
            <c:numRef>
              <c:f>Sheet1!$B$187:$B$241</c:f>
              <c:numCache>
                <c:formatCode>General</c:formatCode>
                <c:ptCount val="55"/>
                <c:pt idx="0">
                  <c:v>0.5283108782051122</c:v>
                </c:pt>
                <c:pt idx="1">
                  <c:v>0.5250545575149115</c:v>
                </c:pt>
                <c:pt idx="2">
                  <c:v>0.5265569999311788</c:v>
                </c:pt>
                <c:pt idx="3">
                  <c:v>0.5236723363586224</c:v>
                </c:pt>
                <c:pt idx="4">
                  <c:v>0.525435209181591</c:v>
                </c:pt>
                <c:pt idx="5">
                  <c:v>0.5320864430414054</c:v>
                </c:pt>
                <c:pt idx="6">
                  <c:v>0.5603067818509881</c:v>
                </c:pt>
                <c:pt idx="7">
                  <c:v>0.5551885895105308</c:v>
                </c:pt>
                <c:pt idx="8">
                  <c:v>0.5232448307338975</c:v>
                </c:pt>
                <c:pt idx="9">
                  <c:v>0.5539097174862917</c:v>
                </c:pt>
                <c:pt idx="10">
                  <c:v>0.5471145120540143</c:v>
                </c:pt>
                <c:pt idx="11">
                  <c:v>0.576175958774179</c:v>
                </c:pt>
                <c:pt idx="12">
                  <c:v>0.5644540331988768</c:v>
                </c:pt>
                <c:pt idx="13">
                  <c:v>0.5556507212096456</c:v>
                </c:pt>
                <c:pt idx="14">
                  <c:v>0.543689969781697</c:v>
                </c:pt>
                <c:pt idx="15">
                  <c:v>0.5410292587225333</c:v>
                </c:pt>
                <c:pt idx="16">
                  <c:v>0.5344758185380118</c:v>
                </c:pt>
                <c:pt idx="17">
                  <c:v>0.5407170361740027</c:v>
                </c:pt>
                <c:pt idx="18">
                  <c:v>0.5415827468216512</c:v>
                </c:pt>
                <c:pt idx="19">
                  <c:v>0.5598319813589514</c:v>
                </c:pt>
                <c:pt idx="20">
                  <c:v>0.5650892658759898</c:v>
                </c:pt>
                <c:pt idx="21">
                  <c:v>0.5733628988664901</c:v>
                </c:pt>
                <c:pt idx="22">
                  <c:v>0.5633968209598448</c:v>
                </c:pt>
                <c:pt idx="23">
                  <c:v>0.5580989140023931</c:v>
                </c:pt>
                <c:pt idx="24">
                  <c:v>0.5323073091899329</c:v>
                </c:pt>
                <c:pt idx="25">
                  <c:v>0.5391225612968571</c:v>
                </c:pt>
                <c:pt idx="26">
                  <c:v>0.522220304568483</c:v>
                </c:pt>
                <c:pt idx="27">
                  <c:v>0.5243241178302019</c:v>
                </c:pt>
                <c:pt idx="28">
                  <c:v>0.5562925087378529</c:v>
                </c:pt>
                <c:pt idx="29">
                  <c:v>0.5567920589367115</c:v>
                </c:pt>
                <c:pt idx="30">
                  <c:v>0.5502425575416368</c:v>
                </c:pt>
                <c:pt idx="31">
                  <c:v>0.5436435861268692</c:v>
                </c:pt>
                <c:pt idx="32">
                  <c:v>0.5564741633556196</c:v>
                </c:pt>
                <c:pt idx="33">
                  <c:v>0.5514383034721795</c:v>
                </c:pt>
                <c:pt idx="34">
                  <c:v>0.5447228438292226</c:v>
                </c:pt>
                <c:pt idx="35">
                  <c:v>0.5325907844542925</c:v>
                </c:pt>
                <c:pt idx="36">
                  <c:v>0.5381348363582135</c:v>
                </c:pt>
                <c:pt idx="37">
                  <c:v>0.5112471898973248</c:v>
                </c:pt>
                <c:pt idx="38">
                  <c:v>0.5072541392168801</c:v>
                </c:pt>
                <c:pt idx="39">
                  <c:v>0.5155750082867898</c:v>
                </c:pt>
                <c:pt idx="40">
                  <c:v>0.5056032867415343</c:v>
                </c:pt>
                <c:pt idx="41">
                  <c:v>0.48763285383036986</c:v>
                </c:pt>
                <c:pt idx="42">
                  <c:v>0.48847334446797885</c:v>
                </c:pt>
                <c:pt idx="43">
                  <c:v>0.48919602414959934</c:v>
                </c:pt>
                <c:pt idx="44">
                  <c:v>0.5189123387062085</c:v>
                </c:pt>
                <c:pt idx="45">
                  <c:v>0.5235114926582309</c:v>
                </c:pt>
                <c:pt idx="46">
                  <c:v>0.5262607382980928</c:v>
                </c:pt>
                <c:pt idx="47">
                  <c:v>0.5314444203615896</c:v>
                </c:pt>
                <c:pt idx="48">
                  <c:v>0.5431888617034304</c:v>
                </c:pt>
                <c:pt idx="49">
                  <c:v>0.5496453900311917</c:v>
                </c:pt>
                <c:pt idx="50">
                  <c:v>0.5710989473592059</c:v>
                </c:pt>
                <c:pt idx="51">
                  <c:v>0.5742155585998523</c:v>
                </c:pt>
                <c:pt idx="52">
                  <c:v>0.6425660703316391</c:v>
                </c:pt>
                <c:pt idx="53">
                  <c:v>0.7086982710544039</c:v>
                </c:pt>
                <c:pt idx="54">
                  <c:v>0.571708045950689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0.0"/>
          <c:min val="44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737996443390634"/>
          <c:min val="0.3161947904869762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331095300826738</c:v>
                </c:pt>
                <c:pt idx="1">
                  <c:v>0.8022588755970598</c:v>
                </c:pt>
                <c:pt idx="2">
                  <c:v>0.8546086599011086</c:v>
                </c:pt>
                <c:pt idx="3">
                  <c:v>0.8585467086448827</c:v>
                </c:pt>
                <c:pt idx="4">
                  <c:v>0.8594791490046528</c:v>
                </c:pt>
                <c:pt idx="5">
                  <c:v>0.9366911332031357</c:v>
                </c:pt>
                <c:pt idx="6">
                  <c:v>0.8871988507346907</c:v>
                </c:pt>
                <c:pt idx="7">
                  <c:v>0.8870674611123615</c:v>
                </c:pt>
                <c:pt idx="8">
                  <c:v>0.9136525252525252</c:v>
                </c:pt>
                <c:pt idx="9">
                  <c:v>0.783503435472134</c:v>
                </c:pt>
                <c:pt idx="10">
                  <c:v>0.7644961813008536</c:v>
                </c:pt>
                <c:pt idx="11">
                  <c:v>0.7827481534547072</c:v>
                </c:pt>
                <c:pt idx="12">
                  <c:v>0.7850377174805322</c:v>
                </c:pt>
                <c:pt idx="13">
                  <c:v>0.7572819740727725</c:v>
                </c:pt>
                <c:pt idx="14">
                  <c:v>0.8912279337475917</c:v>
                </c:pt>
                <c:pt idx="15">
                  <c:v>0.8578534770881878</c:v>
                </c:pt>
                <c:pt idx="16">
                  <c:v>0.8765582811124656</c:v>
                </c:pt>
                <c:pt idx="17">
                  <c:v>0.9215773900632884</c:v>
                </c:pt>
                <c:pt idx="18">
                  <c:v>0.8883256515224056</c:v>
                </c:pt>
                <c:pt idx="19">
                  <c:v>0.9934712845696563</c:v>
                </c:pt>
                <c:pt idx="20">
                  <c:v>1.0239874030687208</c:v>
                </c:pt>
                <c:pt idx="21">
                  <c:v>1.0274424327261793</c:v>
                </c:pt>
                <c:pt idx="22">
                  <c:v>0.9466922491689435</c:v>
                </c:pt>
                <c:pt idx="23">
                  <c:v>0.9183127242297605</c:v>
                </c:pt>
                <c:pt idx="24">
                  <c:v>0.9380998237831926</c:v>
                </c:pt>
                <c:pt idx="25">
                  <c:v>0.8983279443091905</c:v>
                </c:pt>
                <c:pt idx="26">
                  <c:v>0.937515357968768</c:v>
                </c:pt>
                <c:pt idx="27">
                  <c:v>1.0558784384131614</c:v>
                </c:pt>
                <c:pt idx="28">
                  <c:v>1.054415177763492</c:v>
                </c:pt>
                <c:pt idx="29">
                  <c:v>0.8825954593065712</c:v>
                </c:pt>
                <c:pt idx="30">
                  <c:v>0.8386183333333334</c:v>
                </c:pt>
                <c:pt idx="31">
                  <c:v>0.9363811695055205</c:v>
                </c:pt>
                <c:pt idx="32">
                  <c:v>0.8558802102898281</c:v>
                </c:pt>
                <c:pt idx="33">
                  <c:v>0.8024206194375277</c:v>
                </c:pt>
                <c:pt idx="34">
                  <c:v>0.9261104585250896</c:v>
                </c:pt>
                <c:pt idx="35">
                  <c:v>0.9646157380254154</c:v>
                </c:pt>
                <c:pt idx="36">
                  <c:v>1.0032441206400806</c:v>
                </c:pt>
                <c:pt idx="37">
                  <c:v>1.0826698528817396</c:v>
                </c:pt>
                <c:pt idx="38">
                  <c:v>1.0332389867519085</c:v>
                </c:pt>
                <c:pt idx="39">
                  <c:v>1.069702454608894</c:v>
                </c:pt>
                <c:pt idx="40">
                  <c:v>0.8979671737518936</c:v>
                </c:pt>
                <c:pt idx="41">
                  <c:v>0.9740518973905008</c:v>
                </c:pt>
                <c:pt idx="42">
                  <c:v>1.0531167530462302</c:v>
                </c:pt>
                <c:pt idx="43">
                  <c:v>1.0613908162529004</c:v>
                </c:pt>
                <c:pt idx="44">
                  <c:v>0.8777779434806999</c:v>
                </c:pt>
                <c:pt idx="45">
                  <c:v>0.8815987287882232</c:v>
                </c:pt>
                <c:pt idx="46">
                  <c:v>0.8172790702673592</c:v>
                </c:pt>
                <c:pt idx="47">
                  <c:v>0.8377234928127011</c:v>
                </c:pt>
                <c:pt idx="48">
                  <c:v>0.810429746005485</c:v>
                </c:pt>
                <c:pt idx="49">
                  <c:v>0.770117719944279</c:v>
                </c:pt>
                <c:pt idx="50">
                  <c:v>0.7367286552775802</c:v>
                </c:pt>
                <c:pt idx="51">
                  <c:v>0.7300696851497059</c:v>
                </c:pt>
                <c:pt idx="52">
                  <c:v>0.7611433222036728</c:v>
                </c:pt>
                <c:pt idx="53">
                  <c:v>0.8457211317785613</c:v>
                </c:pt>
                <c:pt idx="54">
                  <c:v>0.7768969700192568</c:v>
                </c:pt>
                <c:pt idx="55">
                  <c:v>0.7789422563495586</c:v>
                </c:pt>
                <c:pt idx="56">
                  <c:v>0.8686443957730317</c:v>
                </c:pt>
                <c:pt idx="57">
                  <c:v>0.8862208273359212</c:v>
                </c:pt>
                <c:pt idx="58">
                  <c:v>0.8505883734530674</c:v>
                </c:pt>
                <c:pt idx="59">
                  <c:v>0.8723089844538664</c:v>
                </c:pt>
                <c:pt idx="60">
                  <c:v>0.897718558651518</c:v>
                </c:pt>
                <c:pt idx="61">
                  <c:v>0.842586202500613</c:v>
                </c:pt>
                <c:pt idx="62">
                  <c:v>0.7708714892645812</c:v>
                </c:pt>
                <c:pt idx="63">
                  <c:v>0.8026286442657159</c:v>
                </c:pt>
                <c:pt idx="64">
                  <c:v>0.7711078063171043</c:v>
                </c:pt>
                <c:pt idx="65">
                  <c:v>0.6796831586055643</c:v>
                </c:pt>
                <c:pt idx="66">
                  <c:v>0.6911803082173026</c:v>
                </c:pt>
                <c:pt idx="67">
                  <c:v>0.7990647114672058</c:v>
                </c:pt>
                <c:pt idx="68">
                  <c:v>0.6628471513375992</c:v>
                </c:pt>
                <c:pt idx="69">
                  <c:v>0.4926480055337791</c:v>
                </c:pt>
                <c:pt idx="70">
                  <c:v>0.5665507911392405</c:v>
                </c:pt>
                <c:pt idx="71">
                  <c:v>0.6809714987714988</c:v>
                </c:pt>
                <c:pt idx="72">
                  <c:v>0.9223376193342644</c:v>
                </c:pt>
                <c:pt idx="73">
                  <c:v>0.6506890537151776</c:v>
                </c:pt>
                <c:pt idx="74">
                  <c:v>0.5385487872206339</c:v>
                </c:pt>
                <c:pt idx="75">
                  <c:v>0.6348067051186521</c:v>
                </c:pt>
                <c:pt idx="76">
                  <c:v>0.5794337895766203</c:v>
                </c:pt>
                <c:pt idx="77">
                  <c:v>0.5821144461459928</c:v>
                </c:pt>
                <c:pt idx="78">
                  <c:v>0.6148807364891128</c:v>
                </c:pt>
                <c:pt idx="79">
                  <c:v>0.5927217542238769</c:v>
                </c:pt>
                <c:pt idx="80">
                  <c:v>0.6415794016683597</c:v>
                </c:pt>
                <c:pt idx="81">
                  <c:v>0.7300726949336555</c:v>
                </c:pt>
                <c:pt idx="82">
                  <c:v>0.6462685189998585</c:v>
                </c:pt>
                <c:pt idx="83">
                  <c:v>0.5268273329996428</c:v>
                </c:pt>
                <c:pt idx="84">
                  <c:v>0.6373158449922274</c:v>
                </c:pt>
                <c:pt idx="85">
                  <c:v>0.5617425589099319</c:v>
                </c:pt>
                <c:pt idx="86">
                  <c:v>0.5688326685379426</c:v>
                </c:pt>
                <c:pt idx="87">
                  <c:v>0.6388297083674025</c:v>
                </c:pt>
                <c:pt idx="88">
                  <c:v>0.677859448517217</c:v>
                </c:pt>
                <c:pt idx="89">
                  <c:v>0.650028353670103</c:v>
                </c:pt>
                <c:pt idx="90">
                  <c:v>0.8473562414023047</c:v>
                </c:pt>
                <c:pt idx="91">
                  <c:v>0.6504503215434083</c:v>
                </c:pt>
                <c:pt idx="92">
                  <c:v>0.5776020155510011</c:v>
                </c:pt>
                <c:pt idx="93">
                  <c:v>0.6210276909950473</c:v>
                </c:pt>
                <c:pt idx="94">
                  <c:v>0.6074390218193316</c:v>
                </c:pt>
                <c:pt idx="95">
                  <c:v>0.8287164498180809</c:v>
                </c:pt>
                <c:pt idx="96">
                  <c:v>0.9010195362637432</c:v>
                </c:pt>
                <c:pt idx="97">
                  <c:v>0.9636864211142518</c:v>
                </c:pt>
                <c:pt idx="98">
                  <c:v>0.9793301965478961</c:v>
                </c:pt>
                <c:pt idx="99">
                  <c:v>0.9357965063298289</c:v>
                </c:pt>
                <c:pt idx="100">
                  <c:v>0.9419250473385377</c:v>
                </c:pt>
                <c:pt idx="101">
                  <c:v>1.0115102612871194</c:v>
                </c:pt>
                <c:pt idx="102">
                  <c:v>0.9924572443125789</c:v>
                </c:pt>
                <c:pt idx="103">
                  <c:v>0.9451787196379523</c:v>
                </c:pt>
                <c:pt idx="104">
                  <c:v>1.0082561387459839</c:v>
                </c:pt>
              </c:numCache>
            </c:numRef>
          </c:xVal>
          <c:yVal>
            <c:numRef>
              <c:f>Sheet1!$B$2:$B$106</c:f>
              <c:numCache>
                <c:formatCode>General</c:formatCode>
                <c:ptCount val="105"/>
                <c:pt idx="0">
                  <c:v>0.7359617682198327</c:v>
                </c:pt>
                <c:pt idx="1">
                  <c:v>0.7220270948319117</c:v>
                </c:pt>
                <c:pt idx="2">
                  <c:v>0.6135862373180415</c:v>
                </c:pt>
                <c:pt idx="3">
                  <c:v>0.5472344591287323</c:v>
                </c:pt>
                <c:pt idx="4">
                  <c:v>0.4623376623376623</c:v>
                </c:pt>
                <c:pt idx="5">
                  <c:v>0.4175</c:v>
                </c:pt>
                <c:pt idx="6">
                  <c:v>0.4377224199288256</c:v>
                </c:pt>
                <c:pt idx="7">
                  <c:v>0.40794979079497906</c:v>
                </c:pt>
                <c:pt idx="8">
                  <c:v>0.5460405156537753</c:v>
                </c:pt>
                <c:pt idx="9">
                  <c:v>0.6404761904761904</c:v>
                </c:pt>
                <c:pt idx="10">
                  <c:v>0.714371617558629</c:v>
                </c:pt>
                <c:pt idx="11">
                  <c:v>0.7245817245817245</c:v>
                </c:pt>
                <c:pt idx="12">
                  <c:v>0.7582710779082177</c:v>
                </c:pt>
                <c:pt idx="13">
                  <c:v>0.782941498086386</c:v>
                </c:pt>
                <c:pt idx="14">
                  <c:v>0.8114997036158862</c:v>
                </c:pt>
                <c:pt idx="15">
                  <c:v>0.77542062911485</c:v>
                </c:pt>
                <c:pt idx="16">
                  <c:v>0.7563237774030354</c:v>
                </c:pt>
                <c:pt idx="17">
                  <c:v>0.7209737827715356</c:v>
                </c:pt>
                <c:pt idx="18">
                  <c:v>0.7304347826086957</c:v>
                </c:pt>
                <c:pt idx="19">
                  <c:v>0.5945273631840796</c:v>
                </c:pt>
                <c:pt idx="20">
                  <c:v>0.6132437619961613</c:v>
                </c:pt>
                <c:pt idx="21">
                  <c:v>0.5900116144018583</c:v>
                </c:pt>
                <c:pt idx="22">
                  <c:v>0.5559174809989142</c:v>
                </c:pt>
                <c:pt idx="23">
                  <c:v>0.599523241954708</c:v>
                </c:pt>
                <c:pt idx="24">
                  <c:v>0.5746652935118435</c:v>
                </c:pt>
                <c:pt idx="25">
                  <c:v>0.5761670761670762</c:v>
                </c:pt>
                <c:pt idx="26">
                  <c:v>0.6653116531165312</c:v>
                </c:pt>
                <c:pt idx="27">
                  <c:v>0.6662234042553191</c:v>
                </c:pt>
                <c:pt idx="28">
                  <c:v>0.5950752393980848</c:v>
                </c:pt>
                <c:pt idx="29">
                  <c:v>0.571773220747889</c:v>
                </c:pt>
                <c:pt idx="30">
                  <c:v>0.5441696113074205</c:v>
                </c:pt>
                <c:pt idx="31">
                  <c:v>0.5286821705426357</c:v>
                </c:pt>
                <c:pt idx="32">
                  <c:v>0.552046783625731</c:v>
                </c:pt>
                <c:pt idx="33">
                  <c:v>0.5548172757475083</c:v>
                </c:pt>
                <c:pt idx="34">
                  <c:v>0.5738636363636364</c:v>
                </c:pt>
                <c:pt idx="35">
                  <c:v>0.6204620462046204</c:v>
                </c:pt>
                <c:pt idx="36">
                  <c:v>0.5808510638297872</c:v>
                </c:pt>
                <c:pt idx="37">
                  <c:v>0.5865139949109415</c:v>
                </c:pt>
                <c:pt idx="38">
                  <c:v>0.6368563685636857</c:v>
                </c:pt>
                <c:pt idx="39">
                  <c:v>0.6789554531490015</c:v>
                </c:pt>
                <c:pt idx="40">
                  <c:v>0.6104328523862376</c:v>
                </c:pt>
                <c:pt idx="41">
                  <c:v>0.5218543046357615</c:v>
                </c:pt>
                <c:pt idx="42">
                  <c:v>0.49524714828897337</c:v>
                </c:pt>
                <c:pt idx="43">
                  <c:v>0.46759941089838</c:v>
                </c:pt>
                <c:pt idx="44">
                  <c:v>0.5476304451890857</c:v>
                </c:pt>
                <c:pt idx="45">
                  <c:v>0.6167693036475604</c:v>
                </c:pt>
                <c:pt idx="46">
                  <c:v>0.610361340879408</c:v>
                </c:pt>
                <c:pt idx="47">
                  <c:v>0.5841995841995842</c:v>
                </c:pt>
                <c:pt idx="48">
                  <c:v>0.6094739741118149</c:v>
                </c:pt>
                <c:pt idx="49">
                  <c:v>0.6445806204519341</c:v>
                </c:pt>
                <c:pt idx="50">
                  <c:v>0.5920945395273024</c:v>
                </c:pt>
                <c:pt idx="51">
                  <c:v>0.5655860349127182</c:v>
                </c:pt>
                <c:pt idx="52">
                  <c:v>0.5844875346260388</c:v>
                </c:pt>
                <c:pt idx="53">
                  <c:v>0.5082389289392379</c:v>
                </c:pt>
                <c:pt idx="54">
                  <c:v>0.4942339373970346</c:v>
                </c:pt>
                <c:pt idx="55">
                  <c:v>0.47165532879818595</c:v>
                </c:pt>
                <c:pt idx="56">
                  <c:v>0.4898534385569335</c:v>
                </c:pt>
                <c:pt idx="57">
                  <c:v>0.48528678304239403</c:v>
                </c:pt>
                <c:pt idx="58">
                  <c:v>0.5340909090909091</c:v>
                </c:pt>
                <c:pt idx="59">
                  <c:v>0.5508136321768499</c:v>
                </c:pt>
                <c:pt idx="60">
                  <c:v>0.571334431630972</c:v>
                </c:pt>
                <c:pt idx="61">
                  <c:v>0.5356138706654171</c:v>
                </c:pt>
                <c:pt idx="62">
                  <c:v>0.5833692373976734</c:v>
                </c:pt>
                <c:pt idx="63">
                  <c:v>0.6275018532246108</c:v>
                </c:pt>
                <c:pt idx="64">
                  <c:v>0.6479190101237345</c:v>
                </c:pt>
                <c:pt idx="65">
                  <c:v>0.6186161449752883</c:v>
                </c:pt>
                <c:pt idx="66">
                  <c:v>0.593764761454889</c:v>
                </c:pt>
                <c:pt idx="67">
                  <c:v>0.606701030927835</c:v>
                </c:pt>
                <c:pt idx="68">
                  <c:v>0.577189666036547</c:v>
                </c:pt>
                <c:pt idx="69">
                  <c:v>0.5411365564037319</c:v>
                </c:pt>
                <c:pt idx="70">
                  <c:v>0.5108359133126935</c:v>
                </c:pt>
                <c:pt idx="71">
                  <c:v>0.5094339622641509</c:v>
                </c:pt>
                <c:pt idx="72">
                  <c:v>0.5107806691449814</c:v>
                </c:pt>
                <c:pt idx="73">
                  <c:v>0.5069659442724458</c:v>
                </c:pt>
                <c:pt idx="74">
                  <c:v>0.48457486832204666</c:v>
                </c:pt>
                <c:pt idx="75">
                  <c:v>0.4945652173913043</c:v>
                </c:pt>
                <c:pt idx="76">
                  <c:v>0.467444120505345</c:v>
                </c:pt>
                <c:pt idx="77">
                  <c:v>0.4854368932038835</c:v>
                </c:pt>
                <c:pt idx="78">
                  <c:v>0.4807692307692308</c:v>
                </c:pt>
                <c:pt idx="79">
                  <c:v>0.4920273348519362</c:v>
                </c:pt>
                <c:pt idx="80">
                  <c:v>0.4402234636871508</c:v>
                </c:pt>
                <c:pt idx="81">
                  <c:v>0.4524207011686144</c:v>
                </c:pt>
                <c:pt idx="82">
                  <c:v>0.43448275862068964</c:v>
                </c:pt>
                <c:pt idx="83">
                  <c:v>0.41153342070773263</c:v>
                </c:pt>
                <c:pt idx="84">
                  <c:v>0.4267425320056899</c:v>
                </c:pt>
                <c:pt idx="85">
                  <c:v>0.45410628019323673</c:v>
                </c:pt>
                <c:pt idx="86">
                  <c:v>0.5004730368968779</c:v>
                </c:pt>
                <c:pt idx="87">
                  <c:v>0.5261865793780688</c:v>
                </c:pt>
                <c:pt idx="88">
                  <c:v>0.4634888438133874</c:v>
                </c:pt>
                <c:pt idx="89">
                  <c:v>0.42075892857142855</c:v>
                </c:pt>
                <c:pt idx="90">
                  <c:v>0.3952434881087203</c:v>
                </c:pt>
                <c:pt idx="91">
                  <c:v>0.40870488322717624</c:v>
                </c:pt>
                <c:pt idx="92">
                  <c:v>0.4641509433962264</c:v>
                </c:pt>
                <c:pt idx="93">
                  <c:v>0.47092469018112487</c:v>
                </c:pt>
                <c:pt idx="94">
                  <c:v>0.4785867237687366</c:v>
                </c:pt>
                <c:pt idx="95">
                  <c:v>0.5048041389504804</c:v>
                </c:pt>
                <c:pt idx="96">
                  <c:v>0.5152928978745464</c:v>
                </c:pt>
                <c:pt idx="97">
                  <c:v>0.5479323308270677</c:v>
                </c:pt>
                <c:pt idx="98">
                  <c:v>0.5758258258258259</c:v>
                </c:pt>
                <c:pt idx="99">
                  <c:v>0.6135313531353135</c:v>
                </c:pt>
                <c:pt idx="100">
                  <c:v>0.6226334822378218</c:v>
                </c:pt>
                <c:pt idx="101">
                  <c:v>0.5709677419354838</c:v>
                </c:pt>
                <c:pt idx="102">
                  <c:v>0.5155529953917051</c:v>
                </c:pt>
                <c:pt idx="103">
                  <c:v>0.521099116781158</c:v>
                </c:pt>
                <c:pt idx="104">
                  <c:v>0.526887561108093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10521869804936</c:v>
                </c:pt>
                <c:pt idx="1">
                  <c:v>1.0939428541151583</c:v>
                </c:pt>
                <c:pt idx="2">
                  <c:v>1.1106323935766527</c:v>
                </c:pt>
                <c:pt idx="3">
                  <c:v>1.1033444026787531</c:v>
                </c:pt>
                <c:pt idx="4">
                  <c:v>1.0731711377510142</c:v>
                </c:pt>
                <c:pt idx="5">
                  <c:v>1.3191987918166235</c:v>
                </c:pt>
                <c:pt idx="6">
                  <c:v>1.2438569596271534</c:v>
                </c:pt>
                <c:pt idx="7">
                  <c:v>1.3742931366332352</c:v>
                </c:pt>
                <c:pt idx="8">
                  <c:v>1.3936448753927635</c:v>
                </c:pt>
                <c:pt idx="9">
                  <c:v>1.271162277161877</c:v>
                </c:pt>
                <c:pt idx="10">
                  <c:v>1.2980323943661973</c:v>
                </c:pt>
                <c:pt idx="11">
                  <c:v>1.2282609040337698</c:v>
                </c:pt>
                <c:pt idx="12">
                  <c:v>1.2169806199509388</c:v>
                </c:pt>
                <c:pt idx="13">
                  <c:v>1.3097374548292122</c:v>
                </c:pt>
                <c:pt idx="14">
                  <c:v>1.3921426326530537</c:v>
                </c:pt>
                <c:pt idx="15">
                  <c:v>1.3895208422082932</c:v>
                </c:pt>
                <c:pt idx="16">
                  <c:v>1.3188957341989127</c:v>
                </c:pt>
                <c:pt idx="17">
                  <c:v>1.363778595115573</c:v>
                </c:pt>
                <c:pt idx="18">
                  <c:v>2.1751481372609693</c:v>
                </c:pt>
                <c:pt idx="19">
                  <c:v>1.9929192028458216</c:v>
                </c:pt>
                <c:pt idx="20">
                  <c:v>2.0862964364484498</c:v>
                </c:pt>
                <c:pt idx="21">
                  <c:v>2.1085361257856263</c:v>
                </c:pt>
                <c:pt idx="22">
                  <c:v>2.1818037193232263</c:v>
                </c:pt>
                <c:pt idx="23">
                  <c:v>2.234116464658524</c:v>
                </c:pt>
                <c:pt idx="24">
                  <c:v>2.4715901451769735</c:v>
                </c:pt>
                <c:pt idx="25">
                  <c:v>2.4196981422495782</c:v>
                </c:pt>
                <c:pt idx="26">
                  <c:v>2.4081676820579636</c:v>
                </c:pt>
                <c:pt idx="27">
                  <c:v>2.190764732745888</c:v>
                </c:pt>
                <c:pt idx="28">
                  <c:v>1.929035270111732</c:v>
                </c:pt>
                <c:pt idx="29">
                  <c:v>1.974967789434935</c:v>
                </c:pt>
                <c:pt idx="30">
                  <c:v>1.7535731668267691</c:v>
                </c:pt>
                <c:pt idx="31">
                  <c:v>1.8649261075195906</c:v>
                </c:pt>
                <c:pt idx="32">
                  <c:v>2.2072492979054914</c:v>
                </c:pt>
                <c:pt idx="33">
                  <c:v>2.189976009308886</c:v>
                </c:pt>
                <c:pt idx="34">
                  <c:v>2.2918932463366146</c:v>
                </c:pt>
                <c:pt idx="35">
                  <c:v>2.1243228036627073</c:v>
                </c:pt>
                <c:pt idx="36">
                  <c:v>2.2892744791499853</c:v>
                </c:pt>
                <c:pt idx="37">
                  <c:v>2.375564511386183</c:v>
                </c:pt>
                <c:pt idx="38">
                  <c:v>2.652310721284459</c:v>
                </c:pt>
                <c:pt idx="39">
                  <c:v>2.422904482807928</c:v>
                </c:pt>
                <c:pt idx="40">
                  <c:v>2.5486501719471515</c:v>
                </c:pt>
                <c:pt idx="41">
                  <c:v>2.6440461136406213</c:v>
                </c:pt>
                <c:pt idx="42">
                  <c:v>2.52000270257227</c:v>
                </c:pt>
                <c:pt idx="43">
                  <c:v>2.3443069449442246</c:v>
                </c:pt>
                <c:pt idx="44">
                  <c:v>2.2239834067586854</c:v>
                </c:pt>
                <c:pt idx="45">
                  <c:v>2.161223445714092</c:v>
                </c:pt>
                <c:pt idx="46">
                  <c:v>2.128820793633595</c:v>
                </c:pt>
                <c:pt idx="47">
                  <c:v>1.9580656598150468</c:v>
                </c:pt>
                <c:pt idx="48">
                  <c:v>1.7782369749987212</c:v>
                </c:pt>
                <c:pt idx="49">
                  <c:v>1.9317323253403818</c:v>
                </c:pt>
                <c:pt idx="50">
                  <c:v>1.6336147654581672</c:v>
                </c:pt>
                <c:pt idx="51">
                  <c:v>1.5928766158975882</c:v>
                </c:pt>
              </c:numCache>
            </c:numRef>
          </c:xVal>
          <c:yVal>
            <c:numRef>
              <c:f>Sheet1!$B$109:$B$160</c:f>
              <c:numCache>
                <c:formatCode>General</c:formatCode>
                <c:ptCount val="52"/>
                <c:pt idx="0">
                  <c:v>0.5236943907156673</c:v>
                </c:pt>
                <c:pt idx="1">
                  <c:v>0.5107692307692308</c:v>
                </c:pt>
                <c:pt idx="2">
                  <c:v>0.5397196261682243</c:v>
                </c:pt>
                <c:pt idx="3">
                  <c:v>0.5381040892193308</c:v>
                </c:pt>
                <c:pt idx="4">
                  <c:v>0.4578366445916115</c:v>
                </c:pt>
                <c:pt idx="5">
                  <c:v>0.4815689981096408</c:v>
                </c:pt>
                <c:pt idx="6">
                  <c:v>0.5471537807986406</c:v>
                </c:pt>
                <c:pt idx="7">
                  <c:v>0.5608899297423887</c:v>
                </c:pt>
                <c:pt idx="8">
                  <c:v>0.5230664857530529</c:v>
                </c:pt>
                <c:pt idx="9">
                  <c:v>0.5547902316844082</c:v>
                </c:pt>
                <c:pt idx="10">
                  <c:v>0.5951515151515151</c:v>
                </c:pt>
                <c:pt idx="11">
                  <c:v>0.6142369991474851</c:v>
                </c:pt>
                <c:pt idx="12">
                  <c:v>0.5875542691751086</c:v>
                </c:pt>
                <c:pt idx="13">
                  <c:v>0.5629335976214074</c:v>
                </c:pt>
                <c:pt idx="14">
                  <c:v>0.5549886621315193</c:v>
                </c:pt>
                <c:pt idx="15">
                  <c:v>0.5574085952533675</c:v>
                </c:pt>
                <c:pt idx="16">
                  <c:v>0.5435779816513762</c:v>
                </c:pt>
                <c:pt idx="17">
                  <c:v>0.5291666666666667</c:v>
                </c:pt>
                <c:pt idx="18">
                  <c:v>0.5138755980861244</c:v>
                </c:pt>
                <c:pt idx="19">
                  <c:v>0.5081458494957332</c:v>
                </c:pt>
                <c:pt idx="20">
                  <c:v>0.47692307692307695</c:v>
                </c:pt>
                <c:pt idx="21">
                  <c:v>0.49527806925498424</c:v>
                </c:pt>
                <c:pt idx="22">
                  <c:v>0.4912087912087912</c:v>
                </c:pt>
                <c:pt idx="23">
                  <c:v>0.4882903981264637</c:v>
                </c:pt>
                <c:pt idx="24">
                  <c:v>0.4647577092511013</c:v>
                </c:pt>
                <c:pt idx="25">
                  <c:v>0.4809688581314879</c:v>
                </c:pt>
                <c:pt idx="26">
                  <c:v>0.4305717619603267</c:v>
                </c:pt>
                <c:pt idx="27">
                  <c:v>0.452431289640592</c:v>
                </c:pt>
                <c:pt idx="28">
                  <c:v>0.5059907834101383</c:v>
                </c:pt>
                <c:pt idx="29">
                  <c:v>0.5273348519362187</c:v>
                </c:pt>
                <c:pt idx="30">
                  <c:v>0.5406320541760722</c:v>
                </c:pt>
                <c:pt idx="31">
                  <c:v>0.5307692307692308</c:v>
                </c:pt>
                <c:pt idx="32">
                  <c:v>0.5467391304347826</c:v>
                </c:pt>
                <c:pt idx="33">
                  <c:v>0.5906779661016949</c:v>
                </c:pt>
                <c:pt idx="34">
                  <c:v>0.61051298290057</c:v>
                </c:pt>
                <c:pt idx="35">
                  <c:v>0.6208299430431244</c:v>
                </c:pt>
                <c:pt idx="36">
                  <c:v>0.5347313237221494</c:v>
                </c:pt>
                <c:pt idx="37">
                  <c:v>0.49557522123893805</c:v>
                </c:pt>
                <c:pt idx="38">
                  <c:v>0.4889406286379511</c:v>
                </c:pt>
                <c:pt idx="39">
                  <c:v>0.5372168284789643</c:v>
                </c:pt>
                <c:pt idx="40">
                  <c:v>0.5017391304347826</c:v>
                </c:pt>
                <c:pt idx="41">
                  <c:v>0.48458498023715413</c:v>
                </c:pt>
                <c:pt idx="42">
                  <c:v>0.49083895853423337</c:v>
                </c:pt>
                <c:pt idx="43">
                  <c:v>0.5026455026455027</c:v>
                </c:pt>
                <c:pt idx="44">
                  <c:v>0.547269524368761</c:v>
                </c:pt>
                <c:pt idx="45">
                  <c:v>0.6074168797953964</c:v>
                </c:pt>
                <c:pt idx="46">
                  <c:v>0.6006582556226001</c:v>
                </c:pt>
                <c:pt idx="47">
                  <c:v>0.5895702559150169</c:v>
                </c:pt>
                <c:pt idx="48">
                  <c:v>0.6004338394793927</c:v>
                </c:pt>
                <c:pt idx="49">
                  <c:v>0.639458413926499</c:v>
                </c:pt>
                <c:pt idx="50">
                  <c:v>0.6805496828752643</c:v>
                </c:pt>
                <c:pt idx="51">
                  <c:v>0.649822345045400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5457694478723187</c:v>
                </c:pt>
              </c:numCache>
            </c:numRef>
          </c:xVal>
          <c:yVal>
            <c:numRef>
              <c:f>Sheet1!$B$163:$B$164</c:f>
              <c:numCache>
                <c:formatCode>General</c:formatCode>
                <c:ptCount val="2"/>
                <c:pt idx="0">
                  <c:v>0.7086982710544039</c:v>
                </c:pt>
                <c:pt idx="1">
                  <c:v>0.708698271054403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5457694478723187</c:v>
                </c:pt>
                <c:pt idx="1">
                  <c:v>-3.5457694478723187</c:v>
                </c:pt>
              </c:numCache>
            </c:numRef>
          </c:xVal>
          <c:yVal>
            <c:numRef>
              <c:f>Sheet1!$B$167:$B$168</c:f>
              <c:numCache>
                <c:formatCode>General</c:formatCode>
                <c:ptCount val="2"/>
                <c:pt idx="0">
                  <c:v>0.708698271054403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4456350004297234</c:v>
                </c:pt>
              </c:numCache>
            </c:numRef>
          </c:xVal>
          <c:yVal>
            <c:numRef>
              <c:f>Sheet1!$B$171:$B$172</c:f>
              <c:numCache>
                <c:formatCode>General</c:formatCode>
                <c:ptCount val="2"/>
                <c:pt idx="0">
                  <c:v>0.6425660703316391</c:v>
                </c:pt>
                <c:pt idx="1">
                  <c:v>0.642566070331639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4456350004297234</c:v>
                </c:pt>
                <c:pt idx="1">
                  <c:v>-1.4456350004297234</c:v>
                </c:pt>
              </c:numCache>
            </c:numRef>
          </c:xVal>
          <c:yVal>
            <c:numRef>
              <c:f>Sheet1!$B$175:$B$176</c:f>
              <c:numCache>
                <c:formatCode>General</c:formatCode>
                <c:ptCount val="2"/>
                <c:pt idx="0">
                  <c:v>0.642566070331639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045755816133086</c:v>
                </c:pt>
              </c:numCache>
            </c:numRef>
          </c:xVal>
          <c:yVal>
            <c:numRef>
              <c:f>Sheet1!$B$179:$B$180</c:f>
              <c:numCache>
                <c:formatCode>General</c:formatCode>
                <c:ptCount val="2"/>
                <c:pt idx="0">
                  <c:v>0.5717080459506898</c:v>
                </c:pt>
                <c:pt idx="1">
                  <c:v>0.571708045950689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045755816133086</c:v>
                </c:pt>
                <c:pt idx="1">
                  <c:v>0.8045755816133086</c:v>
                </c:pt>
              </c:numCache>
            </c:numRef>
          </c:xVal>
          <c:yVal>
            <c:numRef>
              <c:f>Sheet1!$B$183:$B$184</c:f>
              <c:numCache>
                <c:formatCode>General</c:formatCode>
                <c:ptCount val="2"/>
                <c:pt idx="0">
                  <c:v>0.571708045950689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10521869804936</c:v>
                </c:pt>
                <c:pt idx="1">
                  <c:v>1.0939428541151583</c:v>
                </c:pt>
                <c:pt idx="2">
                  <c:v>1.1106323935766527</c:v>
                </c:pt>
                <c:pt idx="3">
                  <c:v>1.1033444026787531</c:v>
                </c:pt>
                <c:pt idx="4">
                  <c:v>1.0731711377510142</c:v>
                </c:pt>
                <c:pt idx="5">
                  <c:v>1.3191987918166235</c:v>
                </c:pt>
                <c:pt idx="6">
                  <c:v>1.2438569596271534</c:v>
                </c:pt>
                <c:pt idx="7">
                  <c:v>1.3742931366332352</c:v>
                </c:pt>
                <c:pt idx="8">
                  <c:v>1.3936448753927635</c:v>
                </c:pt>
                <c:pt idx="9">
                  <c:v>1.271162277161877</c:v>
                </c:pt>
                <c:pt idx="10">
                  <c:v>1.2980323943661973</c:v>
                </c:pt>
                <c:pt idx="11">
                  <c:v>1.2282609040337698</c:v>
                </c:pt>
                <c:pt idx="12">
                  <c:v>1.2169806199509388</c:v>
                </c:pt>
                <c:pt idx="13">
                  <c:v>1.3097374548292122</c:v>
                </c:pt>
                <c:pt idx="14">
                  <c:v>1.3921426326530537</c:v>
                </c:pt>
                <c:pt idx="15">
                  <c:v>1.3895208422082932</c:v>
                </c:pt>
                <c:pt idx="16">
                  <c:v>1.3188957341989127</c:v>
                </c:pt>
                <c:pt idx="17">
                  <c:v>1.363778595115573</c:v>
                </c:pt>
                <c:pt idx="18">
                  <c:v>2.1751481372609693</c:v>
                </c:pt>
                <c:pt idx="19">
                  <c:v>1.9929192028458216</c:v>
                </c:pt>
                <c:pt idx="20">
                  <c:v>2.0862964364484498</c:v>
                </c:pt>
                <c:pt idx="21">
                  <c:v>2.1085361257856263</c:v>
                </c:pt>
                <c:pt idx="22">
                  <c:v>2.1818037193232263</c:v>
                </c:pt>
                <c:pt idx="23">
                  <c:v>2.234116464658524</c:v>
                </c:pt>
                <c:pt idx="24">
                  <c:v>2.4715901451769735</c:v>
                </c:pt>
                <c:pt idx="25">
                  <c:v>2.4196981422495782</c:v>
                </c:pt>
                <c:pt idx="26">
                  <c:v>2.4081676820579636</c:v>
                </c:pt>
                <c:pt idx="27">
                  <c:v>2.190764732745888</c:v>
                </c:pt>
                <c:pt idx="28">
                  <c:v>1.929035270111732</c:v>
                </c:pt>
                <c:pt idx="29">
                  <c:v>1.974967789434935</c:v>
                </c:pt>
                <c:pt idx="30">
                  <c:v>1.7535731668267691</c:v>
                </c:pt>
                <c:pt idx="31">
                  <c:v>1.8649261075195906</c:v>
                </c:pt>
                <c:pt idx="32">
                  <c:v>2.2072492979054914</c:v>
                </c:pt>
                <c:pt idx="33">
                  <c:v>2.189976009308886</c:v>
                </c:pt>
                <c:pt idx="34">
                  <c:v>2.2918932463366146</c:v>
                </c:pt>
                <c:pt idx="35">
                  <c:v>2.1243228036627073</c:v>
                </c:pt>
                <c:pt idx="36">
                  <c:v>2.2892744791499853</c:v>
                </c:pt>
                <c:pt idx="37">
                  <c:v>2.375564511386183</c:v>
                </c:pt>
                <c:pt idx="38">
                  <c:v>2.652310721284459</c:v>
                </c:pt>
                <c:pt idx="39">
                  <c:v>2.422904482807928</c:v>
                </c:pt>
                <c:pt idx="40">
                  <c:v>2.5486501719471515</c:v>
                </c:pt>
                <c:pt idx="41">
                  <c:v>2.6440461136406213</c:v>
                </c:pt>
                <c:pt idx="42">
                  <c:v>2.52000270257227</c:v>
                </c:pt>
                <c:pt idx="43">
                  <c:v>2.3443069449442246</c:v>
                </c:pt>
                <c:pt idx="44">
                  <c:v>2.2239834067586854</c:v>
                </c:pt>
                <c:pt idx="45">
                  <c:v>2.161223445714092</c:v>
                </c:pt>
                <c:pt idx="46">
                  <c:v>2.128820793633595</c:v>
                </c:pt>
                <c:pt idx="47">
                  <c:v>1.9580656598150468</c:v>
                </c:pt>
                <c:pt idx="48">
                  <c:v>1.7782369749987212</c:v>
                </c:pt>
                <c:pt idx="49">
                  <c:v>1.9317323253403818</c:v>
                </c:pt>
                <c:pt idx="50">
                  <c:v>1.6336147654581672</c:v>
                </c:pt>
                <c:pt idx="51">
                  <c:v>1.5928766158975882</c:v>
                </c:pt>
                <c:pt idx="52">
                  <c:v>-1.4456350004297234</c:v>
                </c:pt>
                <c:pt idx="53">
                  <c:v>-3.5457694478723187</c:v>
                </c:pt>
                <c:pt idx="54">
                  <c:v>0.8045755816133086</c:v>
                </c:pt>
              </c:numCache>
            </c:numRef>
          </c:xVal>
          <c:yVal>
            <c:numRef>
              <c:f>Sheet1!$B$187:$B$241</c:f>
              <c:numCache>
                <c:formatCode>General</c:formatCode>
                <c:ptCount val="55"/>
                <c:pt idx="0">
                  <c:v>0.5620739478262998</c:v>
                </c:pt>
                <c:pt idx="1">
                  <c:v>0.5625960128753815</c:v>
                </c:pt>
                <c:pt idx="2">
                  <c:v>0.5620704674870936</c:v>
                </c:pt>
                <c:pt idx="3">
                  <c:v>0.5622999627356061</c:v>
                </c:pt>
                <c:pt idx="4">
                  <c:v>0.5632501040063672</c:v>
                </c:pt>
                <c:pt idx="5">
                  <c:v>0.555502814197455</c:v>
                </c:pt>
                <c:pt idx="6">
                  <c:v>0.557875291433492</c:v>
                </c:pt>
                <c:pt idx="7">
                  <c:v>0.553767920379329</c:v>
                </c:pt>
                <c:pt idx="8">
                  <c:v>0.5531585436446452</c:v>
                </c:pt>
                <c:pt idx="9">
                  <c:v>0.557015460415433</c:v>
                </c:pt>
                <c:pt idx="10">
                  <c:v>0.5561693336417095</c:v>
                </c:pt>
                <c:pt idx="11">
                  <c:v>0.5583664035526428</c:v>
                </c:pt>
                <c:pt idx="12">
                  <c:v>0.5587216141497948</c:v>
                </c:pt>
                <c:pt idx="13">
                  <c:v>0.5558007470452871</c:v>
                </c:pt>
                <c:pt idx="14">
                  <c:v>0.5532058485295861</c:v>
                </c:pt>
                <c:pt idx="15">
                  <c:v>0.553288407421069</c:v>
                </c:pt>
                <c:pt idx="16">
                  <c:v>0.5555123573327667</c:v>
                </c:pt>
                <c:pt idx="17">
                  <c:v>0.554099018119762</c:v>
                </c:pt>
                <c:pt idx="18">
                  <c:v>0.5285493903391036</c:v>
                </c:pt>
                <c:pt idx="19">
                  <c:v>0.5342876898479343</c:v>
                </c:pt>
                <c:pt idx="20">
                  <c:v>0.5313472866927623</c:v>
                </c:pt>
                <c:pt idx="21">
                  <c:v>0.5306469698149314</c:v>
                </c:pt>
                <c:pt idx="22">
                  <c:v>0.5283398093337524</c:v>
                </c:pt>
                <c:pt idx="23">
                  <c:v>0.5266925067150625</c:v>
                </c:pt>
                <c:pt idx="24">
                  <c:v>0.5192145773255685</c:v>
                </c:pt>
                <c:pt idx="25">
                  <c:v>0.5208486309727909</c:v>
                </c:pt>
                <c:pt idx="26">
                  <c:v>0.5212117194925503</c:v>
                </c:pt>
                <c:pt idx="27">
                  <c:v>0.5280576314288717</c:v>
                </c:pt>
                <c:pt idx="28">
                  <c:v>0.5362993634661043</c:v>
                </c:pt>
                <c:pt idx="29">
                  <c:v>0.5348529710261901</c:v>
                </c:pt>
                <c:pt idx="30">
                  <c:v>0.5418245787911564</c:v>
                </c:pt>
                <c:pt idx="31">
                  <c:v>0.538318129461717</c:v>
                </c:pt>
                <c:pt idx="32">
                  <c:v>0.5275385405805264</c:v>
                </c:pt>
                <c:pt idx="33">
                  <c:v>0.5280824679419408</c:v>
                </c:pt>
                <c:pt idx="34">
                  <c:v>0.5248731442796224</c:v>
                </c:pt>
                <c:pt idx="35">
                  <c:v>0.5301498550938315</c:v>
                </c:pt>
                <c:pt idx="36">
                  <c:v>0.5249556079701939</c:v>
                </c:pt>
                <c:pt idx="37">
                  <c:v>0.5222383772999541</c:v>
                </c:pt>
                <c:pt idx="38">
                  <c:v>0.5135237752779055</c:v>
                </c:pt>
                <c:pt idx="39">
                  <c:v>0.5207476648857632</c:v>
                </c:pt>
                <c:pt idx="40">
                  <c:v>0.5167879949873412</c:v>
                </c:pt>
                <c:pt idx="41">
                  <c:v>0.5137840237073633</c:v>
                </c:pt>
                <c:pt idx="42">
                  <c:v>0.5176900897066606</c:v>
                </c:pt>
                <c:pt idx="43">
                  <c:v>0.5232226626920451</c:v>
                </c:pt>
                <c:pt idx="44">
                  <c:v>0.5270115917240169</c:v>
                </c:pt>
                <c:pt idx="45">
                  <c:v>0.5289878720265508</c:v>
                </c:pt>
                <c:pt idx="46">
                  <c:v>0.5300082156021476</c:v>
                </c:pt>
                <c:pt idx="47">
                  <c:v>0.5353852107739957</c:v>
                </c:pt>
                <c:pt idx="48">
                  <c:v>0.5410479276036091</c:v>
                </c:pt>
                <c:pt idx="49">
                  <c:v>0.5362144345235984</c:v>
                </c:pt>
                <c:pt idx="50">
                  <c:v>0.5456020098443687</c:v>
                </c:pt>
                <c:pt idx="51">
                  <c:v>0.5468848341354967</c:v>
                </c:pt>
                <c:pt idx="52">
                  <c:v>0.6425660703316391</c:v>
                </c:pt>
                <c:pt idx="53">
                  <c:v>0.7086982710544039</c:v>
                </c:pt>
                <c:pt idx="54">
                  <c:v>0.571708045950689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737996443390634"/>
          <c:min val="0.3161947904869762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70.0268</c:v>
                </c:pt>
                <c:pt idx="1">
                  <c:v>833.9903</c:v>
                </c:pt>
                <c:pt idx="2">
                  <c:v>860.5593</c:v>
                </c:pt>
                <c:pt idx="3">
                  <c:v>871.6726</c:v>
                </c:pt>
                <c:pt idx="4">
                  <c:v>897.2163</c:v>
                </c:pt>
                <c:pt idx="5">
                  <c:v>948.4112</c:v>
                </c:pt>
                <c:pt idx="6">
                  <c:v>911.5427</c:v>
                </c:pt>
                <c:pt idx="7">
                  <c:v>925.0846</c:v>
                </c:pt>
                <c:pt idx="8">
                  <c:v>904.516</c:v>
                </c:pt>
                <c:pt idx="9">
                  <c:v>808.5967</c:v>
                </c:pt>
                <c:pt idx="10">
                  <c:v>765.7576</c:v>
                </c:pt>
                <c:pt idx="11">
                  <c:v>792.1607</c:v>
                </c:pt>
                <c:pt idx="12">
                  <c:v>784.8508</c:v>
                </c:pt>
                <c:pt idx="13">
                  <c:v>795.2165</c:v>
                </c:pt>
                <c:pt idx="14">
                  <c:v>887.0577</c:v>
                </c:pt>
                <c:pt idx="15">
                  <c:v>899.5292</c:v>
                </c:pt>
                <c:pt idx="16">
                  <c:v>908.6042</c:v>
                </c:pt>
                <c:pt idx="17">
                  <c:v>895.6078</c:v>
                </c:pt>
                <c:pt idx="18">
                  <c:v>920.4762</c:v>
                </c:pt>
                <c:pt idx="19">
                  <c:v>960.9351</c:v>
                </c:pt>
                <c:pt idx="20">
                  <c:v>1006.0282</c:v>
                </c:pt>
                <c:pt idx="21">
                  <c:v>1005.2618</c:v>
                </c:pt>
                <c:pt idx="22">
                  <c:v>976.3027</c:v>
                </c:pt>
                <c:pt idx="23">
                  <c:v>962.1909</c:v>
                </c:pt>
                <c:pt idx="24">
                  <c:v>964.8943</c:v>
                </c:pt>
                <c:pt idx="25">
                  <c:v>944.6098</c:v>
                </c:pt>
                <c:pt idx="26">
                  <c:v>954.1976</c:v>
                </c:pt>
                <c:pt idx="27">
                  <c:v>979.4491</c:v>
                </c:pt>
                <c:pt idx="28">
                  <c:v>1000.3609</c:v>
                </c:pt>
                <c:pt idx="29">
                  <c:v>888.2025</c:v>
                </c:pt>
                <c:pt idx="30">
                  <c:v>905.7078</c:v>
                </c:pt>
                <c:pt idx="31">
                  <c:v>937.2815</c:v>
                </c:pt>
                <c:pt idx="32">
                  <c:v>897.4682</c:v>
                </c:pt>
                <c:pt idx="33">
                  <c:v>834.3503</c:v>
                </c:pt>
                <c:pt idx="34">
                  <c:v>886.0948</c:v>
                </c:pt>
                <c:pt idx="35">
                  <c:v>986.8019</c:v>
                </c:pt>
                <c:pt idx="36">
                  <c:v>1071.2418</c:v>
                </c:pt>
                <c:pt idx="37">
                  <c:v>1071.4967</c:v>
                </c:pt>
                <c:pt idx="38">
                  <c:v>1069.7085</c:v>
                </c:pt>
                <c:pt idx="39">
                  <c:v>1063.3665</c:v>
                </c:pt>
                <c:pt idx="40">
                  <c:v>1114.4491</c:v>
                </c:pt>
                <c:pt idx="41">
                  <c:v>1150.5051</c:v>
                </c:pt>
                <c:pt idx="42">
                  <c:v>1155.0653</c:v>
                </c:pt>
                <c:pt idx="43">
                  <c:v>1145.8598</c:v>
                </c:pt>
                <c:pt idx="44">
                  <c:v>1071.2316</c:v>
                </c:pt>
                <c:pt idx="45">
                  <c:v>1030.6121</c:v>
                </c:pt>
                <c:pt idx="46">
                  <c:v>1011.3124</c:v>
                </c:pt>
                <c:pt idx="47">
                  <c:v>976.1573</c:v>
                </c:pt>
                <c:pt idx="48">
                  <c:v>949.5251</c:v>
                </c:pt>
                <c:pt idx="49">
                  <c:v>930.3173</c:v>
                </c:pt>
                <c:pt idx="50">
                  <c:v>927.0502</c:v>
                </c:pt>
                <c:pt idx="51">
                  <c:v>903.4259</c:v>
                </c:pt>
                <c:pt idx="52">
                  <c:v>911.8497</c:v>
                </c:pt>
                <c:pt idx="53">
                  <c:v>1106.7933</c:v>
                </c:pt>
                <c:pt idx="54">
                  <c:v>1092.7933</c:v>
                </c:pt>
                <c:pt idx="55">
                  <c:v>1104.3041</c:v>
                </c:pt>
                <c:pt idx="56">
                  <c:v>1135.7112</c:v>
                </c:pt>
                <c:pt idx="57">
                  <c:v>1112.9949</c:v>
                </c:pt>
                <c:pt idx="58">
                  <c:v>1082.836</c:v>
                </c:pt>
                <c:pt idx="59">
                  <c:v>1080.1366</c:v>
                </c:pt>
                <c:pt idx="60">
                  <c:v>1095.1661</c:v>
                </c:pt>
                <c:pt idx="61">
                  <c:v>1074.0341</c:v>
                </c:pt>
                <c:pt idx="62">
                  <c:v>988.9461</c:v>
                </c:pt>
                <c:pt idx="63">
                  <c:v>1005.104</c:v>
                </c:pt>
                <c:pt idx="64">
                  <c:v>1001.6082</c:v>
                </c:pt>
                <c:pt idx="65">
                  <c:v>991.2124</c:v>
                </c:pt>
                <c:pt idx="66">
                  <c:v>1053.8854</c:v>
                </c:pt>
                <c:pt idx="67">
                  <c:v>1085.2821</c:v>
                </c:pt>
                <c:pt idx="68">
                  <c:v>1074.7238</c:v>
                </c:pt>
                <c:pt idx="69">
                  <c:v>1068.3072</c:v>
                </c:pt>
                <c:pt idx="70">
                  <c:v>1074.1803</c:v>
                </c:pt>
                <c:pt idx="71">
                  <c:v>1108.6216</c:v>
                </c:pt>
                <c:pt idx="72">
                  <c:v>1179.3624</c:v>
                </c:pt>
                <c:pt idx="73">
                  <c:v>1205.8198</c:v>
                </c:pt>
                <c:pt idx="74">
                  <c:v>1159.5404</c:v>
                </c:pt>
                <c:pt idx="75">
                  <c:v>1138.1026</c:v>
                </c:pt>
                <c:pt idx="76">
                  <c:v>1143.1746</c:v>
                </c:pt>
                <c:pt idx="77">
                  <c:v>1140.3622</c:v>
                </c:pt>
                <c:pt idx="78">
                  <c:v>1145.0025</c:v>
                </c:pt>
                <c:pt idx="79">
                  <c:v>1183.7731</c:v>
                </c:pt>
                <c:pt idx="80">
                  <c:v>1178.698</c:v>
                </c:pt>
                <c:pt idx="81">
                  <c:v>1160.8764</c:v>
                </c:pt>
                <c:pt idx="82">
                  <c:v>1171.0847</c:v>
                </c:pt>
                <c:pt idx="83">
                  <c:v>1158.2006</c:v>
                </c:pt>
                <c:pt idx="84">
                  <c:v>1147.9333</c:v>
                </c:pt>
                <c:pt idx="85">
                  <c:v>1123.4149</c:v>
                </c:pt>
                <c:pt idx="86">
                  <c:v>1155.1285</c:v>
                </c:pt>
                <c:pt idx="87">
                  <c:v>1171.9331</c:v>
                </c:pt>
                <c:pt idx="88">
                  <c:v>1175.488</c:v>
                </c:pt>
                <c:pt idx="89">
                  <c:v>1171.9629</c:v>
                </c:pt>
                <c:pt idx="90">
                  <c:v>1205.5272</c:v>
                </c:pt>
                <c:pt idx="91">
                  <c:v>1213.7403</c:v>
                </c:pt>
                <c:pt idx="92">
                  <c:v>1142.2561</c:v>
                </c:pt>
                <c:pt idx="93">
                  <c:v>1196.0263</c:v>
                </c:pt>
                <c:pt idx="94">
                  <c:v>1152.5548</c:v>
                </c:pt>
                <c:pt idx="95">
                  <c:v>1143.2489</c:v>
                </c:pt>
                <c:pt idx="96">
                  <c:v>1060.9205</c:v>
                </c:pt>
                <c:pt idx="97">
                  <c:v>1084.53</c:v>
                </c:pt>
                <c:pt idx="98">
                  <c:v>1074.9329</c:v>
                </c:pt>
                <c:pt idx="99">
                  <c:v>1033.8983</c:v>
                </c:pt>
                <c:pt idx="100">
                  <c:v>1009.2579</c:v>
                </c:pt>
                <c:pt idx="101">
                  <c:v>1091.6681</c:v>
                </c:pt>
                <c:pt idx="102">
                  <c:v>1094.4883</c:v>
                </c:pt>
                <c:pt idx="103">
                  <c:v>1046.2222</c:v>
                </c:pt>
                <c:pt idx="104">
                  <c:v>1089.8289</c:v>
                </c:pt>
              </c:numCache>
            </c:numRef>
          </c:xVal>
          <c:yVal>
            <c:numRef>
              <c:f>Sheet1!$B$2:$B$106</c:f>
              <c:numCache>
                <c:formatCode>General</c:formatCode>
                <c:ptCount val="105"/>
                <c:pt idx="0">
                  <c:v>0.7359617682198327</c:v>
                </c:pt>
                <c:pt idx="1">
                  <c:v>0.7220270948319117</c:v>
                </c:pt>
                <c:pt idx="2">
                  <c:v>0.6135862373180415</c:v>
                </c:pt>
                <c:pt idx="3">
                  <c:v>0.5472344591287323</c:v>
                </c:pt>
                <c:pt idx="4">
                  <c:v>0.4623376623376623</c:v>
                </c:pt>
                <c:pt idx="5">
                  <c:v>0.4175</c:v>
                </c:pt>
                <c:pt idx="6">
                  <c:v>0.4377224199288256</c:v>
                </c:pt>
                <c:pt idx="7">
                  <c:v>0.40794979079497906</c:v>
                </c:pt>
                <c:pt idx="8">
                  <c:v>0.5460405156537753</c:v>
                </c:pt>
                <c:pt idx="9">
                  <c:v>0.6404761904761904</c:v>
                </c:pt>
                <c:pt idx="10">
                  <c:v>0.714371617558629</c:v>
                </c:pt>
                <c:pt idx="11">
                  <c:v>0.7245817245817245</c:v>
                </c:pt>
                <c:pt idx="12">
                  <c:v>0.7582710779082177</c:v>
                </c:pt>
                <c:pt idx="13">
                  <c:v>0.782941498086386</c:v>
                </c:pt>
                <c:pt idx="14">
                  <c:v>0.8114997036158862</c:v>
                </c:pt>
                <c:pt idx="15">
                  <c:v>0.77542062911485</c:v>
                </c:pt>
                <c:pt idx="16">
                  <c:v>0.7563237774030354</c:v>
                </c:pt>
                <c:pt idx="17">
                  <c:v>0.7209737827715356</c:v>
                </c:pt>
                <c:pt idx="18">
                  <c:v>0.7304347826086957</c:v>
                </c:pt>
                <c:pt idx="19">
                  <c:v>0.5945273631840796</c:v>
                </c:pt>
                <c:pt idx="20">
                  <c:v>0.6132437619961613</c:v>
                </c:pt>
                <c:pt idx="21">
                  <c:v>0.5900116144018583</c:v>
                </c:pt>
                <c:pt idx="22">
                  <c:v>0.5559174809989142</c:v>
                </c:pt>
                <c:pt idx="23">
                  <c:v>0.599523241954708</c:v>
                </c:pt>
                <c:pt idx="24">
                  <c:v>0.5746652935118435</c:v>
                </c:pt>
                <c:pt idx="25">
                  <c:v>0.5761670761670762</c:v>
                </c:pt>
                <c:pt idx="26">
                  <c:v>0.6653116531165312</c:v>
                </c:pt>
                <c:pt idx="27">
                  <c:v>0.6662234042553191</c:v>
                </c:pt>
                <c:pt idx="28">
                  <c:v>0.5950752393980848</c:v>
                </c:pt>
                <c:pt idx="29">
                  <c:v>0.571773220747889</c:v>
                </c:pt>
                <c:pt idx="30">
                  <c:v>0.5441696113074205</c:v>
                </c:pt>
                <c:pt idx="31">
                  <c:v>0.5286821705426357</c:v>
                </c:pt>
                <c:pt idx="32">
                  <c:v>0.552046783625731</c:v>
                </c:pt>
                <c:pt idx="33">
                  <c:v>0.5548172757475083</c:v>
                </c:pt>
                <c:pt idx="34">
                  <c:v>0.5738636363636364</c:v>
                </c:pt>
                <c:pt idx="35">
                  <c:v>0.6204620462046204</c:v>
                </c:pt>
                <c:pt idx="36">
                  <c:v>0.5808510638297872</c:v>
                </c:pt>
                <c:pt idx="37">
                  <c:v>0.5865139949109415</c:v>
                </c:pt>
                <c:pt idx="38">
                  <c:v>0.6368563685636857</c:v>
                </c:pt>
                <c:pt idx="39">
                  <c:v>0.6789554531490015</c:v>
                </c:pt>
                <c:pt idx="40">
                  <c:v>0.6104328523862376</c:v>
                </c:pt>
                <c:pt idx="41">
                  <c:v>0.5218543046357615</c:v>
                </c:pt>
                <c:pt idx="42">
                  <c:v>0.49524714828897337</c:v>
                </c:pt>
                <c:pt idx="43">
                  <c:v>0.46759941089838</c:v>
                </c:pt>
                <c:pt idx="44">
                  <c:v>0.5476304451890857</c:v>
                </c:pt>
                <c:pt idx="45">
                  <c:v>0.6167693036475604</c:v>
                </c:pt>
                <c:pt idx="46">
                  <c:v>0.610361340879408</c:v>
                </c:pt>
                <c:pt idx="47">
                  <c:v>0.5841995841995842</c:v>
                </c:pt>
                <c:pt idx="48">
                  <c:v>0.6094739741118149</c:v>
                </c:pt>
                <c:pt idx="49">
                  <c:v>0.6445806204519341</c:v>
                </c:pt>
                <c:pt idx="50">
                  <c:v>0.5920945395273024</c:v>
                </c:pt>
                <c:pt idx="51">
                  <c:v>0.5655860349127182</c:v>
                </c:pt>
                <c:pt idx="52">
                  <c:v>0.5844875346260388</c:v>
                </c:pt>
                <c:pt idx="53">
                  <c:v>0.5082389289392379</c:v>
                </c:pt>
                <c:pt idx="54">
                  <c:v>0.4942339373970346</c:v>
                </c:pt>
                <c:pt idx="55">
                  <c:v>0.47165532879818595</c:v>
                </c:pt>
                <c:pt idx="56">
                  <c:v>0.4898534385569335</c:v>
                </c:pt>
                <c:pt idx="57">
                  <c:v>0.48528678304239403</c:v>
                </c:pt>
                <c:pt idx="58">
                  <c:v>0.5340909090909091</c:v>
                </c:pt>
                <c:pt idx="59">
                  <c:v>0.5508136321768499</c:v>
                </c:pt>
                <c:pt idx="60">
                  <c:v>0.571334431630972</c:v>
                </c:pt>
                <c:pt idx="61">
                  <c:v>0.5356138706654171</c:v>
                </c:pt>
                <c:pt idx="62">
                  <c:v>0.5833692373976734</c:v>
                </c:pt>
                <c:pt idx="63">
                  <c:v>0.6275018532246108</c:v>
                </c:pt>
                <c:pt idx="64">
                  <c:v>0.6479190101237345</c:v>
                </c:pt>
                <c:pt idx="65">
                  <c:v>0.6186161449752883</c:v>
                </c:pt>
                <c:pt idx="66">
                  <c:v>0.593764761454889</c:v>
                </c:pt>
                <c:pt idx="67">
                  <c:v>0.606701030927835</c:v>
                </c:pt>
                <c:pt idx="68">
                  <c:v>0.577189666036547</c:v>
                </c:pt>
                <c:pt idx="69">
                  <c:v>0.5411365564037319</c:v>
                </c:pt>
                <c:pt idx="70">
                  <c:v>0.5108359133126935</c:v>
                </c:pt>
                <c:pt idx="71">
                  <c:v>0.5094339622641509</c:v>
                </c:pt>
                <c:pt idx="72">
                  <c:v>0.5107806691449814</c:v>
                </c:pt>
                <c:pt idx="73">
                  <c:v>0.5069659442724458</c:v>
                </c:pt>
                <c:pt idx="74">
                  <c:v>0.48457486832204666</c:v>
                </c:pt>
                <c:pt idx="75">
                  <c:v>0.4945652173913043</c:v>
                </c:pt>
                <c:pt idx="76">
                  <c:v>0.467444120505345</c:v>
                </c:pt>
                <c:pt idx="77">
                  <c:v>0.4854368932038835</c:v>
                </c:pt>
                <c:pt idx="78">
                  <c:v>0.4807692307692308</c:v>
                </c:pt>
                <c:pt idx="79">
                  <c:v>0.4920273348519362</c:v>
                </c:pt>
                <c:pt idx="80">
                  <c:v>0.4402234636871508</c:v>
                </c:pt>
                <c:pt idx="81">
                  <c:v>0.4524207011686144</c:v>
                </c:pt>
                <c:pt idx="82">
                  <c:v>0.43448275862068964</c:v>
                </c:pt>
                <c:pt idx="83">
                  <c:v>0.41153342070773263</c:v>
                </c:pt>
                <c:pt idx="84">
                  <c:v>0.4267425320056899</c:v>
                </c:pt>
                <c:pt idx="85">
                  <c:v>0.45410628019323673</c:v>
                </c:pt>
                <c:pt idx="86">
                  <c:v>0.5004730368968779</c:v>
                </c:pt>
                <c:pt idx="87">
                  <c:v>0.5261865793780688</c:v>
                </c:pt>
                <c:pt idx="88">
                  <c:v>0.4634888438133874</c:v>
                </c:pt>
                <c:pt idx="89">
                  <c:v>0.42075892857142855</c:v>
                </c:pt>
                <c:pt idx="90">
                  <c:v>0.3952434881087203</c:v>
                </c:pt>
                <c:pt idx="91">
                  <c:v>0.40870488322717624</c:v>
                </c:pt>
                <c:pt idx="92">
                  <c:v>0.4641509433962264</c:v>
                </c:pt>
                <c:pt idx="93">
                  <c:v>0.47092469018112487</c:v>
                </c:pt>
                <c:pt idx="94">
                  <c:v>0.4785867237687366</c:v>
                </c:pt>
                <c:pt idx="95">
                  <c:v>0.5048041389504804</c:v>
                </c:pt>
                <c:pt idx="96">
                  <c:v>0.5152928978745464</c:v>
                </c:pt>
                <c:pt idx="97">
                  <c:v>0.5479323308270677</c:v>
                </c:pt>
                <c:pt idx="98">
                  <c:v>0.5758258258258259</c:v>
                </c:pt>
                <c:pt idx="99">
                  <c:v>0.6135313531353135</c:v>
                </c:pt>
                <c:pt idx="100">
                  <c:v>0.6226334822378218</c:v>
                </c:pt>
                <c:pt idx="101">
                  <c:v>0.5709677419354838</c:v>
                </c:pt>
                <c:pt idx="102">
                  <c:v>0.5155529953917051</c:v>
                </c:pt>
                <c:pt idx="103">
                  <c:v>0.521099116781158</c:v>
                </c:pt>
                <c:pt idx="104">
                  <c:v>0.526887561108093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69.8947</c:v>
                </c:pt>
                <c:pt idx="1">
                  <c:v>1180.9729</c:v>
                </c:pt>
                <c:pt idx="2">
                  <c:v>1175.8615</c:v>
                </c:pt>
                <c:pt idx="3">
                  <c:v>1185.6753</c:v>
                </c:pt>
                <c:pt idx="4">
                  <c:v>1179.6779</c:v>
                </c:pt>
                <c:pt idx="5">
                  <c:v>1157.05</c:v>
                </c:pt>
                <c:pt idx="6">
                  <c:v>1061.0427</c:v>
                </c:pt>
                <c:pt idx="7">
                  <c:v>1078.4551</c:v>
                </c:pt>
                <c:pt idx="8">
                  <c:v>1187.1297</c:v>
                </c:pt>
                <c:pt idx="9">
                  <c:v>1082.8059</c:v>
                </c:pt>
                <c:pt idx="10">
                  <c:v>1105.9236</c:v>
                </c:pt>
                <c:pt idx="11">
                  <c:v>1007.0548</c:v>
                </c:pt>
                <c:pt idx="12">
                  <c:v>1046.9335</c:v>
                </c:pt>
                <c:pt idx="13">
                  <c:v>1076.8829</c:v>
                </c:pt>
                <c:pt idx="14">
                  <c:v>1117.5741</c:v>
                </c:pt>
                <c:pt idx="15">
                  <c:v>1126.626</c:v>
                </c:pt>
                <c:pt idx="16">
                  <c:v>1148.9212</c:v>
                </c:pt>
                <c:pt idx="17">
                  <c:v>1127.6882</c:v>
                </c:pt>
                <c:pt idx="18">
                  <c:v>1124.743</c:v>
                </c:pt>
                <c:pt idx="19">
                  <c:v>1062.658</c:v>
                </c:pt>
                <c:pt idx="20">
                  <c:v>1044.7724</c:v>
                </c:pt>
                <c:pt idx="21">
                  <c:v>1016.625</c:v>
                </c:pt>
                <c:pt idx="22">
                  <c:v>1050.5302</c:v>
                </c:pt>
                <c:pt idx="23">
                  <c:v>1068.554</c:v>
                </c:pt>
                <c:pt idx="24">
                  <c:v>1156.2986</c:v>
                </c:pt>
                <c:pt idx="25">
                  <c:v>1133.1127</c:v>
                </c:pt>
                <c:pt idx="26">
                  <c:v>1190.6152</c:v>
                </c:pt>
                <c:pt idx="27">
                  <c:v>1183.4579</c:v>
                </c:pt>
                <c:pt idx="28">
                  <c:v>1074.6995</c:v>
                </c:pt>
                <c:pt idx="29">
                  <c:v>1073.0</c:v>
                </c:pt>
                <c:pt idx="30">
                  <c:v>1095.2818</c:v>
                </c:pt>
                <c:pt idx="31">
                  <c:v>1117.7319</c:v>
                </c:pt>
                <c:pt idx="32">
                  <c:v>1074.0815</c:v>
                </c:pt>
                <c:pt idx="33">
                  <c:v>1091.2138</c:v>
                </c:pt>
                <c:pt idx="34">
                  <c:v>1114.0602</c:v>
                </c:pt>
                <c:pt idx="35">
                  <c:v>1155.3342</c:v>
                </c:pt>
                <c:pt idx="36">
                  <c:v>1136.473</c:v>
                </c:pt>
                <c:pt idx="37">
                  <c:v>1227.9464</c:v>
                </c:pt>
                <c:pt idx="38">
                  <c:v>1241.531</c:v>
                </c:pt>
                <c:pt idx="39">
                  <c:v>1213.2229</c:v>
                </c:pt>
                <c:pt idx="40">
                  <c:v>1247.1473</c:v>
                </c:pt>
                <c:pt idx="41">
                  <c:v>1308.2838</c:v>
                </c:pt>
                <c:pt idx="42">
                  <c:v>1305.4244</c:v>
                </c:pt>
                <c:pt idx="43">
                  <c:v>1302.9658</c:v>
                </c:pt>
                <c:pt idx="44">
                  <c:v>1201.8691</c:v>
                </c:pt>
                <c:pt idx="45">
                  <c:v>1186.2225</c:v>
                </c:pt>
                <c:pt idx="46">
                  <c:v>1176.8694</c:v>
                </c:pt>
                <c:pt idx="47">
                  <c:v>1159.2342</c:v>
                </c:pt>
                <c:pt idx="48">
                  <c:v>1119.2789</c:v>
                </c:pt>
                <c:pt idx="49">
                  <c:v>1097.3134</c:v>
                </c:pt>
                <c:pt idx="50">
                  <c:v>1024.3271</c:v>
                </c:pt>
                <c:pt idx="51">
                  <c:v>1013.7242</c:v>
                </c:pt>
              </c:numCache>
            </c:numRef>
          </c:xVal>
          <c:yVal>
            <c:numRef>
              <c:f>Sheet1!$B$109:$B$160</c:f>
              <c:numCache>
                <c:formatCode>General</c:formatCode>
                <c:ptCount val="52"/>
                <c:pt idx="0">
                  <c:v>0.5236943907156673</c:v>
                </c:pt>
                <c:pt idx="1">
                  <c:v>0.5107692307692308</c:v>
                </c:pt>
                <c:pt idx="2">
                  <c:v>0.5397196261682243</c:v>
                </c:pt>
                <c:pt idx="3">
                  <c:v>0.5381040892193308</c:v>
                </c:pt>
                <c:pt idx="4">
                  <c:v>0.4578366445916115</c:v>
                </c:pt>
                <c:pt idx="5">
                  <c:v>0.4815689981096408</c:v>
                </c:pt>
                <c:pt idx="6">
                  <c:v>0.5471537807986406</c:v>
                </c:pt>
                <c:pt idx="7">
                  <c:v>0.5608899297423887</c:v>
                </c:pt>
                <c:pt idx="8">
                  <c:v>0.5230664857530529</c:v>
                </c:pt>
                <c:pt idx="9">
                  <c:v>0.5547902316844082</c:v>
                </c:pt>
                <c:pt idx="10">
                  <c:v>0.5951515151515151</c:v>
                </c:pt>
                <c:pt idx="11">
                  <c:v>0.6142369991474851</c:v>
                </c:pt>
                <c:pt idx="12">
                  <c:v>0.5875542691751086</c:v>
                </c:pt>
                <c:pt idx="13">
                  <c:v>0.5629335976214074</c:v>
                </c:pt>
                <c:pt idx="14">
                  <c:v>0.5549886621315193</c:v>
                </c:pt>
                <c:pt idx="15">
                  <c:v>0.5574085952533675</c:v>
                </c:pt>
                <c:pt idx="16">
                  <c:v>0.5435779816513762</c:v>
                </c:pt>
                <c:pt idx="17">
                  <c:v>0.5291666666666667</c:v>
                </c:pt>
                <c:pt idx="18">
                  <c:v>0.5138755980861244</c:v>
                </c:pt>
                <c:pt idx="19">
                  <c:v>0.5081458494957332</c:v>
                </c:pt>
                <c:pt idx="20">
                  <c:v>0.47692307692307695</c:v>
                </c:pt>
                <c:pt idx="21">
                  <c:v>0.49527806925498424</c:v>
                </c:pt>
                <c:pt idx="22">
                  <c:v>0.4912087912087912</c:v>
                </c:pt>
                <c:pt idx="23">
                  <c:v>0.4882903981264637</c:v>
                </c:pt>
                <c:pt idx="24">
                  <c:v>0.4647577092511013</c:v>
                </c:pt>
                <c:pt idx="25">
                  <c:v>0.4809688581314879</c:v>
                </c:pt>
                <c:pt idx="26">
                  <c:v>0.4305717619603267</c:v>
                </c:pt>
                <c:pt idx="27">
                  <c:v>0.452431289640592</c:v>
                </c:pt>
                <c:pt idx="28">
                  <c:v>0.5059907834101383</c:v>
                </c:pt>
                <c:pt idx="29">
                  <c:v>0.5273348519362187</c:v>
                </c:pt>
                <c:pt idx="30">
                  <c:v>0.5406320541760722</c:v>
                </c:pt>
                <c:pt idx="31">
                  <c:v>0.5307692307692308</c:v>
                </c:pt>
                <c:pt idx="32">
                  <c:v>0.5467391304347826</c:v>
                </c:pt>
                <c:pt idx="33">
                  <c:v>0.5906779661016949</c:v>
                </c:pt>
                <c:pt idx="34">
                  <c:v>0.61051298290057</c:v>
                </c:pt>
                <c:pt idx="35">
                  <c:v>0.6208299430431244</c:v>
                </c:pt>
                <c:pt idx="36">
                  <c:v>0.5347313237221494</c:v>
                </c:pt>
                <c:pt idx="37">
                  <c:v>0.49557522123893805</c:v>
                </c:pt>
                <c:pt idx="38">
                  <c:v>0.4889406286379511</c:v>
                </c:pt>
                <c:pt idx="39">
                  <c:v>0.5372168284789643</c:v>
                </c:pt>
                <c:pt idx="40">
                  <c:v>0.5017391304347826</c:v>
                </c:pt>
                <c:pt idx="41">
                  <c:v>0.48458498023715413</c:v>
                </c:pt>
                <c:pt idx="42">
                  <c:v>0.49083895853423337</c:v>
                </c:pt>
                <c:pt idx="43">
                  <c:v>0.5026455026455027</c:v>
                </c:pt>
                <c:pt idx="44">
                  <c:v>0.547269524368761</c:v>
                </c:pt>
                <c:pt idx="45">
                  <c:v>0.6074168797953964</c:v>
                </c:pt>
                <c:pt idx="46">
                  <c:v>0.6006582556226001</c:v>
                </c:pt>
                <c:pt idx="47">
                  <c:v>0.5895702559150169</c:v>
                </c:pt>
                <c:pt idx="48">
                  <c:v>0.6004338394793927</c:v>
                </c:pt>
                <c:pt idx="49">
                  <c:v>0.639458413926499</c:v>
                </c:pt>
                <c:pt idx="50">
                  <c:v>0.6805496828752643</c:v>
                </c:pt>
                <c:pt idx="51">
                  <c:v>0.649822345045400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56.2058758382209</c:v>
                </c:pt>
              </c:numCache>
            </c:numRef>
          </c:xVal>
          <c:yVal>
            <c:numRef>
              <c:f>Sheet1!$B$163:$B$164</c:f>
              <c:numCache>
                <c:formatCode>General</c:formatCode>
                <c:ptCount val="2"/>
                <c:pt idx="0">
                  <c:v>0.7086982710544039</c:v>
                </c:pt>
                <c:pt idx="1">
                  <c:v>0.708698271054403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56.2058758382209</c:v>
                </c:pt>
                <c:pt idx="1">
                  <c:v>556.2058758382209</c:v>
                </c:pt>
              </c:numCache>
            </c:numRef>
          </c:xVal>
          <c:yVal>
            <c:numRef>
              <c:f>Sheet1!$B$167:$B$168</c:f>
              <c:numCache>
                <c:formatCode>General</c:formatCode>
                <c:ptCount val="2"/>
                <c:pt idx="0">
                  <c:v>0.708698271054403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781.1916237873111</c:v>
                </c:pt>
              </c:numCache>
            </c:numRef>
          </c:xVal>
          <c:yVal>
            <c:numRef>
              <c:f>Sheet1!$B$171:$B$172</c:f>
              <c:numCache>
                <c:formatCode>General</c:formatCode>
                <c:ptCount val="2"/>
                <c:pt idx="0">
                  <c:v>0.6425660703316391</c:v>
                </c:pt>
                <c:pt idx="1">
                  <c:v>0.642566070331639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781.1916237873111</c:v>
                </c:pt>
                <c:pt idx="1">
                  <c:v>781.1916237873111</c:v>
                </c:pt>
              </c:numCache>
            </c:numRef>
          </c:xVal>
          <c:yVal>
            <c:numRef>
              <c:f>Sheet1!$B$175:$B$176</c:f>
              <c:numCache>
                <c:formatCode>General</c:formatCode>
                <c:ptCount val="2"/>
                <c:pt idx="0">
                  <c:v>0.642566070331639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22.2549097404584</c:v>
                </c:pt>
              </c:numCache>
            </c:numRef>
          </c:xVal>
          <c:yVal>
            <c:numRef>
              <c:f>Sheet1!$B$179:$B$180</c:f>
              <c:numCache>
                <c:formatCode>General</c:formatCode>
                <c:ptCount val="2"/>
                <c:pt idx="0">
                  <c:v>0.5717080459506898</c:v>
                </c:pt>
                <c:pt idx="1">
                  <c:v>0.571708045950689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22.2549097404584</c:v>
                </c:pt>
                <c:pt idx="1">
                  <c:v>1022.2549097404584</c:v>
                </c:pt>
              </c:numCache>
            </c:numRef>
          </c:xVal>
          <c:yVal>
            <c:numRef>
              <c:f>Sheet1!$B$183:$B$184</c:f>
              <c:numCache>
                <c:formatCode>General</c:formatCode>
                <c:ptCount val="2"/>
                <c:pt idx="0">
                  <c:v>0.571708045950689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69.8947</c:v>
                </c:pt>
                <c:pt idx="1">
                  <c:v>1180.9729</c:v>
                </c:pt>
                <c:pt idx="2">
                  <c:v>1175.8615</c:v>
                </c:pt>
                <c:pt idx="3">
                  <c:v>1185.6753</c:v>
                </c:pt>
                <c:pt idx="4">
                  <c:v>1179.6779</c:v>
                </c:pt>
                <c:pt idx="5">
                  <c:v>1157.05</c:v>
                </c:pt>
                <c:pt idx="6">
                  <c:v>1061.0427</c:v>
                </c:pt>
                <c:pt idx="7">
                  <c:v>1078.4551</c:v>
                </c:pt>
                <c:pt idx="8">
                  <c:v>1187.1297</c:v>
                </c:pt>
                <c:pt idx="9">
                  <c:v>1082.8059</c:v>
                </c:pt>
                <c:pt idx="10">
                  <c:v>1105.9236</c:v>
                </c:pt>
                <c:pt idx="11">
                  <c:v>1007.0548</c:v>
                </c:pt>
                <c:pt idx="12">
                  <c:v>1046.9335</c:v>
                </c:pt>
                <c:pt idx="13">
                  <c:v>1076.8829</c:v>
                </c:pt>
                <c:pt idx="14">
                  <c:v>1117.5741</c:v>
                </c:pt>
                <c:pt idx="15">
                  <c:v>1126.626</c:v>
                </c:pt>
                <c:pt idx="16">
                  <c:v>1148.9212</c:v>
                </c:pt>
                <c:pt idx="17">
                  <c:v>1127.6882</c:v>
                </c:pt>
                <c:pt idx="18">
                  <c:v>1124.743</c:v>
                </c:pt>
                <c:pt idx="19">
                  <c:v>1062.658</c:v>
                </c:pt>
                <c:pt idx="20">
                  <c:v>1044.7724</c:v>
                </c:pt>
                <c:pt idx="21">
                  <c:v>1016.625</c:v>
                </c:pt>
                <c:pt idx="22">
                  <c:v>1050.5302</c:v>
                </c:pt>
                <c:pt idx="23">
                  <c:v>1068.554</c:v>
                </c:pt>
                <c:pt idx="24">
                  <c:v>1156.2986</c:v>
                </c:pt>
                <c:pt idx="25">
                  <c:v>1133.1127</c:v>
                </c:pt>
                <c:pt idx="26">
                  <c:v>1190.6152</c:v>
                </c:pt>
                <c:pt idx="27">
                  <c:v>1183.4579</c:v>
                </c:pt>
                <c:pt idx="28">
                  <c:v>1074.6995</c:v>
                </c:pt>
                <c:pt idx="29">
                  <c:v>1073.0</c:v>
                </c:pt>
                <c:pt idx="30">
                  <c:v>1095.2818</c:v>
                </c:pt>
                <c:pt idx="31">
                  <c:v>1117.7319</c:v>
                </c:pt>
                <c:pt idx="32">
                  <c:v>1074.0815</c:v>
                </c:pt>
                <c:pt idx="33">
                  <c:v>1091.2138</c:v>
                </c:pt>
                <c:pt idx="34">
                  <c:v>1114.0602</c:v>
                </c:pt>
                <c:pt idx="35">
                  <c:v>1155.3342</c:v>
                </c:pt>
                <c:pt idx="36">
                  <c:v>1136.473</c:v>
                </c:pt>
                <c:pt idx="37">
                  <c:v>1227.9464</c:v>
                </c:pt>
                <c:pt idx="38">
                  <c:v>1241.531</c:v>
                </c:pt>
                <c:pt idx="39">
                  <c:v>1213.2229</c:v>
                </c:pt>
                <c:pt idx="40">
                  <c:v>1247.1473</c:v>
                </c:pt>
                <c:pt idx="41">
                  <c:v>1308.2838</c:v>
                </c:pt>
                <c:pt idx="42">
                  <c:v>1305.4244</c:v>
                </c:pt>
                <c:pt idx="43">
                  <c:v>1302.9658</c:v>
                </c:pt>
                <c:pt idx="44">
                  <c:v>1201.8691</c:v>
                </c:pt>
                <c:pt idx="45">
                  <c:v>1186.2225</c:v>
                </c:pt>
                <c:pt idx="46">
                  <c:v>1176.8694</c:v>
                </c:pt>
                <c:pt idx="47">
                  <c:v>1159.2342</c:v>
                </c:pt>
                <c:pt idx="48">
                  <c:v>1119.2789</c:v>
                </c:pt>
                <c:pt idx="49">
                  <c:v>1097.3134</c:v>
                </c:pt>
                <c:pt idx="50">
                  <c:v>1024.3271</c:v>
                </c:pt>
                <c:pt idx="51">
                  <c:v>1013.7242</c:v>
                </c:pt>
                <c:pt idx="52">
                  <c:v>781.1916237873111</c:v>
                </c:pt>
                <c:pt idx="53">
                  <c:v>556.2058758382209</c:v>
                </c:pt>
                <c:pt idx="54">
                  <c:v>1022.2549097404584</c:v>
                </c:pt>
              </c:numCache>
            </c:numRef>
          </c:xVal>
          <c:yVal>
            <c:numRef>
              <c:f>Sheet1!$B$187:$B$241</c:f>
              <c:numCache>
                <c:formatCode>General</c:formatCode>
                <c:ptCount val="55"/>
                <c:pt idx="0">
                  <c:v>0.5283108782051122</c:v>
                </c:pt>
                <c:pt idx="1">
                  <c:v>0.5250545575149115</c:v>
                </c:pt>
                <c:pt idx="2">
                  <c:v>0.5265569999311788</c:v>
                </c:pt>
                <c:pt idx="3">
                  <c:v>0.5236723363586224</c:v>
                </c:pt>
                <c:pt idx="4">
                  <c:v>0.525435209181591</c:v>
                </c:pt>
                <c:pt idx="5">
                  <c:v>0.5320864430414054</c:v>
                </c:pt>
                <c:pt idx="6">
                  <c:v>0.5603067818509881</c:v>
                </c:pt>
                <c:pt idx="7">
                  <c:v>0.5551885895105308</c:v>
                </c:pt>
                <c:pt idx="8">
                  <c:v>0.5232448307338975</c:v>
                </c:pt>
                <c:pt idx="9">
                  <c:v>0.5539097174862917</c:v>
                </c:pt>
                <c:pt idx="10">
                  <c:v>0.5471145120540143</c:v>
                </c:pt>
                <c:pt idx="11">
                  <c:v>0.576175958774179</c:v>
                </c:pt>
                <c:pt idx="12">
                  <c:v>0.5644540331988768</c:v>
                </c:pt>
                <c:pt idx="13">
                  <c:v>0.5556507212096456</c:v>
                </c:pt>
                <c:pt idx="14">
                  <c:v>0.543689969781697</c:v>
                </c:pt>
                <c:pt idx="15">
                  <c:v>0.5410292587225333</c:v>
                </c:pt>
                <c:pt idx="16">
                  <c:v>0.5344758185380118</c:v>
                </c:pt>
                <c:pt idx="17">
                  <c:v>0.5407170361740027</c:v>
                </c:pt>
                <c:pt idx="18">
                  <c:v>0.5415827468216512</c:v>
                </c:pt>
                <c:pt idx="19">
                  <c:v>0.5598319813589514</c:v>
                </c:pt>
                <c:pt idx="20">
                  <c:v>0.5650892658759898</c:v>
                </c:pt>
                <c:pt idx="21">
                  <c:v>0.5733628988664901</c:v>
                </c:pt>
                <c:pt idx="22">
                  <c:v>0.5633968209598448</c:v>
                </c:pt>
                <c:pt idx="23">
                  <c:v>0.5580989140023931</c:v>
                </c:pt>
                <c:pt idx="24">
                  <c:v>0.5323073091899329</c:v>
                </c:pt>
                <c:pt idx="25">
                  <c:v>0.5391225612968571</c:v>
                </c:pt>
                <c:pt idx="26">
                  <c:v>0.522220304568483</c:v>
                </c:pt>
                <c:pt idx="27">
                  <c:v>0.5243241178302019</c:v>
                </c:pt>
                <c:pt idx="28">
                  <c:v>0.5562925087378529</c:v>
                </c:pt>
                <c:pt idx="29">
                  <c:v>0.5567920589367115</c:v>
                </c:pt>
                <c:pt idx="30">
                  <c:v>0.5502425575416368</c:v>
                </c:pt>
                <c:pt idx="31">
                  <c:v>0.5436435861268692</c:v>
                </c:pt>
                <c:pt idx="32">
                  <c:v>0.5564741633556196</c:v>
                </c:pt>
                <c:pt idx="33">
                  <c:v>0.5514383034721795</c:v>
                </c:pt>
                <c:pt idx="34">
                  <c:v>0.5447228438292226</c:v>
                </c:pt>
                <c:pt idx="35">
                  <c:v>0.5325907844542925</c:v>
                </c:pt>
                <c:pt idx="36">
                  <c:v>0.5381348363582135</c:v>
                </c:pt>
                <c:pt idx="37">
                  <c:v>0.5112471898973248</c:v>
                </c:pt>
                <c:pt idx="38">
                  <c:v>0.5072541392168801</c:v>
                </c:pt>
                <c:pt idx="39">
                  <c:v>0.5155750082867898</c:v>
                </c:pt>
                <c:pt idx="40">
                  <c:v>0.5056032867415343</c:v>
                </c:pt>
                <c:pt idx="41">
                  <c:v>0.48763285383036986</c:v>
                </c:pt>
                <c:pt idx="42">
                  <c:v>0.48847334446797885</c:v>
                </c:pt>
                <c:pt idx="43">
                  <c:v>0.48919602414959934</c:v>
                </c:pt>
                <c:pt idx="44">
                  <c:v>0.5189123387062085</c:v>
                </c:pt>
                <c:pt idx="45">
                  <c:v>0.5235114926582309</c:v>
                </c:pt>
                <c:pt idx="46">
                  <c:v>0.5262607382980928</c:v>
                </c:pt>
                <c:pt idx="47">
                  <c:v>0.5314444203615896</c:v>
                </c:pt>
                <c:pt idx="48">
                  <c:v>0.5431888617034304</c:v>
                </c:pt>
                <c:pt idx="49">
                  <c:v>0.5496453900311917</c:v>
                </c:pt>
                <c:pt idx="50">
                  <c:v>0.5710989473592059</c:v>
                </c:pt>
                <c:pt idx="51">
                  <c:v>0.5742155585998523</c:v>
                </c:pt>
                <c:pt idx="52">
                  <c:v>0.6425660703316391</c:v>
                </c:pt>
                <c:pt idx="53">
                  <c:v>0.7086982710544039</c:v>
                </c:pt>
                <c:pt idx="54">
                  <c:v>0.571708045950689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0.0"/>
          <c:min val="44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737996443390634"/>
          <c:min val="0.3161947904869762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1</c:f>
              <c:numCache>
                <c:formatCode>General</c:formatCode>
                <c:ptCount val="40"/>
                <c:pt idx="0">
                  <c:v>0.0</c:v>
                </c:pt>
                <c:pt idx="1">
                  <c:v>4.436118617021277</c:v>
                </c:pt>
                <c:pt idx="2">
                  <c:v>0.0</c:v>
                </c:pt>
                <c:pt idx="3">
                  <c:v>0.0</c:v>
                </c:pt>
                <c:pt idx="4">
                  <c:v>0.0</c:v>
                </c:pt>
                <c:pt idx="5">
                  <c:v>4.6951049504950495</c:v>
                </c:pt>
                <c:pt idx="6">
                  <c:v>0.0</c:v>
                </c:pt>
                <c:pt idx="7">
                  <c:v>3.2087170634920636</c:v>
                </c:pt>
                <c:pt idx="8">
                  <c:v>10.210101333333334</c:v>
                </c:pt>
                <c:pt idx="9">
                  <c:v>0.0</c:v>
                </c:pt>
                <c:pt idx="10">
                  <c:v>0.0</c:v>
                </c:pt>
                <c:pt idx="11">
                  <c:v>0.0</c:v>
                </c:pt>
                <c:pt idx="12">
                  <c:v>5.398511797752809</c:v>
                </c:pt>
                <c:pt idx="13">
                  <c:v>20.120563999999998</c:v>
                </c:pt>
                <c:pt idx="14">
                  <c:v>0.0</c:v>
                </c:pt>
                <c:pt idx="15">
                  <c:v>0.0</c:v>
                </c:pt>
                <c:pt idx="16">
                  <c:v>0.0</c:v>
                </c:pt>
                <c:pt idx="17">
                  <c:v>0.0</c:v>
                </c:pt>
                <c:pt idx="18">
                  <c:v>0.0</c:v>
                </c:pt>
                <c:pt idx="19">
                  <c:v>0.0</c:v>
                </c:pt>
                <c:pt idx="20">
                  <c:v>0.0</c:v>
                </c:pt>
                <c:pt idx="21">
                  <c:v>0.0</c:v>
                </c:pt>
                <c:pt idx="22">
                  <c:v>3.9504390625</c:v>
                </c:pt>
                <c:pt idx="23">
                  <c:v>0.0</c:v>
                </c:pt>
                <c:pt idx="24">
                  <c:v>0.0</c:v>
                </c:pt>
                <c:pt idx="25">
                  <c:v>0.0</c:v>
                </c:pt>
                <c:pt idx="26">
                  <c:v>98.89461</c:v>
                </c:pt>
                <c:pt idx="27">
                  <c:v>0.0</c:v>
                </c:pt>
                <c:pt idx="28">
                  <c:v>15.263541772151898</c:v>
                </c:pt>
                <c:pt idx="29">
                  <c:v>114.31746000000001</c:v>
                </c:pt>
                <c:pt idx="30">
                  <c:v>40.63570265651387</c:v>
                </c:pt>
                <c:pt idx="31">
                  <c:v>353.64016666666663</c:v>
                </c:pt>
                <c:pt idx="32">
                  <c:v>0.0</c:v>
                </c:pt>
                <c:pt idx="33">
                  <c:v>0.0</c:v>
                </c:pt>
                <c:pt idx="34">
                  <c:v>0.0</c:v>
                </c:pt>
                <c:pt idx="35">
                  <c:v>0.0</c:v>
                </c:pt>
                <c:pt idx="36">
                  <c:v>0.0</c:v>
                </c:pt>
                <c:pt idx="37">
                  <c:v>0.0</c:v>
                </c:pt>
                <c:pt idx="38">
                  <c:v>0.0</c:v>
                </c:pt>
                <c:pt idx="39">
                  <c:v>0.0</c:v>
                </c:pt>
              </c:numCache>
            </c:numRef>
          </c:xVal>
          <c:yVal>
            <c:numRef>
              <c:f>Sheet1!$B$2:$B$41</c:f>
              <c:numCache>
                <c:formatCode>General</c:formatCode>
                <c:ptCount val="40"/>
                <c:pt idx="0">
                  <c:v>0.7359617682198327</c:v>
                </c:pt>
                <c:pt idx="1">
                  <c:v>0.7220270948319117</c:v>
                </c:pt>
                <c:pt idx="2">
                  <c:v>0.6135862373180415</c:v>
                </c:pt>
                <c:pt idx="3">
                  <c:v>0.5472344591287323</c:v>
                </c:pt>
                <c:pt idx="4">
                  <c:v>0.4623376623376623</c:v>
                </c:pt>
                <c:pt idx="5">
                  <c:v>0.4175</c:v>
                </c:pt>
                <c:pt idx="6">
                  <c:v>0.40794979079497906</c:v>
                </c:pt>
                <c:pt idx="7">
                  <c:v>0.6404761904761904</c:v>
                </c:pt>
                <c:pt idx="8">
                  <c:v>0.714371617558629</c:v>
                </c:pt>
                <c:pt idx="9">
                  <c:v>0.7245817245817245</c:v>
                </c:pt>
                <c:pt idx="10">
                  <c:v>0.782941498086386</c:v>
                </c:pt>
                <c:pt idx="11">
                  <c:v>0.77542062911485</c:v>
                </c:pt>
                <c:pt idx="12">
                  <c:v>0.5945273631840796</c:v>
                </c:pt>
                <c:pt idx="13">
                  <c:v>0.6132437619961613</c:v>
                </c:pt>
                <c:pt idx="14">
                  <c:v>0.5746652935118435</c:v>
                </c:pt>
                <c:pt idx="15">
                  <c:v>0.6653116531165312</c:v>
                </c:pt>
                <c:pt idx="16">
                  <c:v>0.6662234042553191</c:v>
                </c:pt>
                <c:pt idx="17">
                  <c:v>0.5950752393980848</c:v>
                </c:pt>
                <c:pt idx="18">
                  <c:v>0.571773220747889</c:v>
                </c:pt>
                <c:pt idx="19">
                  <c:v>0.5738636363636364</c:v>
                </c:pt>
                <c:pt idx="20">
                  <c:v>0.5865139949109415</c:v>
                </c:pt>
                <c:pt idx="21">
                  <c:v>0.6789554531490015</c:v>
                </c:pt>
                <c:pt idx="22">
                  <c:v>0.610361340879408</c:v>
                </c:pt>
                <c:pt idx="23">
                  <c:v>0.6094739741118149</c:v>
                </c:pt>
                <c:pt idx="24">
                  <c:v>0.6445806204519341</c:v>
                </c:pt>
                <c:pt idx="25">
                  <c:v>0.5508136321768499</c:v>
                </c:pt>
                <c:pt idx="26">
                  <c:v>0.5833692373976734</c:v>
                </c:pt>
                <c:pt idx="27">
                  <c:v>0.577189666036547</c:v>
                </c:pt>
                <c:pt idx="28">
                  <c:v>0.5069659442724458</c:v>
                </c:pt>
                <c:pt idx="29">
                  <c:v>0.467444120505345</c:v>
                </c:pt>
                <c:pt idx="30">
                  <c:v>0.3952434881087203</c:v>
                </c:pt>
                <c:pt idx="31">
                  <c:v>0.5152928978745464</c:v>
                </c:pt>
                <c:pt idx="32">
                  <c:v>0.5107692307692308</c:v>
                </c:pt>
                <c:pt idx="33">
                  <c:v>0.5471537807986406</c:v>
                </c:pt>
                <c:pt idx="34">
                  <c:v>0.5608899297423887</c:v>
                </c:pt>
                <c:pt idx="35">
                  <c:v>0.6142369991474851</c:v>
                </c:pt>
                <c:pt idx="36">
                  <c:v>0.47692307692307695</c:v>
                </c:pt>
                <c:pt idx="37">
                  <c:v>0.6208299430431244</c:v>
                </c:pt>
                <c:pt idx="38">
                  <c:v>0.4889406286379511</c:v>
                </c:pt>
                <c:pt idx="39">
                  <c:v>0.5017391304347826</c:v>
                </c:pt>
              </c:numCache>
            </c:numRef>
          </c:yVal>
          <c:smooth val="0"/>
          <c:extLst>
            <c:ext xmlns:c16="http://schemas.microsoft.com/office/drawing/2014/chart" uri="{C3380CC4-5D6E-409C-BE32-E72D297353CC}">
              <c16:uniqueId val="{00000000-096C-4121-9522-6AB7243CCAAE}"/>
            </c:ext>
          </c:extLst>
        </c:ser>
        <c:ser>
          <c:idx val="1"/>
          <c:order val="1"/>
          <c:tx>
            <c:strRef>
              <c:f>Sheet1!$B$4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4:$A$46</c:f>
              <c:numCache>
                <c:formatCode>General</c:formatCode>
                <c:ptCount val="3"/>
                <c:pt idx="0">
                  <c:v>4.815011836734693</c:v>
                </c:pt>
                <c:pt idx="1">
                  <c:v>11.65457683982684</c:v>
                </c:pt>
                <c:pt idx="2">
                  <c:v>15.690988732394365</c:v>
                </c:pt>
              </c:numCache>
            </c:numRef>
          </c:xVal>
          <c:yVal>
            <c:numRef>
              <c:f>Sheet1!$B$44:$B$46</c:f>
              <c:numCache>
                <c:formatCode>General</c:formatCode>
                <c:ptCount val="3"/>
                <c:pt idx="0">
                  <c:v>0.4578366445916115</c:v>
                </c:pt>
                <c:pt idx="1">
                  <c:v>0.5629335976214074</c:v>
                </c:pt>
                <c:pt idx="2">
                  <c:v>0.61051298290057</c:v>
                </c:pt>
              </c:numCache>
            </c:numRef>
          </c:yVal>
          <c:smooth val="0"/>
          <c:extLst>
            <c:ext xmlns:c16="http://schemas.microsoft.com/office/drawing/2014/chart" uri="{C3380CC4-5D6E-409C-BE32-E72D297353CC}">
              <c16:uniqueId val="{00000002-096C-4121-9522-6AB7243CCAAE}"/>
            </c:ext>
          </c:extLst>
        </c:ser>
        <c:ser>
          <c:idx val="2"/>
          <c:order val="2"/>
          <c:tx>
            <c:strRef>
              <c:f>Sheet1!$B$4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49:$A$50</c:f>
              <c:numCache>
                <c:formatCode>General</c:formatCode>
                <c:ptCount val="2"/>
                <c:pt idx="0">
                  <c:v>0</c:v>
                </c:pt>
                <c:pt idx="1">
                  <c:v>21.191246947687898</c:v>
                </c:pt>
              </c:numCache>
            </c:numRef>
          </c:xVal>
          <c:yVal>
            <c:numRef>
              <c:f>Sheet1!$B$49:$B$50</c:f>
              <c:numCache>
                <c:formatCode>General</c:formatCode>
                <c:ptCount val="2"/>
                <c:pt idx="0">
                  <c:v>0.6922232549997173</c:v>
                </c:pt>
                <c:pt idx="1">
                  <c:v>0.6922232549997173</c:v>
                </c:pt>
              </c:numCache>
            </c:numRef>
          </c:yVal>
          <c:smooth val="0"/>
          <c:extLst>
            <c:ext xmlns:c16="http://schemas.microsoft.com/office/drawing/2014/chart" uri="{C3380CC4-5D6E-409C-BE32-E72D297353CC}">
              <c16:uniqueId val="{00000005-096C-4121-9522-6AB7243CCAAE}"/>
            </c:ext>
          </c:extLst>
        </c:ser>
        <c:ser>
          <c:idx val="3"/>
          <c:order val="3"/>
          <c:tx>
            <c:strRef>
              <c:f>Sheet1!$B$5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3:$A$54</c:f>
              <c:numCache>
                <c:formatCode>General</c:formatCode>
                <c:ptCount val="2"/>
                <c:pt idx="0">
                  <c:v>21.191246947687898</c:v>
                </c:pt>
                <c:pt idx="1">
                  <c:v>21.191246947687898</c:v>
                </c:pt>
              </c:numCache>
            </c:numRef>
          </c:xVal>
          <c:yVal>
            <c:numRef>
              <c:f>Sheet1!$B$53:$B$54</c:f>
              <c:numCache>
                <c:formatCode>General</c:formatCode>
                <c:ptCount val="2"/>
                <c:pt idx="0">
                  <c:v>0.692223254999717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5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57:$A$58</c:f>
              <c:numCache>
                <c:formatCode>General</c:formatCode>
                <c:ptCount val="2"/>
                <c:pt idx="0">
                  <c:v>0</c:v>
                </c:pt>
                <c:pt idx="1">
                  <c:v>15.428212141212963</c:v>
                </c:pt>
              </c:numCache>
            </c:numRef>
          </c:xVal>
          <c:yVal>
            <c:numRef>
              <c:f>Sheet1!$B$57:$B$58</c:f>
              <c:numCache>
                <c:formatCode>General</c:formatCode>
                <c:ptCount val="2"/>
                <c:pt idx="0">
                  <c:v>0.61051298290057</c:v>
                </c:pt>
                <c:pt idx="1">
                  <c:v>0.61051298290057</c:v>
                </c:pt>
              </c:numCache>
            </c:numRef>
          </c:yVal>
          <c:smooth val="0"/>
          <c:extLst>
            <c:ext xmlns:c16="http://schemas.microsoft.com/office/drawing/2014/chart" uri="{C3380CC4-5D6E-409C-BE32-E72D297353CC}">
              <c16:uniqueId val="{0000000D-096C-4121-9522-6AB7243CCAAE}"/>
            </c:ext>
          </c:extLst>
        </c:ser>
        <c:ser>
          <c:idx val="5"/>
          <c:order val="5"/>
          <c:tx>
            <c:strRef>
              <c:f>Sheet1!$B$6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1:$A$62</c:f>
              <c:numCache>
                <c:formatCode>General</c:formatCode>
                <c:ptCount val="2"/>
                <c:pt idx="0">
                  <c:v>15.428212141212963</c:v>
                </c:pt>
                <c:pt idx="1">
                  <c:v>15.428212141212963</c:v>
                </c:pt>
              </c:numCache>
            </c:numRef>
          </c:xVal>
          <c:yVal>
            <c:numRef>
              <c:f>Sheet1!$B$61:$B$62</c:f>
              <c:numCache>
                <c:formatCode>General</c:formatCode>
                <c:ptCount val="2"/>
                <c:pt idx="0">
                  <c:v>0.6105129829005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6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65:$A$66</c:f>
              <c:numCache>
                <c:formatCode>General</c:formatCode>
                <c:ptCount val="2"/>
                <c:pt idx="0">
                  <c:v>0</c:v>
                </c:pt>
                <c:pt idx="1">
                  <c:v>7.7563799261144615</c:v>
                </c:pt>
              </c:numCache>
            </c:numRef>
          </c:xVal>
          <c:yVal>
            <c:numRef>
              <c:f>Sheet1!$B$65:$B$66</c:f>
              <c:numCache>
                <c:formatCode>General</c:formatCode>
                <c:ptCount val="2"/>
                <c:pt idx="0">
                  <c:v>0.5017391304347826</c:v>
                </c:pt>
                <c:pt idx="1">
                  <c:v>0.5017391304347826</c:v>
                </c:pt>
              </c:numCache>
            </c:numRef>
          </c:yVal>
          <c:smooth val="0"/>
          <c:extLst>
            <c:ext xmlns:c16="http://schemas.microsoft.com/office/drawing/2014/chart" uri="{C3380CC4-5D6E-409C-BE32-E72D297353CC}">
              <c16:uniqueId val="{00000015-096C-4121-9522-6AB7243CCAAE}"/>
            </c:ext>
          </c:extLst>
        </c:ser>
        <c:ser>
          <c:idx val="7"/>
          <c:order val="7"/>
          <c:tx>
            <c:strRef>
              <c:f>Sheet1!$B$6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9:$A$70</c:f>
              <c:numCache>
                <c:formatCode>General</c:formatCode>
                <c:ptCount val="2"/>
                <c:pt idx="0">
                  <c:v>7.7563799261144615</c:v>
                </c:pt>
                <c:pt idx="1">
                  <c:v>7.7563799261144615</c:v>
                </c:pt>
              </c:numCache>
            </c:numRef>
          </c:xVal>
          <c:yVal>
            <c:numRef>
              <c:f>Sheet1!$B$69:$B$70</c:f>
              <c:numCache>
                <c:formatCode>General</c:formatCode>
                <c:ptCount val="2"/>
                <c:pt idx="0">
                  <c:v>0.501739130434782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7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73:$A$78</c:f>
              <c:numCache>
                <c:formatCode>General</c:formatCode>
                <c:ptCount val="6"/>
                <c:pt idx="0">
                  <c:v>4.815011836734693</c:v>
                </c:pt>
                <c:pt idx="1">
                  <c:v>11.65457683982684</c:v>
                </c:pt>
                <c:pt idx="2">
                  <c:v>15.690988732394365</c:v>
                </c:pt>
                <c:pt idx="3">
                  <c:v>15.428212141212963</c:v>
                </c:pt>
                <c:pt idx="4">
                  <c:v>21.191246947687898</c:v>
                </c:pt>
                <c:pt idx="5">
                  <c:v>7.7563799261144615</c:v>
                </c:pt>
              </c:numCache>
            </c:numRef>
          </c:xVal>
          <c:yVal>
            <c:numRef>
              <c:f>Sheet1!$B$73:$B$78</c:f>
              <c:numCache>
                <c:formatCode>General</c:formatCode>
                <c:ptCount val="6"/>
                <c:pt idx="0">
                  <c:v>0.4600354109540429</c:v>
                </c:pt>
                <c:pt idx="1">
                  <c:v>0.5570090951689232</c:v>
                </c:pt>
                <c:pt idx="2">
                  <c:v>0.6142387189906235</c:v>
                </c:pt>
                <c:pt idx="3">
                  <c:v>0.61051298290057</c:v>
                </c:pt>
                <c:pt idx="4">
                  <c:v>0.6922232549997173</c:v>
                </c:pt>
                <c:pt idx="5">
                  <c:v>0.501739130434782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2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opperto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395297977036632"/>
          <c:min val="0.3161947904869762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33</c:f>
              <c:numCache>
                <c:formatCode>General</c:formatCode>
                <c:ptCount val="32"/>
                <c:pt idx="0">
                  <c:v>770.0268</c:v>
                </c:pt>
                <c:pt idx="1">
                  <c:v>833.9903</c:v>
                </c:pt>
                <c:pt idx="2">
                  <c:v>860.5593</c:v>
                </c:pt>
                <c:pt idx="3">
                  <c:v>871.6726</c:v>
                </c:pt>
                <c:pt idx="4">
                  <c:v>897.2163</c:v>
                </c:pt>
                <c:pt idx="5">
                  <c:v>948.4112</c:v>
                </c:pt>
                <c:pt idx="6">
                  <c:v>925.0846</c:v>
                </c:pt>
                <c:pt idx="7">
                  <c:v>808.5967</c:v>
                </c:pt>
                <c:pt idx="8">
                  <c:v>765.7576</c:v>
                </c:pt>
                <c:pt idx="9">
                  <c:v>792.1607</c:v>
                </c:pt>
                <c:pt idx="10">
                  <c:v>795.2165</c:v>
                </c:pt>
                <c:pt idx="11">
                  <c:v>899.5292</c:v>
                </c:pt>
                <c:pt idx="12">
                  <c:v>960.9351</c:v>
                </c:pt>
                <c:pt idx="13">
                  <c:v>1006.0282</c:v>
                </c:pt>
                <c:pt idx="14">
                  <c:v>964.8943</c:v>
                </c:pt>
                <c:pt idx="15">
                  <c:v>954.1976</c:v>
                </c:pt>
                <c:pt idx="16">
                  <c:v>979.4491</c:v>
                </c:pt>
                <c:pt idx="17">
                  <c:v>1000.3609</c:v>
                </c:pt>
                <c:pt idx="18">
                  <c:v>888.2025</c:v>
                </c:pt>
                <c:pt idx="19">
                  <c:v>886.0948</c:v>
                </c:pt>
                <c:pt idx="20">
                  <c:v>1071.4967</c:v>
                </c:pt>
                <c:pt idx="21">
                  <c:v>1063.3665</c:v>
                </c:pt>
                <c:pt idx="22">
                  <c:v>1011.3124</c:v>
                </c:pt>
                <c:pt idx="23">
                  <c:v>949.5251</c:v>
                </c:pt>
                <c:pt idx="24">
                  <c:v>930.3173</c:v>
                </c:pt>
                <c:pt idx="25">
                  <c:v>1080.1366</c:v>
                </c:pt>
                <c:pt idx="26">
                  <c:v>988.9461</c:v>
                </c:pt>
                <c:pt idx="27">
                  <c:v>1074.7238</c:v>
                </c:pt>
                <c:pt idx="28">
                  <c:v>1205.8198</c:v>
                </c:pt>
                <c:pt idx="29">
                  <c:v>1143.1746</c:v>
                </c:pt>
                <c:pt idx="30">
                  <c:v>1205.5272</c:v>
                </c:pt>
                <c:pt idx="31">
                  <c:v>1060.9205</c:v>
                </c:pt>
              </c:numCache>
            </c:numRef>
          </c:xVal>
          <c:yVal>
            <c:numRef>
              <c:f>Sheet1!$B$2:$B$33</c:f>
              <c:numCache>
                <c:formatCode>General</c:formatCode>
                <c:ptCount val="32"/>
                <c:pt idx="0">
                  <c:v>0.7359617682198327</c:v>
                </c:pt>
                <c:pt idx="1">
                  <c:v>0.7220270948319117</c:v>
                </c:pt>
                <c:pt idx="2">
                  <c:v>0.6135862373180415</c:v>
                </c:pt>
                <c:pt idx="3">
                  <c:v>0.5472344591287323</c:v>
                </c:pt>
                <c:pt idx="4">
                  <c:v>0.4623376623376623</c:v>
                </c:pt>
                <c:pt idx="5">
                  <c:v>0.4175</c:v>
                </c:pt>
                <c:pt idx="6">
                  <c:v>0.40794979079497906</c:v>
                </c:pt>
                <c:pt idx="7">
                  <c:v>0.6404761904761904</c:v>
                </c:pt>
                <c:pt idx="8">
                  <c:v>0.714371617558629</c:v>
                </c:pt>
                <c:pt idx="9">
                  <c:v>0.7245817245817245</c:v>
                </c:pt>
                <c:pt idx="10">
                  <c:v>0.782941498086386</c:v>
                </c:pt>
                <c:pt idx="11">
                  <c:v>0.77542062911485</c:v>
                </c:pt>
                <c:pt idx="12">
                  <c:v>0.5945273631840796</c:v>
                </c:pt>
                <c:pt idx="13">
                  <c:v>0.6132437619961613</c:v>
                </c:pt>
                <c:pt idx="14">
                  <c:v>0.5746652935118435</c:v>
                </c:pt>
                <c:pt idx="15">
                  <c:v>0.6653116531165312</c:v>
                </c:pt>
                <c:pt idx="16">
                  <c:v>0.6662234042553191</c:v>
                </c:pt>
                <c:pt idx="17">
                  <c:v>0.5950752393980848</c:v>
                </c:pt>
                <c:pt idx="18">
                  <c:v>0.571773220747889</c:v>
                </c:pt>
                <c:pt idx="19">
                  <c:v>0.5738636363636364</c:v>
                </c:pt>
                <c:pt idx="20">
                  <c:v>0.5865139949109415</c:v>
                </c:pt>
                <c:pt idx="21">
                  <c:v>0.6789554531490015</c:v>
                </c:pt>
                <c:pt idx="22">
                  <c:v>0.610361340879408</c:v>
                </c:pt>
                <c:pt idx="23">
                  <c:v>0.6094739741118149</c:v>
                </c:pt>
                <c:pt idx="24">
                  <c:v>0.6445806204519341</c:v>
                </c:pt>
                <c:pt idx="25">
                  <c:v>0.5508136321768499</c:v>
                </c:pt>
                <c:pt idx="26">
                  <c:v>0.5833692373976734</c:v>
                </c:pt>
                <c:pt idx="27">
                  <c:v>0.577189666036547</c:v>
                </c:pt>
                <c:pt idx="28">
                  <c:v>0.5069659442724458</c:v>
                </c:pt>
                <c:pt idx="29">
                  <c:v>0.467444120505345</c:v>
                </c:pt>
                <c:pt idx="30">
                  <c:v>0.3952434881087203</c:v>
                </c:pt>
                <c:pt idx="31">
                  <c:v>0.5152928978745464</c:v>
                </c:pt>
              </c:numCache>
            </c:numRef>
          </c:yVal>
          <c:smooth val="0"/>
          <c:extLst>
            <c:ext xmlns:c16="http://schemas.microsoft.com/office/drawing/2014/chart" uri="{C3380CC4-5D6E-409C-BE32-E72D297353CC}">
              <c16:uniqueId val="{00000000-F32D-48B7-BC20-E66FC6253BAD}"/>
            </c:ext>
          </c:extLst>
        </c:ser>
        <c:ser>
          <c:idx val="1"/>
          <c:order val="1"/>
          <c:tx>
            <c:strRef>
              <c:f>Sheet1!$B$3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36:$A$46</c:f>
              <c:numCache>
                <c:formatCode>General</c:formatCode>
                <c:ptCount val="11"/>
                <c:pt idx="0">
                  <c:v>1180.9729</c:v>
                </c:pt>
                <c:pt idx="1">
                  <c:v>1179.6779</c:v>
                </c:pt>
                <c:pt idx="2">
                  <c:v>1061.0427</c:v>
                </c:pt>
                <c:pt idx="3">
                  <c:v>1078.4551</c:v>
                </c:pt>
                <c:pt idx="4">
                  <c:v>1007.0548</c:v>
                </c:pt>
                <c:pt idx="5">
                  <c:v>1076.8829</c:v>
                </c:pt>
                <c:pt idx="6">
                  <c:v>1044.7724</c:v>
                </c:pt>
                <c:pt idx="7">
                  <c:v>1114.0602</c:v>
                </c:pt>
                <c:pt idx="8">
                  <c:v>1155.3342</c:v>
                </c:pt>
                <c:pt idx="9">
                  <c:v>1241.531</c:v>
                </c:pt>
                <c:pt idx="10">
                  <c:v>1247.1473</c:v>
                </c:pt>
              </c:numCache>
            </c:numRef>
          </c:xVal>
          <c:yVal>
            <c:numRef>
              <c:f>Sheet1!$B$36:$B$46</c:f>
              <c:numCache>
                <c:formatCode>General</c:formatCode>
                <c:ptCount val="11"/>
                <c:pt idx="0">
                  <c:v>0.5107692307692308</c:v>
                </c:pt>
                <c:pt idx="1">
                  <c:v>0.4578366445916115</c:v>
                </c:pt>
                <c:pt idx="2">
                  <c:v>0.5471537807986406</c:v>
                </c:pt>
                <c:pt idx="3">
                  <c:v>0.5608899297423887</c:v>
                </c:pt>
                <c:pt idx="4">
                  <c:v>0.6142369991474851</c:v>
                </c:pt>
                <c:pt idx="5">
                  <c:v>0.5629335976214074</c:v>
                </c:pt>
                <c:pt idx="6">
                  <c:v>0.47692307692307695</c:v>
                </c:pt>
                <c:pt idx="7">
                  <c:v>0.61051298290057</c:v>
                </c:pt>
                <c:pt idx="8">
                  <c:v>0.6208299430431244</c:v>
                </c:pt>
                <c:pt idx="9">
                  <c:v>0.4889406286379511</c:v>
                </c:pt>
                <c:pt idx="10">
                  <c:v>0.5017391304347826</c:v>
                </c:pt>
              </c:numCache>
            </c:numRef>
          </c:yVal>
          <c:smooth val="0"/>
          <c:extLst>
            <c:ext xmlns:c16="http://schemas.microsoft.com/office/drawing/2014/chart" uri="{C3380CC4-5D6E-409C-BE32-E72D297353CC}">
              <c16:uniqueId val="{00000002-F32D-48B7-BC20-E66FC6253BAD}"/>
            </c:ext>
          </c:extLst>
        </c:ser>
        <c:ser>
          <c:idx val="2"/>
          <c:order val="2"/>
          <c:tx>
            <c:strRef>
              <c:f>Sheet1!$B$48</c:f>
              <c:strCache>
                <c:ptCount val="1"/>
                <c:pt idx="0">
                  <c:v>Custom Linep3yQ</c:v>
                </c:pt>
              </c:strCache>
            </c:strRef>
          </c:tx>
          <c:spPr>
            <a:ln w="19050" cap="rnd">
              <a:solidFill>
                <a:srgbClr val="C00000"/>
              </a:solidFill>
              <a:prstDash val="sysDot"/>
              <a:round/>
            </a:ln>
            <a:effectLst/>
          </c:spPr>
          <c:marker>
            <c:symbol val="none"/>
          </c:marker>
          <c:xVal>
            <c:numRef>
              <c:f>Sheet1!$A$49:$A$50</c:f>
              <c:numCache>
                <c:formatCode>General</c:formatCode>
                <c:ptCount val="2"/>
                <c:pt idx="0">
                  <c:v>0</c:v>
                </c:pt>
                <c:pt idx="1">
                  <c:v>668.4585829198506</c:v>
                </c:pt>
              </c:numCache>
            </c:numRef>
          </c:xVal>
          <c:yVal>
            <c:numRef>
              <c:f>Sheet1!$B$49:$B$50</c:f>
              <c:numCache>
                <c:formatCode>General</c:formatCode>
                <c:ptCount val="2"/>
                <c:pt idx="0">
                  <c:v>0.6922232549997173</c:v>
                </c:pt>
                <c:pt idx="1">
                  <c:v>0.6922232549997173</c:v>
                </c:pt>
              </c:numCache>
            </c:numRef>
          </c:yVal>
          <c:smooth val="0"/>
          <c:extLst>
            <c:ext xmlns:c16="http://schemas.microsoft.com/office/drawing/2014/chart" uri="{C3380CC4-5D6E-409C-BE32-E72D297353CC}">
              <c16:uniqueId val="{00000003-F32D-48B7-BC20-E66FC6253BAD}"/>
            </c:ext>
          </c:extLst>
        </c:ser>
        <c:ser>
          <c:idx val="3"/>
          <c:order val="3"/>
          <c:tx>
            <c:strRef>
              <c:f>Sheet1!$B$5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3:$A$54</c:f>
              <c:numCache>
                <c:formatCode>General</c:formatCode>
                <c:ptCount val="2"/>
                <c:pt idx="0">
                  <c:v>668.4585829198506</c:v>
                </c:pt>
                <c:pt idx="1">
                  <c:v>668.4585829198506</c:v>
                </c:pt>
              </c:numCache>
            </c:numRef>
          </c:xVal>
          <c:yVal>
            <c:numRef>
              <c:f>Sheet1!$B$53:$B$54</c:f>
              <c:numCache>
                <c:formatCode>General</c:formatCode>
                <c:ptCount val="2"/>
                <c:pt idx="0">
                  <c:v>0.692223254999717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5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57:$A$58</c:f>
              <c:numCache>
                <c:formatCode>General</c:formatCode>
                <c:ptCount val="2"/>
                <c:pt idx="0">
                  <c:v>0</c:v>
                </c:pt>
                <c:pt idx="1">
                  <c:v>915.9898974579711</c:v>
                </c:pt>
              </c:numCache>
            </c:numRef>
          </c:xVal>
          <c:yVal>
            <c:numRef>
              <c:f>Sheet1!$B$57:$B$58</c:f>
              <c:numCache>
                <c:formatCode>General</c:formatCode>
                <c:ptCount val="2"/>
                <c:pt idx="0">
                  <c:v>0.61051298290057</c:v>
                </c:pt>
                <c:pt idx="1">
                  <c:v>0.61051298290057</c:v>
                </c:pt>
              </c:numCache>
            </c:numRef>
          </c:yVal>
          <c:smooth val="0"/>
          <c:extLst>
            <c:ext xmlns:c16="http://schemas.microsoft.com/office/drawing/2014/chart" uri="{C3380CC4-5D6E-409C-BE32-E72D297353CC}">
              <c16:uniqueId val="{0000000A-F32D-48B7-BC20-E66FC6253BAD}"/>
            </c:ext>
          </c:extLst>
        </c:ser>
        <c:ser>
          <c:idx val="5"/>
          <c:order val="5"/>
          <c:tx>
            <c:strRef>
              <c:f>Sheet1!$B$6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1:$A$62</c:f>
              <c:numCache>
                <c:formatCode>General</c:formatCode>
                <c:ptCount val="2"/>
                <c:pt idx="0">
                  <c:v>915.9898974579711</c:v>
                </c:pt>
                <c:pt idx="1">
                  <c:v>915.9898974579711</c:v>
                </c:pt>
              </c:numCache>
            </c:numRef>
          </c:xVal>
          <c:yVal>
            <c:numRef>
              <c:f>Sheet1!$B$61:$B$62</c:f>
              <c:numCache>
                <c:formatCode>General</c:formatCode>
                <c:ptCount val="2"/>
                <c:pt idx="0">
                  <c:v>0.6105129829005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6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65:$A$66</c:f>
              <c:numCache>
                <c:formatCode>General</c:formatCode>
                <c:ptCount val="2"/>
                <c:pt idx="0">
                  <c:v>0</c:v>
                </c:pt>
                <c:pt idx="1">
                  <c:v>1245.5070315529501</c:v>
                </c:pt>
              </c:numCache>
            </c:numRef>
          </c:xVal>
          <c:yVal>
            <c:numRef>
              <c:f>Sheet1!$B$65:$B$66</c:f>
              <c:numCache>
                <c:formatCode>General</c:formatCode>
                <c:ptCount val="2"/>
                <c:pt idx="0">
                  <c:v>0.5017391304347826</c:v>
                </c:pt>
                <c:pt idx="1">
                  <c:v>0.5017391304347826</c:v>
                </c:pt>
              </c:numCache>
            </c:numRef>
          </c:yVal>
          <c:smooth val="0"/>
          <c:extLst>
            <c:ext xmlns:c16="http://schemas.microsoft.com/office/drawing/2014/chart" uri="{C3380CC4-5D6E-409C-BE32-E72D297353CC}">
              <c16:uniqueId val="{00000011-F32D-48B7-BC20-E66FC6253BAD}"/>
            </c:ext>
          </c:extLst>
        </c:ser>
        <c:ser>
          <c:idx val="7"/>
          <c:order val="7"/>
          <c:tx>
            <c:strRef>
              <c:f>Sheet1!$B$6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9:$A$70</c:f>
              <c:numCache>
                <c:formatCode>General</c:formatCode>
                <c:ptCount val="2"/>
                <c:pt idx="0">
                  <c:v>1245.5070315529501</c:v>
                </c:pt>
                <c:pt idx="1">
                  <c:v>1245.5070315529501</c:v>
                </c:pt>
              </c:numCache>
            </c:numRef>
          </c:xVal>
          <c:yVal>
            <c:numRef>
              <c:f>Sheet1!$B$69:$B$70</c:f>
              <c:numCache>
                <c:formatCode>General</c:formatCode>
                <c:ptCount val="2"/>
                <c:pt idx="0">
                  <c:v>0.501739130434782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7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73:$A$86</c:f>
              <c:numCache>
                <c:formatCode>General</c:formatCode>
                <c:ptCount val="14"/>
                <c:pt idx="0">
                  <c:v>1180.9729</c:v>
                </c:pt>
                <c:pt idx="1">
                  <c:v>1179.6779</c:v>
                </c:pt>
                <c:pt idx="2">
                  <c:v>1061.0427</c:v>
                </c:pt>
                <c:pt idx="3">
                  <c:v>1078.4551</c:v>
                </c:pt>
                <c:pt idx="4">
                  <c:v>1007.0548</c:v>
                </c:pt>
                <c:pt idx="5">
                  <c:v>1076.8829</c:v>
                </c:pt>
                <c:pt idx="6">
                  <c:v>1044.7724</c:v>
                </c:pt>
                <c:pt idx="7">
                  <c:v>1114.0602</c:v>
                </c:pt>
                <c:pt idx="8">
                  <c:v>1155.3342</c:v>
                </c:pt>
                <c:pt idx="9">
                  <c:v>1241.531</c:v>
                </c:pt>
                <c:pt idx="10">
                  <c:v>1247.1473</c:v>
                </c:pt>
                <c:pt idx="11">
                  <c:v>915.9898974579711</c:v>
                </c:pt>
                <c:pt idx="12">
                  <c:v>668.4585829198506</c:v>
                </c:pt>
                <c:pt idx="13">
                  <c:v>1245.5070315529501</c:v>
                </c:pt>
              </c:numCache>
            </c:numRef>
          </c:xVal>
          <c:yVal>
            <c:numRef>
              <c:f>Sheet1!$B$73:$B$86</c:f>
              <c:numCache>
                <c:formatCode>General</c:formatCode>
                <c:ptCount val="14"/>
                <c:pt idx="0">
                  <c:v>0.5230418955362932</c:v>
                </c:pt>
                <c:pt idx="1">
                  <c:v>0.5234693760050406</c:v>
                </c:pt>
                <c:pt idx="2">
                  <c:v>0.5626309442721694</c:v>
                </c:pt>
                <c:pt idx="3">
                  <c:v>0.5568830980065201</c:v>
                </c:pt>
                <c:pt idx="4">
                  <c:v>0.5804523904487588</c:v>
                </c:pt>
                <c:pt idx="5">
                  <c:v>0.5574020824026318</c:v>
                </c:pt>
                <c:pt idx="6">
                  <c:v>0.5680017824734509</c:v>
                </c:pt>
                <c:pt idx="7">
                  <c:v>0.5451298278615047</c:v>
                </c:pt>
                <c:pt idx="8">
                  <c:v>0.5315052495857695</c:v>
                </c:pt>
                <c:pt idx="9">
                  <c:v>0.5030516214247511</c:v>
                </c:pt>
                <c:pt idx="10">
                  <c:v>0.50119767659338</c:v>
                </c:pt>
                <c:pt idx="11">
                  <c:v>0.61051298290057</c:v>
                </c:pt>
                <c:pt idx="12">
                  <c:v>0.6922232549997173</c:v>
                </c:pt>
                <c:pt idx="13">
                  <c:v>0.501739130434782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97.0"/>
          <c:min val="53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395297977036632"/>
          <c:min val="0.3161947904869762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872676380368098</c:v>
                </c:pt>
                <c:pt idx="1">
                  <c:v>0.6816897805195193</c:v>
                </c:pt>
                <c:pt idx="2">
                  <c:v>0.6622883495145631</c:v>
                </c:pt>
                <c:pt idx="3">
                  <c:v>0.6915320522674866</c:v>
                </c:pt>
                <c:pt idx="4">
                  <c:v>0.8156326255173654</c:v>
                </c:pt>
                <c:pt idx="5">
                  <c:v>0.6933257413997628</c:v>
                </c:pt>
                <c:pt idx="6">
                  <c:v>0.6888042009884678</c:v>
                </c:pt>
                <c:pt idx="7">
                  <c:v>0.7340854414042333</c:v>
                </c:pt>
                <c:pt idx="8">
                  <c:v>0.7047333134646466</c:v>
                </c:pt>
                <c:pt idx="9">
                  <c:v>0.6358697392584222</c:v>
                </c:pt>
                <c:pt idx="10">
                  <c:v>0.6700725726400731</c:v>
                </c:pt>
                <c:pt idx="11">
                  <c:v>0.6715304733442592</c:v>
                </c:pt>
                <c:pt idx="12">
                  <c:v>0.7200772778972299</c:v>
                </c:pt>
                <c:pt idx="13">
                  <c:v>0.7355541104294478</c:v>
                </c:pt>
                <c:pt idx="14">
                  <c:v>0.7613407553072633</c:v>
                </c:pt>
                <c:pt idx="15">
                  <c:v>0.824781589958159</c:v>
                </c:pt>
                <c:pt idx="16">
                  <c:v>0.8495558015588255</c:v>
                </c:pt>
                <c:pt idx="17">
                  <c:v>0.861956667845773</c:v>
                </c:pt>
                <c:pt idx="18">
                  <c:v>0.858736652360515</c:v>
                </c:pt>
                <c:pt idx="19">
                  <c:v>0.7326004249291785</c:v>
                </c:pt>
                <c:pt idx="20">
                  <c:v>0.7306852981969487</c:v>
                </c:pt>
                <c:pt idx="21">
                  <c:v>0.8398207357859532</c:v>
                </c:pt>
                <c:pt idx="22">
                  <c:v>1.0109783553875236</c:v>
                </c:pt>
                <c:pt idx="23">
                  <c:v>1.2872330013525146</c:v>
                </c:pt>
                <c:pt idx="24">
                  <c:v>1.1851626954791015</c:v>
                </c:pt>
                <c:pt idx="25">
                  <c:v>0.8492619950535861</c:v>
                </c:pt>
                <c:pt idx="26">
                  <c:v>1.3468113945014906</c:v>
                </c:pt>
                <c:pt idx="27">
                  <c:v>1.009340475594493</c:v>
                </c:pt>
                <c:pt idx="28">
                  <c:v>0.8451656272142536</c:v>
                </c:pt>
                <c:pt idx="29">
                  <c:v>0.9578441345365053</c:v>
                </c:pt>
                <c:pt idx="30">
                  <c:v>0.9326923917995444</c:v>
                </c:pt>
                <c:pt idx="31">
                  <c:v>0.8503515177065767</c:v>
                </c:pt>
                <c:pt idx="32">
                  <c:v>0.8612213274541479</c:v>
                </c:pt>
                <c:pt idx="33">
                  <c:v>0.901427069044353</c:v>
                </c:pt>
                <c:pt idx="34">
                  <c:v>0.9122624985309672</c:v>
                </c:pt>
                <c:pt idx="35">
                  <c:v>0.7738902487500706</c:v>
                </c:pt>
                <c:pt idx="36">
                  <c:v>0.860194281947763</c:v>
                </c:pt>
                <c:pt idx="37">
                  <c:v>0.8173648264984227</c:v>
                </c:pt>
                <c:pt idx="38">
                  <c:v>1.0147547857793984</c:v>
                </c:pt>
                <c:pt idx="39">
                  <c:v>0.9578495118623357</c:v>
                </c:pt>
                <c:pt idx="40">
                  <c:v>0.8411367262723521</c:v>
                </c:pt>
                <c:pt idx="41">
                  <c:v>0.8724885427418597</c:v>
                </c:pt>
                <c:pt idx="42">
                  <c:v>0.8936901265386987</c:v>
                </c:pt>
                <c:pt idx="43">
                  <c:v>0.9724895608568481</c:v>
                </c:pt>
                <c:pt idx="44">
                  <c:v>0.8545151289278636</c:v>
                </c:pt>
                <c:pt idx="45">
                  <c:v>0.9041835202761</c:v>
                </c:pt>
                <c:pt idx="46">
                  <c:v>0.8765308820491634</c:v>
                </c:pt>
                <c:pt idx="47">
                  <c:v>0.8601507271526364</c:v>
                </c:pt>
                <c:pt idx="48">
                  <c:v>1.004846793952034</c:v>
                </c:pt>
                <c:pt idx="49">
                  <c:v>0.8154129090759212</c:v>
                </c:pt>
                <c:pt idx="50">
                  <c:v>0.7554473282381517</c:v>
                </c:pt>
                <c:pt idx="51">
                  <c:v>0.7845377724930638</c:v>
                </c:pt>
                <c:pt idx="52">
                  <c:v>0.7415008301886793</c:v>
                </c:pt>
                <c:pt idx="53">
                  <c:v>0.9281758478081059</c:v>
                </c:pt>
                <c:pt idx="54">
                  <c:v>0.8554925694872189</c:v>
                </c:pt>
                <c:pt idx="55">
                  <c:v>0.8898230264466097</c:v>
                </c:pt>
                <c:pt idx="56">
                  <c:v>0.8832746372886596</c:v>
                </c:pt>
                <c:pt idx="57">
                  <c:v>1.0183665246904865</c:v>
                </c:pt>
                <c:pt idx="58">
                  <c:v>0.9186676789277168</c:v>
                </c:pt>
                <c:pt idx="59">
                  <c:v>0.7934919305964737</c:v>
                </c:pt>
                <c:pt idx="60">
                  <c:v>0.7557436110417673</c:v>
                </c:pt>
                <c:pt idx="61">
                  <c:v>0.9431027358284089</c:v>
                </c:pt>
                <c:pt idx="62">
                  <c:v>0.758507832086762</c:v>
                </c:pt>
                <c:pt idx="63">
                  <c:v>0.9176192007046129</c:v>
                </c:pt>
                <c:pt idx="64">
                  <c:v>0.9163871656913628</c:v>
                </c:pt>
                <c:pt idx="65">
                  <c:v>0.9050158167675022</c:v>
                </c:pt>
                <c:pt idx="66">
                  <c:v>0.9335707863644539</c:v>
                </c:pt>
                <c:pt idx="67">
                  <c:v>0.9976267455923762</c:v>
                </c:pt>
                <c:pt idx="68">
                  <c:v>0.9428152264057058</c:v>
                </c:pt>
                <c:pt idx="69">
                  <c:v>0.798986527690942</c:v>
                </c:pt>
                <c:pt idx="70">
                  <c:v>1.282544889892716</c:v>
                </c:pt>
                <c:pt idx="71">
                  <c:v>1.0654441262599124</c:v>
                </c:pt>
                <c:pt idx="72">
                  <c:v>1.1715605465211143</c:v>
                </c:pt>
                <c:pt idx="73">
                  <c:v>1.2399546401985113</c:v>
                </c:pt>
                <c:pt idx="74">
                  <c:v>1.9913093087934932</c:v>
                </c:pt>
                <c:pt idx="75">
                  <c:v>1.8933805211312362</c:v>
                </c:pt>
                <c:pt idx="76">
                  <c:v>1.149473887240356</c:v>
                </c:pt>
                <c:pt idx="77">
                  <c:v>1.157067102832348</c:v>
                </c:pt>
                <c:pt idx="78">
                  <c:v>1.1003257194244604</c:v>
                </c:pt>
                <c:pt idx="79">
                  <c:v>1.3731986461251167</c:v>
                </c:pt>
                <c:pt idx="80">
                  <c:v>1.0045726359832636</c:v>
                </c:pt>
                <c:pt idx="81">
                  <c:v>1.1706385688619512</c:v>
                </c:pt>
                <c:pt idx="82">
                  <c:v>1.3418718080355492</c:v>
                </c:pt>
                <c:pt idx="83">
                  <c:v>1.1039389508608832</c:v>
                </c:pt>
                <c:pt idx="84">
                  <c:v>1.3482651056539119</c:v>
                </c:pt>
                <c:pt idx="85">
                  <c:v>1.2191092356687898</c:v>
                </c:pt>
                <c:pt idx="86">
                  <c:v>0.9344982184668634</c:v>
                </c:pt>
                <c:pt idx="87">
                  <c:v>0.9985054973595361</c:v>
                </c:pt>
                <c:pt idx="88">
                  <c:v>1.0007328167539267</c:v>
                </c:pt>
                <c:pt idx="89">
                  <c:v>0.9953112329711536</c:v>
                </c:pt>
                <c:pt idx="90">
                  <c:v>1.0093757557805627</c:v>
                </c:pt>
                <c:pt idx="91">
                  <c:v>1.0541305047425475</c:v>
                </c:pt>
                <c:pt idx="92">
                  <c:v>1.066685661483451</c:v>
                </c:pt>
                <c:pt idx="93">
                  <c:v>1.0371992362687235</c:v>
                </c:pt>
                <c:pt idx="94">
                  <c:v>0.984598195891214</c:v>
                </c:pt>
                <c:pt idx="95">
                  <c:v>0.9397481626716485</c:v>
                </c:pt>
                <c:pt idx="96">
                  <c:v>0.8675037830412069</c:v>
                </c:pt>
                <c:pt idx="97">
                  <c:v>0.9148017974642915</c:v>
                </c:pt>
                <c:pt idx="98">
                  <c:v>0.9357608677396341</c:v>
                </c:pt>
                <c:pt idx="99">
                  <c:v>0.9252181880167052</c:v>
                </c:pt>
                <c:pt idx="100">
                  <c:v>0.8998044905006882</c:v>
                </c:pt>
                <c:pt idx="101">
                  <c:v>0.8832102547821254</c:v>
                </c:pt>
                <c:pt idx="102">
                  <c:v>1.008099600883451</c:v>
                </c:pt>
                <c:pt idx="103">
                  <c:v>0.9102567570353571</c:v>
                </c:pt>
                <c:pt idx="104">
                  <c:v>1.0372051013705594</c:v>
                </c:pt>
              </c:numCache>
            </c:numRef>
          </c:xVal>
          <c:yVal>
            <c:numRef>
              <c:f>Sheet1!$B$2:$B$106</c:f>
              <c:numCache>
                <c:formatCode>General</c:formatCode>
                <c:ptCount val="105"/>
                <c:pt idx="0">
                  <c:v>0.7320016645859343</c:v>
                </c:pt>
                <c:pt idx="1">
                  <c:v>0.7154811715481172</c:v>
                </c:pt>
                <c:pt idx="2">
                  <c:v>0.7248677248677249</c:v>
                </c:pt>
                <c:pt idx="3">
                  <c:v>0.7189896256202075</c:v>
                </c:pt>
                <c:pt idx="4">
                  <c:v>0.7121588089330024</c:v>
                </c:pt>
                <c:pt idx="5">
                  <c:v>0.7191930207197382</c:v>
                </c:pt>
                <c:pt idx="6">
                  <c:v>0.7173626373626374</c:v>
                </c:pt>
                <c:pt idx="7">
                  <c:v>0.7147208121827411</c:v>
                </c:pt>
                <c:pt idx="8">
                  <c:v>0.7250274423710209</c:v>
                </c:pt>
                <c:pt idx="9">
                  <c:v>0.7653528872593951</c:v>
                </c:pt>
                <c:pt idx="10">
                  <c:v>0.7516810758885687</c:v>
                </c:pt>
                <c:pt idx="11">
                  <c:v>0.7371396269078575</c:v>
                </c:pt>
                <c:pt idx="12">
                  <c:v>0.7237479806138933</c:v>
                </c:pt>
                <c:pt idx="13">
                  <c:v>0.7114649681528662</c:v>
                </c:pt>
                <c:pt idx="14">
                  <c:v>0.7378497790868925</c:v>
                </c:pt>
                <c:pt idx="15">
                  <c:v>0.7388235294117647</c:v>
                </c:pt>
                <c:pt idx="16">
                  <c:v>0.7402597402597403</c:v>
                </c:pt>
                <c:pt idx="17">
                  <c:v>0.731404958677686</c:v>
                </c:pt>
                <c:pt idx="18">
                  <c:v>0.7717391304347826</c:v>
                </c:pt>
                <c:pt idx="19">
                  <c:v>0.7691358024691358</c:v>
                </c:pt>
                <c:pt idx="20">
                  <c:v>0.7877664504170528</c:v>
                </c:pt>
                <c:pt idx="21">
                  <c:v>0.7798941798941799</c:v>
                </c:pt>
                <c:pt idx="22">
                  <c:v>0.7327677624602333</c:v>
                </c:pt>
                <c:pt idx="23">
                  <c:v>0.7279489904357067</c:v>
                </c:pt>
                <c:pt idx="24">
                  <c:v>0.6779981114258735</c:v>
                </c:pt>
                <c:pt idx="25">
                  <c:v>0.6916488222698073</c:v>
                </c:pt>
                <c:pt idx="26">
                  <c:v>0.6830357142857143</c:v>
                </c:pt>
                <c:pt idx="27">
                  <c:v>0.6938421509106678</c:v>
                </c:pt>
                <c:pt idx="28">
                  <c:v>0.7115902964959568</c:v>
                </c:pt>
                <c:pt idx="29">
                  <c:v>0.6762325239146432</c:v>
                </c:pt>
                <c:pt idx="30">
                  <c:v>0.7110047846889952</c:v>
                </c:pt>
                <c:pt idx="31">
                  <c:v>0.6926070038910506</c:v>
                </c:pt>
                <c:pt idx="32">
                  <c:v>0.6719478098788444</c:v>
                </c:pt>
                <c:pt idx="33">
                  <c:v>0.6558245083207261</c:v>
                </c:pt>
                <c:pt idx="34">
                  <c:v>0.6696658097686375</c:v>
                </c:pt>
                <c:pt idx="35">
                  <c:v>0.6993833504624871</c:v>
                </c:pt>
                <c:pt idx="36">
                  <c:v>0.7090653548840478</c:v>
                </c:pt>
                <c:pt idx="37">
                  <c:v>0.6941081517352704</c:v>
                </c:pt>
                <c:pt idx="38">
                  <c:v>0.7246653919694073</c:v>
                </c:pt>
                <c:pt idx="39">
                  <c:v>0.7174571140262361</c:v>
                </c:pt>
                <c:pt idx="40">
                  <c:v>0.7091366303436715</c:v>
                </c:pt>
                <c:pt idx="41">
                  <c:v>0.7001934235976789</c:v>
                </c:pt>
                <c:pt idx="42">
                  <c:v>0.672289156626506</c:v>
                </c:pt>
                <c:pt idx="43">
                  <c:v>0.6969914040114613</c:v>
                </c:pt>
                <c:pt idx="44">
                  <c:v>0.7118238391574916</c:v>
                </c:pt>
                <c:pt idx="45">
                  <c:v>0.7229676400947119</c:v>
                </c:pt>
                <c:pt idx="46">
                  <c:v>0.7020046260601388</c:v>
                </c:pt>
                <c:pt idx="47">
                  <c:v>0.6971473231731145</c:v>
                </c:pt>
                <c:pt idx="48">
                  <c:v>0.701195219123506</c:v>
                </c:pt>
                <c:pt idx="49">
                  <c:v>0.7281672816728167</c:v>
                </c:pt>
                <c:pt idx="50">
                  <c:v>0.7270900321543409</c:v>
                </c:pt>
                <c:pt idx="51">
                  <c:v>0.7200208550573514</c:v>
                </c:pt>
                <c:pt idx="52">
                  <c:v>0.7229437229437229</c:v>
                </c:pt>
                <c:pt idx="53">
                  <c:v>0.7142857142857143</c:v>
                </c:pt>
                <c:pt idx="54">
                  <c:v>0.7353115727002968</c:v>
                </c:pt>
                <c:pt idx="55">
                  <c:v>0.7319526627218935</c:v>
                </c:pt>
                <c:pt idx="56">
                  <c:v>0.7052941176470588</c:v>
                </c:pt>
                <c:pt idx="57">
                  <c:v>0.7101593625498008</c:v>
                </c:pt>
                <c:pt idx="58">
                  <c:v>0.6999573196756296</c:v>
                </c:pt>
                <c:pt idx="59">
                  <c:v>0.7222222222222222</c:v>
                </c:pt>
                <c:pt idx="60">
                  <c:v>0.7192364170337738</c:v>
                </c:pt>
                <c:pt idx="61">
                  <c:v>0.7095435684647303</c:v>
                </c:pt>
                <c:pt idx="62">
                  <c:v>0.7135050741608119</c:v>
                </c:pt>
                <c:pt idx="63">
                  <c:v>0.6997587038952086</c:v>
                </c:pt>
                <c:pt idx="64">
                  <c:v>0.6932559825960841</c:v>
                </c:pt>
                <c:pt idx="65">
                  <c:v>0.7099494097807757</c:v>
                </c:pt>
                <c:pt idx="66">
                  <c:v>0.7415540540540541</c:v>
                </c:pt>
                <c:pt idx="67">
                  <c:v>0.7139608913142338</c:v>
                </c:pt>
                <c:pt idx="68">
                  <c:v>0.7208307880268784</c:v>
                </c:pt>
                <c:pt idx="69">
                  <c:v>0.7254264825345248</c:v>
                </c:pt>
                <c:pt idx="70">
                  <c:v>0.7372947615324472</c:v>
                </c:pt>
                <c:pt idx="71">
                  <c:v>0.7447346251053075</c:v>
                </c:pt>
                <c:pt idx="72">
                  <c:v>0.7430555555555556</c:v>
                </c:pt>
                <c:pt idx="73">
                  <c:v>0.7481781376518218</c:v>
                </c:pt>
                <c:pt idx="74">
                  <c:v>0.7532679738562091</c:v>
                </c:pt>
                <c:pt idx="75">
                  <c:v>0.7620751341681574</c:v>
                </c:pt>
                <c:pt idx="76">
                  <c:v>0.7524932003626473</c:v>
                </c:pt>
                <c:pt idx="77">
                  <c:v>0.7612704918032787</c:v>
                </c:pt>
                <c:pt idx="78">
                  <c:v>0.721081081081081</c:v>
                </c:pt>
                <c:pt idx="79">
                  <c:v>0.7463917525773196</c:v>
                </c:pt>
                <c:pt idx="80">
                  <c:v>0.7440166493236212</c:v>
                </c:pt>
                <c:pt idx="81">
                  <c:v>0.7635893011216566</c:v>
                </c:pt>
                <c:pt idx="82">
                  <c:v>0.7279569892473118</c:v>
                </c:pt>
                <c:pt idx="83">
                  <c:v>0.7342569269521411</c:v>
                </c:pt>
                <c:pt idx="84">
                  <c:v>0.7288557213930348</c:v>
                </c:pt>
                <c:pt idx="85">
                  <c:v>0.762119503945885</c:v>
                </c:pt>
                <c:pt idx="86">
                  <c:v>0.7480190174326465</c:v>
                </c:pt>
                <c:pt idx="87">
                  <c:v>0.7244475138121547</c:v>
                </c:pt>
                <c:pt idx="88">
                  <c:v>0.7415026833631485</c:v>
                </c:pt>
                <c:pt idx="89">
                  <c:v>0.7502634351949421</c:v>
                </c:pt>
                <c:pt idx="90">
                  <c:v>0.7415599534342259</c:v>
                </c:pt>
                <c:pt idx="91">
                  <c:v>0.7390791027154664</c:v>
                </c:pt>
                <c:pt idx="92">
                  <c:v>0.7349397590361446</c:v>
                </c:pt>
                <c:pt idx="93">
                  <c:v>0.7300094073377235</c:v>
                </c:pt>
                <c:pt idx="94">
                  <c:v>0.7155511811023622</c:v>
                </c:pt>
                <c:pt idx="95">
                  <c:v>0.7190311418685121</c:v>
                </c:pt>
                <c:pt idx="96">
                  <c:v>0.7351267459906881</c:v>
                </c:pt>
                <c:pt idx="97">
                  <c:v>0.7297520661157024</c:v>
                </c:pt>
                <c:pt idx="98">
                  <c:v>0.73229939312205</c:v>
                </c:pt>
                <c:pt idx="99">
                  <c:v>0.7319676860934795</c:v>
                </c:pt>
                <c:pt idx="100">
                  <c:v>0.7370614035087719</c:v>
                </c:pt>
                <c:pt idx="101">
                  <c:v>0.7347013558079882</c:v>
                </c:pt>
                <c:pt idx="102">
                  <c:v>0.7231781376518218</c:v>
                </c:pt>
                <c:pt idx="103">
                  <c:v>0.7252604166666666</c:v>
                </c:pt>
                <c:pt idx="104">
                  <c:v>0.712755102040816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569106655974338</c:v>
                </c:pt>
                <c:pt idx="1">
                  <c:v>0.9231941221964425</c:v>
                </c:pt>
                <c:pt idx="2">
                  <c:v>1.0193382279325882</c:v>
                </c:pt>
                <c:pt idx="3">
                  <c:v>0.9446962796535864</c:v>
                </c:pt>
                <c:pt idx="4">
                  <c:v>1.1610686292548298</c:v>
                </c:pt>
                <c:pt idx="5">
                  <c:v>0.9688736866865295</c:v>
                </c:pt>
                <c:pt idx="6">
                  <c:v>0.8431885605690445</c:v>
                </c:pt>
                <c:pt idx="7">
                  <c:v>1.032957456140351</c:v>
                </c:pt>
                <c:pt idx="8">
                  <c:v>0.8724609435970202</c:v>
                </c:pt>
                <c:pt idx="9">
                  <c:v>1.2248707401245327</c:v>
                </c:pt>
                <c:pt idx="10">
                  <c:v>0.993859348914858</c:v>
                </c:pt>
                <c:pt idx="11">
                  <c:v>1.0043957695769579</c:v>
                </c:pt>
                <c:pt idx="12">
                  <c:v>0.8808377862689004</c:v>
                </c:pt>
                <c:pt idx="13">
                  <c:v>0.9684772209207957</c:v>
                </c:pt>
                <c:pt idx="14">
                  <c:v>1.0683586083853702</c:v>
                </c:pt>
                <c:pt idx="15">
                  <c:v>0.9436744241461478</c:v>
                </c:pt>
                <c:pt idx="16">
                  <c:v>0.9236922381311229</c:v>
                </c:pt>
                <c:pt idx="17">
                  <c:v>0.8721600877192982</c:v>
                </c:pt>
                <c:pt idx="18">
                  <c:v>0.8784948122866894</c:v>
                </c:pt>
                <c:pt idx="19">
                  <c:v>1.046959771910639</c:v>
                </c:pt>
                <c:pt idx="20">
                  <c:v>0.9690919609316303</c:v>
                </c:pt>
                <c:pt idx="21">
                  <c:v>1.12860708045977</c:v>
                </c:pt>
                <c:pt idx="22">
                  <c:v>1.203366849725412</c:v>
                </c:pt>
                <c:pt idx="23">
                  <c:v>0.9453175250722422</c:v>
                </c:pt>
                <c:pt idx="24">
                  <c:v>0.8355458366713682</c:v>
                </c:pt>
                <c:pt idx="25">
                  <c:v>0.9372764487207523</c:v>
                </c:pt>
                <c:pt idx="26">
                  <c:v>0.9672760698689956</c:v>
                </c:pt>
                <c:pt idx="27">
                  <c:v>0.9416081412457087</c:v>
                </c:pt>
                <c:pt idx="28">
                  <c:v>1.0018580350460677</c:v>
                </c:pt>
                <c:pt idx="29">
                  <c:v>0.9003322990711047</c:v>
                </c:pt>
                <c:pt idx="30">
                  <c:v>0.9357880143683153</c:v>
                </c:pt>
                <c:pt idx="31">
                  <c:v>1.0228609781121751</c:v>
                </c:pt>
                <c:pt idx="32">
                  <c:v>1.029402056641942</c:v>
                </c:pt>
                <c:pt idx="33">
                  <c:v>1.191189633251834</c:v>
                </c:pt>
                <c:pt idx="34">
                  <c:v>1.3696958292568082</c:v>
                </c:pt>
                <c:pt idx="35">
                  <c:v>1.0356915345715807</c:v>
                </c:pt>
                <c:pt idx="36">
                  <c:v>1.072023406854929</c:v>
                </c:pt>
                <c:pt idx="37">
                  <c:v>1.0491325392853568</c:v>
                </c:pt>
                <c:pt idx="38">
                  <c:v>1.0331785588062046</c:v>
                </c:pt>
                <c:pt idx="39">
                  <c:v>1.0745009116525777</c:v>
                </c:pt>
                <c:pt idx="40">
                  <c:v>1.0350015092061575</c:v>
                </c:pt>
                <c:pt idx="41">
                  <c:v>1.10488809648694</c:v>
                </c:pt>
                <c:pt idx="42">
                  <c:v>1.069327469012395</c:v>
                </c:pt>
                <c:pt idx="43">
                  <c:v>1.008036968066514</c:v>
                </c:pt>
                <c:pt idx="44">
                  <c:v>1.0105642775782797</c:v>
                </c:pt>
                <c:pt idx="45">
                  <c:v>1.0085931131347923</c:v>
                </c:pt>
                <c:pt idx="46">
                  <c:v>0.9831414054698998</c:v>
                </c:pt>
                <c:pt idx="47">
                  <c:v>1.0351706020998501</c:v>
                </c:pt>
                <c:pt idx="48">
                  <c:v>0.9384962483829237</c:v>
                </c:pt>
                <c:pt idx="49">
                  <c:v>1.069502597174557</c:v>
                </c:pt>
                <c:pt idx="50">
                  <c:v>0.9689093811220569</c:v>
                </c:pt>
                <c:pt idx="51">
                  <c:v>0.9887559077410261</c:v>
                </c:pt>
              </c:numCache>
            </c:numRef>
          </c:xVal>
          <c:yVal>
            <c:numRef>
              <c:f>Sheet1!$B$109:$B$160</c:f>
              <c:numCache>
                <c:formatCode>General</c:formatCode>
                <c:ptCount val="52"/>
                <c:pt idx="0">
                  <c:v>0.7465337954939342</c:v>
                </c:pt>
                <c:pt idx="1">
                  <c:v>0.7580961727183513</c:v>
                </c:pt>
                <c:pt idx="2">
                  <c:v>0.7557384148982244</c:v>
                </c:pt>
                <c:pt idx="3">
                  <c:v>0.7440912795436023</c:v>
                </c:pt>
                <c:pt idx="4">
                  <c:v>0.7496496964035497</c:v>
                </c:pt>
                <c:pt idx="5">
                  <c:v>0.7437557816836263</c:v>
                </c:pt>
                <c:pt idx="6">
                  <c:v>0.7508944543828264</c:v>
                </c:pt>
                <c:pt idx="7">
                  <c:v>0.7197604790419162</c:v>
                </c:pt>
                <c:pt idx="8">
                  <c:v>0.6917047681254083</c:v>
                </c:pt>
                <c:pt idx="9">
                  <c:v>0.6973833902161547</c:v>
                </c:pt>
                <c:pt idx="10">
                  <c:v>0.7236180904522613</c:v>
                </c:pt>
                <c:pt idx="11">
                  <c:v>0.7229813664596273</c:v>
                </c:pt>
                <c:pt idx="12">
                  <c:v>0.7061300889096864</c:v>
                </c:pt>
                <c:pt idx="13">
                  <c:v>0.7092404450895017</c:v>
                </c:pt>
                <c:pt idx="14">
                  <c:v>0.7234513274336283</c:v>
                </c:pt>
                <c:pt idx="15">
                  <c:v>0.744807121661721</c:v>
                </c:pt>
                <c:pt idx="16">
                  <c:v>0.7610681658468025</c:v>
                </c:pt>
                <c:pt idx="17">
                  <c:v>0.7507507507507507</c:v>
                </c:pt>
                <c:pt idx="18">
                  <c:v>0.7560270009643202</c:v>
                </c:pt>
                <c:pt idx="19">
                  <c:v>0.7512437810945274</c:v>
                </c:pt>
                <c:pt idx="20">
                  <c:v>0.7651515151515151</c:v>
                </c:pt>
                <c:pt idx="21">
                  <c:v>0.7568157033805889</c:v>
                </c:pt>
                <c:pt idx="22">
                  <c:v>0.7347368421052631</c:v>
                </c:pt>
                <c:pt idx="23">
                  <c:v>0.7596685082872928</c:v>
                </c:pt>
                <c:pt idx="24">
                  <c:v>0.7763265306122449</c:v>
                </c:pt>
                <c:pt idx="25">
                  <c:v>0.7602441150828247</c:v>
                </c:pt>
                <c:pt idx="26">
                  <c:v>0.7484333034914951</c:v>
                </c:pt>
                <c:pt idx="27">
                  <c:v>0.7504288164665524</c:v>
                </c:pt>
                <c:pt idx="28">
                  <c:v>0.7552742616033755</c:v>
                </c:pt>
                <c:pt idx="29">
                  <c:v>0.7215568862275449</c:v>
                </c:pt>
                <c:pt idx="30">
                  <c:v>0.7234927234927235</c:v>
                </c:pt>
                <c:pt idx="31">
                  <c:v>0.7294398092967819</c:v>
                </c:pt>
                <c:pt idx="32">
                  <c:v>0.735593220338983</c:v>
                </c:pt>
                <c:pt idx="33">
                  <c:v>0.7043103448275863</c:v>
                </c:pt>
                <c:pt idx="34">
                  <c:v>0.6858858858858858</c:v>
                </c:pt>
                <c:pt idx="35">
                  <c:v>0.6654854712969526</c:v>
                </c:pt>
                <c:pt idx="36">
                  <c:v>0.6825396825396826</c:v>
                </c:pt>
                <c:pt idx="37">
                  <c:v>0.6880434782608695</c:v>
                </c:pt>
                <c:pt idx="38">
                  <c:v>0.7272727272727273</c:v>
                </c:pt>
                <c:pt idx="39">
                  <c:v>0.6937842778793418</c:v>
                </c:pt>
                <c:pt idx="40">
                  <c:v>0.7147918511957484</c:v>
                </c:pt>
                <c:pt idx="41">
                  <c:v>0.697171381031614</c:v>
                </c:pt>
                <c:pt idx="42">
                  <c:v>0.7184557438794726</c:v>
                </c:pt>
                <c:pt idx="43">
                  <c:v>0.7145938173975557</c:v>
                </c:pt>
                <c:pt idx="44">
                  <c:v>0.7332931968693558</c:v>
                </c:pt>
                <c:pt idx="45">
                  <c:v>0.7308497279196317</c:v>
                </c:pt>
                <c:pt idx="46">
                  <c:v>0.7221959299574066</c:v>
                </c:pt>
                <c:pt idx="47">
                  <c:v>0.712707182320442</c:v>
                </c:pt>
                <c:pt idx="48">
                  <c:v>0.7298433320596103</c:v>
                </c:pt>
                <c:pt idx="49">
                  <c:v>0.7255563047875927</c:v>
                </c:pt>
                <c:pt idx="50">
                  <c:v>0.7313534345953299</c:v>
                </c:pt>
                <c:pt idx="51">
                  <c:v>0.744297719087635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8257704032290684</c:v>
                </c:pt>
              </c:numCache>
            </c:numRef>
          </c:xVal>
          <c:yVal>
            <c:numRef>
              <c:f>Sheet1!$B$163:$B$164</c:f>
              <c:numCache>
                <c:formatCode>General</c:formatCode>
                <c:ptCount val="2"/>
                <c:pt idx="0">
                  <c:v>0.7497123161133705</c:v>
                </c:pt>
                <c:pt idx="1">
                  <c:v>0.749712316113370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8257704032290684</c:v>
                </c:pt>
                <c:pt idx="1">
                  <c:v>0.8257704032290684</c:v>
                </c:pt>
              </c:numCache>
            </c:numRef>
          </c:xVal>
          <c:yVal>
            <c:numRef>
              <c:f>Sheet1!$B$167:$B$168</c:f>
              <c:numCache>
                <c:formatCode>General</c:formatCode>
                <c:ptCount val="2"/>
                <c:pt idx="0">
                  <c:v>0.74971231611337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9139438381106244</c:v>
                </c:pt>
              </c:numCache>
            </c:numRef>
          </c:xVal>
          <c:yVal>
            <c:numRef>
              <c:f>Sheet1!$B$171:$B$172</c:f>
              <c:numCache>
                <c:formatCode>General</c:formatCode>
                <c:ptCount val="2"/>
                <c:pt idx="0">
                  <c:v>0.7400249824768266</c:v>
                </c:pt>
                <c:pt idx="1">
                  <c:v>0.740024982476826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9139438381106244</c:v>
                </c:pt>
                <c:pt idx="1">
                  <c:v>0.9139438381106244</c:v>
                </c:pt>
              </c:numCache>
            </c:numRef>
          </c:xVal>
          <c:yVal>
            <c:numRef>
              <c:f>Sheet1!$B$175:$B$176</c:f>
              <c:numCache>
                <c:formatCode>General</c:formatCode>
                <c:ptCount val="2"/>
                <c:pt idx="0">
                  <c:v>0.740024982476826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0899827816398548</c:v>
                </c:pt>
              </c:numCache>
            </c:numRef>
          </c:xVal>
          <c:yVal>
            <c:numRef>
              <c:f>Sheet1!$B$179:$B$180</c:f>
              <c:numCache>
                <c:formatCode>General</c:formatCode>
                <c:ptCount val="2"/>
                <c:pt idx="0">
                  <c:v>0.7206841460754413</c:v>
                </c:pt>
                <c:pt idx="1">
                  <c:v>0.720684146075441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0899827816398548</c:v>
                </c:pt>
                <c:pt idx="1">
                  <c:v>1.0899827816398548</c:v>
                </c:pt>
              </c:numCache>
            </c:numRef>
          </c:xVal>
          <c:yVal>
            <c:numRef>
              <c:f>Sheet1!$B$183:$B$184</c:f>
              <c:numCache>
                <c:formatCode>General</c:formatCode>
                <c:ptCount val="2"/>
                <c:pt idx="0">
                  <c:v>0.720684146075441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569106655974338</c:v>
                </c:pt>
                <c:pt idx="1">
                  <c:v>0.9231941221964425</c:v>
                </c:pt>
                <c:pt idx="2">
                  <c:v>1.0193382279325882</c:v>
                </c:pt>
                <c:pt idx="3">
                  <c:v>0.9446962796535864</c:v>
                </c:pt>
                <c:pt idx="4">
                  <c:v>1.1610686292548298</c:v>
                </c:pt>
                <c:pt idx="5">
                  <c:v>0.9688736866865295</c:v>
                </c:pt>
                <c:pt idx="6">
                  <c:v>0.8431885605690445</c:v>
                </c:pt>
                <c:pt idx="7">
                  <c:v>1.032957456140351</c:v>
                </c:pt>
                <c:pt idx="8">
                  <c:v>0.8724609435970202</c:v>
                </c:pt>
                <c:pt idx="9">
                  <c:v>1.2248707401245327</c:v>
                </c:pt>
                <c:pt idx="10">
                  <c:v>0.993859348914858</c:v>
                </c:pt>
                <c:pt idx="11">
                  <c:v>1.0043957695769579</c:v>
                </c:pt>
                <c:pt idx="12">
                  <c:v>0.8808377862689004</c:v>
                </c:pt>
                <c:pt idx="13">
                  <c:v>0.9684772209207957</c:v>
                </c:pt>
                <c:pt idx="14">
                  <c:v>1.0683586083853702</c:v>
                </c:pt>
                <c:pt idx="15">
                  <c:v>0.9436744241461478</c:v>
                </c:pt>
                <c:pt idx="16">
                  <c:v>0.9236922381311229</c:v>
                </c:pt>
                <c:pt idx="17">
                  <c:v>0.8721600877192982</c:v>
                </c:pt>
                <c:pt idx="18">
                  <c:v>0.8784948122866894</c:v>
                </c:pt>
                <c:pt idx="19">
                  <c:v>1.046959771910639</c:v>
                </c:pt>
                <c:pt idx="20">
                  <c:v>0.9690919609316303</c:v>
                </c:pt>
                <c:pt idx="21">
                  <c:v>1.12860708045977</c:v>
                </c:pt>
                <c:pt idx="22">
                  <c:v>1.203366849725412</c:v>
                </c:pt>
                <c:pt idx="23">
                  <c:v>0.9453175250722422</c:v>
                </c:pt>
                <c:pt idx="24">
                  <c:v>0.8355458366713682</c:v>
                </c:pt>
                <c:pt idx="25">
                  <c:v>0.9372764487207523</c:v>
                </c:pt>
                <c:pt idx="26">
                  <c:v>0.9672760698689956</c:v>
                </c:pt>
                <c:pt idx="27">
                  <c:v>0.9416081412457087</c:v>
                </c:pt>
                <c:pt idx="28">
                  <c:v>1.0018580350460677</c:v>
                </c:pt>
                <c:pt idx="29">
                  <c:v>0.9003322990711047</c:v>
                </c:pt>
                <c:pt idx="30">
                  <c:v>0.9357880143683153</c:v>
                </c:pt>
                <c:pt idx="31">
                  <c:v>1.0228609781121751</c:v>
                </c:pt>
                <c:pt idx="32">
                  <c:v>1.029402056641942</c:v>
                </c:pt>
                <c:pt idx="33">
                  <c:v>1.191189633251834</c:v>
                </c:pt>
                <c:pt idx="34">
                  <c:v>1.3696958292568082</c:v>
                </c:pt>
                <c:pt idx="35">
                  <c:v>1.0356915345715807</c:v>
                </c:pt>
                <c:pt idx="36">
                  <c:v>1.072023406854929</c:v>
                </c:pt>
                <c:pt idx="37">
                  <c:v>1.0491325392853568</c:v>
                </c:pt>
                <c:pt idx="38">
                  <c:v>1.0331785588062046</c:v>
                </c:pt>
                <c:pt idx="39">
                  <c:v>1.0745009116525777</c:v>
                </c:pt>
                <c:pt idx="40">
                  <c:v>1.0350015092061575</c:v>
                </c:pt>
                <c:pt idx="41">
                  <c:v>1.10488809648694</c:v>
                </c:pt>
                <c:pt idx="42">
                  <c:v>1.069327469012395</c:v>
                </c:pt>
                <c:pt idx="43">
                  <c:v>1.008036968066514</c:v>
                </c:pt>
                <c:pt idx="44">
                  <c:v>1.0105642775782797</c:v>
                </c:pt>
                <c:pt idx="45">
                  <c:v>1.0085931131347923</c:v>
                </c:pt>
                <c:pt idx="46">
                  <c:v>0.9831414054698998</c:v>
                </c:pt>
                <c:pt idx="47">
                  <c:v>1.0351706020998501</c:v>
                </c:pt>
                <c:pt idx="48">
                  <c:v>0.9384962483829237</c:v>
                </c:pt>
                <c:pt idx="49">
                  <c:v>1.069502597174557</c:v>
                </c:pt>
                <c:pt idx="50">
                  <c:v>0.9689093811220569</c:v>
                </c:pt>
                <c:pt idx="51">
                  <c:v>0.9887559077410261</c:v>
                </c:pt>
                <c:pt idx="52">
                  <c:v>0.9139438381106244</c:v>
                </c:pt>
                <c:pt idx="53">
                  <c:v>0.8257704032290684</c:v>
                </c:pt>
                <c:pt idx="54">
                  <c:v>1.0899827816398548</c:v>
                </c:pt>
              </c:numCache>
            </c:numRef>
          </c:xVal>
          <c:yVal>
            <c:numRef>
              <c:f>Sheet1!$B$187:$B$241</c:f>
              <c:numCache>
                <c:formatCode>General</c:formatCode>
                <c:ptCount val="55"/>
                <c:pt idx="0">
                  <c:v>0.7353043543905138</c:v>
                </c:pt>
                <c:pt idx="1">
                  <c:v>0.7390086833126565</c:v>
                </c:pt>
                <c:pt idx="2">
                  <c:v>0.7284456375301673</c:v>
                </c:pt>
                <c:pt idx="3">
                  <c:v>0.7366463099575449</c:v>
                </c:pt>
                <c:pt idx="4">
                  <c:v>0.7128741710687079</c:v>
                </c:pt>
                <c:pt idx="5">
                  <c:v>0.7339900154771352</c:v>
                </c:pt>
                <c:pt idx="6">
                  <c:v>0.7477986388055416</c:v>
                </c:pt>
                <c:pt idx="7">
                  <c:v>0.7269493364311111</c:v>
                </c:pt>
                <c:pt idx="8">
                  <c:v>0.7445825755875255</c:v>
                </c:pt>
                <c:pt idx="9">
                  <c:v>0.7058644369516143</c:v>
                </c:pt>
                <c:pt idx="10">
                  <c:v>0.7312449205802316</c:v>
                </c:pt>
                <c:pt idx="11">
                  <c:v>0.7300873176987532</c:v>
                </c:pt>
                <c:pt idx="12">
                  <c:v>0.7436622386414561</c:v>
                </c:pt>
                <c:pt idx="13">
                  <c:v>0.7340335739043791</c:v>
                </c:pt>
                <c:pt idx="14">
                  <c:v>0.7230599249164495</c:v>
                </c:pt>
                <c:pt idx="15">
                  <c:v>0.7367585779580168</c:v>
                </c:pt>
                <c:pt idx="16">
                  <c:v>0.7389539569060533</c:v>
                </c:pt>
                <c:pt idx="17">
                  <c:v>0.7446156296617819</c:v>
                </c:pt>
                <c:pt idx="18">
                  <c:v>0.7439196537086803</c:v>
                </c:pt>
                <c:pt idx="19">
                  <c:v>0.7254109467252634</c:v>
                </c:pt>
                <c:pt idx="20">
                  <c:v>0.7339660343830631</c:v>
                </c:pt>
                <c:pt idx="21">
                  <c:v>0.7164406177423475</c:v>
                </c:pt>
                <c:pt idx="22">
                  <c:v>0.7082270006995253</c:v>
                </c:pt>
                <c:pt idx="23">
                  <c:v>0.736578055707852</c:v>
                </c:pt>
                <c:pt idx="24">
                  <c:v>0.7486383204668973</c:v>
                </c:pt>
                <c:pt idx="25">
                  <c:v>0.737461503080844</c:v>
                </c:pt>
                <c:pt idx="26">
                  <c:v>0.7341655405335832</c:v>
                </c:pt>
                <c:pt idx="27">
                  <c:v>0.7369855938599257</c:v>
                </c:pt>
                <c:pt idx="28">
                  <c:v>0.7303661304853339</c:v>
                </c:pt>
                <c:pt idx="29">
                  <c:v>0.7415204387915295</c:v>
                </c:pt>
                <c:pt idx="30">
                  <c:v>0.7376250326086153</c:v>
                </c:pt>
                <c:pt idx="31">
                  <c:v>0.7280586042207166</c:v>
                </c:pt>
                <c:pt idx="32">
                  <c:v>0.7273399568169286</c:v>
                </c:pt>
                <c:pt idx="33">
                  <c:v>0.709564872575589</c:v>
                </c:pt>
                <c:pt idx="34">
                  <c:v>0.6899529670258799</c:v>
                </c:pt>
                <c:pt idx="35">
                  <c:v>0.7266489519673849</c:v>
                </c:pt>
                <c:pt idx="36">
                  <c:v>0.7226572852151268</c:v>
                </c:pt>
                <c:pt idx="37">
                  <c:v>0.7251722317143108</c:v>
                </c:pt>
                <c:pt idx="38">
                  <c:v>0.7269250445874859</c:v>
                </c:pt>
                <c:pt idx="39">
                  <c:v>0.7223850896769446</c:v>
                </c:pt>
                <c:pt idx="40">
                  <c:v>0.7267247628501242</c:v>
                </c:pt>
                <c:pt idx="41">
                  <c:v>0.7190465467454911</c:v>
                </c:pt>
                <c:pt idx="42">
                  <c:v>0.7229534792942063</c:v>
                </c:pt>
                <c:pt idx="43">
                  <c:v>0.7296872708518476</c:v>
                </c:pt>
                <c:pt idx="44">
                  <c:v>0.7294096034288173</c:v>
                </c:pt>
                <c:pt idx="45">
                  <c:v>0.7296261689696995</c:v>
                </c:pt>
                <c:pt idx="46">
                  <c:v>0.7324224667900214</c:v>
                </c:pt>
                <c:pt idx="47">
                  <c:v>0.7267061851540305</c:v>
                </c:pt>
                <c:pt idx="48">
                  <c:v>0.737327487588388</c:v>
                </c:pt>
                <c:pt idx="49">
                  <c:v>0.7229342385224443</c:v>
                </c:pt>
                <c:pt idx="50">
                  <c:v>0.7339860938435231</c:v>
                </c:pt>
                <c:pt idx="51">
                  <c:v>0.7318056193599922</c:v>
                </c:pt>
                <c:pt idx="52">
                  <c:v>0.7400249824768266</c:v>
                </c:pt>
                <c:pt idx="53">
                  <c:v>0.7497123161133705</c:v>
                </c:pt>
                <c:pt idx="54">
                  <c:v>0.720684146075441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453197405004634"/>
          <c:min val="0.52465960665658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65.797</c:v>
                </c:pt>
                <c:pt idx="1">
                  <c:v>861.2014</c:v>
                </c:pt>
                <c:pt idx="2">
                  <c:v>886.8041</c:v>
                </c:pt>
                <c:pt idx="3">
                  <c:v>899.6832</c:v>
                </c:pt>
                <c:pt idx="4">
                  <c:v>906.4941</c:v>
                </c:pt>
                <c:pt idx="5">
                  <c:v>876.7104</c:v>
                </c:pt>
                <c:pt idx="6">
                  <c:v>836.2083</c:v>
                </c:pt>
                <c:pt idx="7">
                  <c:v>853.1541</c:v>
                </c:pt>
                <c:pt idx="8">
                  <c:v>863.8017</c:v>
                </c:pt>
                <c:pt idx="9">
                  <c:v>828.0084</c:v>
                </c:pt>
                <c:pt idx="10">
                  <c:v>822.2748</c:v>
                </c:pt>
                <c:pt idx="11">
                  <c:v>870.7232</c:v>
                </c:pt>
                <c:pt idx="12">
                  <c:v>877.5342</c:v>
                </c:pt>
                <c:pt idx="13">
                  <c:v>899.2149</c:v>
                </c:pt>
                <c:pt idx="14">
                  <c:v>932.008</c:v>
                </c:pt>
                <c:pt idx="15">
                  <c:v>936.3333</c:v>
                </c:pt>
                <c:pt idx="16">
                  <c:v>954.7591</c:v>
                </c:pt>
                <c:pt idx="17">
                  <c:v>974.7006</c:v>
                </c:pt>
                <c:pt idx="18">
                  <c:v>1000.4282</c:v>
                </c:pt>
                <c:pt idx="19">
                  <c:v>1034.4318</c:v>
                </c:pt>
                <c:pt idx="20">
                  <c:v>1053.6482</c:v>
                </c:pt>
                <c:pt idx="21">
                  <c:v>1067.2022</c:v>
                </c:pt>
                <c:pt idx="22">
                  <c:v>1069.6151</c:v>
                </c:pt>
                <c:pt idx="23">
                  <c:v>1046.9066</c:v>
                </c:pt>
                <c:pt idx="24">
                  <c:v>1042.0543</c:v>
                </c:pt>
                <c:pt idx="25">
                  <c:v>1030.1548</c:v>
                </c:pt>
                <c:pt idx="26">
                  <c:v>1016.5059</c:v>
                </c:pt>
                <c:pt idx="27">
                  <c:v>1008.0788</c:v>
                </c:pt>
                <c:pt idx="28">
                  <c:v>1006.9545</c:v>
                </c:pt>
                <c:pt idx="29">
                  <c:v>1021.6605</c:v>
                </c:pt>
                <c:pt idx="30">
                  <c:v>1023.6299</c:v>
                </c:pt>
                <c:pt idx="31">
                  <c:v>1008.5169</c:v>
                </c:pt>
                <c:pt idx="32">
                  <c:v>1015.0929</c:v>
                </c:pt>
                <c:pt idx="33">
                  <c:v>985.7105</c:v>
                </c:pt>
                <c:pt idx="34">
                  <c:v>970.3052</c:v>
                </c:pt>
                <c:pt idx="35">
                  <c:v>1003.2197</c:v>
                </c:pt>
                <c:pt idx="36">
                  <c:v>1044.0178</c:v>
                </c:pt>
                <c:pt idx="37">
                  <c:v>1036.4186</c:v>
                </c:pt>
                <c:pt idx="38">
                  <c:v>1113.186</c:v>
                </c:pt>
                <c:pt idx="39">
                  <c:v>1146.9564</c:v>
                </c:pt>
                <c:pt idx="40">
                  <c:v>1146.5745</c:v>
                </c:pt>
                <c:pt idx="41">
                  <c:v>1162.2638</c:v>
                </c:pt>
                <c:pt idx="42">
                  <c:v>1171.2306</c:v>
                </c:pt>
                <c:pt idx="43">
                  <c:v>1186.5067</c:v>
                </c:pt>
                <c:pt idx="44">
                  <c:v>1094.0235</c:v>
                </c:pt>
                <c:pt idx="45">
                  <c:v>1047.9487</c:v>
                </c:pt>
                <c:pt idx="46">
                  <c:v>1060.8215</c:v>
                </c:pt>
                <c:pt idx="47">
                  <c:v>1049.2405</c:v>
                </c:pt>
                <c:pt idx="48">
                  <c:v>1036.6927</c:v>
                </c:pt>
                <c:pt idx="49">
                  <c:v>989.1774</c:v>
                </c:pt>
                <c:pt idx="50">
                  <c:v>979.4914</c:v>
                </c:pt>
                <c:pt idx="51">
                  <c:v>989.6944</c:v>
                </c:pt>
                <c:pt idx="52">
                  <c:v>982.4886</c:v>
                </c:pt>
                <c:pt idx="53">
                  <c:v>1122.1646</c:v>
                </c:pt>
                <c:pt idx="54">
                  <c:v>1115.4197</c:v>
                </c:pt>
                <c:pt idx="55">
                  <c:v>1118.73</c:v>
                </c:pt>
                <c:pt idx="56">
                  <c:v>1145.9016</c:v>
                </c:pt>
                <c:pt idx="57">
                  <c:v>1111.3773</c:v>
                </c:pt>
                <c:pt idx="58">
                  <c:v>1081.425</c:v>
                </c:pt>
                <c:pt idx="59">
                  <c:v>1064.6017</c:v>
                </c:pt>
                <c:pt idx="60">
                  <c:v>1077.4385</c:v>
                </c:pt>
                <c:pt idx="61">
                  <c:v>1077.2591</c:v>
                </c:pt>
                <c:pt idx="62">
                  <c:v>1017.6647</c:v>
                </c:pt>
                <c:pt idx="63">
                  <c:v>1041.8419</c:v>
                </c:pt>
                <c:pt idx="64">
                  <c:v>1058.9508</c:v>
                </c:pt>
                <c:pt idx="65">
                  <c:v>1047.1033</c:v>
                </c:pt>
                <c:pt idx="66">
                  <c:v>1069.6054</c:v>
                </c:pt>
                <c:pt idx="67">
                  <c:v>1106.2255</c:v>
                </c:pt>
                <c:pt idx="68">
                  <c:v>1136.8466</c:v>
                </c:pt>
                <c:pt idx="69">
                  <c:v>1162.7917</c:v>
                </c:pt>
                <c:pt idx="70">
                  <c:v>1135.6935</c:v>
                </c:pt>
                <c:pt idx="71">
                  <c:v>1185.4842</c:v>
                </c:pt>
                <c:pt idx="72">
                  <c:v>1263.4444</c:v>
                </c:pt>
                <c:pt idx="73">
                  <c:v>1249.2543</c:v>
                </c:pt>
                <c:pt idx="74">
                  <c:v>1233.5054</c:v>
                </c:pt>
                <c:pt idx="75">
                  <c:v>1191.6937</c:v>
                </c:pt>
                <c:pt idx="76">
                  <c:v>1162.1181</c:v>
                </c:pt>
                <c:pt idx="77">
                  <c:v>1180.0431</c:v>
                </c:pt>
                <c:pt idx="78">
                  <c:v>1223.5622</c:v>
                </c:pt>
                <c:pt idx="79">
                  <c:v>1176.5566</c:v>
                </c:pt>
                <c:pt idx="80">
                  <c:v>1200.4643</c:v>
                </c:pt>
                <c:pt idx="81">
                  <c:v>1182.5401</c:v>
                </c:pt>
                <c:pt idx="82">
                  <c:v>1180.1152</c:v>
                </c:pt>
                <c:pt idx="83">
                  <c:v>1173.7324</c:v>
                </c:pt>
                <c:pt idx="84">
                  <c:v>1180.4061</c:v>
                </c:pt>
                <c:pt idx="85">
                  <c:v>1148.4009</c:v>
                </c:pt>
                <c:pt idx="86">
                  <c:v>1147.447</c:v>
                </c:pt>
                <c:pt idx="87">
                  <c:v>1153.3737</c:v>
                </c:pt>
                <c:pt idx="88">
                  <c:v>1194.6248</c:v>
                </c:pt>
                <c:pt idx="89">
                  <c:v>1165.9242</c:v>
                </c:pt>
                <c:pt idx="90">
                  <c:v>1244.1397</c:v>
                </c:pt>
                <c:pt idx="91">
                  <c:v>1244.7173</c:v>
                </c:pt>
                <c:pt idx="92">
                  <c:v>1239.5649</c:v>
                </c:pt>
                <c:pt idx="93">
                  <c:v>1257.4626</c:v>
                </c:pt>
                <c:pt idx="94">
                  <c:v>1270.066</c:v>
                </c:pt>
                <c:pt idx="95">
                  <c:v>1244.7392</c:v>
                </c:pt>
                <c:pt idx="96">
                  <c:v>1155.2259</c:v>
                </c:pt>
                <c:pt idx="97">
                  <c:v>1140.026</c:v>
                </c:pt>
                <c:pt idx="98">
                  <c:v>1131.023</c:v>
                </c:pt>
                <c:pt idx="99">
                  <c:v>1085.5585</c:v>
                </c:pt>
                <c:pt idx="100">
                  <c:v>1063.6507</c:v>
                </c:pt>
                <c:pt idx="101">
                  <c:v>1112.7566</c:v>
                </c:pt>
                <c:pt idx="102">
                  <c:v>1137.3044</c:v>
                </c:pt>
                <c:pt idx="103">
                  <c:v>1103.8001</c:v>
                </c:pt>
                <c:pt idx="104">
                  <c:v>1141.8146</c:v>
                </c:pt>
              </c:numCache>
            </c:numRef>
          </c:xVal>
          <c:yVal>
            <c:numRef>
              <c:f>Sheet1!$B$2:$B$106</c:f>
              <c:numCache>
                <c:formatCode>General</c:formatCode>
                <c:ptCount val="105"/>
                <c:pt idx="0">
                  <c:v>0.7320016645859343</c:v>
                </c:pt>
                <c:pt idx="1">
                  <c:v>0.7154811715481172</c:v>
                </c:pt>
                <c:pt idx="2">
                  <c:v>0.7248677248677249</c:v>
                </c:pt>
                <c:pt idx="3">
                  <c:v>0.7189896256202075</c:v>
                </c:pt>
                <c:pt idx="4">
                  <c:v>0.7121588089330024</c:v>
                </c:pt>
                <c:pt idx="5">
                  <c:v>0.7191930207197382</c:v>
                </c:pt>
                <c:pt idx="6">
                  <c:v>0.7173626373626374</c:v>
                </c:pt>
                <c:pt idx="7">
                  <c:v>0.7147208121827411</c:v>
                </c:pt>
                <c:pt idx="8">
                  <c:v>0.7250274423710209</c:v>
                </c:pt>
                <c:pt idx="9">
                  <c:v>0.7653528872593951</c:v>
                </c:pt>
                <c:pt idx="10">
                  <c:v>0.7516810758885687</c:v>
                </c:pt>
                <c:pt idx="11">
                  <c:v>0.7371396269078575</c:v>
                </c:pt>
                <c:pt idx="12">
                  <c:v>0.7237479806138933</c:v>
                </c:pt>
                <c:pt idx="13">
                  <c:v>0.7114649681528662</c:v>
                </c:pt>
                <c:pt idx="14">
                  <c:v>0.7378497790868925</c:v>
                </c:pt>
                <c:pt idx="15">
                  <c:v>0.7388235294117647</c:v>
                </c:pt>
                <c:pt idx="16">
                  <c:v>0.7402597402597403</c:v>
                </c:pt>
                <c:pt idx="17">
                  <c:v>0.731404958677686</c:v>
                </c:pt>
                <c:pt idx="18">
                  <c:v>0.7717391304347826</c:v>
                </c:pt>
                <c:pt idx="19">
                  <c:v>0.7691358024691358</c:v>
                </c:pt>
                <c:pt idx="20">
                  <c:v>0.7877664504170528</c:v>
                </c:pt>
                <c:pt idx="21">
                  <c:v>0.7798941798941799</c:v>
                </c:pt>
                <c:pt idx="22">
                  <c:v>0.7327677624602333</c:v>
                </c:pt>
                <c:pt idx="23">
                  <c:v>0.7279489904357067</c:v>
                </c:pt>
                <c:pt idx="24">
                  <c:v>0.6779981114258735</c:v>
                </c:pt>
                <c:pt idx="25">
                  <c:v>0.6916488222698073</c:v>
                </c:pt>
                <c:pt idx="26">
                  <c:v>0.6830357142857143</c:v>
                </c:pt>
                <c:pt idx="27">
                  <c:v>0.6938421509106678</c:v>
                </c:pt>
                <c:pt idx="28">
                  <c:v>0.7115902964959568</c:v>
                </c:pt>
                <c:pt idx="29">
                  <c:v>0.6762325239146432</c:v>
                </c:pt>
                <c:pt idx="30">
                  <c:v>0.7110047846889952</c:v>
                </c:pt>
                <c:pt idx="31">
                  <c:v>0.6926070038910506</c:v>
                </c:pt>
                <c:pt idx="32">
                  <c:v>0.6719478098788444</c:v>
                </c:pt>
                <c:pt idx="33">
                  <c:v>0.6558245083207261</c:v>
                </c:pt>
                <c:pt idx="34">
                  <c:v>0.6696658097686375</c:v>
                </c:pt>
                <c:pt idx="35">
                  <c:v>0.6993833504624871</c:v>
                </c:pt>
                <c:pt idx="36">
                  <c:v>0.7090653548840478</c:v>
                </c:pt>
                <c:pt idx="37">
                  <c:v>0.6941081517352704</c:v>
                </c:pt>
                <c:pt idx="38">
                  <c:v>0.7246653919694073</c:v>
                </c:pt>
                <c:pt idx="39">
                  <c:v>0.7174571140262361</c:v>
                </c:pt>
                <c:pt idx="40">
                  <c:v>0.7091366303436715</c:v>
                </c:pt>
                <c:pt idx="41">
                  <c:v>0.7001934235976789</c:v>
                </c:pt>
                <c:pt idx="42">
                  <c:v>0.672289156626506</c:v>
                </c:pt>
                <c:pt idx="43">
                  <c:v>0.6969914040114613</c:v>
                </c:pt>
                <c:pt idx="44">
                  <c:v>0.7118238391574916</c:v>
                </c:pt>
                <c:pt idx="45">
                  <c:v>0.7229676400947119</c:v>
                </c:pt>
                <c:pt idx="46">
                  <c:v>0.7020046260601388</c:v>
                </c:pt>
                <c:pt idx="47">
                  <c:v>0.6971473231731145</c:v>
                </c:pt>
                <c:pt idx="48">
                  <c:v>0.701195219123506</c:v>
                </c:pt>
                <c:pt idx="49">
                  <c:v>0.7281672816728167</c:v>
                </c:pt>
                <c:pt idx="50">
                  <c:v>0.7270900321543409</c:v>
                </c:pt>
                <c:pt idx="51">
                  <c:v>0.7200208550573514</c:v>
                </c:pt>
                <c:pt idx="52">
                  <c:v>0.7229437229437229</c:v>
                </c:pt>
                <c:pt idx="53">
                  <c:v>0.7142857142857143</c:v>
                </c:pt>
                <c:pt idx="54">
                  <c:v>0.7353115727002968</c:v>
                </c:pt>
                <c:pt idx="55">
                  <c:v>0.7319526627218935</c:v>
                </c:pt>
                <c:pt idx="56">
                  <c:v>0.7052941176470588</c:v>
                </c:pt>
                <c:pt idx="57">
                  <c:v>0.7101593625498008</c:v>
                </c:pt>
                <c:pt idx="58">
                  <c:v>0.6999573196756296</c:v>
                </c:pt>
                <c:pt idx="59">
                  <c:v>0.7222222222222222</c:v>
                </c:pt>
                <c:pt idx="60">
                  <c:v>0.7192364170337738</c:v>
                </c:pt>
                <c:pt idx="61">
                  <c:v>0.7095435684647303</c:v>
                </c:pt>
                <c:pt idx="62">
                  <c:v>0.7135050741608119</c:v>
                </c:pt>
                <c:pt idx="63">
                  <c:v>0.6997587038952086</c:v>
                </c:pt>
                <c:pt idx="64">
                  <c:v>0.6932559825960841</c:v>
                </c:pt>
                <c:pt idx="65">
                  <c:v>0.7099494097807757</c:v>
                </c:pt>
                <c:pt idx="66">
                  <c:v>0.7415540540540541</c:v>
                </c:pt>
                <c:pt idx="67">
                  <c:v>0.7139608913142338</c:v>
                </c:pt>
                <c:pt idx="68">
                  <c:v>0.7208307880268784</c:v>
                </c:pt>
                <c:pt idx="69">
                  <c:v>0.7254264825345248</c:v>
                </c:pt>
                <c:pt idx="70">
                  <c:v>0.7372947615324472</c:v>
                </c:pt>
                <c:pt idx="71">
                  <c:v>0.7447346251053075</c:v>
                </c:pt>
                <c:pt idx="72">
                  <c:v>0.7430555555555556</c:v>
                </c:pt>
                <c:pt idx="73">
                  <c:v>0.7481781376518218</c:v>
                </c:pt>
                <c:pt idx="74">
                  <c:v>0.7532679738562091</c:v>
                </c:pt>
                <c:pt idx="75">
                  <c:v>0.7620751341681574</c:v>
                </c:pt>
                <c:pt idx="76">
                  <c:v>0.7524932003626473</c:v>
                </c:pt>
                <c:pt idx="77">
                  <c:v>0.7612704918032787</c:v>
                </c:pt>
                <c:pt idx="78">
                  <c:v>0.721081081081081</c:v>
                </c:pt>
                <c:pt idx="79">
                  <c:v>0.7463917525773196</c:v>
                </c:pt>
                <c:pt idx="80">
                  <c:v>0.7440166493236212</c:v>
                </c:pt>
                <c:pt idx="81">
                  <c:v>0.7635893011216566</c:v>
                </c:pt>
                <c:pt idx="82">
                  <c:v>0.7279569892473118</c:v>
                </c:pt>
                <c:pt idx="83">
                  <c:v>0.7342569269521411</c:v>
                </c:pt>
                <c:pt idx="84">
                  <c:v>0.7288557213930348</c:v>
                </c:pt>
                <c:pt idx="85">
                  <c:v>0.762119503945885</c:v>
                </c:pt>
                <c:pt idx="86">
                  <c:v>0.7480190174326465</c:v>
                </c:pt>
                <c:pt idx="87">
                  <c:v>0.7244475138121547</c:v>
                </c:pt>
                <c:pt idx="88">
                  <c:v>0.7415026833631485</c:v>
                </c:pt>
                <c:pt idx="89">
                  <c:v>0.7502634351949421</c:v>
                </c:pt>
                <c:pt idx="90">
                  <c:v>0.7415599534342259</c:v>
                </c:pt>
                <c:pt idx="91">
                  <c:v>0.7390791027154664</c:v>
                </c:pt>
                <c:pt idx="92">
                  <c:v>0.7349397590361446</c:v>
                </c:pt>
                <c:pt idx="93">
                  <c:v>0.7300094073377235</c:v>
                </c:pt>
                <c:pt idx="94">
                  <c:v>0.7155511811023622</c:v>
                </c:pt>
                <c:pt idx="95">
                  <c:v>0.7190311418685121</c:v>
                </c:pt>
                <c:pt idx="96">
                  <c:v>0.7351267459906881</c:v>
                </c:pt>
                <c:pt idx="97">
                  <c:v>0.7297520661157024</c:v>
                </c:pt>
                <c:pt idx="98">
                  <c:v>0.73229939312205</c:v>
                </c:pt>
                <c:pt idx="99">
                  <c:v>0.7319676860934795</c:v>
                </c:pt>
                <c:pt idx="100">
                  <c:v>0.7370614035087719</c:v>
                </c:pt>
                <c:pt idx="101">
                  <c:v>0.7347013558079882</c:v>
                </c:pt>
                <c:pt idx="102">
                  <c:v>0.7231781376518218</c:v>
                </c:pt>
                <c:pt idx="103">
                  <c:v>0.7252604166666666</c:v>
                </c:pt>
                <c:pt idx="104">
                  <c:v>0.712755102040816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93.2676</c:v>
                </c:pt>
                <c:pt idx="1">
                  <c:v>1193.69</c:v>
                </c:pt>
                <c:pt idx="2">
                  <c:v>1221.7788</c:v>
                </c:pt>
                <c:pt idx="3">
                  <c:v>1226.8456</c:v>
                </c:pt>
                <c:pt idx="4">
                  <c:v>1262.0816</c:v>
                </c:pt>
                <c:pt idx="5">
                  <c:v>1235.7015</c:v>
                </c:pt>
                <c:pt idx="6">
                  <c:v>1145.3311</c:v>
                </c:pt>
                <c:pt idx="7">
                  <c:v>1177.5715</c:v>
                </c:pt>
                <c:pt idx="8">
                  <c:v>1229.7337</c:v>
                </c:pt>
                <c:pt idx="9">
                  <c:v>1157.0946</c:v>
                </c:pt>
                <c:pt idx="10">
                  <c:v>1190.6435</c:v>
                </c:pt>
                <c:pt idx="11">
                  <c:v>1115.8837</c:v>
                </c:pt>
                <c:pt idx="12">
                  <c:v>1131.6249</c:v>
                </c:pt>
                <c:pt idx="13">
                  <c:v>1160.6508</c:v>
                </c:pt>
                <c:pt idx="14">
                  <c:v>1197.63</c:v>
                </c:pt>
                <c:pt idx="15">
                  <c:v>1188.0861</c:v>
                </c:pt>
                <c:pt idx="16">
                  <c:v>1225.7396</c:v>
                </c:pt>
                <c:pt idx="17">
                  <c:v>1193.115</c:v>
                </c:pt>
                <c:pt idx="18">
                  <c:v>1286.9949</c:v>
                </c:pt>
                <c:pt idx="19">
                  <c:v>1340.3179</c:v>
                </c:pt>
                <c:pt idx="20">
                  <c:v>1289.8614</c:v>
                </c:pt>
                <c:pt idx="21">
                  <c:v>1227.3602</c:v>
                </c:pt>
                <c:pt idx="22">
                  <c:v>1205.1719</c:v>
                </c:pt>
                <c:pt idx="23">
                  <c:v>1112.2606</c:v>
                </c:pt>
                <c:pt idx="24">
                  <c:v>1061.4217</c:v>
                </c:pt>
                <c:pt idx="25">
                  <c:v>1071.5413</c:v>
                </c:pt>
                <c:pt idx="26">
                  <c:v>1107.5311</c:v>
                </c:pt>
                <c:pt idx="27">
                  <c:v>1151.9634</c:v>
                </c:pt>
                <c:pt idx="28">
                  <c:v>1208.4078</c:v>
                </c:pt>
                <c:pt idx="29">
                  <c:v>1206.1452</c:v>
                </c:pt>
                <c:pt idx="30">
                  <c:v>1213.4497</c:v>
                </c:pt>
                <c:pt idx="31">
                  <c:v>1196.3382</c:v>
                </c:pt>
                <c:pt idx="32">
                  <c:v>1221.2826</c:v>
                </c:pt>
                <c:pt idx="33">
                  <c:v>1217.9914</c:v>
                </c:pt>
                <c:pt idx="34">
                  <c:v>1249.0648</c:v>
                </c:pt>
                <c:pt idx="35">
                  <c:v>1272.5197</c:v>
                </c:pt>
                <c:pt idx="36">
                  <c:v>1282.4973</c:v>
                </c:pt>
                <c:pt idx="37">
                  <c:v>1310.2354</c:v>
                </c:pt>
                <c:pt idx="38">
                  <c:v>1315.4946</c:v>
                </c:pt>
                <c:pt idx="39">
                  <c:v>1296.4928</c:v>
                </c:pt>
                <c:pt idx="40">
                  <c:v>1285.86</c:v>
                </c:pt>
                <c:pt idx="41">
                  <c:v>1337.8353</c:v>
                </c:pt>
                <c:pt idx="42">
                  <c:v>1337.194</c:v>
                </c:pt>
                <c:pt idx="43">
                  <c:v>1339.5895</c:v>
                </c:pt>
                <c:pt idx="44">
                  <c:v>1278.908</c:v>
                </c:pt>
                <c:pt idx="45">
                  <c:v>1229.0871</c:v>
                </c:pt>
                <c:pt idx="46">
                  <c:v>1221.483</c:v>
                </c:pt>
                <c:pt idx="47">
                  <c:v>1207.7853</c:v>
                </c:pt>
                <c:pt idx="48">
                  <c:v>1178.8686</c:v>
                </c:pt>
                <c:pt idx="49">
                  <c:v>1176.1473</c:v>
                </c:pt>
                <c:pt idx="50">
                  <c:v>1131.5477</c:v>
                </c:pt>
                <c:pt idx="51">
                  <c:v>1118.9892</c:v>
                </c:pt>
              </c:numCache>
            </c:numRef>
          </c:xVal>
          <c:yVal>
            <c:numRef>
              <c:f>Sheet1!$B$109:$B$160</c:f>
              <c:numCache>
                <c:formatCode>General</c:formatCode>
                <c:ptCount val="52"/>
                <c:pt idx="0">
                  <c:v>0.7465337954939342</c:v>
                </c:pt>
                <c:pt idx="1">
                  <c:v>0.7580961727183513</c:v>
                </c:pt>
                <c:pt idx="2">
                  <c:v>0.7557384148982244</c:v>
                </c:pt>
                <c:pt idx="3">
                  <c:v>0.7440912795436023</c:v>
                </c:pt>
                <c:pt idx="4">
                  <c:v>0.7496496964035497</c:v>
                </c:pt>
                <c:pt idx="5">
                  <c:v>0.7437557816836263</c:v>
                </c:pt>
                <c:pt idx="6">
                  <c:v>0.7508944543828264</c:v>
                </c:pt>
                <c:pt idx="7">
                  <c:v>0.7197604790419162</c:v>
                </c:pt>
                <c:pt idx="8">
                  <c:v>0.6917047681254083</c:v>
                </c:pt>
                <c:pt idx="9">
                  <c:v>0.6973833902161547</c:v>
                </c:pt>
                <c:pt idx="10">
                  <c:v>0.7236180904522613</c:v>
                </c:pt>
                <c:pt idx="11">
                  <c:v>0.7229813664596273</c:v>
                </c:pt>
                <c:pt idx="12">
                  <c:v>0.7061300889096864</c:v>
                </c:pt>
                <c:pt idx="13">
                  <c:v>0.7092404450895017</c:v>
                </c:pt>
                <c:pt idx="14">
                  <c:v>0.7234513274336283</c:v>
                </c:pt>
                <c:pt idx="15">
                  <c:v>0.744807121661721</c:v>
                </c:pt>
                <c:pt idx="16">
                  <c:v>0.7610681658468025</c:v>
                </c:pt>
                <c:pt idx="17">
                  <c:v>0.7507507507507507</c:v>
                </c:pt>
                <c:pt idx="18">
                  <c:v>0.7560270009643202</c:v>
                </c:pt>
                <c:pt idx="19">
                  <c:v>0.7512437810945274</c:v>
                </c:pt>
                <c:pt idx="20">
                  <c:v>0.7651515151515151</c:v>
                </c:pt>
                <c:pt idx="21">
                  <c:v>0.7568157033805889</c:v>
                </c:pt>
                <c:pt idx="22">
                  <c:v>0.7347368421052631</c:v>
                </c:pt>
                <c:pt idx="23">
                  <c:v>0.7596685082872928</c:v>
                </c:pt>
                <c:pt idx="24">
                  <c:v>0.7763265306122449</c:v>
                </c:pt>
                <c:pt idx="25">
                  <c:v>0.7602441150828247</c:v>
                </c:pt>
                <c:pt idx="26">
                  <c:v>0.7484333034914951</c:v>
                </c:pt>
                <c:pt idx="27">
                  <c:v>0.7504288164665524</c:v>
                </c:pt>
                <c:pt idx="28">
                  <c:v>0.7552742616033755</c:v>
                </c:pt>
                <c:pt idx="29">
                  <c:v>0.7215568862275449</c:v>
                </c:pt>
                <c:pt idx="30">
                  <c:v>0.7234927234927235</c:v>
                </c:pt>
                <c:pt idx="31">
                  <c:v>0.7294398092967819</c:v>
                </c:pt>
                <c:pt idx="32">
                  <c:v>0.735593220338983</c:v>
                </c:pt>
                <c:pt idx="33">
                  <c:v>0.7043103448275863</c:v>
                </c:pt>
                <c:pt idx="34">
                  <c:v>0.6858858858858858</c:v>
                </c:pt>
                <c:pt idx="35">
                  <c:v>0.6654854712969526</c:v>
                </c:pt>
                <c:pt idx="36">
                  <c:v>0.6825396825396826</c:v>
                </c:pt>
                <c:pt idx="37">
                  <c:v>0.6880434782608695</c:v>
                </c:pt>
                <c:pt idx="38">
                  <c:v>0.7272727272727273</c:v>
                </c:pt>
                <c:pt idx="39">
                  <c:v>0.6937842778793418</c:v>
                </c:pt>
                <c:pt idx="40">
                  <c:v>0.7147918511957484</c:v>
                </c:pt>
                <c:pt idx="41">
                  <c:v>0.697171381031614</c:v>
                </c:pt>
                <c:pt idx="42">
                  <c:v>0.7184557438794726</c:v>
                </c:pt>
                <c:pt idx="43">
                  <c:v>0.7145938173975557</c:v>
                </c:pt>
                <c:pt idx="44">
                  <c:v>0.7332931968693558</c:v>
                </c:pt>
                <c:pt idx="45">
                  <c:v>0.7308497279196317</c:v>
                </c:pt>
                <c:pt idx="46">
                  <c:v>0.7221959299574066</c:v>
                </c:pt>
                <c:pt idx="47">
                  <c:v>0.712707182320442</c:v>
                </c:pt>
                <c:pt idx="48">
                  <c:v>0.7298433320596103</c:v>
                </c:pt>
                <c:pt idx="49">
                  <c:v>0.7255563047875927</c:v>
                </c:pt>
                <c:pt idx="50">
                  <c:v>0.7313534345953299</c:v>
                </c:pt>
                <c:pt idx="51">
                  <c:v>0.744297719087635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58.9752692945472</c:v>
                </c:pt>
              </c:numCache>
            </c:numRef>
          </c:xVal>
          <c:yVal>
            <c:numRef>
              <c:f>Sheet1!$B$163:$B$164</c:f>
              <c:numCache>
                <c:formatCode>General</c:formatCode>
                <c:ptCount val="2"/>
                <c:pt idx="0">
                  <c:v>0.7497123161133705</c:v>
                </c:pt>
                <c:pt idx="1">
                  <c:v>0.749712316113370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58.9752692945472</c:v>
                </c:pt>
                <c:pt idx="1">
                  <c:v>1058.9752692945472</c:v>
                </c:pt>
              </c:numCache>
            </c:numRef>
          </c:xVal>
          <c:yVal>
            <c:numRef>
              <c:f>Sheet1!$B$167:$B$168</c:f>
              <c:numCache>
                <c:formatCode>General</c:formatCode>
                <c:ptCount val="2"/>
                <c:pt idx="0">
                  <c:v>0.74971231611337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34.228048558565</c:v>
                </c:pt>
              </c:numCache>
            </c:numRef>
          </c:xVal>
          <c:yVal>
            <c:numRef>
              <c:f>Sheet1!$B$171:$B$172</c:f>
              <c:numCache>
                <c:formatCode>General</c:formatCode>
                <c:ptCount val="2"/>
                <c:pt idx="0">
                  <c:v>0.7400249824768266</c:v>
                </c:pt>
                <c:pt idx="1">
                  <c:v>0.740024982476826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34.228048558565</c:v>
                </c:pt>
                <c:pt idx="1">
                  <c:v>1134.228048558565</c:v>
                </c:pt>
              </c:numCache>
            </c:numRef>
          </c:xVal>
          <c:yVal>
            <c:numRef>
              <c:f>Sheet1!$B$175:$B$176</c:f>
              <c:numCache>
                <c:formatCode>General</c:formatCode>
                <c:ptCount val="2"/>
                <c:pt idx="0">
                  <c:v>0.740024982476826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84.4708033868355</c:v>
                </c:pt>
              </c:numCache>
            </c:numRef>
          </c:xVal>
          <c:yVal>
            <c:numRef>
              <c:f>Sheet1!$B$179:$B$180</c:f>
              <c:numCache>
                <c:formatCode>General</c:formatCode>
                <c:ptCount val="2"/>
                <c:pt idx="0">
                  <c:v>0.7206841460754413</c:v>
                </c:pt>
                <c:pt idx="1">
                  <c:v>0.720684146075441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84.4708033868355</c:v>
                </c:pt>
                <c:pt idx="1">
                  <c:v>1284.4708033868355</c:v>
                </c:pt>
              </c:numCache>
            </c:numRef>
          </c:xVal>
          <c:yVal>
            <c:numRef>
              <c:f>Sheet1!$B$183:$B$184</c:f>
              <c:numCache>
                <c:formatCode>General</c:formatCode>
                <c:ptCount val="2"/>
                <c:pt idx="0">
                  <c:v>0.720684146075441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93.2676</c:v>
                </c:pt>
                <c:pt idx="1">
                  <c:v>1193.69</c:v>
                </c:pt>
                <c:pt idx="2">
                  <c:v>1221.7788</c:v>
                </c:pt>
                <c:pt idx="3">
                  <c:v>1226.8456</c:v>
                </c:pt>
                <c:pt idx="4">
                  <c:v>1262.0816</c:v>
                </c:pt>
                <c:pt idx="5">
                  <c:v>1235.7015</c:v>
                </c:pt>
                <c:pt idx="6">
                  <c:v>1145.3311</c:v>
                </c:pt>
                <c:pt idx="7">
                  <c:v>1177.5715</c:v>
                </c:pt>
                <c:pt idx="8">
                  <c:v>1229.7337</c:v>
                </c:pt>
                <c:pt idx="9">
                  <c:v>1157.0946</c:v>
                </c:pt>
                <c:pt idx="10">
                  <c:v>1190.6435</c:v>
                </c:pt>
                <c:pt idx="11">
                  <c:v>1115.8837</c:v>
                </c:pt>
                <c:pt idx="12">
                  <c:v>1131.6249</c:v>
                </c:pt>
                <c:pt idx="13">
                  <c:v>1160.6508</c:v>
                </c:pt>
                <c:pt idx="14">
                  <c:v>1197.63</c:v>
                </c:pt>
                <c:pt idx="15">
                  <c:v>1188.0861</c:v>
                </c:pt>
                <c:pt idx="16">
                  <c:v>1225.7396</c:v>
                </c:pt>
                <c:pt idx="17">
                  <c:v>1193.115</c:v>
                </c:pt>
                <c:pt idx="18">
                  <c:v>1286.9949</c:v>
                </c:pt>
                <c:pt idx="19">
                  <c:v>1340.3179</c:v>
                </c:pt>
                <c:pt idx="20">
                  <c:v>1289.8614</c:v>
                </c:pt>
                <c:pt idx="21">
                  <c:v>1227.3602</c:v>
                </c:pt>
                <c:pt idx="22">
                  <c:v>1205.1719</c:v>
                </c:pt>
                <c:pt idx="23">
                  <c:v>1112.2606</c:v>
                </c:pt>
                <c:pt idx="24">
                  <c:v>1061.4217</c:v>
                </c:pt>
                <c:pt idx="25">
                  <c:v>1071.5413</c:v>
                </c:pt>
                <c:pt idx="26">
                  <c:v>1107.5311</c:v>
                </c:pt>
                <c:pt idx="27">
                  <c:v>1151.9634</c:v>
                </c:pt>
                <c:pt idx="28">
                  <c:v>1208.4078</c:v>
                </c:pt>
                <c:pt idx="29">
                  <c:v>1206.1452</c:v>
                </c:pt>
                <c:pt idx="30">
                  <c:v>1213.4497</c:v>
                </c:pt>
                <c:pt idx="31">
                  <c:v>1196.3382</c:v>
                </c:pt>
                <c:pt idx="32">
                  <c:v>1221.2826</c:v>
                </c:pt>
                <c:pt idx="33">
                  <c:v>1217.9914</c:v>
                </c:pt>
                <c:pt idx="34">
                  <c:v>1249.0648</c:v>
                </c:pt>
                <c:pt idx="35">
                  <c:v>1272.5197</c:v>
                </c:pt>
                <c:pt idx="36">
                  <c:v>1282.4973</c:v>
                </c:pt>
                <c:pt idx="37">
                  <c:v>1310.2354</c:v>
                </c:pt>
                <c:pt idx="38">
                  <c:v>1315.4946</c:v>
                </c:pt>
                <c:pt idx="39">
                  <c:v>1296.4928</c:v>
                </c:pt>
                <c:pt idx="40">
                  <c:v>1285.86</c:v>
                </c:pt>
                <c:pt idx="41">
                  <c:v>1337.8353</c:v>
                </c:pt>
                <c:pt idx="42">
                  <c:v>1337.194</c:v>
                </c:pt>
                <c:pt idx="43">
                  <c:v>1339.5895</c:v>
                </c:pt>
                <c:pt idx="44">
                  <c:v>1278.908</c:v>
                </c:pt>
                <c:pt idx="45">
                  <c:v>1229.0871</c:v>
                </c:pt>
                <c:pt idx="46">
                  <c:v>1221.483</c:v>
                </c:pt>
                <c:pt idx="47">
                  <c:v>1207.7853</c:v>
                </c:pt>
                <c:pt idx="48">
                  <c:v>1178.8686</c:v>
                </c:pt>
                <c:pt idx="49">
                  <c:v>1176.1473</c:v>
                </c:pt>
                <c:pt idx="50">
                  <c:v>1131.5477</c:v>
                </c:pt>
                <c:pt idx="51">
                  <c:v>1118.9892</c:v>
                </c:pt>
                <c:pt idx="52">
                  <c:v>1134.228048558565</c:v>
                </c:pt>
                <c:pt idx="53">
                  <c:v>1058.9752692945472</c:v>
                </c:pt>
                <c:pt idx="54">
                  <c:v>1284.4708033868355</c:v>
                </c:pt>
              </c:numCache>
            </c:numRef>
          </c:xVal>
          <c:yVal>
            <c:numRef>
              <c:f>Sheet1!$B$187:$B$241</c:f>
              <c:numCache>
                <c:formatCode>General</c:formatCode>
                <c:ptCount val="55"/>
                <c:pt idx="0">
                  <c:v>0.7324247870002119</c:v>
                </c:pt>
                <c:pt idx="1">
                  <c:v>0.7323704112048179</c:v>
                </c:pt>
                <c:pt idx="2">
                  <c:v>0.7287545237955902</c:v>
                </c:pt>
                <c:pt idx="3">
                  <c:v>0.7281022717120169</c:v>
                </c:pt>
                <c:pt idx="4">
                  <c:v>0.7235663211284552</c:v>
                </c:pt>
                <c:pt idx="5">
                  <c:v>0.726962246602102</c:v>
                </c:pt>
                <c:pt idx="6">
                  <c:v>0.7385956802670102</c:v>
                </c:pt>
                <c:pt idx="7">
                  <c:v>0.7344453549975622</c:v>
                </c:pt>
                <c:pt idx="8">
                  <c:v>0.7277304849348463</c:v>
                </c:pt>
                <c:pt idx="9">
                  <c:v>0.7370813581336884</c:v>
                </c:pt>
                <c:pt idx="10">
                  <c:v>0.7327625889052614</c:v>
                </c:pt>
                <c:pt idx="11">
                  <c:v>0.7423864610370855</c:v>
                </c:pt>
                <c:pt idx="12">
                  <c:v>0.7403600872907476</c:v>
                </c:pt>
                <c:pt idx="13">
                  <c:v>0.7366235664585474</c:v>
                </c:pt>
                <c:pt idx="14">
                  <c:v>0.7318632127345253</c:v>
                </c:pt>
                <c:pt idx="15">
                  <c:v>0.7330918044808772</c:v>
                </c:pt>
                <c:pt idx="16">
                  <c:v>0.7282446477293123</c:v>
                </c:pt>
                <c:pt idx="17">
                  <c:v>0.7324444312861424</c:v>
                </c:pt>
                <c:pt idx="18">
                  <c:v>0.7203592176640027</c:v>
                </c:pt>
                <c:pt idx="19">
                  <c:v>0.7134949171484146</c:v>
                </c:pt>
                <c:pt idx="20">
                  <c:v>0.7199902114672784</c:v>
                </c:pt>
                <c:pt idx="21">
                  <c:v>0.7280360269574959</c:v>
                </c:pt>
                <c:pt idx="22">
                  <c:v>0.7308923396017587</c:v>
                </c:pt>
                <c:pt idx="23">
                  <c:v>0.7428528647877751</c:v>
                </c:pt>
                <c:pt idx="24">
                  <c:v>0.749397385678984</c:v>
                </c:pt>
                <c:pt idx="25">
                  <c:v>0.7480946837399043</c:v>
                </c:pt>
                <c:pt idx="26">
                  <c:v>0.7434616960479907</c:v>
                </c:pt>
                <c:pt idx="27">
                  <c:v>0.7377419004663699</c:v>
                </c:pt>
                <c:pt idx="28">
                  <c:v>0.73047578033018</c:v>
                </c:pt>
                <c:pt idx="29">
                  <c:v>0.7307670461319272</c:v>
                </c:pt>
                <c:pt idx="30">
                  <c:v>0.7298267336379545</c:v>
                </c:pt>
                <c:pt idx="31">
                  <c:v>0.7320295068928817</c:v>
                </c:pt>
                <c:pt idx="32">
                  <c:v>0.7288183999075089</c:v>
                </c:pt>
                <c:pt idx="33">
                  <c:v>0.7292420779799523</c:v>
                </c:pt>
                <c:pt idx="34">
                  <c:v>0.725241981292949</c:v>
                </c:pt>
                <c:pt idx="35">
                  <c:v>0.7222226185008506</c:v>
                </c:pt>
                <c:pt idx="36">
                  <c:v>0.7209381963035937</c:v>
                </c:pt>
                <c:pt idx="37">
                  <c:v>0.717367454707445</c:v>
                </c:pt>
                <c:pt idx="38">
                  <c:v>0.7166904348610077</c:v>
                </c:pt>
                <c:pt idx="39">
                  <c:v>0.7191365475241568</c:v>
                </c:pt>
                <c:pt idx="40">
                  <c:v>0.7205053139949508</c:v>
                </c:pt>
                <c:pt idx="41">
                  <c:v>0.7138145036769296</c:v>
                </c:pt>
                <c:pt idx="42">
                  <c:v>0.7138970585954572</c:v>
                </c:pt>
                <c:pt idx="43">
                  <c:v>0.7135886845001307</c:v>
                </c:pt>
                <c:pt idx="44">
                  <c:v>0.7214002489608073</c:v>
                </c:pt>
                <c:pt idx="45">
                  <c:v>0.7278137221254278</c:v>
                </c:pt>
                <c:pt idx="46">
                  <c:v>0.7287926023000351</c:v>
                </c:pt>
                <c:pt idx="47">
                  <c:v>0.7305559151138747</c:v>
                </c:pt>
                <c:pt idx="48">
                  <c:v>0.7342783785671521</c:v>
                </c:pt>
                <c:pt idx="49">
                  <c:v>0.7346286930842097</c:v>
                </c:pt>
                <c:pt idx="50">
                  <c:v>0.7403700252912315</c:v>
                </c:pt>
                <c:pt idx="51">
                  <c:v>0.7419866882326454</c:v>
                </c:pt>
                <c:pt idx="52">
                  <c:v>0.7400249824768266</c:v>
                </c:pt>
                <c:pt idx="53">
                  <c:v>0.7497123161133705</c:v>
                </c:pt>
                <c:pt idx="54">
                  <c:v>0.720684146075441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8.0"/>
          <c:min val="61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453197405004634"/>
          <c:min val="0.52465960665658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7532679738562091</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7532679738562091</c:v>
                </c:pt>
              </c:numCache>
            </c:numRef>
          </c:xVal>
          <c:yVal>
            <c:numRef>
              <c:f>Sheet1!$B$7:$B$8</c:f>
              <c:numCache>
                <c:formatCode>General</c:formatCode>
                <c:ptCount val="2"/>
                <c:pt idx="0">
                  <c:v>0.7532679738562091</c:v>
                </c:pt>
                <c:pt idx="1">
                  <c:v>0.7532679738562091</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7532679738562091</c:v>
                </c:pt>
                <c:pt idx="1">
                  <c:v>0.7532679738562091</c:v>
                </c:pt>
              </c:numCache>
            </c:numRef>
          </c:xVal>
          <c:yVal>
            <c:numRef>
              <c:f>Sheet1!$B$11:$B$12</c:f>
              <c:numCache>
                <c:formatCode>General</c:formatCode>
                <c:ptCount val="2"/>
                <c:pt idx="0">
                  <c:v>0.753267973856209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7532679738562091</c:v>
                </c:pt>
                <c:pt idx="2">
                  <c:v>0</c:v>
                </c:pt>
              </c:numCache>
            </c:numRef>
          </c:xVal>
          <c:yVal>
            <c:numRef>
              <c:f>Sheet1!$B$15:$B$17</c:f>
              <c:numCache>
                <c:formatCode>General</c:formatCode>
                <c:ptCount val="3"/>
                <c:pt idx="0">
                  <c:v>0</c:v>
                </c:pt>
                <c:pt idx="1">
                  <c:v>0.7532679738562091</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opperto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39215686274509"/>
          <c:min val="0.60261437908496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1233.5054</c:v>
                </c:pt>
              </c:numCache>
            </c:numRef>
          </c:xVal>
          <c:yVal>
            <c:numRef>
              <c:f>Sheet1!$B$2:$B$2</c:f>
              <c:numCache>
                <c:formatCode>General</c:formatCode>
                <c:ptCount val="1"/>
                <c:pt idx="0">
                  <c:v>0.7532679738562091</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7532679738562091</c:v>
                </c:pt>
              </c:numCache>
            </c:numRef>
          </c:xVal>
          <c:yVal>
            <c:numRef>
              <c:f>Sheet1!$B$7:$B$8</c:f>
              <c:numCache>
                <c:formatCode>General</c:formatCode>
                <c:ptCount val="2"/>
                <c:pt idx="0">
                  <c:v>0.7532679738562091</c:v>
                </c:pt>
                <c:pt idx="1">
                  <c:v>0.7532679738562091</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7532679738562091</c:v>
                </c:pt>
                <c:pt idx="1">
                  <c:v>0.7532679738562091</c:v>
                </c:pt>
              </c:numCache>
            </c:numRef>
          </c:xVal>
          <c:yVal>
            <c:numRef>
              <c:f>Sheet1!$B$11:$B$12</c:f>
              <c:numCache>
                <c:formatCode>General</c:formatCode>
                <c:ptCount val="2"/>
                <c:pt idx="0">
                  <c:v>0.753267973856209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7532679738562091</c:v>
                </c:pt>
                <c:pt idx="2">
                  <c:v>0</c:v>
                </c:pt>
              </c:numCache>
            </c:numRef>
          </c:xVal>
          <c:yVal>
            <c:numRef>
              <c:f>Sheet1!$B$15:$B$17</c:f>
              <c:numCache>
                <c:formatCode>General</c:formatCode>
                <c:ptCount val="3"/>
                <c:pt idx="0">
                  <c:v>0</c:v>
                </c:pt>
                <c:pt idx="1">
                  <c:v>0.7532679738562091</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8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39215686274509"/>
          <c:min val="0.60261437908496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937023006134969</c:v>
                </c:pt>
                <c:pt idx="1">
                  <c:v>0.792425403494074</c:v>
                </c:pt>
                <c:pt idx="2">
                  <c:v>0.7845691560866318</c:v>
                </c:pt>
                <c:pt idx="3">
                  <c:v>0.8109705611068408</c:v>
                </c:pt>
                <c:pt idx="4">
                  <c:v>0.9290421090516464</c:v>
                </c:pt>
                <c:pt idx="5">
                  <c:v>0.8186209568999604</c:v>
                </c:pt>
                <c:pt idx="6">
                  <c:v>0.7893321252059308</c:v>
                </c:pt>
                <c:pt idx="7">
                  <c:v>0.851330665978317</c:v>
                </c:pt>
                <c:pt idx="8">
                  <c:v>0.8311521698000912</c:v>
                </c:pt>
                <c:pt idx="9">
                  <c:v>0.7883683402439948</c:v>
                </c:pt>
                <c:pt idx="10">
                  <c:v>0.8268049303793388</c:v>
                </c:pt>
                <c:pt idx="11">
                  <c:v>0.8110249301070086</c:v>
                </c:pt>
                <c:pt idx="12">
                  <c:v>0.8716124761593961</c:v>
                </c:pt>
                <c:pt idx="13">
                  <c:v>0.8668030265848671</c:v>
                </c:pt>
                <c:pt idx="14">
                  <c:v>0.8743183424283638</c:v>
                </c:pt>
                <c:pt idx="15">
                  <c:v>0.9270804668575204</c:v>
                </c:pt>
                <c:pt idx="16">
                  <c:v>0.9509756473669182</c:v>
                </c:pt>
                <c:pt idx="17">
                  <c:v>0.9797124159886806</c:v>
                </c:pt>
                <c:pt idx="18">
                  <c:v>0.980871244635193</c:v>
                </c:pt>
                <c:pt idx="19">
                  <c:v>0.7519311614730878</c:v>
                </c:pt>
                <c:pt idx="20">
                  <c:v>0.8050826629680999</c:v>
                </c:pt>
                <c:pt idx="21">
                  <c:v>0.9004100727916584</c:v>
                </c:pt>
                <c:pt idx="22">
                  <c:v>1.0980936672967865</c:v>
                </c:pt>
                <c:pt idx="23">
                  <c:v>1.397988073281692</c:v>
                </c:pt>
                <c:pt idx="24">
                  <c:v>1.2103044640318454</c:v>
                </c:pt>
                <c:pt idx="25">
                  <c:v>0.8884879637262983</c:v>
                </c:pt>
                <c:pt idx="26">
                  <c:v>1.4188067572043723</c:v>
                </c:pt>
                <c:pt idx="27">
                  <c:v>1.0906527158948685</c:v>
                </c:pt>
                <c:pt idx="28">
                  <c:v>0.9119223762128926</c:v>
                </c:pt>
                <c:pt idx="29">
                  <c:v>0.9809475682643853</c:v>
                </c:pt>
                <c:pt idx="30">
                  <c:v>0.9863139863325739</c:v>
                </c:pt>
                <c:pt idx="31">
                  <c:v>0.9130043844856661</c:v>
                </c:pt>
                <c:pt idx="32">
                  <c:v>0.9128174232800502</c:v>
                </c:pt>
                <c:pt idx="33">
                  <c:v>0.9120919067215363</c:v>
                </c:pt>
                <c:pt idx="34">
                  <c:v>0.9838975202726525</c:v>
                </c:pt>
                <c:pt idx="35">
                  <c:v>0.8456906105860276</c:v>
                </c:pt>
                <c:pt idx="36">
                  <c:v>0.9303867512564883</c:v>
                </c:pt>
                <c:pt idx="37">
                  <c:v>0.8814291798107255</c:v>
                </c:pt>
                <c:pt idx="38">
                  <c:v>1.1146659070191431</c:v>
                </c:pt>
                <c:pt idx="39">
                  <c:v>1.0248303740197955</c:v>
                </c:pt>
                <c:pt idx="40">
                  <c:v>0.9556191104997708</c:v>
                </c:pt>
                <c:pt idx="41">
                  <c:v>0.9938038097025429</c:v>
                </c:pt>
                <c:pt idx="42">
                  <c:v>1.011828571027433</c:v>
                </c:pt>
                <c:pt idx="43">
                  <c:v>1.1142499529125918</c:v>
                </c:pt>
                <c:pt idx="44">
                  <c:v>0.9798351258629228</c:v>
                </c:pt>
                <c:pt idx="45">
                  <c:v>1.042964797238999</c:v>
                </c:pt>
                <c:pt idx="46">
                  <c:v>1.0166343317496385</c:v>
                </c:pt>
                <c:pt idx="47">
                  <c:v>0.9983660062403608</c:v>
                </c:pt>
                <c:pt idx="48">
                  <c:v>1.1701219443045179</c:v>
                </c:pt>
                <c:pt idx="49">
                  <c:v>0.9963151430220097</c:v>
                </c:pt>
                <c:pt idx="50">
                  <c:v>0.9285880438208031</c:v>
                </c:pt>
                <c:pt idx="51">
                  <c:v>0.9793992865636146</c:v>
                </c:pt>
                <c:pt idx="52">
                  <c:v>0.9428444528301887</c:v>
                </c:pt>
                <c:pt idx="53">
                  <c:v>1.0748721257237388</c:v>
                </c:pt>
                <c:pt idx="54">
                  <c:v>0.990559912835483</c:v>
                </c:pt>
                <c:pt idx="55">
                  <c:v>1.0176397693378405</c:v>
                </c:pt>
                <c:pt idx="56">
                  <c:v>0.9941387459953429</c:v>
                </c:pt>
                <c:pt idx="57">
                  <c:v>1.1643266085622055</c:v>
                </c:pt>
                <c:pt idx="58">
                  <c:v>1.0435276499071882</c:v>
                </c:pt>
                <c:pt idx="59">
                  <c:v>0.9144874803854043</c:v>
                </c:pt>
                <c:pt idx="60">
                  <c:v>0.8728516980862357</c:v>
                </c:pt>
                <c:pt idx="61">
                  <c:v>1.1125413000656599</c:v>
                </c:pt>
                <c:pt idx="62">
                  <c:v>0.9175603747189969</c:v>
                </c:pt>
                <c:pt idx="63">
                  <c:v>1.0618826378949686</c:v>
                </c:pt>
                <c:pt idx="64">
                  <c:v>1.0343236255241346</c:v>
                </c:pt>
                <c:pt idx="65">
                  <c:v>1.025662143474503</c:v>
                </c:pt>
                <c:pt idx="66">
                  <c:v>1.0194902865400213</c:v>
                </c:pt>
                <c:pt idx="67">
                  <c:v>1.0381825575180066</c:v>
                </c:pt>
                <c:pt idx="68">
                  <c:v>0.9399829159064521</c:v>
                </c:pt>
                <c:pt idx="69">
                  <c:v>0.8067332067506461</c:v>
                </c:pt>
                <c:pt idx="70">
                  <c:v>1.3257841897233202</c:v>
                </c:pt>
                <c:pt idx="71">
                  <c:v>1.1490791447250106</c:v>
                </c:pt>
                <c:pt idx="72">
                  <c:v>1.1382785100469333</c:v>
                </c:pt>
                <c:pt idx="73">
                  <c:v>1.2711255583126553</c:v>
                </c:pt>
                <c:pt idx="74">
                  <c:v>2.232447496498475</c:v>
                </c:pt>
                <c:pt idx="75">
                  <c:v>2.147885128693994</c:v>
                </c:pt>
                <c:pt idx="76">
                  <c:v>1.3643270029673589</c:v>
                </c:pt>
                <c:pt idx="77">
                  <c:v>1.3506967789899194</c:v>
                </c:pt>
                <c:pt idx="78">
                  <c:v>1.2492946942446044</c:v>
                </c:pt>
                <c:pt idx="79">
                  <c:v>1.6145185574229692</c:v>
                </c:pt>
                <c:pt idx="80">
                  <c:v>1.0846665271966527</c:v>
                </c:pt>
                <c:pt idx="81">
                  <c:v>1.3456290927032142</c:v>
                </c:pt>
                <c:pt idx="82">
                  <c:v>1.5543538636734475</c:v>
                </c:pt>
                <c:pt idx="83">
                  <c:v>1.2255664902407044</c:v>
                </c:pt>
                <c:pt idx="84">
                  <c:v>1.466470816676185</c:v>
                </c:pt>
                <c:pt idx="85">
                  <c:v>1.3957301486199576</c:v>
                </c:pt>
                <c:pt idx="86">
                  <c:v>1.0847825715158301</c:v>
                </c:pt>
                <c:pt idx="87">
                  <c:v>1.1678998355120769</c:v>
                </c:pt>
                <c:pt idx="88">
                  <c:v>1.154076397905759</c:v>
                </c:pt>
                <c:pt idx="89">
                  <c:v>1.180572378727399</c:v>
                </c:pt>
                <c:pt idx="90">
                  <c:v>1.1594927499017713</c:v>
                </c:pt>
                <c:pt idx="91">
                  <c:v>1.2402267107046072</c:v>
                </c:pt>
                <c:pt idx="92">
                  <c:v>1.2360280960360956</c:v>
                </c:pt>
                <c:pt idx="93">
                  <c:v>1.1835606083851413</c:v>
                </c:pt>
                <c:pt idx="94">
                  <c:v>1.1173497110276942</c:v>
                </c:pt>
                <c:pt idx="95">
                  <c:v>1.011851235008537</c:v>
                </c:pt>
                <c:pt idx="96">
                  <c:v>0.979647534927471</c:v>
                </c:pt>
                <c:pt idx="97">
                  <c:v>1.0524017814155031</c:v>
                </c:pt>
                <c:pt idx="98">
                  <c:v>1.071091310780714</c:v>
                </c:pt>
                <c:pt idx="99">
                  <c:v>1.0892698372112843</c:v>
                </c:pt>
                <c:pt idx="100">
                  <c:v>1.0889581334227343</c:v>
                </c:pt>
                <c:pt idx="101">
                  <c:v>1.0307418842765297</c:v>
                </c:pt>
                <c:pt idx="102">
                  <c:v>1.1718618356666617</c:v>
                </c:pt>
                <c:pt idx="103">
                  <c:v>0.988055499433048</c:v>
                </c:pt>
                <c:pt idx="104">
                  <c:v>1.1137953327457306</c:v>
                </c:pt>
              </c:numCache>
            </c:numRef>
          </c:xVal>
          <c:yVal>
            <c:numRef>
              <c:f>Sheet1!$B$2:$B$106</c:f>
              <c:numCache>
                <c:formatCode>General</c:formatCode>
                <c:ptCount val="105"/>
                <c:pt idx="0">
                  <c:v>0.26550145651269247</c:v>
                </c:pt>
                <c:pt idx="1">
                  <c:v>0.28172942817294283</c:v>
                </c:pt>
                <c:pt idx="2">
                  <c:v>0.27204585537918874</c:v>
                </c:pt>
                <c:pt idx="3">
                  <c:v>0.2792061344158773</c:v>
                </c:pt>
                <c:pt idx="4">
                  <c:v>0.2853598014888337</c:v>
                </c:pt>
                <c:pt idx="5">
                  <c:v>0.2797164667393675</c:v>
                </c:pt>
                <c:pt idx="6">
                  <c:v>0.2804395604395604</c:v>
                </c:pt>
                <c:pt idx="7">
                  <c:v>0.28274111675126906</c:v>
                </c:pt>
                <c:pt idx="8">
                  <c:v>0.2711306256860593</c:v>
                </c:pt>
                <c:pt idx="9">
                  <c:v>0.23189734188817598</c:v>
                </c:pt>
                <c:pt idx="10">
                  <c:v>0.24495677233429394</c:v>
                </c:pt>
                <c:pt idx="11">
                  <c:v>0.2583380440927077</c:v>
                </c:pt>
                <c:pt idx="12">
                  <c:v>0.2730210016155089</c:v>
                </c:pt>
                <c:pt idx="13">
                  <c:v>0.28471337579617834</c:v>
                </c:pt>
                <c:pt idx="14">
                  <c:v>0.25773195876288657</c:v>
                </c:pt>
                <c:pt idx="15">
                  <c:v>0.2580392156862745</c:v>
                </c:pt>
                <c:pt idx="16">
                  <c:v>0.2545454545454545</c:v>
                </c:pt>
                <c:pt idx="17">
                  <c:v>0.2634297520661157</c:v>
                </c:pt>
                <c:pt idx="18">
                  <c:v>0.225</c:v>
                </c:pt>
                <c:pt idx="19">
                  <c:v>0.22592592592592592</c:v>
                </c:pt>
                <c:pt idx="20">
                  <c:v>0.20945319740500462</c:v>
                </c:pt>
                <c:pt idx="21">
                  <c:v>0.21587301587301588</c:v>
                </c:pt>
                <c:pt idx="22">
                  <c:v>0.264050901378579</c:v>
                </c:pt>
                <c:pt idx="23">
                  <c:v>0.2614240170031881</c:v>
                </c:pt>
                <c:pt idx="24">
                  <c:v>0.3182247403210576</c:v>
                </c:pt>
                <c:pt idx="25">
                  <c:v>0.30406852248394006</c:v>
                </c:pt>
                <c:pt idx="26">
                  <c:v>0.3098214285714286</c:v>
                </c:pt>
                <c:pt idx="27">
                  <c:v>0.3026886383347788</c:v>
                </c:pt>
                <c:pt idx="28">
                  <c:v>0.2821203953279425</c:v>
                </c:pt>
                <c:pt idx="29">
                  <c:v>0.31788079470198677</c:v>
                </c:pt>
                <c:pt idx="30">
                  <c:v>0.2813397129186603</c:v>
                </c:pt>
                <c:pt idx="31">
                  <c:v>0.3025291828793774</c:v>
                </c:pt>
                <c:pt idx="32">
                  <c:v>0.32246039142590865</c:v>
                </c:pt>
                <c:pt idx="33">
                  <c:v>0.3411497730711044</c:v>
                </c:pt>
                <c:pt idx="34">
                  <c:v>0.32519280205655526</c:v>
                </c:pt>
                <c:pt idx="35">
                  <c:v>0.2959917780061665</c:v>
                </c:pt>
                <c:pt idx="36">
                  <c:v>0.2839072382290935</c:v>
                </c:pt>
                <c:pt idx="37">
                  <c:v>0.2970137207425343</c:v>
                </c:pt>
                <c:pt idx="38">
                  <c:v>0.26673040152963673</c:v>
                </c:pt>
                <c:pt idx="39">
                  <c:v>0.27547931382441976</c:v>
                </c:pt>
                <c:pt idx="40">
                  <c:v>0.28415758591785417</c:v>
                </c:pt>
                <c:pt idx="41">
                  <c:v>0.29206963249516443</c:v>
                </c:pt>
                <c:pt idx="42">
                  <c:v>0.3204819277108434</c:v>
                </c:pt>
                <c:pt idx="43">
                  <c:v>0.29297994269340977</c:v>
                </c:pt>
                <c:pt idx="44">
                  <c:v>0.2848252752513164</c:v>
                </c:pt>
                <c:pt idx="45">
                  <c:v>0.27308602999210735</c:v>
                </c:pt>
                <c:pt idx="46">
                  <c:v>0.29491133384734003</c:v>
                </c:pt>
                <c:pt idx="47">
                  <c:v>0.29816334505666275</c:v>
                </c:pt>
                <c:pt idx="48">
                  <c:v>0.2948207171314741</c:v>
                </c:pt>
                <c:pt idx="49">
                  <c:v>0.2697826978269783</c:v>
                </c:pt>
                <c:pt idx="50">
                  <c:v>0.27009646302250806</c:v>
                </c:pt>
                <c:pt idx="51">
                  <c:v>0.2778936392075078</c:v>
                </c:pt>
                <c:pt idx="52">
                  <c:v>0.2753246753246753</c:v>
                </c:pt>
                <c:pt idx="53">
                  <c:v>0.28296703296703296</c:v>
                </c:pt>
                <c:pt idx="54">
                  <c:v>0.26112759643916916</c:v>
                </c:pt>
                <c:pt idx="55">
                  <c:v>0.26568047337278106</c:v>
                </c:pt>
                <c:pt idx="56">
                  <c:v>0.2911764705882353</c:v>
                </c:pt>
                <c:pt idx="57">
                  <c:v>0.28834661354581675</c:v>
                </c:pt>
                <c:pt idx="58">
                  <c:v>0.29748186086214257</c:v>
                </c:pt>
                <c:pt idx="59">
                  <c:v>0.2769526952695269</c:v>
                </c:pt>
                <c:pt idx="60">
                  <c:v>0.27988252569750366</c:v>
                </c:pt>
                <c:pt idx="61">
                  <c:v>0.2887966804979253</c:v>
                </c:pt>
                <c:pt idx="62">
                  <c:v>0.2853239656518345</c:v>
                </c:pt>
                <c:pt idx="63">
                  <c:v>0.2974836263357463</c:v>
                </c:pt>
                <c:pt idx="64">
                  <c:v>0.304205946337926</c:v>
                </c:pt>
                <c:pt idx="65">
                  <c:v>0.2879426644182125</c:v>
                </c:pt>
                <c:pt idx="66">
                  <c:v>0.25548986486486486</c:v>
                </c:pt>
                <c:pt idx="67">
                  <c:v>0.28285584356525695</c:v>
                </c:pt>
                <c:pt idx="68">
                  <c:v>0.27611484422724497</c:v>
                </c:pt>
                <c:pt idx="69">
                  <c:v>0.27213647441104794</c:v>
                </c:pt>
                <c:pt idx="70">
                  <c:v>0.2595777951524629</c:v>
                </c:pt>
                <c:pt idx="71">
                  <c:v>0.2502106149957877</c:v>
                </c:pt>
                <c:pt idx="72">
                  <c:v>0.2515432098765432</c:v>
                </c:pt>
                <c:pt idx="73">
                  <c:v>0.24696356275303644</c:v>
                </c:pt>
                <c:pt idx="74">
                  <c:v>0.23937908496732027</c:v>
                </c:pt>
                <c:pt idx="75">
                  <c:v>0.22898032200357782</c:v>
                </c:pt>
                <c:pt idx="76">
                  <c:v>0.2411604714415231</c:v>
                </c:pt>
                <c:pt idx="77">
                  <c:v>0.23155737704918034</c:v>
                </c:pt>
                <c:pt idx="78">
                  <c:v>0.2756756756756757</c:v>
                </c:pt>
                <c:pt idx="79">
                  <c:v>0.24845360824742269</c:v>
                </c:pt>
                <c:pt idx="80">
                  <c:v>0.24765868886576484</c:v>
                </c:pt>
                <c:pt idx="81">
                  <c:v>0.23123382226056946</c:v>
                </c:pt>
                <c:pt idx="82">
                  <c:v>0.26021505376344084</c:v>
                </c:pt>
                <c:pt idx="83">
                  <c:v>0.25440806045340053</c:v>
                </c:pt>
                <c:pt idx="84">
                  <c:v>0.26119402985074625</c:v>
                </c:pt>
                <c:pt idx="85">
                  <c:v>0.23337091319052988</c:v>
                </c:pt>
                <c:pt idx="86">
                  <c:v>0.24564183835182252</c:v>
                </c:pt>
                <c:pt idx="87">
                  <c:v>0.268646408839779</c:v>
                </c:pt>
                <c:pt idx="88">
                  <c:v>0.24776386404293382</c:v>
                </c:pt>
                <c:pt idx="89">
                  <c:v>0.23709167544783982</c:v>
                </c:pt>
                <c:pt idx="90">
                  <c:v>0.24447031431897556</c:v>
                </c:pt>
                <c:pt idx="91">
                  <c:v>0.24911452184179456</c:v>
                </c:pt>
                <c:pt idx="92">
                  <c:v>0.2520852641334569</c:v>
                </c:pt>
                <c:pt idx="93">
                  <c:v>0.2596425211665099</c:v>
                </c:pt>
                <c:pt idx="94">
                  <c:v>0.26968503937007876</c:v>
                </c:pt>
                <c:pt idx="95">
                  <c:v>0.27335640138408307</c:v>
                </c:pt>
                <c:pt idx="96">
                  <c:v>0.2586652871184687</c:v>
                </c:pt>
                <c:pt idx="97">
                  <c:v>0.26611570247933886</c:v>
                </c:pt>
                <c:pt idx="98">
                  <c:v>0.26466621712744437</c:v>
                </c:pt>
                <c:pt idx="99">
                  <c:v>0.2651471436814772</c:v>
                </c:pt>
                <c:pt idx="100">
                  <c:v>0.26052631578947366</c:v>
                </c:pt>
                <c:pt idx="101">
                  <c:v>0.2616342982777574</c:v>
                </c:pt>
                <c:pt idx="102">
                  <c:v>0.27378542510121456</c:v>
                </c:pt>
                <c:pt idx="103">
                  <c:v>0.2712673611111111</c:v>
                </c:pt>
                <c:pt idx="104">
                  <c:v>0.2836734693877551</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07021218925421</c:v>
                </c:pt>
                <c:pt idx="1">
                  <c:v>1.0721496519721578</c:v>
                </c:pt>
                <c:pt idx="2">
                  <c:v>1.1394181545135993</c:v>
                </c:pt>
                <c:pt idx="3">
                  <c:v>1.115512163359544</c:v>
                </c:pt>
                <c:pt idx="4">
                  <c:v>1.3168926402943881</c:v>
                </c:pt>
                <c:pt idx="5">
                  <c:v>1.1231391720244628</c:v>
                </c:pt>
                <c:pt idx="6">
                  <c:v>1.0254709944900857</c:v>
                </c:pt>
                <c:pt idx="7">
                  <c:v>1.1857635087719298</c:v>
                </c:pt>
                <c:pt idx="8">
                  <c:v>0.9700406527137283</c:v>
                </c:pt>
                <c:pt idx="9">
                  <c:v>1.450639151353594</c:v>
                </c:pt>
                <c:pt idx="10">
                  <c:v>1.1445883138564272</c:v>
                </c:pt>
                <c:pt idx="11">
                  <c:v>1.149101800180018</c:v>
                </c:pt>
                <c:pt idx="12">
                  <c:v>1.0057675858360102</c:v>
                </c:pt>
                <c:pt idx="13">
                  <c:v>1.1092499795148414</c:v>
                </c:pt>
                <c:pt idx="14">
                  <c:v>1.1478441570026763</c:v>
                </c:pt>
                <c:pt idx="15">
                  <c:v>1.0481913423351867</c:v>
                </c:pt>
                <c:pt idx="16">
                  <c:v>1.0311479276563678</c:v>
                </c:pt>
                <c:pt idx="17">
                  <c:v>0.996525</c:v>
                </c:pt>
                <c:pt idx="18">
                  <c:v>0.9611574061433448</c:v>
                </c:pt>
                <c:pt idx="19">
                  <c:v>1.1640739728167473</c:v>
                </c:pt>
                <c:pt idx="20">
                  <c:v>1.096577535687453</c:v>
                </c:pt>
                <c:pt idx="21">
                  <c:v>1.272319172413793</c:v>
                </c:pt>
                <c:pt idx="22">
                  <c:v>1.308237643534698</c:v>
                </c:pt>
                <c:pt idx="23">
                  <c:v>1.1429648988611254</c:v>
                </c:pt>
                <c:pt idx="24">
                  <c:v>1.0009082655709334</c:v>
                </c:pt>
                <c:pt idx="25">
                  <c:v>1.0703769954078286</c:v>
                </c:pt>
                <c:pt idx="26">
                  <c:v>1.136131004366812</c:v>
                </c:pt>
                <c:pt idx="27">
                  <c:v>1.0745532123589996</c:v>
                </c:pt>
                <c:pt idx="28">
                  <c:v>1.0988075694678023</c:v>
                </c:pt>
                <c:pt idx="29">
                  <c:v>0.977592710186795</c:v>
                </c:pt>
                <c:pt idx="30">
                  <c:v>1.031755337316786</c:v>
                </c:pt>
                <c:pt idx="31">
                  <c:v>1.0700855848153217</c:v>
                </c:pt>
                <c:pt idx="32">
                  <c:v>1.079976230613621</c:v>
                </c:pt>
                <c:pt idx="33">
                  <c:v>1.3250986797066013</c:v>
                </c:pt>
                <c:pt idx="34">
                  <c:v>1.5657332163943538</c:v>
                </c:pt>
                <c:pt idx="35">
                  <c:v>1.0850626943824553</c:v>
                </c:pt>
                <c:pt idx="36">
                  <c:v>1.1433308761028385</c:v>
                </c:pt>
                <c:pt idx="37">
                  <c:v>1.0706926633970573</c:v>
                </c:pt>
                <c:pt idx="38">
                  <c:v>1.0600737482819558</c:v>
                </c:pt>
                <c:pt idx="39">
                  <c:v>1.1118616774407426</c:v>
                </c:pt>
                <c:pt idx="40">
                  <c:v>1.059912586779354</c:v>
                </c:pt>
                <c:pt idx="41">
                  <c:v>1.1047519918720439</c:v>
                </c:pt>
                <c:pt idx="42">
                  <c:v>1.0959217912834867</c:v>
                </c:pt>
                <c:pt idx="43">
                  <c:v>1.0137088383246078</c:v>
                </c:pt>
                <c:pt idx="44">
                  <c:v>1.0520128783122757</c:v>
                </c:pt>
                <c:pt idx="45">
                  <c:v>1.0600346918314014</c:v>
                </c:pt>
                <c:pt idx="46">
                  <c:v>1.0281545353994588</c:v>
                </c:pt>
                <c:pt idx="47">
                  <c:v>1.0379117205913864</c:v>
                </c:pt>
                <c:pt idx="48">
                  <c:v>0.9174410190068663</c:v>
                </c:pt>
                <c:pt idx="49">
                  <c:v>1.0679297341136693</c:v>
                </c:pt>
                <c:pt idx="50">
                  <c:v>0.9634300292390225</c:v>
                </c:pt>
                <c:pt idx="51">
                  <c:v>1.009670196797902</c:v>
                </c:pt>
              </c:numCache>
            </c:numRef>
          </c:xVal>
          <c:yVal>
            <c:numRef>
              <c:f>Sheet1!$B$109:$B$160</c:f>
              <c:numCache>
                <c:formatCode>General</c:formatCode>
                <c:ptCount val="52"/>
                <c:pt idx="0">
                  <c:v>0.25</c:v>
                </c:pt>
                <c:pt idx="1">
                  <c:v>0.23895976447497547</c:v>
                </c:pt>
                <c:pt idx="2">
                  <c:v>0.24209614551754005</c:v>
                </c:pt>
                <c:pt idx="3">
                  <c:v>0.2534637326813366</c:v>
                </c:pt>
                <c:pt idx="4">
                  <c:v>0.2475478748248482</c:v>
                </c:pt>
                <c:pt idx="5">
                  <c:v>0.25393154486586494</c:v>
                </c:pt>
                <c:pt idx="6">
                  <c:v>0.24776386404293382</c:v>
                </c:pt>
                <c:pt idx="7">
                  <c:v>0.27904191616766466</c:v>
                </c:pt>
                <c:pt idx="8">
                  <c:v>0.3069888961463096</c:v>
                </c:pt>
                <c:pt idx="9">
                  <c:v>0.30091012514220705</c:v>
                </c:pt>
                <c:pt idx="10">
                  <c:v>0.2730318257956449</c:v>
                </c:pt>
                <c:pt idx="11">
                  <c:v>0.27494824016563146</c:v>
                </c:pt>
                <c:pt idx="12">
                  <c:v>0.2905942910622368</c:v>
                </c:pt>
                <c:pt idx="13">
                  <c:v>0.28737300435413643</c:v>
                </c:pt>
                <c:pt idx="14">
                  <c:v>0.273783185840708</c:v>
                </c:pt>
                <c:pt idx="15">
                  <c:v>0.2522255192878338</c:v>
                </c:pt>
                <c:pt idx="16">
                  <c:v>0.23612087139845397</c:v>
                </c:pt>
                <c:pt idx="17">
                  <c:v>0.246996996996997</c:v>
                </c:pt>
                <c:pt idx="18">
                  <c:v>0.2420443587270974</c:v>
                </c:pt>
                <c:pt idx="19">
                  <c:v>0.24461028192371476</c:v>
                </c:pt>
                <c:pt idx="20">
                  <c:v>0.23295454545454544</c:v>
                </c:pt>
                <c:pt idx="21">
                  <c:v>0.2410032715376227</c:v>
                </c:pt>
                <c:pt idx="22">
                  <c:v>0.2631578947368421</c:v>
                </c:pt>
                <c:pt idx="23">
                  <c:v>0.23572744014732966</c:v>
                </c:pt>
                <c:pt idx="24">
                  <c:v>0.22122448979591836</c:v>
                </c:pt>
                <c:pt idx="25">
                  <c:v>0.23626852659110723</c:v>
                </c:pt>
                <c:pt idx="26">
                  <c:v>0.24798567591763654</c:v>
                </c:pt>
                <c:pt idx="27">
                  <c:v>0.24528301886792453</c:v>
                </c:pt>
                <c:pt idx="28">
                  <c:v>0.23966244725738398</c:v>
                </c:pt>
                <c:pt idx="29">
                  <c:v>0.27245508982035926</c:v>
                </c:pt>
                <c:pt idx="30">
                  <c:v>0.2692307692307692</c:v>
                </c:pt>
                <c:pt idx="31">
                  <c:v>0.26460071513706795</c:v>
                </c:pt>
                <c:pt idx="32">
                  <c:v>0.25875706214689265</c:v>
                </c:pt>
                <c:pt idx="33">
                  <c:v>0.28879310344827586</c:v>
                </c:pt>
                <c:pt idx="34">
                  <c:v>0.3057057057057057</c:v>
                </c:pt>
                <c:pt idx="35">
                  <c:v>0.3260099220411056</c:v>
                </c:pt>
                <c:pt idx="36">
                  <c:v>0.3064713064713065</c:v>
                </c:pt>
                <c:pt idx="37">
                  <c:v>0.3032608695652174</c:v>
                </c:pt>
                <c:pt idx="38">
                  <c:v>0.26745718050065875</c:v>
                </c:pt>
                <c:pt idx="39">
                  <c:v>0.2970749542961609</c:v>
                </c:pt>
                <c:pt idx="40">
                  <c:v>0.27812223206377323</c:v>
                </c:pt>
                <c:pt idx="41">
                  <c:v>0.2928452579034942</c:v>
                </c:pt>
                <c:pt idx="42">
                  <c:v>0.2740112994350282</c:v>
                </c:pt>
                <c:pt idx="43">
                  <c:v>0.2774982027318476</c:v>
                </c:pt>
                <c:pt idx="44">
                  <c:v>0.2588801926550271</c:v>
                </c:pt>
                <c:pt idx="45">
                  <c:v>0.26370866471326915</c:v>
                </c:pt>
                <c:pt idx="46">
                  <c:v>0.27449124467581637</c:v>
                </c:pt>
                <c:pt idx="47">
                  <c:v>0.28389290267743306</c:v>
                </c:pt>
                <c:pt idx="48">
                  <c:v>0.26709973251815056</c:v>
                </c:pt>
                <c:pt idx="49">
                  <c:v>0.2720836142953473</c:v>
                </c:pt>
                <c:pt idx="50">
                  <c:v>0.2670596236681025</c:v>
                </c:pt>
                <c:pt idx="51">
                  <c:v>0.2529011604641856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9613808448695809</c:v>
                </c:pt>
              </c:numCache>
            </c:numRef>
          </c:xVal>
          <c:yVal>
            <c:numRef>
              <c:f>Sheet1!$B$163:$B$164</c:f>
              <c:numCache>
                <c:formatCode>General</c:formatCode>
                <c:ptCount val="2"/>
                <c:pt idx="0">
                  <c:v>0.302534715421116</c:v>
                </c:pt>
                <c:pt idx="1">
                  <c:v>0.30253471542111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9613808448695809</c:v>
                </c:pt>
                <c:pt idx="1">
                  <c:v>1.9613808448695809</c:v>
                </c:pt>
              </c:numCache>
            </c:numRef>
          </c:xVal>
          <c:yVal>
            <c:numRef>
              <c:f>Sheet1!$B$167:$B$168</c:f>
              <c:numCache>
                <c:formatCode>General</c:formatCode>
                <c:ptCount val="2"/>
                <c:pt idx="0">
                  <c:v>0.30253471542111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5479807004377293</c:v>
                </c:pt>
              </c:numCache>
            </c:numRef>
          </c:xVal>
          <c:yVal>
            <c:numRef>
              <c:f>Sheet1!$B$171:$B$172</c:f>
              <c:numCache>
                <c:formatCode>General</c:formatCode>
                <c:ptCount val="2"/>
                <c:pt idx="0">
                  <c:v>0.28490186382539523</c:v>
                </c:pt>
                <c:pt idx="1">
                  <c:v>0.2849018638253952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5479807004377293</c:v>
                </c:pt>
                <c:pt idx="1">
                  <c:v>1.5479807004377293</c:v>
                </c:pt>
              </c:numCache>
            </c:numRef>
          </c:xVal>
          <c:yVal>
            <c:numRef>
              <c:f>Sheet1!$B$175:$B$176</c:f>
              <c:numCache>
                <c:formatCode>General</c:formatCode>
                <c:ptCount val="2"/>
                <c:pt idx="0">
                  <c:v>0.2849018638253952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288184077621571</c:v>
                </c:pt>
              </c:numCache>
            </c:numRef>
          </c:xVal>
          <c:yVal>
            <c:numRef>
              <c:f>Sheet1!$B$179:$B$180</c:f>
              <c:numCache>
                <c:formatCode>General</c:formatCode>
                <c:ptCount val="2"/>
                <c:pt idx="0">
                  <c:v>0.2738206986228951</c:v>
                </c:pt>
                <c:pt idx="1">
                  <c:v>0.273820698622895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288184077621571</c:v>
                </c:pt>
                <c:pt idx="1">
                  <c:v>1.288184077621571</c:v>
                </c:pt>
              </c:numCache>
            </c:numRef>
          </c:xVal>
          <c:yVal>
            <c:numRef>
              <c:f>Sheet1!$B$183:$B$184</c:f>
              <c:numCache>
                <c:formatCode>General</c:formatCode>
                <c:ptCount val="2"/>
                <c:pt idx="0">
                  <c:v>0.273820698622895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07021218925421</c:v>
                </c:pt>
                <c:pt idx="1">
                  <c:v>1.0721496519721578</c:v>
                </c:pt>
                <c:pt idx="2">
                  <c:v>1.1394181545135993</c:v>
                </c:pt>
                <c:pt idx="3">
                  <c:v>1.115512163359544</c:v>
                </c:pt>
                <c:pt idx="4">
                  <c:v>1.3168926402943881</c:v>
                </c:pt>
                <c:pt idx="5">
                  <c:v>1.1231391720244628</c:v>
                </c:pt>
                <c:pt idx="6">
                  <c:v>1.0254709944900857</c:v>
                </c:pt>
                <c:pt idx="7">
                  <c:v>1.1857635087719298</c:v>
                </c:pt>
                <c:pt idx="8">
                  <c:v>0.9700406527137283</c:v>
                </c:pt>
                <c:pt idx="9">
                  <c:v>1.450639151353594</c:v>
                </c:pt>
                <c:pt idx="10">
                  <c:v>1.1445883138564272</c:v>
                </c:pt>
                <c:pt idx="11">
                  <c:v>1.149101800180018</c:v>
                </c:pt>
                <c:pt idx="12">
                  <c:v>1.0057675858360102</c:v>
                </c:pt>
                <c:pt idx="13">
                  <c:v>1.1092499795148414</c:v>
                </c:pt>
                <c:pt idx="14">
                  <c:v>1.1478441570026763</c:v>
                </c:pt>
                <c:pt idx="15">
                  <c:v>1.0481913423351867</c:v>
                </c:pt>
                <c:pt idx="16">
                  <c:v>1.0311479276563678</c:v>
                </c:pt>
                <c:pt idx="17">
                  <c:v>0.996525</c:v>
                </c:pt>
                <c:pt idx="18">
                  <c:v>0.9611574061433448</c:v>
                </c:pt>
                <c:pt idx="19">
                  <c:v>1.1640739728167473</c:v>
                </c:pt>
                <c:pt idx="20">
                  <c:v>1.096577535687453</c:v>
                </c:pt>
                <c:pt idx="21">
                  <c:v>1.272319172413793</c:v>
                </c:pt>
                <c:pt idx="22">
                  <c:v>1.308237643534698</c:v>
                </c:pt>
                <c:pt idx="23">
                  <c:v>1.1429648988611254</c:v>
                </c:pt>
                <c:pt idx="24">
                  <c:v>1.0009082655709334</c:v>
                </c:pt>
                <c:pt idx="25">
                  <c:v>1.0703769954078286</c:v>
                </c:pt>
                <c:pt idx="26">
                  <c:v>1.136131004366812</c:v>
                </c:pt>
                <c:pt idx="27">
                  <c:v>1.0745532123589996</c:v>
                </c:pt>
                <c:pt idx="28">
                  <c:v>1.0988075694678023</c:v>
                </c:pt>
                <c:pt idx="29">
                  <c:v>0.977592710186795</c:v>
                </c:pt>
                <c:pt idx="30">
                  <c:v>1.031755337316786</c:v>
                </c:pt>
                <c:pt idx="31">
                  <c:v>1.0700855848153217</c:v>
                </c:pt>
                <c:pt idx="32">
                  <c:v>1.079976230613621</c:v>
                </c:pt>
                <c:pt idx="33">
                  <c:v>1.3250986797066013</c:v>
                </c:pt>
                <c:pt idx="34">
                  <c:v>1.5657332163943538</c:v>
                </c:pt>
                <c:pt idx="35">
                  <c:v>1.0850626943824553</c:v>
                </c:pt>
                <c:pt idx="36">
                  <c:v>1.1433308761028385</c:v>
                </c:pt>
                <c:pt idx="37">
                  <c:v>1.0706926633970573</c:v>
                </c:pt>
                <c:pt idx="38">
                  <c:v>1.0600737482819558</c:v>
                </c:pt>
                <c:pt idx="39">
                  <c:v>1.1118616774407426</c:v>
                </c:pt>
                <c:pt idx="40">
                  <c:v>1.059912586779354</c:v>
                </c:pt>
                <c:pt idx="41">
                  <c:v>1.1047519918720439</c:v>
                </c:pt>
                <c:pt idx="42">
                  <c:v>1.0959217912834867</c:v>
                </c:pt>
                <c:pt idx="43">
                  <c:v>1.0137088383246078</c:v>
                </c:pt>
                <c:pt idx="44">
                  <c:v>1.0520128783122757</c:v>
                </c:pt>
                <c:pt idx="45">
                  <c:v>1.0600346918314014</c:v>
                </c:pt>
                <c:pt idx="46">
                  <c:v>1.0281545353994588</c:v>
                </c:pt>
                <c:pt idx="47">
                  <c:v>1.0379117205913864</c:v>
                </c:pt>
                <c:pt idx="48">
                  <c:v>0.9174410190068663</c:v>
                </c:pt>
                <c:pt idx="49">
                  <c:v>1.0679297341136693</c:v>
                </c:pt>
                <c:pt idx="50">
                  <c:v>0.9634300292390225</c:v>
                </c:pt>
                <c:pt idx="51">
                  <c:v>1.009670196797902</c:v>
                </c:pt>
                <c:pt idx="52">
                  <c:v>1.5479807004377293</c:v>
                </c:pt>
                <c:pt idx="53">
                  <c:v>1.9613808448695809</c:v>
                </c:pt>
                <c:pt idx="54">
                  <c:v>1.288184077621571</c:v>
                </c:pt>
              </c:numCache>
            </c:numRef>
          </c:xVal>
          <c:yVal>
            <c:numRef>
              <c:f>Sheet1!$B$187:$B$241</c:f>
              <c:numCache>
                <c:formatCode>General</c:formatCode>
                <c:ptCount val="55"/>
                <c:pt idx="0">
                  <c:v>0.2645234934540317</c:v>
                </c:pt>
                <c:pt idx="1">
                  <c:v>0.2646061324976749</c:v>
                </c:pt>
                <c:pt idx="2">
                  <c:v>0.2674753514332651</c:v>
                </c:pt>
                <c:pt idx="3">
                  <c:v>0.26645568368533196</c:v>
                </c:pt>
                <c:pt idx="4">
                  <c:v>0.27504521156018963</c:v>
                </c:pt>
                <c:pt idx="5">
                  <c:v>0.26678100024295587</c:v>
                </c:pt>
                <c:pt idx="6">
                  <c:v>0.2626151369666984</c:v>
                </c:pt>
                <c:pt idx="7">
                  <c:v>0.2694521305050561</c:v>
                </c:pt>
                <c:pt idx="8">
                  <c:v>0.26025085382938634</c:v>
                </c:pt>
                <c:pt idx="9">
                  <c:v>0.28074993230767153</c:v>
                </c:pt>
                <c:pt idx="10">
                  <c:v>0.26769587543076784</c:v>
                </c:pt>
                <c:pt idx="11">
                  <c:v>0.26788839020270283</c:v>
                </c:pt>
                <c:pt idx="12">
                  <c:v>0.26177472293828863</c:v>
                </c:pt>
                <c:pt idx="13">
                  <c:v>0.26618858131518036</c:v>
                </c:pt>
                <c:pt idx="14">
                  <c:v>0.2678347476585356</c:v>
                </c:pt>
                <c:pt idx="15">
                  <c:v>0.2635842331974373</c:v>
                </c:pt>
                <c:pt idx="16">
                  <c:v>0.26285727650483875</c:v>
                </c:pt>
                <c:pt idx="17">
                  <c:v>0.2613804967954046</c:v>
                </c:pt>
                <c:pt idx="18">
                  <c:v>0.2598719546669803</c:v>
                </c:pt>
                <c:pt idx="19">
                  <c:v>0.2685270017313267</c:v>
                </c:pt>
                <c:pt idx="20">
                  <c:v>0.2656480606492514</c:v>
                </c:pt>
                <c:pt idx="21">
                  <c:v>0.27314400916625886</c:v>
                </c:pt>
                <c:pt idx="22">
                  <c:v>0.27467604798954115</c:v>
                </c:pt>
                <c:pt idx="23">
                  <c:v>0.26762663153698607</c:v>
                </c:pt>
                <c:pt idx="24">
                  <c:v>0.2615674572315774</c:v>
                </c:pt>
                <c:pt idx="25">
                  <c:v>0.2645305229688685</c:v>
                </c:pt>
                <c:pt idx="26">
                  <c:v>0.2673351438607912</c:v>
                </c:pt>
                <c:pt idx="27">
                  <c:v>0.26470865211256467</c:v>
                </c:pt>
                <c:pt idx="28">
                  <c:v>0.265743178793819</c:v>
                </c:pt>
                <c:pt idx="29">
                  <c:v>0.2605729734765576</c:v>
                </c:pt>
                <c:pt idx="30">
                  <c:v>0.26288318448901393</c:v>
                </c:pt>
                <c:pt idx="31">
                  <c:v>0.26451809336573384</c:v>
                </c:pt>
                <c:pt idx="32">
                  <c:v>0.2649399613594834</c:v>
                </c:pt>
                <c:pt idx="33">
                  <c:v>0.27539522564966956</c:v>
                </c:pt>
                <c:pt idx="34">
                  <c:v>0.28565906597815216</c:v>
                </c:pt>
                <c:pt idx="35">
                  <c:v>0.2651569154703876</c:v>
                </c:pt>
                <c:pt idx="36">
                  <c:v>0.26764224164858724</c:v>
                </c:pt>
                <c:pt idx="37">
                  <c:v>0.2645439872283337</c:v>
                </c:pt>
                <c:pt idx="38">
                  <c:v>0.26409105619564266</c:v>
                </c:pt>
                <c:pt idx="39">
                  <c:v>0.26629997866847244</c:v>
                </c:pt>
                <c:pt idx="40">
                  <c:v>0.26408418213694534</c:v>
                </c:pt>
                <c:pt idx="41">
                  <c:v>0.2659967276120477</c:v>
                </c:pt>
                <c:pt idx="42">
                  <c:v>0.26562009103212475</c:v>
                </c:pt>
                <c:pt idx="43">
                  <c:v>0.26211344301011646</c:v>
                </c:pt>
                <c:pt idx="44">
                  <c:v>0.26374723405183786</c:v>
                </c:pt>
                <c:pt idx="45">
                  <c:v>0.26408939031185974</c:v>
                </c:pt>
                <c:pt idx="46">
                  <c:v>0.26272959865531503</c:v>
                </c:pt>
                <c:pt idx="47">
                  <c:v>0.2631457741230756</c:v>
                </c:pt>
                <c:pt idx="48">
                  <c:v>0.2580073095354746</c:v>
                </c:pt>
                <c:pt idx="49">
                  <c:v>0.26442613936911147</c:v>
                </c:pt>
                <c:pt idx="50">
                  <c:v>0.259968889383426</c:v>
                </c:pt>
                <c:pt idx="51">
                  <c:v>0.26194118190269333</c:v>
                </c:pt>
                <c:pt idx="52">
                  <c:v>0.28490186382539523</c:v>
                </c:pt>
                <c:pt idx="53">
                  <c:v>0.302534715421116</c:v>
                </c:pt>
                <c:pt idx="54">
                  <c:v>0.273820698622895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937972768532527"/>
          <c:min val="0.167562557924003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429326070246997</c:v>
                </c:pt>
                <c:pt idx="1">
                  <c:v>0.7559570263062854</c:v>
                </c:pt>
                <c:pt idx="2">
                  <c:v>0.7647525261735731</c:v>
                </c:pt>
                <c:pt idx="3">
                  <c:v>0.5750223842571716</c:v>
                </c:pt>
                <c:pt idx="4">
                  <c:v>0.6582462224035797</c:v>
                </c:pt>
                <c:pt idx="5">
                  <c:v>0.8403010204207565</c:v>
                </c:pt>
                <c:pt idx="6">
                  <c:v>0.672349914847083</c:v>
                </c:pt>
                <c:pt idx="7">
                  <c:v>0.4793004512977399</c:v>
                </c:pt>
                <c:pt idx="8">
                  <c:v>0.7642625659008446</c:v>
                </c:pt>
                <c:pt idx="9">
                  <c:v>0.6348077198013546</c:v>
                </c:pt>
                <c:pt idx="10">
                  <c:v>0.5924496432361815</c:v>
                </c:pt>
                <c:pt idx="11">
                  <c:v>0.4993850994710633</c:v>
                </c:pt>
                <c:pt idx="12">
                  <c:v>0.7782143139220454</c:v>
                </c:pt>
                <c:pt idx="13">
                  <c:v>0.568609195952142</c:v>
                </c:pt>
                <c:pt idx="14">
                  <c:v>0.0</c:v>
                </c:pt>
                <c:pt idx="15">
                  <c:v>0.38725841596222027</c:v>
                </c:pt>
                <c:pt idx="16">
                  <c:v>0.21618626431221058</c:v>
                </c:pt>
                <c:pt idx="17">
                  <c:v>0.6032141873776699</c:v>
                </c:pt>
                <c:pt idx="18">
                  <c:v>0.0</c:v>
                </c:pt>
                <c:pt idx="19">
                  <c:v>0.35333521902532794</c:v>
                </c:pt>
                <c:pt idx="20">
                  <c:v>0.47416817931832267</c:v>
                </c:pt>
                <c:pt idx="21">
                  <c:v>0.6167463300403138</c:v>
                </c:pt>
                <c:pt idx="22">
                  <c:v>0.4860035298683947</c:v>
                </c:pt>
                <c:pt idx="23">
                  <c:v>0.5899469450152789</c:v>
                </c:pt>
                <c:pt idx="24">
                  <c:v>0.5476290587818347</c:v>
                </c:pt>
                <c:pt idx="25">
                  <c:v>0.42262506300035846</c:v>
                </c:pt>
                <c:pt idx="26">
                  <c:v>0.6166844349551803</c:v>
                </c:pt>
                <c:pt idx="27">
                  <c:v>1.4657116981534253</c:v>
                </c:pt>
                <c:pt idx="28">
                  <c:v>0.3208915301738611</c:v>
                </c:pt>
                <c:pt idx="29">
                  <c:v>0.6932973265310955</c:v>
                </c:pt>
                <c:pt idx="30">
                  <c:v>0.37369903626026374</c:v>
                </c:pt>
                <c:pt idx="31">
                  <c:v>0.4795297078055122</c:v>
                </c:pt>
                <c:pt idx="32">
                  <c:v>0.8148025951380286</c:v>
                </c:pt>
                <c:pt idx="33">
                  <c:v>0.37650153222753946</c:v>
                </c:pt>
                <c:pt idx="34">
                  <c:v>0.3458072164829871</c:v>
                </c:pt>
                <c:pt idx="35">
                  <c:v>0.3736932340700622</c:v>
                </c:pt>
                <c:pt idx="36">
                  <c:v>0.6207993277114372</c:v>
                </c:pt>
                <c:pt idx="37">
                  <c:v>0.43664691028732194</c:v>
                </c:pt>
                <c:pt idx="38">
                  <c:v>0.739247403889107</c:v>
                </c:pt>
                <c:pt idx="39">
                  <c:v>0.5590368741151369</c:v>
                </c:pt>
                <c:pt idx="40">
                  <c:v>0.8697125936654194</c:v>
                </c:pt>
                <c:pt idx="41">
                  <c:v>0.5322880555389095</c:v>
                </c:pt>
                <c:pt idx="42">
                  <c:v>1.0431422364371787</c:v>
                </c:pt>
                <c:pt idx="43">
                  <c:v>0.7070383687163881</c:v>
                </c:pt>
                <c:pt idx="44">
                  <c:v>0.4500737801302167</c:v>
                </c:pt>
                <c:pt idx="45">
                  <c:v>0.4517901575536142</c:v>
                </c:pt>
                <c:pt idx="46">
                  <c:v>0.41955839089343233</c:v>
                </c:pt>
                <c:pt idx="47">
                  <c:v>0.34668011550675715</c:v>
                </c:pt>
                <c:pt idx="48">
                  <c:v>0.47524012857297304</c:v>
                </c:pt>
                <c:pt idx="49">
                  <c:v>0.4086617480556271</c:v>
                </c:pt>
                <c:pt idx="50">
                  <c:v>0.46241572687656457</c:v>
                </c:pt>
                <c:pt idx="51">
                  <c:v>0.42830788370397344</c:v>
                </c:pt>
                <c:pt idx="52">
                  <c:v>0.513519335613833</c:v>
                </c:pt>
                <c:pt idx="53">
                  <c:v>0.43594904211986735</c:v>
                </c:pt>
                <c:pt idx="54">
                  <c:v>0.443657521090273</c:v>
                </c:pt>
                <c:pt idx="55">
                  <c:v>0.5047866212606499</c:v>
                </c:pt>
                <c:pt idx="56">
                  <c:v>1.0508358072033415</c:v>
                </c:pt>
                <c:pt idx="57">
                  <c:v>0.40803987786267065</c:v>
                </c:pt>
                <c:pt idx="58">
                  <c:v>0.44088262542941087</c:v>
                </c:pt>
                <c:pt idx="59">
                  <c:v>0.36152469105171947</c:v>
                </c:pt>
                <c:pt idx="60">
                  <c:v>0.3111059830638786</c:v>
                </c:pt>
                <c:pt idx="61">
                  <c:v>0.31158323107375596</c:v>
                </c:pt>
                <c:pt idx="62">
                  <c:v>0.30220198412433324</c:v>
                </c:pt>
                <c:pt idx="63">
                  <c:v>0.25131205183942845</c:v>
                </c:pt>
                <c:pt idx="64">
                  <c:v>0.2764823871624282</c:v>
                </c:pt>
                <c:pt idx="65">
                  <c:v>0.25282264241952024</c:v>
                </c:pt>
                <c:pt idx="66">
                  <c:v>0.24138036615975877</c:v>
                </c:pt>
                <c:pt idx="67">
                  <c:v>0.31900403327122456</c:v>
                </c:pt>
                <c:pt idx="68">
                  <c:v>0.23474779264079063</c:v>
                </c:pt>
                <c:pt idx="69">
                  <c:v>0.20212941396794157</c:v>
                </c:pt>
                <c:pt idx="70">
                  <c:v>0.21361696099187297</c:v>
                </c:pt>
                <c:pt idx="71">
                  <c:v>0.172531331157601</c:v>
                </c:pt>
                <c:pt idx="72">
                  <c:v>0.2747904731712203</c:v>
                </c:pt>
                <c:pt idx="73">
                  <c:v>0.18820768880512903</c:v>
                </c:pt>
                <c:pt idx="74">
                  <c:v>0.23166024925596004</c:v>
                </c:pt>
                <c:pt idx="75">
                  <c:v>0.3539876493249175</c:v>
                </c:pt>
                <c:pt idx="76">
                  <c:v>0.3521793049533665</c:v>
                </c:pt>
                <c:pt idx="77">
                  <c:v>0.4038590127615937</c:v>
                </c:pt>
                <c:pt idx="78">
                  <c:v>0.2720723598177342</c:v>
                </c:pt>
                <c:pt idx="79">
                  <c:v>0.4213573054515447</c:v>
                </c:pt>
                <c:pt idx="80">
                  <c:v>0.37664429390508675</c:v>
                </c:pt>
                <c:pt idx="81">
                  <c:v>0.31737378720364545</c:v>
                </c:pt>
                <c:pt idx="82">
                  <c:v>0.38201309755803603</c:v>
                </c:pt>
                <c:pt idx="83">
                  <c:v>0.37553437750866325</c:v>
                </c:pt>
                <c:pt idx="84">
                  <c:v>0.3695392867160934</c:v>
                </c:pt>
                <c:pt idx="85">
                  <c:v>0.3133787330399198</c:v>
                </c:pt>
                <c:pt idx="86">
                  <c:v>0.4345538864828965</c:v>
                </c:pt>
                <c:pt idx="87">
                  <c:v>0.42778392177859725</c:v>
                </c:pt>
                <c:pt idx="88">
                  <c:v>0.3662173656821902</c:v>
                </c:pt>
                <c:pt idx="89">
                  <c:v>0.3366277619544934</c:v>
                </c:pt>
                <c:pt idx="90">
                  <c:v>0.36029216154305344</c:v>
                </c:pt>
                <c:pt idx="91">
                  <c:v>0.3553786075080623</c:v>
                </c:pt>
                <c:pt idx="92">
                  <c:v>0.38205984495289275</c:v>
                </c:pt>
                <c:pt idx="93">
                  <c:v>0.38790653618377546</c:v>
                </c:pt>
                <c:pt idx="94">
                  <c:v>0.43638117470597626</c:v>
                </c:pt>
                <c:pt idx="95">
                  <c:v>0.3824720886837385</c:v>
                </c:pt>
                <c:pt idx="96">
                  <c:v>0.3089411747151546</c:v>
                </c:pt>
                <c:pt idx="97">
                  <c:v>0.3210660660283336</c:v>
                </c:pt>
                <c:pt idx="98">
                  <c:v>0.31528250372441635</c:v>
                </c:pt>
                <c:pt idx="99">
                  <c:v>0.3297766480431877</c:v>
                </c:pt>
                <c:pt idx="100">
                  <c:v>0.38633304362319815</c:v>
                </c:pt>
                <c:pt idx="101">
                  <c:v>0.3630552715110684</c:v>
                </c:pt>
                <c:pt idx="102">
                  <c:v>0.3661956196178641</c:v>
                </c:pt>
                <c:pt idx="103">
                  <c:v>0.37522453304561454</c:v>
                </c:pt>
                <c:pt idx="104">
                  <c:v>0.4185082105412163</c:v>
                </c:pt>
              </c:numCache>
            </c:numRef>
          </c:xVal>
          <c:yVal>
            <c:numRef>
              <c:f>Sheet1!$B$2:$B$106</c:f>
              <c:numCache>
                <c:formatCode>General</c:formatCode>
                <c:ptCount val="105"/>
                <c:pt idx="0">
                  <c:v>0.00031891666462232905</c:v>
                </c:pt>
                <c:pt idx="1">
                  <c:v>7.925395609330832e-05</c:v>
                </c:pt>
                <c:pt idx="2">
                  <c:v>7.552299675251114e-05</c:v>
                </c:pt>
                <c:pt idx="3">
                  <c:v>8.004482510205715e-05</c:v>
                </c:pt>
                <c:pt idx="4">
                  <c:v>6.23966555392631e-05</c:v>
                </c:pt>
                <c:pt idx="5">
                  <c:v>9.592939596457007e-05</c:v>
                </c:pt>
                <c:pt idx="6">
                  <c:v>0.00018364348677766894</c:v>
                </c:pt>
                <c:pt idx="7">
                  <c:v>0.00021239689900527452</c:v>
                </c:pt>
                <c:pt idx="8">
                  <c:v>0.00011040777270719859</c:v>
                </c:pt>
                <c:pt idx="9">
                  <c:v>0.00013936505281935503</c:v>
                </c:pt>
                <c:pt idx="10">
                  <c:v>0.00010755868670843529</c:v>
                </c:pt>
                <c:pt idx="11">
                  <c:v>0.00018949648077964268</c:v>
                </c:pt>
                <c:pt idx="12">
                  <c:v>0.0001240664003374606</c:v>
                </c:pt>
                <c:pt idx="13">
                  <c:v>0.0001557955961778147</c:v>
                </c:pt>
                <c:pt idx="14">
                  <c:v>0.0</c:v>
                </c:pt>
                <c:pt idx="15">
                  <c:v>0.0001552891483943102</c:v>
                </c:pt>
                <c:pt idx="16">
                  <c:v>0.00014245014245014244</c:v>
                </c:pt>
                <c:pt idx="17">
                  <c:v>7.810974419058778e-05</c:v>
                </c:pt>
                <c:pt idx="18">
                  <c:v>0.0</c:v>
                </c:pt>
                <c:pt idx="19">
                  <c:v>0.00015323322096230462</c:v>
                </c:pt>
                <c:pt idx="20">
                  <c:v>0.00012568077084206116</c:v>
                </c:pt>
                <c:pt idx="21">
                  <c:v>5.258176464402145e-05</c:v>
                </c:pt>
                <c:pt idx="22">
                  <c:v>0.00020876826722338206</c:v>
                </c:pt>
                <c:pt idx="23">
                  <c:v>0.00016326530612244898</c:v>
                </c:pt>
                <c:pt idx="24">
                  <c:v>0.00020263424518743666</c:v>
                </c:pt>
                <c:pt idx="25">
                  <c:v>0.00034784625195663515</c:v>
                </c:pt>
                <c:pt idx="26">
                  <c:v>0.00025718841623373286</c:v>
                </c:pt>
                <c:pt idx="27">
                  <c:v>5.061241016297196e-05</c:v>
                </c:pt>
                <c:pt idx="28">
                  <c:v>0.0002570694087403599</c:v>
                </c:pt>
                <c:pt idx="29">
                  <c:v>0.00017968644714972374</c:v>
                </c:pt>
                <c:pt idx="30">
                  <c:v>0.00023078698361412417</c:v>
                </c:pt>
                <c:pt idx="31">
                  <c:v>0.0002249212775528565</c:v>
                </c:pt>
                <c:pt idx="32">
                  <c:v>0.00011039355301650383</c:v>
                </c:pt>
                <c:pt idx="33">
                  <c:v>0.00039227651135422567</c:v>
                </c:pt>
                <c:pt idx="34">
                  <c:v>0.0004630165528417641</c:v>
                </c:pt>
                <c:pt idx="35">
                  <c:v>0.0004770504651242035</c:v>
                </c:pt>
                <c:pt idx="36">
                  <c:v>0.00016523463317911433</c:v>
                </c:pt>
                <c:pt idx="37">
                  <c:v>0.00019287333044023337</c:v>
                </c:pt>
                <c:pt idx="38">
                  <c:v>9.664637092877162e-05</c:v>
                </c:pt>
                <c:pt idx="39">
                  <c:v>0.00020469781485082646</c:v>
                </c:pt>
                <c:pt idx="40">
                  <c:v>8.289468230613006e-05</c:v>
                </c:pt>
                <c:pt idx="41">
                  <c:v>0.0001376399339328317</c:v>
                </c:pt>
                <c:pt idx="42">
                  <c:v>3.913894324853229e-05</c:v>
                </c:pt>
                <c:pt idx="43">
                  <c:v>0.00010425716768027802</c:v>
                </c:pt>
                <c:pt idx="44">
                  <c:v>0.00014063708599957808</c:v>
                </c:pt>
                <c:pt idx="45">
                  <c:v>0.0001060332944544587</c:v>
                </c:pt>
                <c:pt idx="46">
                  <c:v>0.00022583559168925022</c:v>
                </c:pt>
                <c:pt idx="47">
                  <c:v>0.000293581059827626</c:v>
                </c:pt>
                <c:pt idx="48">
                  <c:v>0.00015294027682190105</c:v>
                </c:pt>
                <c:pt idx="49">
                  <c:v>0.00016961550285696112</c:v>
                </c:pt>
                <c:pt idx="50">
                  <c:v>0.0002012477359629704</c:v>
                </c:pt>
                <c:pt idx="51">
                  <c:v>0.0002486139770777913</c:v>
                </c:pt>
                <c:pt idx="52">
                  <c:v>8.450228156160216e-05</c:v>
                </c:pt>
                <c:pt idx="53">
                  <c:v>0.0001316586354899018</c:v>
                </c:pt>
                <c:pt idx="54">
                  <c:v>0.0002624289254993439</c:v>
                </c:pt>
                <c:pt idx="55">
                  <c:v>0.00014956178397295924</c:v>
                </c:pt>
                <c:pt idx="56">
                  <c:v>6.046680372475511e-05</c:v>
                </c:pt>
                <c:pt idx="57">
                  <c:v>0.00010392849719393057</c:v>
                </c:pt>
                <c:pt idx="58">
                  <c:v>9.544716999140975e-05</c:v>
                </c:pt>
                <c:pt idx="59">
                  <c:v>0.0001570869790603057</c:v>
                </c:pt>
                <c:pt idx="60">
                  <c:v>0.0002410260824653525</c:v>
                </c:pt>
                <c:pt idx="61">
                  <c:v>0.00032864621235240263</c:v>
                </c:pt>
                <c:pt idx="62">
                  <c:v>0.00027110679348440006</c:v>
                </c:pt>
                <c:pt idx="63">
                  <c:v>0.00036864849366129393</c:v>
                </c:pt>
                <c:pt idx="64">
                  <c:v>0.0003807615230460922</c:v>
                </c:pt>
                <c:pt idx="65">
                  <c:v>0.00032711808963035657</c:v>
                </c:pt>
                <c:pt idx="66">
                  <c:v>0.0002484135407962783</c:v>
                </c:pt>
                <c:pt idx="67">
                  <c:v>0.0002141174791235458</c:v>
                </c:pt>
                <c:pt idx="68">
                  <c:v>0.0003691608689478915</c:v>
                </c:pt>
                <c:pt idx="69">
                  <c:v>0.00041263410608447746</c:v>
                </c:pt>
                <c:pt idx="70">
                  <c:v>0.0003591051100657162</c:v>
                </c:pt>
                <c:pt idx="71">
                  <c:v>0.0003860854793251226</c:v>
                </c:pt>
                <c:pt idx="72">
                  <c:v>0.00040169442009932807</c:v>
                </c:pt>
                <c:pt idx="73">
                  <c:v>0.0007383515330509462</c:v>
                </c:pt>
                <c:pt idx="74">
                  <c:v>0.0007898597058712905</c:v>
                </c:pt>
                <c:pt idx="75">
                  <c:v>0.0007884708046782601</c:v>
                </c:pt>
                <c:pt idx="76">
                  <c:v>0.0010745153001635132</c:v>
                </c:pt>
                <c:pt idx="77">
                  <c:v>0.0011077397293262053</c:v>
                </c:pt>
                <c:pt idx="78">
                  <c:v>0.0018812147272238647</c:v>
                </c:pt>
                <c:pt idx="79">
                  <c:v>0.0011912703707233393</c:v>
                </c:pt>
                <c:pt idx="80">
                  <c:v>0.0011436195558944058</c:v>
                </c:pt>
                <c:pt idx="81">
                  <c:v>0.0016303240269003464</c:v>
                </c:pt>
                <c:pt idx="82">
                  <c:v>0.0013089005235602095</c:v>
                </c:pt>
                <c:pt idx="83">
                  <c:v>0.001287395782246199</c:v>
                </c:pt>
                <c:pt idx="84">
                  <c:v>0.0012380068090374497</c:v>
                </c:pt>
                <c:pt idx="85">
                  <c:v>0.0011462256427050926</c:v>
                </c:pt>
                <c:pt idx="86">
                  <c:v>0.0010637427379101548</c:v>
                </c:pt>
                <c:pt idx="87">
                  <c:v>0.0009602827072290082</c:v>
                </c:pt>
                <c:pt idx="88">
                  <c:v>0.001459356910054969</c:v>
                </c:pt>
                <c:pt idx="89">
                  <c:v>0.0018212984786800943</c:v>
                </c:pt>
                <c:pt idx="90">
                  <c:v>0.0017051705170517053</c:v>
                </c:pt>
                <c:pt idx="91">
                  <c:v>0.0016994158258098779</c:v>
                </c:pt>
                <c:pt idx="92">
                  <c:v>0.0014476709529081156</c:v>
                </c:pt>
                <c:pt idx="93">
                  <c:v>0.0014341911162104573</c:v>
                </c:pt>
                <c:pt idx="94">
                  <c:v>0.0013409784518634976</c:v>
                </c:pt>
                <c:pt idx="95">
                  <c:v>0.0015918173812910655</c:v>
                </c:pt>
                <c:pt idx="96">
                  <c:v>0.0021358186495801174</c:v>
                </c:pt>
                <c:pt idx="97">
                  <c:v>0.0024340169746227274</c:v>
                </c:pt>
                <c:pt idx="98">
                  <c:v>0.002288203851504723</c:v>
                </c:pt>
                <c:pt idx="99">
                  <c:v>0.0021538071709109336</c:v>
                </c:pt>
                <c:pt idx="100">
                  <c:v>0.0016596553909986745</c:v>
                </c:pt>
                <c:pt idx="101">
                  <c:v>0.002235498931708475</c:v>
                </c:pt>
                <c:pt idx="102">
                  <c:v>0.0018664144933306789</c:v>
                </c:pt>
                <c:pt idx="103">
                  <c:v>0.001825415399017084</c:v>
                </c:pt>
                <c:pt idx="104">
                  <c:v>0.0013566680233346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127667389240204</c:v>
                </c:pt>
                <c:pt idx="1">
                  <c:v>0.3676631140903165</c:v>
                </c:pt>
                <c:pt idx="2">
                  <c:v>0.4182396117128717</c:v>
                </c:pt>
                <c:pt idx="3">
                  <c:v>0.3615887488472138</c:v>
                </c:pt>
                <c:pt idx="4">
                  <c:v>0.4231183511896409</c:v>
                </c:pt>
                <c:pt idx="5">
                  <c:v>0.42422792890698435</c:v>
                </c:pt>
                <c:pt idx="6">
                  <c:v>0.4094593730113467</c:v>
                </c:pt>
                <c:pt idx="7">
                  <c:v>0.4072575685384422</c:v>
                </c:pt>
                <c:pt idx="8">
                  <c:v>0.4055787809565827</c:v>
                </c:pt>
                <c:pt idx="9">
                  <c:v>0.3961148372541077</c:v>
                </c:pt>
                <c:pt idx="10">
                  <c:v>0.40041258238150423</c:v>
                </c:pt>
                <c:pt idx="11">
                  <c:v>0.3922599862165763</c:v>
                </c:pt>
                <c:pt idx="12">
                  <c:v>0.35868936025148407</c:v>
                </c:pt>
                <c:pt idx="13">
                  <c:v>0.32482201613090284</c:v>
                </c:pt>
                <c:pt idx="14">
                  <c:v>0.32433172064665516</c:v>
                </c:pt>
                <c:pt idx="15">
                  <c:v>0.33990756250740395</c:v>
                </c:pt>
                <c:pt idx="16">
                  <c:v>0.3523515095722528</c:v>
                </c:pt>
                <c:pt idx="17">
                  <c:v>0.26838094109071164</c:v>
                </c:pt>
                <c:pt idx="18">
                  <c:v>0.37410456741060505</c:v>
                </c:pt>
                <c:pt idx="19">
                  <c:v>0.41105829022250173</c:v>
                </c:pt>
                <c:pt idx="20">
                  <c:v>0.3880960305612503</c:v>
                </c:pt>
                <c:pt idx="21">
                  <c:v>0.32281510582928963</c:v>
                </c:pt>
                <c:pt idx="22">
                  <c:v>0.35645065725508274</c:v>
                </c:pt>
                <c:pt idx="23">
                  <c:v>0.2935761879124602</c:v>
                </c:pt>
                <c:pt idx="24">
                  <c:v>0.3733794212761171</c:v>
                </c:pt>
                <c:pt idx="25">
                  <c:v>0.34293172553576295</c:v>
                </c:pt>
                <c:pt idx="26">
                  <c:v>0.342411934233547</c:v>
                </c:pt>
                <c:pt idx="27">
                  <c:v>0.3167823960449381</c:v>
                </c:pt>
                <c:pt idx="28">
                  <c:v>0.33843852123831836</c:v>
                </c:pt>
                <c:pt idx="29">
                  <c:v>0.3379421113154321</c:v>
                </c:pt>
                <c:pt idx="30">
                  <c:v>0.3266638765226859</c:v>
                </c:pt>
                <c:pt idx="31">
                  <c:v>0.34770677008237383</c:v>
                </c:pt>
                <c:pt idx="32">
                  <c:v>0.40148461224448256</c:v>
                </c:pt>
                <c:pt idx="33">
                  <c:v>0.4017659013617938</c:v>
                </c:pt>
                <c:pt idx="34">
                  <c:v>0.40535997777076505</c:v>
                </c:pt>
                <c:pt idx="35">
                  <c:v>0.36975986704298347</c:v>
                </c:pt>
                <c:pt idx="36">
                  <c:v>0.36866972099021594</c:v>
                </c:pt>
                <c:pt idx="37">
                  <c:v>0.3736904015667202</c:v>
                </c:pt>
                <c:pt idx="38">
                  <c:v>0.32543213467041404</c:v>
                </c:pt>
                <c:pt idx="39">
                  <c:v>0.30334509710772906</c:v>
                </c:pt>
                <c:pt idx="40">
                  <c:v>0.2911014660176575</c:v>
                </c:pt>
                <c:pt idx="41">
                  <c:v>0.32321756453625017</c:v>
                </c:pt>
                <c:pt idx="42">
                  <c:v>0.3083060100662502</c:v>
                </c:pt>
                <c:pt idx="43">
                  <c:v>0.3355084354912098</c:v>
                </c:pt>
                <c:pt idx="44">
                  <c:v>0.3984010658017174</c:v>
                </c:pt>
                <c:pt idx="45">
                  <c:v>0.42081773517622817</c:v>
                </c:pt>
                <c:pt idx="46">
                  <c:v>0.4410987109878409</c:v>
                </c:pt>
                <c:pt idx="47">
                  <c:v>0.3882939642750273</c:v>
                </c:pt>
                <c:pt idx="48">
                  <c:v>0.36735688820642814</c:v>
                </c:pt>
                <c:pt idx="49">
                  <c:v>0.3906730727566732</c:v>
                </c:pt>
                <c:pt idx="50">
                  <c:v>0.42802228837084966</c:v>
                </c:pt>
                <c:pt idx="51">
                  <c:v>0.4383564970172308</c:v>
                </c:pt>
              </c:numCache>
            </c:numRef>
          </c:xVal>
          <c:yVal>
            <c:numRef>
              <c:f>Sheet1!$B$109:$B$160</c:f>
              <c:numCache>
                <c:formatCode>General</c:formatCode>
                <c:ptCount val="52"/>
                <c:pt idx="0">
                  <c:v>0.001457509881422925</c:v>
                </c:pt>
                <c:pt idx="1">
                  <c:v>0.0017574231455251286</c:v>
                </c:pt>
                <c:pt idx="2">
                  <c:v>0.0015984203845611396</c:v>
                </c:pt>
                <c:pt idx="3">
                  <c:v>0.0016922064491868007</c:v>
                </c:pt>
                <c:pt idx="4">
                  <c:v>0.0016828857832735787</c:v>
                </c:pt>
                <c:pt idx="5">
                  <c:v>0.0014700117600940808</c:v>
                </c:pt>
                <c:pt idx="6">
                  <c:v>0.0015873015873015873</c:v>
                </c:pt>
                <c:pt idx="7">
                  <c:v>0.0018249897737641987</c:v>
                </c:pt>
                <c:pt idx="8">
                  <c:v>0.002156697556866049</c:v>
                </c:pt>
                <c:pt idx="9">
                  <c:v>0.0022656734947237743</c:v>
                </c:pt>
                <c:pt idx="10">
                  <c:v>0.00216855301072394</c:v>
                </c:pt>
                <c:pt idx="11">
                  <c:v>0.002222671246716508</c:v>
                </c:pt>
                <c:pt idx="12">
                  <c:v>0.0022723829722769277</c:v>
                </c:pt>
                <c:pt idx="13">
                  <c:v>0.003267112820783053</c:v>
                </c:pt>
                <c:pt idx="14">
                  <c:v>0.003253449527959332</c:v>
                </c:pt>
                <c:pt idx="15">
                  <c:v>0.0030752982107355863</c:v>
                </c:pt>
                <c:pt idx="16">
                  <c:v>0.003027027027027027</c:v>
                </c:pt>
                <c:pt idx="17">
                  <c:v>0.0038471693131671256</c:v>
                </c:pt>
                <c:pt idx="18">
                  <c:v>0.0021012241914854742</c:v>
                </c:pt>
                <c:pt idx="19">
                  <c:v>0.0018450184501845018</c:v>
                </c:pt>
                <c:pt idx="20">
                  <c:v>0.0021869619840863617</c:v>
                </c:pt>
                <c:pt idx="21">
                  <c:v>0.0031607378886270906</c:v>
                </c:pt>
                <c:pt idx="22">
                  <c:v>0.0026081533140556784</c:v>
                </c:pt>
                <c:pt idx="23">
                  <c:v>0.002629118953026408</c:v>
                </c:pt>
                <c:pt idx="24">
                  <c:v>0.002383144667713806</c:v>
                </c:pt>
                <c:pt idx="25">
                  <c:v>0.0025560920193126954</c:v>
                </c:pt>
                <c:pt idx="26">
                  <c:v>0.00275974025974026</c:v>
                </c:pt>
                <c:pt idx="27">
                  <c:v>0.00279452860714811</c:v>
                </c:pt>
                <c:pt idx="28">
                  <c:v>0.002308341101788964</c:v>
                </c:pt>
                <c:pt idx="29">
                  <c:v>0.0026159841973199508</c:v>
                </c:pt>
                <c:pt idx="30">
                  <c:v>0.0025581136692247805</c:v>
                </c:pt>
                <c:pt idx="31">
                  <c:v>0.0026047976738551005</c:v>
                </c:pt>
                <c:pt idx="32">
                  <c:v>0.0022266991835436325</c:v>
                </c:pt>
                <c:pt idx="33">
                  <c:v>0.002169677647892313</c:v>
                </c:pt>
                <c:pt idx="34">
                  <c:v>0.0019911428473342718</c:v>
                </c:pt>
                <c:pt idx="35">
                  <c:v>0.0024312852845427948</c:v>
                </c:pt>
                <c:pt idx="36">
                  <c:v>0.0030529392659954533</c:v>
                </c:pt>
                <c:pt idx="37">
                  <c:v>0.0030101302460202603</c:v>
                </c:pt>
                <c:pt idx="38">
                  <c:v>0.0035083160083160085</c:v>
                </c:pt>
                <c:pt idx="39">
                  <c:v>0.0032721582017356666</c:v>
                </c:pt>
                <c:pt idx="40">
                  <c:v>0.0030994124994217515</c:v>
                </c:pt>
                <c:pt idx="41">
                  <c:v>0.0025199860966284324</c:v>
                </c:pt>
                <c:pt idx="42">
                  <c:v>0.002878750914857282</c:v>
                </c:pt>
                <c:pt idx="43">
                  <c:v>0.0021096292058497513</c:v>
                </c:pt>
                <c:pt idx="44">
                  <c:v>0.0015517493778363343</c:v>
                </c:pt>
                <c:pt idx="45">
                  <c:v>0.001299645351014384</c:v>
                </c:pt>
                <c:pt idx="46">
                  <c:v>0.0013464635530797053</c:v>
                </c:pt>
                <c:pt idx="47">
                  <c:v>0.0013384558185648779</c:v>
                </c:pt>
                <c:pt idx="48">
                  <c:v>0.0014958863126402393</c:v>
                </c:pt>
                <c:pt idx="49">
                  <c:v>0.0013139124558900817</c:v>
                </c:pt>
                <c:pt idx="50">
                  <c:v>0.0011037664479803555</c:v>
                </c:pt>
                <c:pt idx="51">
                  <c:v>0.001310869471784071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387164601645229</c:v>
                </c:pt>
              </c:numCache>
            </c:numRef>
          </c:xVal>
          <c:yVal>
            <c:numRef>
              <c:f>Sheet1!$B$163:$B$164</c:f>
              <c:numCache>
                <c:formatCode>General</c:formatCode>
                <c:ptCount val="2"/>
                <c:pt idx="0">
                  <c:v>0.0026687138568074384</c:v>
                </c:pt>
                <c:pt idx="1">
                  <c:v>0.002668713856807438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387164601645229</c:v>
                </c:pt>
                <c:pt idx="1">
                  <c:v>0.3387164601645229</c:v>
                </c:pt>
              </c:numCache>
            </c:numRef>
          </c:xVal>
          <c:yVal>
            <c:numRef>
              <c:f>Sheet1!$B$167:$B$168</c:f>
              <c:numCache>
                <c:formatCode>General</c:formatCode>
                <c:ptCount val="2"/>
                <c:pt idx="0">
                  <c:v>0.002668713856807438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387164601645229</c:v>
                </c:pt>
              </c:numCache>
            </c:numRef>
          </c:xVal>
          <c:yVal>
            <c:numRef>
              <c:f>Sheet1!$B$171:$B$172</c:f>
              <c:numCache>
                <c:formatCode>General</c:formatCode>
                <c:ptCount val="2"/>
                <c:pt idx="0">
                  <c:v>0.0026687138568074384</c:v>
                </c:pt>
                <c:pt idx="1">
                  <c:v>0.002668713856807438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387164601645229</c:v>
                </c:pt>
                <c:pt idx="1">
                  <c:v>0.3387164601645229</c:v>
                </c:pt>
              </c:numCache>
            </c:numRef>
          </c:xVal>
          <c:yVal>
            <c:numRef>
              <c:f>Sheet1!$B$175:$B$176</c:f>
              <c:numCache>
                <c:formatCode>General</c:formatCode>
                <c:ptCount val="2"/>
                <c:pt idx="0">
                  <c:v>0.00266871385680743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977432215650966</c:v>
                </c:pt>
              </c:numCache>
            </c:numRef>
          </c:xVal>
          <c:yVal>
            <c:numRef>
              <c:f>Sheet1!$B$179:$B$180</c:f>
              <c:numCache>
                <c:formatCode>General</c:formatCode>
                <c:ptCount val="2"/>
                <c:pt idx="0">
                  <c:v>0.0018954373620986874</c:v>
                </c:pt>
                <c:pt idx="1">
                  <c:v>0.001895437362098687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977432215650966</c:v>
                </c:pt>
                <c:pt idx="1">
                  <c:v>0.3977432215650966</c:v>
                </c:pt>
              </c:numCache>
            </c:numRef>
          </c:xVal>
          <c:yVal>
            <c:numRef>
              <c:f>Sheet1!$B$183:$B$184</c:f>
              <c:numCache>
                <c:formatCode>General</c:formatCode>
                <c:ptCount val="2"/>
                <c:pt idx="0">
                  <c:v>0.001895437362098687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127667389240204</c:v>
                </c:pt>
                <c:pt idx="1">
                  <c:v>0.3676631140903165</c:v>
                </c:pt>
                <c:pt idx="2">
                  <c:v>0.4182396117128717</c:v>
                </c:pt>
                <c:pt idx="3">
                  <c:v>0.3615887488472138</c:v>
                </c:pt>
                <c:pt idx="4">
                  <c:v>0.4231183511896409</c:v>
                </c:pt>
                <c:pt idx="5">
                  <c:v>0.42422792890698435</c:v>
                </c:pt>
                <c:pt idx="6">
                  <c:v>0.4094593730113467</c:v>
                </c:pt>
                <c:pt idx="7">
                  <c:v>0.4072575685384422</c:v>
                </c:pt>
                <c:pt idx="8">
                  <c:v>0.4055787809565827</c:v>
                </c:pt>
                <c:pt idx="9">
                  <c:v>0.3961148372541077</c:v>
                </c:pt>
                <c:pt idx="10">
                  <c:v>0.40041258238150423</c:v>
                </c:pt>
                <c:pt idx="11">
                  <c:v>0.3922599862165763</c:v>
                </c:pt>
                <c:pt idx="12">
                  <c:v>0.35868936025148407</c:v>
                </c:pt>
                <c:pt idx="13">
                  <c:v>0.32482201613090284</c:v>
                </c:pt>
                <c:pt idx="14">
                  <c:v>0.32433172064665516</c:v>
                </c:pt>
                <c:pt idx="15">
                  <c:v>0.33990756250740395</c:v>
                </c:pt>
                <c:pt idx="16">
                  <c:v>0.3523515095722528</c:v>
                </c:pt>
                <c:pt idx="17">
                  <c:v>0.26838094109071164</c:v>
                </c:pt>
                <c:pt idx="18">
                  <c:v>0.37410456741060505</c:v>
                </c:pt>
                <c:pt idx="19">
                  <c:v>0.41105829022250173</c:v>
                </c:pt>
                <c:pt idx="20">
                  <c:v>0.3880960305612503</c:v>
                </c:pt>
                <c:pt idx="21">
                  <c:v>0.32281510582928963</c:v>
                </c:pt>
                <c:pt idx="22">
                  <c:v>0.35645065725508274</c:v>
                </c:pt>
                <c:pt idx="23">
                  <c:v>0.2935761879124602</c:v>
                </c:pt>
                <c:pt idx="24">
                  <c:v>0.3733794212761171</c:v>
                </c:pt>
                <c:pt idx="25">
                  <c:v>0.34293172553576295</c:v>
                </c:pt>
                <c:pt idx="26">
                  <c:v>0.342411934233547</c:v>
                </c:pt>
                <c:pt idx="27">
                  <c:v>0.3167823960449381</c:v>
                </c:pt>
                <c:pt idx="28">
                  <c:v>0.33843852123831836</c:v>
                </c:pt>
                <c:pt idx="29">
                  <c:v>0.3379421113154321</c:v>
                </c:pt>
                <c:pt idx="30">
                  <c:v>0.3266638765226859</c:v>
                </c:pt>
                <c:pt idx="31">
                  <c:v>0.34770677008237383</c:v>
                </c:pt>
                <c:pt idx="32">
                  <c:v>0.40148461224448256</c:v>
                </c:pt>
                <c:pt idx="33">
                  <c:v>0.4017659013617938</c:v>
                </c:pt>
                <c:pt idx="34">
                  <c:v>0.40535997777076505</c:v>
                </c:pt>
                <c:pt idx="35">
                  <c:v>0.36975986704298347</c:v>
                </c:pt>
                <c:pt idx="36">
                  <c:v>0.36866972099021594</c:v>
                </c:pt>
                <c:pt idx="37">
                  <c:v>0.3736904015667202</c:v>
                </c:pt>
                <c:pt idx="38">
                  <c:v>0.32543213467041404</c:v>
                </c:pt>
                <c:pt idx="39">
                  <c:v>0.30334509710772906</c:v>
                </c:pt>
                <c:pt idx="40">
                  <c:v>0.2911014660176575</c:v>
                </c:pt>
                <c:pt idx="41">
                  <c:v>0.32321756453625017</c:v>
                </c:pt>
                <c:pt idx="42">
                  <c:v>0.3083060100662502</c:v>
                </c:pt>
                <c:pt idx="43">
                  <c:v>0.3355084354912098</c:v>
                </c:pt>
                <c:pt idx="44">
                  <c:v>0.3984010658017174</c:v>
                </c:pt>
                <c:pt idx="45">
                  <c:v>0.42081773517622817</c:v>
                </c:pt>
                <c:pt idx="46">
                  <c:v>0.4410987109878409</c:v>
                </c:pt>
                <c:pt idx="47">
                  <c:v>0.3882939642750273</c:v>
                </c:pt>
                <c:pt idx="48">
                  <c:v>0.36735688820642814</c:v>
                </c:pt>
                <c:pt idx="49">
                  <c:v>0.3906730727566732</c:v>
                </c:pt>
                <c:pt idx="50">
                  <c:v>0.42802228837084966</c:v>
                </c:pt>
                <c:pt idx="51">
                  <c:v>0.4383564970172308</c:v>
                </c:pt>
                <c:pt idx="52">
                  <c:v>0.3387164601645229</c:v>
                </c:pt>
                <c:pt idx="53">
                  <c:v>0.3387164601645229</c:v>
                </c:pt>
                <c:pt idx="54">
                  <c:v>0.3977432215650966</c:v>
                </c:pt>
              </c:numCache>
            </c:numRef>
          </c:xVal>
          <c:yVal>
            <c:numRef>
              <c:f>Sheet1!$B$187:$B$241</c:f>
              <c:numCache>
                <c:formatCode>General</c:formatCode>
                <c:ptCount val="55"/>
                <c:pt idx="0">
                  <c:v>0.0016986226874350068</c:v>
                </c:pt>
                <c:pt idx="1">
                  <c:v>0.0022894999790650725</c:v>
                </c:pt>
                <c:pt idx="2">
                  <c:v>0.0016269256506040355</c:v>
                </c:pt>
                <c:pt idx="3">
                  <c:v>0.0023690768311795014</c:v>
                </c:pt>
                <c:pt idx="4">
                  <c:v>0.0015630120210624937</c:v>
                </c:pt>
                <c:pt idx="5">
                  <c:v>0.0015484760657175686</c:v>
                </c:pt>
                <c:pt idx="6">
                  <c:v>0.0017419506332512352</c:v>
                </c:pt>
                <c:pt idx="7">
                  <c:v>0.0017707952387224259</c:v>
                </c:pt>
                <c:pt idx="8">
                  <c:v>0.001792788093249056</c:v>
                </c:pt>
                <c:pt idx="9">
                  <c:v>0.0019167699116433767</c:v>
                </c:pt>
                <c:pt idx="10">
                  <c:v>0.0018604675632100682</c:v>
                </c:pt>
                <c:pt idx="11">
                  <c:v>0.001967270153011822</c:v>
                </c:pt>
                <c:pt idx="12">
                  <c:v>0.0024070600949891033</c:v>
                </c:pt>
                <c:pt idx="13">
                  <c:v>0.0028507371751008287</c:v>
                </c:pt>
                <c:pt idx="14">
                  <c:v>0.0028571602612474266</c:v>
                </c:pt>
                <c:pt idx="15">
                  <c:v>0.002653109893068146</c:v>
                </c:pt>
                <c:pt idx="16">
                  <c:v>0.0024900887220209054</c:v>
                </c:pt>
                <c:pt idx="17">
                  <c:v>0.0035901400430387673</c:v>
                </c:pt>
                <c:pt idx="18">
                  <c:v>0.002205114111940498</c:v>
                </c:pt>
                <c:pt idx="19">
                  <c:v>0.0017210041156542283</c:v>
                </c:pt>
                <c:pt idx="20">
                  <c:v>0.002021819800610172</c:v>
                </c:pt>
                <c:pt idx="21">
                  <c:v>0.002877028581344426</c:v>
                </c:pt>
                <c:pt idx="22">
                  <c:v>0.0024363880873213128</c:v>
                </c:pt>
                <c:pt idx="23">
                  <c:v>0.003260071245710948</c:v>
                </c:pt>
                <c:pt idx="24">
                  <c:v>0.0022146138447349684</c:v>
                </c:pt>
                <c:pt idx="25">
                  <c:v>0.002613492029399032</c:v>
                </c:pt>
                <c:pt idx="26">
                  <c:v>0.0026203015237134825</c:v>
                </c:pt>
                <c:pt idx="27">
                  <c:v>0.002956059728657095</c:v>
                </c:pt>
                <c:pt idx="28">
                  <c:v>0.0026723549787917543</c:v>
                </c:pt>
                <c:pt idx="29">
                  <c:v>0.0026788581667695445</c:v>
                </c:pt>
                <c:pt idx="30">
                  <c:v>0.0028266079951542048</c:v>
                </c:pt>
                <c:pt idx="31">
                  <c:v>0.0025509368489780113</c:v>
                </c:pt>
                <c:pt idx="32">
                  <c:v>0.0018464235012456776</c:v>
                </c:pt>
                <c:pt idx="33">
                  <c:v>0.0018427384902866984</c:v>
                </c:pt>
                <c:pt idx="34">
                  <c:v>0.0017956545110660851</c:v>
                </c:pt>
                <c:pt idx="35">
                  <c:v>0.0022620315946401603</c:v>
                </c:pt>
                <c:pt idx="36">
                  <c:v>0.0022763129866461337</c:v>
                </c:pt>
                <c:pt idx="37">
                  <c:v>0.0022105398663676123</c:v>
                </c:pt>
                <c:pt idx="38">
                  <c:v>0.0028427443543125033</c:v>
                </c:pt>
                <c:pt idx="39">
                  <c:v>0.0031320942454418433</c:v>
                </c:pt>
                <c:pt idx="40">
                  <c:v>0.0032924911892549527</c:v>
                </c:pt>
                <c:pt idx="41">
                  <c:v>0.002871756195551963</c:v>
                </c:pt>
                <c:pt idx="42">
                  <c:v>0.0030671041072045943</c:v>
                </c:pt>
                <c:pt idx="43">
                  <c:v>0.0027107403887644274</c:v>
                </c:pt>
                <c:pt idx="44">
                  <c:v>0.0018868193137204902</c:v>
                </c:pt>
                <c:pt idx="45">
                  <c:v>0.0015931511011053525</c:v>
                </c:pt>
                <c:pt idx="46">
                  <c:v>0.0013274614120091033</c:v>
                </c:pt>
                <c:pt idx="47">
                  <c:v>0.002019226782041264</c:v>
                </c:pt>
                <c:pt idx="48">
                  <c:v>0.0022935116726166688</c:v>
                </c:pt>
                <c:pt idx="49">
                  <c:v>0.001988059416196235</c:v>
                </c:pt>
                <c:pt idx="50">
                  <c:v>0.0014987682905277504</c:v>
                </c:pt>
                <c:pt idx="51">
                  <c:v>0.0013633856192097069</c:v>
                </c:pt>
                <c:pt idx="52">
                  <c:v>0.002668713856807439</c:v>
                </c:pt>
                <c:pt idx="53">
                  <c:v>0.002668713856807439</c:v>
                </c:pt>
                <c:pt idx="54">
                  <c:v>0.00189543736209868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16603175800551"/>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04.5878</c:v>
                </c:pt>
                <c:pt idx="1">
                  <c:v>1001.0974</c:v>
                </c:pt>
                <c:pt idx="2">
                  <c:v>1050.5381</c:v>
                </c:pt>
                <c:pt idx="3">
                  <c:v>1055.0727</c:v>
                </c:pt>
                <c:pt idx="4">
                  <c:v>1032.5374</c:v>
                </c:pt>
                <c:pt idx="5">
                  <c:v>1035.1462</c:v>
                </c:pt>
                <c:pt idx="6">
                  <c:v>958.2492</c:v>
                </c:pt>
                <c:pt idx="7">
                  <c:v>989.4165</c:v>
                </c:pt>
                <c:pt idx="8">
                  <c:v>1018.7551</c:v>
                </c:pt>
                <c:pt idx="9">
                  <c:v>1026.587</c:v>
                </c:pt>
                <c:pt idx="10">
                  <c:v>1014.6078</c:v>
                </c:pt>
                <c:pt idx="11">
                  <c:v>1051.5952</c:v>
                </c:pt>
                <c:pt idx="12">
                  <c:v>1062.2051</c:v>
                </c:pt>
                <c:pt idx="13">
                  <c:v>1059.6667</c:v>
                </c:pt>
                <c:pt idx="14">
                  <c:v>1070.3114</c:v>
                </c:pt>
                <c:pt idx="15">
                  <c:v>1052.4681</c:v>
                </c:pt>
                <c:pt idx="16">
                  <c:v>1068.7381</c:v>
                </c:pt>
                <c:pt idx="17">
                  <c:v>1107.8588</c:v>
                </c:pt>
                <c:pt idx="18">
                  <c:v>1142.715</c:v>
                </c:pt>
                <c:pt idx="19">
                  <c:v>1061.7268</c:v>
                </c:pt>
                <c:pt idx="20">
                  <c:v>1160.9292</c:v>
                </c:pt>
                <c:pt idx="21">
                  <c:v>1144.1961</c:v>
                </c:pt>
                <c:pt idx="22">
                  <c:v>1161.7831</c:v>
                </c:pt>
                <c:pt idx="23">
                  <c:v>1136.9837</c:v>
                </c:pt>
                <c:pt idx="24">
                  <c:v>1064.1602</c:v>
                </c:pt>
                <c:pt idx="25">
                  <c:v>1077.7359</c:v>
                </c:pt>
                <c:pt idx="26">
                  <c:v>1070.8444</c:v>
                </c:pt>
                <c:pt idx="27">
                  <c:v>1089.2894</c:v>
                </c:pt>
                <c:pt idx="28">
                  <c:v>1086.4904</c:v>
                </c:pt>
                <c:pt idx="29">
                  <c:v>1046.3032</c:v>
                </c:pt>
                <c:pt idx="30">
                  <c:v>1082.4796</c:v>
                </c:pt>
                <c:pt idx="31">
                  <c:v>1082.8232</c:v>
                </c:pt>
                <c:pt idx="32">
                  <c:v>1075.9075</c:v>
                </c:pt>
                <c:pt idx="33">
                  <c:v>997.3725</c:v>
                </c:pt>
                <c:pt idx="34">
                  <c:v>1046.498</c:v>
                </c:pt>
                <c:pt idx="35">
                  <c:v>1096.2969</c:v>
                </c:pt>
                <c:pt idx="36">
                  <c:v>1129.2104</c:v>
                </c:pt>
                <c:pt idx="37">
                  <c:v>1117.6522</c:v>
                </c:pt>
                <c:pt idx="38">
                  <c:v>1222.7885</c:v>
                </c:pt>
                <c:pt idx="39">
                  <c:v>1227.1612</c:v>
                </c:pt>
                <c:pt idx="40">
                  <c:v>1302.6283</c:v>
                </c:pt>
                <c:pt idx="41">
                  <c:v>1323.8709</c:v>
                </c:pt>
                <c:pt idx="42">
                  <c:v>1326.0576</c:v>
                </c:pt>
                <c:pt idx="43">
                  <c:v>1359.4645</c:v>
                </c:pt>
                <c:pt idx="44">
                  <c:v>1254.4689</c:v>
                </c:pt>
                <c:pt idx="45">
                  <c:v>1208.7962</c:v>
                </c:pt>
                <c:pt idx="46">
                  <c:v>1230.3817</c:v>
                </c:pt>
                <c:pt idx="47">
                  <c:v>1217.8401</c:v>
                </c:pt>
                <c:pt idx="48">
                  <c:v>1207.2058</c:v>
                </c:pt>
                <c:pt idx="49">
                  <c:v>1208.6299</c:v>
                </c:pt>
                <c:pt idx="50">
                  <c:v>1203.9807</c:v>
                </c:pt>
                <c:pt idx="51">
                  <c:v>1235.5122</c:v>
                </c:pt>
                <c:pt idx="52">
                  <c:v>1249.2689</c:v>
                </c:pt>
                <c:pt idx="53">
                  <c:v>1299.5204</c:v>
                </c:pt>
                <c:pt idx="54">
                  <c:v>1291.525</c:v>
                </c:pt>
                <c:pt idx="55">
                  <c:v>1279.4276</c:v>
                </c:pt>
                <c:pt idx="56">
                  <c:v>1289.7293</c:v>
                </c:pt>
                <c:pt idx="57">
                  <c:v>1270.6684</c:v>
                </c:pt>
                <c:pt idx="58">
                  <c:v>1228.406</c:v>
                </c:pt>
                <c:pt idx="59">
                  <c:v>1226.9374</c:v>
                </c:pt>
                <c:pt idx="60">
                  <c:v>1244.3956</c:v>
                </c:pt>
                <c:pt idx="61">
                  <c:v>1270.8003</c:v>
                </c:pt>
                <c:pt idx="62">
                  <c:v>1231.0602</c:v>
                </c:pt>
                <c:pt idx="63">
                  <c:v>1205.635</c:v>
                </c:pt>
                <c:pt idx="64">
                  <c:v>1195.2348</c:v>
                </c:pt>
                <c:pt idx="65">
                  <c:v>1186.6911</c:v>
                </c:pt>
                <c:pt idx="66">
                  <c:v>1168.0446</c:v>
                </c:pt>
                <c:pt idx="67">
                  <c:v>1151.1961</c:v>
                </c:pt>
                <c:pt idx="68">
                  <c:v>1133.4314</c:v>
                </c:pt>
                <c:pt idx="69">
                  <c:v>1174.0657</c:v>
                </c:pt>
                <c:pt idx="70">
                  <c:v>1173.9819</c:v>
                </c:pt>
                <c:pt idx="71">
                  <c:v>1278.5421</c:v>
                </c:pt>
                <c:pt idx="72">
                  <c:v>1227.5521</c:v>
                </c:pt>
                <c:pt idx="73">
                  <c:v>1280.659</c:v>
                </c:pt>
                <c:pt idx="74">
                  <c:v>1382.8771</c:v>
                </c:pt>
                <c:pt idx="75">
                  <c:v>1351.8789</c:v>
                </c:pt>
                <c:pt idx="76">
                  <c:v>1379.3346</c:v>
                </c:pt>
                <c:pt idx="77">
                  <c:v>1377.5177</c:v>
                </c:pt>
                <c:pt idx="78">
                  <c:v>1389.2157</c:v>
                </c:pt>
                <c:pt idx="79">
                  <c:v>1383.3195</c:v>
                </c:pt>
                <c:pt idx="80">
                  <c:v>1296.1765</c:v>
                </c:pt>
                <c:pt idx="81">
                  <c:v>1359.3097</c:v>
                </c:pt>
                <c:pt idx="82">
                  <c:v>1366.9835</c:v>
                </c:pt>
                <c:pt idx="83">
                  <c:v>1303.0495</c:v>
                </c:pt>
                <c:pt idx="84">
                  <c:v>1283.8952</c:v>
                </c:pt>
                <c:pt idx="85">
                  <c:v>1314.7778</c:v>
                </c:pt>
                <c:pt idx="86">
                  <c:v>1331.9774</c:v>
                </c:pt>
                <c:pt idx="87">
                  <c:v>1349.0411</c:v>
                </c:pt>
                <c:pt idx="88">
                  <c:v>1377.6787</c:v>
                </c:pt>
                <c:pt idx="89">
                  <c:v>1382.9422</c:v>
                </c:pt>
                <c:pt idx="90">
                  <c:v>1429.1714</c:v>
                </c:pt>
                <c:pt idx="91">
                  <c:v>1464.4597</c:v>
                </c:pt>
                <c:pt idx="92">
                  <c:v>1436.3529</c:v>
                </c:pt>
                <c:pt idx="93">
                  <c:v>1434.9058</c:v>
                </c:pt>
                <c:pt idx="94">
                  <c:v>1441.3066</c:v>
                </c:pt>
                <c:pt idx="95">
                  <c:v>1340.243</c:v>
                </c:pt>
                <c:pt idx="96">
                  <c:v>1304.564</c:v>
                </c:pt>
                <c:pt idx="97">
                  <c:v>1311.5031</c:v>
                </c:pt>
                <c:pt idx="98">
                  <c:v>1294.5924</c:v>
                </c:pt>
                <c:pt idx="99">
                  <c:v>1278.0403</c:v>
                </c:pt>
                <c:pt idx="100">
                  <c:v>1287.2475</c:v>
                </c:pt>
                <c:pt idx="101">
                  <c:v>1298.6317</c:v>
                </c:pt>
                <c:pt idx="102">
                  <c:v>1322.0555</c:v>
                </c:pt>
                <c:pt idx="103">
                  <c:v>1198.1408</c:v>
                </c:pt>
                <c:pt idx="104">
                  <c:v>1226.1295</c:v>
                </c:pt>
              </c:numCache>
            </c:numRef>
          </c:xVal>
          <c:yVal>
            <c:numRef>
              <c:f>Sheet1!$B$2:$B$106</c:f>
              <c:numCache>
                <c:formatCode>General</c:formatCode>
                <c:ptCount val="105"/>
                <c:pt idx="0">
                  <c:v>0.26550145651269247</c:v>
                </c:pt>
                <c:pt idx="1">
                  <c:v>0.28172942817294283</c:v>
                </c:pt>
                <c:pt idx="2">
                  <c:v>0.27204585537918874</c:v>
                </c:pt>
                <c:pt idx="3">
                  <c:v>0.2792061344158773</c:v>
                </c:pt>
                <c:pt idx="4">
                  <c:v>0.2853598014888337</c:v>
                </c:pt>
                <c:pt idx="5">
                  <c:v>0.2797164667393675</c:v>
                </c:pt>
                <c:pt idx="6">
                  <c:v>0.2804395604395604</c:v>
                </c:pt>
                <c:pt idx="7">
                  <c:v>0.28274111675126906</c:v>
                </c:pt>
                <c:pt idx="8">
                  <c:v>0.2711306256860593</c:v>
                </c:pt>
                <c:pt idx="9">
                  <c:v>0.23189734188817598</c:v>
                </c:pt>
                <c:pt idx="10">
                  <c:v>0.24495677233429394</c:v>
                </c:pt>
                <c:pt idx="11">
                  <c:v>0.2583380440927077</c:v>
                </c:pt>
                <c:pt idx="12">
                  <c:v>0.2730210016155089</c:v>
                </c:pt>
                <c:pt idx="13">
                  <c:v>0.28471337579617834</c:v>
                </c:pt>
                <c:pt idx="14">
                  <c:v>0.25773195876288657</c:v>
                </c:pt>
                <c:pt idx="15">
                  <c:v>0.2580392156862745</c:v>
                </c:pt>
                <c:pt idx="16">
                  <c:v>0.2545454545454545</c:v>
                </c:pt>
                <c:pt idx="17">
                  <c:v>0.2634297520661157</c:v>
                </c:pt>
                <c:pt idx="18">
                  <c:v>0.225</c:v>
                </c:pt>
                <c:pt idx="19">
                  <c:v>0.22592592592592592</c:v>
                </c:pt>
                <c:pt idx="20">
                  <c:v>0.20945319740500462</c:v>
                </c:pt>
                <c:pt idx="21">
                  <c:v>0.21587301587301588</c:v>
                </c:pt>
                <c:pt idx="22">
                  <c:v>0.264050901378579</c:v>
                </c:pt>
                <c:pt idx="23">
                  <c:v>0.2614240170031881</c:v>
                </c:pt>
                <c:pt idx="24">
                  <c:v>0.3182247403210576</c:v>
                </c:pt>
                <c:pt idx="25">
                  <c:v>0.30406852248394006</c:v>
                </c:pt>
                <c:pt idx="26">
                  <c:v>0.3098214285714286</c:v>
                </c:pt>
                <c:pt idx="27">
                  <c:v>0.3026886383347788</c:v>
                </c:pt>
                <c:pt idx="28">
                  <c:v>0.2821203953279425</c:v>
                </c:pt>
                <c:pt idx="29">
                  <c:v>0.31788079470198677</c:v>
                </c:pt>
                <c:pt idx="30">
                  <c:v>0.2813397129186603</c:v>
                </c:pt>
                <c:pt idx="31">
                  <c:v>0.3025291828793774</c:v>
                </c:pt>
                <c:pt idx="32">
                  <c:v>0.32246039142590865</c:v>
                </c:pt>
                <c:pt idx="33">
                  <c:v>0.3411497730711044</c:v>
                </c:pt>
                <c:pt idx="34">
                  <c:v>0.32519280205655526</c:v>
                </c:pt>
                <c:pt idx="35">
                  <c:v>0.2959917780061665</c:v>
                </c:pt>
                <c:pt idx="36">
                  <c:v>0.2839072382290935</c:v>
                </c:pt>
                <c:pt idx="37">
                  <c:v>0.2970137207425343</c:v>
                </c:pt>
                <c:pt idx="38">
                  <c:v>0.26673040152963673</c:v>
                </c:pt>
                <c:pt idx="39">
                  <c:v>0.27547931382441976</c:v>
                </c:pt>
                <c:pt idx="40">
                  <c:v>0.28415758591785417</c:v>
                </c:pt>
                <c:pt idx="41">
                  <c:v>0.29206963249516443</c:v>
                </c:pt>
                <c:pt idx="42">
                  <c:v>0.3204819277108434</c:v>
                </c:pt>
                <c:pt idx="43">
                  <c:v>0.29297994269340977</c:v>
                </c:pt>
                <c:pt idx="44">
                  <c:v>0.2848252752513164</c:v>
                </c:pt>
                <c:pt idx="45">
                  <c:v>0.27308602999210735</c:v>
                </c:pt>
                <c:pt idx="46">
                  <c:v>0.29491133384734003</c:v>
                </c:pt>
                <c:pt idx="47">
                  <c:v>0.29816334505666275</c:v>
                </c:pt>
                <c:pt idx="48">
                  <c:v>0.2948207171314741</c:v>
                </c:pt>
                <c:pt idx="49">
                  <c:v>0.2697826978269783</c:v>
                </c:pt>
                <c:pt idx="50">
                  <c:v>0.27009646302250806</c:v>
                </c:pt>
                <c:pt idx="51">
                  <c:v>0.2778936392075078</c:v>
                </c:pt>
                <c:pt idx="52">
                  <c:v>0.2753246753246753</c:v>
                </c:pt>
                <c:pt idx="53">
                  <c:v>0.28296703296703296</c:v>
                </c:pt>
                <c:pt idx="54">
                  <c:v>0.26112759643916916</c:v>
                </c:pt>
                <c:pt idx="55">
                  <c:v>0.26568047337278106</c:v>
                </c:pt>
                <c:pt idx="56">
                  <c:v>0.2911764705882353</c:v>
                </c:pt>
                <c:pt idx="57">
                  <c:v>0.28834661354581675</c:v>
                </c:pt>
                <c:pt idx="58">
                  <c:v>0.29748186086214257</c:v>
                </c:pt>
                <c:pt idx="59">
                  <c:v>0.2769526952695269</c:v>
                </c:pt>
                <c:pt idx="60">
                  <c:v>0.27988252569750366</c:v>
                </c:pt>
                <c:pt idx="61">
                  <c:v>0.2887966804979253</c:v>
                </c:pt>
                <c:pt idx="62">
                  <c:v>0.2853239656518345</c:v>
                </c:pt>
                <c:pt idx="63">
                  <c:v>0.2974836263357463</c:v>
                </c:pt>
                <c:pt idx="64">
                  <c:v>0.304205946337926</c:v>
                </c:pt>
                <c:pt idx="65">
                  <c:v>0.2879426644182125</c:v>
                </c:pt>
                <c:pt idx="66">
                  <c:v>0.25548986486486486</c:v>
                </c:pt>
                <c:pt idx="67">
                  <c:v>0.28285584356525695</c:v>
                </c:pt>
                <c:pt idx="68">
                  <c:v>0.27611484422724497</c:v>
                </c:pt>
                <c:pt idx="69">
                  <c:v>0.27213647441104794</c:v>
                </c:pt>
                <c:pt idx="70">
                  <c:v>0.2595777951524629</c:v>
                </c:pt>
                <c:pt idx="71">
                  <c:v>0.2502106149957877</c:v>
                </c:pt>
                <c:pt idx="72">
                  <c:v>0.2515432098765432</c:v>
                </c:pt>
                <c:pt idx="73">
                  <c:v>0.24696356275303644</c:v>
                </c:pt>
                <c:pt idx="74">
                  <c:v>0.23937908496732027</c:v>
                </c:pt>
                <c:pt idx="75">
                  <c:v>0.22898032200357782</c:v>
                </c:pt>
                <c:pt idx="76">
                  <c:v>0.2411604714415231</c:v>
                </c:pt>
                <c:pt idx="77">
                  <c:v>0.23155737704918034</c:v>
                </c:pt>
                <c:pt idx="78">
                  <c:v>0.2756756756756757</c:v>
                </c:pt>
                <c:pt idx="79">
                  <c:v>0.24845360824742269</c:v>
                </c:pt>
                <c:pt idx="80">
                  <c:v>0.24765868886576484</c:v>
                </c:pt>
                <c:pt idx="81">
                  <c:v>0.23123382226056946</c:v>
                </c:pt>
                <c:pt idx="82">
                  <c:v>0.26021505376344084</c:v>
                </c:pt>
                <c:pt idx="83">
                  <c:v>0.25440806045340053</c:v>
                </c:pt>
                <c:pt idx="84">
                  <c:v>0.26119402985074625</c:v>
                </c:pt>
                <c:pt idx="85">
                  <c:v>0.23337091319052988</c:v>
                </c:pt>
                <c:pt idx="86">
                  <c:v>0.24564183835182252</c:v>
                </c:pt>
                <c:pt idx="87">
                  <c:v>0.268646408839779</c:v>
                </c:pt>
                <c:pt idx="88">
                  <c:v>0.24776386404293382</c:v>
                </c:pt>
                <c:pt idx="89">
                  <c:v>0.23709167544783982</c:v>
                </c:pt>
                <c:pt idx="90">
                  <c:v>0.24447031431897556</c:v>
                </c:pt>
                <c:pt idx="91">
                  <c:v>0.24911452184179456</c:v>
                </c:pt>
                <c:pt idx="92">
                  <c:v>0.2520852641334569</c:v>
                </c:pt>
                <c:pt idx="93">
                  <c:v>0.2596425211665099</c:v>
                </c:pt>
                <c:pt idx="94">
                  <c:v>0.26968503937007876</c:v>
                </c:pt>
                <c:pt idx="95">
                  <c:v>0.27335640138408307</c:v>
                </c:pt>
                <c:pt idx="96">
                  <c:v>0.2586652871184687</c:v>
                </c:pt>
                <c:pt idx="97">
                  <c:v>0.26611570247933886</c:v>
                </c:pt>
                <c:pt idx="98">
                  <c:v>0.26466621712744437</c:v>
                </c:pt>
                <c:pt idx="99">
                  <c:v>0.2651471436814772</c:v>
                </c:pt>
                <c:pt idx="100">
                  <c:v>0.26052631578947366</c:v>
                </c:pt>
                <c:pt idx="101">
                  <c:v>0.2616342982777574</c:v>
                </c:pt>
                <c:pt idx="102">
                  <c:v>0.27378542510121456</c:v>
                </c:pt>
                <c:pt idx="103">
                  <c:v>0.2712673611111111</c:v>
                </c:pt>
                <c:pt idx="104">
                  <c:v>0.2836734693877551</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34.5546</c:v>
                </c:pt>
                <c:pt idx="1">
                  <c:v>1386.2895</c:v>
                </c:pt>
                <c:pt idx="2">
                  <c:v>1365.7066</c:v>
                </c:pt>
                <c:pt idx="3">
                  <c:v>1448.6785</c:v>
                </c:pt>
                <c:pt idx="4">
                  <c:v>1431.4623</c:v>
                </c:pt>
                <c:pt idx="5">
                  <c:v>1432.4517</c:v>
                </c:pt>
                <c:pt idx="6">
                  <c:v>1392.9314</c:v>
                </c:pt>
                <c:pt idx="7">
                  <c:v>1351.7704</c:v>
                </c:pt>
                <c:pt idx="8">
                  <c:v>1367.2723</c:v>
                </c:pt>
                <c:pt idx="9">
                  <c:v>1370.3705</c:v>
                </c:pt>
                <c:pt idx="10">
                  <c:v>1371.2168</c:v>
                </c:pt>
                <c:pt idx="11">
                  <c:v>1276.6521</c:v>
                </c:pt>
                <c:pt idx="12">
                  <c:v>1292.124</c:v>
                </c:pt>
                <c:pt idx="13">
                  <c:v>1329.3569</c:v>
                </c:pt>
                <c:pt idx="14">
                  <c:v>1286.7333</c:v>
                </c:pt>
                <c:pt idx="15">
                  <c:v>1319.6729</c:v>
                </c:pt>
                <c:pt idx="16">
                  <c:v>1368.3333</c:v>
                </c:pt>
                <c:pt idx="17">
                  <c:v>1363.2462</c:v>
                </c:pt>
                <c:pt idx="18">
                  <c:v>1408.0956</c:v>
                </c:pt>
                <c:pt idx="19">
                  <c:v>1490.2475</c:v>
                </c:pt>
                <c:pt idx="20">
                  <c:v>1459.5447</c:v>
                </c:pt>
                <c:pt idx="21">
                  <c:v>1383.6471</c:v>
                </c:pt>
                <c:pt idx="22">
                  <c:v>1310.2</c:v>
                </c:pt>
                <c:pt idx="23">
                  <c:v>1344.8125</c:v>
                </c:pt>
                <c:pt idx="24">
                  <c:v>1271.4871</c:v>
                </c:pt>
                <c:pt idx="25">
                  <c:v>1223.7085</c:v>
                </c:pt>
                <c:pt idx="26">
                  <c:v>1300.87</c:v>
                </c:pt>
                <c:pt idx="27">
                  <c:v>1314.6084</c:v>
                </c:pt>
                <c:pt idx="28">
                  <c:v>1325.3451</c:v>
                </c:pt>
                <c:pt idx="29">
                  <c:v>1309.6484</c:v>
                </c:pt>
                <c:pt idx="30">
                  <c:v>1337.8919</c:v>
                </c:pt>
                <c:pt idx="31">
                  <c:v>1251.5721</c:v>
                </c:pt>
                <c:pt idx="32">
                  <c:v>1281.2838</c:v>
                </c:pt>
                <c:pt idx="33">
                  <c:v>1354.9134</c:v>
                </c:pt>
                <c:pt idx="34">
                  <c:v>1427.8369</c:v>
                </c:pt>
                <c:pt idx="35">
                  <c:v>1333.1804</c:v>
                </c:pt>
                <c:pt idx="36">
                  <c:v>1367.8048</c:v>
                </c:pt>
                <c:pt idx="37">
                  <c:v>1337.1613</c:v>
                </c:pt>
                <c:pt idx="38">
                  <c:v>1349.7389</c:v>
                </c:pt>
                <c:pt idx="39">
                  <c:v>1341.5723</c:v>
                </c:pt>
                <c:pt idx="40">
                  <c:v>1316.8089</c:v>
                </c:pt>
                <c:pt idx="41">
                  <c:v>1337.6705</c:v>
                </c:pt>
                <c:pt idx="42">
                  <c:v>1370.4502</c:v>
                </c:pt>
                <c:pt idx="43">
                  <c:v>1347.1269</c:v>
                </c:pt>
                <c:pt idx="44">
                  <c:v>1331.3628</c:v>
                </c:pt>
                <c:pt idx="45">
                  <c:v>1291.7746</c:v>
                </c:pt>
                <c:pt idx="46">
                  <c:v>1277.4086</c:v>
                </c:pt>
                <c:pt idx="47">
                  <c:v>1210.9835</c:v>
                </c:pt>
                <c:pt idx="48">
                  <c:v>1152.4206</c:v>
                </c:pt>
                <c:pt idx="49">
                  <c:v>1174.4176</c:v>
                </c:pt>
                <c:pt idx="50">
                  <c:v>1125.1486</c:v>
                </c:pt>
                <c:pt idx="51">
                  <c:v>1142.6582</c:v>
                </c:pt>
              </c:numCache>
            </c:numRef>
          </c:xVal>
          <c:yVal>
            <c:numRef>
              <c:f>Sheet1!$B$109:$B$160</c:f>
              <c:numCache>
                <c:formatCode>General</c:formatCode>
                <c:ptCount val="52"/>
                <c:pt idx="0">
                  <c:v>0.25</c:v>
                </c:pt>
                <c:pt idx="1">
                  <c:v>0.23895976447497547</c:v>
                </c:pt>
                <c:pt idx="2">
                  <c:v>0.24209614551754005</c:v>
                </c:pt>
                <c:pt idx="3">
                  <c:v>0.2534637326813366</c:v>
                </c:pt>
                <c:pt idx="4">
                  <c:v>0.2475478748248482</c:v>
                </c:pt>
                <c:pt idx="5">
                  <c:v>0.25393154486586494</c:v>
                </c:pt>
                <c:pt idx="6">
                  <c:v>0.24776386404293382</c:v>
                </c:pt>
                <c:pt idx="7">
                  <c:v>0.27904191616766466</c:v>
                </c:pt>
                <c:pt idx="8">
                  <c:v>0.3069888961463096</c:v>
                </c:pt>
                <c:pt idx="9">
                  <c:v>0.30091012514220705</c:v>
                </c:pt>
                <c:pt idx="10">
                  <c:v>0.2730318257956449</c:v>
                </c:pt>
                <c:pt idx="11">
                  <c:v>0.27494824016563146</c:v>
                </c:pt>
                <c:pt idx="12">
                  <c:v>0.2905942910622368</c:v>
                </c:pt>
                <c:pt idx="13">
                  <c:v>0.28737300435413643</c:v>
                </c:pt>
                <c:pt idx="14">
                  <c:v>0.273783185840708</c:v>
                </c:pt>
                <c:pt idx="15">
                  <c:v>0.2522255192878338</c:v>
                </c:pt>
                <c:pt idx="16">
                  <c:v>0.23612087139845397</c:v>
                </c:pt>
                <c:pt idx="17">
                  <c:v>0.246996996996997</c:v>
                </c:pt>
                <c:pt idx="18">
                  <c:v>0.2420443587270974</c:v>
                </c:pt>
                <c:pt idx="19">
                  <c:v>0.24461028192371476</c:v>
                </c:pt>
                <c:pt idx="20">
                  <c:v>0.23295454545454544</c:v>
                </c:pt>
                <c:pt idx="21">
                  <c:v>0.2410032715376227</c:v>
                </c:pt>
                <c:pt idx="22">
                  <c:v>0.2631578947368421</c:v>
                </c:pt>
                <c:pt idx="23">
                  <c:v>0.23572744014732966</c:v>
                </c:pt>
                <c:pt idx="24">
                  <c:v>0.22122448979591836</c:v>
                </c:pt>
                <c:pt idx="25">
                  <c:v>0.23626852659110723</c:v>
                </c:pt>
                <c:pt idx="26">
                  <c:v>0.24798567591763654</c:v>
                </c:pt>
                <c:pt idx="27">
                  <c:v>0.24528301886792453</c:v>
                </c:pt>
                <c:pt idx="28">
                  <c:v>0.23966244725738398</c:v>
                </c:pt>
                <c:pt idx="29">
                  <c:v>0.27245508982035926</c:v>
                </c:pt>
                <c:pt idx="30">
                  <c:v>0.2692307692307692</c:v>
                </c:pt>
                <c:pt idx="31">
                  <c:v>0.26460071513706795</c:v>
                </c:pt>
                <c:pt idx="32">
                  <c:v>0.25875706214689265</c:v>
                </c:pt>
                <c:pt idx="33">
                  <c:v>0.28879310344827586</c:v>
                </c:pt>
                <c:pt idx="34">
                  <c:v>0.3057057057057057</c:v>
                </c:pt>
                <c:pt idx="35">
                  <c:v>0.3260099220411056</c:v>
                </c:pt>
                <c:pt idx="36">
                  <c:v>0.3064713064713065</c:v>
                </c:pt>
                <c:pt idx="37">
                  <c:v>0.3032608695652174</c:v>
                </c:pt>
                <c:pt idx="38">
                  <c:v>0.26745718050065875</c:v>
                </c:pt>
                <c:pt idx="39">
                  <c:v>0.2970749542961609</c:v>
                </c:pt>
                <c:pt idx="40">
                  <c:v>0.27812223206377323</c:v>
                </c:pt>
                <c:pt idx="41">
                  <c:v>0.2928452579034942</c:v>
                </c:pt>
                <c:pt idx="42">
                  <c:v>0.2740112994350282</c:v>
                </c:pt>
                <c:pt idx="43">
                  <c:v>0.2774982027318476</c:v>
                </c:pt>
                <c:pt idx="44">
                  <c:v>0.2588801926550271</c:v>
                </c:pt>
                <c:pt idx="45">
                  <c:v>0.26370866471326915</c:v>
                </c:pt>
                <c:pt idx="46">
                  <c:v>0.27449124467581637</c:v>
                </c:pt>
                <c:pt idx="47">
                  <c:v>0.28389290267743306</c:v>
                </c:pt>
                <c:pt idx="48">
                  <c:v>0.26709973251815056</c:v>
                </c:pt>
                <c:pt idx="49">
                  <c:v>0.2720836142953473</c:v>
                </c:pt>
                <c:pt idx="50">
                  <c:v>0.2670596236681025</c:v>
                </c:pt>
                <c:pt idx="51">
                  <c:v>0.2529011604641856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413.32746172437714</c:v>
                </c:pt>
              </c:numCache>
            </c:numRef>
          </c:xVal>
          <c:yVal>
            <c:numRef>
              <c:f>Sheet1!$B$163:$B$164</c:f>
              <c:numCache>
                <c:formatCode>General</c:formatCode>
                <c:ptCount val="2"/>
                <c:pt idx="0">
                  <c:v>0.302534715421116</c:v>
                </c:pt>
                <c:pt idx="1">
                  <c:v>0.30253471542111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413.32746172437714</c:v>
                </c:pt>
                <c:pt idx="1">
                  <c:v>-413.32746172437714</c:v>
                </c:pt>
              </c:numCache>
            </c:numRef>
          </c:xVal>
          <c:yVal>
            <c:numRef>
              <c:f>Sheet1!$B$167:$B$168</c:f>
              <c:numCache>
                <c:formatCode>General</c:formatCode>
                <c:ptCount val="2"/>
                <c:pt idx="0">
                  <c:v>0.30253471542111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425.7127312117908</c:v>
                </c:pt>
              </c:numCache>
            </c:numRef>
          </c:xVal>
          <c:yVal>
            <c:numRef>
              <c:f>Sheet1!$B$171:$B$172</c:f>
              <c:numCache>
                <c:formatCode>General</c:formatCode>
                <c:ptCount val="2"/>
                <c:pt idx="0">
                  <c:v>0.28490186382539523</c:v>
                </c:pt>
                <c:pt idx="1">
                  <c:v>0.2849018638253952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425.7127312117908</c:v>
                </c:pt>
                <c:pt idx="1">
                  <c:v>425.7127312117908</c:v>
                </c:pt>
              </c:numCache>
            </c:numRef>
          </c:xVal>
          <c:yVal>
            <c:numRef>
              <c:f>Sheet1!$B$175:$B$176</c:f>
              <c:numCache>
                <c:formatCode>General</c:formatCode>
                <c:ptCount val="2"/>
                <c:pt idx="0">
                  <c:v>0.2849018638253952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952.9980054620229</c:v>
                </c:pt>
              </c:numCache>
            </c:numRef>
          </c:xVal>
          <c:yVal>
            <c:numRef>
              <c:f>Sheet1!$B$179:$B$180</c:f>
              <c:numCache>
                <c:formatCode>General</c:formatCode>
                <c:ptCount val="2"/>
                <c:pt idx="0">
                  <c:v>0.2738206986228951</c:v>
                </c:pt>
                <c:pt idx="1">
                  <c:v>0.273820698622895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952.9980054620229</c:v>
                </c:pt>
                <c:pt idx="1">
                  <c:v>952.9980054620229</c:v>
                </c:pt>
              </c:numCache>
            </c:numRef>
          </c:xVal>
          <c:yVal>
            <c:numRef>
              <c:f>Sheet1!$B$183:$B$184</c:f>
              <c:numCache>
                <c:formatCode>General</c:formatCode>
                <c:ptCount val="2"/>
                <c:pt idx="0">
                  <c:v>0.273820698622895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34.5546</c:v>
                </c:pt>
                <c:pt idx="1">
                  <c:v>1386.2895</c:v>
                </c:pt>
                <c:pt idx="2">
                  <c:v>1365.7066</c:v>
                </c:pt>
                <c:pt idx="3">
                  <c:v>1448.6785</c:v>
                </c:pt>
                <c:pt idx="4">
                  <c:v>1431.4623</c:v>
                </c:pt>
                <c:pt idx="5">
                  <c:v>1432.4517</c:v>
                </c:pt>
                <c:pt idx="6">
                  <c:v>1392.9314</c:v>
                </c:pt>
                <c:pt idx="7">
                  <c:v>1351.7704</c:v>
                </c:pt>
                <c:pt idx="8">
                  <c:v>1367.2723</c:v>
                </c:pt>
                <c:pt idx="9">
                  <c:v>1370.3705</c:v>
                </c:pt>
                <c:pt idx="10">
                  <c:v>1371.2168</c:v>
                </c:pt>
                <c:pt idx="11">
                  <c:v>1276.6521</c:v>
                </c:pt>
                <c:pt idx="12">
                  <c:v>1292.124</c:v>
                </c:pt>
                <c:pt idx="13">
                  <c:v>1329.3569</c:v>
                </c:pt>
                <c:pt idx="14">
                  <c:v>1286.7333</c:v>
                </c:pt>
                <c:pt idx="15">
                  <c:v>1319.6729</c:v>
                </c:pt>
                <c:pt idx="16">
                  <c:v>1368.3333</c:v>
                </c:pt>
                <c:pt idx="17">
                  <c:v>1363.2462</c:v>
                </c:pt>
                <c:pt idx="18">
                  <c:v>1408.0956</c:v>
                </c:pt>
                <c:pt idx="19">
                  <c:v>1490.2475</c:v>
                </c:pt>
                <c:pt idx="20">
                  <c:v>1459.5447</c:v>
                </c:pt>
                <c:pt idx="21">
                  <c:v>1383.6471</c:v>
                </c:pt>
                <c:pt idx="22">
                  <c:v>1310.2</c:v>
                </c:pt>
                <c:pt idx="23">
                  <c:v>1344.8125</c:v>
                </c:pt>
                <c:pt idx="24">
                  <c:v>1271.4871</c:v>
                </c:pt>
                <c:pt idx="25">
                  <c:v>1223.7085</c:v>
                </c:pt>
                <c:pt idx="26">
                  <c:v>1300.87</c:v>
                </c:pt>
                <c:pt idx="27">
                  <c:v>1314.6084</c:v>
                </c:pt>
                <c:pt idx="28">
                  <c:v>1325.3451</c:v>
                </c:pt>
                <c:pt idx="29">
                  <c:v>1309.6484</c:v>
                </c:pt>
                <c:pt idx="30">
                  <c:v>1337.8919</c:v>
                </c:pt>
                <c:pt idx="31">
                  <c:v>1251.5721</c:v>
                </c:pt>
                <c:pt idx="32">
                  <c:v>1281.2838</c:v>
                </c:pt>
                <c:pt idx="33">
                  <c:v>1354.9134</c:v>
                </c:pt>
                <c:pt idx="34">
                  <c:v>1427.8369</c:v>
                </c:pt>
                <c:pt idx="35">
                  <c:v>1333.1804</c:v>
                </c:pt>
                <c:pt idx="36">
                  <c:v>1367.8048</c:v>
                </c:pt>
                <c:pt idx="37">
                  <c:v>1337.1613</c:v>
                </c:pt>
                <c:pt idx="38">
                  <c:v>1349.7389</c:v>
                </c:pt>
                <c:pt idx="39">
                  <c:v>1341.5723</c:v>
                </c:pt>
                <c:pt idx="40">
                  <c:v>1316.8089</c:v>
                </c:pt>
                <c:pt idx="41">
                  <c:v>1337.6705</c:v>
                </c:pt>
                <c:pt idx="42">
                  <c:v>1370.4502</c:v>
                </c:pt>
                <c:pt idx="43">
                  <c:v>1347.1269</c:v>
                </c:pt>
                <c:pt idx="44">
                  <c:v>1331.3628</c:v>
                </c:pt>
                <c:pt idx="45">
                  <c:v>1291.7746</c:v>
                </c:pt>
                <c:pt idx="46">
                  <c:v>1277.4086</c:v>
                </c:pt>
                <c:pt idx="47">
                  <c:v>1210.9835</c:v>
                </c:pt>
                <c:pt idx="48">
                  <c:v>1152.4206</c:v>
                </c:pt>
                <c:pt idx="49">
                  <c:v>1174.4176</c:v>
                </c:pt>
                <c:pt idx="50">
                  <c:v>1125.1486</c:v>
                </c:pt>
                <c:pt idx="51">
                  <c:v>1142.6582</c:v>
                </c:pt>
                <c:pt idx="52">
                  <c:v>425.7127312117908</c:v>
                </c:pt>
                <c:pt idx="53">
                  <c:v>-413.32746172437714</c:v>
                </c:pt>
                <c:pt idx="54">
                  <c:v>952.9980054620229</c:v>
                </c:pt>
              </c:numCache>
            </c:numRef>
          </c:xVal>
          <c:yVal>
            <c:numRef>
              <c:f>Sheet1!$B$187:$B$241</c:f>
              <c:numCache>
                <c:formatCode>General</c:formatCode>
                <c:ptCount val="55"/>
                <c:pt idx="0">
                  <c:v>0.2658020949093915</c:v>
                </c:pt>
                <c:pt idx="1">
                  <c:v>0.26471485996915917</c:v>
                </c:pt>
                <c:pt idx="2">
                  <c:v>0.26514741996350166</c:v>
                </c:pt>
                <c:pt idx="3">
                  <c:v>0.2634037237596342</c:v>
                </c:pt>
                <c:pt idx="4">
                  <c:v>0.263765530860412</c:v>
                </c:pt>
                <c:pt idx="5">
                  <c:v>0.26374473812185706</c:v>
                </c:pt>
                <c:pt idx="6">
                  <c:v>0.2645752771005438</c:v>
                </c:pt>
                <c:pt idx="7">
                  <c:v>0.26544029621481485</c:v>
                </c:pt>
                <c:pt idx="8">
                  <c:v>0.2651145159906338</c:v>
                </c:pt>
                <c:pt idx="9">
                  <c:v>0.26504940575959385</c:v>
                </c:pt>
                <c:pt idx="10">
                  <c:v>0.26503162033950184</c:v>
                </c:pt>
                <c:pt idx="11">
                  <c:v>0.26701894506522056</c:v>
                </c:pt>
                <c:pt idx="12">
                  <c:v>0.266693795306126</c:v>
                </c:pt>
                <c:pt idx="13">
                  <c:v>0.26591132718873955</c:v>
                </c:pt>
                <c:pt idx="14">
                  <c:v>0.26680708357753097</c:v>
                </c:pt>
                <c:pt idx="15">
                  <c:v>0.26611484131868296</c:v>
                </c:pt>
                <c:pt idx="16">
                  <c:v>0.2650922185420722</c:v>
                </c:pt>
                <c:pt idx="17">
                  <c:v>0.26519912650680116</c:v>
                </c:pt>
                <c:pt idx="18">
                  <c:v>0.26425659381168715</c:v>
                </c:pt>
                <c:pt idx="19">
                  <c:v>0.26253013032018585</c:v>
                </c:pt>
                <c:pt idx="20">
                  <c:v>0.26317536510217954</c:v>
                </c:pt>
                <c:pt idx="21">
                  <c:v>0.2647703913339839</c:v>
                </c:pt>
                <c:pt idx="22">
                  <c:v>0.26631391907596724</c:v>
                </c:pt>
                <c:pt idx="23">
                  <c:v>0.26558651998234206</c:v>
                </c:pt>
                <c:pt idx="24">
                  <c:v>0.26712749013762427</c:v>
                </c:pt>
                <c:pt idx="25">
                  <c:v>0.26813158144379057</c:v>
                </c:pt>
                <c:pt idx="26">
                  <c:v>0.2665099937178892</c:v>
                </c:pt>
                <c:pt idx="27">
                  <c:v>0.2662212743330467</c:v>
                </c:pt>
                <c:pt idx="28">
                  <c:v>0.2659956371832157</c:v>
                </c:pt>
                <c:pt idx="29">
                  <c:v>0.2663255112273589</c:v>
                </c:pt>
                <c:pt idx="30">
                  <c:v>0.26573195987161163</c:v>
                </c:pt>
                <c:pt idx="31">
                  <c:v>0.2675460138775895</c:v>
                </c:pt>
                <c:pt idx="32">
                  <c:v>0.26692160756050565</c:v>
                </c:pt>
                <c:pt idx="33">
                  <c:v>0.2653742444892457</c:v>
                </c:pt>
                <c:pt idx="34">
                  <c:v>0.26384172046457316</c:v>
                </c:pt>
                <c:pt idx="35">
                  <c:v>0.26583097441345677</c:v>
                </c:pt>
                <c:pt idx="36">
                  <c:v>0.26510332523534724</c:v>
                </c:pt>
                <c:pt idx="37">
                  <c:v>0.2657473137980198</c:v>
                </c:pt>
                <c:pt idx="38">
                  <c:v>0.2654829892089268</c:v>
                </c:pt>
                <c:pt idx="39">
                  <c:v>0.2656546144147917</c:v>
                </c:pt>
                <c:pt idx="40">
                  <c:v>0.26617502971894713</c:v>
                </c:pt>
                <c:pt idx="41">
                  <c:v>0.2657366127039505</c:v>
                </c:pt>
                <c:pt idx="42">
                  <c:v>0.26504773082401384</c:v>
                </c:pt>
                <c:pt idx="43">
                  <c:v>0.2655378817024638</c:v>
                </c:pt>
                <c:pt idx="44">
                  <c:v>0.2658691721915015</c:v>
                </c:pt>
                <c:pt idx="45">
                  <c:v>0.2667011381228342</c:v>
                </c:pt>
                <c:pt idx="46">
                  <c:v>0.26700304683728765</c:v>
                </c:pt>
                <c:pt idx="47">
                  <c:v>0.26839900371800884</c:v>
                </c:pt>
                <c:pt idx="48">
                  <c:v>0.26962973251194355</c:v>
                </c:pt>
                <c:pt idx="49">
                  <c:v>0.26916745449497065</c:v>
                </c:pt>
                <c:pt idx="50">
                  <c:v>0.27020286730663756</c:v>
                </c:pt>
                <c:pt idx="51">
                  <c:v>0.26983489425731316</c:v>
                </c:pt>
                <c:pt idx="52">
                  <c:v>0.28490186382539523</c:v>
                </c:pt>
                <c:pt idx="53">
                  <c:v>0.302534715421116</c:v>
                </c:pt>
                <c:pt idx="54">
                  <c:v>0.273820698622895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8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937972768532527"/>
          <c:min val="0.167562557924003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23937908496732027</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23937908496732027</c:v>
                </c:pt>
              </c:numCache>
            </c:numRef>
          </c:xVal>
          <c:yVal>
            <c:numRef>
              <c:f>Sheet1!$B$7:$B$8</c:f>
              <c:numCache>
                <c:formatCode>General</c:formatCode>
                <c:ptCount val="2"/>
                <c:pt idx="0">
                  <c:v>0.23937908496732027</c:v>
                </c:pt>
                <c:pt idx="1">
                  <c:v>0.23937908496732027</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23937908496732027</c:v>
                </c:pt>
                <c:pt idx="1">
                  <c:v>0.23937908496732027</c:v>
                </c:pt>
              </c:numCache>
            </c:numRef>
          </c:xVal>
          <c:yVal>
            <c:numRef>
              <c:f>Sheet1!$B$11:$B$12</c:f>
              <c:numCache>
                <c:formatCode>General</c:formatCode>
                <c:ptCount val="2"/>
                <c:pt idx="0">
                  <c:v>0.2393790849673202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23937908496732027</c:v>
                </c:pt>
                <c:pt idx="2">
                  <c:v>0</c:v>
                </c:pt>
              </c:numCache>
            </c:numRef>
          </c:xVal>
          <c:yVal>
            <c:numRef>
              <c:f>Sheet1!$B$15:$B$17</c:f>
              <c:numCache>
                <c:formatCode>General</c:formatCode>
                <c:ptCount val="3"/>
                <c:pt idx="0">
                  <c:v>0</c:v>
                </c:pt>
                <c:pt idx="1">
                  <c:v>0.23937908496732027</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opperto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72549019607843"/>
          <c:min val="0.1915032679738562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1382.8771</c:v>
                </c:pt>
              </c:numCache>
            </c:numRef>
          </c:xVal>
          <c:yVal>
            <c:numRef>
              <c:f>Sheet1!$B$2:$B$2</c:f>
              <c:numCache>
                <c:formatCode>General</c:formatCode>
                <c:ptCount val="1"/>
                <c:pt idx="0">
                  <c:v>0.23937908496732027</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23937908496732027</c:v>
                </c:pt>
              </c:numCache>
            </c:numRef>
          </c:xVal>
          <c:yVal>
            <c:numRef>
              <c:f>Sheet1!$B$7:$B$8</c:f>
              <c:numCache>
                <c:formatCode>General</c:formatCode>
                <c:ptCount val="2"/>
                <c:pt idx="0">
                  <c:v>0.23937908496732027</c:v>
                </c:pt>
                <c:pt idx="1">
                  <c:v>0.23937908496732027</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23937908496732027</c:v>
                </c:pt>
                <c:pt idx="1">
                  <c:v>0.23937908496732027</c:v>
                </c:pt>
              </c:numCache>
            </c:numRef>
          </c:xVal>
          <c:yVal>
            <c:numRef>
              <c:f>Sheet1!$B$11:$B$12</c:f>
              <c:numCache>
                <c:formatCode>General</c:formatCode>
                <c:ptCount val="2"/>
                <c:pt idx="0">
                  <c:v>0.2393790849673202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23937908496732027</c:v>
                </c:pt>
                <c:pt idx="2">
                  <c:v>0</c:v>
                </c:pt>
              </c:numCache>
            </c:numRef>
          </c:xVal>
          <c:yVal>
            <c:numRef>
              <c:f>Sheet1!$B$15:$B$17</c:f>
              <c:numCache>
                <c:formatCode>General</c:formatCode>
                <c:ptCount val="3"/>
                <c:pt idx="0">
                  <c:v>0</c:v>
                </c:pt>
                <c:pt idx="1">
                  <c:v>0.23937908496732027</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5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72549019607843"/>
          <c:min val="0.1915032679738562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97</c:f>
              <c:numCache>
                <c:formatCode>General</c:formatCode>
                <c:ptCount val="96"/>
                <c:pt idx="0">
                  <c:v>0.49237230769323803</c:v>
                </c:pt>
                <c:pt idx="1">
                  <c:v>0.46946420115774673</c:v>
                </c:pt>
                <c:pt idx="2">
                  <c:v>0.4882272604336412</c:v>
                </c:pt>
                <c:pt idx="3">
                  <c:v>0.5282957231106642</c:v>
                </c:pt>
                <c:pt idx="4">
                  <c:v>0.4892109360417398</c:v>
                </c:pt>
                <c:pt idx="5">
                  <c:v>0.0</c:v>
                </c:pt>
                <c:pt idx="6">
                  <c:v>0.0</c:v>
                </c:pt>
                <c:pt idx="7">
                  <c:v>0.6983666851749027</c:v>
                </c:pt>
                <c:pt idx="8">
                  <c:v>0.0</c:v>
                </c:pt>
                <c:pt idx="9">
                  <c:v>0.0</c:v>
                </c:pt>
                <c:pt idx="10">
                  <c:v>0.8100895023858214</c:v>
                </c:pt>
                <c:pt idx="11">
                  <c:v>0.8581201562214158</c:v>
                </c:pt>
                <c:pt idx="12">
                  <c:v>0.0</c:v>
                </c:pt>
                <c:pt idx="13">
                  <c:v>0.8753331769436997</c:v>
                </c:pt>
                <c:pt idx="14">
                  <c:v>0.4749385599415205</c:v>
                </c:pt>
                <c:pt idx="15">
                  <c:v>0.5582168099742046</c:v>
                </c:pt>
                <c:pt idx="16">
                  <c:v>0.5117761205564142</c:v>
                </c:pt>
                <c:pt idx="17">
                  <c:v>0.6159289140422499</c:v>
                </c:pt>
                <c:pt idx="18">
                  <c:v>0.0</c:v>
                </c:pt>
                <c:pt idx="19">
                  <c:v>1.134336726384365</c:v>
                </c:pt>
                <c:pt idx="20">
                  <c:v>0.9034750802825948</c:v>
                </c:pt>
                <c:pt idx="21">
                  <c:v>0.0</c:v>
                </c:pt>
                <c:pt idx="22">
                  <c:v>0.0</c:v>
                </c:pt>
                <c:pt idx="23">
                  <c:v>0.0</c:v>
                </c:pt>
                <c:pt idx="24">
                  <c:v>0.48165891817870593</c:v>
                </c:pt>
                <c:pt idx="25">
                  <c:v>0.0</c:v>
                </c:pt>
                <c:pt idx="26">
                  <c:v>0.0</c:v>
                </c:pt>
                <c:pt idx="27">
                  <c:v>0.0</c:v>
                </c:pt>
                <c:pt idx="28">
                  <c:v>0.0</c:v>
                </c:pt>
                <c:pt idx="29">
                  <c:v>0.0</c:v>
                </c:pt>
                <c:pt idx="30">
                  <c:v>0.0</c:v>
                </c:pt>
                <c:pt idx="31">
                  <c:v>0.0</c:v>
                </c:pt>
                <c:pt idx="32">
                  <c:v>0.0</c:v>
                </c:pt>
                <c:pt idx="33">
                  <c:v>0.0</c:v>
                </c:pt>
                <c:pt idx="34">
                  <c:v>0.2522555928609295</c:v>
                </c:pt>
                <c:pt idx="35">
                  <c:v>0.433283152092954</c:v>
                </c:pt>
                <c:pt idx="36">
                  <c:v>0.38275475753604193</c:v>
                </c:pt>
                <c:pt idx="37">
                  <c:v>0.1889534430546412</c:v>
                </c:pt>
                <c:pt idx="38">
                  <c:v>0.2739086493232217</c:v>
                </c:pt>
                <c:pt idx="39">
                  <c:v>0.2593002182611859</c:v>
                </c:pt>
                <c:pt idx="40">
                  <c:v>0.3392925171678901</c:v>
                </c:pt>
                <c:pt idx="41">
                  <c:v>0.0</c:v>
                </c:pt>
                <c:pt idx="42">
                  <c:v>0.0</c:v>
                </c:pt>
                <c:pt idx="43">
                  <c:v>0.0</c:v>
                </c:pt>
                <c:pt idx="44">
                  <c:v>0.0</c:v>
                </c:pt>
                <c:pt idx="45">
                  <c:v>0.0</c:v>
                </c:pt>
                <c:pt idx="46">
                  <c:v>0.0</c:v>
                </c:pt>
                <c:pt idx="47">
                  <c:v>0.3794236447090932</c:v>
                </c:pt>
                <c:pt idx="48">
                  <c:v>0.4323071522360975</c:v>
                </c:pt>
                <c:pt idx="49">
                  <c:v>0.17949630787037035</c:v>
                </c:pt>
                <c:pt idx="50">
                  <c:v>0.4128306991382715</c:v>
                </c:pt>
                <c:pt idx="51">
                  <c:v>0.20514198546551488</c:v>
                </c:pt>
                <c:pt idx="52">
                  <c:v>0.3846947471626505</c:v>
                </c:pt>
                <c:pt idx="53">
                  <c:v>0.37984178375882316</c:v>
                </c:pt>
                <c:pt idx="54">
                  <c:v>0.31072133709572386</c:v>
                </c:pt>
                <c:pt idx="55">
                  <c:v>0.0</c:v>
                </c:pt>
                <c:pt idx="56">
                  <c:v>0.35251089503280225</c:v>
                </c:pt>
                <c:pt idx="57">
                  <c:v>0.26542885906040264</c:v>
                </c:pt>
                <c:pt idx="58">
                  <c:v>0.0</c:v>
                </c:pt>
                <c:pt idx="59">
                  <c:v>0.0</c:v>
                </c:pt>
                <c:pt idx="60">
                  <c:v>0.0</c:v>
                </c:pt>
                <c:pt idx="61">
                  <c:v>0.0</c:v>
                </c:pt>
                <c:pt idx="62">
                  <c:v>0.0</c:v>
                </c:pt>
                <c:pt idx="63">
                  <c:v>0.2645199625276784</c:v>
                </c:pt>
                <c:pt idx="64">
                  <c:v>0.0</c:v>
                </c:pt>
                <c:pt idx="65">
                  <c:v>0.0</c:v>
                </c:pt>
                <c:pt idx="66">
                  <c:v>0.0</c:v>
                </c:pt>
                <c:pt idx="67">
                  <c:v>0.0</c:v>
                </c:pt>
                <c:pt idx="68">
                  <c:v>0.0</c:v>
                </c:pt>
                <c:pt idx="69">
                  <c:v>0.3105632007034513</c:v>
                </c:pt>
                <c:pt idx="70">
                  <c:v>0.0</c:v>
                </c:pt>
                <c:pt idx="71">
                  <c:v>0.0</c:v>
                </c:pt>
                <c:pt idx="72">
                  <c:v>0.26808172285852555</c:v>
                </c:pt>
                <c:pt idx="73">
                  <c:v>0.0</c:v>
                </c:pt>
                <c:pt idx="74">
                  <c:v>0.0</c:v>
                </c:pt>
                <c:pt idx="75">
                  <c:v>0.0</c:v>
                </c:pt>
                <c:pt idx="76">
                  <c:v>0.4568156392694064</c:v>
                </c:pt>
                <c:pt idx="77">
                  <c:v>0.0</c:v>
                </c:pt>
                <c:pt idx="78">
                  <c:v>0.0</c:v>
                </c:pt>
                <c:pt idx="79">
                  <c:v>0.0</c:v>
                </c:pt>
                <c:pt idx="80">
                  <c:v>0.3147331845238095</c:v>
                </c:pt>
                <c:pt idx="81">
                  <c:v>0.0</c:v>
                </c:pt>
                <c:pt idx="82">
                  <c:v>0.0</c:v>
                </c:pt>
                <c:pt idx="83">
                  <c:v>0.0</c:v>
                </c:pt>
                <c:pt idx="84">
                  <c:v>0.0</c:v>
                </c:pt>
                <c:pt idx="85">
                  <c:v>0.0</c:v>
                </c:pt>
                <c:pt idx="86">
                  <c:v>0.0</c:v>
                </c:pt>
                <c:pt idx="87">
                  <c:v>0.0</c:v>
                </c:pt>
                <c:pt idx="88">
                  <c:v>0.0</c:v>
                </c:pt>
                <c:pt idx="89">
                  <c:v>0.0</c:v>
                </c:pt>
                <c:pt idx="90">
                  <c:v>0.3547081570996979</c:v>
                </c:pt>
                <c:pt idx="91">
                  <c:v>0.0</c:v>
                </c:pt>
                <c:pt idx="92">
                  <c:v>0.25711127366609293</c:v>
                </c:pt>
                <c:pt idx="93">
                  <c:v>0.0</c:v>
                </c:pt>
                <c:pt idx="94">
                  <c:v>0.0</c:v>
                </c:pt>
                <c:pt idx="95">
                  <c:v>0.0</c:v>
                </c:pt>
              </c:numCache>
            </c:numRef>
          </c:xVal>
          <c:yVal>
            <c:numRef>
              <c:f>Sheet1!$B$2:$B$97</c:f>
              <c:numCache>
                <c:formatCode>General</c:formatCode>
                <c:ptCount val="96"/>
                <c:pt idx="0">
                  <c:v>0.9910179640718563</c:v>
                </c:pt>
                <c:pt idx="1">
                  <c:v>0.9916666666666667</c:v>
                </c:pt>
                <c:pt idx="2">
                  <c:v>0.9796511627906976</c:v>
                </c:pt>
                <c:pt idx="3">
                  <c:v>0.9798850574712644</c:v>
                </c:pt>
                <c:pt idx="4">
                  <c:v>0.9900990099009901</c:v>
                </c:pt>
                <c:pt idx="5">
                  <c:v>1.0</c:v>
                </c:pt>
                <c:pt idx="6">
                  <c:v>1.0</c:v>
                </c:pt>
                <c:pt idx="7">
                  <c:v>0.9966555183946488</c:v>
                </c:pt>
                <c:pt idx="8">
                  <c:v>1.0</c:v>
                </c:pt>
                <c:pt idx="9">
                  <c:v>1.0</c:v>
                </c:pt>
                <c:pt idx="10">
                  <c:v>0.9978118161925602</c:v>
                </c:pt>
                <c:pt idx="11">
                  <c:v>0.9921671018276762</c:v>
                </c:pt>
                <c:pt idx="12">
                  <c:v>1.0</c:v>
                </c:pt>
                <c:pt idx="13">
                  <c:v>0.997134670487106</c:v>
                </c:pt>
                <c:pt idx="14">
                  <c:v>0.9942363112391931</c:v>
                </c:pt>
                <c:pt idx="15">
                  <c:v>0.9941860465116279</c:v>
                </c:pt>
                <c:pt idx="16">
                  <c:v>0.9884169884169884</c:v>
                </c:pt>
                <c:pt idx="17">
                  <c:v>0.9872881355932204</c:v>
                </c:pt>
                <c:pt idx="18">
                  <c:v>1.0</c:v>
                </c:pt>
                <c:pt idx="19">
                  <c:v>0.9886363636363636</c:v>
                </c:pt>
                <c:pt idx="20">
                  <c:v>0.9899497487437185</c:v>
                </c:pt>
                <c:pt idx="21">
                  <c:v>1.0</c:v>
                </c:pt>
                <c:pt idx="22">
                  <c:v>1.0</c:v>
                </c:pt>
                <c:pt idx="23">
                  <c:v>1.0</c:v>
                </c:pt>
                <c:pt idx="24">
                  <c:v>0.9950738916256158</c:v>
                </c:pt>
                <c:pt idx="25">
                  <c:v>1.0</c:v>
                </c:pt>
                <c:pt idx="26">
                  <c:v>1.0</c:v>
                </c:pt>
                <c:pt idx="27">
                  <c:v>1.0</c:v>
                </c:pt>
                <c:pt idx="28">
                  <c:v>1.0</c:v>
                </c:pt>
                <c:pt idx="29">
                  <c:v>1.0</c:v>
                </c:pt>
                <c:pt idx="30">
                  <c:v>1.0</c:v>
                </c:pt>
                <c:pt idx="31">
                  <c:v>1.0</c:v>
                </c:pt>
                <c:pt idx="32">
                  <c:v>1.0</c:v>
                </c:pt>
                <c:pt idx="33">
                  <c:v>1.0</c:v>
                </c:pt>
                <c:pt idx="34">
                  <c:v>0.9973958333333334</c:v>
                </c:pt>
                <c:pt idx="35">
                  <c:v>0.9955849889624724</c:v>
                </c:pt>
                <c:pt idx="36">
                  <c:v>0.9955654101995566</c:v>
                </c:pt>
                <c:pt idx="37">
                  <c:v>0.9977528089887641</c:v>
                </c:pt>
                <c:pt idx="38">
                  <c:v>0.9970059880239521</c:v>
                </c:pt>
                <c:pt idx="39">
                  <c:v>0.9979166666666667</c:v>
                </c:pt>
                <c:pt idx="40">
                  <c:v>0.997907949790795</c:v>
                </c:pt>
                <c:pt idx="41">
                  <c:v>1.0</c:v>
                </c:pt>
                <c:pt idx="42">
                  <c:v>1.0</c:v>
                </c:pt>
                <c:pt idx="43">
                  <c:v>1.0</c:v>
                </c:pt>
                <c:pt idx="44">
                  <c:v>1.0</c:v>
                </c:pt>
                <c:pt idx="45">
                  <c:v>1.0</c:v>
                </c:pt>
                <c:pt idx="46">
                  <c:v>1.0</c:v>
                </c:pt>
                <c:pt idx="47">
                  <c:v>0.9953379953379954</c:v>
                </c:pt>
                <c:pt idx="48">
                  <c:v>0.9939148073022313</c:v>
                </c:pt>
                <c:pt idx="49">
                  <c:v>0.9987357774968394</c:v>
                </c:pt>
                <c:pt idx="50">
                  <c:v>0.9961587708066582</c:v>
                </c:pt>
                <c:pt idx="51">
                  <c:v>0.9982993197278912</c:v>
                </c:pt>
                <c:pt idx="52">
                  <c:v>0.9950576606260296</c:v>
                </c:pt>
                <c:pt idx="53">
                  <c:v>0.995243757431629</c:v>
                </c:pt>
                <c:pt idx="54">
                  <c:v>0.9972972972972973</c:v>
                </c:pt>
                <c:pt idx="55">
                  <c:v>0.9968253968253968</c:v>
                </c:pt>
                <c:pt idx="56">
                  <c:v>0.9967105263157895</c:v>
                </c:pt>
                <c:pt idx="57">
                  <c:v>0.9981447124304267</c:v>
                </c:pt>
                <c:pt idx="58">
                  <c:v>0.9975062344139651</c:v>
                </c:pt>
                <c:pt idx="59">
                  <c:v>1.0</c:v>
                </c:pt>
                <c:pt idx="60">
                  <c:v>1.0</c:v>
                </c:pt>
                <c:pt idx="61">
                  <c:v>1.0</c:v>
                </c:pt>
                <c:pt idx="62">
                  <c:v>1.0</c:v>
                </c:pt>
                <c:pt idx="63">
                  <c:v>0.9967532467532467</c:v>
                </c:pt>
                <c:pt idx="64">
                  <c:v>1.0</c:v>
                </c:pt>
                <c:pt idx="65">
                  <c:v>1.0</c:v>
                </c:pt>
                <c:pt idx="66">
                  <c:v>1.0</c:v>
                </c:pt>
                <c:pt idx="67">
                  <c:v>1.0</c:v>
                </c:pt>
                <c:pt idx="68">
                  <c:v>1.0</c:v>
                </c:pt>
                <c:pt idx="69">
                  <c:v>0.9959514170040485</c:v>
                </c:pt>
                <c:pt idx="70">
                  <c:v>1.0</c:v>
                </c:pt>
                <c:pt idx="71">
                  <c:v>1.0</c:v>
                </c:pt>
                <c:pt idx="72">
                  <c:v>0.9955357142857143</c:v>
                </c:pt>
                <c:pt idx="73">
                  <c:v>1.0</c:v>
                </c:pt>
                <c:pt idx="74">
                  <c:v>1.0</c:v>
                </c:pt>
                <c:pt idx="75">
                  <c:v>1.0</c:v>
                </c:pt>
                <c:pt idx="76">
                  <c:v>0.991701244813278</c:v>
                </c:pt>
                <c:pt idx="77">
                  <c:v>1.0</c:v>
                </c:pt>
                <c:pt idx="78">
                  <c:v>1.0</c:v>
                </c:pt>
                <c:pt idx="79">
                  <c:v>1.0</c:v>
                </c:pt>
                <c:pt idx="80">
                  <c:v>0.994475138121547</c:v>
                </c:pt>
                <c:pt idx="81">
                  <c:v>1.0</c:v>
                </c:pt>
                <c:pt idx="82">
                  <c:v>1.0</c:v>
                </c:pt>
                <c:pt idx="83">
                  <c:v>1.0</c:v>
                </c:pt>
                <c:pt idx="84">
                  <c:v>1.0</c:v>
                </c:pt>
                <c:pt idx="85">
                  <c:v>1.0</c:v>
                </c:pt>
                <c:pt idx="86">
                  <c:v>1.0</c:v>
                </c:pt>
                <c:pt idx="87">
                  <c:v>1.0</c:v>
                </c:pt>
                <c:pt idx="88">
                  <c:v>1.0</c:v>
                </c:pt>
                <c:pt idx="89">
                  <c:v>1.0</c:v>
                </c:pt>
                <c:pt idx="90">
                  <c:v>0.9981998199819982</c:v>
                </c:pt>
                <c:pt idx="91">
                  <c:v>1.0</c:v>
                </c:pt>
                <c:pt idx="92">
                  <c:v>0.9977116704805492</c:v>
                </c:pt>
                <c:pt idx="93">
                  <c:v>1.0</c:v>
                </c:pt>
                <c:pt idx="94">
                  <c:v>1.0</c:v>
                </c:pt>
                <c:pt idx="95">
                  <c:v>0.9908256880733946</c:v>
                </c:pt>
              </c:numCache>
            </c:numRef>
          </c:yVal>
          <c:smooth val="0"/>
          <c:extLst>
            <c:ext xmlns:c16="http://schemas.microsoft.com/office/drawing/2014/chart" uri="{C3380CC4-5D6E-409C-BE32-E72D297353CC}">
              <c16:uniqueId val="{00000000-096C-4121-9522-6AB7243CCAAE}"/>
            </c:ext>
          </c:extLst>
        </c:ser>
        <c:ser>
          <c:idx val="1"/>
          <c:order val="1"/>
          <c:tx>
            <c:strRef>
              <c:f>Sheet1!$B$9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0:$A$150</c:f>
              <c:numCache>
                <c:formatCode>General</c:formatCode>
                <c:ptCount val="51"/>
                <c:pt idx="0">
                  <c:v>0.7681433537832311</c:v>
                </c:pt>
                <c:pt idx="1">
                  <c:v>0.9510576973195605</c:v>
                </c:pt>
                <c:pt idx="2">
                  <c:v>0.9283478639184796</c:v>
                </c:pt>
                <c:pt idx="3">
                  <c:v>0.9650530640191715</c:v>
                </c:pt>
                <c:pt idx="4">
                  <c:v>1.0722117512270395</c:v>
                </c:pt>
                <c:pt idx="5">
                  <c:v>0.8708414145985324</c:v>
                </c:pt>
                <c:pt idx="6">
                  <c:v>0.9228524692415045</c:v>
                </c:pt>
                <c:pt idx="7">
                  <c:v>0.961795613486891</c:v>
                </c:pt>
                <c:pt idx="8">
                  <c:v>0.934242442595255</c:v>
                </c:pt>
                <c:pt idx="9">
                  <c:v>0.9939357666325325</c:v>
                </c:pt>
                <c:pt idx="10">
                  <c:v>0.9676078464385837</c:v>
                </c:pt>
                <c:pt idx="11">
                  <c:v>1.0010961295493348</c:v>
                </c:pt>
                <c:pt idx="12">
                  <c:v>0.9883575697586666</c:v>
                </c:pt>
                <c:pt idx="13">
                  <c:v>1.0429799253034546</c:v>
                </c:pt>
                <c:pt idx="14">
                  <c:v>1.0977132975964032</c:v>
                </c:pt>
                <c:pt idx="15">
                  <c:v>1.0107810731474682</c:v>
                </c:pt>
                <c:pt idx="16">
                  <c:v>0.9529606073873429</c:v>
                </c:pt>
                <c:pt idx="17">
                  <c:v>0.9561992262922997</c:v>
                </c:pt>
                <c:pt idx="18">
                  <c:v>1.162504199394743</c:v>
                </c:pt>
                <c:pt idx="19">
                  <c:v>1.1858997047705193</c:v>
                </c:pt>
                <c:pt idx="20">
                  <c:v>0.9856998382384067</c:v>
                </c:pt>
                <c:pt idx="21">
                  <c:v>1.0071019107589132</c:v>
                </c:pt>
                <c:pt idx="22">
                  <c:v>0.7401374748257578</c:v>
                </c:pt>
                <c:pt idx="23">
                  <c:v>0.587676159411931</c:v>
                </c:pt>
                <c:pt idx="24">
                  <c:v>0.6137555943603673</c:v>
                </c:pt>
                <c:pt idx="25">
                  <c:v>0.5490253037355008</c:v>
                </c:pt>
                <c:pt idx="26">
                  <c:v>0.848097619047619</c:v>
                </c:pt>
                <c:pt idx="27">
                  <c:v>0.8844542422900988</c:v>
                </c:pt>
                <c:pt idx="28">
                  <c:v>0.938313631267019</c:v>
                </c:pt>
                <c:pt idx="29">
                  <c:v>0.8144134921861764</c:v>
                </c:pt>
                <c:pt idx="30">
                  <c:v>0.7923064261418852</c:v>
                </c:pt>
                <c:pt idx="31">
                  <c:v>0.8009236051794586</c:v>
                </c:pt>
                <c:pt idx="32">
                  <c:v>0.8591163239523064</c:v>
                </c:pt>
                <c:pt idx="33">
                  <c:v>0.9958643520843115</c:v>
                </c:pt>
                <c:pt idx="34">
                  <c:v>0.9367418079722192</c:v>
                </c:pt>
                <c:pt idx="35">
                  <c:v>0.8155676569406063</c:v>
                </c:pt>
                <c:pt idx="36">
                  <c:v>0.9365553302953693</c:v>
                </c:pt>
                <c:pt idx="37">
                  <c:v>1.0804671849633496</c:v>
                </c:pt>
                <c:pt idx="38">
                  <c:v>0.9273292322657714</c:v>
                </c:pt>
                <c:pt idx="39">
                  <c:v>1.004329048284633</c:v>
                </c:pt>
                <c:pt idx="40">
                  <c:v>1.1340228710689733</c:v>
                </c:pt>
                <c:pt idx="41">
                  <c:v>1.1080572119144552</c:v>
                </c:pt>
                <c:pt idx="42">
                  <c:v>1.0251145211535744</c:v>
                </c:pt>
                <c:pt idx="43">
                  <c:v>0.9821588353826082</c:v>
                </c:pt>
                <c:pt idx="44">
                  <c:v>0.9980694144886985</c:v>
                </c:pt>
                <c:pt idx="45">
                  <c:v>0.8868351428612785</c:v>
                </c:pt>
                <c:pt idx="46">
                  <c:v>0.886975627492675</c:v>
                </c:pt>
                <c:pt idx="47">
                  <c:v>0.9526858780561613</c:v>
                </c:pt>
                <c:pt idx="48">
                  <c:v>0.909279762273262</c:v>
                </c:pt>
                <c:pt idx="49">
                  <c:v>0.9350375939445603</c:v>
                </c:pt>
                <c:pt idx="50">
                  <c:v>0.9171578633045786</c:v>
                </c:pt>
              </c:numCache>
            </c:numRef>
          </c:xVal>
          <c:yVal>
            <c:numRef>
              <c:f>Sheet1!$B$100:$B$150</c:f>
              <c:numCache>
                <c:formatCode>General</c:formatCode>
                <c:ptCount val="51"/>
                <c:pt idx="0">
                  <c:v>0.9876760563380281</c:v>
                </c:pt>
                <c:pt idx="1">
                  <c:v>0.9627831715210357</c:v>
                </c:pt>
                <c:pt idx="2">
                  <c:v>0.9680365296803652</c:v>
                </c:pt>
                <c:pt idx="3">
                  <c:v>0.9717813051146384</c:v>
                </c:pt>
                <c:pt idx="4">
                  <c:v>0.9528795811518325</c:v>
                </c:pt>
                <c:pt idx="5">
                  <c:v>0.9674657534246576</c:v>
                </c:pt>
                <c:pt idx="6">
                  <c:v>0.9628712871287128</c:v>
                </c:pt>
                <c:pt idx="7">
                  <c:v>0.9504950495049505</c:v>
                </c:pt>
                <c:pt idx="8">
                  <c:v>0.9565217391304348</c:v>
                </c:pt>
                <c:pt idx="9">
                  <c:v>0.9365750528541226</c:v>
                </c:pt>
                <c:pt idx="10">
                  <c:v>0.9434523809523809</c:v>
                </c:pt>
                <c:pt idx="11">
                  <c:v>0.942339373970346</c:v>
                </c:pt>
                <c:pt idx="12">
                  <c:v>0.9450757575757576</c:v>
                </c:pt>
                <c:pt idx="13">
                  <c:v>0.9624765478424016</c:v>
                </c:pt>
                <c:pt idx="14">
                  <c:v>0.9547511312217195</c:v>
                </c:pt>
                <c:pt idx="15">
                  <c:v>0.9630681818181818</c:v>
                </c:pt>
                <c:pt idx="16">
                  <c:v>0.9591836734693877</c:v>
                </c:pt>
                <c:pt idx="17">
                  <c:v>0.9405594405594405</c:v>
                </c:pt>
                <c:pt idx="18">
                  <c:v>0.9326599326599326</c:v>
                </c:pt>
                <c:pt idx="19">
                  <c:v>0.9176470588235294</c:v>
                </c:pt>
                <c:pt idx="20">
                  <c:v>0.9339622641509434</c:v>
                </c:pt>
                <c:pt idx="21">
                  <c:v>0.9237668161434978</c:v>
                </c:pt>
                <c:pt idx="22">
                  <c:v>0.9557522123893806</c:v>
                </c:pt>
                <c:pt idx="23">
                  <c:v>0.9668874172185431</c:v>
                </c:pt>
                <c:pt idx="24">
                  <c:v>0.9575371549893843</c:v>
                </c:pt>
                <c:pt idx="25">
                  <c:v>0.9718670076726342</c:v>
                </c:pt>
                <c:pt idx="26">
                  <c:v>0.939209726443769</c:v>
                </c:pt>
                <c:pt idx="27">
                  <c:v>0.9371069182389937</c:v>
                </c:pt>
                <c:pt idx="28">
                  <c:v>0.9377431906614786</c:v>
                </c:pt>
                <c:pt idx="29">
                  <c:v>0.9390681003584229</c:v>
                </c:pt>
                <c:pt idx="30">
                  <c:v>0.9553571428571429</c:v>
                </c:pt>
                <c:pt idx="31">
                  <c:v>0.9244444444444444</c:v>
                </c:pt>
                <c:pt idx="32">
                  <c:v>0.9759450171821306</c:v>
                </c:pt>
                <c:pt idx="33">
                  <c:v>0.9692307692307692</c:v>
                </c:pt>
                <c:pt idx="34">
                  <c:v>0.9538904899135446</c:v>
                </c:pt>
                <c:pt idx="35">
                  <c:v>0.9308755760368663</c:v>
                </c:pt>
                <c:pt idx="36">
                  <c:v>0.9483568075117371</c:v>
                </c:pt>
                <c:pt idx="37">
                  <c:v>0.9285714285714286</c:v>
                </c:pt>
                <c:pt idx="38">
                  <c:v>0.9124087591240876</c:v>
                </c:pt>
                <c:pt idx="39">
                  <c:v>0.8943661971830986</c:v>
                </c:pt>
                <c:pt idx="40">
                  <c:v>0.8863636363636364</c:v>
                </c:pt>
                <c:pt idx="41">
                  <c:v>0.9039145907473309</c:v>
                </c:pt>
                <c:pt idx="42">
                  <c:v>0.8907103825136612</c:v>
                </c:pt>
                <c:pt idx="43">
                  <c:v>0.9283819628647215</c:v>
                </c:pt>
                <c:pt idx="44">
                  <c:v>0.9288194444444444</c:v>
                </c:pt>
                <c:pt idx="45">
                  <c:v>0.9535864978902954</c:v>
                </c:pt>
                <c:pt idx="46">
                  <c:v>0.9349112426035503</c:v>
                </c:pt>
                <c:pt idx="47">
                  <c:v>0.9273927392739274</c:v>
                </c:pt>
                <c:pt idx="48">
                  <c:v>0.9422799422799423</c:v>
                </c:pt>
                <c:pt idx="49">
                  <c:v>0.9328984156570364</c:v>
                </c:pt>
                <c:pt idx="50">
                  <c:v>0.9272419627749577</c:v>
                </c:pt>
              </c:numCache>
            </c:numRef>
          </c:yVal>
          <c:smooth val="0"/>
          <c:extLst>
            <c:ext xmlns:c16="http://schemas.microsoft.com/office/drawing/2014/chart" uri="{C3380CC4-5D6E-409C-BE32-E72D297353CC}">
              <c16:uniqueId val="{00000002-096C-4121-9522-6AB7243CCAAE}"/>
            </c:ext>
          </c:extLst>
        </c:ser>
        <c:ser>
          <c:idx val="2"/>
          <c:order val="2"/>
          <c:tx>
            <c:strRef>
              <c:f>Sheet1!$B$15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53:$A$154</c:f>
              <c:numCache>
                <c:formatCode>General</c:formatCode>
                <c:ptCount val="2"/>
                <c:pt idx="0">
                  <c:v>0</c:v>
                </c:pt>
                <c:pt idx="1">
                  <c:v>0.20628558843497877</c:v>
                </c:pt>
              </c:numCache>
            </c:numRef>
          </c:xVal>
          <c:yVal>
            <c:numRef>
              <c:f>Sheet1!$B$153:$B$154</c:f>
              <c:numCache>
                <c:formatCode>General</c:formatCode>
                <c:ptCount val="2"/>
                <c:pt idx="0">
                  <c:v>0.9994526546250684</c:v>
                </c:pt>
                <c:pt idx="1">
                  <c:v>0.9994526546250684</c:v>
                </c:pt>
              </c:numCache>
            </c:numRef>
          </c:yVal>
          <c:smooth val="0"/>
          <c:extLst>
            <c:ext xmlns:c16="http://schemas.microsoft.com/office/drawing/2014/chart" uri="{C3380CC4-5D6E-409C-BE32-E72D297353CC}">
              <c16:uniqueId val="{00000005-096C-4121-9522-6AB7243CCAAE}"/>
            </c:ext>
          </c:extLst>
        </c:ser>
        <c:ser>
          <c:idx val="3"/>
          <c:order val="3"/>
          <c:tx>
            <c:strRef>
              <c:f>Sheet1!$B$15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7:$A$158</c:f>
              <c:numCache>
                <c:formatCode>General</c:formatCode>
                <c:ptCount val="2"/>
                <c:pt idx="0">
                  <c:v>0.20628558843497877</c:v>
                </c:pt>
                <c:pt idx="1">
                  <c:v>0.20628558843497877</c:v>
                </c:pt>
              </c:numCache>
            </c:numRef>
          </c:xVal>
          <c:yVal>
            <c:numRef>
              <c:f>Sheet1!$B$157:$B$158</c:f>
              <c:numCache>
                <c:formatCode>General</c:formatCode>
                <c:ptCount val="2"/>
                <c:pt idx="0">
                  <c:v>0.999452654625068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1:$A$162</c:f>
              <c:numCache>
                <c:formatCode>General</c:formatCode>
                <c:ptCount val="2"/>
                <c:pt idx="0">
                  <c:v>0</c:v>
                </c:pt>
                <c:pt idx="1">
                  <c:v>0.6069443608319451</c:v>
                </c:pt>
              </c:numCache>
            </c:numRef>
          </c:xVal>
          <c:yVal>
            <c:numRef>
              <c:f>Sheet1!$B$161:$B$162</c:f>
              <c:numCache>
                <c:formatCode>General</c:formatCode>
                <c:ptCount val="2"/>
                <c:pt idx="0">
                  <c:v>0.968312713548624</c:v>
                </c:pt>
                <c:pt idx="1">
                  <c:v>0.968312713548624</c:v>
                </c:pt>
              </c:numCache>
            </c:numRef>
          </c:yVal>
          <c:smooth val="0"/>
          <c:extLst>
            <c:ext xmlns:c16="http://schemas.microsoft.com/office/drawing/2014/chart" uri="{C3380CC4-5D6E-409C-BE32-E72D297353CC}">
              <c16:uniqueId val="{0000000D-096C-4121-9522-6AB7243CCAAE}"/>
            </c:ext>
          </c:extLst>
        </c:ser>
        <c:ser>
          <c:idx val="5"/>
          <c:order val="5"/>
          <c:tx>
            <c:strRef>
              <c:f>Sheet1!$B$16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5:$A$166</c:f>
              <c:numCache>
                <c:formatCode>General</c:formatCode>
                <c:ptCount val="2"/>
                <c:pt idx="0">
                  <c:v>0.6069443608319451</c:v>
                </c:pt>
                <c:pt idx="1">
                  <c:v>0.6069443608319451</c:v>
                </c:pt>
              </c:numCache>
            </c:numRef>
          </c:xVal>
          <c:yVal>
            <c:numRef>
              <c:f>Sheet1!$B$165:$B$166</c:f>
              <c:numCache>
                <c:formatCode>General</c:formatCode>
                <c:ptCount val="2"/>
                <c:pt idx="0">
                  <c:v>0.96831271354862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6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69:$A$170</c:f>
              <c:numCache>
                <c:formatCode>General</c:formatCode>
                <c:ptCount val="2"/>
                <c:pt idx="0">
                  <c:v>0</c:v>
                </c:pt>
                <c:pt idx="1">
                  <c:v>1.2253126942064423</c:v>
                </c:pt>
              </c:numCache>
            </c:numRef>
          </c:xVal>
          <c:yVal>
            <c:numRef>
              <c:f>Sheet1!$B$169:$B$170</c:f>
              <c:numCache>
                <c:formatCode>General</c:formatCode>
                <c:ptCount val="2"/>
                <c:pt idx="0">
                  <c:v>0.9202519825938992</c:v>
                </c:pt>
                <c:pt idx="1">
                  <c:v>0.9202519825938992</c:v>
                </c:pt>
              </c:numCache>
            </c:numRef>
          </c:yVal>
          <c:smooth val="0"/>
          <c:extLst>
            <c:ext xmlns:c16="http://schemas.microsoft.com/office/drawing/2014/chart" uri="{C3380CC4-5D6E-409C-BE32-E72D297353CC}">
              <c16:uniqueId val="{00000015-096C-4121-9522-6AB7243CCAAE}"/>
            </c:ext>
          </c:extLst>
        </c:ser>
        <c:ser>
          <c:idx val="7"/>
          <c:order val="7"/>
          <c:tx>
            <c:strRef>
              <c:f>Sheet1!$B$17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3:$A$174</c:f>
              <c:numCache>
                <c:formatCode>General</c:formatCode>
                <c:ptCount val="2"/>
                <c:pt idx="0">
                  <c:v>1.2253126942064423</c:v>
                </c:pt>
                <c:pt idx="1">
                  <c:v>1.2253126942064423</c:v>
                </c:pt>
              </c:numCache>
            </c:numRef>
          </c:xVal>
          <c:yVal>
            <c:numRef>
              <c:f>Sheet1!$B$173:$B$174</c:f>
              <c:numCache>
                <c:formatCode>General</c:formatCode>
                <c:ptCount val="2"/>
                <c:pt idx="0">
                  <c:v>0.920251982593899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7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77:$A$230</c:f>
              <c:numCache>
                <c:formatCode>General</c:formatCode>
                <c:ptCount val="54"/>
                <c:pt idx="0">
                  <c:v>0.7681433537832311</c:v>
                </c:pt>
                <c:pt idx="1">
                  <c:v>0.9510576973195605</c:v>
                </c:pt>
                <c:pt idx="2">
                  <c:v>0.9283478639184796</c:v>
                </c:pt>
                <c:pt idx="3">
                  <c:v>0.9650530640191715</c:v>
                </c:pt>
                <c:pt idx="4">
                  <c:v>1.0722117512270395</c:v>
                </c:pt>
                <c:pt idx="5">
                  <c:v>0.8708414145985324</c:v>
                </c:pt>
                <c:pt idx="6">
                  <c:v>0.9228524692415045</c:v>
                </c:pt>
                <c:pt idx="7">
                  <c:v>0.961795613486891</c:v>
                </c:pt>
                <c:pt idx="8">
                  <c:v>0.934242442595255</c:v>
                </c:pt>
                <c:pt idx="9">
                  <c:v>0.9939357666325325</c:v>
                </c:pt>
                <c:pt idx="10">
                  <c:v>0.9676078464385837</c:v>
                </c:pt>
                <c:pt idx="11">
                  <c:v>1.0010961295493348</c:v>
                </c:pt>
                <c:pt idx="12">
                  <c:v>0.9883575697586666</c:v>
                </c:pt>
                <c:pt idx="13">
                  <c:v>1.0429799253034546</c:v>
                </c:pt>
                <c:pt idx="14">
                  <c:v>1.0977132975964032</c:v>
                </c:pt>
                <c:pt idx="15">
                  <c:v>1.0107810731474682</c:v>
                </c:pt>
                <c:pt idx="16">
                  <c:v>0.9529606073873429</c:v>
                </c:pt>
                <c:pt idx="17">
                  <c:v>0.9561992262922997</c:v>
                </c:pt>
                <c:pt idx="18">
                  <c:v>1.162504199394743</c:v>
                </c:pt>
                <c:pt idx="19">
                  <c:v>1.1858997047705193</c:v>
                </c:pt>
                <c:pt idx="20">
                  <c:v>0.9856998382384067</c:v>
                </c:pt>
                <c:pt idx="21">
                  <c:v>1.0071019107589132</c:v>
                </c:pt>
                <c:pt idx="22">
                  <c:v>0.7401374748257578</c:v>
                </c:pt>
                <c:pt idx="23">
                  <c:v>0.587676159411931</c:v>
                </c:pt>
                <c:pt idx="24">
                  <c:v>0.6137555943603673</c:v>
                </c:pt>
                <c:pt idx="25">
                  <c:v>0.5490253037355008</c:v>
                </c:pt>
                <c:pt idx="26">
                  <c:v>0.848097619047619</c:v>
                </c:pt>
                <c:pt idx="27">
                  <c:v>0.8844542422900988</c:v>
                </c:pt>
                <c:pt idx="28">
                  <c:v>0.938313631267019</c:v>
                </c:pt>
                <c:pt idx="29">
                  <c:v>0.8144134921861764</c:v>
                </c:pt>
                <c:pt idx="30">
                  <c:v>0.7923064261418852</c:v>
                </c:pt>
                <c:pt idx="31">
                  <c:v>0.8009236051794586</c:v>
                </c:pt>
                <c:pt idx="32">
                  <c:v>0.8591163239523064</c:v>
                </c:pt>
                <c:pt idx="33">
                  <c:v>0.9958643520843115</c:v>
                </c:pt>
                <c:pt idx="34">
                  <c:v>0.9367418079722192</c:v>
                </c:pt>
                <c:pt idx="35">
                  <c:v>0.8155676569406063</c:v>
                </c:pt>
                <c:pt idx="36">
                  <c:v>0.9365553302953693</c:v>
                </c:pt>
                <c:pt idx="37">
                  <c:v>1.0804671849633496</c:v>
                </c:pt>
                <c:pt idx="38">
                  <c:v>0.9273292322657714</c:v>
                </c:pt>
                <c:pt idx="39">
                  <c:v>1.004329048284633</c:v>
                </c:pt>
                <c:pt idx="40">
                  <c:v>1.1340228710689733</c:v>
                </c:pt>
                <c:pt idx="41">
                  <c:v>1.1080572119144552</c:v>
                </c:pt>
                <c:pt idx="42">
                  <c:v>1.0251145211535744</c:v>
                </c:pt>
                <c:pt idx="43">
                  <c:v>0.9821588353826082</c:v>
                </c:pt>
                <c:pt idx="44">
                  <c:v>0.9980694144886985</c:v>
                </c:pt>
                <c:pt idx="45">
                  <c:v>0.8868351428612785</c:v>
                </c:pt>
                <c:pt idx="46">
                  <c:v>0.886975627492675</c:v>
                </c:pt>
                <c:pt idx="47">
                  <c:v>0.9526858780561613</c:v>
                </c:pt>
                <c:pt idx="48">
                  <c:v>0.909279762273262</c:v>
                </c:pt>
                <c:pt idx="49">
                  <c:v>0.9350375939445603</c:v>
                </c:pt>
                <c:pt idx="50">
                  <c:v>0.9171578633045786</c:v>
                </c:pt>
                <c:pt idx="51">
                  <c:v>0.6069443608319451</c:v>
                </c:pt>
                <c:pt idx="52">
                  <c:v>0.20628558843497877</c:v>
                </c:pt>
                <c:pt idx="53">
                  <c:v>1.2253126942064423</c:v>
                </c:pt>
              </c:numCache>
            </c:numRef>
          </c:xVal>
          <c:yVal>
            <c:numRef>
              <c:f>Sheet1!$B$177:$B$230</c:f>
              <c:numCache>
                <c:formatCode>General</c:formatCode>
                <c:ptCount val="54"/>
                <c:pt idx="0">
                  <c:v>0.9557840295713473</c:v>
                </c:pt>
                <c:pt idx="1">
                  <c:v>0.9415675883695699</c:v>
                </c:pt>
                <c:pt idx="2">
                  <c:v>0.9433326386384927</c:v>
                </c:pt>
                <c:pt idx="3">
                  <c:v>0.9404798425759066</c:v>
                </c:pt>
                <c:pt idx="4">
                  <c:v>0.932151271144614</c:v>
                </c:pt>
                <c:pt idx="5">
                  <c:v>0.9478021462761901</c:v>
                </c:pt>
                <c:pt idx="6">
                  <c:v>0.9437597508801866</c:v>
                </c:pt>
                <c:pt idx="7">
                  <c:v>0.9407330176581038</c:v>
                </c:pt>
                <c:pt idx="8">
                  <c:v>0.942874501077777</c:v>
                </c:pt>
                <c:pt idx="9">
                  <c:v>0.9382350254909648</c:v>
                </c:pt>
                <c:pt idx="10">
                  <c:v>0.9402812801594951</c:v>
                </c:pt>
                <c:pt idx="11">
                  <c:v>0.9376785088372017</c:v>
                </c:pt>
                <c:pt idx="12">
                  <c:v>0.938668573272599</c:v>
                </c:pt>
                <c:pt idx="13">
                  <c:v>0.9344232227391629</c:v>
                </c:pt>
                <c:pt idx="14">
                  <c:v>0.9301692437786603</c:v>
                </c:pt>
                <c:pt idx="15">
                  <c:v>0.936925777101989</c:v>
                </c:pt>
                <c:pt idx="16">
                  <c:v>0.9414196906783999</c:v>
                </c:pt>
                <c:pt idx="17">
                  <c:v>0.94116797922512</c:v>
                </c:pt>
                <c:pt idx="18">
                  <c:v>0.9251335750168866</c:v>
                </c:pt>
                <c:pt idx="19">
                  <c:v>0.9233152330534826</c:v>
                </c:pt>
                <c:pt idx="20">
                  <c:v>0.9388751370836015</c:v>
                </c:pt>
                <c:pt idx="21">
                  <c:v>0.9372117284098933</c:v>
                </c:pt>
                <c:pt idx="22">
                  <c:v>0.9579606982994832</c:v>
                </c:pt>
                <c:pt idx="23">
                  <c:v>0.9698102738123834</c:v>
                </c:pt>
                <c:pt idx="24">
                  <c:v>0.9677833318768736</c:v>
                </c:pt>
                <c:pt idx="25">
                  <c:v>0.9728142898261042</c:v>
                </c:pt>
                <c:pt idx="26">
                  <c:v>0.9495698361462335</c:v>
                </c:pt>
                <c:pt idx="27">
                  <c:v>0.946744132121993</c:v>
                </c:pt>
                <c:pt idx="28">
                  <c:v>0.9425580807618275</c:v>
                </c:pt>
                <c:pt idx="29">
                  <c:v>0.9521878288071742</c:v>
                </c:pt>
                <c:pt idx="30">
                  <c:v>0.9539060308819068</c:v>
                </c:pt>
                <c:pt idx="31">
                  <c:v>0.9532362877838839</c:v>
                </c:pt>
                <c:pt idx="32">
                  <c:v>0.9487134420145938</c:v>
                </c:pt>
                <c:pt idx="33">
                  <c:v>0.9380851322614469</c:v>
                </c:pt>
                <c:pt idx="34">
                  <c:v>0.9426802457764354</c:v>
                </c:pt>
                <c:pt idx="35">
                  <c:v>0.952098124987062</c:v>
                </c:pt>
                <c:pt idx="36">
                  <c:v>0.942694739166495</c:v>
                </c:pt>
                <c:pt idx="37">
                  <c:v>0.9315096435606945</c:v>
                </c:pt>
                <c:pt idx="38">
                  <c:v>0.9434118085751801</c:v>
                </c:pt>
                <c:pt idx="39">
                  <c:v>0.9374272404116538</c:v>
                </c:pt>
                <c:pt idx="40">
                  <c:v>0.9273471965495873</c:v>
                </c:pt>
                <c:pt idx="41">
                  <c:v>0.9293652956198895</c:v>
                </c:pt>
                <c:pt idx="42">
                  <c:v>0.9358117550036779</c:v>
                </c:pt>
                <c:pt idx="43">
                  <c:v>0.9391503503770018</c:v>
                </c:pt>
                <c:pt idx="44">
                  <c:v>0.9379137507316435</c:v>
                </c:pt>
                <c:pt idx="45">
                  <c:v>0.9465590841245367</c:v>
                </c:pt>
                <c:pt idx="46">
                  <c:v>0.9465481653990645</c:v>
                </c:pt>
                <c:pt idx="47">
                  <c:v>0.9414410431503146</c:v>
                </c:pt>
                <c:pt idx="48">
                  <c:v>0.9448146467775368</c:v>
                </c:pt>
                <c:pt idx="49">
                  <c:v>0.9428127004437461</c:v>
                </c:pt>
                <c:pt idx="50">
                  <c:v>0.9442023461895781</c:v>
                </c:pt>
                <c:pt idx="51">
                  <c:v>0.968312713548624</c:v>
                </c:pt>
                <c:pt idx="52">
                  <c:v>0.9994526546250684</c:v>
                </c:pt>
                <c:pt idx="53">
                  <c:v>0.920251982593899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709090909090909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6</c:f>
              <c:numCache>
                <c:formatCode>General</c:formatCode>
                <c:ptCount val="95"/>
                <c:pt idx="0">
                  <c:v>1140.006</c:v>
                </c:pt>
                <c:pt idx="1">
                  <c:v>1223.7367</c:v>
                </c:pt>
                <c:pt idx="2">
                  <c:v>1243.5846</c:v>
                </c:pt>
                <c:pt idx="3">
                  <c:v>1246.8534</c:v>
                </c:pt>
                <c:pt idx="4">
                  <c:v>1277.1667</c:v>
                </c:pt>
                <c:pt idx="5">
                  <c:v>1289.0828</c:v>
                </c:pt>
                <c:pt idx="6">
                  <c:v>1199.2414</c:v>
                </c:pt>
                <c:pt idx="7">
                  <c:v>1257.7584</c:v>
                </c:pt>
                <c:pt idx="8">
                  <c:v>1255.875</c:v>
                </c:pt>
                <c:pt idx="9">
                  <c:v>1210.6471</c:v>
                </c:pt>
                <c:pt idx="10">
                  <c:v>1188.4013</c:v>
                </c:pt>
                <c:pt idx="11">
                  <c:v>1255.7158</c:v>
                </c:pt>
                <c:pt idx="12">
                  <c:v>1302.7457</c:v>
                </c:pt>
                <c:pt idx="13">
                  <c:v>1305.9971</c:v>
                </c:pt>
                <c:pt idx="14">
                  <c:v>1299.4319</c:v>
                </c:pt>
                <c:pt idx="15">
                  <c:v>1298.4123</c:v>
                </c:pt>
                <c:pt idx="16">
                  <c:v>1324.4766</c:v>
                </c:pt>
                <c:pt idx="17">
                  <c:v>1355.2489</c:v>
                </c:pt>
                <c:pt idx="18">
                  <c:v>1388.3382</c:v>
                </c:pt>
                <c:pt idx="19">
                  <c:v>1392.9655</c:v>
                </c:pt>
                <c:pt idx="20">
                  <c:v>1406.7107</c:v>
                </c:pt>
                <c:pt idx="21">
                  <c:v>1389.1188</c:v>
                </c:pt>
                <c:pt idx="22">
                  <c:v>1417.2759</c:v>
                </c:pt>
                <c:pt idx="23">
                  <c:v>1394.9896</c:v>
                </c:pt>
                <c:pt idx="24">
                  <c:v>1406.9257</c:v>
                </c:pt>
                <c:pt idx="25">
                  <c:v>1328.2079</c:v>
                </c:pt>
                <c:pt idx="26">
                  <c:v>1345.1465</c:v>
                </c:pt>
                <c:pt idx="27">
                  <c:v>1346.4248</c:v>
                </c:pt>
                <c:pt idx="28">
                  <c:v>1368.9589</c:v>
                </c:pt>
                <c:pt idx="29">
                  <c:v>1315.1827</c:v>
                </c:pt>
                <c:pt idx="30">
                  <c:v>1273.6612</c:v>
                </c:pt>
                <c:pt idx="31">
                  <c:v>1372.1304</c:v>
                </c:pt>
                <c:pt idx="32">
                  <c:v>1419.8827</c:v>
                </c:pt>
                <c:pt idx="33">
                  <c:v>1518.3333</c:v>
                </c:pt>
                <c:pt idx="34">
                  <c:v>1427.5144</c:v>
                </c:pt>
                <c:pt idx="35">
                  <c:v>1454.3149</c:v>
                </c:pt>
                <c:pt idx="36">
                  <c:v>1460.2094</c:v>
                </c:pt>
                <c:pt idx="37">
                  <c:v>1435.1014</c:v>
                </c:pt>
                <c:pt idx="38">
                  <c:v>1426.6532</c:v>
                </c:pt>
                <c:pt idx="39">
                  <c:v>1425.6326</c:v>
                </c:pt>
                <c:pt idx="40">
                  <c:v>1432.8323</c:v>
                </c:pt>
                <c:pt idx="41">
                  <c:v>1481.1039</c:v>
                </c:pt>
                <c:pt idx="42">
                  <c:v>1491.2455</c:v>
                </c:pt>
                <c:pt idx="43">
                  <c:v>1567.8169</c:v>
                </c:pt>
                <c:pt idx="44">
                  <c:v>1559.9663</c:v>
                </c:pt>
                <c:pt idx="45">
                  <c:v>1528.517</c:v>
                </c:pt>
                <c:pt idx="46">
                  <c:v>1546.119</c:v>
                </c:pt>
                <c:pt idx="47">
                  <c:v>1529.267</c:v>
                </c:pt>
                <c:pt idx="48">
                  <c:v>1542.1837</c:v>
                </c:pt>
                <c:pt idx="49">
                  <c:v>1550.8481</c:v>
                </c:pt>
                <c:pt idx="50">
                  <c:v>1519.7674</c:v>
                </c:pt>
                <c:pt idx="51">
                  <c:v>1496.1005</c:v>
                </c:pt>
                <c:pt idx="52">
                  <c:v>1458.8907</c:v>
                </c:pt>
                <c:pt idx="53">
                  <c:v>1439.5054</c:v>
                </c:pt>
                <c:pt idx="54">
                  <c:v>1431.4932</c:v>
                </c:pt>
                <c:pt idx="55">
                  <c:v>1433.9586</c:v>
                </c:pt>
                <c:pt idx="56">
                  <c:v>1504.5165</c:v>
                </c:pt>
                <c:pt idx="57">
                  <c:v>1542.4071</c:v>
                </c:pt>
                <c:pt idx="58">
                  <c:v>1564.9425</c:v>
                </c:pt>
                <c:pt idx="59">
                  <c:v>1571.6429</c:v>
                </c:pt>
                <c:pt idx="60">
                  <c:v>1469.5516</c:v>
                </c:pt>
                <c:pt idx="61">
                  <c:v>1565.9836</c:v>
                </c:pt>
                <c:pt idx="62">
                  <c:v>1617.41</c:v>
                </c:pt>
                <c:pt idx="63">
                  <c:v>1552.9967</c:v>
                </c:pt>
                <c:pt idx="64">
                  <c:v>1614.2949</c:v>
                </c:pt>
                <c:pt idx="65">
                  <c:v>1517.5827</c:v>
                </c:pt>
                <c:pt idx="66">
                  <c:v>1472.9187</c:v>
                </c:pt>
                <c:pt idx="67">
                  <c:v>1499.725</c:v>
                </c:pt>
                <c:pt idx="68">
                  <c:v>1556.5429</c:v>
                </c:pt>
                <c:pt idx="69">
                  <c:v>1412.752</c:v>
                </c:pt>
                <c:pt idx="70">
                  <c:v>1545.7313</c:v>
                </c:pt>
                <c:pt idx="71">
                  <c:v>1663.4481</c:v>
                </c:pt>
                <c:pt idx="72">
                  <c:v>1661.8386</c:v>
                </c:pt>
                <c:pt idx="73">
                  <c:v>1532.1131</c:v>
                </c:pt>
                <c:pt idx="74">
                  <c:v>1593.2078</c:v>
                </c:pt>
                <c:pt idx="75">
                  <c:v>1623.2339</c:v>
                </c:pt>
                <c:pt idx="76">
                  <c:v>1600.682</c:v>
                </c:pt>
                <c:pt idx="77">
                  <c:v>1638.5448</c:v>
                </c:pt>
                <c:pt idx="78">
                  <c:v>1656.5741</c:v>
                </c:pt>
                <c:pt idx="79">
                  <c:v>1638.2637</c:v>
                </c:pt>
                <c:pt idx="80">
                  <c:v>1692.0056</c:v>
                </c:pt>
                <c:pt idx="81">
                  <c:v>1663.5285</c:v>
                </c:pt>
                <c:pt idx="82">
                  <c:v>1606.2374</c:v>
                </c:pt>
                <c:pt idx="83">
                  <c:v>1672.9414</c:v>
                </c:pt>
                <c:pt idx="84">
                  <c:v>1651.9534</c:v>
                </c:pt>
                <c:pt idx="85">
                  <c:v>1572.2297</c:v>
                </c:pt>
                <c:pt idx="86">
                  <c:v>1374.3241</c:v>
                </c:pt>
                <c:pt idx="87">
                  <c:v>1465.5157</c:v>
                </c:pt>
                <c:pt idx="88">
                  <c:v>1473.2933</c:v>
                </c:pt>
                <c:pt idx="89">
                  <c:v>1422.1439</c:v>
                </c:pt>
                <c:pt idx="90">
                  <c:v>1408.9008</c:v>
                </c:pt>
                <c:pt idx="91">
                  <c:v>1468.1516</c:v>
                </c:pt>
                <c:pt idx="92">
                  <c:v>1493.8165</c:v>
                </c:pt>
                <c:pt idx="93">
                  <c:v>1502.7565</c:v>
                </c:pt>
                <c:pt idx="94">
                  <c:v>1472.9145</c:v>
                </c:pt>
              </c:numCache>
            </c:numRef>
          </c:xVal>
          <c:yVal>
            <c:numRef>
              <c:f>Sheet1!$B$2:$B$96</c:f>
              <c:numCache>
                <c:formatCode>General</c:formatCode>
                <c:ptCount val="95"/>
                <c:pt idx="0">
                  <c:v>0.9910179640718563</c:v>
                </c:pt>
                <c:pt idx="1">
                  <c:v>0.9916666666666667</c:v>
                </c:pt>
                <c:pt idx="2">
                  <c:v>0.9796511627906976</c:v>
                </c:pt>
                <c:pt idx="3">
                  <c:v>0.9798850574712644</c:v>
                </c:pt>
                <c:pt idx="4">
                  <c:v>0.9900990099009901</c:v>
                </c:pt>
                <c:pt idx="5">
                  <c:v>1.0</c:v>
                </c:pt>
                <c:pt idx="6">
                  <c:v>1.0</c:v>
                </c:pt>
                <c:pt idx="7">
                  <c:v>0.9966555183946488</c:v>
                </c:pt>
                <c:pt idx="8">
                  <c:v>1.0</c:v>
                </c:pt>
                <c:pt idx="9">
                  <c:v>1.0</c:v>
                </c:pt>
                <c:pt idx="10">
                  <c:v>0.9978118161925602</c:v>
                </c:pt>
                <c:pt idx="11">
                  <c:v>0.9921671018276762</c:v>
                </c:pt>
                <c:pt idx="12">
                  <c:v>1.0</c:v>
                </c:pt>
                <c:pt idx="13">
                  <c:v>0.997134670487106</c:v>
                </c:pt>
                <c:pt idx="14">
                  <c:v>0.9942363112391931</c:v>
                </c:pt>
                <c:pt idx="15">
                  <c:v>0.9941860465116279</c:v>
                </c:pt>
                <c:pt idx="16">
                  <c:v>0.9884169884169884</c:v>
                </c:pt>
                <c:pt idx="17">
                  <c:v>0.9872881355932204</c:v>
                </c:pt>
                <c:pt idx="18">
                  <c:v>1.0</c:v>
                </c:pt>
                <c:pt idx="19">
                  <c:v>0.9886363636363636</c:v>
                </c:pt>
                <c:pt idx="20">
                  <c:v>0.9899497487437185</c:v>
                </c:pt>
                <c:pt idx="21">
                  <c:v>1.0</c:v>
                </c:pt>
                <c:pt idx="22">
                  <c:v>1.0</c:v>
                </c:pt>
                <c:pt idx="23">
                  <c:v>1.0</c:v>
                </c:pt>
                <c:pt idx="24">
                  <c:v>0.9950738916256158</c:v>
                </c:pt>
                <c:pt idx="25">
                  <c:v>1.0</c:v>
                </c:pt>
                <c:pt idx="26">
                  <c:v>1.0</c:v>
                </c:pt>
                <c:pt idx="27">
                  <c:v>1.0</c:v>
                </c:pt>
                <c:pt idx="28">
                  <c:v>1.0</c:v>
                </c:pt>
                <c:pt idx="29">
                  <c:v>1.0</c:v>
                </c:pt>
                <c:pt idx="30">
                  <c:v>1.0</c:v>
                </c:pt>
                <c:pt idx="31">
                  <c:v>1.0</c:v>
                </c:pt>
                <c:pt idx="32">
                  <c:v>1.0</c:v>
                </c:pt>
                <c:pt idx="33">
                  <c:v>1.0</c:v>
                </c:pt>
                <c:pt idx="34">
                  <c:v>0.9973958333333334</c:v>
                </c:pt>
                <c:pt idx="35">
                  <c:v>0.9955849889624724</c:v>
                </c:pt>
                <c:pt idx="36">
                  <c:v>0.9955654101995566</c:v>
                </c:pt>
                <c:pt idx="37">
                  <c:v>0.9977528089887641</c:v>
                </c:pt>
                <c:pt idx="38">
                  <c:v>0.9970059880239521</c:v>
                </c:pt>
                <c:pt idx="39">
                  <c:v>0.9979166666666667</c:v>
                </c:pt>
                <c:pt idx="40">
                  <c:v>0.997907949790795</c:v>
                </c:pt>
                <c:pt idx="41">
                  <c:v>1.0</c:v>
                </c:pt>
                <c:pt idx="42">
                  <c:v>1.0</c:v>
                </c:pt>
                <c:pt idx="43">
                  <c:v>1.0</c:v>
                </c:pt>
                <c:pt idx="44">
                  <c:v>1.0</c:v>
                </c:pt>
                <c:pt idx="45">
                  <c:v>1.0</c:v>
                </c:pt>
                <c:pt idx="46">
                  <c:v>1.0</c:v>
                </c:pt>
                <c:pt idx="47">
                  <c:v>0.9953379953379954</c:v>
                </c:pt>
                <c:pt idx="48">
                  <c:v>0.9939148073022313</c:v>
                </c:pt>
                <c:pt idx="49">
                  <c:v>0.9987357774968394</c:v>
                </c:pt>
                <c:pt idx="50">
                  <c:v>0.9961587708066582</c:v>
                </c:pt>
                <c:pt idx="51">
                  <c:v>0.9982993197278912</c:v>
                </c:pt>
                <c:pt idx="52">
                  <c:v>0.9950576606260296</c:v>
                </c:pt>
                <c:pt idx="53">
                  <c:v>0.995243757431629</c:v>
                </c:pt>
                <c:pt idx="54">
                  <c:v>0.9972972972972973</c:v>
                </c:pt>
                <c:pt idx="55">
                  <c:v>0.9968253968253968</c:v>
                </c:pt>
                <c:pt idx="56">
                  <c:v>0.9967105263157895</c:v>
                </c:pt>
                <c:pt idx="57">
                  <c:v>0.9981447124304267</c:v>
                </c:pt>
                <c:pt idx="58">
                  <c:v>0.9975062344139651</c:v>
                </c:pt>
                <c:pt idx="59">
                  <c:v>1.0</c:v>
                </c:pt>
                <c:pt idx="60">
                  <c:v>1.0</c:v>
                </c:pt>
                <c:pt idx="61">
                  <c:v>1.0</c:v>
                </c:pt>
                <c:pt idx="62">
                  <c:v>1.0</c:v>
                </c:pt>
                <c:pt idx="63">
                  <c:v>0.9967532467532467</c:v>
                </c:pt>
                <c:pt idx="64">
                  <c:v>1.0</c:v>
                </c:pt>
                <c:pt idx="65">
                  <c:v>1.0</c:v>
                </c:pt>
                <c:pt idx="66">
                  <c:v>1.0</c:v>
                </c:pt>
                <c:pt idx="67">
                  <c:v>1.0</c:v>
                </c:pt>
                <c:pt idx="68">
                  <c:v>1.0</c:v>
                </c:pt>
                <c:pt idx="69">
                  <c:v>0.9959514170040485</c:v>
                </c:pt>
                <c:pt idx="70">
                  <c:v>1.0</c:v>
                </c:pt>
                <c:pt idx="71">
                  <c:v>1.0</c:v>
                </c:pt>
                <c:pt idx="72">
                  <c:v>0.9955357142857143</c:v>
                </c:pt>
                <c:pt idx="73">
                  <c:v>1.0</c:v>
                </c:pt>
                <c:pt idx="74">
                  <c:v>1.0</c:v>
                </c:pt>
                <c:pt idx="75">
                  <c:v>1.0</c:v>
                </c:pt>
                <c:pt idx="76">
                  <c:v>0.991701244813278</c:v>
                </c:pt>
                <c:pt idx="77">
                  <c:v>1.0</c:v>
                </c:pt>
                <c:pt idx="78">
                  <c:v>1.0</c:v>
                </c:pt>
                <c:pt idx="79">
                  <c:v>1.0</c:v>
                </c:pt>
                <c:pt idx="80">
                  <c:v>0.994475138121547</c:v>
                </c:pt>
                <c:pt idx="81">
                  <c:v>1.0</c:v>
                </c:pt>
                <c:pt idx="82">
                  <c:v>1.0</c:v>
                </c:pt>
                <c:pt idx="83">
                  <c:v>1.0</c:v>
                </c:pt>
                <c:pt idx="84">
                  <c:v>1.0</c:v>
                </c:pt>
                <c:pt idx="85">
                  <c:v>1.0</c:v>
                </c:pt>
                <c:pt idx="86">
                  <c:v>1.0</c:v>
                </c:pt>
                <c:pt idx="87">
                  <c:v>1.0</c:v>
                </c:pt>
                <c:pt idx="88">
                  <c:v>1.0</c:v>
                </c:pt>
                <c:pt idx="89">
                  <c:v>1.0</c:v>
                </c:pt>
                <c:pt idx="90">
                  <c:v>0.9981998199819982</c:v>
                </c:pt>
                <c:pt idx="91">
                  <c:v>1.0</c:v>
                </c:pt>
                <c:pt idx="92">
                  <c:v>0.9977116704805492</c:v>
                </c:pt>
                <c:pt idx="93">
                  <c:v>1.0</c:v>
                </c:pt>
                <c:pt idx="94">
                  <c:v>1.0</c:v>
                </c:pt>
              </c:numCache>
            </c:numRef>
          </c:yVal>
          <c:smooth val="0"/>
          <c:extLst>
            <c:ext xmlns:c16="http://schemas.microsoft.com/office/drawing/2014/chart" uri="{C3380CC4-5D6E-409C-BE32-E72D297353CC}">
              <c16:uniqueId val="{00000000-F32D-48B7-BC20-E66FC6253BAD}"/>
            </c:ext>
          </c:extLst>
        </c:ser>
        <c:ser>
          <c:idx val="1"/>
          <c:order val="1"/>
          <c:tx>
            <c:strRef>
              <c:f>Sheet1!$B$9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9:$A$150</c:f>
              <c:numCache>
                <c:formatCode>General</c:formatCode>
                <c:ptCount val="52"/>
                <c:pt idx="0">
                  <c:v>1452.7315</c:v>
                </c:pt>
                <c:pt idx="1">
                  <c:v>1502.4884</c:v>
                </c:pt>
                <c:pt idx="2">
                  <c:v>1549.1076</c:v>
                </c:pt>
                <c:pt idx="3">
                  <c:v>1612.3192</c:v>
                </c:pt>
                <c:pt idx="4">
                  <c:v>1585.6425</c:v>
                </c:pt>
                <c:pt idx="5">
                  <c:v>1630.6355</c:v>
                </c:pt>
                <c:pt idx="6">
                  <c:v>1547.531</c:v>
                </c:pt>
                <c:pt idx="7">
                  <c:v>1613.0231</c:v>
                </c:pt>
                <c:pt idx="8">
                  <c:v>1615.9609</c:v>
                </c:pt>
                <c:pt idx="9">
                  <c:v>1585.7536</c:v>
                </c:pt>
                <c:pt idx="10">
                  <c:v>1582.9752</c:v>
                </c:pt>
                <c:pt idx="11">
                  <c:v>1468.9306</c:v>
                </c:pt>
                <c:pt idx="12">
                  <c:v>1493.521</c:v>
                </c:pt>
                <c:pt idx="13">
                  <c:v>1546.7114</c:v>
                </c:pt>
                <c:pt idx="14">
                  <c:v>1563.8441</c:v>
                </c:pt>
                <c:pt idx="15">
                  <c:v>1587.019</c:v>
                </c:pt>
                <c:pt idx="16">
                  <c:v>1663.3569</c:v>
                </c:pt>
                <c:pt idx="17">
                  <c:v>1603.4924</c:v>
                </c:pt>
                <c:pt idx="18">
                  <c:v>1528.5688</c:v>
                </c:pt>
                <c:pt idx="19">
                  <c:v>1709.4043</c:v>
                </c:pt>
                <c:pt idx="20">
                  <c:v>1718.8205</c:v>
                </c:pt>
                <c:pt idx="21">
                  <c:v>1651.4697</c:v>
                </c:pt>
                <c:pt idx="22">
                  <c:v>1531.4466</c:v>
                </c:pt>
                <c:pt idx="23">
                  <c:v>1166.358</c:v>
                </c:pt>
                <c:pt idx="24">
                  <c:v>1007.1986</c:v>
                </c:pt>
                <c:pt idx="25">
                  <c:v>948.9889</c:v>
                </c:pt>
                <c:pt idx="26">
                  <c:v>1028.7237</c:v>
                </c:pt>
                <c:pt idx="27">
                  <c:v>1282.3236</c:v>
                </c:pt>
                <c:pt idx="28">
                  <c:v>1498.4866</c:v>
                </c:pt>
                <c:pt idx="29">
                  <c:v>1464.473</c:v>
                </c:pt>
                <c:pt idx="30">
                  <c:v>1405.6298</c:v>
                </c:pt>
                <c:pt idx="31">
                  <c:v>1304.4533</c:v>
                </c:pt>
                <c:pt idx="32">
                  <c:v>1419.9231</c:v>
                </c:pt>
                <c:pt idx="33">
                  <c:v>1544.9366</c:v>
                </c:pt>
                <c:pt idx="34">
                  <c:v>1669.78</c:v>
                </c:pt>
                <c:pt idx="35">
                  <c:v>1584.7915</c:v>
                </c:pt>
                <c:pt idx="36">
                  <c:v>1458.6881</c:v>
                </c:pt>
                <c:pt idx="37">
                  <c:v>1561.6634</c:v>
                </c:pt>
                <c:pt idx="38">
                  <c:v>1526.0055</c:v>
                </c:pt>
                <c:pt idx="39">
                  <c:v>1596.596</c:v>
                </c:pt>
                <c:pt idx="40">
                  <c:v>1612.2677</c:v>
                </c:pt>
                <c:pt idx="41">
                  <c:v>1722.6227</c:v>
                </c:pt>
                <c:pt idx="42">
                  <c:v>1658.8268</c:v>
                </c:pt>
                <c:pt idx="43">
                  <c:v>1601.0092</c:v>
                </c:pt>
                <c:pt idx="44">
                  <c:v>1622.9886</c:v>
                </c:pt>
                <c:pt idx="45">
                  <c:v>1586.0355</c:v>
                </c:pt>
                <c:pt idx="46">
                  <c:v>1513.3142</c:v>
                </c:pt>
                <c:pt idx="47">
                  <c:v>1504.6392</c:v>
                </c:pt>
                <c:pt idx="48">
                  <c:v>1481.226</c:v>
                </c:pt>
                <c:pt idx="49">
                  <c:v>1468.7596</c:v>
                </c:pt>
                <c:pt idx="50">
                  <c:v>1392.0749</c:v>
                </c:pt>
                <c:pt idx="51">
                  <c:v>1382.1569</c:v>
                </c:pt>
              </c:numCache>
            </c:numRef>
          </c:xVal>
          <c:yVal>
            <c:numRef>
              <c:f>Sheet1!$B$99:$B$150</c:f>
              <c:numCache>
                <c:formatCode>General</c:formatCode>
                <c:ptCount val="52"/>
                <c:pt idx="0">
                  <c:v>0.9908256880733946</c:v>
                </c:pt>
                <c:pt idx="1">
                  <c:v>0.9876760563380281</c:v>
                </c:pt>
                <c:pt idx="2">
                  <c:v>0.9627831715210357</c:v>
                </c:pt>
                <c:pt idx="3">
                  <c:v>0.9680365296803652</c:v>
                </c:pt>
                <c:pt idx="4">
                  <c:v>0.9717813051146384</c:v>
                </c:pt>
                <c:pt idx="5">
                  <c:v>0.9528795811518325</c:v>
                </c:pt>
                <c:pt idx="6">
                  <c:v>0.9674657534246576</c:v>
                </c:pt>
                <c:pt idx="7">
                  <c:v>0.9628712871287128</c:v>
                </c:pt>
                <c:pt idx="8">
                  <c:v>0.9504950495049505</c:v>
                </c:pt>
                <c:pt idx="9">
                  <c:v>0.9565217391304348</c:v>
                </c:pt>
                <c:pt idx="10">
                  <c:v>0.9365750528541226</c:v>
                </c:pt>
                <c:pt idx="11">
                  <c:v>0.9434523809523809</c:v>
                </c:pt>
                <c:pt idx="12">
                  <c:v>0.942339373970346</c:v>
                </c:pt>
                <c:pt idx="13">
                  <c:v>0.9450757575757576</c:v>
                </c:pt>
                <c:pt idx="14">
                  <c:v>0.9624765478424016</c:v>
                </c:pt>
                <c:pt idx="15">
                  <c:v>0.9547511312217195</c:v>
                </c:pt>
                <c:pt idx="16">
                  <c:v>0.9630681818181818</c:v>
                </c:pt>
                <c:pt idx="17">
                  <c:v>0.9591836734693877</c:v>
                </c:pt>
                <c:pt idx="18">
                  <c:v>0.9405594405594405</c:v>
                </c:pt>
                <c:pt idx="19">
                  <c:v>0.9326599326599326</c:v>
                </c:pt>
                <c:pt idx="20">
                  <c:v>0.9176470588235294</c:v>
                </c:pt>
                <c:pt idx="21">
                  <c:v>0.9339622641509434</c:v>
                </c:pt>
                <c:pt idx="22">
                  <c:v>0.9237668161434978</c:v>
                </c:pt>
                <c:pt idx="23">
                  <c:v>0.9557522123893806</c:v>
                </c:pt>
                <c:pt idx="24">
                  <c:v>0.9668874172185431</c:v>
                </c:pt>
                <c:pt idx="25">
                  <c:v>0.9575371549893843</c:v>
                </c:pt>
                <c:pt idx="26">
                  <c:v>0.9718670076726342</c:v>
                </c:pt>
                <c:pt idx="27">
                  <c:v>0.939209726443769</c:v>
                </c:pt>
                <c:pt idx="28">
                  <c:v>0.9371069182389937</c:v>
                </c:pt>
                <c:pt idx="29">
                  <c:v>0.9377431906614786</c:v>
                </c:pt>
                <c:pt idx="30">
                  <c:v>0.9390681003584229</c:v>
                </c:pt>
                <c:pt idx="31">
                  <c:v>0.9553571428571429</c:v>
                </c:pt>
                <c:pt idx="32">
                  <c:v>0.9244444444444444</c:v>
                </c:pt>
                <c:pt idx="33">
                  <c:v>0.9759450171821306</c:v>
                </c:pt>
                <c:pt idx="34">
                  <c:v>0.9692307692307692</c:v>
                </c:pt>
                <c:pt idx="35">
                  <c:v>0.9538904899135446</c:v>
                </c:pt>
                <c:pt idx="36">
                  <c:v>0.9308755760368663</c:v>
                </c:pt>
                <c:pt idx="37">
                  <c:v>0.9483568075117371</c:v>
                </c:pt>
                <c:pt idx="38">
                  <c:v>0.9285714285714286</c:v>
                </c:pt>
                <c:pt idx="39">
                  <c:v>0.9124087591240876</c:v>
                </c:pt>
                <c:pt idx="40">
                  <c:v>0.8943661971830986</c:v>
                </c:pt>
                <c:pt idx="41">
                  <c:v>0.8863636363636364</c:v>
                </c:pt>
                <c:pt idx="42">
                  <c:v>0.9039145907473309</c:v>
                </c:pt>
                <c:pt idx="43">
                  <c:v>0.8907103825136612</c:v>
                </c:pt>
                <c:pt idx="44">
                  <c:v>0.9283819628647215</c:v>
                </c:pt>
                <c:pt idx="45">
                  <c:v>0.9288194444444444</c:v>
                </c:pt>
                <c:pt idx="46">
                  <c:v>0.9535864978902954</c:v>
                </c:pt>
                <c:pt idx="47">
                  <c:v>0.9349112426035503</c:v>
                </c:pt>
                <c:pt idx="48">
                  <c:v>0.9273927392739274</c:v>
                </c:pt>
                <c:pt idx="49">
                  <c:v>0.9422799422799423</c:v>
                </c:pt>
                <c:pt idx="50">
                  <c:v>0.9328984156570364</c:v>
                </c:pt>
                <c:pt idx="51">
                  <c:v>0.9272419627749577</c:v>
                </c:pt>
              </c:numCache>
            </c:numRef>
          </c:yVal>
          <c:smooth val="0"/>
          <c:extLst>
            <c:ext xmlns:c16="http://schemas.microsoft.com/office/drawing/2014/chart" uri="{C3380CC4-5D6E-409C-BE32-E72D297353CC}">
              <c16:uniqueId val="{00000002-F32D-48B7-BC20-E66FC6253BAD}"/>
            </c:ext>
          </c:extLst>
        </c:ser>
        <c:ser>
          <c:idx val="2"/>
          <c:order val="2"/>
          <c:tx>
            <c:strRef>
              <c:f>Sheet1!$B$152</c:f>
              <c:strCache>
                <c:ptCount val="1"/>
                <c:pt idx="0">
                  <c:v>Custom Linep3yQ</c:v>
                </c:pt>
              </c:strCache>
            </c:strRef>
          </c:tx>
          <c:spPr>
            <a:ln w="19050" cap="rnd">
              <a:solidFill>
                <a:srgbClr val="C00000"/>
              </a:solidFill>
              <a:prstDash val="sysDot"/>
              <a:round/>
            </a:ln>
            <a:effectLst/>
          </c:spPr>
          <c:marker>
            <c:symbol val="none"/>
          </c:marker>
          <c:xVal>
            <c:numRef>
              <c:f>Sheet1!$A$153:$A$154</c:f>
              <c:numCache>
                <c:formatCode>General</c:formatCode>
                <c:ptCount val="2"/>
                <c:pt idx="0">
                  <c:v>0</c:v>
                </c:pt>
                <c:pt idx="1">
                  <c:v>45.51797010360896</c:v>
                </c:pt>
              </c:numCache>
            </c:numRef>
          </c:xVal>
          <c:yVal>
            <c:numRef>
              <c:f>Sheet1!$B$153:$B$154</c:f>
              <c:numCache>
                <c:formatCode>General</c:formatCode>
                <c:ptCount val="2"/>
                <c:pt idx="0">
                  <c:v>0.9994526546250684</c:v>
                </c:pt>
                <c:pt idx="1">
                  <c:v>0.9994526546250684</c:v>
                </c:pt>
              </c:numCache>
            </c:numRef>
          </c:yVal>
          <c:smooth val="0"/>
          <c:extLst>
            <c:ext xmlns:c16="http://schemas.microsoft.com/office/drawing/2014/chart" uri="{C3380CC4-5D6E-409C-BE32-E72D297353CC}">
              <c16:uniqueId val="{00000003-F32D-48B7-BC20-E66FC6253BAD}"/>
            </c:ext>
          </c:extLst>
        </c:ser>
        <c:ser>
          <c:idx val="3"/>
          <c:order val="3"/>
          <c:tx>
            <c:strRef>
              <c:f>Sheet1!$B$15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7:$A$158</c:f>
              <c:numCache>
                <c:formatCode>General</c:formatCode>
                <c:ptCount val="2"/>
                <c:pt idx="0">
                  <c:v>45.51797010360896</c:v>
                </c:pt>
                <c:pt idx="1">
                  <c:v>45.51797010360896</c:v>
                </c:pt>
              </c:numCache>
            </c:numRef>
          </c:xVal>
          <c:yVal>
            <c:numRef>
              <c:f>Sheet1!$B$157:$B$158</c:f>
              <c:numCache>
                <c:formatCode>General</c:formatCode>
                <c:ptCount val="2"/>
                <c:pt idx="0">
                  <c:v>0.999452654625068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1:$A$162</c:f>
              <c:numCache>
                <c:formatCode>General</c:formatCode>
                <c:ptCount val="2"/>
                <c:pt idx="0">
                  <c:v>0</c:v>
                </c:pt>
                <c:pt idx="1">
                  <c:v>864.4682294029691</c:v>
                </c:pt>
              </c:numCache>
            </c:numRef>
          </c:xVal>
          <c:yVal>
            <c:numRef>
              <c:f>Sheet1!$B$161:$B$162</c:f>
              <c:numCache>
                <c:formatCode>General</c:formatCode>
                <c:ptCount val="2"/>
                <c:pt idx="0">
                  <c:v>0.968312713548624</c:v>
                </c:pt>
                <c:pt idx="1">
                  <c:v>0.968312713548624</c:v>
                </c:pt>
              </c:numCache>
            </c:numRef>
          </c:yVal>
          <c:smooth val="0"/>
          <c:extLst>
            <c:ext xmlns:c16="http://schemas.microsoft.com/office/drawing/2014/chart" uri="{C3380CC4-5D6E-409C-BE32-E72D297353CC}">
              <c16:uniqueId val="{0000000A-F32D-48B7-BC20-E66FC6253BAD}"/>
            </c:ext>
          </c:extLst>
        </c:ser>
        <c:ser>
          <c:idx val="5"/>
          <c:order val="5"/>
          <c:tx>
            <c:strRef>
              <c:f>Sheet1!$B$16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5:$A$166</c:f>
              <c:numCache>
                <c:formatCode>General</c:formatCode>
                <c:ptCount val="2"/>
                <c:pt idx="0">
                  <c:v>864.4682294029691</c:v>
                </c:pt>
                <c:pt idx="1">
                  <c:v>864.4682294029691</c:v>
                </c:pt>
              </c:numCache>
            </c:numRef>
          </c:xVal>
          <c:yVal>
            <c:numRef>
              <c:f>Sheet1!$B$165:$B$166</c:f>
              <c:numCache>
                <c:formatCode>General</c:formatCode>
                <c:ptCount val="2"/>
                <c:pt idx="0">
                  <c:v>0.96831271354862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6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69:$A$170</c:f>
              <c:numCache>
                <c:formatCode>General</c:formatCode>
                <c:ptCount val="2"/>
                <c:pt idx="0">
                  <c:v>0</c:v>
                </c:pt>
                <c:pt idx="1">
                  <c:v>2128.4188573398305</c:v>
                </c:pt>
              </c:numCache>
            </c:numRef>
          </c:xVal>
          <c:yVal>
            <c:numRef>
              <c:f>Sheet1!$B$169:$B$170</c:f>
              <c:numCache>
                <c:formatCode>General</c:formatCode>
                <c:ptCount val="2"/>
                <c:pt idx="0">
                  <c:v>0.9202519825938992</c:v>
                </c:pt>
                <c:pt idx="1">
                  <c:v>0.9202519825938992</c:v>
                </c:pt>
              </c:numCache>
            </c:numRef>
          </c:yVal>
          <c:smooth val="0"/>
          <c:extLst>
            <c:ext xmlns:c16="http://schemas.microsoft.com/office/drawing/2014/chart" uri="{C3380CC4-5D6E-409C-BE32-E72D297353CC}">
              <c16:uniqueId val="{00000011-F32D-48B7-BC20-E66FC6253BAD}"/>
            </c:ext>
          </c:extLst>
        </c:ser>
        <c:ser>
          <c:idx val="7"/>
          <c:order val="7"/>
          <c:tx>
            <c:strRef>
              <c:f>Sheet1!$B$17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3:$A$174</c:f>
              <c:numCache>
                <c:formatCode>General</c:formatCode>
                <c:ptCount val="2"/>
                <c:pt idx="0">
                  <c:v>2128.4188573398305</c:v>
                </c:pt>
                <c:pt idx="1">
                  <c:v>2128.4188573398305</c:v>
                </c:pt>
              </c:numCache>
            </c:numRef>
          </c:xVal>
          <c:yVal>
            <c:numRef>
              <c:f>Sheet1!$B$173:$B$174</c:f>
              <c:numCache>
                <c:formatCode>General</c:formatCode>
                <c:ptCount val="2"/>
                <c:pt idx="0">
                  <c:v>0.920251982593899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7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77:$A$231</c:f>
              <c:numCache>
                <c:formatCode>General</c:formatCode>
                <c:ptCount val="55"/>
                <c:pt idx="0">
                  <c:v>1452.7315</c:v>
                </c:pt>
                <c:pt idx="1">
                  <c:v>1502.4884</c:v>
                </c:pt>
                <c:pt idx="2">
                  <c:v>1549.1076</c:v>
                </c:pt>
                <c:pt idx="3">
                  <c:v>1612.3192</c:v>
                </c:pt>
                <c:pt idx="4">
                  <c:v>1585.6425</c:v>
                </c:pt>
                <c:pt idx="5">
                  <c:v>1630.6355</c:v>
                </c:pt>
                <c:pt idx="6">
                  <c:v>1547.531</c:v>
                </c:pt>
                <c:pt idx="7">
                  <c:v>1613.0231</c:v>
                </c:pt>
                <c:pt idx="8">
                  <c:v>1615.9609</c:v>
                </c:pt>
                <c:pt idx="9">
                  <c:v>1585.7536</c:v>
                </c:pt>
                <c:pt idx="10">
                  <c:v>1582.9752</c:v>
                </c:pt>
                <c:pt idx="11">
                  <c:v>1468.9306</c:v>
                </c:pt>
                <c:pt idx="12">
                  <c:v>1493.521</c:v>
                </c:pt>
                <c:pt idx="13">
                  <c:v>1546.7114</c:v>
                </c:pt>
                <c:pt idx="14">
                  <c:v>1563.8441</c:v>
                </c:pt>
                <c:pt idx="15">
                  <c:v>1587.019</c:v>
                </c:pt>
                <c:pt idx="16">
                  <c:v>1663.3569</c:v>
                </c:pt>
                <c:pt idx="17">
                  <c:v>1603.4924</c:v>
                </c:pt>
                <c:pt idx="18">
                  <c:v>1528.5688</c:v>
                </c:pt>
                <c:pt idx="19">
                  <c:v>1709.4043</c:v>
                </c:pt>
                <c:pt idx="20">
                  <c:v>1718.8205</c:v>
                </c:pt>
                <c:pt idx="21">
                  <c:v>1651.4697</c:v>
                </c:pt>
                <c:pt idx="22">
                  <c:v>1531.4466</c:v>
                </c:pt>
                <c:pt idx="23">
                  <c:v>1166.358</c:v>
                </c:pt>
                <c:pt idx="24">
                  <c:v>1007.1986</c:v>
                </c:pt>
                <c:pt idx="25">
                  <c:v>948.9889</c:v>
                </c:pt>
                <c:pt idx="26">
                  <c:v>1028.7237</c:v>
                </c:pt>
                <c:pt idx="27">
                  <c:v>1282.3236</c:v>
                </c:pt>
                <c:pt idx="28">
                  <c:v>1498.4866</c:v>
                </c:pt>
                <c:pt idx="29">
                  <c:v>1464.473</c:v>
                </c:pt>
                <c:pt idx="30">
                  <c:v>1405.6298</c:v>
                </c:pt>
                <c:pt idx="31">
                  <c:v>1304.4533</c:v>
                </c:pt>
                <c:pt idx="32">
                  <c:v>1419.9231</c:v>
                </c:pt>
                <c:pt idx="33">
                  <c:v>1544.9366</c:v>
                </c:pt>
                <c:pt idx="34">
                  <c:v>1669.78</c:v>
                </c:pt>
                <c:pt idx="35">
                  <c:v>1584.7915</c:v>
                </c:pt>
                <c:pt idx="36">
                  <c:v>1458.6881</c:v>
                </c:pt>
                <c:pt idx="37">
                  <c:v>1561.6634</c:v>
                </c:pt>
                <c:pt idx="38">
                  <c:v>1526.0055</c:v>
                </c:pt>
                <c:pt idx="39">
                  <c:v>1596.596</c:v>
                </c:pt>
                <c:pt idx="40">
                  <c:v>1612.2677</c:v>
                </c:pt>
                <c:pt idx="41">
                  <c:v>1722.6227</c:v>
                </c:pt>
                <c:pt idx="42">
                  <c:v>1658.8268</c:v>
                </c:pt>
                <c:pt idx="43">
                  <c:v>1601.0092</c:v>
                </c:pt>
                <c:pt idx="44">
                  <c:v>1622.9886</c:v>
                </c:pt>
                <c:pt idx="45">
                  <c:v>1586.0355</c:v>
                </c:pt>
                <c:pt idx="46">
                  <c:v>1513.3142</c:v>
                </c:pt>
                <c:pt idx="47">
                  <c:v>1504.6392</c:v>
                </c:pt>
                <c:pt idx="48">
                  <c:v>1481.226</c:v>
                </c:pt>
                <c:pt idx="49">
                  <c:v>1468.7596</c:v>
                </c:pt>
                <c:pt idx="50">
                  <c:v>1392.0749</c:v>
                </c:pt>
                <c:pt idx="51">
                  <c:v>1382.1569</c:v>
                </c:pt>
                <c:pt idx="52">
                  <c:v>864.4682294029691</c:v>
                </c:pt>
                <c:pt idx="53">
                  <c:v>45.51797010360896</c:v>
                </c:pt>
                <c:pt idx="54">
                  <c:v>2128.4188573398305</c:v>
                </c:pt>
              </c:numCache>
            </c:numRef>
          </c:xVal>
          <c:yVal>
            <c:numRef>
              <c:f>Sheet1!$B$177:$B$231</c:f>
              <c:numCache>
                <c:formatCode>General</c:formatCode>
                <c:ptCount val="55"/>
                <c:pt idx="0">
                  <c:v>0.9459444642247883</c:v>
                </c:pt>
                <c:pt idx="1">
                  <c:v>0.9440524971406432</c:v>
                </c:pt>
                <c:pt idx="2">
                  <c:v>0.9422798386372159</c:v>
                </c:pt>
                <c:pt idx="3">
                  <c:v>0.9398762671418825</c:v>
                </c:pt>
                <c:pt idx="4">
                  <c:v>0.9408906277293311</c:v>
                </c:pt>
                <c:pt idx="5">
                  <c:v>0.939179804205017</c:v>
                </c:pt>
                <c:pt idx="6">
                  <c:v>0.9423397876152444</c:v>
                </c:pt>
                <c:pt idx="7">
                  <c:v>0.9398495018966496</c:v>
                </c:pt>
                <c:pt idx="8">
                  <c:v>0.9397377943565939</c:v>
                </c:pt>
                <c:pt idx="9">
                  <c:v>0.9408864032389981</c:v>
                </c:pt>
                <c:pt idx="10">
                  <c:v>0.9409920497191162</c:v>
                </c:pt>
                <c:pt idx="11">
                  <c:v>0.9453285061568063</c:v>
                </c:pt>
                <c:pt idx="12">
                  <c:v>0.944393475489985</c:v>
                </c:pt>
                <c:pt idx="13">
                  <c:v>0.9423709522622011</c:v>
                </c:pt>
                <c:pt idx="14">
                  <c:v>0.9417194947867046</c:v>
                </c:pt>
                <c:pt idx="15">
                  <c:v>0.9408382873968079</c:v>
                </c:pt>
                <c:pt idx="16">
                  <c:v>0.9379355986426297</c:v>
                </c:pt>
                <c:pt idx="17">
                  <c:v>0.9402118992865366</c:v>
                </c:pt>
                <c:pt idx="18">
                  <c:v>0.9430608103928486</c:v>
                </c:pt>
                <c:pt idx="19">
                  <c:v>0.9361846823855786</c:v>
                </c:pt>
                <c:pt idx="20">
                  <c:v>0.9358266387683571</c:v>
                </c:pt>
                <c:pt idx="21">
                  <c:v>0.9383876000961497</c:v>
                </c:pt>
                <c:pt idx="22">
                  <c:v>0.9429513843057179</c:v>
                </c:pt>
                <c:pt idx="23">
                  <c:v>0.9568335918788714</c:v>
                </c:pt>
                <c:pt idx="24">
                  <c:v>0.9628855031903134</c:v>
                </c:pt>
                <c:pt idx="25">
                  <c:v>0.9650988813625462</c:v>
                </c:pt>
                <c:pt idx="26">
                  <c:v>0.9620670281510137</c:v>
                </c:pt>
                <c:pt idx="27">
                  <c:v>0.9524240909233628</c:v>
                </c:pt>
                <c:pt idx="28">
                  <c:v>0.944204662445904</c:v>
                </c:pt>
                <c:pt idx="29">
                  <c:v>0.9454980028994547</c:v>
                </c:pt>
                <c:pt idx="30">
                  <c:v>0.9477354694121549</c:v>
                </c:pt>
                <c:pt idx="31">
                  <c:v>0.9515826264434212</c:v>
                </c:pt>
                <c:pt idx="32">
                  <c:v>0.947191977893917</c:v>
                </c:pt>
                <c:pt idx="33">
                  <c:v>0.9424384376397255</c:v>
                </c:pt>
                <c:pt idx="34">
                  <c:v>0.9376913653045766</c:v>
                </c:pt>
                <c:pt idx="35">
                  <c:v>0.9409229863366521</c:v>
                </c:pt>
                <c:pt idx="36">
                  <c:v>0.9457179691832279</c:v>
                </c:pt>
                <c:pt idx="37">
                  <c:v>0.9418024141932673</c:v>
                </c:pt>
                <c:pt idx="38">
                  <c:v>0.9431582778642302</c:v>
                </c:pt>
                <c:pt idx="39">
                  <c:v>0.940474129485747</c:v>
                </c:pt>
                <c:pt idx="40">
                  <c:v>0.9398782253889766</c:v>
                </c:pt>
                <c:pt idx="41">
                  <c:v>0.9356820630964938</c:v>
                </c:pt>
                <c:pt idx="42">
                  <c:v>0.938107852140896</c:v>
                </c:pt>
                <c:pt idx="43">
                  <c:v>0.9403063210182632</c:v>
                </c:pt>
                <c:pt idx="44">
                  <c:v>0.9394705715778989</c:v>
                </c:pt>
                <c:pt idx="45">
                  <c:v>0.9408756842126716</c:v>
                </c:pt>
                <c:pt idx="46">
                  <c:v>0.9436408545893681</c:v>
                </c:pt>
                <c:pt idx="47">
                  <c:v>0.9439707146581215</c:v>
                </c:pt>
                <c:pt idx="48">
                  <c:v>0.9448609832185525</c:v>
                </c:pt>
                <c:pt idx="49">
                  <c:v>0.9453350082976428</c:v>
                </c:pt>
                <c:pt idx="50">
                  <c:v>0.948250883849728</c:v>
                </c:pt>
                <c:pt idx="51">
                  <c:v>0.9486280080182463</c:v>
                </c:pt>
                <c:pt idx="52">
                  <c:v>0.968312713548624</c:v>
                </c:pt>
                <c:pt idx="53">
                  <c:v>0.9994526546250684</c:v>
                </c:pt>
                <c:pt idx="54">
                  <c:v>0.920251982593899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554.0"/>
          <c:min val="3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709090909090909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16</c:f>
              <c:numCache>
                <c:formatCode>General</c:formatCode>
                <c:ptCount val="13"/>
                <c:pt idx="0">
                  <c:v>0.9090679268917611</c:v>
                </c:pt>
                <c:pt idx="1">
                  <c:v>0.951471053408085</c:v>
                </c:pt>
                <c:pt idx="2">
                  <c:v>1.0399171143978267</c:v>
                </c:pt>
                <c:pt idx="3">
                  <c:v>1.1712397091011792</c:v>
                </c:pt>
                <c:pt idx="4">
                  <c:v>1.0540467426554727</c:v>
                </c:pt>
                <c:pt idx="5">
                  <c:v>0.9969829842127894</c:v>
                </c:pt>
                <c:pt idx="6">
                  <c:v>0.9969840963223487</c:v>
                </c:pt>
                <c:pt idx="7">
                  <c:v>0.6273238445118675</c:v>
                </c:pt>
                <c:pt idx="8">
                  <c:v>0.8784675385333957</c:v>
                </c:pt>
                <c:pt idx="9">
                  <c:v>0.698526762556001</c:v>
                </c:pt>
                <c:pt idx="10">
                  <c:v>0.8714605434911594</c:v>
                </c:pt>
                <c:pt idx="11">
                  <c:v>0.8121264135096027</c:v>
                </c:pt>
                <c:pt idx="12">
                  <c:v>0.6623226205945631</c:v>
                </c:pt>
              </c:numCache>
            </c:numRef>
          </c:xVal>
          <c:yVal>
            <c:numRef>
              <c:f>Sheet1!$B$4:$B$16</c:f>
              <c:numCache>
                <c:formatCode>General</c:formatCode>
                <c:ptCount val="13"/>
                <c:pt idx="0">
                  <c:v>0.9124087591240876</c:v>
                </c:pt>
                <c:pt idx="1">
                  <c:v>0.8943661971830986</c:v>
                </c:pt>
                <c:pt idx="2">
                  <c:v>0.8863636363636364</c:v>
                </c:pt>
                <c:pt idx="3">
                  <c:v>0.9039145907473309</c:v>
                </c:pt>
                <c:pt idx="4">
                  <c:v>0.8907103825136612</c:v>
                </c:pt>
                <c:pt idx="5">
                  <c:v>0.9283819628647215</c:v>
                </c:pt>
                <c:pt idx="6">
                  <c:v>0.9288194444444444</c:v>
                </c:pt>
                <c:pt idx="7">
                  <c:v>0.9535864978902954</c:v>
                </c:pt>
                <c:pt idx="8">
                  <c:v>0.9349112426035503</c:v>
                </c:pt>
                <c:pt idx="9">
                  <c:v>0.9273927392739274</c:v>
                </c:pt>
                <c:pt idx="10">
                  <c:v>0.9422799422799423</c:v>
                </c:pt>
                <c:pt idx="11">
                  <c:v>0.9328984156570364</c:v>
                </c:pt>
                <c:pt idx="12">
                  <c:v>0.9272419627749577</c:v>
                </c:pt>
              </c:numCache>
            </c:numRef>
          </c:yVal>
          <c:smooth val="0"/>
          <c:extLst>
            <c:ext xmlns:c16="http://schemas.microsoft.com/office/drawing/2014/chart" uri="{C3380CC4-5D6E-409C-BE32-E72D297353CC}">
              <c16:uniqueId val="{00000002-096C-4121-9522-6AB7243CCAAE}"/>
            </c:ext>
          </c:extLst>
        </c:ser>
        <c:ser>
          <c:idx val="2"/>
          <c:order val="2"/>
          <c:tx>
            <c:strRef>
              <c:f>Sheet1!$B$1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9:$A$20</c:f>
              <c:numCache>
                <c:formatCode>General</c:formatCode>
                <c:ptCount val="2"/>
                <c:pt idx="0">
                  <c:v>0</c:v>
                </c:pt>
                <c:pt idx="1">
                  <c:v>0.7575368162808896</c:v>
                </c:pt>
              </c:numCache>
            </c:numRef>
          </c:xVal>
          <c:yVal>
            <c:numRef>
              <c:f>Sheet1!$B$19:$B$20</c:f>
              <c:numCache>
                <c:formatCode>General</c:formatCode>
                <c:ptCount val="2"/>
                <c:pt idx="0">
                  <c:v>0.932453264996466</c:v>
                </c:pt>
                <c:pt idx="1">
                  <c:v>0.932453264996466</c:v>
                </c:pt>
              </c:numCache>
            </c:numRef>
          </c:yVal>
          <c:smooth val="0"/>
          <c:extLst>
            <c:ext xmlns:c16="http://schemas.microsoft.com/office/drawing/2014/chart" uri="{C3380CC4-5D6E-409C-BE32-E72D297353CC}">
              <c16:uniqueId val="{00000005-096C-4121-9522-6AB7243CCAAE}"/>
            </c:ext>
          </c:extLst>
        </c:ser>
        <c:ser>
          <c:idx val="3"/>
          <c:order val="3"/>
          <c:tx>
            <c:strRef>
              <c:f>Sheet1!$B$2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3:$A$24</c:f>
              <c:numCache>
                <c:formatCode>General</c:formatCode>
                <c:ptCount val="2"/>
                <c:pt idx="0">
                  <c:v>0.7575368162808896</c:v>
                </c:pt>
                <c:pt idx="1">
                  <c:v>0.7575368162808896</c:v>
                </c:pt>
              </c:numCache>
            </c:numRef>
          </c:xVal>
          <c:yVal>
            <c:numRef>
              <c:f>Sheet1!$B$23:$B$24</c:f>
              <c:numCache>
                <c:formatCode>General</c:formatCode>
                <c:ptCount val="2"/>
                <c:pt idx="0">
                  <c:v>0.93245326499646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7:$A$28</c:f>
              <c:numCache>
                <c:formatCode>General</c:formatCode>
                <c:ptCount val="2"/>
                <c:pt idx="0">
                  <c:v>0</c:v>
                </c:pt>
                <c:pt idx="1">
                  <c:v>0.7575368162808896</c:v>
                </c:pt>
              </c:numCache>
            </c:numRef>
          </c:xVal>
          <c:yVal>
            <c:numRef>
              <c:f>Sheet1!$B$27:$B$28</c:f>
              <c:numCache>
                <c:formatCode>General</c:formatCode>
                <c:ptCount val="2"/>
                <c:pt idx="0">
                  <c:v>0.932453264996466</c:v>
                </c:pt>
                <c:pt idx="1">
                  <c:v>0.932453264996466</c:v>
                </c:pt>
              </c:numCache>
            </c:numRef>
          </c:yVal>
          <c:smooth val="0"/>
          <c:extLst>
            <c:ext xmlns:c16="http://schemas.microsoft.com/office/drawing/2014/chart" uri="{C3380CC4-5D6E-409C-BE32-E72D297353CC}">
              <c16:uniqueId val="{0000000D-096C-4121-9522-6AB7243CCAAE}"/>
            </c:ext>
          </c:extLst>
        </c:ser>
        <c:ser>
          <c:idx val="5"/>
          <c:order val="5"/>
          <c:tx>
            <c:strRef>
              <c:f>Sheet1!$B$3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1:$A$32</c:f>
              <c:numCache>
                <c:formatCode>General</c:formatCode>
                <c:ptCount val="2"/>
                <c:pt idx="0">
                  <c:v>0.7575368162808896</c:v>
                </c:pt>
                <c:pt idx="1">
                  <c:v>0.7575368162808896</c:v>
                </c:pt>
              </c:numCache>
            </c:numRef>
          </c:xVal>
          <c:yVal>
            <c:numRef>
              <c:f>Sheet1!$B$31:$B$32</c:f>
              <c:numCache>
                <c:formatCode>General</c:formatCode>
                <c:ptCount val="2"/>
                <c:pt idx="0">
                  <c:v>0.93245326499646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5:$A$36</c:f>
              <c:numCache>
                <c:formatCode>General</c:formatCode>
                <c:ptCount val="2"/>
                <c:pt idx="0">
                  <c:v>0</c:v>
                </c:pt>
                <c:pt idx="1">
                  <c:v>0.8976874884758486</c:v>
                </c:pt>
              </c:numCache>
            </c:numRef>
          </c:xVal>
          <c:yVal>
            <c:numRef>
              <c:f>Sheet1!$B$35:$B$36</c:f>
              <c:numCache>
                <c:formatCode>General</c:formatCode>
                <c:ptCount val="2"/>
                <c:pt idx="0">
                  <c:v>0.9202519825938992</c:v>
                </c:pt>
                <c:pt idx="1">
                  <c:v>0.9202519825938992</c:v>
                </c:pt>
              </c:numCache>
            </c:numRef>
          </c:yVal>
          <c:smooth val="0"/>
          <c:extLst>
            <c:ext xmlns:c16="http://schemas.microsoft.com/office/drawing/2014/chart" uri="{C3380CC4-5D6E-409C-BE32-E72D297353CC}">
              <c16:uniqueId val="{00000015-096C-4121-9522-6AB7243CCAAE}"/>
            </c:ext>
          </c:extLst>
        </c:ser>
        <c:ser>
          <c:idx val="7"/>
          <c:order val="7"/>
          <c:tx>
            <c:strRef>
              <c:f>Sheet1!$B$3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9:$A$40</c:f>
              <c:numCache>
                <c:formatCode>General</c:formatCode>
                <c:ptCount val="2"/>
                <c:pt idx="0">
                  <c:v>0.8976874884758486</c:v>
                </c:pt>
                <c:pt idx="1">
                  <c:v>0.8976874884758486</c:v>
                </c:pt>
              </c:numCache>
            </c:numRef>
          </c:xVal>
          <c:yVal>
            <c:numRef>
              <c:f>Sheet1!$B$39:$B$40</c:f>
              <c:numCache>
                <c:formatCode>General</c:formatCode>
                <c:ptCount val="2"/>
                <c:pt idx="0">
                  <c:v>0.920251982593899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3:$A$58</c:f>
              <c:numCache>
                <c:formatCode>General</c:formatCode>
                <c:ptCount val="16"/>
                <c:pt idx="0">
                  <c:v>0.9090679268917611</c:v>
                </c:pt>
                <c:pt idx="1">
                  <c:v>0.951471053408085</c:v>
                </c:pt>
                <c:pt idx="2">
                  <c:v>1.0399171143978267</c:v>
                </c:pt>
                <c:pt idx="3">
                  <c:v>1.1712397091011792</c:v>
                </c:pt>
                <c:pt idx="4">
                  <c:v>1.0540467426554727</c:v>
                </c:pt>
                <c:pt idx="5">
                  <c:v>0.9969829842127894</c:v>
                </c:pt>
                <c:pt idx="6">
                  <c:v>0.9969840963223487</c:v>
                </c:pt>
                <c:pt idx="7">
                  <c:v>0.6273238445118675</c:v>
                </c:pt>
                <c:pt idx="8">
                  <c:v>0.8784675385333957</c:v>
                </c:pt>
                <c:pt idx="9">
                  <c:v>0.698526762556001</c:v>
                </c:pt>
                <c:pt idx="10">
                  <c:v>0.8714605434911594</c:v>
                </c:pt>
                <c:pt idx="11">
                  <c:v>0.8121264135096027</c:v>
                </c:pt>
                <c:pt idx="12">
                  <c:v>0.6623226205945631</c:v>
                </c:pt>
                <c:pt idx="13">
                  <c:v>0.7575368162808896</c:v>
                </c:pt>
                <c:pt idx="14">
                  <c:v>0.7575368162808896</c:v>
                </c:pt>
                <c:pt idx="15">
                  <c:v>0.8976874884758486</c:v>
                </c:pt>
              </c:numCache>
            </c:numRef>
          </c:xVal>
          <c:yVal>
            <c:numRef>
              <c:f>Sheet1!$B$43:$B$58</c:f>
              <c:numCache>
                <c:formatCode>General</c:formatCode>
                <c:ptCount val="16"/>
                <c:pt idx="0">
                  <c:v>0.9192612207173924</c:v>
                </c:pt>
                <c:pt idx="1">
                  <c:v>0.9155696756589589</c:v>
                </c:pt>
                <c:pt idx="2">
                  <c:v>0.9078697099675399</c:v>
                </c:pt>
                <c:pt idx="3">
                  <c:v>0.8964369851812862</c:v>
                </c:pt>
                <c:pt idx="4">
                  <c:v>0.9066396082354911</c:v>
                </c:pt>
                <c:pt idx="5">
                  <c:v>0.9116074833145524</c:v>
                </c:pt>
                <c:pt idx="6">
                  <c:v>0.9116073864961599</c:v>
                </c:pt>
                <c:pt idx="7">
                  <c:v>0.9437893878715758</c:v>
                </c:pt>
                <c:pt idx="8">
                  <c:v>0.9219252391922325</c:v>
                </c:pt>
                <c:pt idx="9">
                  <c:v>0.9375905812776639</c:v>
                </c:pt>
                <c:pt idx="10">
                  <c:v>0.9225352564255768</c:v>
                </c:pt>
                <c:pt idx="11">
                  <c:v>0.9277007862420055</c:v>
                </c:pt>
                <c:pt idx="12">
                  <c:v>0.9407424531402522</c:v>
                </c:pt>
                <c:pt idx="13">
                  <c:v>0.932453264996466</c:v>
                </c:pt>
                <c:pt idx="14">
                  <c:v>0.932453264996466</c:v>
                </c:pt>
                <c:pt idx="15">
                  <c:v>0.920251982593899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443037974683543"/>
          <c:min val="0.709090909090909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16</c:f>
              <c:numCache>
                <c:formatCode>General</c:formatCode>
                <c:ptCount val="13"/>
                <c:pt idx="0">
                  <c:v>1596.596</c:v>
                </c:pt>
                <c:pt idx="1">
                  <c:v>1612.2677</c:v>
                </c:pt>
                <c:pt idx="2">
                  <c:v>1722.6227</c:v>
                </c:pt>
                <c:pt idx="3">
                  <c:v>1658.8268</c:v>
                </c:pt>
                <c:pt idx="4">
                  <c:v>1601.0092</c:v>
                </c:pt>
                <c:pt idx="5">
                  <c:v>1622.9886</c:v>
                </c:pt>
                <c:pt idx="6">
                  <c:v>1586.0355</c:v>
                </c:pt>
                <c:pt idx="7">
                  <c:v>1513.3142</c:v>
                </c:pt>
                <c:pt idx="8">
                  <c:v>1504.6392</c:v>
                </c:pt>
                <c:pt idx="9">
                  <c:v>1481.226</c:v>
                </c:pt>
                <c:pt idx="10">
                  <c:v>1468.7596</c:v>
                </c:pt>
                <c:pt idx="11">
                  <c:v>1392.0749</c:v>
                </c:pt>
                <c:pt idx="12">
                  <c:v>1382.1569</c:v>
                </c:pt>
              </c:numCache>
            </c:numRef>
          </c:xVal>
          <c:yVal>
            <c:numRef>
              <c:f>Sheet1!$B$4:$B$16</c:f>
              <c:numCache>
                <c:formatCode>General</c:formatCode>
                <c:ptCount val="13"/>
                <c:pt idx="0">
                  <c:v>0.9124087591240876</c:v>
                </c:pt>
                <c:pt idx="1">
                  <c:v>0.8943661971830986</c:v>
                </c:pt>
                <c:pt idx="2">
                  <c:v>0.8863636363636364</c:v>
                </c:pt>
                <c:pt idx="3">
                  <c:v>0.9039145907473309</c:v>
                </c:pt>
                <c:pt idx="4">
                  <c:v>0.8907103825136612</c:v>
                </c:pt>
                <c:pt idx="5">
                  <c:v>0.9283819628647215</c:v>
                </c:pt>
                <c:pt idx="6">
                  <c:v>0.9288194444444444</c:v>
                </c:pt>
                <c:pt idx="7">
                  <c:v>0.9535864978902954</c:v>
                </c:pt>
                <c:pt idx="8">
                  <c:v>0.9349112426035503</c:v>
                </c:pt>
                <c:pt idx="9">
                  <c:v>0.9273927392739274</c:v>
                </c:pt>
                <c:pt idx="10">
                  <c:v>0.9422799422799423</c:v>
                </c:pt>
                <c:pt idx="11">
                  <c:v>0.9328984156570364</c:v>
                </c:pt>
                <c:pt idx="12">
                  <c:v>0.9272419627749577</c:v>
                </c:pt>
              </c:numCache>
            </c:numRef>
          </c:yVal>
          <c:smooth val="0"/>
          <c:extLst>
            <c:ext xmlns:c16="http://schemas.microsoft.com/office/drawing/2014/chart" uri="{C3380CC4-5D6E-409C-BE32-E72D297353CC}">
              <c16:uniqueId val="{00000002-F32D-48B7-BC20-E66FC6253BAD}"/>
            </c:ext>
          </c:extLst>
        </c:ser>
        <c:ser>
          <c:idx val="2"/>
          <c:order val="2"/>
          <c:tx>
            <c:strRef>
              <c:f>Sheet1!$B$18</c:f>
              <c:strCache>
                <c:ptCount val="1"/>
                <c:pt idx="0">
                  <c:v>Custom Linep3yQ</c:v>
                </c:pt>
              </c:strCache>
            </c:strRef>
          </c:tx>
          <c:spPr>
            <a:ln w="19050" cap="rnd">
              <a:solidFill>
                <a:srgbClr val="C00000"/>
              </a:solidFill>
              <a:prstDash val="sysDot"/>
              <a:round/>
            </a:ln>
            <a:effectLst/>
          </c:spPr>
          <c:marker>
            <c:symbol val="none"/>
          </c:marker>
          <c:xVal>
            <c:numRef>
              <c:f>Sheet1!$A$19:$A$20</c:f>
              <c:numCache>
                <c:formatCode>General</c:formatCode>
                <c:ptCount val="2"/>
                <c:pt idx="0">
                  <c:v>0</c:v>
                </c:pt>
                <c:pt idx="1">
                  <c:v>1462.6826717883177</c:v>
                </c:pt>
              </c:numCache>
            </c:numRef>
          </c:xVal>
          <c:yVal>
            <c:numRef>
              <c:f>Sheet1!$B$19:$B$20</c:f>
              <c:numCache>
                <c:formatCode>General</c:formatCode>
                <c:ptCount val="2"/>
                <c:pt idx="0">
                  <c:v>0.932453264996466</c:v>
                </c:pt>
                <c:pt idx="1">
                  <c:v>0.932453264996466</c:v>
                </c:pt>
              </c:numCache>
            </c:numRef>
          </c:yVal>
          <c:smooth val="0"/>
          <c:extLst>
            <c:ext xmlns:c16="http://schemas.microsoft.com/office/drawing/2014/chart" uri="{C3380CC4-5D6E-409C-BE32-E72D297353CC}">
              <c16:uniqueId val="{00000003-F32D-48B7-BC20-E66FC6253BAD}"/>
            </c:ext>
          </c:extLst>
        </c:ser>
        <c:ser>
          <c:idx val="3"/>
          <c:order val="3"/>
          <c:tx>
            <c:strRef>
              <c:f>Sheet1!$B$2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3:$A$24</c:f>
              <c:numCache>
                <c:formatCode>General</c:formatCode>
                <c:ptCount val="2"/>
                <c:pt idx="0">
                  <c:v>1462.6826717883177</c:v>
                </c:pt>
                <c:pt idx="1">
                  <c:v>1462.6826717883177</c:v>
                </c:pt>
              </c:numCache>
            </c:numRef>
          </c:xVal>
          <c:yVal>
            <c:numRef>
              <c:f>Sheet1!$B$23:$B$24</c:f>
              <c:numCache>
                <c:formatCode>General</c:formatCode>
                <c:ptCount val="2"/>
                <c:pt idx="0">
                  <c:v>0.93245326499646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7:$A$28</c:f>
              <c:numCache>
                <c:formatCode>General</c:formatCode>
                <c:ptCount val="2"/>
                <c:pt idx="0">
                  <c:v>0</c:v>
                </c:pt>
                <c:pt idx="1">
                  <c:v>1462.6826717883177</c:v>
                </c:pt>
              </c:numCache>
            </c:numRef>
          </c:xVal>
          <c:yVal>
            <c:numRef>
              <c:f>Sheet1!$B$27:$B$28</c:f>
              <c:numCache>
                <c:formatCode>General</c:formatCode>
                <c:ptCount val="2"/>
                <c:pt idx="0">
                  <c:v>0.932453264996466</c:v>
                </c:pt>
                <c:pt idx="1">
                  <c:v>0.932453264996466</c:v>
                </c:pt>
              </c:numCache>
            </c:numRef>
          </c:yVal>
          <c:smooth val="0"/>
          <c:extLst>
            <c:ext xmlns:c16="http://schemas.microsoft.com/office/drawing/2014/chart" uri="{C3380CC4-5D6E-409C-BE32-E72D297353CC}">
              <c16:uniqueId val="{0000000A-F32D-48B7-BC20-E66FC6253BAD}"/>
            </c:ext>
          </c:extLst>
        </c:ser>
        <c:ser>
          <c:idx val="5"/>
          <c:order val="5"/>
          <c:tx>
            <c:strRef>
              <c:f>Sheet1!$B$3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1:$A$32</c:f>
              <c:numCache>
                <c:formatCode>General</c:formatCode>
                <c:ptCount val="2"/>
                <c:pt idx="0">
                  <c:v>1462.6826717883177</c:v>
                </c:pt>
                <c:pt idx="1">
                  <c:v>1462.6826717883177</c:v>
                </c:pt>
              </c:numCache>
            </c:numRef>
          </c:xVal>
          <c:yVal>
            <c:numRef>
              <c:f>Sheet1!$B$31:$B$32</c:f>
              <c:numCache>
                <c:formatCode>General</c:formatCode>
                <c:ptCount val="2"/>
                <c:pt idx="0">
                  <c:v>0.93245326499646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5:$A$36</c:f>
              <c:numCache>
                <c:formatCode>General</c:formatCode>
                <c:ptCount val="2"/>
                <c:pt idx="0">
                  <c:v>0</c:v>
                </c:pt>
                <c:pt idx="1">
                  <c:v>1549.424407692306</c:v>
                </c:pt>
              </c:numCache>
            </c:numRef>
          </c:xVal>
          <c:yVal>
            <c:numRef>
              <c:f>Sheet1!$B$35:$B$36</c:f>
              <c:numCache>
                <c:formatCode>General</c:formatCode>
                <c:ptCount val="2"/>
                <c:pt idx="0">
                  <c:v>0.9202519825938992</c:v>
                </c:pt>
                <c:pt idx="1">
                  <c:v>0.9202519825938992</c:v>
                </c:pt>
              </c:numCache>
            </c:numRef>
          </c:yVal>
          <c:smooth val="0"/>
          <c:extLst>
            <c:ext xmlns:c16="http://schemas.microsoft.com/office/drawing/2014/chart" uri="{C3380CC4-5D6E-409C-BE32-E72D297353CC}">
              <c16:uniqueId val="{00000011-F32D-48B7-BC20-E66FC6253BAD}"/>
            </c:ext>
          </c:extLst>
        </c:ser>
        <c:ser>
          <c:idx val="7"/>
          <c:order val="7"/>
          <c:tx>
            <c:strRef>
              <c:f>Sheet1!$B$3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9:$A$40</c:f>
              <c:numCache>
                <c:formatCode>General</c:formatCode>
                <c:ptCount val="2"/>
                <c:pt idx="0">
                  <c:v>1549.424407692306</c:v>
                </c:pt>
                <c:pt idx="1">
                  <c:v>1549.424407692306</c:v>
                </c:pt>
              </c:numCache>
            </c:numRef>
          </c:xVal>
          <c:yVal>
            <c:numRef>
              <c:f>Sheet1!$B$39:$B$40</c:f>
              <c:numCache>
                <c:formatCode>General</c:formatCode>
                <c:ptCount val="2"/>
                <c:pt idx="0">
                  <c:v>0.920251982593899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3:$A$58</c:f>
              <c:numCache>
                <c:formatCode>General</c:formatCode>
                <c:ptCount val="16"/>
                <c:pt idx="0">
                  <c:v>1596.596</c:v>
                </c:pt>
                <c:pt idx="1">
                  <c:v>1612.2677</c:v>
                </c:pt>
                <c:pt idx="2">
                  <c:v>1722.6227</c:v>
                </c:pt>
                <c:pt idx="3">
                  <c:v>1658.8268</c:v>
                </c:pt>
                <c:pt idx="4">
                  <c:v>1601.0092</c:v>
                </c:pt>
                <c:pt idx="5">
                  <c:v>1622.9886</c:v>
                </c:pt>
                <c:pt idx="6">
                  <c:v>1586.0355</c:v>
                </c:pt>
                <c:pt idx="7">
                  <c:v>1513.3142</c:v>
                </c:pt>
                <c:pt idx="8">
                  <c:v>1504.6392</c:v>
                </c:pt>
                <c:pt idx="9">
                  <c:v>1481.226</c:v>
                </c:pt>
                <c:pt idx="10">
                  <c:v>1468.7596</c:v>
                </c:pt>
                <c:pt idx="11">
                  <c:v>1392.0749</c:v>
                </c:pt>
                <c:pt idx="12">
                  <c:v>1382.1569</c:v>
                </c:pt>
                <c:pt idx="13">
                  <c:v>1462.6826717883177</c:v>
                </c:pt>
                <c:pt idx="14">
                  <c:v>1462.6826717883177</c:v>
                </c:pt>
                <c:pt idx="15">
                  <c:v>1549.424407692306</c:v>
                </c:pt>
              </c:numCache>
            </c:numRef>
          </c:xVal>
          <c:yVal>
            <c:numRef>
              <c:f>Sheet1!$B$43:$B$58</c:f>
              <c:numCache>
                <c:formatCode>General</c:formatCode>
                <c:ptCount val="16"/>
                <c:pt idx="0">
                  <c:v>0.913616723187032</c:v>
                </c:pt>
                <c:pt idx="1">
                  <c:v>0.9114123075682352</c:v>
                </c:pt>
                <c:pt idx="2">
                  <c:v>0.8958895317613775</c:v>
                </c:pt>
                <c:pt idx="3">
                  <c:v>0.9048632026697796</c:v>
                </c:pt>
                <c:pt idx="4">
                  <c:v>0.9129959528169462</c:v>
                </c:pt>
                <c:pt idx="5">
                  <c:v>0.9099042823120371</c:v>
                </c:pt>
                <c:pt idx="6">
                  <c:v>0.915102186228202</c:v>
                </c:pt>
                <c:pt idx="7">
                  <c:v>0.9253313234334328</c:v>
                </c:pt>
                <c:pt idx="8">
                  <c:v>0.9265515679182725</c:v>
                </c:pt>
                <c:pt idx="9">
                  <c:v>0.9298449198689872</c:v>
                </c:pt>
                <c:pt idx="10">
                  <c:v>0.9315984709751319</c:v>
                </c:pt>
                <c:pt idx="11">
                  <c:v>0.9423851086980819</c:v>
                </c:pt>
                <c:pt idx="12">
                  <c:v>0.9437801962831701</c:v>
                </c:pt>
                <c:pt idx="13">
                  <c:v>0.932453264996466</c:v>
                </c:pt>
                <c:pt idx="14">
                  <c:v>0.932453264996466</c:v>
                </c:pt>
                <c:pt idx="15">
                  <c:v>0.920251982593899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67.0"/>
          <c:min val="110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443037974683543"/>
          <c:min val="0.709090909090909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0</c:v>
                </c:pt>
                <c:pt idx="1">
                  <c:v>0.0</c:v>
                </c:pt>
                <c:pt idx="2">
                  <c:v>0.0</c:v>
                </c:pt>
                <c:pt idx="3">
                  <c:v>0.0</c:v>
                </c:pt>
                <c:pt idx="4">
                  <c:v>0.0</c:v>
                </c:pt>
                <c:pt idx="5">
                  <c:v>0.0</c:v>
                </c:pt>
                <c:pt idx="6">
                  <c:v>0.0</c:v>
                </c:pt>
                <c:pt idx="7">
                  <c:v>4.286871748878924</c:v>
                </c:pt>
                <c:pt idx="8">
                  <c:v>13.262224576271187</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pt idx="28">
                  <c:v>0.0</c:v>
                </c:pt>
                <c:pt idx="29">
                  <c:v>0.0</c:v>
                </c:pt>
                <c:pt idx="30">
                  <c:v>0.0</c:v>
                </c:pt>
                <c:pt idx="31">
                  <c:v>0.0</c:v>
                </c:pt>
                <c:pt idx="32">
                  <c:v>0.0</c:v>
                </c:pt>
                <c:pt idx="33">
                  <c:v>0.0</c:v>
                </c:pt>
                <c:pt idx="34">
                  <c:v>0.0</c:v>
                </c:pt>
                <c:pt idx="35">
                  <c:v>0.0</c:v>
                </c:pt>
                <c:pt idx="36">
                  <c:v>0.0</c:v>
                </c:pt>
                <c:pt idx="37">
                  <c:v>0.0</c:v>
                </c:pt>
                <c:pt idx="38">
                  <c:v>0.0</c:v>
                </c:pt>
                <c:pt idx="39">
                  <c:v>0.0</c:v>
                </c:pt>
                <c:pt idx="40">
                  <c:v>0.0</c:v>
                </c:pt>
                <c:pt idx="41">
                  <c:v>0.0</c:v>
                </c:pt>
                <c:pt idx="42">
                  <c:v>0.0</c:v>
                </c:pt>
                <c:pt idx="43">
                  <c:v>0.0</c:v>
                </c:pt>
              </c:numCache>
            </c:numRef>
          </c:xVal>
          <c:yVal>
            <c:numRef>
              <c:f>Sheet1!$B$2:$B$45</c:f>
              <c:numCache>
                <c:formatCode>General</c:formatCode>
                <c:ptCount val="44"/>
                <c:pt idx="0">
                  <c:v>0.9942363112391931</c:v>
                </c:pt>
                <c:pt idx="1">
                  <c:v>0.9886363636363636</c:v>
                </c:pt>
                <c:pt idx="2">
                  <c:v>0.9973958333333334</c:v>
                </c:pt>
                <c:pt idx="3">
                  <c:v>0.9979166666666667</c:v>
                </c:pt>
                <c:pt idx="4">
                  <c:v>0.9953379953379954</c:v>
                </c:pt>
                <c:pt idx="5">
                  <c:v>0.9939148073022313</c:v>
                </c:pt>
                <c:pt idx="6">
                  <c:v>0.9982993197278912</c:v>
                </c:pt>
                <c:pt idx="7">
                  <c:v>0.9968253968253968</c:v>
                </c:pt>
                <c:pt idx="8">
                  <c:v>0.9975062344139651</c:v>
                </c:pt>
                <c:pt idx="9">
                  <c:v>1.0</c:v>
                </c:pt>
                <c:pt idx="10">
                  <c:v>1.0</c:v>
                </c:pt>
                <c:pt idx="11">
                  <c:v>1.0</c:v>
                </c:pt>
                <c:pt idx="12">
                  <c:v>1.0</c:v>
                </c:pt>
                <c:pt idx="13">
                  <c:v>1.0</c:v>
                </c:pt>
                <c:pt idx="14">
                  <c:v>1.0</c:v>
                </c:pt>
                <c:pt idx="15">
                  <c:v>0.9876760563380281</c:v>
                </c:pt>
                <c:pt idx="16">
                  <c:v>0.942339373970346</c:v>
                </c:pt>
                <c:pt idx="17">
                  <c:v>0.9176470588235294</c:v>
                </c:pt>
                <c:pt idx="18">
                  <c:v>0.9339622641509434</c:v>
                </c:pt>
                <c:pt idx="19">
                  <c:v>0.9237668161434978</c:v>
                </c:pt>
                <c:pt idx="20">
                  <c:v>0.9557522123893806</c:v>
                </c:pt>
                <c:pt idx="21">
                  <c:v>0.9668874172185431</c:v>
                </c:pt>
                <c:pt idx="22">
                  <c:v>0.9575371549893843</c:v>
                </c:pt>
                <c:pt idx="23">
                  <c:v>0.9718670076726342</c:v>
                </c:pt>
                <c:pt idx="24">
                  <c:v>0.939209726443769</c:v>
                </c:pt>
                <c:pt idx="25">
                  <c:v>0.9371069182389937</c:v>
                </c:pt>
                <c:pt idx="26">
                  <c:v>0.9377431906614786</c:v>
                </c:pt>
                <c:pt idx="27">
                  <c:v>0.9390681003584229</c:v>
                </c:pt>
                <c:pt idx="28">
                  <c:v>0.9553571428571429</c:v>
                </c:pt>
                <c:pt idx="29">
                  <c:v>0.9244444444444444</c:v>
                </c:pt>
                <c:pt idx="30">
                  <c:v>0.9759450171821306</c:v>
                </c:pt>
                <c:pt idx="31">
                  <c:v>0.9692307692307692</c:v>
                </c:pt>
                <c:pt idx="32">
                  <c:v>0.9538904899135446</c:v>
                </c:pt>
                <c:pt idx="33">
                  <c:v>0.9308755760368663</c:v>
                </c:pt>
                <c:pt idx="34">
                  <c:v>0.9483568075117371</c:v>
                </c:pt>
                <c:pt idx="35">
                  <c:v>0.9285714285714286</c:v>
                </c:pt>
                <c:pt idx="36">
                  <c:v>0.9124087591240876</c:v>
                </c:pt>
                <c:pt idx="37">
                  <c:v>0.8943661971830986</c:v>
                </c:pt>
                <c:pt idx="38">
                  <c:v>0.8863636363636364</c:v>
                </c:pt>
                <c:pt idx="39">
                  <c:v>0.9039145907473309</c:v>
                </c:pt>
                <c:pt idx="40">
                  <c:v>0.8907103825136612</c:v>
                </c:pt>
                <c:pt idx="41">
                  <c:v>0.9273927392739274</c:v>
                </c:pt>
                <c:pt idx="42">
                  <c:v>0.9422799422799423</c:v>
                </c:pt>
                <c:pt idx="43">
                  <c:v>0.9272419627749577</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49</c:f>
              <c:numCache>
                <c:formatCode>General</c:formatCode>
                <c:ptCount val="2"/>
                <c:pt idx="0">
                  <c:v>18.128183132530122</c:v>
                </c:pt>
                <c:pt idx="1">
                  <c:v>1.6671555688622754</c:v>
                </c:pt>
              </c:numCache>
            </c:numRef>
          </c:xVal>
          <c:yVal>
            <c:numRef>
              <c:f>Sheet1!$B$48:$B$49</c:f>
              <c:numCache>
                <c:formatCode>General</c:formatCode>
                <c:ptCount val="2"/>
                <c:pt idx="0">
                  <c:v>0.9349112426035503</c:v>
                </c:pt>
                <c:pt idx="1">
                  <c:v>0.9328984156570364</c:v>
                </c:pt>
              </c:numCache>
            </c:numRef>
          </c:yVal>
          <c:smooth val="0"/>
          <c:extLst>
            <c:ext xmlns:c16="http://schemas.microsoft.com/office/drawing/2014/chart" uri="{C3380CC4-5D6E-409C-BE32-E72D297353CC}">
              <c16:uniqueId val="{00000002-096C-4121-9522-6AB7243CCAAE}"/>
            </c:ext>
          </c:extLst>
        </c:ser>
        <c:ser>
          <c:idx val="2"/>
          <c:order val="2"/>
          <c:tx>
            <c:strRef>
              <c:f>Sheet1!$B$5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2:$A$53</c:f>
              <c:numCache>
                <c:formatCode>General</c:formatCode>
                <c:ptCount val="2"/>
                <c:pt idx="0">
                  <c:v>0</c:v>
                </c:pt>
                <c:pt idx="1">
                  <c:v>550.4282059654391</c:v>
                </c:pt>
              </c:numCache>
            </c:numRef>
          </c:xVal>
          <c:yVal>
            <c:numRef>
              <c:f>Sheet1!$B$52:$B$53</c:f>
              <c:numCache>
                <c:formatCode>General</c:formatCode>
                <c:ptCount val="2"/>
                <c:pt idx="0">
                  <c:v>1.0</c:v>
                </c:pt>
                <c:pt idx="1">
                  <c:v>1.0</c:v>
                </c:pt>
              </c:numCache>
            </c:numRef>
          </c:yVal>
          <c:smooth val="0"/>
          <c:extLst>
            <c:ext xmlns:c16="http://schemas.microsoft.com/office/drawing/2014/chart" uri="{C3380CC4-5D6E-409C-BE32-E72D297353CC}">
              <c16:uniqueId val="{00000005-096C-4121-9522-6AB7243CCAAE}"/>
            </c:ext>
          </c:extLst>
        </c:ser>
        <c:ser>
          <c:idx val="3"/>
          <c:order val="3"/>
          <c:tx>
            <c:strRef>
              <c:f>Sheet1!$B$5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6:$A$57</c:f>
              <c:numCache>
                <c:formatCode>General</c:formatCode>
                <c:ptCount val="2"/>
                <c:pt idx="0">
                  <c:v>550.4282059654391</c:v>
                </c:pt>
                <c:pt idx="1">
                  <c:v>550.4282059654391</c:v>
                </c:pt>
              </c:numCache>
            </c:numRef>
          </c:xVal>
          <c:yVal>
            <c:numRef>
              <c:f>Sheet1!$B$56:$B$57</c:f>
              <c:numCache>
                <c:formatCode>General</c:formatCode>
                <c:ptCount val="2"/>
                <c:pt idx="0">
                  <c:v>1.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5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0:$A$61</c:f>
              <c:numCache>
                <c:formatCode>General</c:formatCode>
                <c:ptCount val="2"/>
                <c:pt idx="0">
                  <c:v>0</c:v>
                </c:pt>
                <c:pt idx="1">
                  <c:v>449.6422061236769</c:v>
                </c:pt>
              </c:numCache>
            </c:numRef>
          </c:xVal>
          <c:yVal>
            <c:numRef>
              <c:f>Sheet1!$B$60:$B$61</c:f>
              <c:numCache>
                <c:formatCode>General</c:formatCode>
                <c:ptCount val="2"/>
                <c:pt idx="0">
                  <c:v>0.9876760563380281</c:v>
                </c:pt>
                <c:pt idx="1">
                  <c:v>0.9876760563380281</c:v>
                </c:pt>
              </c:numCache>
            </c:numRef>
          </c:yVal>
          <c:smooth val="0"/>
          <c:extLst>
            <c:ext xmlns:c16="http://schemas.microsoft.com/office/drawing/2014/chart" uri="{C3380CC4-5D6E-409C-BE32-E72D297353CC}">
              <c16:uniqueId val="{0000000D-096C-4121-9522-6AB7243CCAAE}"/>
            </c:ext>
          </c:extLst>
        </c:ser>
        <c:ser>
          <c:idx val="5"/>
          <c:order val="5"/>
          <c:tx>
            <c:strRef>
              <c:f>Sheet1!$B$6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4:$A$65</c:f>
              <c:numCache>
                <c:formatCode>General</c:formatCode>
                <c:ptCount val="2"/>
                <c:pt idx="0">
                  <c:v>449.6422061236769</c:v>
                </c:pt>
                <c:pt idx="1">
                  <c:v>449.6422061236769</c:v>
                </c:pt>
              </c:numCache>
            </c:numRef>
          </c:xVal>
          <c:yVal>
            <c:numRef>
              <c:f>Sheet1!$B$64:$B$65</c:f>
              <c:numCache>
                <c:formatCode>General</c:formatCode>
                <c:ptCount val="2"/>
                <c:pt idx="0">
                  <c:v>0.987676056338028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6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68:$A$69</c:f>
              <c:numCache>
                <c:formatCode>General</c:formatCode>
                <c:ptCount val="2"/>
                <c:pt idx="0">
                  <c:v>0</c:v>
                </c:pt>
                <c:pt idx="1">
                  <c:v>-142.67263814734648</c:v>
                </c:pt>
              </c:numCache>
            </c:numRef>
          </c:xVal>
          <c:yVal>
            <c:numRef>
              <c:f>Sheet1!$B$68:$B$69</c:f>
              <c:numCache>
                <c:formatCode>General</c:formatCode>
                <c:ptCount val="2"/>
                <c:pt idx="0">
                  <c:v>0.9152487868521227</c:v>
                </c:pt>
                <c:pt idx="1">
                  <c:v>0.9152487868521227</c:v>
                </c:pt>
              </c:numCache>
            </c:numRef>
          </c:yVal>
          <c:smooth val="0"/>
          <c:extLst>
            <c:ext xmlns:c16="http://schemas.microsoft.com/office/drawing/2014/chart" uri="{C3380CC4-5D6E-409C-BE32-E72D297353CC}">
              <c16:uniqueId val="{00000015-096C-4121-9522-6AB7243CCAAE}"/>
            </c:ext>
          </c:extLst>
        </c:ser>
        <c:ser>
          <c:idx val="7"/>
          <c:order val="7"/>
          <c:tx>
            <c:strRef>
              <c:f>Sheet1!$B$7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2:$A$73</c:f>
              <c:numCache>
                <c:formatCode>General</c:formatCode>
                <c:ptCount val="2"/>
                <c:pt idx="0">
                  <c:v>-142.67263814734648</c:v>
                </c:pt>
                <c:pt idx="1">
                  <c:v>-142.67263814734648</c:v>
                </c:pt>
              </c:numCache>
            </c:numRef>
          </c:xVal>
          <c:yVal>
            <c:numRef>
              <c:f>Sheet1!$B$72:$B$73</c:f>
              <c:numCache>
                <c:formatCode>General</c:formatCode>
                <c:ptCount val="2"/>
                <c:pt idx="0">
                  <c:v>0.915248786852122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7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76:$A$80</c:f>
              <c:numCache>
                <c:formatCode>General</c:formatCode>
                <c:ptCount val="5"/>
                <c:pt idx="0">
                  <c:v>18.128183132530122</c:v>
                </c:pt>
                <c:pt idx="1">
                  <c:v>1.6671555688622754</c:v>
                </c:pt>
                <c:pt idx="2">
                  <c:v>449.6422061236769</c:v>
                </c:pt>
                <c:pt idx="3">
                  <c:v>550.4282059654391</c:v>
                </c:pt>
                <c:pt idx="4">
                  <c:v>-142.67263814734648</c:v>
                </c:pt>
              </c:numCache>
            </c:numRef>
          </c:xVal>
          <c:yVal>
            <c:numRef>
              <c:f>Sheet1!$B$76:$B$80</c:f>
              <c:numCache>
                <c:formatCode>General</c:formatCode>
                <c:ptCount val="5"/>
                <c:pt idx="0">
                  <c:v>0.93491124260355</c:v>
                </c:pt>
                <c:pt idx="1">
                  <c:v>0.9328984156570365</c:v>
                </c:pt>
                <c:pt idx="2">
                  <c:v>0.9876760563380281</c:v>
                </c:pt>
                <c:pt idx="3">
                  <c:v>1.0</c:v>
                </c:pt>
                <c:pt idx="4">
                  <c:v>0.915248786852122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6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opperto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709090909090909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6</c:f>
              <c:numCache>
                <c:formatCode>General</c:formatCode>
                <c:ptCount val="15"/>
                <c:pt idx="0">
                  <c:v>1299.4319</c:v>
                </c:pt>
                <c:pt idx="1">
                  <c:v>1392.9655</c:v>
                </c:pt>
                <c:pt idx="2">
                  <c:v>1427.5144</c:v>
                </c:pt>
                <c:pt idx="3">
                  <c:v>1425.6326</c:v>
                </c:pt>
                <c:pt idx="4">
                  <c:v>1529.267</c:v>
                </c:pt>
                <c:pt idx="5">
                  <c:v>1542.1837</c:v>
                </c:pt>
                <c:pt idx="6">
                  <c:v>1496.1005</c:v>
                </c:pt>
                <c:pt idx="7">
                  <c:v>1433.9586</c:v>
                </c:pt>
                <c:pt idx="8">
                  <c:v>1564.9425</c:v>
                </c:pt>
                <c:pt idx="9">
                  <c:v>1617.41</c:v>
                </c:pt>
                <c:pt idx="10">
                  <c:v>1517.5827</c:v>
                </c:pt>
                <c:pt idx="11">
                  <c:v>1472.9187</c:v>
                </c:pt>
                <c:pt idx="12">
                  <c:v>1663.4481</c:v>
                </c:pt>
                <c:pt idx="13">
                  <c:v>1532.1131</c:v>
                </c:pt>
                <c:pt idx="14">
                  <c:v>1374.3241</c:v>
                </c:pt>
              </c:numCache>
            </c:numRef>
          </c:xVal>
          <c:yVal>
            <c:numRef>
              <c:f>Sheet1!$B$2:$B$16</c:f>
              <c:numCache>
                <c:formatCode>General</c:formatCode>
                <c:ptCount val="15"/>
                <c:pt idx="0">
                  <c:v>0.9942363112391931</c:v>
                </c:pt>
                <c:pt idx="1">
                  <c:v>0.9886363636363636</c:v>
                </c:pt>
                <c:pt idx="2">
                  <c:v>0.9973958333333334</c:v>
                </c:pt>
                <c:pt idx="3">
                  <c:v>0.9979166666666667</c:v>
                </c:pt>
                <c:pt idx="4">
                  <c:v>0.9953379953379954</c:v>
                </c:pt>
                <c:pt idx="5">
                  <c:v>0.9939148073022313</c:v>
                </c:pt>
                <c:pt idx="6">
                  <c:v>0.9982993197278912</c:v>
                </c:pt>
                <c:pt idx="7">
                  <c:v>0.9968253968253968</c:v>
                </c:pt>
                <c:pt idx="8">
                  <c:v>0.9975062344139651</c:v>
                </c:pt>
                <c:pt idx="9">
                  <c:v>1.0</c:v>
                </c:pt>
                <c:pt idx="10">
                  <c:v>1.0</c:v>
                </c:pt>
                <c:pt idx="11">
                  <c:v>1.0</c:v>
                </c:pt>
                <c:pt idx="12">
                  <c:v>1.0</c:v>
                </c:pt>
                <c:pt idx="13">
                  <c:v>1.0</c:v>
                </c:pt>
                <c:pt idx="14">
                  <c:v>1.0</c:v>
                </c:pt>
              </c:numCache>
            </c:numRef>
          </c:yVal>
          <c:smooth val="0"/>
          <c:extLst>
            <c:ext xmlns:c16="http://schemas.microsoft.com/office/drawing/2014/chart" uri="{C3380CC4-5D6E-409C-BE32-E72D297353CC}">
              <c16:uniqueId val="{00000000-F32D-48B7-BC20-E66FC6253BAD}"/>
            </c:ext>
          </c:extLst>
        </c:ser>
        <c:ser>
          <c:idx val="1"/>
          <c:order val="1"/>
          <c:tx>
            <c:strRef>
              <c:f>Sheet1!$B$1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9:$A$49</c:f>
              <c:numCache>
                <c:formatCode>General</c:formatCode>
                <c:ptCount val="31"/>
                <c:pt idx="0">
                  <c:v>1502.4884</c:v>
                </c:pt>
                <c:pt idx="1">
                  <c:v>1493.521</c:v>
                </c:pt>
                <c:pt idx="2">
                  <c:v>1718.8205</c:v>
                </c:pt>
                <c:pt idx="3">
                  <c:v>1651.4697</c:v>
                </c:pt>
                <c:pt idx="4">
                  <c:v>1531.4466</c:v>
                </c:pt>
                <c:pt idx="5">
                  <c:v>1166.358</c:v>
                </c:pt>
                <c:pt idx="6">
                  <c:v>1007.1986</c:v>
                </c:pt>
                <c:pt idx="7">
                  <c:v>948.9889</c:v>
                </c:pt>
                <c:pt idx="8">
                  <c:v>1028.7237</c:v>
                </c:pt>
                <c:pt idx="9">
                  <c:v>1282.3236</c:v>
                </c:pt>
                <c:pt idx="10">
                  <c:v>1498.4866</c:v>
                </c:pt>
                <c:pt idx="11">
                  <c:v>1464.473</c:v>
                </c:pt>
                <c:pt idx="12">
                  <c:v>1405.6298</c:v>
                </c:pt>
                <c:pt idx="13">
                  <c:v>1304.4533</c:v>
                </c:pt>
                <c:pt idx="14">
                  <c:v>1419.9231</c:v>
                </c:pt>
                <c:pt idx="15">
                  <c:v>1544.9366</c:v>
                </c:pt>
                <c:pt idx="16">
                  <c:v>1669.78</c:v>
                </c:pt>
                <c:pt idx="17">
                  <c:v>1584.7915</c:v>
                </c:pt>
                <c:pt idx="18">
                  <c:v>1458.6881</c:v>
                </c:pt>
                <c:pt idx="19">
                  <c:v>1561.6634</c:v>
                </c:pt>
                <c:pt idx="20">
                  <c:v>1526.0055</c:v>
                </c:pt>
                <c:pt idx="21">
                  <c:v>1596.596</c:v>
                </c:pt>
                <c:pt idx="22">
                  <c:v>1612.2677</c:v>
                </c:pt>
                <c:pt idx="23">
                  <c:v>1722.6227</c:v>
                </c:pt>
                <c:pt idx="24">
                  <c:v>1658.8268</c:v>
                </c:pt>
                <c:pt idx="25">
                  <c:v>1601.0092</c:v>
                </c:pt>
                <c:pt idx="26">
                  <c:v>1504.6392</c:v>
                </c:pt>
                <c:pt idx="27">
                  <c:v>1481.226</c:v>
                </c:pt>
                <c:pt idx="28">
                  <c:v>1468.7596</c:v>
                </c:pt>
                <c:pt idx="29">
                  <c:v>1392.0749</c:v>
                </c:pt>
                <c:pt idx="30">
                  <c:v>1382.1569</c:v>
                </c:pt>
              </c:numCache>
            </c:numRef>
          </c:xVal>
          <c:yVal>
            <c:numRef>
              <c:f>Sheet1!$B$19:$B$49</c:f>
              <c:numCache>
                <c:formatCode>General</c:formatCode>
                <c:ptCount val="31"/>
                <c:pt idx="0">
                  <c:v>0.9876760563380281</c:v>
                </c:pt>
                <c:pt idx="1">
                  <c:v>0.942339373970346</c:v>
                </c:pt>
                <c:pt idx="2">
                  <c:v>0.9176470588235294</c:v>
                </c:pt>
                <c:pt idx="3">
                  <c:v>0.9339622641509434</c:v>
                </c:pt>
                <c:pt idx="4">
                  <c:v>0.9237668161434978</c:v>
                </c:pt>
                <c:pt idx="5">
                  <c:v>0.9557522123893806</c:v>
                </c:pt>
                <c:pt idx="6">
                  <c:v>0.9668874172185431</c:v>
                </c:pt>
                <c:pt idx="7">
                  <c:v>0.9575371549893843</c:v>
                </c:pt>
                <c:pt idx="8">
                  <c:v>0.9718670076726342</c:v>
                </c:pt>
                <c:pt idx="9">
                  <c:v>0.939209726443769</c:v>
                </c:pt>
                <c:pt idx="10">
                  <c:v>0.9371069182389937</c:v>
                </c:pt>
                <c:pt idx="11">
                  <c:v>0.9377431906614786</c:v>
                </c:pt>
                <c:pt idx="12">
                  <c:v>0.9390681003584229</c:v>
                </c:pt>
                <c:pt idx="13">
                  <c:v>0.9553571428571429</c:v>
                </c:pt>
                <c:pt idx="14">
                  <c:v>0.9244444444444444</c:v>
                </c:pt>
                <c:pt idx="15">
                  <c:v>0.9759450171821306</c:v>
                </c:pt>
                <c:pt idx="16">
                  <c:v>0.9692307692307692</c:v>
                </c:pt>
                <c:pt idx="17">
                  <c:v>0.9538904899135446</c:v>
                </c:pt>
                <c:pt idx="18">
                  <c:v>0.9308755760368663</c:v>
                </c:pt>
                <c:pt idx="19">
                  <c:v>0.9483568075117371</c:v>
                </c:pt>
                <c:pt idx="20">
                  <c:v>0.9285714285714286</c:v>
                </c:pt>
                <c:pt idx="21">
                  <c:v>0.9124087591240876</c:v>
                </c:pt>
                <c:pt idx="22">
                  <c:v>0.8943661971830986</c:v>
                </c:pt>
                <c:pt idx="23">
                  <c:v>0.8863636363636364</c:v>
                </c:pt>
                <c:pt idx="24">
                  <c:v>0.9039145907473309</c:v>
                </c:pt>
                <c:pt idx="25">
                  <c:v>0.8907103825136612</c:v>
                </c:pt>
                <c:pt idx="26">
                  <c:v>0.9349112426035503</c:v>
                </c:pt>
                <c:pt idx="27">
                  <c:v>0.9273927392739274</c:v>
                </c:pt>
                <c:pt idx="28">
                  <c:v>0.9422799422799423</c:v>
                </c:pt>
                <c:pt idx="29">
                  <c:v>0.9328984156570364</c:v>
                </c:pt>
                <c:pt idx="30">
                  <c:v>0.9272419627749577</c:v>
                </c:pt>
              </c:numCache>
            </c:numRef>
          </c:yVal>
          <c:smooth val="0"/>
          <c:extLst>
            <c:ext xmlns:c16="http://schemas.microsoft.com/office/drawing/2014/chart" uri="{C3380CC4-5D6E-409C-BE32-E72D297353CC}">
              <c16:uniqueId val="{00000002-F32D-48B7-BC20-E66FC6253BAD}"/>
            </c:ext>
          </c:extLst>
        </c:ser>
        <c:ser>
          <c:idx val="2"/>
          <c:order val="2"/>
          <c:tx>
            <c:strRef>
              <c:f>Sheet1!$B$51</c:f>
              <c:strCache>
                <c:ptCount val="1"/>
                <c:pt idx="0">
                  <c:v>Custom Linep3yQ</c:v>
                </c:pt>
              </c:strCache>
            </c:strRef>
          </c:tx>
          <c:spPr>
            <a:ln w="19050" cap="rnd">
              <a:solidFill>
                <a:srgbClr val="C00000"/>
              </a:solidFill>
              <a:prstDash val="sysDot"/>
              <a:round/>
            </a:ln>
            <a:effectLst/>
          </c:spPr>
          <c:marker>
            <c:symbol val="none"/>
          </c:marker>
          <c:xVal>
            <c:numRef>
              <c:f>Sheet1!$A$52:$A$53</c:f>
              <c:numCache>
                <c:formatCode>General</c:formatCode>
                <c:ptCount val="2"/>
                <c:pt idx="0">
                  <c:v>0</c:v>
                </c:pt>
                <c:pt idx="1">
                  <c:v>461.4876427469566</c:v>
                </c:pt>
              </c:numCache>
            </c:numRef>
          </c:xVal>
          <c:yVal>
            <c:numRef>
              <c:f>Sheet1!$B$52:$B$53</c:f>
              <c:numCache>
                <c:formatCode>General</c:formatCode>
                <c:ptCount val="2"/>
                <c:pt idx="0">
                  <c:v>1.0</c:v>
                </c:pt>
                <c:pt idx="1">
                  <c:v>1.0</c:v>
                </c:pt>
              </c:numCache>
            </c:numRef>
          </c:yVal>
          <c:smooth val="0"/>
          <c:extLst>
            <c:ext xmlns:c16="http://schemas.microsoft.com/office/drawing/2014/chart" uri="{C3380CC4-5D6E-409C-BE32-E72D297353CC}">
              <c16:uniqueId val="{00000003-F32D-48B7-BC20-E66FC6253BAD}"/>
            </c:ext>
          </c:extLst>
        </c:ser>
        <c:ser>
          <c:idx val="3"/>
          <c:order val="3"/>
          <c:tx>
            <c:strRef>
              <c:f>Sheet1!$B$5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6:$A$57</c:f>
              <c:numCache>
                <c:formatCode>General</c:formatCode>
                <c:ptCount val="2"/>
                <c:pt idx="0">
                  <c:v>461.4876427469566</c:v>
                </c:pt>
                <c:pt idx="1">
                  <c:v>461.4876427469566</c:v>
                </c:pt>
              </c:numCache>
            </c:numRef>
          </c:xVal>
          <c:yVal>
            <c:numRef>
              <c:f>Sheet1!$B$56:$B$57</c:f>
              <c:numCache>
                <c:formatCode>General</c:formatCode>
                <c:ptCount val="2"/>
                <c:pt idx="0">
                  <c:v>1.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5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0:$A$61</c:f>
              <c:numCache>
                <c:formatCode>General</c:formatCode>
                <c:ptCount val="2"/>
                <c:pt idx="0">
                  <c:v>0</c:v>
                </c:pt>
                <c:pt idx="1">
                  <c:v>656.6473580085686</c:v>
                </c:pt>
              </c:numCache>
            </c:numRef>
          </c:xVal>
          <c:yVal>
            <c:numRef>
              <c:f>Sheet1!$B$60:$B$61</c:f>
              <c:numCache>
                <c:formatCode>General</c:formatCode>
                <c:ptCount val="2"/>
                <c:pt idx="0">
                  <c:v>0.9876760563380281</c:v>
                </c:pt>
                <c:pt idx="1">
                  <c:v>0.9876760563380281</c:v>
                </c:pt>
              </c:numCache>
            </c:numRef>
          </c:yVal>
          <c:smooth val="0"/>
          <c:extLst>
            <c:ext xmlns:c16="http://schemas.microsoft.com/office/drawing/2014/chart" uri="{C3380CC4-5D6E-409C-BE32-E72D297353CC}">
              <c16:uniqueId val="{0000000A-F32D-48B7-BC20-E66FC6253BAD}"/>
            </c:ext>
          </c:extLst>
        </c:ser>
        <c:ser>
          <c:idx val="5"/>
          <c:order val="5"/>
          <c:tx>
            <c:strRef>
              <c:f>Sheet1!$B$6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4:$A$65</c:f>
              <c:numCache>
                <c:formatCode>General</c:formatCode>
                <c:ptCount val="2"/>
                <c:pt idx="0">
                  <c:v>656.6473580085686</c:v>
                </c:pt>
                <c:pt idx="1">
                  <c:v>656.6473580085686</c:v>
                </c:pt>
              </c:numCache>
            </c:numRef>
          </c:xVal>
          <c:yVal>
            <c:numRef>
              <c:f>Sheet1!$B$64:$B$65</c:f>
              <c:numCache>
                <c:formatCode>General</c:formatCode>
                <c:ptCount val="2"/>
                <c:pt idx="0">
                  <c:v>0.987676056338028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6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68:$A$69</c:f>
              <c:numCache>
                <c:formatCode>General</c:formatCode>
                <c:ptCount val="2"/>
                <c:pt idx="0">
                  <c:v>0</c:v>
                </c:pt>
                <c:pt idx="1">
                  <c:v>1803.5923358293862</c:v>
                </c:pt>
              </c:numCache>
            </c:numRef>
          </c:xVal>
          <c:yVal>
            <c:numRef>
              <c:f>Sheet1!$B$68:$B$69</c:f>
              <c:numCache>
                <c:formatCode>General</c:formatCode>
                <c:ptCount val="2"/>
                <c:pt idx="0">
                  <c:v>0.9152487868521227</c:v>
                </c:pt>
                <c:pt idx="1">
                  <c:v>0.9152487868521227</c:v>
                </c:pt>
              </c:numCache>
            </c:numRef>
          </c:yVal>
          <c:smooth val="0"/>
          <c:extLst>
            <c:ext xmlns:c16="http://schemas.microsoft.com/office/drawing/2014/chart" uri="{C3380CC4-5D6E-409C-BE32-E72D297353CC}">
              <c16:uniqueId val="{00000011-F32D-48B7-BC20-E66FC6253BAD}"/>
            </c:ext>
          </c:extLst>
        </c:ser>
        <c:ser>
          <c:idx val="7"/>
          <c:order val="7"/>
          <c:tx>
            <c:strRef>
              <c:f>Sheet1!$B$7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2:$A$73</c:f>
              <c:numCache>
                <c:formatCode>General</c:formatCode>
                <c:ptCount val="2"/>
                <c:pt idx="0">
                  <c:v>1803.5923358293862</c:v>
                </c:pt>
                <c:pt idx="1">
                  <c:v>1803.5923358293862</c:v>
                </c:pt>
              </c:numCache>
            </c:numRef>
          </c:xVal>
          <c:yVal>
            <c:numRef>
              <c:f>Sheet1!$B$72:$B$73</c:f>
              <c:numCache>
                <c:formatCode>General</c:formatCode>
                <c:ptCount val="2"/>
                <c:pt idx="0">
                  <c:v>0.915248786852122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7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76:$A$109</c:f>
              <c:numCache>
                <c:formatCode>General</c:formatCode>
                <c:ptCount val="34"/>
                <c:pt idx="0">
                  <c:v>1502.4884</c:v>
                </c:pt>
                <c:pt idx="1">
                  <c:v>1493.521</c:v>
                </c:pt>
                <c:pt idx="2">
                  <c:v>1718.8205</c:v>
                </c:pt>
                <c:pt idx="3">
                  <c:v>1651.4697</c:v>
                </c:pt>
                <c:pt idx="4">
                  <c:v>1531.4466</c:v>
                </c:pt>
                <c:pt idx="5">
                  <c:v>1166.358</c:v>
                </c:pt>
                <c:pt idx="6">
                  <c:v>1007.1986</c:v>
                </c:pt>
                <c:pt idx="7">
                  <c:v>948.9889</c:v>
                </c:pt>
                <c:pt idx="8">
                  <c:v>1028.7237</c:v>
                </c:pt>
                <c:pt idx="9">
                  <c:v>1282.3236</c:v>
                </c:pt>
                <c:pt idx="10">
                  <c:v>1498.4866</c:v>
                </c:pt>
                <c:pt idx="11">
                  <c:v>1464.473</c:v>
                </c:pt>
                <c:pt idx="12">
                  <c:v>1405.6298</c:v>
                </c:pt>
                <c:pt idx="13">
                  <c:v>1304.4533</c:v>
                </c:pt>
                <c:pt idx="14">
                  <c:v>1419.9231</c:v>
                </c:pt>
                <c:pt idx="15">
                  <c:v>1544.9366</c:v>
                </c:pt>
                <c:pt idx="16">
                  <c:v>1669.78</c:v>
                </c:pt>
                <c:pt idx="17">
                  <c:v>1584.7915</c:v>
                </c:pt>
                <c:pt idx="18">
                  <c:v>1458.6881</c:v>
                </c:pt>
                <c:pt idx="19">
                  <c:v>1561.6634</c:v>
                </c:pt>
                <c:pt idx="20">
                  <c:v>1526.0055</c:v>
                </c:pt>
                <c:pt idx="21">
                  <c:v>1596.596</c:v>
                </c:pt>
                <c:pt idx="22">
                  <c:v>1612.2677</c:v>
                </c:pt>
                <c:pt idx="23">
                  <c:v>1722.6227</c:v>
                </c:pt>
                <c:pt idx="24">
                  <c:v>1658.8268</c:v>
                </c:pt>
                <c:pt idx="25">
                  <c:v>1601.0092</c:v>
                </c:pt>
                <c:pt idx="26">
                  <c:v>1504.6392</c:v>
                </c:pt>
                <c:pt idx="27">
                  <c:v>1481.226</c:v>
                </c:pt>
                <c:pt idx="28">
                  <c:v>1468.7596</c:v>
                </c:pt>
                <c:pt idx="29">
                  <c:v>1392.0749</c:v>
                </c:pt>
                <c:pt idx="30">
                  <c:v>1382.1569</c:v>
                </c:pt>
                <c:pt idx="31">
                  <c:v>656.6473580085686</c:v>
                </c:pt>
                <c:pt idx="32">
                  <c:v>461.4876427469566</c:v>
                </c:pt>
                <c:pt idx="33">
                  <c:v>1803.5923358293862</c:v>
                </c:pt>
              </c:numCache>
            </c:numRef>
          </c:xVal>
          <c:yVal>
            <c:numRef>
              <c:f>Sheet1!$B$76:$B$109</c:f>
              <c:numCache>
                <c:formatCode>General</c:formatCode>
                <c:ptCount val="34"/>
                <c:pt idx="0">
                  <c:v>0.9342628950485046</c:v>
                </c:pt>
                <c:pt idx="1">
                  <c:v>0.9348291683300894</c:v>
                </c:pt>
                <c:pt idx="2">
                  <c:v>0.9206019578561019</c:v>
                </c:pt>
                <c:pt idx="3">
                  <c:v>0.9248550254713936</c:v>
                </c:pt>
                <c:pt idx="4">
                  <c:v>0.9324342429372134</c:v>
                </c:pt>
                <c:pt idx="5">
                  <c:v>0.9554888540386737</c:v>
                </c:pt>
                <c:pt idx="6">
                  <c:v>0.9655394501683303</c:v>
                </c:pt>
                <c:pt idx="7">
                  <c:v>0.9692152756962505</c:v>
                </c:pt>
                <c:pt idx="8">
                  <c:v>0.9641801833782414</c:v>
                </c:pt>
                <c:pt idx="9">
                  <c:v>0.9481658595404957</c:v>
                </c:pt>
                <c:pt idx="10">
                  <c:v>0.9345156006731278</c:v>
                </c:pt>
                <c:pt idx="11">
                  <c:v>0.936663491130843</c:v>
                </c:pt>
                <c:pt idx="12">
                  <c:v>0.9403793209101499</c:v>
                </c:pt>
                <c:pt idx="13">
                  <c:v>0.9467684134759186</c:v>
                </c:pt>
                <c:pt idx="14">
                  <c:v>0.9394767277509647</c:v>
                </c:pt>
                <c:pt idx="15">
                  <c:v>0.9315823765580422</c:v>
                </c:pt>
                <c:pt idx="16">
                  <c:v>0.9236987668381439</c:v>
                </c:pt>
                <c:pt idx="17">
                  <c:v>0.9290656197489071</c:v>
                </c:pt>
                <c:pt idx="18">
                  <c:v>0.9370287959356516</c:v>
                </c:pt>
                <c:pt idx="19">
                  <c:v>0.9305261127662615</c:v>
                </c:pt>
                <c:pt idx="20">
                  <c:v>0.9327778374632111</c:v>
                </c:pt>
                <c:pt idx="21">
                  <c:v>0.9283201893061401</c:v>
                </c:pt>
                <c:pt idx="22">
                  <c:v>0.9273305529581447</c:v>
                </c:pt>
                <c:pt idx="23">
                  <c:v>0.920361856570195</c:v>
                </c:pt>
                <c:pt idx="24">
                  <c:v>0.9243904393973981</c:v>
                </c:pt>
                <c:pt idx="25">
                  <c:v>0.9280415045986117</c:v>
                </c:pt>
                <c:pt idx="26">
                  <c:v>0.9341270763525578</c:v>
                </c:pt>
                <c:pt idx="27">
                  <c:v>0.9356055728617358</c:v>
                </c:pt>
                <c:pt idx="28">
                  <c:v>0.936392800958793</c:v>
                </c:pt>
                <c:pt idx="29">
                  <c:v>0.9412352855938436</c:v>
                </c:pt>
                <c:pt idx="30">
                  <c:v>0.9418615873543047</c:v>
                </c:pt>
                <c:pt idx="31">
                  <c:v>0.9876760563380281</c:v>
                </c:pt>
                <c:pt idx="32">
                  <c:v>1.0</c:v>
                </c:pt>
                <c:pt idx="33">
                  <c:v>0.915248786852122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64.0"/>
          <c:min val="36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709090909090909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6</c:f>
              <c:numCache>
                <c:formatCode>General</c:formatCode>
                <c:ptCount val="55"/>
                <c:pt idx="0">
                  <c:v>0.4471458115183246</c:v>
                </c:pt>
                <c:pt idx="1">
                  <c:v>0.3597957338081529</c:v>
                </c:pt>
                <c:pt idx="2">
                  <c:v>0.3797645287958115</c:v>
                </c:pt>
                <c:pt idx="3">
                  <c:v>0.3266946896035901</c:v>
                </c:pt>
                <c:pt idx="4">
                  <c:v>0.4247055206921715</c:v>
                </c:pt>
                <c:pt idx="5">
                  <c:v>0.48180083242706</c:v>
                </c:pt>
                <c:pt idx="6">
                  <c:v>0.37150715532286216</c:v>
                </c:pt>
                <c:pt idx="7">
                  <c:v>0.30264708302169036</c:v>
                </c:pt>
                <c:pt idx="8">
                  <c:v>0.33295384615384616</c:v>
                </c:pt>
                <c:pt idx="9">
                  <c:v>0.24820287958115184</c:v>
                </c:pt>
                <c:pt idx="10">
                  <c:v>0.3899877486910995</c:v>
                </c:pt>
                <c:pt idx="11">
                  <c:v>0.4009590021410686</c:v>
                </c:pt>
                <c:pt idx="12">
                  <c:v>0.4204799479790567</c:v>
                </c:pt>
                <c:pt idx="13">
                  <c:v>0.43982010741732636</c:v>
                </c:pt>
                <c:pt idx="14">
                  <c:v>0.3783742582897033</c:v>
                </c:pt>
                <c:pt idx="15">
                  <c:v>0.4851768420871944</c:v>
                </c:pt>
                <c:pt idx="16">
                  <c:v>0.40205783181309157</c:v>
                </c:pt>
                <c:pt idx="17">
                  <c:v>0.4302263650233371</c:v>
                </c:pt>
                <c:pt idx="18">
                  <c:v>0.4382467215158315</c:v>
                </c:pt>
                <c:pt idx="19">
                  <c:v>0.4588867539267016</c:v>
                </c:pt>
                <c:pt idx="20">
                  <c:v>0.36730013089005237</c:v>
                </c:pt>
                <c:pt idx="21">
                  <c:v>0.24169080497382198</c:v>
                </c:pt>
                <c:pt idx="22">
                  <c:v>0.41625904595695173</c:v>
                </c:pt>
                <c:pt idx="23">
                  <c:v>0.23872251308900524</c:v>
                </c:pt>
                <c:pt idx="24">
                  <c:v>0.1381906195462478</c:v>
                </c:pt>
                <c:pt idx="25">
                  <c:v>0.2443160308335598</c:v>
                </c:pt>
                <c:pt idx="26">
                  <c:v>0.3198466217900773</c:v>
                </c:pt>
                <c:pt idx="27">
                  <c:v>0.2923521533804375</c:v>
                </c:pt>
                <c:pt idx="28">
                  <c:v>0.38112102893253724</c:v>
                </c:pt>
                <c:pt idx="29">
                  <c:v>0.47245018770370073</c:v>
                </c:pt>
                <c:pt idx="30">
                  <c:v>0.38077369109947645</c:v>
                </c:pt>
                <c:pt idx="31">
                  <c:v>0.39307989984065556</c:v>
                </c:pt>
                <c:pt idx="32">
                  <c:v>0.4295605678768922</c:v>
                </c:pt>
                <c:pt idx="33">
                  <c:v>0.44935600152206256</c:v>
                </c:pt>
                <c:pt idx="34">
                  <c:v>0.3529046813310773</c:v>
                </c:pt>
                <c:pt idx="35">
                  <c:v>0.3699489965095986</c:v>
                </c:pt>
                <c:pt idx="36">
                  <c:v>0.4158349087815483</c:v>
                </c:pt>
                <c:pt idx="37">
                  <c:v>0.43332846514191237</c:v>
                </c:pt>
                <c:pt idx="38">
                  <c:v>0.40349038553069966</c:v>
                </c:pt>
                <c:pt idx="39">
                  <c:v>0.334505890052356</c:v>
                </c:pt>
                <c:pt idx="40">
                  <c:v>0.38912520451570676</c:v>
                </c:pt>
                <c:pt idx="41">
                  <c:v>0.4816912281780579</c:v>
                </c:pt>
                <c:pt idx="42">
                  <c:v>0.38814573514941214</c:v>
                </c:pt>
                <c:pt idx="43">
                  <c:v>0.32393468586387436</c:v>
                </c:pt>
                <c:pt idx="44">
                  <c:v>0.37104617941252277</c:v>
                </c:pt>
                <c:pt idx="45">
                  <c:v>0.3339724848953321</c:v>
                </c:pt>
                <c:pt idx="46">
                  <c:v>0.3143468707379906</c:v>
                </c:pt>
                <c:pt idx="47">
                  <c:v>0.330616045332538</c:v>
                </c:pt>
                <c:pt idx="48">
                  <c:v>0.3301563976068017</c:v>
                </c:pt>
                <c:pt idx="49">
                  <c:v>0.24602295610149014</c:v>
                </c:pt>
                <c:pt idx="50">
                  <c:v>0.2585964846671653</c:v>
                </c:pt>
                <c:pt idx="51">
                  <c:v>0.28839441535776617</c:v>
                </c:pt>
                <c:pt idx="52">
                  <c:v>0.3865239965095986</c:v>
                </c:pt>
                <c:pt idx="53">
                  <c:v>0.3254742707554226</c:v>
                </c:pt>
                <c:pt idx="54">
                  <c:v>0.3938600666349357</c:v>
                </c:pt>
              </c:numCache>
            </c:numRef>
          </c:xVal>
          <c:yVal>
            <c:numRef>
              <c:f>Sheet1!$B$2:$B$56</c:f>
              <c:numCache>
                <c:formatCode>General</c:formatCode>
                <c:ptCount val="55"/>
                <c:pt idx="0">
                  <c:v>0.9935691318327974</c:v>
                </c:pt>
                <c:pt idx="1">
                  <c:v>0.9864864864864865</c:v>
                </c:pt>
                <c:pt idx="2">
                  <c:v>0.9928057553956835</c:v>
                </c:pt>
                <c:pt idx="3">
                  <c:v>0.991701244813278</c:v>
                </c:pt>
                <c:pt idx="4">
                  <c:v>0.9836065573770492</c:v>
                </c:pt>
                <c:pt idx="5">
                  <c:v>0.9810126582278481</c:v>
                </c:pt>
                <c:pt idx="6">
                  <c:v>0.978021978021978</c:v>
                </c:pt>
                <c:pt idx="7">
                  <c:v>0.9906542056074766</c:v>
                </c:pt>
                <c:pt idx="8">
                  <c:v>0.982532751091703</c:v>
                </c:pt>
                <c:pt idx="9">
                  <c:v>0.9954441913439636</c:v>
                </c:pt>
                <c:pt idx="10">
                  <c:v>0.9921875</c:v>
                </c:pt>
                <c:pt idx="11">
                  <c:v>0.9858490566037735</c:v>
                </c:pt>
                <c:pt idx="12">
                  <c:v>0.9842105263157894</c:v>
                </c:pt>
                <c:pt idx="13">
                  <c:v>0.9737991266375546</c:v>
                </c:pt>
                <c:pt idx="14">
                  <c:v>0.9757281553398058</c:v>
                </c:pt>
                <c:pt idx="15">
                  <c:v>0.9831460674157303</c:v>
                </c:pt>
                <c:pt idx="16">
                  <c:v>0.9846938775510204</c:v>
                </c:pt>
                <c:pt idx="17">
                  <c:v>0.9787234042553191</c:v>
                </c:pt>
                <c:pt idx="18">
                  <c:v>0.9629629629629629</c:v>
                </c:pt>
                <c:pt idx="19">
                  <c:v>0.987012987012987</c:v>
                </c:pt>
                <c:pt idx="20">
                  <c:v>0.9818181818181818</c:v>
                </c:pt>
                <c:pt idx="21">
                  <c:v>0.9655172413793104</c:v>
                </c:pt>
                <c:pt idx="22">
                  <c:v>0.9466666666666667</c:v>
                </c:pt>
                <c:pt idx="23">
                  <c:v>0.9375</c:v>
                </c:pt>
                <c:pt idx="24">
                  <c:v>0.9817073170731707</c:v>
                </c:pt>
                <c:pt idx="25">
                  <c:v>0.94</c:v>
                </c:pt>
                <c:pt idx="26">
                  <c:v>0.9130434782608695</c:v>
                </c:pt>
                <c:pt idx="27">
                  <c:v>0.925</c:v>
                </c:pt>
                <c:pt idx="28">
                  <c:v>0.8421052631578947</c:v>
                </c:pt>
                <c:pt idx="29">
                  <c:v>0.8125</c:v>
                </c:pt>
                <c:pt idx="30">
                  <c:v>0.8333333333333334</c:v>
                </c:pt>
                <c:pt idx="31">
                  <c:v>0.7894736842105263</c:v>
                </c:pt>
                <c:pt idx="32">
                  <c:v>0.5625</c:v>
                </c:pt>
                <c:pt idx="33">
                  <c:v>0.46153846153846156</c:v>
                </c:pt>
                <c:pt idx="34">
                  <c:v>0.6666666666666666</c:v>
                </c:pt>
                <c:pt idx="35">
                  <c:v>0.7647058823529411</c:v>
                </c:pt>
                <c:pt idx="36">
                  <c:v>0.7727272727272727</c:v>
                </c:pt>
                <c:pt idx="37">
                  <c:v>0.6296296296296297</c:v>
                </c:pt>
                <c:pt idx="38">
                  <c:v>0.7142857142857143</c:v>
                </c:pt>
                <c:pt idx="39">
                  <c:v>0.6666666666666666</c:v>
                </c:pt>
                <c:pt idx="40">
                  <c:v>0.75</c:v>
                </c:pt>
                <c:pt idx="41">
                  <c:v>0.42105263157894735</c:v>
                </c:pt>
                <c:pt idx="42">
                  <c:v>0.6296296296296297</c:v>
                </c:pt>
                <c:pt idx="43">
                  <c:v>0.7741935483870968</c:v>
                </c:pt>
                <c:pt idx="44">
                  <c:v>0.5909090909090909</c:v>
                </c:pt>
                <c:pt idx="45">
                  <c:v>0.6666666666666666</c:v>
                </c:pt>
                <c:pt idx="46">
                  <c:v>0.7619047619047619</c:v>
                </c:pt>
                <c:pt idx="47">
                  <c:v>0.8571428571428571</c:v>
                </c:pt>
                <c:pt idx="48">
                  <c:v>0.9090909090909091</c:v>
                </c:pt>
                <c:pt idx="49">
                  <c:v>0.96</c:v>
                </c:pt>
                <c:pt idx="50">
                  <c:v>0.9663865546218487</c:v>
                </c:pt>
                <c:pt idx="51">
                  <c:v>0.9322033898305084</c:v>
                </c:pt>
                <c:pt idx="52">
                  <c:v>0.92</c:v>
                </c:pt>
                <c:pt idx="53">
                  <c:v>0.8461538461538461</c:v>
                </c:pt>
                <c:pt idx="54">
                  <c:v>0.8</c:v>
                </c:pt>
              </c:numCache>
            </c:numRef>
          </c:yVal>
          <c:smooth val="0"/>
          <c:extLst>
            <c:ext xmlns:c16="http://schemas.microsoft.com/office/drawing/2014/chart" uri="{C3380CC4-5D6E-409C-BE32-E72D297353CC}">
              <c16:uniqueId val="{00000000-096C-4121-9522-6AB7243CCAAE}"/>
            </c:ext>
          </c:extLst>
        </c:ser>
        <c:ser>
          <c:idx val="1"/>
          <c:order val="1"/>
          <c:tx>
            <c:strRef>
              <c:f>Sheet1!$B$5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9:$A$108</c:f>
              <c:numCache>
                <c:formatCode>General</c:formatCode>
                <c:ptCount val="50"/>
                <c:pt idx="0">
                  <c:v>0.3488778390914907</c:v>
                </c:pt>
                <c:pt idx="1">
                  <c:v>0.4658734031413613</c:v>
                </c:pt>
                <c:pt idx="2">
                  <c:v>0.3832460785787556</c:v>
                </c:pt>
                <c:pt idx="3">
                  <c:v>0.4133613535000969</c:v>
                </c:pt>
                <c:pt idx="4">
                  <c:v>0.3568264196536448</c:v>
                </c:pt>
                <c:pt idx="5">
                  <c:v>0.46199340701958497</c:v>
                </c:pt>
                <c:pt idx="6">
                  <c:v>0.38064320871295426</c:v>
                </c:pt>
                <c:pt idx="7">
                  <c:v>0.2988806609947644</c:v>
                </c:pt>
                <c:pt idx="8">
                  <c:v>0.41959609709662066</c:v>
                </c:pt>
                <c:pt idx="9">
                  <c:v>0.34386404886561955</c:v>
                </c:pt>
                <c:pt idx="10">
                  <c:v>0.37584463350785335</c:v>
                </c:pt>
                <c:pt idx="11">
                  <c:v>0.2971918546113572</c:v>
                </c:pt>
                <c:pt idx="12">
                  <c:v>0.37029281974569933</c:v>
                </c:pt>
                <c:pt idx="13">
                  <c:v>0.3807260789936587</c:v>
                </c:pt>
                <c:pt idx="14">
                  <c:v>0.4369633507853403</c:v>
                </c:pt>
                <c:pt idx="15">
                  <c:v>0.4149100842249033</c:v>
                </c:pt>
                <c:pt idx="16">
                  <c:v>0.3443652033830044</c:v>
                </c:pt>
                <c:pt idx="17">
                  <c:v>0.3826123089365157</c:v>
                </c:pt>
                <c:pt idx="18">
                  <c:v>0.6041136649214659</c:v>
                </c:pt>
                <c:pt idx="19">
                  <c:v>0.8209965697779383</c:v>
                </c:pt>
                <c:pt idx="20">
                  <c:v>0.6201570680628272</c:v>
                </c:pt>
                <c:pt idx="21">
                  <c:v>0.7108336689488522</c:v>
                </c:pt>
                <c:pt idx="22">
                  <c:v>0.14290142109199702</c:v>
                </c:pt>
                <c:pt idx="23">
                  <c:v>0.1633992582897033</c:v>
                </c:pt>
                <c:pt idx="24">
                  <c:v>0.19681560209424084</c:v>
                </c:pt>
                <c:pt idx="25">
                  <c:v>0.2476047120418848</c:v>
                </c:pt>
                <c:pt idx="26">
                  <c:v>0.0</c:v>
                </c:pt>
                <c:pt idx="27">
                  <c:v>0.35231239092495636</c:v>
                </c:pt>
                <c:pt idx="28">
                  <c:v>0.0</c:v>
                </c:pt>
                <c:pt idx="29">
                  <c:v>0.0</c:v>
                </c:pt>
                <c:pt idx="30">
                  <c:v>0.0</c:v>
                </c:pt>
                <c:pt idx="31">
                  <c:v>0.0</c:v>
                </c:pt>
                <c:pt idx="32">
                  <c:v>0.4142778333203165</c:v>
                </c:pt>
                <c:pt idx="33">
                  <c:v>0.0</c:v>
                </c:pt>
                <c:pt idx="34">
                  <c:v>0.0</c:v>
                </c:pt>
                <c:pt idx="35">
                  <c:v>0.3237223112366193</c:v>
                </c:pt>
                <c:pt idx="36">
                  <c:v>0.24031625526215078</c:v>
                </c:pt>
                <c:pt idx="37">
                  <c:v>0.17851439947857003</c:v>
                </c:pt>
                <c:pt idx="38">
                  <c:v>0.2089734865900383</c:v>
                </c:pt>
                <c:pt idx="39">
                  <c:v>0.2272978383981584</c:v>
                </c:pt>
                <c:pt idx="40">
                  <c:v>0.2288586302814721</c:v>
                </c:pt>
                <c:pt idx="41">
                  <c:v>0.20297856221121424</c:v>
                </c:pt>
                <c:pt idx="42">
                  <c:v>0.19043819978275628</c:v>
                </c:pt>
                <c:pt idx="43">
                  <c:v>0.18774936569017556</c:v>
                </c:pt>
                <c:pt idx="44">
                  <c:v>0.205881127073812</c:v>
                </c:pt>
                <c:pt idx="45">
                  <c:v>0.18593937837693253</c:v>
                </c:pt>
                <c:pt idx="46">
                  <c:v>0.19431020682374395</c:v>
                </c:pt>
                <c:pt idx="47">
                  <c:v>0.24783868064048412</c:v>
                </c:pt>
                <c:pt idx="48">
                  <c:v>0.2134155438132981</c:v>
                </c:pt>
                <c:pt idx="49">
                  <c:v>0.203822168534745</c:v>
                </c:pt>
              </c:numCache>
            </c:numRef>
          </c:xVal>
          <c:yVal>
            <c:numRef>
              <c:f>Sheet1!$B$59:$B$108</c:f>
              <c:numCache>
                <c:formatCode>General</c:formatCode>
                <c:ptCount val="50"/>
                <c:pt idx="0">
                  <c:v>0.7916666666666666</c:v>
                </c:pt>
                <c:pt idx="1">
                  <c:v>0.8148148148148148</c:v>
                </c:pt>
                <c:pt idx="2">
                  <c:v>0.8928571428571429</c:v>
                </c:pt>
                <c:pt idx="3">
                  <c:v>0.8148148148148148</c:v>
                </c:pt>
                <c:pt idx="4">
                  <c:v>0.8717948717948718</c:v>
                </c:pt>
                <c:pt idx="5">
                  <c:v>0.8235294117647058</c:v>
                </c:pt>
                <c:pt idx="6">
                  <c:v>0.8571428571428571</c:v>
                </c:pt>
                <c:pt idx="7">
                  <c:v>0.9666666666666667</c:v>
                </c:pt>
                <c:pt idx="8">
                  <c:v>0.9032258064516129</c:v>
                </c:pt>
                <c:pt idx="9">
                  <c:v>0.8979591836734694</c:v>
                </c:pt>
                <c:pt idx="10">
                  <c:v>0.8863636363636364</c:v>
                </c:pt>
                <c:pt idx="11">
                  <c:v>0.9512195121951219</c:v>
                </c:pt>
                <c:pt idx="12">
                  <c:v>0.9292929292929293</c:v>
                </c:pt>
                <c:pt idx="13">
                  <c:v>0.8297872340425532</c:v>
                </c:pt>
                <c:pt idx="14">
                  <c:v>0.8571428571428571</c:v>
                </c:pt>
                <c:pt idx="15">
                  <c:v>0.8</c:v>
                </c:pt>
                <c:pt idx="16">
                  <c:v>0.85</c:v>
                </c:pt>
                <c:pt idx="17">
                  <c:v>0.6428571428571429</c:v>
                </c:pt>
                <c:pt idx="18">
                  <c:v>0.7</c:v>
                </c:pt>
                <c:pt idx="19">
                  <c:v>0.35714285714285715</c:v>
                </c:pt>
                <c:pt idx="20">
                  <c:v>0.4166666666666667</c:v>
                </c:pt>
                <c:pt idx="21">
                  <c:v>0.3333333333333333</c:v>
                </c:pt>
                <c:pt idx="22">
                  <c:v>0.95</c:v>
                </c:pt>
                <c:pt idx="23">
                  <c:v>0.9574468085106383</c:v>
                </c:pt>
                <c:pt idx="24">
                  <c:v>0.9240506329113924</c:v>
                </c:pt>
                <c:pt idx="25">
                  <c:v>0.9259259259259259</c:v>
                </c:pt>
                <c:pt idx="26">
                  <c:v>0.0</c:v>
                </c:pt>
                <c:pt idx="27">
                  <c:v>0.14285714285714285</c:v>
                </c:pt>
                <c:pt idx="28">
                  <c:v>0.0</c:v>
                </c:pt>
                <c:pt idx="29">
                  <c:v>0.0</c:v>
                </c:pt>
                <c:pt idx="30">
                  <c:v>0.0</c:v>
                </c:pt>
                <c:pt idx="31">
                  <c:v>0.0</c:v>
                </c:pt>
                <c:pt idx="32">
                  <c:v>0.09090909090909091</c:v>
                </c:pt>
                <c:pt idx="33">
                  <c:v>0.0</c:v>
                </c:pt>
                <c:pt idx="34">
                  <c:v>0.0</c:v>
                </c:pt>
                <c:pt idx="35">
                  <c:v>0.1875</c:v>
                </c:pt>
                <c:pt idx="36">
                  <c:v>0.8076923076923077</c:v>
                </c:pt>
                <c:pt idx="37">
                  <c:v>0.78125</c:v>
                </c:pt>
                <c:pt idx="38">
                  <c:v>0.7115384615384616</c:v>
                </c:pt>
                <c:pt idx="39">
                  <c:v>0.5476190476190477</c:v>
                </c:pt>
                <c:pt idx="40">
                  <c:v>0.53125</c:v>
                </c:pt>
                <c:pt idx="41">
                  <c:v>0.41935483870967744</c:v>
                </c:pt>
                <c:pt idx="42">
                  <c:v>0.43243243243243246</c:v>
                </c:pt>
                <c:pt idx="43">
                  <c:v>0.5306122448979592</c:v>
                </c:pt>
                <c:pt idx="44">
                  <c:v>0.5</c:v>
                </c:pt>
                <c:pt idx="45">
                  <c:v>0.6071428571428571</c:v>
                </c:pt>
                <c:pt idx="46">
                  <c:v>0.48148148148148145</c:v>
                </c:pt>
                <c:pt idx="47">
                  <c:v>0.4444444444444444</c:v>
                </c:pt>
                <c:pt idx="48">
                  <c:v>0.40540540540540543</c:v>
                </c:pt>
                <c:pt idx="49">
                  <c:v>0.35294117647058826</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0.8557033780308232</c:v>
                </c:pt>
              </c:numCache>
            </c:numRef>
          </c:xVal>
          <c:yVal>
            <c:numRef>
              <c:f>Sheet1!$B$111:$B$112</c:f>
              <c:numCache>
                <c:formatCode>General</c:formatCode>
                <c:ptCount val="2"/>
                <c:pt idx="0">
                  <c:v>0.9880020418362058</c:v>
                </c:pt>
                <c:pt idx="1">
                  <c:v>0.9880020418362058</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0.8557033780308232</c:v>
                </c:pt>
                <c:pt idx="1">
                  <c:v>0.8557033780308232</c:v>
                </c:pt>
              </c:numCache>
            </c:numRef>
          </c:xVal>
          <c:yVal>
            <c:numRef>
              <c:f>Sheet1!$B$115:$B$116</c:f>
              <c:numCache>
                <c:formatCode>General</c:formatCode>
                <c:ptCount val="2"/>
                <c:pt idx="0">
                  <c:v>0.988002041836205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0.6776903970824428</c:v>
                </c:pt>
              </c:numCache>
            </c:numRef>
          </c:xVal>
          <c:yVal>
            <c:numRef>
              <c:f>Sheet1!$B$119:$B$120</c:f>
              <c:numCache>
                <c:formatCode>General</c:formatCode>
                <c:ptCount val="2"/>
                <c:pt idx="0">
                  <c:v>0.8596125614415726</c:v>
                </c:pt>
                <c:pt idx="1">
                  <c:v>0.8596125614415726</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0.6776903970824428</c:v>
                </c:pt>
                <c:pt idx="1">
                  <c:v>0.6776903970824428</c:v>
                </c:pt>
              </c:numCache>
            </c:numRef>
          </c:xVal>
          <c:yVal>
            <c:numRef>
              <c:f>Sheet1!$B$123:$B$124</c:f>
              <c:numCache>
                <c:formatCode>General</c:formatCode>
                <c:ptCount val="2"/>
                <c:pt idx="0">
                  <c:v>0.859612561441572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0.20526559051870377</c:v>
                </c:pt>
              </c:numCache>
            </c:numRef>
          </c:xVal>
          <c:yVal>
            <c:numRef>
              <c:f>Sheet1!$B$127:$B$128</c:f>
              <c:numCache>
                <c:formatCode>General</c:formatCode>
                <c:ptCount val="2"/>
                <c:pt idx="0">
                  <c:v>0.5188824915494119</c:v>
                </c:pt>
                <c:pt idx="1">
                  <c:v>0.5188824915494119</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0.20526559051870377</c:v>
                </c:pt>
                <c:pt idx="1">
                  <c:v>0.20526559051870377</c:v>
                </c:pt>
              </c:numCache>
            </c:numRef>
          </c:xVal>
          <c:yVal>
            <c:numRef>
              <c:f>Sheet1!$B$131:$B$132</c:f>
              <c:numCache>
                <c:formatCode>General</c:formatCode>
                <c:ptCount val="2"/>
                <c:pt idx="0">
                  <c:v>0.518882491549411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7</c:f>
              <c:numCache>
                <c:formatCode>General</c:formatCode>
                <c:ptCount val="53"/>
                <c:pt idx="0">
                  <c:v>0.3488778390914907</c:v>
                </c:pt>
                <c:pt idx="1">
                  <c:v>0.4658734031413613</c:v>
                </c:pt>
                <c:pt idx="2">
                  <c:v>0.3832460785787556</c:v>
                </c:pt>
                <c:pt idx="3">
                  <c:v>0.4133613535000969</c:v>
                </c:pt>
                <c:pt idx="4">
                  <c:v>0.3568264196536448</c:v>
                </c:pt>
                <c:pt idx="5">
                  <c:v>0.46199340701958497</c:v>
                </c:pt>
                <c:pt idx="6">
                  <c:v>0.38064320871295426</c:v>
                </c:pt>
                <c:pt idx="7">
                  <c:v>0.2988806609947644</c:v>
                </c:pt>
                <c:pt idx="8">
                  <c:v>0.41959609709662066</c:v>
                </c:pt>
                <c:pt idx="9">
                  <c:v>0.34386404886561955</c:v>
                </c:pt>
                <c:pt idx="10">
                  <c:v>0.37584463350785335</c:v>
                </c:pt>
                <c:pt idx="11">
                  <c:v>0.2971918546113572</c:v>
                </c:pt>
                <c:pt idx="12">
                  <c:v>0.37029281974569933</c:v>
                </c:pt>
                <c:pt idx="13">
                  <c:v>0.3807260789936587</c:v>
                </c:pt>
                <c:pt idx="14">
                  <c:v>0.4369633507853403</c:v>
                </c:pt>
                <c:pt idx="15">
                  <c:v>0.4149100842249033</c:v>
                </c:pt>
                <c:pt idx="16">
                  <c:v>0.3443652033830044</c:v>
                </c:pt>
                <c:pt idx="17">
                  <c:v>0.3826123089365157</c:v>
                </c:pt>
                <c:pt idx="18">
                  <c:v>0.6041136649214659</c:v>
                </c:pt>
                <c:pt idx="19">
                  <c:v>0.8209965697779383</c:v>
                </c:pt>
                <c:pt idx="20">
                  <c:v>0.6201570680628272</c:v>
                </c:pt>
                <c:pt idx="21">
                  <c:v>0.7108336689488522</c:v>
                </c:pt>
                <c:pt idx="22">
                  <c:v>0.14290142109199702</c:v>
                </c:pt>
                <c:pt idx="23">
                  <c:v>0.1633992582897033</c:v>
                </c:pt>
                <c:pt idx="24">
                  <c:v>0.19681560209424084</c:v>
                </c:pt>
                <c:pt idx="25">
                  <c:v>0.2476047120418848</c:v>
                </c:pt>
                <c:pt idx="26">
                  <c:v>0.0</c:v>
                </c:pt>
                <c:pt idx="27">
                  <c:v>0.35231239092495636</c:v>
                </c:pt>
                <c:pt idx="28">
                  <c:v>0.0</c:v>
                </c:pt>
                <c:pt idx="29">
                  <c:v>0.0</c:v>
                </c:pt>
                <c:pt idx="30">
                  <c:v>0.0</c:v>
                </c:pt>
                <c:pt idx="31">
                  <c:v>0.0</c:v>
                </c:pt>
                <c:pt idx="32">
                  <c:v>0.4142778333203165</c:v>
                </c:pt>
                <c:pt idx="33">
                  <c:v>0.0</c:v>
                </c:pt>
                <c:pt idx="34">
                  <c:v>0.0</c:v>
                </c:pt>
                <c:pt idx="35">
                  <c:v>0.3237223112366193</c:v>
                </c:pt>
                <c:pt idx="36">
                  <c:v>0.24031625526215078</c:v>
                </c:pt>
                <c:pt idx="37">
                  <c:v>0.17851439947857003</c:v>
                </c:pt>
                <c:pt idx="38">
                  <c:v>0.2089734865900383</c:v>
                </c:pt>
                <c:pt idx="39">
                  <c:v>0.2272978383981584</c:v>
                </c:pt>
                <c:pt idx="40">
                  <c:v>0.2288586302814721</c:v>
                </c:pt>
                <c:pt idx="41">
                  <c:v>0.20297856221121424</c:v>
                </c:pt>
                <c:pt idx="42">
                  <c:v>0.19043819978275628</c:v>
                </c:pt>
                <c:pt idx="43">
                  <c:v>0.18774936569017556</c:v>
                </c:pt>
                <c:pt idx="44">
                  <c:v>0.205881127073812</c:v>
                </c:pt>
                <c:pt idx="45">
                  <c:v>0.18593937837693253</c:v>
                </c:pt>
                <c:pt idx="46">
                  <c:v>0.19431020682374395</c:v>
                </c:pt>
                <c:pt idx="47">
                  <c:v>0.24783868064048412</c:v>
                </c:pt>
                <c:pt idx="48">
                  <c:v>0.2134155438132981</c:v>
                </c:pt>
                <c:pt idx="49">
                  <c:v>0.203822168534745</c:v>
                </c:pt>
                <c:pt idx="50">
                  <c:v>0.6776903970824428</c:v>
                </c:pt>
                <c:pt idx="51">
                  <c:v>0.8557033780308232</c:v>
                </c:pt>
                <c:pt idx="52">
                  <c:v>0.20526559051870377</c:v>
                </c:pt>
              </c:numCache>
            </c:numRef>
          </c:xVal>
          <c:yVal>
            <c:numRef>
              <c:f>Sheet1!$B$135:$B$187</c:f>
              <c:numCache>
                <c:formatCode>General</c:formatCode>
                <c:ptCount val="53"/>
                <c:pt idx="0">
                  <c:v>0.6224609040580575</c:v>
                </c:pt>
                <c:pt idx="1">
                  <c:v>0.7068423890307496</c:v>
                </c:pt>
                <c:pt idx="2">
                  <c:v>0.6472485368831478</c:v>
                </c:pt>
                <c:pt idx="3">
                  <c:v>0.6689687759269157</c:v>
                </c:pt>
                <c:pt idx="4">
                  <c:v>0.6281937114230763</c:v>
                </c:pt>
                <c:pt idx="5">
                  <c:v>0.7040439937488208</c:v>
                </c:pt>
                <c:pt idx="6">
                  <c:v>0.6453712518232342</c:v>
                </c:pt>
                <c:pt idx="7">
                  <c:v>0.5864011084024923</c:v>
                </c:pt>
                <c:pt idx="8">
                  <c:v>0.6734655013145074</c:v>
                </c:pt>
                <c:pt idx="9">
                  <c:v>0.6188447749506305</c:v>
                </c:pt>
                <c:pt idx="10">
                  <c:v>0.6419103436695972</c:v>
                </c:pt>
                <c:pt idx="11">
                  <c:v>0.585183079397542</c:v>
                </c:pt>
                <c:pt idx="12">
                  <c:v>0.6379061722862899</c:v>
                </c:pt>
                <c:pt idx="13">
                  <c:v>0.6454310209042479</c:v>
                </c:pt>
                <c:pt idx="14">
                  <c:v>0.6859914006343052</c:v>
                </c:pt>
                <c:pt idx="15">
                  <c:v>0.670085777237549</c:v>
                </c:pt>
                <c:pt idx="16">
                  <c:v>0.6192062259400003</c:v>
                </c:pt>
                <c:pt idx="17">
                  <c:v>0.6467914390095906</c:v>
                </c:pt>
                <c:pt idx="18">
                  <c:v>0.8065463279514308</c:v>
                </c:pt>
                <c:pt idx="19">
                  <c:v>0.9629702208195339</c:v>
                </c:pt>
                <c:pt idx="20">
                  <c:v>0.8181174177793029</c:v>
                </c:pt>
                <c:pt idx="21">
                  <c:v>0.8835167027622568</c:v>
                </c:pt>
                <c:pt idx="22">
                  <c:v>0.4739031688883327</c:v>
                </c:pt>
                <c:pt idx="23">
                  <c:v>0.48868695967149156</c:v>
                </c:pt>
                <c:pt idx="24">
                  <c:v>0.5127880504733869</c:v>
                </c:pt>
                <c:pt idx="25">
                  <c:v>0.5494190163790407</c:v>
                </c:pt>
                <c:pt idx="26">
                  <c:v>0.37083743118813445</c:v>
                </c:pt>
                <c:pt idx="27">
                  <c:v>0.6249380286078394</c:v>
                </c:pt>
                <c:pt idx="28">
                  <c:v>0.37083743118813445</c:v>
                </c:pt>
                <c:pt idx="29">
                  <c:v>0.37083743118813445</c:v>
                </c:pt>
                <c:pt idx="30">
                  <c:v>0.37083743118813445</c:v>
                </c:pt>
                <c:pt idx="31">
                  <c:v>0.37083743118813445</c:v>
                </c:pt>
                <c:pt idx="32">
                  <c:v>0.669629774733201</c:v>
                </c:pt>
                <c:pt idx="33">
                  <c:v>0.37083743118813445</c:v>
                </c:pt>
                <c:pt idx="34">
                  <c:v>0.37083743118813445</c:v>
                </c:pt>
                <c:pt idx="35">
                  <c:v>0.6043178162161871</c:v>
                </c:pt>
                <c:pt idx="36">
                  <c:v>0.5441623144585208</c:v>
                </c:pt>
                <c:pt idx="37">
                  <c:v>0.4995885529878399</c:v>
                </c:pt>
                <c:pt idx="38">
                  <c:v>0.5215567619729491</c:v>
                </c:pt>
                <c:pt idx="39">
                  <c:v>0.5347729555037748</c:v>
                </c:pt>
                <c:pt idx="40">
                  <c:v>0.535898655763583</c:v>
                </c:pt>
                <c:pt idx="41">
                  <c:v>0.5172330029869371</c:v>
                </c:pt>
                <c:pt idx="42">
                  <c:v>0.5081884343966444</c:v>
                </c:pt>
                <c:pt idx="43">
                  <c:v>0.5062491487885127</c:v>
                </c:pt>
                <c:pt idx="44">
                  <c:v>0.5193264390528648</c:v>
                </c:pt>
                <c:pt idx="45">
                  <c:v>0.5049437196595239</c:v>
                </c:pt>
                <c:pt idx="46">
                  <c:v>0.5109810676609619</c:v>
                </c:pt>
                <c:pt idx="47">
                  <c:v>0.5495877630998853</c:v>
                </c:pt>
                <c:pt idx="48">
                  <c:v>0.524760536302996</c:v>
                </c:pt>
                <c:pt idx="49">
                  <c:v>0.517841442758906</c:v>
                </c:pt>
                <c:pt idx="50">
                  <c:v>0.8596125614415726</c:v>
                </c:pt>
                <c:pt idx="51">
                  <c:v>0.9880020418362057</c:v>
                </c:pt>
                <c:pt idx="52">
                  <c:v>0.518882491549411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45330296127563"/>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3856.3077</c:v>
                </c:pt>
                <c:pt idx="1">
                  <c:v>6230.0</c:v>
                </c:pt>
                <c:pt idx="2">
                  <c:v>6349.3333</c:v>
                </c:pt>
                <c:pt idx="3">
                  <c:v>5043.3333</c:v>
                </c:pt>
                <c:pt idx="4">
                  <c:v>5971.5</c:v>
                </c:pt>
                <c:pt idx="5">
                  <c:v>7694.0</c:v>
                </c:pt>
                <c:pt idx="6">
                  <c:v>5895.0</c:v>
                </c:pt>
                <c:pt idx="7">
                  <c:v>4277.0</c:v>
                </c:pt>
                <c:pt idx="8">
                  <c:v>7050.6667</c:v>
                </c:pt>
                <c:pt idx="9">
                  <c:v>5817.6</c:v>
                </c:pt>
                <c:pt idx="10">
                  <c:v>5290.25</c:v>
                </c:pt>
                <c:pt idx="11">
                  <c:v>4469.2857</c:v>
                </c:pt>
                <c:pt idx="12">
                  <c:v>7055.8</c:v>
                </c:pt>
                <c:pt idx="13">
                  <c:v>5252.6667</c:v>
                </c:pt>
                <c:pt idx="14">
                  <c:v>0.0</c:v>
                </c:pt>
                <c:pt idx="15">
                  <c:v>3753.0</c:v>
                </c:pt>
                <c:pt idx="16">
                  <c:v>2170.25</c:v>
                </c:pt>
                <c:pt idx="17">
                  <c:v>6580.0</c:v>
                </c:pt>
                <c:pt idx="18">
                  <c:v>0.0</c:v>
                </c:pt>
                <c:pt idx="19">
                  <c:v>3807.0</c:v>
                </c:pt>
                <c:pt idx="20">
                  <c:v>5072.3333</c:v>
                </c:pt>
                <c:pt idx="21">
                  <c:v>6718.0</c:v>
                </c:pt>
                <c:pt idx="22">
                  <c:v>5462.25</c:v>
                </c:pt>
                <c:pt idx="23">
                  <c:v>6538.6667</c:v>
                </c:pt>
                <c:pt idx="24">
                  <c:v>6316.5</c:v>
                </c:pt>
                <c:pt idx="25">
                  <c:v>4606.0</c:v>
                </c:pt>
                <c:pt idx="26">
                  <c:v>6402.0</c:v>
                </c:pt>
                <c:pt idx="27">
                  <c:v>15524.0</c:v>
                </c:pt>
                <c:pt idx="28">
                  <c:v>3345.4</c:v>
                </c:pt>
                <c:pt idx="29">
                  <c:v>7017.0</c:v>
                </c:pt>
                <c:pt idx="30">
                  <c:v>3873.25</c:v>
                </c:pt>
                <c:pt idx="31">
                  <c:v>5011.5</c:v>
                </c:pt>
                <c:pt idx="32">
                  <c:v>8655.5</c:v>
                </c:pt>
                <c:pt idx="33">
                  <c:v>3845.7778</c:v>
                </c:pt>
                <c:pt idx="34">
                  <c:v>3505.4167</c:v>
                </c:pt>
                <c:pt idx="35">
                  <c:v>3707.5</c:v>
                </c:pt>
                <c:pt idx="36">
                  <c:v>6482.5</c:v>
                </c:pt>
                <c:pt idx="37">
                  <c:v>4574.0</c:v>
                </c:pt>
                <c:pt idx="38">
                  <c:v>7663.0</c:v>
                </c:pt>
                <c:pt idx="39">
                  <c:v>5600.75</c:v>
                </c:pt>
                <c:pt idx="40">
                  <c:v>8541.5</c:v>
                </c:pt>
                <c:pt idx="41">
                  <c:v>5335.6667</c:v>
                </c:pt>
                <c:pt idx="42">
                  <c:v>10645.0</c:v>
                </c:pt>
                <c:pt idx="43">
                  <c:v>7240.0</c:v>
                </c:pt>
                <c:pt idx="44">
                  <c:v>4505.0</c:v>
                </c:pt>
                <c:pt idx="45">
                  <c:v>4392.2</c:v>
                </c:pt>
                <c:pt idx="46">
                  <c:v>4084.1818</c:v>
                </c:pt>
                <c:pt idx="47">
                  <c:v>3419.4286</c:v>
                </c:pt>
                <c:pt idx="48">
                  <c:v>4401.9</c:v>
                </c:pt>
                <c:pt idx="49">
                  <c:v>3402.25</c:v>
                </c:pt>
                <c:pt idx="50">
                  <c:v>4337.6</c:v>
                </c:pt>
                <c:pt idx="51">
                  <c:v>4108.2</c:v>
                </c:pt>
                <c:pt idx="52">
                  <c:v>4801.75</c:v>
                </c:pt>
                <c:pt idx="53">
                  <c:v>3999.4</c:v>
                </c:pt>
                <c:pt idx="54">
                  <c:v>4201.4444</c:v>
                </c:pt>
                <c:pt idx="55">
                  <c:v>4984.2</c:v>
                </c:pt>
                <c:pt idx="56">
                  <c:v>10395.0</c:v>
                </c:pt>
                <c:pt idx="57">
                  <c:v>4042.75</c:v>
                </c:pt>
                <c:pt idx="58">
                  <c:v>4289.0</c:v>
                </c:pt>
                <c:pt idx="59">
                  <c:v>3433.0</c:v>
                </c:pt>
                <c:pt idx="60">
                  <c:v>3007.3571</c:v>
                </c:pt>
                <c:pt idx="61">
                  <c:v>2989.9286</c:v>
                </c:pt>
                <c:pt idx="62">
                  <c:v>3040.0833</c:v>
                </c:pt>
                <c:pt idx="63">
                  <c:v>2470.9444</c:v>
                </c:pt>
                <c:pt idx="64">
                  <c:v>2609.3158</c:v>
                </c:pt>
                <c:pt idx="65">
                  <c:v>2489.9333</c:v>
                </c:pt>
                <c:pt idx="66">
                  <c:v>2358.7273</c:v>
                </c:pt>
                <c:pt idx="67">
                  <c:v>3155.3333</c:v>
                </c:pt>
                <c:pt idx="68">
                  <c:v>2346.9231</c:v>
                </c:pt>
                <c:pt idx="69">
                  <c:v>2135.0</c:v>
                </c:pt>
                <c:pt idx="70">
                  <c:v>2302.5</c:v>
                </c:pt>
                <c:pt idx="71">
                  <c:v>1857.8</c:v>
                </c:pt>
                <c:pt idx="72">
                  <c:v>2952.3636</c:v>
                </c:pt>
                <c:pt idx="73">
                  <c:v>2025.9474</c:v>
                </c:pt>
                <c:pt idx="74">
                  <c:v>2531.4762</c:v>
                </c:pt>
                <c:pt idx="75">
                  <c:v>3962.4444</c:v>
                </c:pt>
                <c:pt idx="76">
                  <c:v>3882.0</c:v>
                </c:pt>
                <c:pt idx="77">
                  <c:v>4467.6957</c:v>
                </c:pt>
                <c:pt idx="78">
                  <c:v>3018.5429</c:v>
                </c:pt>
                <c:pt idx="79">
                  <c:v>4773.4</c:v>
                </c:pt>
                <c:pt idx="80">
                  <c:v>4299.5</c:v>
                </c:pt>
                <c:pt idx="81">
                  <c:v>3470.475</c:v>
                </c:pt>
                <c:pt idx="82">
                  <c:v>4188.0</c:v>
                </c:pt>
                <c:pt idx="83">
                  <c:v>4291.4286</c:v>
                </c:pt>
                <c:pt idx="84">
                  <c:v>4199.35</c:v>
                </c:pt>
                <c:pt idx="85">
                  <c:v>3644.0476</c:v>
                </c:pt>
                <c:pt idx="86">
                  <c:v>4846.4231</c:v>
                </c:pt>
                <c:pt idx="87">
                  <c:v>4906.68</c:v>
                </c:pt>
                <c:pt idx="88">
                  <c:v>4199.0333</c:v>
                </c:pt>
                <c:pt idx="89">
                  <c:v>3929.7353</c:v>
                </c:pt>
                <c:pt idx="90">
                  <c:v>4177.2903</c:v>
                </c:pt>
                <c:pt idx="91">
                  <c:v>3942.625</c:v>
                </c:pt>
                <c:pt idx="92">
                  <c:v>4270.3235</c:v>
                </c:pt>
                <c:pt idx="93">
                  <c:v>4332.2286</c:v>
                </c:pt>
                <c:pt idx="94">
                  <c:v>5011.5517</c:v>
                </c:pt>
                <c:pt idx="95">
                  <c:v>4381.1064</c:v>
                </c:pt>
                <c:pt idx="96">
                  <c:v>3358.3295</c:v>
                </c:pt>
                <c:pt idx="97">
                  <c:v>3539.0348</c:v>
                </c:pt>
                <c:pt idx="98">
                  <c:v>3390.072</c:v>
                </c:pt>
                <c:pt idx="99">
                  <c:v>3491.0956</c:v>
                </c:pt>
                <c:pt idx="100">
                  <c:v>3928.0486</c:v>
                </c:pt>
                <c:pt idx="101">
                  <c:v>3765.3274</c:v>
                </c:pt>
                <c:pt idx="102">
                  <c:v>3902.8667</c:v>
                </c:pt>
                <c:pt idx="103">
                  <c:v>3989.4744</c:v>
                </c:pt>
                <c:pt idx="104">
                  <c:v>4479.7</c:v>
                </c:pt>
              </c:numCache>
            </c:numRef>
          </c:xVal>
          <c:yVal>
            <c:numRef>
              <c:f>Sheet1!$B$2:$B$106</c:f>
              <c:numCache>
                <c:formatCode>General</c:formatCode>
                <c:ptCount val="105"/>
                <c:pt idx="0">
                  <c:v>0.00031891666462232905</c:v>
                </c:pt>
                <c:pt idx="1">
                  <c:v>7.925395609330832e-05</c:v>
                </c:pt>
                <c:pt idx="2">
                  <c:v>7.552299675251114e-05</c:v>
                </c:pt>
                <c:pt idx="3">
                  <c:v>8.004482510205715e-05</c:v>
                </c:pt>
                <c:pt idx="4">
                  <c:v>6.23966555392631e-05</c:v>
                </c:pt>
                <c:pt idx="5">
                  <c:v>9.592939596457007e-05</c:v>
                </c:pt>
                <c:pt idx="6">
                  <c:v>0.00018364348677766894</c:v>
                </c:pt>
                <c:pt idx="7">
                  <c:v>0.00021239689900527452</c:v>
                </c:pt>
                <c:pt idx="8">
                  <c:v>0.00011040777270719859</c:v>
                </c:pt>
                <c:pt idx="9">
                  <c:v>0.00013936505281935503</c:v>
                </c:pt>
                <c:pt idx="10">
                  <c:v>0.00010755868670843529</c:v>
                </c:pt>
                <c:pt idx="11">
                  <c:v>0.00018949648077964268</c:v>
                </c:pt>
                <c:pt idx="12">
                  <c:v>0.0001240664003374606</c:v>
                </c:pt>
                <c:pt idx="13">
                  <c:v>0.0001557955961778147</c:v>
                </c:pt>
                <c:pt idx="14">
                  <c:v>0.0</c:v>
                </c:pt>
                <c:pt idx="15">
                  <c:v>0.0001552891483943102</c:v>
                </c:pt>
                <c:pt idx="16">
                  <c:v>0.00014245014245014244</c:v>
                </c:pt>
                <c:pt idx="17">
                  <c:v>7.810974419058778e-05</c:v>
                </c:pt>
                <c:pt idx="18">
                  <c:v>0.0</c:v>
                </c:pt>
                <c:pt idx="19">
                  <c:v>0.00015323322096230462</c:v>
                </c:pt>
                <c:pt idx="20">
                  <c:v>0.00012568077084206116</c:v>
                </c:pt>
                <c:pt idx="21">
                  <c:v>5.258176464402145e-05</c:v>
                </c:pt>
                <c:pt idx="22">
                  <c:v>0.00020876826722338206</c:v>
                </c:pt>
                <c:pt idx="23">
                  <c:v>0.00016326530612244898</c:v>
                </c:pt>
                <c:pt idx="24">
                  <c:v>0.00020263424518743666</c:v>
                </c:pt>
                <c:pt idx="25">
                  <c:v>0.00034784625195663515</c:v>
                </c:pt>
                <c:pt idx="26">
                  <c:v>0.00025718841623373286</c:v>
                </c:pt>
                <c:pt idx="27">
                  <c:v>5.061241016297196e-05</c:v>
                </c:pt>
                <c:pt idx="28">
                  <c:v>0.0002570694087403599</c:v>
                </c:pt>
                <c:pt idx="29">
                  <c:v>0.00017968644714972374</c:v>
                </c:pt>
                <c:pt idx="30">
                  <c:v>0.00023078698361412417</c:v>
                </c:pt>
                <c:pt idx="31">
                  <c:v>0.0002249212775528565</c:v>
                </c:pt>
                <c:pt idx="32">
                  <c:v>0.00011039355301650383</c:v>
                </c:pt>
                <c:pt idx="33">
                  <c:v>0.00039227651135422567</c:v>
                </c:pt>
                <c:pt idx="34">
                  <c:v>0.0004630165528417641</c:v>
                </c:pt>
                <c:pt idx="35">
                  <c:v>0.0004770504651242035</c:v>
                </c:pt>
                <c:pt idx="36">
                  <c:v>0.00016523463317911433</c:v>
                </c:pt>
                <c:pt idx="37">
                  <c:v>0.00019287333044023337</c:v>
                </c:pt>
                <c:pt idx="38">
                  <c:v>9.664637092877162e-05</c:v>
                </c:pt>
                <c:pt idx="39">
                  <c:v>0.00020469781485082646</c:v>
                </c:pt>
                <c:pt idx="40">
                  <c:v>8.289468230613006e-05</c:v>
                </c:pt>
                <c:pt idx="41">
                  <c:v>0.0001376399339328317</c:v>
                </c:pt>
                <c:pt idx="42">
                  <c:v>3.913894324853229e-05</c:v>
                </c:pt>
                <c:pt idx="43">
                  <c:v>0.00010425716768027802</c:v>
                </c:pt>
                <c:pt idx="44">
                  <c:v>0.00014063708599957808</c:v>
                </c:pt>
                <c:pt idx="45">
                  <c:v>0.0001060332944544587</c:v>
                </c:pt>
                <c:pt idx="46">
                  <c:v>0.00022583559168925022</c:v>
                </c:pt>
                <c:pt idx="47">
                  <c:v>0.000293581059827626</c:v>
                </c:pt>
                <c:pt idx="48">
                  <c:v>0.00015294027682190105</c:v>
                </c:pt>
                <c:pt idx="49">
                  <c:v>0.00016961550285696112</c:v>
                </c:pt>
                <c:pt idx="50">
                  <c:v>0.0002012477359629704</c:v>
                </c:pt>
                <c:pt idx="51">
                  <c:v>0.0002486139770777913</c:v>
                </c:pt>
                <c:pt idx="52">
                  <c:v>8.450228156160216e-05</c:v>
                </c:pt>
                <c:pt idx="53">
                  <c:v>0.0001316586354899018</c:v>
                </c:pt>
                <c:pt idx="54">
                  <c:v>0.0002624289254993439</c:v>
                </c:pt>
                <c:pt idx="55">
                  <c:v>0.00014956178397295924</c:v>
                </c:pt>
                <c:pt idx="56">
                  <c:v>6.046680372475511e-05</c:v>
                </c:pt>
                <c:pt idx="57">
                  <c:v>0.00010392849719393057</c:v>
                </c:pt>
                <c:pt idx="58">
                  <c:v>9.544716999140975e-05</c:v>
                </c:pt>
                <c:pt idx="59">
                  <c:v>0.0001570869790603057</c:v>
                </c:pt>
                <c:pt idx="60">
                  <c:v>0.0002410260824653525</c:v>
                </c:pt>
                <c:pt idx="61">
                  <c:v>0.00032864621235240263</c:v>
                </c:pt>
                <c:pt idx="62">
                  <c:v>0.00027110679348440006</c:v>
                </c:pt>
                <c:pt idx="63">
                  <c:v>0.00036864849366129393</c:v>
                </c:pt>
                <c:pt idx="64">
                  <c:v>0.0003807615230460922</c:v>
                </c:pt>
                <c:pt idx="65">
                  <c:v>0.00032711808963035657</c:v>
                </c:pt>
                <c:pt idx="66">
                  <c:v>0.0002484135407962783</c:v>
                </c:pt>
                <c:pt idx="67">
                  <c:v>0.0002141174791235458</c:v>
                </c:pt>
                <c:pt idx="68">
                  <c:v>0.0003691608689478915</c:v>
                </c:pt>
                <c:pt idx="69">
                  <c:v>0.00041263410608447746</c:v>
                </c:pt>
                <c:pt idx="70">
                  <c:v>0.0003591051100657162</c:v>
                </c:pt>
                <c:pt idx="71">
                  <c:v>0.0003860854793251226</c:v>
                </c:pt>
                <c:pt idx="72">
                  <c:v>0.00040169442009932807</c:v>
                </c:pt>
                <c:pt idx="73">
                  <c:v>0.0007383515330509462</c:v>
                </c:pt>
                <c:pt idx="74">
                  <c:v>0.0007898597058712905</c:v>
                </c:pt>
                <c:pt idx="75">
                  <c:v>0.0007884708046782601</c:v>
                </c:pt>
                <c:pt idx="76">
                  <c:v>0.0010745153001635132</c:v>
                </c:pt>
                <c:pt idx="77">
                  <c:v>0.0011077397293262053</c:v>
                </c:pt>
                <c:pt idx="78">
                  <c:v>0.0018812147272238647</c:v>
                </c:pt>
                <c:pt idx="79">
                  <c:v>0.0011912703707233393</c:v>
                </c:pt>
                <c:pt idx="80">
                  <c:v>0.0011436195558944058</c:v>
                </c:pt>
                <c:pt idx="81">
                  <c:v>0.0016303240269003464</c:v>
                </c:pt>
                <c:pt idx="82">
                  <c:v>0.0013089005235602095</c:v>
                </c:pt>
                <c:pt idx="83">
                  <c:v>0.001287395782246199</c:v>
                </c:pt>
                <c:pt idx="84">
                  <c:v>0.0012380068090374497</c:v>
                </c:pt>
                <c:pt idx="85">
                  <c:v>0.0011462256427050926</c:v>
                </c:pt>
                <c:pt idx="86">
                  <c:v>0.0010637427379101548</c:v>
                </c:pt>
                <c:pt idx="87">
                  <c:v>0.0009602827072290082</c:v>
                </c:pt>
                <c:pt idx="88">
                  <c:v>0.001459356910054969</c:v>
                </c:pt>
                <c:pt idx="89">
                  <c:v>0.0018212984786800943</c:v>
                </c:pt>
                <c:pt idx="90">
                  <c:v>0.0017051705170517053</c:v>
                </c:pt>
                <c:pt idx="91">
                  <c:v>0.0016994158258098779</c:v>
                </c:pt>
                <c:pt idx="92">
                  <c:v>0.0014476709529081156</c:v>
                </c:pt>
                <c:pt idx="93">
                  <c:v>0.0014341911162104573</c:v>
                </c:pt>
                <c:pt idx="94">
                  <c:v>0.0013409784518634976</c:v>
                </c:pt>
                <c:pt idx="95">
                  <c:v>0.0015918173812910655</c:v>
                </c:pt>
                <c:pt idx="96">
                  <c:v>0.0021358186495801174</c:v>
                </c:pt>
                <c:pt idx="97">
                  <c:v>0.0024340169746227274</c:v>
                </c:pt>
                <c:pt idx="98">
                  <c:v>0.002288203851504723</c:v>
                </c:pt>
                <c:pt idx="99">
                  <c:v>0.0021538071709109336</c:v>
                </c:pt>
                <c:pt idx="100">
                  <c:v>0.0016596553909986745</c:v>
                </c:pt>
                <c:pt idx="101">
                  <c:v>0.002235498931708475</c:v>
                </c:pt>
                <c:pt idx="102">
                  <c:v>0.0018664144933306789</c:v>
                </c:pt>
                <c:pt idx="103">
                  <c:v>0.001825415399017084</c:v>
                </c:pt>
                <c:pt idx="104">
                  <c:v>0.0013566680233346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numCache>
            </c:numRef>
          </c:xVal>
          <c:yVal>
            <c:numRef>
              <c:f>Sheet1!$B$109:$B$160</c:f>
              <c:numCache>
                <c:formatCode>General</c:formatCode>
                <c:ptCount val="52"/>
                <c:pt idx="0">
                  <c:v>0.001457509881422925</c:v>
                </c:pt>
                <c:pt idx="1">
                  <c:v>0.0017574231455251286</c:v>
                </c:pt>
                <c:pt idx="2">
                  <c:v>0.0015984203845611396</c:v>
                </c:pt>
                <c:pt idx="3">
                  <c:v>0.0016922064491868007</c:v>
                </c:pt>
                <c:pt idx="4">
                  <c:v>0.0016828857832735787</c:v>
                </c:pt>
                <c:pt idx="5">
                  <c:v>0.0014700117600940808</c:v>
                </c:pt>
                <c:pt idx="6">
                  <c:v>0.0015873015873015873</c:v>
                </c:pt>
                <c:pt idx="7">
                  <c:v>0.0018249897737641987</c:v>
                </c:pt>
                <c:pt idx="8">
                  <c:v>0.002156697556866049</c:v>
                </c:pt>
                <c:pt idx="9">
                  <c:v>0.0022656734947237743</c:v>
                </c:pt>
                <c:pt idx="10">
                  <c:v>0.00216855301072394</c:v>
                </c:pt>
                <c:pt idx="11">
                  <c:v>0.002222671246716508</c:v>
                </c:pt>
                <c:pt idx="12">
                  <c:v>0.0022723829722769277</c:v>
                </c:pt>
                <c:pt idx="13">
                  <c:v>0.003267112820783053</c:v>
                </c:pt>
                <c:pt idx="14">
                  <c:v>0.003253449527959332</c:v>
                </c:pt>
                <c:pt idx="15">
                  <c:v>0.0030752982107355863</c:v>
                </c:pt>
                <c:pt idx="16">
                  <c:v>0.003027027027027027</c:v>
                </c:pt>
                <c:pt idx="17">
                  <c:v>0.0038471693131671256</c:v>
                </c:pt>
                <c:pt idx="18">
                  <c:v>0.0021012241914854742</c:v>
                </c:pt>
                <c:pt idx="19">
                  <c:v>0.0018450184501845018</c:v>
                </c:pt>
                <c:pt idx="20">
                  <c:v>0.0021869619840863617</c:v>
                </c:pt>
                <c:pt idx="21">
                  <c:v>0.0031607378886270906</c:v>
                </c:pt>
                <c:pt idx="22">
                  <c:v>0.0026081533140556784</c:v>
                </c:pt>
                <c:pt idx="23">
                  <c:v>0.002629118953026408</c:v>
                </c:pt>
                <c:pt idx="24">
                  <c:v>0.002383144667713806</c:v>
                </c:pt>
                <c:pt idx="25">
                  <c:v>0.0025560920193126954</c:v>
                </c:pt>
                <c:pt idx="26">
                  <c:v>0.00275974025974026</c:v>
                </c:pt>
                <c:pt idx="27">
                  <c:v>0.00279452860714811</c:v>
                </c:pt>
                <c:pt idx="28">
                  <c:v>0.002308341101788964</c:v>
                </c:pt>
                <c:pt idx="29">
                  <c:v>0.0026159841973199508</c:v>
                </c:pt>
                <c:pt idx="30">
                  <c:v>0.0025581136692247805</c:v>
                </c:pt>
                <c:pt idx="31">
                  <c:v>0.0026047976738551005</c:v>
                </c:pt>
                <c:pt idx="32">
                  <c:v>0.0022266991835436325</c:v>
                </c:pt>
                <c:pt idx="33">
                  <c:v>0.002169677647892313</c:v>
                </c:pt>
                <c:pt idx="34">
                  <c:v>0.0019911428473342718</c:v>
                </c:pt>
                <c:pt idx="35">
                  <c:v>0.0024312852845427948</c:v>
                </c:pt>
                <c:pt idx="36">
                  <c:v>0.0030529392659954533</c:v>
                </c:pt>
                <c:pt idx="37">
                  <c:v>0.0030101302460202603</c:v>
                </c:pt>
                <c:pt idx="38">
                  <c:v>0.0035083160083160085</c:v>
                </c:pt>
                <c:pt idx="39">
                  <c:v>0.0032721582017356666</c:v>
                </c:pt>
                <c:pt idx="40">
                  <c:v>0.0030994124994217515</c:v>
                </c:pt>
                <c:pt idx="41">
                  <c:v>0.0025199860966284324</c:v>
                </c:pt>
                <c:pt idx="42">
                  <c:v>0.002878750914857282</c:v>
                </c:pt>
                <c:pt idx="43">
                  <c:v>0.0021096292058497513</c:v>
                </c:pt>
                <c:pt idx="44">
                  <c:v>0.0015517493778363343</c:v>
                </c:pt>
                <c:pt idx="45">
                  <c:v>0.001299645351014384</c:v>
                </c:pt>
                <c:pt idx="46">
                  <c:v>0.0013464635530797053</c:v>
                </c:pt>
                <c:pt idx="47">
                  <c:v>0.0013384558185648779</c:v>
                </c:pt>
                <c:pt idx="48">
                  <c:v>0.0014958863126402393</c:v>
                </c:pt>
                <c:pt idx="49">
                  <c:v>0.0013139124558900817</c:v>
                </c:pt>
                <c:pt idx="50">
                  <c:v>0.0011037664479803555</c:v>
                </c:pt>
                <c:pt idx="51">
                  <c:v>0.001310869471784071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3614.923680821968</c:v>
                </c:pt>
              </c:numCache>
            </c:numRef>
          </c:xVal>
          <c:yVal>
            <c:numRef>
              <c:f>Sheet1!$B$163:$B$164</c:f>
              <c:numCache>
                <c:formatCode>General</c:formatCode>
                <c:ptCount val="2"/>
                <c:pt idx="0">
                  <c:v>0.0026687138568074384</c:v>
                </c:pt>
                <c:pt idx="1">
                  <c:v>0.002668713856807438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3614.923680821968</c:v>
                </c:pt>
                <c:pt idx="1">
                  <c:v>3614.923680821968</c:v>
                </c:pt>
              </c:numCache>
            </c:numRef>
          </c:xVal>
          <c:yVal>
            <c:numRef>
              <c:f>Sheet1!$B$167:$B$168</c:f>
              <c:numCache>
                <c:formatCode>General</c:formatCode>
                <c:ptCount val="2"/>
                <c:pt idx="0">
                  <c:v>0.002668713856807438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3614.923680821968</c:v>
                </c:pt>
              </c:numCache>
            </c:numRef>
          </c:xVal>
          <c:yVal>
            <c:numRef>
              <c:f>Sheet1!$B$171:$B$172</c:f>
              <c:numCache>
                <c:formatCode>General</c:formatCode>
                <c:ptCount val="2"/>
                <c:pt idx="0">
                  <c:v>0.0026687138568074384</c:v>
                </c:pt>
                <c:pt idx="1">
                  <c:v>0.002668713856807438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3614.923680821968</c:v>
                </c:pt>
                <c:pt idx="1">
                  <c:v>3614.923680821968</c:v>
                </c:pt>
              </c:numCache>
            </c:numRef>
          </c:xVal>
          <c:yVal>
            <c:numRef>
              <c:f>Sheet1!$B$175:$B$176</c:f>
              <c:numCache>
                <c:formatCode>General</c:formatCode>
                <c:ptCount val="2"/>
                <c:pt idx="0">
                  <c:v>0.00266871385680743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4328.89008377117</c:v>
                </c:pt>
              </c:numCache>
            </c:numRef>
          </c:xVal>
          <c:yVal>
            <c:numRef>
              <c:f>Sheet1!$B$179:$B$180</c:f>
              <c:numCache>
                <c:formatCode>General</c:formatCode>
                <c:ptCount val="2"/>
                <c:pt idx="0">
                  <c:v>0.0018954373620986874</c:v>
                </c:pt>
                <c:pt idx="1">
                  <c:v>0.001895437362098687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4328.89008377117</c:v>
                </c:pt>
                <c:pt idx="1">
                  <c:v>4328.89008377117</c:v>
                </c:pt>
              </c:numCache>
            </c:numRef>
          </c:xVal>
          <c:yVal>
            <c:numRef>
              <c:f>Sheet1!$B$183:$B$184</c:f>
              <c:numCache>
                <c:formatCode>General</c:formatCode>
                <c:ptCount val="2"/>
                <c:pt idx="0">
                  <c:v>0.001895437362098687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4330.9153</c:v>
                </c:pt>
                <c:pt idx="1">
                  <c:v>3732.9104</c:v>
                </c:pt>
                <c:pt idx="2">
                  <c:v>4359.5735</c:v>
                </c:pt>
                <c:pt idx="3">
                  <c:v>3796.0139</c:v>
                </c:pt>
                <c:pt idx="4">
                  <c:v>4461.058</c:v>
                </c:pt>
                <c:pt idx="5">
                  <c:v>4744.9</c:v>
                </c:pt>
                <c:pt idx="6">
                  <c:v>4538.6957</c:v>
                </c:pt>
                <c:pt idx="7">
                  <c:v>4505.569</c:v>
                </c:pt>
                <c:pt idx="8">
                  <c:v>4234.6719</c:v>
                </c:pt>
                <c:pt idx="9">
                  <c:v>4097.9315</c:v>
                </c:pt>
                <c:pt idx="10">
                  <c:v>4142.9041</c:v>
                </c:pt>
                <c:pt idx="11">
                  <c:v>4086.0606</c:v>
                </c:pt>
                <c:pt idx="12">
                  <c:v>3760.9111</c:v>
                </c:pt>
                <c:pt idx="13">
                  <c:v>3440.7016</c:v>
                </c:pt>
                <c:pt idx="14">
                  <c:v>3486.1071</c:v>
                </c:pt>
                <c:pt idx="15">
                  <c:v>3737.2828</c:v>
                </c:pt>
                <c:pt idx="16">
                  <c:v>3920.8929</c:v>
                </c:pt>
                <c:pt idx="17">
                  <c:v>3023.2255</c:v>
                </c:pt>
                <c:pt idx="18">
                  <c:v>4268.6957</c:v>
                </c:pt>
                <c:pt idx="19">
                  <c:v>4604.3409</c:v>
                </c:pt>
                <c:pt idx="20">
                  <c:v>4438.2553</c:v>
                </c:pt>
                <c:pt idx="21">
                  <c:v>3607.1818</c:v>
                </c:pt>
                <c:pt idx="22">
                  <c:v>3963.4783</c:v>
                </c:pt>
                <c:pt idx="23">
                  <c:v>3214.3333</c:v>
                </c:pt>
                <c:pt idx="24">
                  <c:v>4149.2955</c:v>
                </c:pt>
                <c:pt idx="25">
                  <c:v>3871.0889</c:v>
                </c:pt>
                <c:pt idx="26">
                  <c:v>3893.2353</c:v>
                </c:pt>
                <c:pt idx="27">
                  <c:v>3645.9825</c:v>
                </c:pt>
                <c:pt idx="28">
                  <c:v>3740.0577</c:v>
                </c:pt>
                <c:pt idx="29">
                  <c:v>3729.3673</c:v>
                </c:pt>
                <c:pt idx="30">
                  <c:v>3645.0217</c:v>
                </c:pt>
                <c:pt idx="31">
                  <c:v>3971.7907</c:v>
                </c:pt>
                <c:pt idx="32">
                  <c:v>4458.2381</c:v>
                </c:pt>
                <c:pt idx="33">
                  <c:v>4344.4286</c:v>
                </c:pt>
                <c:pt idx="34">
                  <c:v>4455.1379</c:v>
                </c:pt>
                <c:pt idx="35">
                  <c:v>4151.5932</c:v>
                </c:pt>
                <c:pt idx="36">
                  <c:v>4134.7872</c:v>
                </c:pt>
                <c:pt idx="37">
                  <c:v>4184.0192</c:v>
                </c:pt>
                <c:pt idx="38">
                  <c:v>3670.2407</c:v>
                </c:pt>
                <c:pt idx="39">
                  <c:v>3332.8116</c:v>
                </c:pt>
                <c:pt idx="40">
                  <c:v>3221.4179</c:v>
                </c:pt>
                <c:pt idx="41">
                  <c:v>3531.5862</c:v>
                </c:pt>
                <c:pt idx="42">
                  <c:v>3362.7797</c:v>
                </c:pt>
                <c:pt idx="43">
                  <c:v>3605.8136</c:v>
                </c:pt>
                <c:pt idx="44">
                  <c:v>4128.1132</c:v>
                </c:pt>
                <c:pt idx="45">
                  <c:v>4224.3559</c:v>
                </c:pt>
                <c:pt idx="46">
                  <c:v>4458.8431</c:v>
                </c:pt>
                <c:pt idx="47">
                  <c:v>4052.8704</c:v>
                </c:pt>
                <c:pt idx="48">
                  <c:v>3755.6111</c:v>
                </c:pt>
                <c:pt idx="49">
                  <c:v>3823.7286</c:v>
                </c:pt>
                <c:pt idx="50">
                  <c:v>4032.3146</c:v>
                </c:pt>
                <c:pt idx="51">
                  <c:v>4374.1311</c:v>
                </c:pt>
                <c:pt idx="52">
                  <c:v>3614.923680821968</c:v>
                </c:pt>
                <c:pt idx="53">
                  <c:v>3614.923680821968</c:v>
                </c:pt>
                <c:pt idx="54">
                  <c:v>4328.89008377117</c:v>
                </c:pt>
              </c:numCache>
            </c:numRef>
          </c:xVal>
          <c:yVal>
            <c:numRef>
              <c:f>Sheet1!$B$187:$B$241</c:f>
              <c:numCache>
                <c:formatCode>General</c:formatCode>
                <c:ptCount val="55"/>
                <c:pt idx="0">
                  <c:v>0.0018932439085972514</c:v>
                </c:pt>
                <c:pt idx="1">
                  <c:v>0.0025409258316968697</c:v>
                </c:pt>
                <c:pt idx="2">
                  <c:v>0.0018622050356907347</c:v>
                </c:pt>
                <c:pt idx="3">
                  <c:v>0.002472580244170218</c:v>
                </c:pt>
                <c:pt idx="4">
                  <c:v>0.001752290089969047</c:v>
                </c:pt>
                <c:pt idx="5">
                  <c:v>0.0014448689761680702</c:v>
                </c:pt>
                <c:pt idx="6">
                  <c:v>0.00166820292807283</c:v>
                </c:pt>
                <c:pt idx="7">
                  <c:v>0.001704081504923862</c:v>
                </c:pt>
                <c:pt idx="8">
                  <c:v>0.001997482369515624</c:v>
                </c:pt>
                <c:pt idx="9">
                  <c:v>0.0021455819674242897</c:v>
                </c:pt>
                <c:pt idx="10">
                  <c:v>0.0020968734366835044</c:v>
                </c:pt>
                <c:pt idx="11">
                  <c:v>0.002158438998095649</c:v>
                </c:pt>
                <c:pt idx="12">
                  <c:v>0.002510599078146631</c:v>
                </c:pt>
                <c:pt idx="13">
                  <c:v>0.0028574087861519795</c:v>
                </c:pt>
                <c:pt idx="14">
                  <c:v>0.0028082313938608797</c:v>
                </c:pt>
                <c:pt idx="15">
                  <c:v>0.002536190210900852</c:v>
                </c:pt>
                <c:pt idx="16">
                  <c:v>0.002337327387755902</c:v>
                </c:pt>
                <c:pt idx="17">
                  <c:v>0.0033095651535933316</c:v>
                </c:pt>
                <c:pt idx="18">
                  <c:v>0.0019606321694333895</c:v>
                </c:pt>
                <c:pt idx="19">
                  <c:v>0.0015971044983137108</c:v>
                </c:pt>
                <c:pt idx="20">
                  <c:v>0.001776987039087464</c:v>
                </c:pt>
                <c:pt idx="21">
                  <c:v>0.0026770988654573344</c:v>
                </c:pt>
                <c:pt idx="22">
                  <c:v>0.0022912043647372498</c:v>
                </c:pt>
                <c:pt idx="23">
                  <c:v>0.003102581787030052</c:v>
                </c:pt>
                <c:pt idx="24">
                  <c:v>0.0020899510950048673</c:v>
                </c:pt>
                <c:pt idx="25">
                  <c:v>0.002391268669003018</c:v>
                </c:pt>
                <c:pt idx="26">
                  <c:v>0.0023672825395553605</c:v>
                </c:pt>
                <c:pt idx="27">
                  <c:v>0.002635074942252672</c:v>
                </c:pt>
                <c:pt idx="28">
                  <c:v>0.0025331847964495504</c:v>
                </c:pt>
                <c:pt idx="29">
                  <c:v>0.002544763261493406</c:v>
                </c:pt>
                <c:pt idx="30">
                  <c:v>0.0026361155571234104</c:v>
                </c:pt>
                <c:pt idx="31">
                  <c:v>0.002282201443159896</c:v>
                </c:pt>
                <c:pt idx="32">
                  <c:v>0.0017553442426272428</c:v>
                </c:pt>
                <c:pt idx="33">
                  <c:v>0.001878608041681407</c:v>
                </c:pt>
                <c:pt idx="34">
                  <c:v>0.0017587019801608202</c:v>
                </c:pt>
                <c:pt idx="35">
                  <c:v>0.002087462522160889</c:v>
                </c:pt>
                <c:pt idx="36">
                  <c:v>0.0021056646178286877</c:v>
                </c:pt>
                <c:pt idx="37">
                  <c:v>0.0020523428533447503</c:v>
                </c:pt>
                <c:pt idx="38">
                  <c:v>0.00260880158290907</c:v>
                </c:pt>
                <c:pt idx="39">
                  <c:v>0.0029742613448571304</c:v>
                </c:pt>
                <c:pt idx="40">
                  <c:v>0.0030949086603510034</c:v>
                </c:pt>
                <c:pt idx="41">
                  <c:v>0.0027589742875247275</c:v>
                </c:pt>
                <c:pt idx="42">
                  <c:v>0.0029418037569015104</c:v>
                </c:pt>
                <c:pt idx="43">
                  <c:v>0.002678580723561147</c:v>
                </c:pt>
                <c:pt idx="44">
                  <c:v>0.0021128930354466155</c:v>
                </c:pt>
                <c:pt idx="45">
                  <c:v>0.002008655332678127</c:v>
                </c:pt>
                <c:pt idx="46">
                  <c:v>0.0017546889845123414</c:v>
                </c:pt>
                <c:pt idx="47">
                  <c:v>0.002194386349971964</c:v>
                </c:pt>
                <c:pt idx="48">
                  <c:v>0.0025163393558474117</c:v>
                </c:pt>
                <c:pt idx="49">
                  <c:v>0.0024425632490015685</c:v>
                </c:pt>
                <c:pt idx="50">
                  <c:v>0.0022166497462666286</c:v>
                </c:pt>
                <c:pt idx="51">
                  <c:v>0.0018464381174535856</c:v>
                </c:pt>
                <c:pt idx="52">
                  <c:v>0.002668713856807438</c:v>
                </c:pt>
                <c:pt idx="53">
                  <c:v>0.002668713856807438</c:v>
                </c:pt>
                <c:pt idx="54">
                  <c:v>0.001895437362098687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62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4616603175800551"/>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6</c:f>
              <c:numCache>
                <c:formatCode>General</c:formatCode>
                <c:ptCount val="55"/>
                <c:pt idx="0">
                  <c:v>854.0485</c:v>
                </c:pt>
                <c:pt idx="1">
                  <c:v>870.4658</c:v>
                </c:pt>
                <c:pt idx="2">
                  <c:v>870.4203</c:v>
                </c:pt>
                <c:pt idx="3">
                  <c:v>873.5816</c:v>
                </c:pt>
                <c:pt idx="4">
                  <c:v>865.2667</c:v>
                </c:pt>
                <c:pt idx="5">
                  <c:v>858.8903</c:v>
                </c:pt>
                <c:pt idx="6">
                  <c:v>851.4944</c:v>
                </c:pt>
                <c:pt idx="7">
                  <c:v>809.2783</c:v>
                </c:pt>
                <c:pt idx="8">
                  <c:v>826.7244</c:v>
                </c:pt>
                <c:pt idx="9">
                  <c:v>758.508</c:v>
                </c:pt>
                <c:pt idx="10">
                  <c:v>744.8766</c:v>
                </c:pt>
                <c:pt idx="11">
                  <c:v>867.9426</c:v>
                </c:pt>
                <c:pt idx="12">
                  <c:v>856.6578</c:v>
                </c:pt>
                <c:pt idx="13">
                  <c:v>868.0583</c:v>
                </c:pt>
                <c:pt idx="14">
                  <c:v>867.2338</c:v>
                </c:pt>
                <c:pt idx="15">
                  <c:v>864.9086</c:v>
                </c:pt>
                <c:pt idx="16">
                  <c:v>870.3212</c:v>
                </c:pt>
                <c:pt idx="17">
                  <c:v>876.5145</c:v>
                </c:pt>
                <c:pt idx="18">
                  <c:v>878.9038</c:v>
                </c:pt>
                <c:pt idx="19">
                  <c:v>876.4737</c:v>
                </c:pt>
                <c:pt idx="20">
                  <c:v>841.8519</c:v>
                </c:pt>
                <c:pt idx="21">
                  <c:v>738.6071</c:v>
                </c:pt>
                <c:pt idx="22">
                  <c:v>715.5493</c:v>
                </c:pt>
                <c:pt idx="23">
                  <c:v>569.95</c:v>
                </c:pt>
                <c:pt idx="24">
                  <c:v>316.7329</c:v>
                </c:pt>
                <c:pt idx="25">
                  <c:v>622.1915</c:v>
                </c:pt>
                <c:pt idx="26">
                  <c:v>641.4524</c:v>
                </c:pt>
                <c:pt idx="27">
                  <c:v>707.2973</c:v>
                </c:pt>
                <c:pt idx="28">
                  <c:v>825.0</c:v>
                </c:pt>
                <c:pt idx="29">
                  <c:v>962.5385</c:v>
                </c:pt>
                <c:pt idx="30">
                  <c:v>872.7333</c:v>
                </c:pt>
                <c:pt idx="31">
                  <c:v>863.4</c:v>
                </c:pt>
                <c:pt idx="32">
                  <c:v>961.1111</c:v>
                </c:pt>
                <c:pt idx="33">
                  <c:v>893.8333</c:v>
                </c:pt>
                <c:pt idx="34">
                  <c:v>782.125</c:v>
                </c:pt>
                <c:pt idx="35">
                  <c:v>847.9231</c:v>
                </c:pt>
                <c:pt idx="36">
                  <c:v>879.8235</c:v>
                </c:pt>
                <c:pt idx="37">
                  <c:v>943.5294</c:v>
                </c:pt>
                <c:pt idx="38">
                  <c:v>847.7333</c:v>
                </c:pt>
                <c:pt idx="39">
                  <c:v>817.8</c:v>
                </c:pt>
                <c:pt idx="40">
                  <c:v>951.3333</c:v>
                </c:pt>
                <c:pt idx="41">
                  <c:v>1037.125</c:v>
                </c:pt>
                <c:pt idx="42">
                  <c:v>749.4706</c:v>
                </c:pt>
                <c:pt idx="43">
                  <c:v>742.4583</c:v>
                </c:pt>
                <c:pt idx="44">
                  <c:v>890.9231</c:v>
                </c:pt>
                <c:pt idx="45">
                  <c:v>870.8571</c:v>
                </c:pt>
                <c:pt idx="46">
                  <c:v>829.75</c:v>
                </c:pt>
                <c:pt idx="47">
                  <c:v>831.4167</c:v>
                </c:pt>
                <c:pt idx="48">
                  <c:v>786.35</c:v>
                </c:pt>
                <c:pt idx="49">
                  <c:v>610.875</c:v>
                </c:pt>
                <c:pt idx="50">
                  <c:v>691.487</c:v>
                </c:pt>
                <c:pt idx="51">
                  <c:v>661.0</c:v>
                </c:pt>
                <c:pt idx="52">
                  <c:v>885.913</c:v>
                </c:pt>
                <c:pt idx="53">
                  <c:v>870.3182</c:v>
                </c:pt>
                <c:pt idx="54">
                  <c:v>827.5</c:v>
                </c:pt>
              </c:numCache>
            </c:numRef>
          </c:xVal>
          <c:yVal>
            <c:numRef>
              <c:f>Sheet1!$B$2:$B$56</c:f>
              <c:numCache>
                <c:formatCode>General</c:formatCode>
                <c:ptCount val="55"/>
                <c:pt idx="0">
                  <c:v>0.9935691318327974</c:v>
                </c:pt>
                <c:pt idx="1">
                  <c:v>0.9864864864864865</c:v>
                </c:pt>
                <c:pt idx="2">
                  <c:v>0.9928057553956835</c:v>
                </c:pt>
                <c:pt idx="3">
                  <c:v>0.991701244813278</c:v>
                </c:pt>
                <c:pt idx="4">
                  <c:v>0.9836065573770492</c:v>
                </c:pt>
                <c:pt idx="5">
                  <c:v>0.9810126582278481</c:v>
                </c:pt>
                <c:pt idx="6">
                  <c:v>0.978021978021978</c:v>
                </c:pt>
                <c:pt idx="7">
                  <c:v>0.9906542056074766</c:v>
                </c:pt>
                <c:pt idx="8">
                  <c:v>0.982532751091703</c:v>
                </c:pt>
                <c:pt idx="9">
                  <c:v>0.9954441913439636</c:v>
                </c:pt>
                <c:pt idx="10">
                  <c:v>0.9921875</c:v>
                </c:pt>
                <c:pt idx="11">
                  <c:v>0.9858490566037735</c:v>
                </c:pt>
                <c:pt idx="12">
                  <c:v>0.9842105263157894</c:v>
                </c:pt>
                <c:pt idx="13">
                  <c:v>0.9737991266375546</c:v>
                </c:pt>
                <c:pt idx="14">
                  <c:v>0.9757281553398058</c:v>
                </c:pt>
                <c:pt idx="15">
                  <c:v>0.9831460674157303</c:v>
                </c:pt>
                <c:pt idx="16">
                  <c:v>0.9846938775510204</c:v>
                </c:pt>
                <c:pt idx="17">
                  <c:v>0.9787234042553191</c:v>
                </c:pt>
                <c:pt idx="18">
                  <c:v>0.9629629629629629</c:v>
                </c:pt>
                <c:pt idx="19">
                  <c:v>0.987012987012987</c:v>
                </c:pt>
                <c:pt idx="20">
                  <c:v>0.9818181818181818</c:v>
                </c:pt>
                <c:pt idx="21">
                  <c:v>0.9655172413793104</c:v>
                </c:pt>
                <c:pt idx="22">
                  <c:v>0.9466666666666667</c:v>
                </c:pt>
                <c:pt idx="23">
                  <c:v>0.9375</c:v>
                </c:pt>
                <c:pt idx="24">
                  <c:v>0.9817073170731707</c:v>
                </c:pt>
                <c:pt idx="25">
                  <c:v>0.94</c:v>
                </c:pt>
                <c:pt idx="26">
                  <c:v>0.9130434782608695</c:v>
                </c:pt>
                <c:pt idx="27">
                  <c:v>0.925</c:v>
                </c:pt>
                <c:pt idx="28">
                  <c:v>0.8421052631578947</c:v>
                </c:pt>
                <c:pt idx="29">
                  <c:v>0.8125</c:v>
                </c:pt>
                <c:pt idx="30">
                  <c:v>0.8333333333333334</c:v>
                </c:pt>
                <c:pt idx="31">
                  <c:v>0.7894736842105263</c:v>
                </c:pt>
                <c:pt idx="32">
                  <c:v>0.5625</c:v>
                </c:pt>
                <c:pt idx="33">
                  <c:v>0.46153846153846156</c:v>
                </c:pt>
                <c:pt idx="34">
                  <c:v>0.6666666666666666</c:v>
                </c:pt>
                <c:pt idx="35">
                  <c:v>0.7647058823529411</c:v>
                </c:pt>
                <c:pt idx="36">
                  <c:v>0.7727272727272727</c:v>
                </c:pt>
                <c:pt idx="37">
                  <c:v>0.6296296296296297</c:v>
                </c:pt>
                <c:pt idx="38">
                  <c:v>0.7142857142857143</c:v>
                </c:pt>
                <c:pt idx="39">
                  <c:v>0.6666666666666666</c:v>
                </c:pt>
                <c:pt idx="40">
                  <c:v>0.75</c:v>
                </c:pt>
                <c:pt idx="41">
                  <c:v>0.42105263157894735</c:v>
                </c:pt>
                <c:pt idx="42">
                  <c:v>0.6296296296296297</c:v>
                </c:pt>
                <c:pt idx="43">
                  <c:v>0.7741935483870968</c:v>
                </c:pt>
                <c:pt idx="44">
                  <c:v>0.5909090909090909</c:v>
                </c:pt>
                <c:pt idx="45">
                  <c:v>0.6666666666666666</c:v>
                </c:pt>
                <c:pt idx="46">
                  <c:v>0.7619047619047619</c:v>
                </c:pt>
                <c:pt idx="47">
                  <c:v>0.8571428571428571</c:v>
                </c:pt>
                <c:pt idx="48">
                  <c:v>0.9090909090909091</c:v>
                </c:pt>
                <c:pt idx="49">
                  <c:v>0.96</c:v>
                </c:pt>
                <c:pt idx="50">
                  <c:v>0.9663865546218487</c:v>
                </c:pt>
                <c:pt idx="51">
                  <c:v>0.9322033898305084</c:v>
                </c:pt>
                <c:pt idx="52">
                  <c:v>0.92</c:v>
                </c:pt>
                <c:pt idx="53">
                  <c:v>0.8461538461538461</c:v>
                </c:pt>
                <c:pt idx="54">
                  <c:v>0.8</c:v>
                </c:pt>
              </c:numCache>
            </c:numRef>
          </c:yVal>
          <c:smooth val="0"/>
          <c:extLst>
            <c:ext xmlns:c16="http://schemas.microsoft.com/office/drawing/2014/chart" uri="{C3380CC4-5D6E-409C-BE32-E72D297353CC}">
              <c16:uniqueId val="{00000000-F32D-48B7-BC20-E66FC6253BAD}"/>
            </c:ext>
          </c:extLst>
        </c:ser>
        <c:ser>
          <c:idx val="1"/>
          <c:order val="1"/>
          <c:tx>
            <c:strRef>
              <c:f>Sheet1!$B$5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9:$A$108</c:f>
              <c:numCache>
                <c:formatCode>General</c:formatCode>
                <c:ptCount val="50"/>
                <c:pt idx="0">
                  <c:v>872.4737</c:v>
                </c:pt>
                <c:pt idx="1">
                  <c:v>889.8182</c:v>
                </c:pt>
                <c:pt idx="2">
                  <c:v>927.2</c:v>
                </c:pt>
                <c:pt idx="3">
                  <c:v>852.6818</c:v>
                </c:pt>
                <c:pt idx="4">
                  <c:v>886.0</c:v>
                </c:pt>
                <c:pt idx="5">
                  <c:v>953.0</c:v>
                </c:pt>
                <c:pt idx="6">
                  <c:v>726.9524</c:v>
                </c:pt>
                <c:pt idx="7">
                  <c:v>913.3793</c:v>
                </c:pt>
                <c:pt idx="8">
                  <c:v>881.5714</c:v>
                </c:pt>
                <c:pt idx="9">
                  <c:v>788.1364</c:v>
                </c:pt>
                <c:pt idx="10">
                  <c:v>861.4359</c:v>
                </c:pt>
                <c:pt idx="11">
                  <c:v>590.3419</c:v>
                </c:pt>
                <c:pt idx="12">
                  <c:v>594.0978</c:v>
                </c:pt>
                <c:pt idx="13">
                  <c:v>848.3846</c:v>
                </c:pt>
                <c:pt idx="14">
                  <c:v>834.6</c:v>
                </c:pt>
                <c:pt idx="15">
                  <c:v>911.35</c:v>
                </c:pt>
                <c:pt idx="16">
                  <c:v>855.0588</c:v>
                </c:pt>
                <c:pt idx="17">
                  <c:v>925.6667</c:v>
                </c:pt>
                <c:pt idx="18">
                  <c:v>1153.8571</c:v>
                </c:pt>
                <c:pt idx="19">
                  <c:v>1819.0</c:v>
                </c:pt>
                <c:pt idx="20">
                  <c:v>1421.4</c:v>
                </c:pt>
                <c:pt idx="21">
                  <c:v>1765.0</c:v>
                </c:pt>
                <c:pt idx="22">
                  <c:v>382.1184</c:v>
                </c:pt>
                <c:pt idx="23">
                  <c:v>374.5111</c:v>
                </c:pt>
                <c:pt idx="24">
                  <c:v>375.9178</c:v>
                </c:pt>
                <c:pt idx="25">
                  <c:v>378.34</c:v>
                </c:pt>
                <c:pt idx="26">
                  <c:v>0.0</c:v>
                </c:pt>
                <c:pt idx="27">
                  <c:v>1615.0</c:v>
                </c:pt>
                <c:pt idx="28">
                  <c:v>0.0</c:v>
                </c:pt>
                <c:pt idx="29">
                  <c:v>0.0</c:v>
                </c:pt>
                <c:pt idx="30">
                  <c:v>0.0</c:v>
                </c:pt>
                <c:pt idx="31">
                  <c:v>0.0</c:v>
                </c:pt>
                <c:pt idx="32">
                  <c:v>1002.0</c:v>
                </c:pt>
                <c:pt idx="33">
                  <c:v>0.0</c:v>
                </c:pt>
                <c:pt idx="34">
                  <c:v>0.0</c:v>
                </c:pt>
                <c:pt idx="35">
                  <c:v>681.6667</c:v>
                </c:pt>
                <c:pt idx="36">
                  <c:v>502.3571</c:v>
                </c:pt>
                <c:pt idx="37">
                  <c:v>427.78</c:v>
                </c:pt>
                <c:pt idx="38">
                  <c:v>477.2432</c:v>
                </c:pt>
                <c:pt idx="39">
                  <c:v>516.5217</c:v>
                </c:pt>
                <c:pt idx="40">
                  <c:v>511.1176</c:v>
                </c:pt>
                <c:pt idx="41">
                  <c:v>487.6154</c:v>
                </c:pt>
                <c:pt idx="42">
                  <c:v>440.8125</c:v>
                </c:pt>
                <c:pt idx="43">
                  <c:v>441.0769</c:v>
                </c:pt>
                <c:pt idx="44">
                  <c:v>450.0</c:v>
                </c:pt>
                <c:pt idx="45">
                  <c:v>434.4706</c:v>
                </c:pt>
                <c:pt idx="46">
                  <c:v>506.1538</c:v>
                </c:pt>
                <c:pt idx="47">
                  <c:v>512.8333</c:v>
                </c:pt>
                <c:pt idx="48">
                  <c:v>484.6667</c:v>
                </c:pt>
                <c:pt idx="49">
                  <c:v>419.5</c:v>
                </c:pt>
              </c:numCache>
            </c:numRef>
          </c:xVal>
          <c:yVal>
            <c:numRef>
              <c:f>Sheet1!$B$59:$B$108</c:f>
              <c:numCache>
                <c:formatCode>General</c:formatCode>
                <c:ptCount val="50"/>
                <c:pt idx="0">
                  <c:v>0.7916666666666666</c:v>
                </c:pt>
                <c:pt idx="1">
                  <c:v>0.8148148148148148</c:v>
                </c:pt>
                <c:pt idx="2">
                  <c:v>0.8928571428571429</c:v>
                </c:pt>
                <c:pt idx="3">
                  <c:v>0.8148148148148148</c:v>
                </c:pt>
                <c:pt idx="4">
                  <c:v>0.8717948717948718</c:v>
                </c:pt>
                <c:pt idx="5">
                  <c:v>0.8235294117647058</c:v>
                </c:pt>
                <c:pt idx="6">
                  <c:v>0.8571428571428571</c:v>
                </c:pt>
                <c:pt idx="7">
                  <c:v>0.9666666666666667</c:v>
                </c:pt>
                <c:pt idx="8">
                  <c:v>0.9032258064516129</c:v>
                </c:pt>
                <c:pt idx="9">
                  <c:v>0.8979591836734694</c:v>
                </c:pt>
                <c:pt idx="10">
                  <c:v>0.8863636363636364</c:v>
                </c:pt>
                <c:pt idx="11">
                  <c:v>0.9512195121951219</c:v>
                </c:pt>
                <c:pt idx="12">
                  <c:v>0.9292929292929293</c:v>
                </c:pt>
                <c:pt idx="13">
                  <c:v>0.8297872340425532</c:v>
                </c:pt>
                <c:pt idx="14">
                  <c:v>0.8571428571428571</c:v>
                </c:pt>
                <c:pt idx="15">
                  <c:v>0.8</c:v>
                </c:pt>
                <c:pt idx="16">
                  <c:v>0.85</c:v>
                </c:pt>
                <c:pt idx="17">
                  <c:v>0.6428571428571429</c:v>
                </c:pt>
                <c:pt idx="18">
                  <c:v>0.7</c:v>
                </c:pt>
                <c:pt idx="19">
                  <c:v>0.35714285714285715</c:v>
                </c:pt>
                <c:pt idx="20">
                  <c:v>0.4166666666666667</c:v>
                </c:pt>
                <c:pt idx="21">
                  <c:v>0.3333333333333333</c:v>
                </c:pt>
                <c:pt idx="22">
                  <c:v>0.95</c:v>
                </c:pt>
                <c:pt idx="23">
                  <c:v>0.9574468085106383</c:v>
                </c:pt>
                <c:pt idx="24">
                  <c:v>0.9240506329113924</c:v>
                </c:pt>
                <c:pt idx="25">
                  <c:v>0.9259259259259259</c:v>
                </c:pt>
                <c:pt idx="26">
                  <c:v>0.0</c:v>
                </c:pt>
                <c:pt idx="27">
                  <c:v>0.14285714285714285</c:v>
                </c:pt>
                <c:pt idx="28">
                  <c:v>0.0</c:v>
                </c:pt>
                <c:pt idx="29">
                  <c:v>0.0</c:v>
                </c:pt>
                <c:pt idx="30">
                  <c:v>0.0</c:v>
                </c:pt>
                <c:pt idx="31">
                  <c:v>0.0</c:v>
                </c:pt>
                <c:pt idx="32">
                  <c:v>0.09090909090909091</c:v>
                </c:pt>
                <c:pt idx="33">
                  <c:v>0.0</c:v>
                </c:pt>
                <c:pt idx="34">
                  <c:v>0.0</c:v>
                </c:pt>
                <c:pt idx="35">
                  <c:v>0.1875</c:v>
                </c:pt>
                <c:pt idx="36">
                  <c:v>0.8076923076923077</c:v>
                </c:pt>
                <c:pt idx="37">
                  <c:v>0.78125</c:v>
                </c:pt>
                <c:pt idx="38">
                  <c:v>0.7115384615384616</c:v>
                </c:pt>
                <c:pt idx="39">
                  <c:v>0.5476190476190477</c:v>
                </c:pt>
                <c:pt idx="40">
                  <c:v>0.53125</c:v>
                </c:pt>
                <c:pt idx="41">
                  <c:v>0.41935483870967744</c:v>
                </c:pt>
                <c:pt idx="42">
                  <c:v>0.43243243243243246</c:v>
                </c:pt>
                <c:pt idx="43">
                  <c:v>0.5306122448979592</c:v>
                </c:pt>
                <c:pt idx="44">
                  <c:v>0.5</c:v>
                </c:pt>
                <c:pt idx="45">
                  <c:v>0.6071428571428571</c:v>
                </c:pt>
                <c:pt idx="46">
                  <c:v>0.48148148148148145</c:v>
                </c:pt>
                <c:pt idx="47">
                  <c:v>0.4444444444444444</c:v>
                </c:pt>
                <c:pt idx="48">
                  <c:v>0.40540540540540543</c:v>
                </c:pt>
                <c:pt idx="49">
                  <c:v>0.35294117647058826</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2492.2653380910842</c:v>
                </c:pt>
              </c:numCache>
            </c:numRef>
          </c:xVal>
          <c:yVal>
            <c:numRef>
              <c:f>Sheet1!$B$111:$B$112</c:f>
              <c:numCache>
                <c:formatCode>General</c:formatCode>
                <c:ptCount val="2"/>
                <c:pt idx="0">
                  <c:v>0.9880020418362058</c:v>
                </c:pt>
                <c:pt idx="1">
                  <c:v>0.9880020418362058</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2492.2653380910842</c:v>
                </c:pt>
                <c:pt idx="1">
                  <c:v>2492.2653380910842</c:v>
                </c:pt>
              </c:numCache>
            </c:numRef>
          </c:xVal>
          <c:yVal>
            <c:numRef>
              <c:f>Sheet1!$B$115:$B$116</c:f>
              <c:numCache>
                <c:formatCode>General</c:formatCode>
                <c:ptCount val="2"/>
                <c:pt idx="0">
                  <c:v>0.988002041836205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1916.015388019105</c:v>
                </c:pt>
              </c:numCache>
            </c:numRef>
          </c:xVal>
          <c:yVal>
            <c:numRef>
              <c:f>Sheet1!$B$119:$B$120</c:f>
              <c:numCache>
                <c:formatCode>General</c:formatCode>
                <c:ptCount val="2"/>
                <c:pt idx="0">
                  <c:v>0.8596125614415726</c:v>
                </c:pt>
                <c:pt idx="1">
                  <c:v>0.8596125614415726</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1916.015388019105</c:v>
                </c:pt>
                <c:pt idx="1">
                  <c:v>1916.015388019105</c:v>
                </c:pt>
              </c:numCache>
            </c:numRef>
          </c:xVal>
          <c:yVal>
            <c:numRef>
              <c:f>Sheet1!$B$123:$B$124</c:f>
              <c:numCache>
                <c:formatCode>General</c:formatCode>
                <c:ptCount val="2"/>
                <c:pt idx="0">
                  <c:v>0.859612561441572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386.7180876494168</c:v>
                </c:pt>
              </c:numCache>
            </c:numRef>
          </c:xVal>
          <c:yVal>
            <c:numRef>
              <c:f>Sheet1!$B$127:$B$128</c:f>
              <c:numCache>
                <c:formatCode>General</c:formatCode>
                <c:ptCount val="2"/>
                <c:pt idx="0">
                  <c:v>0.5188824915494119</c:v>
                </c:pt>
                <c:pt idx="1">
                  <c:v>0.5188824915494119</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386.7180876494168</c:v>
                </c:pt>
                <c:pt idx="1">
                  <c:v>386.7180876494168</c:v>
                </c:pt>
              </c:numCache>
            </c:numRef>
          </c:xVal>
          <c:yVal>
            <c:numRef>
              <c:f>Sheet1!$B$131:$B$132</c:f>
              <c:numCache>
                <c:formatCode>General</c:formatCode>
                <c:ptCount val="2"/>
                <c:pt idx="0">
                  <c:v>0.518882491549411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7</c:f>
              <c:numCache>
                <c:formatCode>General</c:formatCode>
                <c:ptCount val="53"/>
                <c:pt idx="0">
                  <c:v>872.4737</c:v>
                </c:pt>
                <c:pt idx="1">
                  <c:v>889.8182</c:v>
                </c:pt>
                <c:pt idx="2">
                  <c:v>927.2</c:v>
                </c:pt>
                <c:pt idx="3">
                  <c:v>852.6818</c:v>
                </c:pt>
                <c:pt idx="4">
                  <c:v>886.0</c:v>
                </c:pt>
                <c:pt idx="5">
                  <c:v>953.0</c:v>
                </c:pt>
                <c:pt idx="6">
                  <c:v>726.9524</c:v>
                </c:pt>
                <c:pt idx="7">
                  <c:v>913.3793</c:v>
                </c:pt>
                <c:pt idx="8">
                  <c:v>881.5714</c:v>
                </c:pt>
                <c:pt idx="9">
                  <c:v>788.1364</c:v>
                </c:pt>
                <c:pt idx="10">
                  <c:v>861.4359</c:v>
                </c:pt>
                <c:pt idx="11">
                  <c:v>590.3419</c:v>
                </c:pt>
                <c:pt idx="12">
                  <c:v>594.0978</c:v>
                </c:pt>
                <c:pt idx="13">
                  <c:v>848.3846</c:v>
                </c:pt>
                <c:pt idx="14">
                  <c:v>834.6</c:v>
                </c:pt>
                <c:pt idx="15">
                  <c:v>911.35</c:v>
                </c:pt>
                <c:pt idx="16">
                  <c:v>855.0588</c:v>
                </c:pt>
                <c:pt idx="17">
                  <c:v>925.6667</c:v>
                </c:pt>
                <c:pt idx="18">
                  <c:v>1153.8571</c:v>
                </c:pt>
                <c:pt idx="19">
                  <c:v>1819.0</c:v>
                </c:pt>
                <c:pt idx="20">
                  <c:v>1421.4</c:v>
                </c:pt>
                <c:pt idx="21">
                  <c:v>1765.0</c:v>
                </c:pt>
                <c:pt idx="22">
                  <c:v>382.1184</c:v>
                </c:pt>
                <c:pt idx="23">
                  <c:v>374.5111</c:v>
                </c:pt>
                <c:pt idx="24">
                  <c:v>375.9178</c:v>
                </c:pt>
                <c:pt idx="25">
                  <c:v>378.34</c:v>
                </c:pt>
                <c:pt idx="26">
                  <c:v>0.0</c:v>
                </c:pt>
                <c:pt idx="27">
                  <c:v>1615.0</c:v>
                </c:pt>
                <c:pt idx="28">
                  <c:v>0.0</c:v>
                </c:pt>
                <c:pt idx="29">
                  <c:v>0.0</c:v>
                </c:pt>
                <c:pt idx="30">
                  <c:v>0.0</c:v>
                </c:pt>
                <c:pt idx="31">
                  <c:v>0.0</c:v>
                </c:pt>
                <c:pt idx="32">
                  <c:v>1002.0</c:v>
                </c:pt>
                <c:pt idx="33">
                  <c:v>0.0</c:v>
                </c:pt>
                <c:pt idx="34">
                  <c:v>0.0</c:v>
                </c:pt>
                <c:pt idx="35">
                  <c:v>681.6667</c:v>
                </c:pt>
                <c:pt idx="36">
                  <c:v>502.3571</c:v>
                </c:pt>
                <c:pt idx="37">
                  <c:v>427.78</c:v>
                </c:pt>
                <c:pt idx="38">
                  <c:v>477.2432</c:v>
                </c:pt>
                <c:pt idx="39">
                  <c:v>516.5217</c:v>
                </c:pt>
                <c:pt idx="40">
                  <c:v>511.1176</c:v>
                </c:pt>
                <c:pt idx="41">
                  <c:v>487.6154</c:v>
                </c:pt>
                <c:pt idx="42">
                  <c:v>440.8125</c:v>
                </c:pt>
                <c:pt idx="43">
                  <c:v>441.0769</c:v>
                </c:pt>
                <c:pt idx="44">
                  <c:v>450.0</c:v>
                </c:pt>
                <c:pt idx="45">
                  <c:v>434.4706</c:v>
                </c:pt>
                <c:pt idx="46">
                  <c:v>506.1538</c:v>
                </c:pt>
                <c:pt idx="47">
                  <c:v>512.8333</c:v>
                </c:pt>
                <c:pt idx="48">
                  <c:v>484.6667</c:v>
                </c:pt>
                <c:pt idx="49">
                  <c:v>419.5</c:v>
                </c:pt>
                <c:pt idx="50">
                  <c:v>1916.015388019105</c:v>
                </c:pt>
                <c:pt idx="51">
                  <c:v>2492.2653380910842</c:v>
                </c:pt>
                <c:pt idx="52">
                  <c:v>386.7180876494168</c:v>
                </c:pt>
              </c:numCache>
            </c:numRef>
          </c:xVal>
          <c:yVal>
            <c:numRef>
              <c:f>Sheet1!$B$135:$B$187</c:f>
              <c:numCache>
                <c:formatCode>General</c:formatCode>
                <c:ptCount val="53"/>
                <c:pt idx="0">
                  <c:v>0.6271096777915594</c:v>
                </c:pt>
                <c:pt idx="1">
                  <c:v>0.6309740622351963</c:v>
                </c:pt>
                <c:pt idx="2">
                  <c:v>0.6393027915958089</c:v>
                </c:pt>
                <c:pt idx="3">
                  <c:v>0.6227000084168286</c:v>
                </c:pt>
                <c:pt idx="4">
                  <c:v>0.6301233607054494</c:v>
                </c:pt>
                <c:pt idx="5">
                  <c:v>0.6450510759883157</c:v>
                </c:pt>
                <c:pt idx="6">
                  <c:v>0.5946872817618194</c:v>
                </c:pt>
                <c:pt idx="7">
                  <c:v>0.6362235158553625</c:v>
                </c:pt>
                <c:pt idx="8">
                  <c:v>0.629136661005424</c:v>
                </c:pt>
                <c:pt idx="9">
                  <c:v>0.6083191822374447</c:v>
                </c:pt>
                <c:pt idx="10">
                  <c:v>0.6246504369594814</c:v>
                </c:pt>
                <c:pt idx="11">
                  <c:v>0.5642502273043567</c:v>
                </c:pt>
                <c:pt idx="12">
                  <c:v>0.5650870482869077</c:v>
                </c:pt>
                <c:pt idx="13">
                  <c:v>0.6217425848628952</c:v>
                </c:pt>
                <c:pt idx="14">
                  <c:v>0.6186713522645639</c:v>
                </c:pt>
                <c:pt idx="15">
                  <c:v>0.6357713843236682</c:v>
                </c:pt>
                <c:pt idx="16">
                  <c:v>0.6232296081067894</c:v>
                </c:pt>
                <c:pt idx="17">
                  <c:v>0.6389611697175519</c:v>
                </c:pt>
                <c:pt idx="18">
                  <c:v>0.6898023834710352</c:v>
                </c:pt>
                <c:pt idx="19">
                  <c:v>0.8379973660623785</c:v>
                </c:pt>
                <c:pt idx="20">
                  <c:v>0.7494114019359959</c:v>
                </c:pt>
                <c:pt idx="21">
                  <c:v>0.8259660731478295</c:v>
                </c:pt>
                <c:pt idx="22">
                  <c:v>0.5178576732267162</c:v>
                </c:pt>
                <c:pt idx="23">
                  <c:v>0.5161627536972931</c:v>
                </c:pt>
                <c:pt idx="24">
                  <c:v>0.5164761688777171</c:v>
                </c:pt>
                <c:pt idx="25">
                  <c:v>0.5170158392054508</c:v>
                </c:pt>
                <c:pt idx="26">
                  <c:v>0.4327210362185906</c:v>
                </c:pt>
                <c:pt idx="27">
                  <c:v>0.7925458150518603</c:v>
                </c:pt>
                <c:pt idx="28">
                  <c:v>0.4327210362185906</c:v>
                </c:pt>
                <c:pt idx="29">
                  <c:v>0.4327210362185906</c:v>
                </c:pt>
                <c:pt idx="30">
                  <c:v>0.4327210362185906</c:v>
                </c:pt>
                <c:pt idx="31">
                  <c:v>0.4327210362185906</c:v>
                </c:pt>
                <c:pt idx="32">
                  <c:v>0.6559683602996657</c:v>
                </c:pt>
                <c:pt idx="33">
                  <c:v>0.4327210362185906</c:v>
                </c:pt>
                <c:pt idx="34">
                  <c:v>0.4327210362185906</c:v>
                </c:pt>
                <c:pt idx="35">
                  <c:v>0.5845975498814419</c:v>
                </c:pt>
                <c:pt idx="36">
                  <c:v>0.5446470624742084</c:v>
                </c:pt>
                <c:pt idx="37">
                  <c:v>0.5280311562738823</c:v>
                </c:pt>
                <c:pt idx="38">
                  <c:v>0.5390516423422327</c:v>
                </c:pt>
                <c:pt idx="39">
                  <c:v>0.5478029597263828</c:v>
                </c:pt>
                <c:pt idx="40">
                  <c:v>0.5465989169478733</c:v>
                </c:pt>
                <c:pt idx="41">
                  <c:v>0.5413625863490528</c:v>
                </c:pt>
                <c:pt idx="42">
                  <c:v>0.5309348196981204</c:v>
                </c:pt>
                <c:pt idx="43">
                  <c:v>0.5309937284730576</c:v>
                </c:pt>
                <c:pt idx="44">
                  <c:v>0.5329818105064985</c:v>
                </c:pt>
                <c:pt idx="45">
                  <c:v>0.5295218334659949</c:v>
                </c:pt>
                <c:pt idx="46">
                  <c:v>0.5454929737669615</c:v>
                </c:pt>
                <c:pt idx="47">
                  <c:v>0.546981177859975</c:v>
                </c:pt>
                <c:pt idx="48">
                  <c:v>0.5407056109154021</c:v>
                </c:pt>
                <c:pt idx="49">
                  <c:v>0.5261863580269848</c:v>
                </c:pt>
                <c:pt idx="50">
                  <c:v>0.8596125614415726</c:v>
                </c:pt>
                <c:pt idx="51">
                  <c:v>0.9880020418362058</c:v>
                </c:pt>
                <c:pt idx="52">
                  <c:v>0.518882491549411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99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45330296127563"/>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c:f>
              <c:numCache>
                <c:formatCode>General</c:formatCode>
                <c:ptCount val="3"/>
                <c:pt idx="0">
                  <c:v>0.0</c:v>
                </c:pt>
                <c:pt idx="1">
                  <c:v>0.0</c:v>
                </c:pt>
                <c:pt idx="2">
                  <c:v>0.0</c:v>
                </c:pt>
              </c:numCache>
            </c:numRef>
          </c:xVal>
          <c:yVal>
            <c:numRef>
              <c:f>Sheet1!$B$2:$B$4</c:f>
              <c:numCache>
                <c:formatCode>General</c:formatCode>
                <c:ptCount val="3"/>
                <c:pt idx="0">
                  <c:v>0.9666666666666667</c:v>
                </c:pt>
                <c:pt idx="1">
                  <c:v>0.8863636363636364</c:v>
                </c:pt>
                <c:pt idx="2">
                  <c:v>0.7</c:v>
                </c:pt>
              </c:numCache>
            </c:numRef>
          </c:yVal>
          <c:smooth val="0"/>
          <c:extLst>
            <c:ext xmlns:c16="http://schemas.microsoft.com/office/drawing/2014/chart" uri="{C3380CC4-5D6E-409C-BE32-E72D297353CC}">
              <c16:uniqueId val="{00000000-096C-4121-9522-6AB7243CCAAE}"/>
            </c:ext>
          </c:extLst>
        </c:ser>
        <c:ser>
          <c:idx val="1"/>
          <c:order val="1"/>
          <c:tx>
            <c:strRef>
              <c:f>Sheet1!$B$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A$49</c:f>
              <c:numCache>
                <c:formatCode>General</c:formatCode>
                <c:ptCount val="43"/>
                <c:pt idx="0">
                  <c:v>0.28580645161290325</c:v>
                </c:pt>
                <c:pt idx="1">
                  <c:v>0.34157706093189966</c:v>
                </c:pt>
                <c:pt idx="2">
                  <c:v>0.390834623655914</c:v>
                </c:pt>
                <c:pt idx="3">
                  <c:v>0.568755741935484</c:v>
                </c:pt>
                <c:pt idx="4">
                  <c:v>0.42372924731182793</c:v>
                </c:pt>
                <c:pt idx="5">
                  <c:v>0.1731207917888563</c:v>
                </c:pt>
                <c:pt idx="6">
                  <c:v>0.255525935483871</c:v>
                </c:pt>
                <c:pt idx="7">
                  <c:v>0.342090564516129</c:v>
                </c:pt>
                <c:pt idx="8">
                  <c:v>0.2447507331378299</c:v>
                </c:pt>
                <c:pt idx="9">
                  <c:v>0.24498655913978495</c:v>
                </c:pt>
                <c:pt idx="10">
                  <c:v>0.30647268817204304</c:v>
                </c:pt>
                <c:pt idx="11">
                  <c:v>0.4593879404466501</c:v>
                </c:pt>
                <c:pt idx="12">
                  <c:v>0.6519713261648745</c:v>
                </c:pt>
                <c:pt idx="13">
                  <c:v>0.8597177592685032</c:v>
                </c:pt>
                <c:pt idx="14">
                  <c:v>1.328066215199398</c:v>
                </c:pt>
                <c:pt idx="15">
                  <c:v>0.17609142857142857</c:v>
                </c:pt>
                <c:pt idx="16">
                  <c:v>0.20135005376344087</c:v>
                </c:pt>
                <c:pt idx="17">
                  <c:v>0.13473756272401433</c:v>
                </c:pt>
                <c:pt idx="18">
                  <c:v>0.22190029325513194</c:v>
                </c:pt>
                <c:pt idx="19">
                  <c:v>0.0</c:v>
                </c:pt>
                <c:pt idx="20">
                  <c:v>1.3544870381461291</c:v>
                </c:pt>
                <c:pt idx="21">
                  <c:v>0.0</c:v>
                </c:pt>
                <c:pt idx="22">
                  <c:v>0.0</c:v>
                </c:pt>
                <c:pt idx="23">
                  <c:v>0.0</c:v>
                </c:pt>
                <c:pt idx="24">
                  <c:v>0.0</c:v>
                </c:pt>
                <c:pt idx="25">
                  <c:v>0.4309677419354839</c:v>
                </c:pt>
                <c:pt idx="26">
                  <c:v>0.0</c:v>
                </c:pt>
                <c:pt idx="27">
                  <c:v>0.0</c:v>
                </c:pt>
                <c:pt idx="28">
                  <c:v>0.2875260249704741</c:v>
                </c:pt>
                <c:pt idx="29">
                  <c:v>0.23001698717948718</c:v>
                </c:pt>
                <c:pt idx="30">
                  <c:v>0.1802805571393237</c:v>
                </c:pt>
                <c:pt idx="31">
                  <c:v>0.23653222804341273</c:v>
                </c:pt>
                <c:pt idx="32">
                  <c:v>0.2672892943258807</c:v>
                </c:pt>
                <c:pt idx="33">
                  <c:v>0.21838899333447273</c:v>
                </c:pt>
                <c:pt idx="34">
                  <c:v>0.2249593254459807</c:v>
                </c:pt>
                <c:pt idx="35">
                  <c:v>0.19938147360803293</c:v>
                </c:pt>
                <c:pt idx="36">
                  <c:v>0.20401336725254396</c:v>
                </c:pt>
                <c:pt idx="37">
                  <c:v>0.22796352583586627</c:v>
                </c:pt>
                <c:pt idx="38">
                  <c:v>0.18775738980121</c:v>
                </c:pt>
                <c:pt idx="39">
                  <c:v>0.20800271225445877</c:v>
                </c:pt>
                <c:pt idx="40">
                  <c:v>0.27369355570380255</c:v>
                </c:pt>
                <c:pt idx="41">
                  <c:v>0.2077439777111016</c:v>
                </c:pt>
                <c:pt idx="42">
                  <c:v>0.16184413580246915</c:v>
                </c:pt>
              </c:numCache>
            </c:numRef>
          </c:xVal>
          <c:yVal>
            <c:numRef>
              <c:f>Sheet1!$B$7:$B$49</c:f>
              <c:numCache>
                <c:formatCode>General</c:formatCode>
                <c:ptCount val="43"/>
                <c:pt idx="0">
                  <c:v>0.8717948717948718</c:v>
                </c:pt>
                <c:pt idx="1">
                  <c:v>0.8235294117647058</c:v>
                </c:pt>
                <c:pt idx="2">
                  <c:v>0.8571428571428571</c:v>
                </c:pt>
                <c:pt idx="3">
                  <c:v>0.9032258064516129</c:v>
                </c:pt>
                <c:pt idx="4">
                  <c:v>0.8979591836734694</c:v>
                </c:pt>
                <c:pt idx="5">
                  <c:v>0.9512195121951219</c:v>
                </c:pt>
                <c:pt idx="6">
                  <c:v>0.9292929292929293</c:v>
                </c:pt>
                <c:pt idx="7">
                  <c:v>0.8297872340425532</c:v>
                </c:pt>
                <c:pt idx="8">
                  <c:v>0.8571428571428571</c:v>
                </c:pt>
                <c:pt idx="9">
                  <c:v>0.8</c:v>
                </c:pt>
                <c:pt idx="10">
                  <c:v>0.85</c:v>
                </c:pt>
                <c:pt idx="11">
                  <c:v>0.6428571428571429</c:v>
                </c:pt>
                <c:pt idx="12">
                  <c:v>0.35714285714285715</c:v>
                </c:pt>
                <c:pt idx="13">
                  <c:v>0.4166666666666667</c:v>
                </c:pt>
                <c:pt idx="14">
                  <c:v>0.3333333333333333</c:v>
                </c:pt>
                <c:pt idx="15">
                  <c:v>0.95</c:v>
                </c:pt>
                <c:pt idx="16">
                  <c:v>0.9574468085106383</c:v>
                </c:pt>
                <c:pt idx="17">
                  <c:v>0.9240506329113924</c:v>
                </c:pt>
                <c:pt idx="18">
                  <c:v>0.9259259259259259</c:v>
                </c:pt>
                <c:pt idx="19">
                  <c:v>0.0</c:v>
                </c:pt>
                <c:pt idx="20">
                  <c:v>0.14285714285714285</c:v>
                </c:pt>
                <c:pt idx="21">
                  <c:v>0.0</c:v>
                </c:pt>
                <c:pt idx="22">
                  <c:v>0.0</c:v>
                </c:pt>
                <c:pt idx="23">
                  <c:v>0.0</c:v>
                </c:pt>
                <c:pt idx="24">
                  <c:v>0.0</c:v>
                </c:pt>
                <c:pt idx="25">
                  <c:v>0.09090909090909091</c:v>
                </c:pt>
                <c:pt idx="26">
                  <c:v>0.0</c:v>
                </c:pt>
                <c:pt idx="27">
                  <c:v>0.0</c:v>
                </c:pt>
                <c:pt idx="28">
                  <c:v>0.1875</c:v>
                </c:pt>
                <c:pt idx="29">
                  <c:v>0.8076923076923077</c:v>
                </c:pt>
                <c:pt idx="30">
                  <c:v>0.78125</c:v>
                </c:pt>
                <c:pt idx="31">
                  <c:v>0.7115384615384616</c:v>
                </c:pt>
                <c:pt idx="32">
                  <c:v>0.5476190476190477</c:v>
                </c:pt>
                <c:pt idx="33">
                  <c:v>0.53125</c:v>
                </c:pt>
                <c:pt idx="34">
                  <c:v>0.41935483870967744</c:v>
                </c:pt>
                <c:pt idx="35">
                  <c:v>0.43243243243243246</c:v>
                </c:pt>
                <c:pt idx="36">
                  <c:v>0.5306122448979592</c:v>
                </c:pt>
                <c:pt idx="37">
                  <c:v>0.5</c:v>
                </c:pt>
                <c:pt idx="38">
                  <c:v>0.6071428571428571</c:v>
                </c:pt>
                <c:pt idx="39">
                  <c:v>0.48148148148148145</c:v>
                </c:pt>
                <c:pt idx="40">
                  <c:v>0.4444444444444444</c:v>
                </c:pt>
                <c:pt idx="41">
                  <c:v>0.40540540540540543</c:v>
                </c:pt>
                <c:pt idx="42">
                  <c:v>0.35294117647058826</c:v>
                </c:pt>
              </c:numCache>
            </c:numRef>
          </c:yVal>
          <c:smooth val="0"/>
          <c:extLst>
            <c:ext xmlns:c16="http://schemas.microsoft.com/office/drawing/2014/chart" uri="{C3380CC4-5D6E-409C-BE32-E72D297353CC}">
              <c16:uniqueId val="{00000002-096C-4121-9522-6AB7243CCAAE}"/>
            </c:ext>
          </c:extLst>
        </c:ser>
        <c:ser>
          <c:idx val="2"/>
          <c:order val="2"/>
          <c:tx>
            <c:strRef>
              <c:f>Sheet1!$B$5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2:$A$53</c:f>
              <c:numCache>
                <c:formatCode>General</c:formatCode>
                <c:ptCount val="2"/>
                <c:pt idx="0">
                  <c:v>0</c:v>
                </c:pt>
                <c:pt idx="1">
                  <c:v>5.479686865126817</c:v>
                </c:pt>
              </c:numCache>
            </c:numRef>
          </c:xVal>
          <c:yVal>
            <c:numRef>
              <c:f>Sheet1!$B$52:$B$53</c:f>
              <c:numCache>
                <c:formatCode>General</c:formatCode>
                <c:ptCount val="2"/>
                <c:pt idx="0">
                  <c:v>0.8844719227641429</c:v>
                </c:pt>
                <c:pt idx="1">
                  <c:v>0.8844719227641429</c:v>
                </c:pt>
              </c:numCache>
            </c:numRef>
          </c:yVal>
          <c:smooth val="0"/>
          <c:extLst>
            <c:ext xmlns:c16="http://schemas.microsoft.com/office/drawing/2014/chart" uri="{C3380CC4-5D6E-409C-BE32-E72D297353CC}">
              <c16:uniqueId val="{00000005-096C-4121-9522-6AB7243CCAAE}"/>
            </c:ext>
          </c:extLst>
        </c:ser>
        <c:ser>
          <c:idx val="3"/>
          <c:order val="3"/>
          <c:tx>
            <c:strRef>
              <c:f>Sheet1!$B$5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6:$A$57</c:f>
              <c:numCache>
                <c:formatCode>General</c:formatCode>
                <c:ptCount val="2"/>
                <c:pt idx="0">
                  <c:v>5.479686865126817</c:v>
                </c:pt>
                <c:pt idx="1">
                  <c:v>5.479686865126817</c:v>
                </c:pt>
              </c:numCache>
            </c:numRef>
          </c:xVal>
          <c:yVal>
            <c:numRef>
              <c:f>Sheet1!$B$56:$B$57</c:f>
              <c:numCache>
                <c:formatCode>General</c:formatCode>
                <c:ptCount val="2"/>
                <c:pt idx="0">
                  <c:v>0.884471922764142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5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0:$A$61</c:f>
              <c:numCache>
                <c:formatCode>General</c:formatCode>
                <c:ptCount val="2"/>
                <c:pt idx="0">
                  <c:v>0</c:v>
                </c:pt>
                <c:pt idx="1">
                  <c:v>5.479686865126817</c:v>
                </c:pt>
              </c:numCache>
            </c:numRef>
          </c:xVal>
          <c:yVal>
            <c:numRef>
              <c:f>Sheet1!$B$60:$B$61</c:f>
              <c:numCache>
                <c:formatCode>General</c:formatCode>
                <c:ptCount val="2"/>
                <c:pt idx="0">
                  <c:v>0.8844719227641429</c:v>
                </c:pt>
                <c:pt idx="1">
                  <c:v>0.8844719227641429</c:v>
                </c:pt>
              </c:numCache>
            </c:numRef>
          </c:yVal>
          <c:smooth val="0"/>
          <c:extLst>
            <c:ext xmlns:c16="http://schemas.microsoft.com/office/drawing/2014/chart" uri="{C3380CC4-5D6E-409C-BE32-E72D297353CC}">
              <c16:uniqueId val="{0000000D-096C-4121-9522-6AB7243CCAAE}"/>
            </c:ext>
          </c:extLst>
        </c:ser>
        <c:ser>
          <c:idx val="5"/>
          <c:order val="5"/>
          <c:tx>
            <c:strRef>
              <c:f>Sheet1!$B$6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4:$A$65</c:f>
              <c:numCache>
                <c:formatCode>General</c:formatCode>
                <c:ptCount val="2"/>
                <c:pt idx="0">
                  <c:v>5.479686865126817</c:v>
                </c:pt>
                <c:pt idx="1">
                  <c:v>5.479686865126817</c:v>
                </c:pt>
              </c:numCache>
            </c:numRef>
          </c:xVal>
          <c:yVal>
            <c:numRef>
              <c:f>Sheet1!$B$64:$B$65</c:f>
              <c:numCache>
                <c:formatCode>General</c:formatCode>
                <c:ptCount val="2"/>
                <c:pt idx="0">
                  <c:v>0.884471922764142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6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68:$A$69</c:f>
              <c:numCache>
                <c:formatCode>General</c:formatCode>
                <c:ptCount val="2"/>
                <c:pt idx="0">
                  <c:v>0</c:v>
                </c:pt>
                <c:pt idx="1">
                  <c:v>0.03917481306019166</c:v>
                </c:pt>
              </c:numCache>
            </c:numRef>
          </c:xVal>
          <c:yVal>
            <c:numRef>
              <c:f>Sheet1!$B$68:$B$69</c:f>
              <c:numCache>
                <c:formatCode>General</c:formatCode>
                <c:ptCount val="2"/>
                <c:pt idx="0">
                  <c:v>0.5188824915494119</c:v>
                </c:pt>
                <c:pt idx="1">
                  <c:v>0.5188824915494119</c:v>
                </c:pt>
              </c:numCache>
            </c:numRef>
          </c:yVal>
          <c:smooth val="0"/>
          <c:extLst>
            <c:ext xmlns:c16="http://schemas.microsoft.com/office/drawing/2014/chart" uri="{C3380CC4-5D6E-409C-BE32-E72D297353CC}">
              <c16:uniqueId val="{00000015-096C-4121-9522-6AB7243CCAAE}"/>
            </c:ext>
          </c:extLst>
        </c:ser>
        <c:ser>
          <c:idx val="7"/>
          <c:order val="7"/>
          <c:tx>
            <c:strRef>
              <c:f>Sheet1!$B$7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2:$A$73</c:f>
              <c:numCache>
                <c:formatCode>General</c:formatCode>
                <c:ptCount val="2"/>
                <c:pt idx="0">
                  <c:v>0.03917481306019166</c:v>
                </c:pt>
                <c:pt idx="1">
                  <c:v>0.03917481306019166</c:v>
                </c:pt>
              </c:numCache>
            </c:numRef>
          </c:xVal>
          <c:yVal>
            <c:numRef>
              <c:f>Sheet1!$B$72:$B$73</c:f>
              <c:numCache>
                <c:formatCode>General</c:formatCode>
                <c:ptCount val="2"/>
                <c:pt idx="0">
                  <c:v>0.518882491549411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7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76:$A$121</c:f>
              <c:numCache>
                <c:formatCode>General</c:formatCode>
                <c:ptCount val="46"/>
                <c:pt idx="0">
                  <c:v>0.28580645161290325</c:v>
                </c:pt>
                <c:pt idx="1">
                  <c:v>0.34157706093189966</c:v>
                </c:pt>
                <c:pt idx="2">
                  <c:v>0.390834623655914</c:v>
                </c:pt>
                <c:pt idx="3">
                  <c:v>0.568755741935484</c:v>
                </c:pt>
                <c:pt idx="4">
                  <c:v>0.42372924731182793</c:v>
                </c:pt>
                <c:pt idx="5">
                  <c:v>0.1731207917888563</c:v>
                </c:pt>
                <c:pt idx="6">
                  <c:v>0.255525935483871</c:v>
                </c:pt>
                <c:pt idx="7">
                  <c:v>0.342090564516129</c:v>
                </c:pt>
                <c:pt idx="8">
                  <c:v>0.2447507331378299</c:v>
                </c:pt>
                <c:pt idx="9">
                  <c:v>0.24498655913978495</c:v>
                </c:pt>
                <c:pt idx="10">
                  <c:v>0.30647268817204304</c:v>
                </c:pt>
                <c:pt idx="11">
                  <c:v>0.4593879404466501</c:v>
                </c:pt>
                <c:pt idx="12">
                  <c:v>0.6519713261648745</c:v>
                </c:pt>
                <c:pt idx="13">
                  <c:v>0.8597177592685032</c:v>
                </c:pt>
                <c:pt idx="14">
                  <c:v>1.328066215199398</c:v>
                </c:pt>
                <c:pt idx="15">
                  <c:v>0.17609142857142857</c:v>
                </c:pt>
                <c:pt idx="16">
                  <c:v>0.20135005376344087</c:v>
                </c:pt>
                <c:pt idx="17">
                  <c:v>0.13473756272401433</c:v>
                </c:pt>
                <c:pt idx="18">
                  <c:v>0.22190029325513194</c:v>
                </c:pt>
                <c:pt idx="19">
                  <c:v>0.0</c:v>
                </c:pt>
                <c:pt idx="20">
                  <c:v>1.3544870381461291</c:v>
                </c:pt>
                <c:pt idx="21">
                  <c:v>0.0</c:v>
                </c:pt>
                <c:pt idx="22">
                  <c:v>0.0</c:v>
                </c:pt>
                <c:pt idx="23">
                  <c:v>0.0</c:v>
                </c:pt>
                <c:pt idx="24">
                  <c:v>0.0</c:v>
                </c:pt>
                <c:pt idx="25">
                  <c:v>0.4309677419354839</c:v>
                </c:pt>
                <c:pt idx="26">
                  <c:v>0.0</c:v>
                </c:pt>
                <c:pt idx="27">
                  <c:v>0.0</c:v>
                </c:pt>
                <c:pt idx="28">
                  <c:v>0.2875260249704741</c:v>
                </c:pt>
                <c:pt idx="29">
                  <c:v>0.23001698717948718</c:v>
                </c:pt>
                <c:pt idx="30">
                  <c:v>0.1802805571393237</c:v>
                </c:pt>
                <c:pt idx="31">
                  <c:v>0.23653222804341273</c:v>
                </c:pt>
                <c:pt idx="32">
                  <c:v>0.2672892943258807</c:v>
                </c:pt>
                <c:pt idx="33">
                  <c:v>0.21838899333447273</c:v>
                </c:pt>
                <c:pt idx="34">
                  <c:v>0.2249593254459807</c:v>
                </c:pt>
                <c:pt idx="35">
                  <c:v>0.19938147360803293</c:v>
                </c:pt>
                <c:pt idx="36">
                  <c:v>0.20401336725254396</c:v>
                </c:pt>
                <c:pt idx="37">
                  <c:v>0.22796352583586627</c:v>
                </c:pt>
                <c:pt idx="38">
                  <c:v>0.18775738980121</c:v>
                </c:pt>
                <c:pt idx="39">
                  <c:v>0.20800271225445877</c:v>
                </c:pt>
                <c:pt idx="40">
                  <c:v>0.27369355570380255</c:v>
                </c:pt>
                <c:pt idx="41">
                  <c:v>0.2077439777111016</c:v>
                </c:pt>
                <c:pt idx="42">
                  <c:v>0.16184413580246915</c:v>
                </c:pt>
                <c:pt idx="43">
                  <c:v>5.479686865126817</c:v>
                </c:pt>
                <c:pt idx="44">
                  <c:v>5.479686865126817</c:v>
                </c:pt>
                <c:pt idx="45">
                  <c:v>0.03917481306019166</c:v>
                </c:pt>
              </c:numCache>
            </c:numRef>
          </c:xVal>
          <c:yVal>
            <c:numRef>
              <c:f>Sheet1!$B$76:$B$121</c:f>
              <c:numCache>
                <c:formatCode>General</c:formatCode>
                <c:ptCount val="46"/>
                <c:pt idx="0">
                  <c:v>0.5354555493048474</c:v>
                </c:pt>
                <c:pt idx="1">
                  <c:v>0.539203201206783</c:v>
                </c:pt>
                <c:pt idx="2">
                  <c:v>0.5425131919148186</c:v>
                </c:pt>
                <c:pt idx="3">
                  <c:v>0.5544690666211725</c:v>
                </c:pt>
                <c:pt idx="4">
                  <c:v>0.5447236321522996</c:v>
                </c:pt>
                <c:pt idx="5">
                  <c:v>0.5278833417834099</c:v>
                </c:pt>
                <c:pt idx="6">
                  <c:v>0.5334207708570547</c:v>
                </c:pt>
                <c:pt idx="7">
                  <c:v>0.539237707422648</c:v>
                </c:pt>
                <c:pt idx="8">
                  <c:v>0.5326967029643246</c:v>
                </c:pt>
                <c:pt idx="9">
                  <c:v>0.5327125499090781</c:v>
                </c:pt>
                <c:pt idx="10">
                  <c:v>0.5368442711010127</c:v>
                </c:pt>
                <c:pt idx="11">
                  <c:v>0.5471198112649013</c:v>
                </c:pt>
                <c:pt idx="12">
                  <c:v>0.5600609553653704</c:v>
                </c:pt>
                <c:pt idx="13">
                  <c:v>0.574021020077734</c:v>
                </c:pt>
                <c:pt idx="14">
                  <c:v>0.6054929190415518</c:v>
                </c:pt>
                <c:pt idx="15">
                  <c:v>0.5280829614885576</c:v>
                </c:pt>
                <c:pt idx="16">
                  <c:v>0.5297802808454197</c:v>
                </c:pt>
                <c:pt idx="17">
                  <c:v>0.5253040803558628</c:v>
                </c:pt>
                <c:pt idx="18">
                  <c:v>0.5311612079153708</c:v>
                </c:pt>
                <c:pt idx="19">
                  <c:v>0.5162500375657508</c:v>
                </c:pt>
                <c:pt idx="20">
                  <c:v>0.607268335315035</c:v>
                </c:pt>
                <c:pt idx="21">
                  <c:v>0.5162500375657508</c:v>
                </c:pt>
                <c:pt idx="22">
                  <c:v>0.5162500375657508</c:v>
                </c:pt>
                <c:pt idx="23">
                  <c:v>0.5162500375657508</c:v>
                </c:pt>
                <c:pt idx="24">
                  <c:v>0.5162500375657508</c:v>
                </c:pt>
                <c:pt idx="25">
                  <c:v>0.5452100417231244</c:v>
                </c:pt>
                <c:pt idx="26">
                  <c:v>0.5162500375657508</c:v>
                </c:pt>
                <c:pt idx="27">
                  <c:v>0.5162500375657508</c:v>
                </c:pt>
                <c:pt idx="28">
                  <c:v>0.5355711005323256</c:v>
                </c:pt>
                <c:pt idx="29">
                  <c:v>0.5317066303842028</c:v>
                </c:pt>
                <c:pt idx="30">
                  <c:v>0.5283644609348902</c:v>
                </c:pt>
                <c:pt idx="31">
                  <c:v>0.5321444390277412</c:v>
                </c:pt>
                <c:pt idx="32">
                  <c:v>0.5342112405090044</c:v>
                </c:pt>
                <c:pt idx="33">
                  <c:v>0.5309252569371296</c:v>
                </c:pt>
                <c:pt idx="34">
                  <c:v>0.5313667675810818</c:v>
                </c:pt>
                <c:pt idx="35">
                  <c:v>0.5296479969551482</c:v>
                </c:pt>
                <c:pt idx="36">
                  <c:v>0.5299592491583853</c:v>
                </c:pt>
                <c:pt idx="37">
                  <c:v>0.5315686426805729</c:v>
                </c:pt>
                <c:pt idx="38">
                  <c:v>0.5288668862533137</c:v>
                </c:pt>
                <c:pt idx="39">
                  <c:v>0.5302273236256803</c:v>
                </c:pt>
                <c:pt idx="40">
                  <c:v>0.5346415915958319</c:v>
                </c:pt>
                <c:pt idx="41">
                  <c:v>0.5302099372815943</c:v>
                </c:pt>
                <c:pt idx="42">
                  <c:v>0.5271255774022978</c:v>
                </c:pt>
                <c:pt idx="43">
                  <c:v>0.8844719227641429</c:v>
                </c:pt>
                <c:pt idx="44">
                  <c:v>0.8844719227641429</c:v>
                </c:pt>
                <c:pt idx="45">
                  <c:v>0.518882491549411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cean Poti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49</c:f>
              <c:numCache>
                <c:formatCode>General</c:formatCode>
                <c:ptCount val="46"/>
                <c:pt idx="0">
                  <c:v>886.0</c:v>
                </c:pt>
                <c:pt idx="1">
                  <c:v>953.0</c:v>
                </c:pt>
                <c:pt idx="2">
                  <c:v>726.9524</c:v>
                </c:pt>
                <c:pt idx="3">
                  <c:v>913.3793</c:v>
                </c:pt>
                <c:pt idx="4">
                  <c:v>881.5714</c:v>
                </c:pt>
                <c:pt idx="5">
                  <c:v>788.1364</c:v>
                </c:pt>
                <c:pt idx="6">
                  <c:v>861.4359</c:v>
                </c:pt>
                <c:pt idx="7">
                  <c:v>590.3419</c:v>
                </c:pt>
                <c:pt idx="8">
                  <c:v>594.0978</c:v>
                </c:pt>
                <c:pt idx="9">
                  <c:v>848.3846</c:v>
                </c:pt>
                <c:pt idx="10">
                  <c:v>834.6</c:v>
                </c:pt>
                <c:pt idx="11">
                  <c:v>911.35</c:v>
                </c:pt>
                <c:pt idx="12">
                  <c:v>855.0588</c:v>
                </c:pt>
                <c:pt idx="13">
                  <c:v>925.6667</c:v>
                </c:pt>
                <c:pt idx="14">
                  <c:v>1153.8571</c:v>
                </c:pt>
                <c:pt idx="15">
                  <c:v>1819.0</c:v>
                </c:pt>
                <c:pt idx="16">
                  <c:v>1421.4</c:v>
                </c:pt>
                <c:pt idx="17">
                  <c:v>1765.0</c:v>
                </c:pt>
                <c:pt idx="18">
                  <c:v>382.1184</c:v>
                </c:pt>
                <c:pt idx="19">
                  <c:v>374.5111</c:v>
                </c:pt>
                <c:pt idx="20">
                  <c:v>375.9178</c:v>
                </c:pt>
                <c:pt idx="21">
                  <c:v>378.34</c:v>
                </c:pt>
                <c:pt idx="22">
                  <c:v>0.0</c:v>
                </c:pt>
                <c:pt idx="23">
                  <c:v>1615.0</c:v>
                </c:pt>
                <c:pt idx="24">
                  <c:v>0.0</c:v>
                </c:pt>
                <c:pt idx="25">
                  <c:v>0.0</c:v>
                </c:pt>
                <c:pt idx="26">
                  <c:v>0.0</c:v>
                </c:pt>
                <c:pt idx="27">
                  <c:v>0.0</c:v>
                </c:pt>
                <c:pt idx="28">
                  <c:v>1002.0</c:v>
                </c:pt>
                <c:pt idx="29">
                  <c:v>0.0</c:v>
                </c:pt>
                <c:pt idx="30">
                  <c:v>0.0</c:v>
                </c:pt>
                <c:pt idx="31">
                  <c:v>681.6667</c:v>
                </c:pt>
                <c:pt idx="32">
                  <c:v>502.3571</c:v>
                </c:pt>
                <c:pt idx="33">
                  <c:v>427.78</c:v>
                </c:pt>
                <c:pt idx="34">
                  <c:v>477.2432</c:v>
                </c:pt>
                <c:pt idx="35">
                  <c:v>516.5217</c:v>
                </c:pt>
                <c:pt idx="36">
                  <c:v>511.1176</c:v>
                </c:pt>
                <c:pt idx="37">
                  <c:v>487.6154</c:v>
                </c:pt>
                <c:pt idx="38">
                  <c:v>440.8125</c:v>
                </c:pt>
                <c:pt idx="39">
                  <c:v>441.0769</c:v>
                </c:pt>
                <c:pt idx="40">
                  <c:v>450.0</c:v>
                </c:pt>
                <c:pt idx="41">
                  <c:v>434.4706</c:v>
                </c:pt>
                <c:pt idx="42">
                  <c:v>506.1538</c:v>
                </c:pt>
                <c:pt idx="43">
                  <c:v>512.8333</c:v>
                </c:pt>
                <c:pt idx="44">
                  <c:v>484.6667</c:v>
                </c:pt>
                <c:pt idx="45">
                  <c:v>419.5</c:v>
                </c:pt>
              </c:numCache>
            </c:numRef>
          </c:xVal>
          <c:yVal>
            <c:numRef>
              <c:f>Sheet1!$B$4:$B$49</c:f>
              <c:numCache>
                <c:formatCode>General</c:formatCode>
                <c:ptCount val="46"/>
                <c:pt idx="0">
                  <c:v>0.8717948717948718</c:v>
                </c:pt>
                <c:pt idx="1">
                  <c:v>0.8235294117647058</c:v>
                </c:pt>
                <c:pt idx="2">
                  <c:v>0.8571428571428571</c:v>
                </c:pt>
                <c:pt idx="3">
                  <c:v>0.9666666666666667</c:v>
                </c:pt>
                <c:pt idx="4">
                  <c:v>0.9032258064516129</c:v>
                </c:pt>
                <c:pt idx="5">
                  <c:v>0.8979591836734694</c:v>
                </c:pt>
                <c:pt idx="6">
                  <c:v>0.8863636363636364</c:v>
                </c:pt>
                <c:pt idx="7">
                  <c:v>0.9512195121951219</c:v>
                </c:pt>
                <c:pt idx="8">
                  <c:v>0.9292929292929293</c:v>
                </c:pt>
                <c:pt idx="9">
                  <c:v>0.8297872340425532</c:v>
                </c:pt>
                <c:pt idx="10">
                  <c:v>0.8571428571428571</c:v>
                </c:pt>
                <c:pt idx="11">
                  <c:v>0.8</c:v>
                </c:pt>
                <c:pt idx="12">
                  <c:v>0.85</c:v>
                </c:pt>
                <c:pt idx="13">
                  <c:v>0.6428571428571429</c:v>
                </c:pt>
                <c:pt idx="14">
                  <c:v>0.7</c:v>
                </c:pt>
                <c:pt idx="15">
                  <c:v>0.35714285714285715</c:v>
                </c:pt>
                <c:pt idx="16">
                  <c:v>0.4166666666666667</c:v>
                </c:pt>
                <c:pt idx="17">
                  <c:v>0.3333333333333333</c:v>
                </c:pt>
                <c:pt idx="18">
                  <c:v>0.95</c:v>
                </c:pt>
                <c:pt idx="19">
                  <c:v>0.9574468085106383</c:v>
                </c:pt>
                <c:pt idx="20">
                  <c:v>0.9240506329113924</c:v>
                </c:pt>
                <c:pt idx="21">
                  <c:v>0.9259259259259259</c:v>
                </c:pt>
                <c:pt idx="22">
                  <c:v>0.0</c:v>
                </c:pt>
                <c:pt idx="23">
                  <c:v>0.14285714285714285</c:v>
                </c:pt>
                <c:pt idx="24">
                  <c:v>0.0</c:v>
                </c:pt>
                <c:pt idx="25">
                  <c:v>0.0</c:v>
                </c:pt>
                <c:pt idx="26">
                  <c:v>0.0</c:v>
                </c:pt>
                <c:pt idx="27">
                  <c:v>0.0</c:v>
                </c:pt>
                <c:pt idx="28">
                  <c:v>0.09090909090909091</c:v>
                </c:pt>
                <c:pt idx="29">
                  <c:v>0.0</c:v>
                </c:pt>
                <c:pt idx="30">
                  <c:v>0.0</c:v>
                </c:pt>
                <c:pt idx="31">
                  <c:v>0.1875</c:v>
                </c:pt>
                <c:pt idx="32">
                  <c:v>0.8076923076923077</c:v>
                </c:pt>
                <c:pt idx="33">
                  <c:v>0.78125</c:v>
                </c:pt>
                <c:pt idx="34">
                  <c:v>0.7115384615384616</c:v>
                </c:pt>
                <c:pt idx="35">
                  <c:v>0.5476190476190477</c:v>
                </c:pt>
                <c:pt idx="36">
                  <c:v>0.53125</c:v>
                </c:pt>
                <c:pt idx="37">
                  <c:v>0.41935483870967744</c:v>
                </c:pt>
                <c:pt idx="38">
                  <c:v>0.43243243243243246</c:v>
                </c:pt>
                <c:pt idx="39">
                  <c:v>0.5306122448979592</c:v>
                </c:pt>
                <c:pt idx="40">
                  <c:v>0.5</c:v>
                </c:pt>
                <c:pt idx="41">
                  <c:v>0.6071428571428571</c:v>
                </c:pt>
                <c:pt idx="42">
                  <c:v>0.48148148148148145</c:v>
                </c:pt>
                <c:pt idx="43">
                  <c:v>0.4444444444444444</c:v>
                </c:pt>
                <c:pt idx="44">
                  <c:v>0.40540540540540543</c:v>
                </c:pt>
                <c:pt idx="45">
                  <c:v>0.35294117647058826</c:v>
                </c:pt>
              </c:numCache>
            </c:numRef>
          </c:yVal>
          <c:smooth val="0"/>
          <c:extLst>
            <c:ext xmlns:c16="http://schemas.microsoft.com/office/drawing/2014/chart" uri="{C3380CC4-5D6E-409C-BE32-E72D297353CC}">
              <c16:uniqueId val="{00000002-F32D-48B7-BC20-E66FC6253BAD}"/>
            </c:ext>
          </c:extLst>
        </c:ser>
        <c:ser>
          <c:idx val="2"/>
          <c:order val="2"/>
          <c:tx>
            <c:strRef>
              <c:f>Sheet1!$B$51</c:f>
              <c:strCache>
                <c:ptCount val="1"/>
                <c:pt idx="0">
                  <c:v>Custom Linep3yQ</c:v>
                </c:pt>
              </c:strCache>
            </c:strRef>
          </c:tx>
          <c:spPr>
            <a:ln w="19050" cap="rnd">
              <a:solidFill>
                <a:srgbClr val="C00000"/>
              </a:solidFill>
              <a:prstDash val="sysDot"/>
              <a:round/>
            </a:ln>
            <a:effectLst/>
          </c:spPr>
          <c:marker>
            <c:symbol val="none"/>
          </c:marker>
          <c:xVal>
            <c:numRef>
              <c:f>Sheet1!$A$52:$A$53</c:f>
              <c:numCache>
                <c:formatCode>General</c:formatCode>
                <c:ptCount val="2"/>
                <c:pt idx="0">
                  <c:v>0</c:v>
                </c:pt>
                <c:pt idx="1">
                  <c:v>2274.3991796408404</c:v>
                </c:pt>
              </c:numCache>
            </c:numRef>
          </c:xVal>
          <c:yVal>
            <c:numRef>
              <c:f>Sheet1!$B$52:$B$53</c:f>
              <c:numCache>
                <c:formatCode>General</c:formatCode>
                <c:ptCount val="2"/>
                <c:pt idx="0">
                  <c:v>0.8844719227641429</c:v>
                </c:pt>
                <c:pt idx="1">
                  <c:v>0.8844719227641429</c:v>
                </c:pt>
              </c:numCache>
            </c:numRef>
          </c:yVal>
          <c:smooth val="0"/>
          <c:extLst>
            <c:ext xmlns:c16="http://schemas.microsoft.com/office/drawing/2014/chart" uri="{C3380CC4-5D6E-409C-BE32-E72D297353CC}">
              <c16:uniqueId val="{00000003-F32D-48B7-BC20-E66FC6253BAD}"/>
            </c:ext>
          </c:extLst>
        </c:ser>
        <c:ser>
          <c:idx val="3"/>
          <c:order val="3"/>
          <c:tx>
            <c:strRef>
              <c:f>Sheet1!$B$5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6:$A$57</c:f>
              <c:numCache>
                <c:formatCode>General</c:formatCode>
                <c:ptCount val="2"/>
                <c:pt idx="0">
                  <c:v>2274.3991796408404</c:v>
                </c:pt>
                <c:pt idx="1">
                  <c:v>2274.3991796408404</c:v>
                </c:pt>
              </c:numCache>
            </c:numRef>
          </c:xVal>
          <c:yVal>
            <c:numRef>
              <c:f>Sheet1!$B$56:$B$57</c:f>
              <c:numCache>
                <c:formatCode>General</c:formatCode>
                <c:ptCount val="2"/>
                <c:pt idx="0">
                  <c:v>0.884471922764142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5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0:$A$61</c:f>
              <c:numCache>
                <c:formatCode>General</c:formatCode>
                <c:ptCount val="2"/>
                <c:pt idx="0">
                  <c:v>0</c:v>
                </c:pt>
                <c:pt idx="1">
                  <c:v>2274.3991796408404</c:v>
                </c:pt>
              </c:numCache>
            </c:numRef>
          </c:xVal>
          <c:yVal>
            <c:numRef>
              <c:f>Sheet1!$B$60:$B$61</c:f>
              <c:numCache>
                <c:formatCode>General</c:formatCode>
                <c:ptCount val="2"/>
                <c:pt idx="0">
                  <c:v>0.8844719227641429</c:v>
                </c:pt>
                <c:pt idx="1">
                  <c:v>0.8844719227641429</c:v>
                </c:pt>
              </c:numCache>
            </c:numRef>
          </c:yVal>
          <c:smooth val="0"/>
          <c:extLst>
            <c:ext xmlns:c16="http://schemas.microsoft.com/office/drawing/2014/chart" uri="{C3380CC4-5D6E-409C-BE32-E72D297353CC}">
              <c16:uniqueId val="{0000000A-F32D-48B7-BC20-E66FC6253BAD}"/>
            </c:ext>
          </c:extLst>
        </c:ser>
        <c:ser>
          <c:idx val="5"/>
          <c:order val="5"/>
          <c:tx>
            <c:strRef>
              <c:f>Sheet1!$B$6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4:$A$65</c:f>
              <c:numCache>
                <c:formatCode>General</c:formatCode>
                <c:ptCount val="2"/>
                <c:pt idx="0">
                  <c:v>2274.3991796408404</c:v>
                </c:pt>
                <c:pt idx="1">
                  <c:v>2274.3991796408404</c:v>
                </c:pt>
              </c:numCache>
            </c:numRef>
          </c:xVal>
          <c:yVal>
            <c:numRef>
              <c:f>Sheet1!$B$64:$B$65</c:f>
              <c:numCache>
                <c:formatCode>General</c:formatCode>
                <c:ptCount val="2"/>
                <c:pt idx="0">
                  <c:v>0.884471922764142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6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68:$A$69</c:f>
              <c:numCache>
                <c:formatCode>General</c:formatCode>
                <c:ptCount val="2"/>
                <c:pt idx="0">
                  <c:v>0</c:v>
                </c:pt>
                <c:pt idx="1">
                  <c:v>444.687531821729</c:v>
                </c:pt>
              </c:numCache>
            </c:numRef>
          </c:xVal>
          <c:yVal>
            <c:numRef>
              <c:f>Sheet1!$B$68:$B$69</c:f>
              <c:numCache>
                <c:formatCode>General</c:formatCode>
                <c:ptCount val="2"/>
                <c:pt idx="0">
                  <c:v>0.5188824915494119</c:v>
                </c:pt>
                <c:pt idx="1">
                  <c:v>0.5188824915494119</c:v>
                </c:pt>
              </c:numCache>
            </c:numRef>
          </c:yVal>
          <c:smooth val="0"/>
          <c:extLst>
            <c:ext xmlns:c16="http://schemas.microsoft.com/office/drawing/2014/chart" uri="{C3380CC4-5D6E-409C-BE32-E72D297353CC}">
              <c16:uniqueId val="{00000011-F32D-48B7-BC20-E66FC6253BAD}"/>
            </c:ext>
          </c:extLst>
        </c:ser>
        <c:ser>
          <c:idx val="7"/>
          <c:order val="7"/>
          <c:tx>
            <c:strRef>
              <c:f>Sheet1!$B$7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2:$A$73</c:f>
              <c:numCache>
                <c:formatCode>General</c:formatCode>
                <c:ptCount val="2"/>
                <c:pt idx="0">
                  <c:v>444.687531821729</c:v>
                </c:pt>
                <c:pt idx="1">
                  <c:v>444.687531821729</c:v>
                </c:pt>
              </c:numCache>
            </c:numRef>
          </c:xVal>
          <c:yVal>
            <c:numRef>
              <c:f>Sheet1!$B$72:$B$73</c:f>
              <c:numCache>
                <c:formatCode>General</c:formatCode>
                <c:ptCount val="2"/>
                <c:pt idx="0">
                  <c:v>0.518882491549411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7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76:$A$124</c:f>
              <c:numCache>
                <c:formatCode>General</c:formatCode>
                <c:ptCount val="49"/>
                <c:pt idx="0">
                  <c:v>886.0</c:v>
                </c:pt>
                <c:pt idx="1">
                  <c:v>953.0</c:v>
                </c:pt>
                <c:pt idx="2">
                  <c:v>726.9524</c:v>
                </c:pt>
                <c:pt idx="3">
                  <c:v>913.3793</c:v>
                </c:pt>
                <c:pt idx="4">
                  <c:v>881.5714</c:v>
                </c:pt>
                <c:pt idx="5">
                  <c:v>788.1364</c:v>
                </c:pt>
                <c:pt idx="6">
                  <c:v>861.4359</c:v>
                </c:pt>
                <c:pt idx="7">
                  <c:v>590.3419</c:v>
                </c:pt>
                <c:pt idx="8">
                  <c:v>594.0978</c:v>
                </c:pt>
                <c:pt idx="9">
                  <c:v>848.3846</c:v>
                </c:pt>
                <c:pt idx="10">
                  <c:v>834.6</c:v>
                </c:pt>
                <c:pt idx="11">
                  <c:v>911.35</c:v>
                </c:pt>
                <c:pt idx="12">
                  <c:v>855.0588</c:v>
                </c:pt>
                <c:pt idx="13">
                  <c:v>925.6667</c:v>
                </c:pt>
                <c:pt idx="14">
                  <c:v>1153.8571</c:v>
                </c:pt>
                <c:pt idx="15">
                  <c:v>1819.0</c:v>
                </c:pt>
                <c:pt idx="16">
                  <c:v>1421.4</c:v>
                </c:pt>
                <c:pt idx="17">
                  <c:v>1765.0</c:v>
                </c:pt>
                <c:pt idx="18">
                  <c:v>382.1184</c:v>
                </c:pt>
                <c:pt idx="19">
                  <c:v>374.5111</c:v>
                </c:pt>
                <c:pt idx="20">
                  <c:v>375.9178</c:v>
                </c:pt>
                <c:pt idx="21">
                  <c:v>378.34</c:v>
                </c:pt>
                <c:pt idx="22">
                  <c:v>0.0</c:v>
                </c:pt>
                <c:pt idx="23">
                  <c:v>1615.0</c:v>
                </c:pt>
                <c:pt idx="24">
                  <c:v>0.0</c:v>
                </c:pt>
                <c:pt idx="25">
                  <c:v>0.0</c:v>
                </c:pt>
                <c:pt idx="26">
                  <c:v>0.0</c:v>
                </c:pt>
                <c:pt idx="27">
                  <c:v>0.0</c:v>
                </c:pt>
                <c:pt idx="28">
                  <c:v>1002.0</c:v>
                </c:pt>
                <c:pt idx="29">
                  <c:v>0.0</c:v>
                </c:pt>
                <c:pt idx="30">
                  <c:v>0.0</c:v>
                </c:pt>
                <c:pt idx="31">
                  <c:v>681.6667</c:v>
                </c:pt>
                <c:pt idx="32">
                  <c:v>502.3571</c:v>
                </c:pt>
                <c:pt idx="33">
                  <c:v>427.78</c:v>
                </c:pt>
                <c:pt idx="34">
                  <c:v>477.2432</c:v>
                </c:pt>
                <c:pt idx="35">
                  <c:v>516.5217</c:v>
                </c:pt>
                <c:pt idx="36">
                  <c:v>511.1176</c:v>
                </c:pt>
                <c:pt idx="37">
                  <c:v>487.6154</c:v>
                </c:pt>
                <c:pt idx="38">
                  <c:v>440.8125</c:v>
                </c:pt>
                <c:pt idx="39">
                  <c:v>441.0769</c:v>
                </c:pt>
                <c:pt idx="40">
                  <c:v>450.0</c:v>
                </c:pt>
                <c:pt idx="41">
                  <c:v>434.4706</c:v>
                </c:pt>
                <c:pt idx="42">
                  <c:v>506.1538</c:v>
                </c:pt>
                <c:pt idx="43">
                  <c:v>512.8333</c:v>
                </c:pt>
                <c:pt idx="44">
                  <c:v>484.6667</c:v>
                </c:pt>
                <c:pt idx="45">
                  <c:v>419.5</c:v>
                </c:pt>
                <c:pt idx="46">
                  <c:v>2274.3991796408404</c:v>
                </c:pt>
                <c:pt idx="47">
                  <c:v>2274.3991796408404</c:v>
                </c:pt>
                <c:pt idx="48">
                  <c:v>444.687531821729</c:v>
                </c:pt>
              </c:numCache>
            </c:numRef>
          </c:xVal>
          <c:yVal>
            <c:numRef>
              <c:f>Sheet1!$B$76:$B$124</c:f>
              <c:numCache>
                <c:formatCode>General</c:formatCode>
                <c:ptCount val="49"/>
                <c:pt idx="0">
                  <c:v>0.6070598687998482</c:v>
                </c:pt>
                <c:pt idx="1">
                  <c:v>0.6204469464416081</c:v>
                </c:pt>
                <c:pt idx="2">
                  <c:v>0.5752810244724514</c:v>
                </c:pt>
                <c:pt idx="3">
                  <c:v>0.6125304481263711</c:v>
                </c:pt>
                <c:pt idx="4">
                  <c:v>0.6061750029484407</c:v>
                </c:pt>
                <c:pt idx="5">
                  <c:v>0.5875060238520551</c:v>
                </c:pt>
                <c:pt idx="6">
                  <c:v>0.6021517865028339</c:v>
                </c:pt>
                <c:pt idx="7">
                  <c:v>0.5479852726787254</c:v>
                </c:pt>
                <c:pt idx="8">
                  <c:v>0.5487357282744669</c:v>
                </c:pt>
                <c:pt idx="9">
                  <c:v>0.5995440437203577</c:v>
                </c:pt>
                <c:pt idx="10">
                  <c:v>0.5967897823701995</c:v>
                </c:pt>
                <c:pt idx="11">
                  <c:v>0.6121249795195289</c:v>
                </c:pt>
                <c:pt idx="12">
                  <c:v>0.600877596460606</c:v>
                </c:pt>
                <c:pt idx="13">
                  <c:v>0.6149855582430184</c:v>
                </c:pt>
                <c:pt idx="14">
                  <c:v>0.6605796269281565</c:v>
                </c:pt>
                <c:pt idx="15">
                  <c:v>0.7934799201395799</c:v>
                </c:pt>
                <c:pt idx="16">
                  <c:v>0.7140366056565388</c:v>
                </c:pt>
                <c:pt idx="17">
                  <c:v>0.7826903351745794</c:v>
                </c:pt>
                <c:pt idx="18">
                  <c:v>0.5063807329572477</c:v>
                </c:pt>
                <c:pt idx="19">
                  <c:v>0.5048607401849469</c:v>
                </c:pt>
                <c:pt idx="20">
                  <c:v>0.5051418088732851</c:v>
                </c:pt>
                <c:pt idx="21">
                  <c:v>0.5056257817011041</c:v>
                </c:pt>
                <c:pt idx="22">
                  <c:v>0.4300307525222465</c:v>
                </c:pt>
                <c:pt idx="23">
                  <c:v>0.7527192658273556</c:v>
                </c:pt>
                <c:pt idx="24">
                  <c:v>0.4300307525222465</c:v>
                </c:pt>
                <c:pt idx="25">
                  <c:v>0.4300307525222465</c:v>
                </c:pt>
                <c:pt idx="26">
                  <c:v>0.4300307525222465</c:v>
                </c:pt>
                <c:pt idx="27">
                  <c:v>0.4300307525222465</c:v>
                </c:pt>
                <c:pt idx="28">
                  <c:v>0.6302374957617012</c:v>
                </c:pt>
                <c:pt idx="29">
                  <c:v>0.4300307525222465</c:v>
                </c:pt>
                <c:pt idx="30">
                  <c:v>0.4300307525222465</c:v>
                </c:pt>
                <c:pt idx="31">
                  <c:v>0.5662326187715343</c:v>
                </c:pt>
                <c:pt idx="32">
                  <c:v>0.5304052823967147</c:v>
                </c:pt>
                <c:pt idx="33">
                  <c:v>0.515504246157949</c:v>
                </c:pt>
                <c:pt idx="34">
                  <c:v>0.5253873461401863</c:v>
                </c:pt>
                <c:pt idx="35">
                  <c:v>0.5332354704558859</c:v>
                </c:pt>
                <c:pt idx="36">
                  <c:v>0.532155692750157</c:v>
                </c:pt>
                <c:pt idx="37">
                  <c:v>0.5274597856434082</c:v>
                </c:pt>
                <c:pt idx="38">
                  <c:v>0.5181082325664004</c:v>
                </c:pt>
                <c:pt idx="39">
                  <c:v>0.518161061571303</c:v>
                </c:pt>
                <c:pt idx="40">
                  <c:v>0.5199439605639178</c:v>
                </c:pt>
                <c:pt idx="41">
                  <c:v>0.5168410757351126</c:v>
                </c:pt>
                <c:pt idx="42">
                  <c:v>0.5311638901233187</c:v>
                </c:pt>
                <c:pt idx="43">
                  <c:v>0.5324985018413505</c:v>
                </c:pt>
                <c:pt idx="44">
                  <c:v>0.5268706143621804</c:v>
                </c:pt>
                <c:pt idx="45">
                  <c:v>0.5138498431299823</c:v>
                </c:pt>
                <c:pt idx="46">
                  <c:v>0.8844719227641429</c:v>
                </c:pt>
                <c:pt idx="47">
                  <c:v>0.8844719227641429</c:v>
                </c:pt>
                <c:pt idx="48">
                  <c:v>0.518882491549411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2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c:f>
              <c:numCache>
                <c:formatCode>General</c:formatCode>
                <c:ptCount val="4"/>
                <c:pt idx="0">
                  <c:v>0.0</c:v>
                </c:pt>
                <c:pt idx="1">
                  <c:v>0.0</c:v>
                </c:pt>
                <c:pt idx="2">
                  <c:v>0.0</c:v>
                </c:pt>
                <c:pt idx="3">
                  <c:v>0.0</c:v>
                </c:pt>
              </c:numCache>
            </c:numRef>
          </c:xVal>
          <c:yVal>
            <c:numRef>
              <c:f>Sheet1!$B$2:$B$5</c:f>
              <c:numCache>
                <c:formatCode>General</c:formatCode>
                <c:ptCount val="4"/>
                <c:pt idx="0">
                  <c:v>0.43243243243243246</c:v>
                </c:pt>
                <c:pt idx="1">
                  <c:v>0.5306122448979592</c:v>
                </c:pt>
                <c:pt idx="2">
                  <c:v>0.5</c:v>
                </c:pt>
                <c:pt idx="3">
                  <c:v>0.6071428571428571</c:v>
                </c:pt>
              </c:numCache>
            </c:numRef>
          </c:yVal>
          <c:smooth val="0"/>
          <c:extLst>
            <c:ext xmlns:c16="http://schemas.microsoft.com/office/drawing/2014/chart" uri="{C3380CC4-5D6E-409C-BE32-E72D297353CC}">
              <c16:uniqueId val="{00000000-096C-4121-9522-6AB7243CCAAE}"/>
            </c:ext>
          </c:extLst>
        </c:ser>
        <c:ser>
          <c:idx val="1"/>
          <c:order val="1"/>
          <c:tx>
            <c:strRef>
              <c:f>Sheet1!$B$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A$35</c:f>
              <c:numCache>
                <c:formatCode>General</c:formatCode>
                <c:ptCount val="28"/>
                <c:pt idx="0">
                  <c:v>1.1666906976744185</c:v>
                </c:pt>
                <c:pt idx="1">
                  <c:v>1.6231409392284075</c:v>
                </c:pt>
                <c:pt idx="2">
                  <c:v>0.8984829329962074</c:v>
                </c:pt>
                <c:pt idx="3">
                  <c:v>1.115676359039191</c:v>
                </c:pt>
                <c:pt idx="4">
                  <c:v>0.3220551201011378</c:v>
                </c:pt>
                <c:pt idx="5">
                  <c:v>0.27060050578034683</c:v>
                </c:pt>
                <c:pt idx="6">
                  <c:v>0.2533992585102797</c:v>
                </c:pt>
                <c:pt idx="7">
                  <c:v>0.2125505617977528</c:v>
                </c:pt>
                <c:pt idx="8">
                  <c:v>0.0</c:v>
                </c:pt>
                <c:pt idx="9">
                  <c:v>1.0886417256488035</c:v>
                </c:pt>
                <c:pt idx="10">
                  <c:v>0.0</c:v>
                </c:pt>
                <c:pt idx="11">
                  <c:v>0.0</c:v>
                </c:pt>
                <c:pt idx="12">
                  <c:v>0.0</c:v>
                </c:pt>
                <c:pt idx="13">
                  <c:v>0.0</c:v>
                </c:pt>
                <c:pt idx="14">
                  <c:v>0.9213793103448276</c:v>
                </c:pt>
                <c:pt idx="15">
                  <c:v>0.0</c:v>
                </c:pt>
                <c:pt idx="16">
                  <c:v>0.0</c:v>
                </c:pt>
                <c:pt idx="17">
                  <c:v>0.41313133333333335</c:v>
                </c:pt>
                <c:pt idx="18">
                  <c:v>0.3157492771841609</c:v>
                </c:pt>
                <c:pt idx="19">
                  <c:v>0.24755787037037036</c:v>
                </c:pt>
                <c:pt idx="20">
                  <c:v>0.29958769617074704</c:v>
                </c:pt>
                <c:pt idx="21">
                  <c:v>0.3180552339901478</c:v>
                </c:pt>
                <c:pt idx="22">
                  <c:v>0.32085222849968614</c:v>
                </c:pt>
                <c:pt idx="23">
                  <c:v>0.4930388270980789</c:v>
                </c:pt>
                <c:pt idx="24">
                  <c:v>0.5117834175935289</c:v>
                </c:pt>
                <c:pt idx="25">
                  <c:v>0.34569147286821705</c:v>
                </c:pt>
                <c:pt idx="26">
                  <c:v>0.39318552208800644</c:v>
                </c:pt>
                <c:pt idx="27">
                  <c:v>0.4241658240647118</c:v>
                </c:pt>
              </c:numCache>
            </c:numRef>
          </c:xVal>
          <c:yVal>
            <c:numRef>
              <c:f>Sheet1!$B$8:$B$35</c:f>
              <c:numCache>
                <c:formatCode>General</c:formatCode>
                <c:ptCount val="28"/>
                <c:pt idx="0">
                  <c:v>0.7</c:v>
                </c:pt>
                <c:pt idx="1">
                  <c:v>0.35714285714285715</c:v>
                </c:pt>
                <c:pt idx="2">
                  <c:v>0.4166666666666667</c:v>
                </c:pt>
                <c:pt idx="3">
                  <c:v>0.3333333333333333</c:v>
                </c:pt>
                <c:pt idx="4">
                  <c:v>0.95</c:v>
                </c:pt>
                <c:pt idx="5">
                  <c:v>0.9574468085106383</c:v>
                </c:pt>
                <c:pt idx="6">
                  <c:v>0.9240506329113924</c:v>
                </c:pt>
                <c:pt idx="7">
                  <c:v>0.9259259259259259</c:v>
                </c:pt>
                <c:pt idx="8">
                  <c:v>0.0</c:v>
                </c:pt>
                <c:pt idx="9">
                  <c:v>0.14285714285714285</c:v>
                </c:pt>
                <c:pt idx="10">
                  <c:v>0.0</c:v>
                </c:pt>
                <c:pt idx="11">
                  <c:v>0.0</c:v>
                </c:pt>
                <c:pt idx="12">
                  <c:v>0.0</c:v>
                </c:pt>
                <c:pt idx="13">
                  <c:v>0.0</c:v>
                </c:pt>
                <c:pt idx="14">
                  <c:v>0.09090909090909091</c:v>
                </c:pt>
                <c:pt idx="15">
                  <c:v>0.0</c:v>
                </c:pt>
                <c:pt idx="16">
                  <c:v>0.0</c:v>
                </c:pt>
                <c:pt idx="17">
                  <c:v>0.1875</c:v>
                </c:pt>
                <c:pt idx="18">
                  <c:v>0.8076923076923077</c:v>
                </c:pt>
                <c:pt idx="19">
                  <c:v>0.78125</c:v>
                </c:pt>
                <c:pt idx="20">
                  <c:v>0.7115384615384616</c:v>
                </c:pt>
                <c:pt idx="21">
                  <c:v>0.5476190476190477</c:v>
                </c:pt>
                <c:pt idx="22">
                  <c:v>0.53125</c:v>
                </c:pt>
                <c:pt idx="23">
                  <c:v>0.41935483870967744</c:v>
                </c:pt>
                <c:pt idx="24">
                  <c:v>0.48148148148148145</c:v>
                </c:pt>
                <c:pt idx="25">
                  <c:v>0.4444444444444444</c:v>
                </c:pt>
                <c:pt idx="26">
                  <c:v>0.40540540540540543</c:v>
                </c:pt>
                <c:pt idx="27">
                  <c:v>0.35294117647058826</c:v>
                </c:pt>
              </c:numCache>
            </c:numRef>
          </c:yVal>
          <c:smooth val="0"/>
          <c:extLst>
            <c:ext xmlns:c16="http://schemas.microsoft.com/office/drawing/2014/chart" uri="{C3380CC4-5D6E-409C-BE32-E72D297353CC}">
              <c16:uniqueId val="{00000002-096C-4121-9522-6AB7243CCAAE}"/>
            </c:ext>
          </c:extLst>
        </c:ser>
        <c:ser>
          <c:idx val="2"/>
          <c:order val="2"/>
          <c:tx>
            <c:strRef>
              <c:f>Sheet1!$B$3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38:$A$39</c:f>
              <c:numCache>
                <c:formatCode>General</c:formatCode>
                <c:ptCount val="2"/>
                <c:pt idx="0">
                  <c:v>0</c:v>
                </c:pt>
                <c:pt idx="1">
                  <c:v>0.9946793335920219</c:v>
                </c:pt>
              </c:numCache>
            </c:numRef>
          </c:xVal>
          <c:yVal>
            <c:numRef>
              <c:f>Sheet1!$B$38:$B$39</c:f>
              <c:numCache>
                <c:formatCode>General</c:formatCode>
                <c:ptCount val="2"/>
                <c:pt idx="0">
                  <c:v>0.46587632231021103</c:v>
                </c:pt>
                <c:pt idx="1">
                  <c:v>0.46587632231021103</c:v>
                </c:pt>
              </c:numCache>
            </c:numRef>
          </c:yVal>
          <c:smooth val="0"/>
          <c:extLst>
            <c:ext xmlns:c16="http://schemas.microsoft.com/office/drawing/2014/chart" uri="{C3380CC4-5D6E-409C-BE32-E72D297353CC}">
              <c16:uniqueId val="{00000005-096C-4121-9522-6AB7243CCAAE}"/>
            </c:ext>
          </c:extLst>
        </c:ser>
        <c:ser>
          <c:idx val="3"/>
          <c:order val="3"/>
          <c:tx>
            <c:strRef>
              <c:f>Sheet1!$B$4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2:$A$43</c:f>
              <c:numCache>
                <c:formatCode>General</c:formatCode>
                <c:ptCount val="2"/>
                <c:pt idx="0">
                  <c:v>0.9946793335920219</c:v>
                </c:pt>
                <c:pt idx="1">
                  <c:v>0.9946793335920219</c:v>
                </c:pt>
              </c:numCache>
            </c:numRef>
          </c:xVal>
          <c:yVal>
            <c:numRef>
              <c:f>Sheet1!$B$42:$B$43</c:f>
              <c:numCache>
                <c:formatCode>General</c:formatCode>
                <c:ptCount val="2"/>
                <c:pt idx="0">
                  <c:v>0.4658763223102110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4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46:$A$47</c:f>
              <c:numCache>
                <c:formatCode>General</c:formatCode>
                <c:ptCount val="2"/>
                <c:pt idx="0">
                  <c:v>0</c:v>
                </c:pt>
                <c:pt idx="1">
                  <c:v>0.9946793335920219</c:v>
                </c:pt>
              </c:numCache>
            </c:numRef>
          </c:xVal>
          <c:yVal>
            <c:numRef>
              <c:f>Sheet1!$B$46:$B$47</c:f>
              <c:numCache>
                <c:formatCode>General</c:formatCode>
                <c:ptCount val="2"/>
                <c:pt idx="0">
                  <c:v>0.46587632231021103</c:v>
                </c:pt>
                <c:pt idx="1">
                  <c:v>0.46587632231021103</c:v>
                </c:pt>
              </c:numCache>
            </c:numRef>
          </c:yVal>
          <c:smooth val="0"/>
          <c:extLst>
            <c:ext xmlns:c16="http://schemas.microsoft.com/office/drawing/2014/chart" uri="{C3380CC4-5D6E-409C-BE32-E72D297353CC}">
              <c16:uniqueId val="{0000000D-096C-4121-9522-6AB7243CCAAE}"/>
            </c:ext>
          </c:extLst>
        </c:ser>
        <c:ser>
          <c:idx val="5"/>
          <c:order val="5"/>
          <c:tx>
            <c:strRef>
              <c:f>Sheet1!$B$4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0:$A$51</c:f>
              <c:numCache>
                <c:formatCode>General</c:formatCode>
                <c:ptCount val="2"/>
                <c:pt idx="0">
                  <c:v>0.9946793335920219</c:v>
                </c:pt>
                <c:pt idx="1">
                  <c:v>0.9946793335920219</c:v>
                </c:pt>
              </c:numCache>
            </c:numRef>
          </c:xVal>
          <c:yVal>
            <c:numRef>
              <c:f>Sheet1!$B$50:$B$51</c:f>
              <c:numCache>
                <c:formatCode>General</c:formatCode>
                <c:ptCount val="2"/>
                <c:pt idx="0">
                  <c:v>0.4658763223102110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5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54:$A$55</c:f>
              <c:numCache>
                <c:formatCode>General</c:formatCode>
                <c:ptCount val="2"/>
                <c:pt idx="0">
                  <c:v>0</c:v>
                </c:pt>
                <c:pt idx="1">
                  <c:v>1.529394373223222</c:v>
                </c:pt>
              </c:numCache>
            </c:numRef>
          </c:xVal>
          <c:yVal>
            <c:numRef>
              <c:f>Sheet1!$B$54:$B$55</c:f>
              <c:numCache>
                <c:formatCode>General</c:formatCode>
                <c:ptCount val="2"/>
                <c:pt idx="0">
                  <c:v>0.5188824915494119</c:v>
                </c:pt>
                <c:pt idx="1">
                  <c:v>0.5188824915494119</c:v>
                </c:pt>
              </c:numCache>
            </c:numRef>
          </c:yVal>
          <c:smooth val="0"/>
          <c:extLst>
            <c:ext xmlns:c16="http://schemas.microsoft.com/office/drawing/2014/chart" uri="{C3380CC4-5D6E-409C-BE32-E72D297353CC}">
              <c16:uniqueId val="{00000015-096C-4121-9522-6AB7243CCAAE}"/>
            </c:ext>
          </c:extLst>
        </c:ser>
        <c:ser>
          <c:idx val="7"/>
          <c:order val="7"/>
          <c:tx>
            <c:strRef>
              <c:f>Sheet1!$B$5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8:$A$59</c:f>
              <c:numCache>
                <c:formatCode>General</c:formatCode>
                <c:ptCount val="2"/>
                <c:pt idx="0">
                  <c:v>1.529394373223222</c:v>
                </c:pt>
                <c:pt idx="1">
                  <c:v>1.529394373223222</c:v>
                </c:pt>
              </c:numCache>
            </c:numRef>
          </c:xVal>
          <c:yVal>
            <c:numRef>
              <c:f>Sheet1!$B$58:$B$59</c:f>
              <c:numCache>
                <c:formatCode>General</c:formatCode>
                <c:ptCount val="2"/>
                <c:pt idx="0">
                  <c:v>0.518882491549411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6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62:$A$92</c:f>
              <c:numCache>
                <c:formatCode>General</c:formatCode>
                <c:ptCount val="31"/>
                <c:pt idx="0">
                  <c:v>1.1666906976744185</c:v>
                </c:pt>
                <c:pt idx="1">
                  <c:v>1.6231409392284075</c:v>
                </c:pt>
                <c:pt idx="2">
                  <c:v>0.8984829329962074</c:v>
                </c:pt>
                <c:pt idx="3">
                  <c:v>1.115676359039191</c:v>
                </c:pt>
                <c:pt idx="4">
                  <c:v>0.3220551201011378</c:v>
                </c:pt>
                <c:pt idx="5">
                  <c:v>0.27060050578034683</c:v>
                </c:pt>
                <c:pt idx="6">
                  <c:v>0.2533992585102797</c:v>
                </c:pt>
                <c:pt idx="7">
                  <c:v>0.2125505617977528</c:v>
                </c:pt>
                <c:pt idx="8">
                  <c:v>0.0</c:v>
                </c:pt>
                <c:pt idx="9">
                  <c:v>1.0886417256488035</c:v>
                </c:pt>
                <c:pt idx="10">
                  <c:v>0.0</c:v>
                </c:pt>
                <c:pt idx="11">
                  <c:v>0.0</c:v>
                </c:pt>
                <c:pt idx="12">
                  <c:v>0.0</c:v>
                </c:pt>
                <c:pt idx="13">
                  <c:v>0.0</c:v>
                </c:pt>
                <c:pt idx="14">
                  <c:v>0.9213793103448276</c:v>
                </c:pt>
                <c:pt idx="15">
                  <c:v>0.0</c:v>
                </c:pt>
                <c:pt idx="16">
                  <c:v>0.0</c:v>
                </c:pt>
                <c:pt idx="17">
                  <c:v>0.41313133333333335</c:v>
                </c:pt>
                <c:pt idx="18">
                  <c:v>0.3157492771841609</c:v>
                </c:pt>
                <c:pt idx="19">
                  <c:v>0.24755787037037036</c:v>
                </c:pt>
                <c:pt idx="20">
                  <c:v>0.29958769617074704</c:v>
                </c:pt>
                <c:pt idx="21">
                  <c:v>0.3180552339901478</c:v>
                </c:pt>
                <c:pt idx="22">
                  <c:v>0.32085222849968614</c:v>
                </c:pt>
                <c:pt idx="23">
                  <c:v>0.4930388270980789</c:v>
                </c:pt>
                <c:pt idx="24">
                  <c:v>0.5117834175935289</c:v>
                </c:pt>
                <c:pt idx="25">
                  <c:v>0.34569147286821705</c:v>
                </c:pt>
                <c:pt idx="26">
                  <c:v>0.39318552208800644</c:v>
                </c:pt>
                <c:pt idx="27">
                  <c:v>0.4241658240647118</c:v>
                </c:pt>
                <c:pt idx="28">
                  <c:v>0.9946793335920219</c:v>
                </c:pt>
                <c:pt idx="29">
                  <c:v>0.9946793335920219</c:v>
                </c:pt>
                <c:pt idx="30">
                  <c:v>1.529394373223222</c:v>
                </c:pt>
              </c:numCache>
            </c:numRef>
          </c:xVal>
          <c:yVal>
            <c:numRef>
              <c:f>Sheet1!$B$62:$B$92</c:f>
              <c:numCache>
                <c:formatCode>General</c:formatCode>
                <c:ptCount val="31"/>
                <c:pt idx="0">
                  <c:v>0.48292776616319466</c:v>
                </c:pt>
                <c:pt idx="1">
                  <c:v>0.5281755653830786</c:v>
                </c:pt>
                <c:pt idx="2">
                  <c:v>0.45634039698127216</c:v>
                </c:pt>
                <c:pt idx="3">
                  <c:v>0.47787072742871317</c:v>
                </c:pt>
                <c:pt idx="4">
                  <c:v>0.39919925087554053</c:v>
                </c:pt>
                <c:pt idx="5">
                  <c:v>0.3940985677215624</c:v>
                </c:pt>
                <c:pt idx="6">
                  <c:v>0.39239341234655856</c:v>
                </c:pt>
                <c:pt idx="7">
                  <c:v>0.38834409117422275</c:v>
                </c:pt>
                <c:pt idx="8">
                  <c:v>0.3672740067077197</c:v>
                </c:pt>
                <c:pt idx="9">
                  <c:v>0.47519079092683547</c:v>
                </c:pt>
                <c:pt idx="10">
                  <c:v>0.3672740067077197</c:v>
                </c:pt>
                <c:pt idx="11">
                  <c:v>0.3672740067077197</c:v>
                </c:pt>
                <c:pt idx="12">
                  <c:v>0.3672740067077197</c:v>
                </c:pt>
                <c:pt idx="13">
                  <c:v>0.3672740067077197</c:v>
                </c:pt>
                <c:pt idx="14">
                  <c:v>0.45861010918825</c:v>
                </c:pt>
                <c:pt idx="15">
                  <c:v>0.3672740067077197</c:v>
                </c:pt>
                <c:pt idx="16">
                  <c:v>0.3672740067077197</c:v>
                </c:pt>
                <c:pt idx="17">
                  <c:v>0.40822761330121865</c:v>
                </c:pt>
                <c:pt idx="18">
                  <c:v>0.39857415423138476</c:v>
                </c:pt>
                <c:pt idx="19">
                  <c:v>0.3918143569892425</c:v>
                </c:pt>
                <c:pt idx="20">
                  <c:v>0.3969720607145072</c:v>
                </c:pt>
                <c:pt idx="21">
                  <c:v>0.3988027431575551</c:v>
                </c:pt>
                <c:pt idx="22">
                  <c:v>0.3990800085294735</c:v>
                </c:pt>
                <c:pt idx="23">
                  <c:v>0.4161488233365598</c:v>
                </c:pt>
                <c:pt idx="24">
                  <c:v>0.4180069699426598</c:v>
                </c:pt>
                <c:pt idx="25">
                  <c:v>0.40154231666219464</c:v>
                </c:pt>
                <c:pt idx="26">
                  <c:v>0.4062503899801538</c:v>
                </c:pt>
                <c:pt idx="27">
                  <c:v>0.40932145963024513</c:v>
                </c:pt>
                <c:pt idx="28">
                  <c:v>0.46587632231021103</c:v>
                </c:pt>
                <c:pt idx="29">
                  <c:v>0.46587632231021103</c:v>
                </c:pt>
                <c:pt idx="30">
                  <c:v>0.518882491549411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4893617021276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35</c:f>
              <c:numCache>
                <c:formatCode>General</c:formatCode>
                <c:ptCount val="32"/>
                <c:pt idx="0">
                  <c:v>1153.8571</c:v>
                </c:pt>
                <c:pt idx="1">
                  <c:v>1819.0</c:v>
                </c:pt>
                <c:pt idx="2">
                  <c:v>1421.4</c:v>
                </c:pt>
                <c:pt idx="3">
                  <c:v>1765.0</c:v>
                </c:pt>
                <c:pt idx="4">
                  <c:v>382.1184</c:v>
                </c:pt>
                <c:pt idx="5">
                  <c:v>374.5111</c:v>
                </c:pt>
                <c:pt idx="6">
                  <c:v>375.9178</c:v>
                </c:pt>
                <c:pt idx="7">
                  <c:v>378.34</c:v>
                </c:pt>
                <c:pt idx="8">
                  <c:v>0.0</c:v>
                </c:pt>
                <c:pt idx="9">
                  <c:v>1615.0</c:v>
                </c:pt>
                <c:pt idx="10">
                  <c:v>0.0</c:v>
                </c:pt>
                <c:pt idx="11">
                  <c:v>0.0</c:v>
                </c:pt>
                <c:pt idx="12">
                  <c:v>0.0</c:v>
                </c:pt>
                <c:pt idx="13">
                  <c:v>0.0</c:v>
                </c:pt>
                <c:pt idx="14">
                  <c:v>1002.0</c:v>
                </c:pt>
                <c:pt idx="15">
                  <c:v>0.0</c:v>
                </c:pt>
                <c:pt idx="16">
                  <c:v>0.0</c:v>
                </c:pt>
                <c:pt idx="17">
                  <c:v>681.6667</c:v>
                </c:pt>
                <c:pt idx="18">
                  <c:v>502.3571</c:v>
                </c:pt>
                <c:pt idx="19">
                  <c:v>427.78</c:v>
                </c:pt>
                <c:pt idx="20">
                  <c:v>477.2432</c:v>
                </c:pt>
                <c:pt idx="21">
                  <c:v>516.5217</c:v>
                </c:pt>
                <c:pt idx="22">
                  <c:v>511.1176</c:v>
                </c:pt>
                <c:pt idx="23">
                  <c:v>487.6154</c:v>
                </c:pt>
                <c:pt idx="24">
                  <c:v>440.8125</c:v>
                </c:pt>
                <c:pt idx="25">
                  <c:v>441.0769</c:v>
                </c:pt>
                <c:pt idx="26">
                  <c:v>450.0</c:v>
                </c:pt>
                <c:pt idx="27">
                  <c:v>434.4706</c:v>
                </c:pt>
                <c:pt idx="28">
                  <c:v>506.1538</c:v>
                </c:pt>
                <c:pt idx="29">
                  <c:v>512.8333</c:v>
                </c:pt>
                <c:pt idx="30">
                  <c:v>484.6667</c:v>
                </c:pt>
                <c:pt idx="31">
                  <c:v>419.5</c:v>
                </c:pt>
              </c:numCache>
            </c:numRef>
          </c:xVal>
          <c:yVal>
            <c:numRef>
              <c:f>Sheet1!$B$4:$B$35</c:f>
              <c:numCache>
                <c:formatCode>General</c:formatCode>
                <c:ptCount val="32"/>
                <c:pt idx="0">
                  <c:v>0.7</c:v>
                </c:pt>
                <c:pt idx="1">
                  <c:v>0.35714285714285715</c:v>
                </c:pt>
                <c:pt idx="2">
                  <c:v>0.4166666666666667</c:v>
                </c:pt>
                <c:pt idx="3">
                  <c:v>0.3333333333333333</c:v>
                </c:pt>
                <c:pt idx="4">
                  <c:v>0.95</c:v>
                </c:pt>
                <c:pt idx="5">
                  <c:v>0.9574468085106383</c:v>
                </c:pt>
                <c:pt idx="6">
                  <c:v>0.9240506329113924</c:v>
                </c:pt>
                <c:pt idx="7">
                  <c:v>0.9259259259259259</c:v>
                </c:pt>
                <c:pt idx="8">
                  <c:v>0.0</c:v>
                </c:pt>
                <c:pt idx="9">
                  <c:v>0.14285714285714285</c:v>
                </c:pt>
                <c:pt idx="10">
                  <c:v>0.0</c:v>
                </c:pt>
                <c:pt idx="11">
                  <c:v>0.0</c:v>
                </c:pt>
                <c:pt idx="12">
                  <c:v>0.0</c:v>
                </c:pt>
                <c:pt idx="13">
                  <c:v>0.0</c:v>
                </c:pt>
                <c:pt idx="14">
                  <c:v>0.09090909090909091</c:v>
                </c:pt>
                <c:pt idx="15">
                  <c:v>0.0</c:v>
                </c:pt>
                <c:pt idx="16">
                  <c:v>0.0</c:v>
                </c:pt>
                <c:pt idx="17">
                  <c:v>0.1875</c:v>
                </c:pt>
                <c:pt idx="18">
                  <c:v>0.8076923076923077</c:v>
                </c:pt>
                <c:pt idx="19">
                  <c:v>0.78125</c:v>
                </c:pt>
                <c:pt idx="20">
                  <c:v>0.7115384615384616</c:v>
                </c:pt>
                <c:pt idx="21">
                  <c:v>0.5476190476190477</c:v>
                </c:pt>
                <c:pt idx="22">
                  <c:v>0.53125</c:v>
                </c:pt>
                <c:pt idx="23">
                  <c:v>0.41935483870967744</c:v>
                </c:pt>
                <c:pt idx="24">
                  <c:v>0.43243243243243246</c:v>
                </c:pt>
                <c:pt idx="25">
                  <c:v>0.5306122448979592</c:v>
                </c:pt>
                <c:pt idx="26">
                  <c:v>0.5</c:v>
                </c:pt>
                <c:pt idx="27">
                  <c:v>0.6071428571428571</c:v>
                </c:pt>
                <c:pt idx="28">
                  <c:v>0.48148148148148145</c:v>
                </c:pt>
                <c:pt idx="29">
                  <c:v>0.4444444444444444</c:v>
                </c:pt>
                <c:pt idx="30">
                  <c:v>0.40540540540540543</c:v>
                </c:pt>
                <c:pt idx="31">
                  <c:v>0.35294117647058826</c:v>
                </c:pt>
              </c:numCache>
            </c:numRef>
          </c:yVal>
          <c:smooth val="0"/>
          <c:extLst>
            <c:ext xmlns:c16="http://schemas.microsoft.com/office/drawing/2014/chart" uri="{C3380CC4-5D6E-409C-BE32-E72D297353CC}">
              <c16:uniqueId val="{00000002-F32D-48B7-BC20-E66FC6253BAD}"/>
            </c:ext>
          </c:extLst>
        </c:ser>
        <c:ser>
          <c:idx val="2"/>
          <c:order val="2"/>
          <c:tx>
            <c:strRef>
              <c:f>Sheet1!$B$37</c:f>
              <c:strCache>
                <c:ptCount val="1"/>
                <c:pt idx="0">
                  <c:v>Custom Linep3yQ</c:v>
                </c:pt>
              </c:strCache>
            </c:strRef>
          </c:tx>
          <c:spPr>
            <a:ln w="19050" cap="rnd">
              <a:solidFill>
                <a:srgbClr val="C00000"/>
              </a:solidFill>
              <a:prstDash val="sysDot"/>
              <a:round/>
            </a:ln>
            <a:effectLst/>
          </c:spPr>
          <c:marker>
            <c:symbol val="none"/>
          </c:marker>
          <c:xVal>
            <c:numRef>
              <c:f>Sheet1!$A$38:$A$39</c:f>
              <c:numCache>
                <c:formatCode>General</c:formatCode>
                <c:ptCount val="2"/>
                <c:pt idx="0">
                  <c:v>0</c:v>
                </c:pt>
                <c:pt idx="1">
                  <c:v>1080.6839435487673</c:v>
                </c:pt>
              </c:numCache>
            </c:numRef>
          </c:xVal>
          <c:yVal>
            <c:numRef>
              <c:f>Sheet1!$B$38:$B$39</c:f>
              <c:numCache>
                <c:formatCode>General</c:formatCode>
                <c:ptCount val="2"/>
                <c:pt idx="0">
                  <c:v>0.46587632231021103</c:v>
                </c:pt>
                <c:pt idx="1">
                  <c:v>0.46587632231021103</c:v>
                </c:pt>
              </c:numCache>
            </c:numRef>
          </c:yVal>
          <c:smooth val="0"/>
          <c:extLst>
            <c:ext xmlns:c16="http://schemas.microsoft.com/office/drawing/2014/chart" uri="{C3380CC4-5D6E-409C-BE32-E72D297353CC}">
              <c16:uniqueId val="{00000003-F32D-48B7-BC20-E66FC6253BAD}"/>
            </c:ext>
          </c:extLst>
        </c:ser>
        <c:ser>
          <c:idx val="3"/>
          <c:order val="3"/>
          <c:tx>
            <c:strRef>
              <c:f>Sheet1!$B$4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2:$A$43</c:f>
              <c:numCache>
                <c:formatCode>General</c:formatCode>
                <c:ptCount val="2"/>
                <c:pt idx="0">
                  <c:v>1080.6839435487673</c:v>
                </c:pt>
                <c:pt idx="1">
                  <c:v>1080.6839435487673</c:v>
                </c:pt>
              </c:numCache>
            </c:numRef>
          </c:xVal>
          <c:yVal>
            <c:numRef>
              <c:f>Sheet1!$B$42:$B$43</c:f>
              <c:numCache>
                <c:formatCode>General</c:formatCode>
                <c:ptCount val="2"/>
                <c:pt idx="0">
                  <c:v>0.4658763223102110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4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46:$A$47</c:f>
              <c:numCache>
                <c:formatCode>General</c:formatCode>
                <c:ptCount val="2"/>
                <c:pt idx="0">
                  <c:v>0</c:v>
                </c:pt>
                <c:pt idx="1">
                  <c:v>1080.6839435487673</c:v>
                </c:pt>
              </c:numCache>
            </c:numRef>
          </c:xVal>
          <c:yVal>
            <c:numRef>
              <c:f>Sheet1!$B$46:$B$47</c:f>
              <c:numCache>
                <c:formatCode>General</c:formatCode>
                <c:ptCount val="2"/>
                <c:pt idx="0">
                  <c:v>0.46587632231021103</c:v>
                </c:pt>
                <c:pt idx="1">
                  <c:v>0.46587632231021103</c:v>
                </c:pt>
              </c:numCache>
            </c:numRef>
          </c:yVal>
          <c:smooth val="0"/>
          <c:extLst>
            <c:ext xmlns:c16="http://schemas.microsoft.com/office/drawing/2014/chart" uri="{C3380CC4-5D6E-409C-BE32-E72D297353CC}">
              <c16:uniqueId val="{0000000A-F32D-48B7-BC20-E66FC6253BAD}"/>
            </c:ext>
          </c:extLst>
        </c:ser>
        <c:ser>
          <c:idx val="5"/>
          <c:order val="5"/>
          <c:tx>
            <c:strRef>
              <c:f>Sheet1!$B$4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0:$A$51</c:f>
              <c:numCache>
                <c:formatCode>General</c:formatCode>
                <c:ptCount val="2"/>
                <c:pt idx="0">
                  <c:v>1080.6839435487673</c:v>
                </c:pt>
                <c:pt idx="1">
                  <c:v>1080.6839435487673</c:v>
                </c:pt>
              </c:numCache>
            </c:numRef>
          </c:xVal>
          <c:yVal>
            <c:numRef>
              <c:f>Sheet1!$B$50:$B$51</c:f>
              <c:numCache>
                <c:formatCode>General</c:formatCode>
                <c:ptCount val="2"/>
                <c:pt idx="0">
                  <c:v>0.4658763223102110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5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54:$A$55</c:f>
              <c:numCache>
                <c:formatCode>General</c:formatCode>
                <c:ptCount val="2"/>
                <c:pt idx="0">
                  <c:v>0</c:v>
                </c:pt>
                <c:pt idx="1">
                  <c:v>1738.9193356995295</c:v>
                </c:pt>
              </c:numCache>
            </c:numRef>
          </c:xVal>
          <c:yVal>
            <c:numRef>
              <c:f>Sheet1!$B$54:$B$55</c:f>
              <c:numCache>
                <c:formatCode>General</c:formatCode>
                <c:ptCount val="2"/>
                <c:pt idx="0">
                  <c:v>0.5188824915494119</c:v>
                </c:pt>
                <c:pt idx="1">
                  <c:v>0.5188824915494119</c:v>
                </c:pt>
              </c:numCache>
            </c:numRef>
          </c:yVal>
          <c:smooth val="0"/>
          <c:extLst>
            <c:ext xmlns:c16="http://schemas.microsoft.com/office/drawing/2014/chart" uri="{C3380CC4-5D6E-409C-BE32-E72D297353CC}">
              <c16:uniqueId val="{00000011-F32D-48B7-BC20-E66FC6253BAD}"/>
            </c:ext>
          </c:extLst>
        </c:ser>
        <c:ser>
          <c:idx val="7"/>
          <c:order val="7"/>
          <c:tx>
            <c:strRef>
              <c:f>Sheet1!$B$5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8:$A$59</c:f>
              <c:numCache>
                <c:formatCode>General</c:formatCode>
                <c:ptCount val="2"/>
                <c:pt idx="0">
                  <c:v>1738.9193356995295</c:v>
                </c:pt>
                <c:pt idx="1">
                  <c:v>1738.9193356995295</c:v>
                </c:pt>
              </c:numCache>
            </c:numRef>
          </c:xVal>
          <c:yVal>
            <c:numRef>
              <c:f>Sheet1!$B$58:$B$59</c:f>
              <c:numCache>
                <c:formatCode>General</c:formatCode>
                <c:ptCount val="2"/>
                <c:pt idx="0">
                  <c:v>0.518882491549411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6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62:$A$96</c:f>
              <c:numCache>
                <c:formatCode>General</c:formatCode>
                <c:ptCount val="35"/>
                <c:pt idx="0">
                  <c:v>1153.8571</c:v>
                </c:pt>
                <c:pt idx="1">
                  <c:v>1819.0</c:v>
                </c:pt>
                <c:pt idx="2">
                  <c:v>1421.4</c:v>
                </c:pt>
                <c:pt idx="3">
                  <c:v>1765.0</c:v>
                </c:pt>
                <c:pt idx="4">
                  <c:v>382.1184</c:v>
                </c:pt>
                <c:pt idx="5">
                  <c:v>374.5111</c:v>
                </c:pt>
                <c:pt idx="6">
                  <c:v>375.9178</c:v>
                </c:pt>
                <c:pt idx="7">
                  <c:v>378.34</c:v>
                </c:pt>
                <c:pt idx="8">
                  <c:v>0.0</c:v>
                </c:pt>
                <c:pt idx="9">
                  <c:v>1615.0</c:v>
                </c:pt>
                <c:pt idx="10">
                  <c:v>0.0</c:v>
                </c:pt>
                <c:pt idx="11">
                  <c:v>0.0</c:v>
                </c:pt>
                <c:pt idx="12">
                  <c:v>0.0</c:v>
                </c:pt>
                <c:pt idx="13">
                  <c:v>0.0</c:v>
                </c:pt>
                <c:pt idx="14">
                  <c:v>1002.0</c:v>
                </c:pt>
                <c:pt idx="15">
                  <c:v>0.0</c:v>
                </c:pt>
                <c:pt idx="16">
                  <c:v>0.0</c:v>
                </c:pt>
                <c:pt idx="17">
                  <c:v>681.6667</c:v>
                </c:pt>
                <c:pt idx="18">
                  <c:v>502.3571</c:v>
                </c:pt>
                <c:pt idx="19">
                  <c:v>427.78</c:v>
                </c:pt>
                <c:pt idx="20">
                  <c:v>477.2432</c:v>
                </c:pt>
                <c:pt idx="21">
                  <c:v>516.5217</c:v>
                </c:pt>
                <c:pt idx="22">
                  <c:v>511.1176</c:v>
                </c:pt>
                <c:pt idx="23">
                  <c:v>487.6154</c:v>
                </c:pt>
                <c:pt idx="24">
                  <c:v>440.8125</c:v>
                </c:pt>
                <c:pt idx="25">
                  <c:v>441.0769</c:v>
                </c:pt>
                <c:pt idx="26">
                  <c:v>450.0</c:v>
                </c:pt>
                <c:pt idx="27">
                  <c:v>434.4706</c:v>
                </c:pt>
                <c:pt idx="28">
                  <c:v>506.1538</c:v>
                </c:pt>
                <c:pt idx="29">
                  <c:v>512.8333</c:v>
                </c:pt>
                <c:pt idx="30">
                  <c:v>484.6667</c:v>
                </c:pt>
                <c:pt idx="31">
                  <c:v>419.5</c:v>
                </c:pt>
                <c:pt idx="32">
                  <c:v>1080.6839435487673</c:v>
                </c:pt>
                <c:pt idx="33">
                  <c:v>1080.6839435487673</c:v>
                </c:pt>
                <c:pt idx="34">
                  <c:v>1738.9193356995295</c:v>
                </c:pt>
              </c:numCache>
            </c:numRef>
          </c:xVal>
          <c:yVal>
            <c:numRef>
              <c:f>Sheet1!$B$62:$B$96</c:f>
              <c:numCache>
                <c:formatCode>General</c:formatCode>
                <c:ptCount val="35"/>
                <c:pt idx="0">
                  <c:v>0.471768786861452</c:v>
                </c:pt>
                <c:pt idx="1">
                  <c:v>0.5253312016845944</c:v>
                </c:pt>
                <c:pt idx="2">
                  <c:v>0.49331339598647833</c:v>
                </c:pt>
                <c:pt idx="3">
                  <c:v>0.5209827069469226</c:v>
                </c:pt>
                <c:pt idx="4">
                  <c:v>0.40962245953168186</c:v>
                </c:pt>
                <c:pt idx="5">
                  <c:v>0.40900986130912836</c:v>
                </c:pt>
                <c:pt idx="6">
                  <c:v>0.4091231395970447</c:v>
                </c:pt>
                <c:pt idx="7">
                  <c:v>0.40931819374433337</c:v>
                </c:pt>
                <c:pt idx="8">
                  <c:v>0.37885135116932034</c:v>
                </c:pt>
                <c:pt idx="9">
                  <c:v>0.5089035548978346</c:v>
                </c:pt>
                <c:pt idx="10">
                  <c:v>0.37885135116932034</c:v>
                </c:pt>
                <c:pt idx="11">
                  <c:v>0.37885135116932034</c:v>
                </c:pt>
                <c:pt idx="12">
                  <c:v>0.37885135116932034</c:v>
                </c:pt>
                <c:pt idx="13">
                  <c:v>0.37885135116932034</c:v>
                </c:pt>
                <c:pt idx="14">
                  <c:v>0.45954008685722825</c:v>
                </c:pt>
                <c:pt idx="15">
                  <c:v>0.37885135116932034</c:v>
                </c:pt>
                <c:pt idx="16">
                  <c:v>0.37885135116932034</c:v>
                </c:pt>
                <c:pt idx="17">
                  <c:v>0.4337443892766541</c:v>
                </c:pt>
                <c:pt idx="18">
                  <c:v>0.4193050031282464</c:v>
                </c:pt>
                <c:pt idx="19">
                  <c:v>0.4132994822597128</c:v>
                </c:pt>
                <c:pt idx="20">
                  <c:v>0.4172826390172758</c:v>
                </c:pt>
                <c:pt idx="21">
                  <c:v>0.4204456455090098</c:v>
                </c:pt>
                <c:pt idx="22">
                  <c:v>0.42001046587175334</c:v>
                </c:pt>
                <c:pt idx="23">
                  <c:v>0.41811788822316615</c:v>
                </c:pt>
                <c:pt idx="24">
                  <c:v>0.41434895925357773</c:v>
                </c:pt>
                <c:pt idx="25">
                  <c:v>0.41437025077225625</c:v>
                </c:pt>
                <c:pt idx="26">
                  <c:v>0.4150888073165844</c:v>
                </c:pt>
                <c:pt idx="27">
                  <c:v>0.4138382607577103</c:v>
                </c:pt>
                <c:pt idx="28">
                  <c:v>0.41961074257214487</c:v>
                </c:pt>
                <c:pt idx="29">
                  <c:v>0.4201486272128908</c:v>
                </c:pt>
                <c:pt idx="30">
                  <c:v>0.4178804362521852</c:v>
                </c:pt>
                <c:pt idx="31">
                  <c:v>0.41263271306660315</c:v>
                </c:pt>
                <c:pt idx="32">
                  <c:v>0.46587632231021103</c:v>
                </c:pt>
                <c:pt idx="33">
                  <c:v>0.46587632231021103</c:v>
                </c:pt>
                <c:pt idx="34">
                  <c:v>0.518882491549411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8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4893617021276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0.7917874790861197</c:v>
                </c:pt>
                <c:pt idx="1">
                  <c:v>0.6826616417290933</c:v>
                </c:pt>
                <c:pt idx="2">
                  <c:v>0.5921202015902485</c:v>
                </c:pt>
                <c:pt idx="3">
                  <c:v>0.6434074720162815</c:v>
                </c:pt>
                <c:pt idx="4">
                  <c:v>0.5906946826758148</c:v>
                </c:pt>
                <c:pt idx="5">
                  <c:v>0.5482612383375742</c:v>
                </c:pt>
                <c:pt idx="6">
                  <c:v>0.6811869528530745</c:v>
                </c:pt>
                <c:pt idx="7">
                  <c:v>0.6951710952386498</c:v>
                </c:pt>
                <c:pt idx="8">
                  <c:v>0.8223880597014925</c:v>
                </c:pt>
                <c:pt idx="9">
                  <c:v>0.6893405369004674</c:v>
                </c:pt>
                <c:pt idx="10">
                  <c:v>0.5554435483870968</c:v>
                </c:pt>
                <c:pt idx="11">
                  <c:v>0.6319518294952011</c:v>
                </c:pt>
                <c:pt idx="12">
                  <c:v>0.7164463308324401</c:v>
                </c:pt>
                <c:pt idx="13">
                  <c:v>0.6604868145090418</c:v>
                </c:pt>
                <c:pt idx="14">
                  <c:v>0.8652760405600755</c:v>
                </c:pt>
                <c:pt idx="15">
                  <c:v>0.8122334950742538</c:v>
                </c:pt>
                <c:pt idx="16">
                  <c:v>0.7978146261759788</c:v>
                </c:pt>
                <c:pt idx="17">
                  <c:v>0.7796373779637378</c:v>
                </c:pt>
                <c:pt idx="18">
                  <c:v>0.6272032902467685</c:v>
                </c:pt>
                <c:pt idx="19">
                  <c:v>0.7667297723752151</c:v>
                </c:pt>
                <c:pt idx="20">
                  <c:v>0.7597772949483976</c:v>
                </c:pt>
                <c:pt idx="21">
                  <c:v>0.6089743439971244</c:v>
                </c:pt>
                <c:pt idx="22">
                  <c:v>0.6204575166398898</c:v>
                </c:pt>
                <c:pt idx="23">
                  <c:v>0.4897245299519021</c:v>
                </c:pt>
                <c:pt idx="24">
                  <c:v>0.9403614457831325</c:v>
                </c:pt>
                <c:pt idx="25">
                  <c:v>0.7204003266839366</c:v>
                </c:pt>
                <c:pt idx="26">
                  <c:v>0.7385857397756918</c:v>
                </c:pt>
                <c:pt idx="27">
                  <c:v>0.6700522344747534</c:v>
                </c:pt>
                <c:pt idx="28">
                  <c:v>1.0987834239195162</c:v>
                </c:pt>
                <c:pt idx="29">
                  <c:v>0.7568465688555193</c:v>
                </c:pt>
                <c:pt idx="30">
                  <c:v>0.7590005373455132</c:v>
                </c:pt>
                <c:pt idx="31">
                  <c:v>0.6480872880241882</c:v>
                </c:pt>
                <c:pt idx="32">
                  <c:v>0.6483122149083276</c:v>
                </c:pt>
                <c:pt idx="33">
                  <c:v>0.621366107303238</c:v>
                </c:pt>
                <c:pt idx="34">
                  <c:v>0.729578658795044</c:v>
                </c:pt>
                <c:pt idx="35">
                  <c:v>0.7675148933436112</c:v>
                </c:pt>
                <c:pt idx="36">
                  <c:v>0.6566618592003158</c:v>
                </c:pt>
                <c:pt idx="37">
                  <c:v>0.797151363026093</c:v>
                </c:pt>
                <c:pt idx="38">
                  <c:v>0.8289915696399315</c:v>
                </c:pt>
                <c:pt idx="39">
                  <c:v>0.7193187924634027</c:v>
                </c:pt>
                <c:pt idx="40">
                  <c:v>0.7061602851033499</c:v>
                </c:pt>
                <c:pt idx="41">
                  <c:v>0.6923904588185772</c:v>
                </c:pt>
                <c:pt idx="42">
                  <c:v>0.7828556223692122</c:v>
                </c:pt>
                <c:pt idx="43">
                  <c:v>0.7860270131353513</c:v>
                </c:pt>
                <c:pt idx="44">
                  <c:v>0.7250280799369502</c:v>
                </c:pt>
                <c:pt idx="45">
                  <c:v>0.671034371596721</c:v>
                </c:pt>
                <c:pt idx="46">
                  <c:v>0.777287348344144</c:v>
                </c:pt>
                <c:pt idx="47">
                  <c:v>0.7602259019629346</c:v>
                </c:pt>
                <c:pt idx="48">
                  <c:v>0.7509496668421988</c:v>
                </c:pt>
                <c:pt idx="49">
                  <c:v>0.6629730720292902</c:v>
                </c:pt>
                <c:pt idx="50">
                  <c:v>0.7547283375722541</c:v>
                </c:pt>
                <c:pt idx="51">
                  <c:v>0.607430978629057</c:v>
                </c:pt>
                <c:pt idx="52">
                  <c:v>0.760290880970793</c:v>
                </c:pt>
                <c:pt idx="53">
                  <c:v>0.7887461649555904</c:v>
                </c:pt>
                <c:pt idx="54">
                  <c:v>0.9091100338546189</c:v>
                </c:pt>
                <c:pt idx="55">
                  <c:v>0.7417911466894148</c:v>
                </c:pt>
                <c:pt idx="56">
                  <c:v>0.7378277153558053</c:v>
                </c:pt>
                <c:pt idx="57">
                  <c:v>0.6494972696434601</c:v>
                </c:pt>
                <c:pt idx="58">
                  <c:v>0.6248031397668796</c:v>
                </c:pt>
                <c:pt idx="59">
                  <c:v>0.723105360443623</c:v>
                </c:pt>
                <c:pt idx="60">
                  <c:v>0.6457828405235094</c:v>
                </c:pt>
                <c:pt idx="61">
                  <c:v>0.6010715189457387</c:v>
                </c:pt>
                <c:pt idx="62">
                  <c:v>0.45790816326530615</c:v>
                </c:pt>
                <c:pt idx="63">
                  <c:v>0.576569604333946</c:v>
                </c:pt>
                <c:pt idx="64">
                  <c:v>0.5084745762711864</c:v>
                </c:pt>
                <c:pt idx="65">
                  <c:v>0.6767231078002982</c:v>
                </c:pt>
                <c:pt idx="66">
                  <c:v>0.7594385911618344</c:v>
                </c:pt>
                <c:pt idx="67">
                  <c:v>0.9276357742291209</c:v>
                </c:pt>
                <c:pt idx="68">
                  <c:v>0.8003826530612246</c:v>
                </c:pt>
                <c:pt idx="69">
                  <c:v>0.991743435801675</c:v>
                </c:pt>
                <c:pt idx="70">
                  <c:v>0.676483080843834</c:v>
                </c:pt>
                <c:pt idx="71">
                  <c:v>0.7491212653778558</c:v>
                </c:pt>
                <c:pt idx="72">
                  <c:v>0.6872920935074466</c:v>
                </c:pt>
                <c:pt idx="73">
                  <c:v>0.8345128092422667</c:v>
                </c:pt>
                <c:pt idx="74">
                  <c:v>0.5898432675842417</c:v>
                </c:pt>
                <c:pt idx="75">
                  <c:v>0.7570497662202316</c:v>
                </c:pt>
                <c:pt idx="76">
                  <c:v>0.4925238251725271</c:v>
                </c:pt>
                <c:pt idx="77">
                  <c:v>0.988041579847904</c:v>
                </c:pt>
                <c:pt idx="78">
                  <c:v>0.7077445768602294</c:v>
                </c:pt>
                <c:pt idx="79">
                  <c:v>0.7275204359673024</c:v>
                </c:pt>
                <c:pt idx="80">
                  <c:v>0.853416389410661</c:v>
                </c:pt>
                <c:pt idx="81">
                  <c:v>0.5407580268769614</c:v>
                </c:pt>
                <c:pt idx="82">
                  <c:v>0.4496210170518885</c:v>
                </c:pt>
                <c:pt idx="83">
                  <c:v>0.6140149136025338</c:v>
                </c:pt>
                <c:pt idx="84">
                  <c:v>0.9038262668045501</c:v>
                </c:pt>
                <c:pt idx="85">
                  <c:v>0.6476434337753628</c:v>
                </c:pt>
                <c:pt idx="86">
                  <c:v>0.5588479775499712</c:v>
                </c:pt>
                <c:pt idx="87">
                  <c:v>0.8975160175742184</c:v>
                </c:pt>
                <c:pt idx="88">
                  <c:v>0.7224394199069473</c:v>
                </c:pt>
                <c:pt idx="89">
                  <c:v>0.5117069245086084</c:v>
                </c:pt>
                <c:pt idx="90">
                  <c:v>1.0174833784782074</c:v>
                </c:pt>
                <c:pt idx="91">
                  <c:v>0.7783577540940335</c:v>
                </c:pt>
                <c:pt idx="92">
                  <c:v>0.7118267040940629</c:v>
                </c:pt>
                <c:pt idx="93">
                  <c:v>0.7265402068436883</c:v>
                </c:pt>
                <c:pt idx="94">
                  <c:v>0.9772746023607055</c:v>
                </c:pt>
                <c:pt idx="95">
                  <c:v>0.5996503496503497</c:v>
                </c:pt>
                <c:pt idx="96">
                  <c:v>0.625</c:v>
                </c:pt>
                <c:pt idx="97">
                  <c:v>0.7381447464534984</c:v>
                </c:pt>
                <c:pt idx="98">
                  <c:v>0.5328822161133432</c:v>
                </c:pt>
                <c:pt idx="99">
                  <c:v>0.5768914203072257</c:v>
                </c:pt>
              </c:numCache>
            </c:numRef>
          </c:xVal>
          <c:yVal>
            <c:numRef>
              <c:f>Sheet1!$B$2:$B$101</c:f>
              <c:numCache>
                <c:formatCode>General</c:formatCode>
                <c:ptCount val="100"/>
                <c:pt idx="0">
                  <c:v>0.3076923076923077</c:v>
                </c:pt>
                <c:pt idx="1">
                  <c:v>0.3125</c:v>
                </c:pt>
                <c:pt idx="2">
                  <c:v>0.5</c:v>
                </c:pt>
                <c:pt idx="3">
                  <c:v>0.3333333333333333</c:v>
                </c:pt>
                <c:pt idx="4">
                  <c:v>0.375</c:v>
                </c:pt>
                <c:pt idx="5">
                  <c:v>0.38461538461538464</c:v>
                </c:pt>
                <c:pt idx="6">
                  <c:v>0.375</c:v>
                </c:pt>
                <c:pt idx="7">
                  <c:v>0.3</c:v>
                </c:pt>
                <c:pt idx="8">
                  <c:v>0.25</c:v>
                </c:pt>
                <c:pt idx="9">
                  <c:v>0.25</c:v>
                </c:pt>
                <c:pt idx="10">
                  <c:v>0.25</c:v>
                </c:pt>
                <c:pt idx="11">
                  <c:v>0.3</c:v>
                </c:pt>
                <c:pt idx="12">
                  <c:v>0.2727272727272727</c:v>
                </c:pt>
                <c:pt idx="13">
                  <c:v>0.2222222222222222</c:v>
                </c:pt>
                <c:pt idx="14">
                  <c:v>0.18181818181818182</c:v>
                </c:pt>
                <c:pt idx="15">
                  <c:v>0.2</c:v>
                </c:pt>
                <c:pt idx="16">
                  <c:v>0.18181818181818182</c:v>
                </c:pt>
                <c:pt idx="17">
                  <c:v>0.3333333333333333</c:v>
                </c:pt>
                <c:pt idx="18">
                  <c:v>0.2857142857142857</c:v>
                </c:pt>
                <c:pt idx="19">
                  <c:v>0.35714285714285715</c:v>
                </c:pt>
                <c:pt idx="20">
                  <c:v>0.36363636363636365</c:v>
                </c:pt>
                <c:pt idx="21">
                  <c:v>0.375</c:v>
                </c:pt>
                <c:pt idx="22">
                  <c:v>0.42857142857142855</c:v>
                </c:pt>
                <c:pt idx="23">
                  <c:v>0.375</c:v>
                </c:pt>
                <c:pt idx="24">
                  <c:v>0.125</c:v>
                </c:pt>
                <c:pt idx="25">
                  <c:v>0.3333333333333333</c:v>
                </c:pt>
                <c:pt idx="26">
                  <c:v>0.36363636363636365</c:v>
                </c:pt>
                <c:pt idx="27">
                  <c:v>0.3076923076923077</c:v>
                </c:pt>
                <c:pt idx="28">
                  <c:v>0.14285714285714285</c:v>
                </c:pt>
                <c:pt idx="29">
                  <c:v>0.3125</c:v>
                </c:pt>
                <c:pt idx="30">
                  <c:v>0.2222222222222222</c:v>
                </c:pt>
                <c:pt idx="31">
                  <c:v>0.3333333333333333</c:v>
                </c:pt>
                <c:pt idx="32">
                  <c:v>0.4</c:v>
                </c:pt>
                <c:pt idx="33">
                  <c:v>0.4</c:v>
                </c:pt>
                <c:pt idx="34">
                  <c:v>0.43478260869565216</c:v>
                </c:pt>
                <c:pt idx="35">
                  <c:v>0.3181818181818182</c:v>
                </c:pt>
                <c:pt idx="36">
                  <c:v>0.47619047619047616</c:v>
                </c:pt>
                <c:pt idx="37">
                  <c:v>0.3333333333333333</c:v>
                </c:pt>
                <c:pt idx="38">
                  <c:v>0.2777777777777778</c:v>
                </c:pt>
                <c:pt idx="39">
                  <c:v>0.4666666666666667</c:v>
                </c:pt>
                <c:pt idx="40">
                  <c:v>0.3684210526315789</c:v>
                </c:pt>
                <c:pt idx="41">
                  <c:v>0.3333333333333333</c:v>
                </c:pt>
                <c:pt idx="42">
                  <c:v>0.45</c:v>
                </c:pt>
                <c:pt idx="43">
                  <c:v>0.35294117647058826</c:v>
                </c:pt>
                <c:pt idx="44">
                  <c:v>0.3125</c:v>
                </c:pt>
                <c:pt idx="45">
                  <c:v>0.3157894736842105</c:v>
                </c:pt>
                <c:pt idx="46">
                  <c:v>0.21428571428571427</c:v>
                </c:pt>
                <c:pt idx="47">
                  <c:v>0.2857142857142857</c:v>
                </c:pt>
                <c:pt idx="48">
                  <c:v>0.28</c:v>
                </c:pt>
                <c:pt idx="49">
                  <c:v>0.5</c:v>
                </c:pt>
                <c:pt idx="50">
                  <c:v>0.4</c:v>
                </c:pt>
                <c:pt idx="51">
                  <c:v>0.4666666666666667</c:v>
                </c:pt>
                <c:pt idx="52">
                  <c:v>0.4444444444444444</c:v>
                </c:pt>
                <c:pt idx="53">
                  <c:v>0.5</c:v>
                </c:pt>
                <c:pt idx="54">
                  <c:v>0.25</c:v>
                </c:pt>
                <c:pt idx="55">
                  <c:v>0.47058823529411764</c:v>
                </c:pt>
                <c:pt idx="56">
                  <c:v>0.3333333333333333</c:v>
                </c:pt>
                <c:pt idx="57">
                  <c:v>0.3076923076923077</c:v>
                </c:pt>
                <c:pt idx="58">
                  <c:v>0.18181818181818182</c:v>
                </c:pt>
                <c:pt idx="59">
                  <c:v>0.2</c:v>
                </c:pt>
                <c:pt idx="60">
                  <c:v>0.3076923076923077</c:v>
                </c:pt>
                <c:pt idx="61">
                  <c:v>0.3</c:v>
                </c:pt>
                <c:pt idx="62">
                  <c:v>0.3333333333333333</c:v>
                </c:pt>
                <c:pt idx="63">
                  <c:v>0.2857142857142857</c:v>
                </c:pt>
                <c:pt idx="64">
                  <c:v>0.35714285714285715</c:v>
                </c:pt>
                <c:pt idx="65">
                  <c:v>0.125</c:v>
                </c:pt>
                <c:pt idx="66">
                  <c:v>0.2222222222222222</c:v>
                </c:pt>
                <c:pt idx="67">
                  <c:v>0.125</c:v>
                </c:pt>
                <c:pt idx="68">
                  <c:v>0.16666666666666666</c:v>
                </c:pt>
                <c:pt idx="69">
                  <c:v>0.1</c:v>
                </c:pt>
                <c:pt idx="70">
                  <c:v>0.2</c:v>
                </c:pt>
                <c:pt idx="71">
                  <c:v>0.16666666666666666</c:v>
                </c:pt>
                <c:pt idx="72">
                  <c:v>0.18181818181818182</c:v>
                </c:pt>
                <c:pt idx="73">
                  <c:v>0.08333333333333333</c:v>
                </c:pt>
                <c:pt idx="74">
                  <c:v>0.2222222222222222</c:v>
                </c:pt>
                <c:pt idx="75">
                  <c:v>0.125</c:v>
                </c:pt>
                <c:pt idx="76">
                  <c:v>0.2857142857142857</c:v>
                </c:pt>
                <c:pt idx="77">
                  <c:v>0.14285714285714285</c:v>
                </c:pt>
                <c:pt idx="78">
                  <c:v>0.1</c:v>
                </c:pt>
                <c:pt idx="79">
                  <c:v>0.1</c:v>
                </c:pt>
                <c:pt idx="80">
                  <c:v>0.125</c:v>
                </c:pt>
                <c:pt idx="81">
                  <c:v>0.16666666666666666</c:v>
                </c:pt>
                <c:pt idx="82">
                  <c:v>0.125</c:v>
                </c:pt>
                <c:pt idx="83">
                  <c:v>0.13333333333333333</c:v>
                </c:pt>
                <c:pt idx="84">
                  <c:v>0.08333333333333333</c:v>
                </c:pt>
                <c:pt idx="85">
                  <c:v>0.2222222222222222</c:v>
                </c:pt>
                <c:pt idx="86">
                  <c:v>0.18181818181818182</c:v>
                </c:pt>
                <c:pt idx="87">
                  <c:v>0.07142857142857142</c:v>
                </c:pt>
                <c:pt idx="88">
                  <c:v>0.08333333333333333</c:v>
                </c:pt>
                <c:pt idx="89">
                  <c:v>0.07692307692307693</c:v>
                </c:pt>
                <c:pt idx="90">
                  <c:v>0.07692307692307693</c:v>
                </c:pt>
                <c:pt idx="91">
                  <c:v>0.07142857142857142</c:v>
                </c:pt>
                <c:pt idx="92">
                  <c:v>0.09090909090909091</c:v>
                </c:pt>
                <c:pt idx="93">
                  <c:v>0.14285714285714285</c:v>
                </c:pt>
                <c:pt idx="94">
                  <c:v>0.06666666666666667</c:v>
                </c:pt>
                <c:pt idx="95">
                  <c:v>0.05</c:v>
                </c:pt>
                <c:pt idx="96">
                  <c:v>0.11764705882352941</c:v>
                </c:pt>
                <c:pt idx="97">
                  <c:v>0.07142857142857142</c:v>
                </c:pt>
                <c:pt idx="98">
                  <c:v>0.09090909090909091</c:v>
                </c:pt>
                <c:pt idx="99">
                  <c:v>0.07692307692307693</c:v>
                </c:pt>
              </c:numCache>
            </c:numRef>
          </c:yVal>
          <c:smooth val="0"/>
          <c:extLst>
            <c:ext xmlns:c16="http://schemas.microsoft.com/office/drawing/2014/chart" uri="{C3380CC4-5D6E-409C-BE32-E72D297353CC}">
              <c16:uniqueId val="{00000000-096C-4121-9522-6AB7243CCAAE}"/>
            </c:ext>
          </c:extLst>
        </c:ser>
        <c:ser>
          <c:idx val="1"/>
          <c:order val="1"/>
          <c:tx>
            <c:strRef>
              <c:f>Sheet1!$B$10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0.4838022901202601</c:v>
                </c:pt>
                <c:pt idx="4">
                  <c:v>0.48199543298787983</c:v>
                </c:pt>
                <c:pt idx="5">
                  <c:v>0.8456924639354898</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1.1653480587737088</c:v>
                </c:pt>
                <c:pt idx="23">
                  <c:v>0.0</c:v>
                </c:pt>
                <c:pt idx="24">
                  <c:v>0.9527439024390244</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1111111111111111</c:v>
                </c:pt>
                <c:pt idx="4">
                  <c:v>0.1111111111111111</c:v>
                </c:pt>
                <c:pt idx="5">
                  <c:v>0.08333333333333333</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8333333333333333</c:v>
                </c:pt>
                <c:pt idx="23">
                  <c:v>0.0</c:v>
                </c:pt>
                <c:pt idx="24">
                  <c:v>0.1111111111111111</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096C-4121-9522-6AB7243CCAAE}"/>
            </c:ext>
          </c:extLst>
        </c:ser>
        <c:ser>
          <c:idx val="2"/>
          <c:order val="2"/>
          <c:tx>
            <c:strRef>
              <c:f>Sheet1!$B$13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0:$A$141</c:f>
              <c:numCache>
                <c:formatCode>General</c:formatCode>
                <c:ptCount val="2"/>
                <c:pt idx="0">
                  <c:v>0</c:v>
                </c:pt>
                <c:pt idx="1">
                  <c:v>3.3250705765478483</c:v>
                </c:pt>
              </c:numCache>
            </c:numRef>
          </c:xVal>
          <c:yVal>
            <c:numRef>
              <c:f>Sheet1!$B$140:$B$141</c:f>
              <c:numCache>
                <c:formatCode>General</c:formatCode>
                <c:ptCount val="2"/>
                <c:pt idx="0">
                  <c:v>0.3610176282051282</c:v>
                </c:pt>
                <c:pt idx="1">
                  <c:v>0.3610176282051282</c:v>
                </c:pt>
              </c:numCache>
            </c:numRef>
          </c:yVal>
          <c:smooth val="0"/>
          <c:extLst>
            <c:ext xmlns:c16="http://schemas.microsoft.com/office/drawing/2014/chart" uri="{C3380CC4-5D6E-409C-BE32-E72D297353CC}">
              <c16:uniqueId val="{00000005-096C-4121-9522-6AB7243CCAAE}"/>
            </c:ext>
          </c:extLst>
        </c:ser>
        <c:ser>
          <c:idx val="3"/>
          <c:order val="3"/>
          <c:tx>
            <c:strRef>
              <c:f>Sheet1!$B$14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4:$A$145</c:f>
              <c:numCache>
                <c:formatCode>General</c:formatCode>
                <c:ptCount val="2"/>
                <c:pt idx="0">
                  <c:v>3.3250705765478483</c:v>
                </c:pt>
                <c:pt idx="1">
                  <c:v>3.3250705765478483</c:v>
                </c:pt>
              </c:numCache>
            </c:numRef>
          </c:xVal>
          <c:yVal>
            <c:numRef>
              <c:f>Sheet1!$B$144:$B$145</c:f>
              <c:numCache>
                <c:formatCode>General</c:formatCode>
                <c:ptCount val="2"/>
                <c:pt idx="0">
                  <c:v>0.361017628205128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8:$A$149</c:f>
              <c:numCache>
                <c:formatCode>General</c:formatCode>
                <c:ptCount val="2"/>
                <c:pt idx="0">
                  <c:v>0</c:v>
                </c:pt>
                <c:pt idx="1">
                  <c:v>0.45125048379558874</c:v>
                </c:pt>
              </c:numCache>
            </c:numRef>
          </c:xVal>
          <c:yVal>
            <c:numRef>
              <c:f>Sheet1!$B$148:$B$149</c:f>
              <c:numCache>
                <c:formatCode>General</c:formatCode>
                <c:ptCount val="2"/>
                <c:pt idx="0">
                  <c:v>0.05092592592592592</c:v>
                </c:pt>
                <c:pt idx="1">
                  <c:v>0.05092592592592592</c:v>
                </c:pt>
              </c:numCache>
            </c:numRef>
          </c:yVal>
          <c:smooth val="0"/>
          <c:extLst>
            <c:ext xmlns:c16="http://schemas.microsoft.com/office/drawing/2014/chart" uri="{C3380CC4-5D6E-409C-BE32-E72D297353CC}">
              <c16:uniqueId val="{0000000D-096C-4121-9522-6AB7243CCAAE}"/>
            </c:ext>
          </c:extLst>
        </c:ser>
        <c:ser>
          <c:idx val="5"/>
          <c:order val="5"/>
          <c:tx>
            <c:strRef>
              <c:f>Sheet1!$B$15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2:$A$153</c:f>
              <c:numCache>
                <c:formatCode>General</c:formatCode>
                <c:ptCount val="2"/>
                <c:pt idx="0">
                  <c:v>0.45125048379558874</c:v>
                </c:pt>
                <c:pt idx="1">
                  <c:v>0.45125048379558874</c:v>
                </c:pt>
              </c:numCache>
            </c:numRef>
          </c:xVal>
          <c:yVal>
            <c:numRef>
              <c:f>Sheet1!$B$152:$B$153</c:f>
              <c:numCache>
                <c:formatCode>General</c:formatCode>
                <c:ptCount val="2"/>
                <c:pt idx="0">
                  <c:v>0.0509259259259259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6:$A$157</c:f>
              <c:numCache>
                <c:formatCode>General</c:formatCode>
                <c:ptCount val="2"/>
                <c:pt idx="0">
                  <c:v>0</c:v>
                </c:pt>
                <c:pt idx="1">
                  <c:v>-0.020712964733472058</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15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0:$A$161</c:f>
              <c:numCache>
                <c:formatCode>General</c:formatCode>
                <c:ptCount val="2"/>
                <c:pt idx="0">
                  <c:v>-0.020712964733472058</c:v>
                </c:pt>
                <c:pt idx="1">
                  <c:v>-0.020712964733472058</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4:$A$200</c:f>
              <c:numCache>
                <c:formatCode>General</c:formatCode>
                <c:ptCount val="37"/>
                <c:pt idx="0">
                  <c:v>0.0</c:v>
                </c:pt>
                <c:pt idx="1">
                  <c:v>0.0</c:v>
                </c:pt>
                <c:pt idx="2">
                  <c:v>0.0</c:v>
                </c:pt>
                <c:pt idx="3">
                  <c:v>0.4838022901202601</c:v>
                </c:pt>
                <c:pt idx="4">
                  <c:v>0.48199543298787983</c:v>
                </c:pt>
                <c:pt idx="5">
                  <c:v>0.8456924639354898</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1.1653480587737088</c:v>
                </c:pt>
                <c:pt idx="23">
                  <c:v>0.0</c:v>
                </c:pt>
                <c:pt idx="24">
                  <c:v>0.9527439024390244</c:v>
                </c:pt>
                <c:pt idx="25">
                  <c:v>0.0</c:v>
                </c:pt>
                <c:pt idx="26">
                  <c:v>0.0</c:v>
                </c:pt>
                <c:pt idx="27">
                  <c:v>0.0</c:v>
                </c:pt>
                <c:pt idx="28">
                  <c:v>0.0</c:v>
                </c:pt>
                <c:pt idx="29">
                  <c:v>0.0</c:v>
                </c:pt>
                <c:pt idx="30">
                  <c:v>0.0</c:v>
                </c:pt>
                <c:pt idx="31">
                  <c:v>0.0</c:v>
                </c:pt>
                <c:pt idx="32">
                  <c:v>0.0</c:v>
                </c:pt>
                <c:pt idx="33">
                  <c:v>0.0</c:v>
                </c:pt>
                <c:pt idx="34">
                  <c:v>0.45125048379558874</c:v>
                </c:pt>
                <c:pt idx="35">
                  <c:v>3.3250705765478483</c:v>
                </c:pt>
                <c:pt idx="36">
                  <c:v>-0.020712964733472058</c:v>
                </c:pt>
              </c:numCache>
            </c:numRef>
          </c:xVal>
          <c:yVal>
            <c:numRef>
              <c:f>Sheet1!$B$164:$B$200</c:f>
              <c:numCache>
                <c:formatCode>General</c:formatCode>
                <c:ptCount val="37"/>
                <c:pt idx="0">
                  <c:v>0.002234975846139415</c:v>
                </c:pt>
                <c:pt idx="1">
                  <c:v>0.002234975846139415</c:v>
                </c:pt>
                <c:pt idx="2">
                  <c:v>0.002234975846139415</c:v>
                </c:pt>
                <c:pt idx="3">
                  <c:v>0.0544383396156128</c:v>
                </c:pt>
                <c:pt idx="4">
                  <c:v>0.05424337563531071</c:v>
                </c:pt>
                <c:pt idx="5">
                  <c:v>0.09348710968980649</c:v>
                </c:pt>
                <c:pt idx="6">
                  <c:v>0.002234975846139415</c:v>
                </c:pt>
                <c:pt idx="7">
                  <c:v>0.002234975846139415</c:v>
                </c:pt>
                <c:pt idx="8">
                  <c:v>0.002234975846139415</c:v>
                </c:pt>
                <c:pt idx="9">
                  <c:v>0.002234975846139415</c:v>
                </c:pt>
                <c:pt idx="10">
                  <c:v>0.002234975846139415</c:v>
                </c:pt>
                <c:pt idx="11">
                  <c:v>0.002234975846139415</c:v>
                </c:pt>
                <c:pt idx="12">
                  <c:v>0.002234975846139415</c:v>
                </c:pt>
                <c:pt idx="13">
                  <c:v>0.002234975846139415</c:v>
                </c:pt>
                <c:pt idx="14">
                  <c:v>0.002234975846139415</c:v>
                </c:pt>
                <c:pt idx="15">
                  <c:v>0.002234975846139415</c:v>
                </c:pt>
                <c:pt idx="16">
                  <c:v>0.002234975846139415</c:v>
                </c:pt>
                <c:pt idx="17">
                  <c:v>0.002234975846139415</c:v>
                </c:pt>
                <c:pt idx="18">
                  <c:v>0.002234975846139415</c:v>
                </c:pt>
                <c:pt idx="19">
                  <c:v>0.002234975846139415</c:v>
                </c:pt>
                <c:pt idx="20">
                  <c:v>0.002234975846139415</c:v>
                </c:pt>
                <c:pt idx="21">
                  <c:v>0.002234975846139415</c:v>
                </c:pt>
                <c:pt idx="22">
                  <c:v>0.12797867295656776</c:v>
                </c:pt>
                <c:pt idx="23">
                  <c:v>0.002234975846139415</c:v>
                </c:pt>
                <c:pt idx="24">
                  <c:v>0.10503820256465893</c:v>
                </c:pt>
                <c:pt idx="25">
                  <c:v>0.002234975846139415</c:v>
                </c:pt>
                <c:pt idx="26">
                  <c:v>0.002234975846139415</c:v>
                </c:pt>
                <c:pt idx="27">
                  <c:v>0.002234975846139415</c:v>
                </c:pt>
                <c:pt idx="28">
                  <c:v>0.002234975846139415</c:v>
                </c:pt>
                <c:pt idx="29">
                  <c:v>0.002234975846139415</c:v>
                </c:pt>
                <c:pt idx="30">
                  <c:v>0.002234975846139415</c:v>
                </c:pt>
                <c:pt idx="31">
                  <c:v>0.002234975846139415</c:v>
                </c:pt>
                <c:pt idx="32">
                  <c:v>0.002234975846139415</c:v>
                </c:pt>
                <c:pt idx="33">
                  <c:v>0.002234975846139415</c:v>
                </c:pt>
                <c:pt idx="34">
                  <c:v>0.05092592592592592</c:v>
                </c:pt>
                <c:pt idx="35">
                  <c:v>0.3610176282051282</c:v>
                </c:pt>
                <c:pt idx="36">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1</c:f>
              <c:numCache>
                <c:formatCode>General</c:formatCode>
                <c:ptCount val="100"/>
                <c:pt idx="0">
                  <c:v>1244.25</c:v>
                </c:pt>
                <c:pt idx="1">
                  <c:v>1116.4</c:v>
                </c:pt>
                <c:pt idx="2">
                  <c:v>1214.8333</c:v>
                </c:pt>
                <c:pt idx="3">
                  <c:v>1106.5</c:v>
                </c:pt>
                <c:pt idx="4">
                  <c:v>1102.0</c:v>
                </c:pt>
                <c:pt idx="5">
                  <c:v>1050.4</c:v>
                </c:pt>
                <c:pt idx="6">
                  <c:v>1291.6667</c:v>
                </c:pt>
                <c:pt idx="7">
                  <c:v>1199.6667</c:v>
                </c:pt>
                <c:pt idx="8">
                  <c:v>1377.5</c:v>
                </c:pt>
                <c:pt idx="9">
                  <c:v>1108.0</c:v>
                </c:pt>
                <c:pt idx="10">
                  <c:v>1102.0</c:v>
                </c:pt>
                <c:pt idx="11">
                  <c:v>1193.6667</c:v>
                </c:pt>
                <c:pt idx="12">
                  <c:v>1253.3333</c:v>
                </c:pt>
                <c:pt idx="13">
                  <c:v>1081.5</c:v>
                </c:pt>
                <c:pt idx="14">
                  <c:v>1532.5</c:v>
                </c:pt>
                <c:pt idx="15">
                  <c:v>1381.0</c:v>
                </c:pt>
                <c:pt idx="16">
                  <c:v>1225.0</c:v>
                </c:pt>
                <c:pt idx="17">
                  <c:v>1397.5</c:v>
                </c:pt>
                <c:pt idx="18">
                  <c:v>1067.5</c:v>
                </c:pt>
                <c:pt idx="19">
                  <c:v>1170.2</c:v>
                </c:pt>
                <c:pt idx="20">
                  <c:v>1398.75</c:v>
                </c:pt>
                <c:pt idx="21">
                  <c:v>1355.3333</c:v>
                </c:pt>
                <c:pt idx="22">
                  <c:v>1351.6667</c:v>
                </c:pt>
                <c:pt idx="23">
                  <c:v>1120.0</c:v>
                </c:pt>
                <c:pt idx="24">
                  <c:v>1561.0</c:v>
                </c:pt>
                <c:pt idx="25">
                  <c:v>1343.6667</c:v>
                </c:pt>
                <c:pt idx="26">
                  <c:v>1231.75</c:v>
                </c:pt>
                <c:pt idx="27">
                  <c:v>1154.5</c:v>
                </c:pt>
                <c:pt idx="28">
                  <c:v>1573.0</c:v>
                </c:pt>
                <c:pt idx="29">
                  <c:v>1300.4</c:v>
                </c:pt>
                <c:pt idx="30">
                  <c:v>1412.5</c:v>
                </c:pt>
                <c:pt idx="31">
                  <c:v>1232.5</c:v>
                </c:pt>
                <c:pt idx="32">
                  <c:v>1284.6667</c:v>
                </c:pt>
                <c:pt idx="33">
                  <c:v>1314.5</c:v>
                </c:pt>
                <c:pt idx="34">
                  <c:v>1244.1</c:v>
                </c:pt>
                <c:pt idx="35">
                  <c:v>1340.2857</c:v>
                </c:pt>
                <c:pt idx="36">
                  <c:v>1239.3</c:v>
                </c:pt>
                <c:pt idx="37">
                  <c:v>1365.6</c:v>
                </c:pt>
                <c:pt idx="38">
                  <c:v>1188.2</c:v>
                </c:pt>
                <c:pt idx="39">
                  <c:v>1283.7143</c:v>
                </c:pt>
                <c:pt idx="40">
                  <c:v>1238.4286</c:v>
                </c:pt>
                <c:pt idx="41">
                  <c:v>1233.6667</c:v>
                </c:pt>
                <c:pt idx="42">
                  <c:v>1301.8889</c:v>
                </c:pt>
                <c:pt idx="43">
                  <c:v>1376.3333</c:v>
                </c:pt>
                <c:pt idx="44">
                  <c:v>1350.2</c:v>
                </c:pt>
                <c:pt idx="45">
                  <c:v>1179.8333</c:v>
                </c:pt>
                <c:pt idx="46">
                  <c:v>1328.6667</c:v>
                </c:pt>
                <c:pt idx="47">
                  <c:v>1386.5</c:v>
                </c:pt>
                <c:pt idx="48">
                  <c:v>1289.7143</c:v>
                </c:pt>
                <c:pt idx="49">
                  <c:v>1256.4545</c:v>
                </c:pt>
                <c:pt idx="50">
                  <c:v>1356.75</c:v>
                </c:pt>
                <c:pt idx="51">
                  <c:v>1232.8571</c:v>
                </c:pt>
                <c:pt idx="52">
                  <c:v>1278.125</c:v>
                </c:pt>
                <c:pt idx="53">
                  <c:v>1385.7143</c:v>
                </c:pt>
                <c:pt idx="54">
                  <c:v>1440.3333</c:v>
                </c:pt>
                <c:pt idx="55">
                  <c:v>1268.875</c:v>
                </c:pt>
                <c:pt idx="56">
                  <c:v>1231.25</c:v>
                </c:pt>
                <c:pt idx="57">
                  <c:v>1184.25</c:v>
                </c:pt>
                <c:pt idx="58">
                  <c:v>1322.5</c:v>
                </c:pt>
                <c:pt idx="59">
                  <c:v>1467.0</c:v>
                </c:pt>
                <c:pt idx="60">
                  <c:v>1332.25</c:v>
                </c:pt>
                <c:pt idx="61">
                  <c:v>1186.0</c:v>
                </c:pt>
                <c:pt idx="62">
                  <c:v>1077.0</c:v>
                </c:pt>
                <c:pt idx="63">
                  <c:v>1192.0</c:v>
                </c:pt>
                <c:pt idx="64">
                  <c:v>1140.0</c:v>
                </c:pt>
                <c:pt idx="65">
                  <c:v>1599.0</c:v>
                </c:pt>
                <c:pt idx="66">
                  <c:v>1546.0</c:v>
                </c:pt>
                <c:pt idx="67">
                  <c:v>2084.0</c:v>
                </c:pt>
                <c:pt idx="68">
                  <c:v>1757.0</c:v>
                </c:pt>
                <c:pt idx="69">
                  <c:v>1735.0</c:v>
                </c:pt>
                <c:pt idx="70">
                  <c:v>1194.5</c:v>
                </c:pt>
                <c:pt idx="71">
                  <c:v>1705.0</c:v>
                </c:pt>
                <c:pt idx="72">
                  <c:v>1354.5</c:v>
                </c:pt>
                <c:pt idx="73">
                  <c:v>1340.0</c:v>
                </c:pt>
                <c:pt idx="74">
                  <c:v>1344.0</c:v>
                </c:pt>
                <c:pt idx="75">
                  <c:v>1676.0</c:v>
                </c:pt>
                <c:pt idx="76">
                  <c:v>1199.0</c:v>
                </c:pt>
                <c:pt idx="77">
                  <c:v>1680.0</c:v>
                </c:pt>
                <c:pt idx="78">
                  <c:v>1319.0</c:v>
                </c:pt>
                <c:pt idx="79">
                  <c:v>1335.0</c:v>
                </c:pt>
                <c:pt idx="80">
                  <c:v>1977.0</c:v>
                </c:pt>
                <c:pt idx="81">
                  <c:v>1344.0</c:v>
                </c:pt>
                <c:pt idx="82">
                  <c:v>983.0</c:v>
                </c:pt>
                <c:pt idx="83">
                  <c:v>1191.0</c:v>
                </c:pt>
                <c:pt idx="84">
                  <c:v>1748.0</c:v>
                </c:pt>
                <c:pt idx="85">
                  <c:v>1354.5</c:v>
                </c:pt>
                <c:pt idx="86">
                  <c:v>1195.5</c:v>
                </c:pt>
                <c:pt idx="87">
                  <c:v>1701.0</c:v>
                </c:pt>
                <c:pt idx="88">
                  <c:v>1344.0</c:v>
                </c:pt>
                <c:pt idx="89">
                  <c:v>1029.0</c:v>
                </c:pt>
                <c:pt idx="90">
                  <c:v>2066.0</c:v>
                </c:pt>
                <c:pt idx="91">
                  <c:v>1365.0</c:v>
                </c:pt>
                <c:pt idx="92">
                  <c:v>1344.0</c:v>
                </c:pt>
                <c:pt idx="93">
                  <c:v>1337.5</c:v>
                </c:pt>
                <c:pt idx="94">
                  <c:v>1714.0</c:v>
                </c:pt>
                <c:pt idx="95">
                  <c:v>1029.0</c:v>
                </c:pt>
                <c:pt idx="96">
                  <c:v>1208.0</c:v>
                </c:pt>
                <c:pt idx="97">
                  <c:v>1365.0</c:v>
                </c:pt>
                <c:pt idx="98">
                  <c:v>1008.0</c:v>
                </c:pt>
                <c:pt idx="99">
                  <c:v>1051.0</c:v>
                </c:pt>
              </c:numCache>
            </c:numRef>
          </c:xVal>
          <c:yVal>
            <c:numRef>
              <c:f>Sheet1!$B$2:$B$101</c:f>
              <c:numCache>
                <c:formatCode>General</c:formatCode>
                <c:ptCount val="100"/>
                <c:pt idx="0">
                  <c:v>0.3076923076923077</c:v>
                </c:pt>
                <c:pt idx="1">
                  <c:v>0.3125</c:v>
                </c:pt>
                <c:pt idx="2">
                  <c:v>0.5</c:v>
                </c:pt>
                <c:pt idx="3">
                  <c:v>0.3333333333333333</c:v>
                </c:pt>
                <c:pt idx="4">
                  <c:v>0.375</c:v>
                </c:pt>
                <c:pt idx="5">
                  <c:v>0.38461538461538464</c:v>
                </c:pt>
                <c:pt idx="6">
                  <c:v>0.375</c:v>
                </c:pt>
                <c:pt idx="7">
                  <c:v>0.3</c:v>
                </c:pt>
                <c:pt idx="8">
                  <c:v>0.25</c:v>
                </c:pt>
                <c:pt idx="9">
                  <c:v>0.25</c:v>
                </c:pt>
                <c:pt idx="10">
                  <c:v>0.25</c:v>
                </c:pt>
                <c:pt idx="11">
                  <c:v>0.3</c:v>
                </c:pt>
                <c:pt idx="12">
                  <c:v>0.2727272727272727</c:v>
                </c:pt>
                <c:pt idx="13">
                  <c:v>0.2222222222222222</c:v>
                </c:pt>
                <c:pt idx="14">
                  <c:v>0.18181818181818182</c:v>
                </c:pt>
                <c:pt idx="15">
                  <c:v>0.2</c:v>
                </c:pt>
                <c:pt idx="16">
                  <c:v>0.18181818181818182</c:v>
                </c:pt>
                <c:pt idx="17">
                  <c:v>0.3333333333333333</c:v>
                </c:pt>
                <c:pt idx="18">
                  <c:v>0.2857142857142857</c:v>
                </c:pt>
                <c:pt idx="19">
                  <c:v>0.35714285714285715</c:v>
                </c:pt>
                <c:pt idx="20">
                  <c:v>0.36363636363636365</c:v>
                </c:pt>
                <c:pt idx="21">
                  <c:v>0.375</c:v>
                </c:pt>
                <c:pt idx="22">
                  <c:v>0.42857142857142855</c:v>
                </c:pt>
                <c:pt idx="23">
                  <c:v>0.375</c:v>
                </c:pt>
                <c:pt idx="24">
                  <c:v>0.125</c:v>
                </c:pt>
                <c:pt idx="25">
                  <c:v>0.3333333333333333</c:v>
                </c:pt>
                <c:pt idx="26">
                  <c:v>0.36363636363636365</c:v>
                </c:pt>
                <c:pt idx="27">
                  <c:v>0.3076923076923077</c:v>
                </c:pt>
                <c:pt idx="28">
                  <c:v>0.14285714285714285</c:v>
                </c:pt>
                <c:pt idx="29">
                  <c:v>0.3125</c:v>
                </c:pt>
                <c:pt idx="30">
                  <c:v>0.2222222222222222</c:v>
                </c:pt>
                <c:pt idx="31">
                  <c:v>0.3333333333333333</c:v>
                </c:pt>
                <c:pt idx="32">
                  <c:v>0.4</c:v>
                </c:pt>
                <c:pt idx="33">
                  <c:v>0.4</c:v>
                </c:pt>
                <c:pt idx="34">
                  <c:v>0.43478260869565216</c:v>
                </c:pt>
                <c:pt idx="35">
                  <c:v>0.3181818181818182</c:v>
                </c:pt>
                <c:pt idx="36">
                  <c:v>0.47619047619047616</c:v>
                </c:pt>
                <c:pt idx="37">
                  <c:v>0.3333333333333333</c:v>
                </c:pt>
                <c:pt idx="38">
                  <c:v>0.2777777777777778</c:v>
                </c:pt>
                <c:pt idx="39">
                  <c:v>0.4666666666666667</c:v>
                </c:pt>
                <c:pt idx="40">
                  <c:v>0.3684210526315789</c:v>
                </c:pt>
                <c:pt idx="41">
                  <c:v>0.3333333333333333</c:v>
                </c:pt>
                <c:pt idx="42">
                  <c:v>0.45</c:v>
                </c:pt>
                <c:pt idx="43">
                  <c:v>0.35294117647058826</c:v>
                </c:pt>
                <c:pt idx="44">
                  <c:v>0.3125</c:v>
                </c:pt>
                <c:pt idx="45">
                  <c:v>0.3157894736842105</c:v>
                </c:pt>
                <c:pt idx="46">
                  <c:v>0.21428571428571427</c:v>
                </c:pt>
                <c:pt idx="47">
                  <c:v>0.2857142857142857</c:v>
                </c:pt>
                <c:pt idx="48">
                  <c:v>0.28</c:v>
                </c:pt>
                <c:pt idx="49">
                  <c:v>0.5</c:v>
                </c:pt>
                <c:pt idx="50">
                  <c:v>0.4</c:v>
                </c:pt>
                <c:pt idx="51">
                  <c:v>0.4666666666666667</c:v>
                </c:pt>
                <c:pt idx="52">
                  <c:v>0.4444444444444444</c:v>
                </c:pt>
                <c:pt idx="53">
                  <c:v>0.5</c:v>
                </c:pt>
                <c:pt idx="54">
                  <c:v>0.25</c:v>
                </c:pt>
                <c:pt idx="55">
                  <c:v>0.47058823529411764</c:v>
                </c:pt>
                <c:pt idx="56">
                  <c:v>0.3333333333333333</c:v>
                </c:pt>
                <c:pt idx="57">
                  <c:v>0.3076923076923077</c:v>
                </c:pt>
                <c:pt idx="58">
                  <c:v>0.18181818181818182</c:v>
                </c:pt>
                <c:pt idx="59">
                  <c:v>0.2</c:v>
                </c:pt>
                <c:pt idx="60">
                  <c:v>0.3076923076923077</c:v>
                </c:pt>
                <c:pt idx="61">
                  <c:v>0.3</c:v>
                </c:pt>
                <c:pt idx="62">
                  <c:v>0.3333333333333333</c:v>
                </c:pt>
                <c:pt idx="63">
                  <c:v>0.2857142857142857</c:v>
                </c:pt>
                <c:pt idx="64">
                  <c:v>0.35714285714285715</c:v>
                </c:pt>
                <c:pt idx="65">
                  <c:v>0.125</c:v>
                </c:pt>
                <c:pt idx="66">
                  <c:v>0.2222222222222222</c:v>
                </c:pt>
                <c:pt idx="67">
                  <c:v>0.125</c:v>
                </c:pt>
                <c:pt idx="68">
                  <c:v>0.16666666666666666</c:v>
                </c:pt>
                <c:pt idx="69">
                  <c:v>0.1</c:v>
                </c:pt>
                <c:pt idx="70">
                  <c:v>0.2</c:v>
                </c:pt>
                <c:pt idx="71">
                  <c:v>0.16666666666666666</c:v>
                </c:pt>
                <c:pt idx="72">
                  <c:v>0.18181818181818182</c:v>
                </c:pt>
                <c:pt idx="73">
                  <c:v>0.08333333333333333</c:v>
                </c:pt>
                <c:pt idx="74">
                  <c:v>0.2222222222222222</c:v>
                </c:pt>
                <c:pt idx="75">
                  <c:v>0.125</c:v>
                </c:pt>
                <c:pt idx="76">
                  <c:v>0.2857142857142857</c:v>
                </c:pt>
                <c:pt idx="77">
                  <c:v>0.14285714285714285</c:v>
                </c:pt>
                <c:pt idx="78">
                  <c:v>0.1</c:v>
                </c:pt>
                <c:pt idx="79">
                  <c:v>0.1</c:v>
                </c:pt>
                <c:pt idx="80">
                  <c:v>0.125</c:v>
                </c:pt>
                <c:pt idx="81">
                  <c:v>0.16666666666666666</c:v>
                </c:pt>
                <c:pt idx="82">
                  <c:v>0.125</c:v>
                </c:pt>
                <c:pt idx="83">
                  <c:v>0.13333333333333333</c:v>
                </c:pt>
                <c:pt idx="84">
                  <c:v>0.08333333333333333</c:v>
                </c:pt>
                <c:pt idx="85">
                  <c:v>0.2222222222222222</c:v>
                </c:pt>
                <c:pt idx="86">
                  <c:v>0.18181818181818182</c:v>
                </c:pt>
                <c:pt idx="87">
                  <c:v>0.07142857142857142</c:v>
                </c:pt>
                <c:pt idx="88">
                  <c:v>0.08333333333333333</c:v>
                </c:pt>
                <c:pt idx="89">
                  <c:v>0.07692307692307693</c:v>
                </c:pt>
                <c:pt idx="90">
                  <c:v>0.07692307692307693</c:v>
                </c:pt>
                <c:pt idx="91">
                  <c:v>0.07142857142857142</c:v>
                </c:pt>
                <c:pt idx="92">
                  <c:v>0.09090909090909091</c:v>
                </c:pt>
                <c:pt idx="93">
                  <c:v>0.14285714285714285</c:v>
                </c:pt>
                <c:pt idx="94">
                  <c:v>0.06666666666666667</c:v>
                </c:pt>
                <c:pt idx="95">
                  <c:v>0.05</c:v>
                </c:pt>
                <c:pt idx="96">
                  <c:v>0.11764705882352941</c:v>
                </c:pt>
                <c:pt idx="97">
                  <c:v>0.07142857142857142</c:v>
                </c:pt>
                <c:pt idx="98">
                  <c:v>0.09090909090909091</c:v>
                </c:pt>
                <c:pt idx="99">
                  <c:v>0.07692307692307693</c:v>
                </c:pt>
              </c:numCache>
            </c:numRef>
          </c:yVal>
          <c:smooth val="0"/>
          <c:extLst>
            <c:ext xmlns:c16="http://schemas.microsoft.com/office/drawing/2014/chart" uri="{C3380CC4-5D6E-409C-BE32-E72D297353CC}">
              <c16:uniqueId val="{00000000-F32D-48B7-BC20-E66FC6253BAD}"/>
            </c:ext>
          </c:extLst>
        </c:ser>
        <c:ser>
          <c:idx val="1"/>
          <c:order val="1"/>
          <c:tx>
            <c:strRef>
              <c:f>Sheet1!$B$10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4:$A$137</c:f>
              <c:numCache>
                <c:formatCode>General</c:formatCode>
                <c:ptCount val="34"/>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numCache>
            </c:numRef>
          </c:xVal>
          <c:yVal>
            <c:numRef>
              <c:f>Sheet1!$B$104:$B$137</c:f>
              <c:numCache>
                <c:formatCode>General</c:formatCode>
                <c:ptCount val="34"/>
                <c:pt idx="0">
                  <c:v>0.0</c:v>
                </c:pt>
                <c:pt idx="1">
                  <c:v>0.0</c:v>
                </c:pt>
                <c:pt idx="2">
                  <c:v>0.0</c:v>
                </c:pt>
                <c:pt idx="3">
                  <c:v>0.1111111111111111</c:v>
                </c:pt>
                <c:pt idx="4">
                  <c:v>0.1111111111111111</c:v>
                </c:pt>
                <c:pt idx="5">
                  <c:v>0.08333333333333333</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8333333333333333</c:v>
                </c:pt>
                <c:pt idx="23">
                  <c:v>0.0</c:v>
                </c:pt>
                <c:pt idx="24">
                  <c:v>0.1111111111111111</c:v>
                </c:pt>
                <c:pt idx="25">
                  <c:v>0.0</c:v>
                </c:pt>
                <c:pt idx="26">
                  <c:v>0.0</c:v>
                </c:pt>
                <c:pt idx="27">
                  <c:v>0.0</c:v>
                </c:pt>
                <c:pt idx="28">
                  <c:v>0.0</c:v>
                </c:pt>
                <c:pt idx="29">
                  <c:v>0.0</c:v>
                </c:pt>
                <c:pt idx="30">
                  <c:v>0.0</c:v>
                </c:pt>
                <c:pt idx="31">
                  <c:v>0.0</c:v>
                </c:pt>
                <c:pt idx="32">
                  <c:v>0.0</c:v>
                </c:pt>
                <c:pt idx="33">
                  <c:v>0.0</c:v>
                </c:pt>
              </c:numCache>
            </c:numRef>
          </c:yVal>
          <c:smooth val="0"/>
          <c:extLst>
            <c:ext xmlns:c16="http://schemas.microsoft.com/office/drawing/2014/chart" uri="{C3380CC4-5D6E-409C-BE32-E72D297353CC}">
              <c16:uniqueId val="{00000002-F32D-48B7-BC20-E66FC6253BAD}"/>
            </c:ext>
          </c:extLst>
        </c:ser>
        <c:ser>
          <c:idx val="2"/>
          <c:order val="2"/>
          <c:tx>
            <c:strRef>
              <c:f>Sheet1!$B$139</c:f>
              <c:strCache>
                <c:ptCount val="1"/>
                <c:pt idx="0">
                  <c:v>Custom Linep3yQ</c:v>
                </c:pt>
              </c:strCache>
            </c:strRef>
          </c:tx>
          <c:spPr>
            <a:ln w="19050" cap="rnd">
              <a:solidFill>
                <a:srgbClr val="C00000"/>
              </a:solidFill>
              <a:prstDash val="sysDot"/>
              <a:round/>
            </a:ln>
            <a:effectLst/>
          </c:spPr>
          <c:marker>
            <c:symbol val="none"/>
          </c:marker>
          <c:xVal>
            <c:numRef>
              <c:f>Sheet1!$A$140:$A$141</c:f>
              <c:numCache>
                <c:formatCode>General</c:formatCode>
                <c:ptCount val="2"/>
                <c:pt idx="0">
                  <c:v>0</c:v>
                </c:pt>
                <c:pt idx="1">
                  <c:v>6505.619709077175</c:v>
                </c:pt>
              </c:numCache>
            </c:numRef>
          </c:xVal>
          <c:yVal>
            <c:numRef>
              <c:f>Sheet1!$B$140:$B$141</c:f>
              <c:numCache>
                <c:formatCode>General</c:formatCode>
                <c:ptCount val="2"/>
                <c:pt idx="0">
                  <c:v>0.3610176282051282</c:v>
                </c:pt>
                <c:pt idx="1">
                  <c:v>0.3610176282051282</c:v>
                </c:pt>
              </c:numCache>
            </c:numRef>
          </c:yVal>
          <c:smooth val="0"/>
          <c:extLst>
            <c:ext xmlns:c16="http://schemas.microsoft.com/office/drawing/2014/chart" uri="{C3380CC4-5D6E-409C-BE32-E72D297353CC}">
              <c16:uniqueId val="{00000003-F32D-48B7-BC20-E66FC6253BAD}"/>
            </c:ext>
          </c:extLst>
        </c:ser>
        <c:ser>
          <c:idx val="3"/>
          <c:order val="3"/>
          <c:tx>
            <c:strRef>
              <c:f>Sheet1!$B$14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4:$A$145</c:f>
              <c:numCache>
                <c:formatCode>General</c:formatCode>
                <c:ptCount val="2"/>
                <c:pt idx="0">
                  <c:v>6505.619709077175</c:v>
                </c:pt>
                <c:pt idx="1">
                  <c:v>6505.619709077175</c:v>
                </c:pt>
              </c:numCache>
            </c:numRef>
          </c:xVal>
          <c:yVal>
            <c:numRef>
              <c:f>Sheet1!$B$144:$B$145</c:f>
              <c:numCache>
                <c:formatCode>General</c:formatCode>
                <c:ptCount val="2"/>
                <c:pt idx="0">
                  <c:v>0.361017628205128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8:$A$149</c:f>
              <c:numCache>
                <c:formatCode>General</c:formatCode>
                <c:ptCount val="2"/>
                <c:pt idx="0">
                  <c:v>0</c:v>
                </c:pt>
                <c:pt idx="1">
                  <c:v>888.7245538713162</c:v>
                </c:pt>
              </c:numCache>
            </c:numRef>
          </c:xVal>
          <c:yVal>
            <c:numRef>
              <c:f>Sheet1!$B$148:$B$149</c:f>
              <c:numCache>
                <c:formatCode>General</c:formatCode>
                <c:ptCount val="2"/>
                <c:pt idx="0">
                  <c:v>0.05092592592592592</c:v>
                </c:pt>
                <c:pt idx="1">
                  <c:v>0.05092592592592592</c:v>
                </c:pt>
              </c:numCache>
            </c:numRef>
          </c:yVal>
          <c:smooth val="0"/>
          <c:extLst>
            <c:ext xmlns:c16="http://schemas.microsoft.com/office/drawing/2014/chart" uri="{C3380CC4-5D6E-409C-BE32-E72D297353CC}">
              <c16:uniqueId val="{0000000A-F32D-48B7-BC20-E66FC6253BAD}"/>
            </c:ext>
          </c:extLst>
        </c:ser>
        <c:ser>
          <c:idx val="5"/>
          <c:order val="5"/>
          <c:tx>
            <c:strRef>
              <c:f>Sheet1!$B$15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2:$A$153</c:f>
              <c:numCache>
                <c:formatCode>General</c:formatCode>
                <c:ptCount val="2"/>
                <c:pt idx="0">
                  <c:v>888.7245538713162</c:v>
                </c:pt>
                <c:pt idx="1">
                  <c:v>888.7245538713162</c:v>
                </c:pt>
              </c:numCache>
            </c:numRef>
          </c:xVal>
          <c:yVal>
            <c:numRef>
              <c:f>Sheet1!$B$152:$B$153</c:f>
              <c:numCache>
                <c:formatCode>General</c:formatCode>
                <c:ptCount val="2"/>
                <c:pt idx="0">
                  <c:v>0.0509259259259259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6:$A$157</c:f>
              <c:numCache>
                <c:formatCode>General</c:formatCode>
                <c:ptCount val="2"/>
                <c:pt idx="0">
                  <c:v>0</c:v>
                </c:pt>
                <c:pt idx="1">
                  <c:v>-33.73026999286523</c:v>
                </c:pt>
              </c:numCache>
            </c:numRef>
          </c:xVal>
          <c:yVal>
            <c:numRef>
              <c:f>Sheet1!$B$156:$B$157</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15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0:$A$161</c:f>
              <c:numCache>
                <c:formatCode>General</c:formatCode>
                <c:ptCount val="2"/>
                <c:pt idx="0">
                  <c:v>-33.73026999286523</c:v>
                </c:pt>
                <c:pt idx="1">
                  <c:v>-33.73026999286523</c:v>
                </c:pt>
              </c:numCache>
            </c:numRef>
          </c:xVal>
          <c:yVal>
            <c:numRef>
              <c:f>Sheet1!$B$160:$B$161</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4:$A$200</c:f>
              <c:numCache>
                <c:formatCode>General</c:formatCode>
                <c:ptCount val="37"/>
                <c:pt idx="0">
                  <c:v>0.0</c:v>
                </c:pt>
                <c:pt idx="1">
                  <c:v>0.0</c:v>
                </c:pt>
                <c:pt idx="2">
                  <c:v>0.0</c:v>
                </c:pt>
                <c:pt idx="3">
                  <c:v>1051.0</c:v>
                </c:pt>
                <c:pt idx="4">
                  <c:v>1029.0</c:v>
                </c:pt>
                <c:pt idx="5">
                  <c:v>1692.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2263.0</c:v>
                </c:pt>
                <c:pt idx="23">
                  <c:v>0.0</c:v>
                </c:pt>
                <c:pt idx="24">
                  <c:v>1875.0</c:v>
                </c:pt>
                <c:pt idx="25">
                  <c:v>0.0</c:v>
                </c:pt>
                <c:pt idx="26">
                  <c:v>0.0</c:v>
                </c:pt>
                <c:pt idx="27">
                  <c:v>0.0</c:v>
                </c:pt>
                <c:pt idx="28">
                  <c:v>0.0</c:v>
                </c:pt>
                <c:pt idx="29">
                  <c:v>0.0</c:v>
                </c:pt>
                <c:pt idx="30">
                  <c:v>0.0</c:v>
                </c:pt>
                <c:pt idx="31">
                  <c:v>0.0</c:v>
                </c:pt>
                <c:pt idx="32">
                  <c:v>0.0</c:v>
                </c:pt>
                <c:pt idx="33">
                  <c:v>0.0</c:v>
                </c:pt>
                <c:pt idx="34">
                  <c:v>888.7245538713162</c:v>
                </c:pt>
                <c:pt idx="35">
                  <c:v>6505.619709077175</c:v>
                </c:pt>
                <c:pt idx="36">
                  <c:v>-33.73026999286523</c:v>
                </c:pt>
              </c:numCache>
            </c:numRef>
          </c:xVal>
          <c:yVal>
            <c:numRef>
              <c:f>Sheet1!$B$164:$B$200</c:f>
              <c:numCache>
                <c:formatCode>General</c:formatCode>
                <c:ptCount val="37"/>
                <c:pt idx="0">
                  <c:v>0.0018621456429947084</c:v>
                </c:pt>
                <c:pt idx="1">
                  <c:v>0.0018621456429947084</c:v>
                </c:pt>
                <c:pt idx="2">
                  <c:v>0.0018621456429947084</c:v>
                </c:pt>
                <c:pt idx="3">
                  <c:v>0.05988465987728384</c:v>
                </c:pt>
                <c:pt idx="4">
                  <c:v>0.05867010677247475</c:v>
                </c:pt>
                <c:pt idx="5">
                  <c:v>0.09527232079467618</c:v>
                </c:pt>
                <c:pt idx="6">
                  <c:v>0.0018621456429947084</c:v>
                </c:pt>
                <c:pt idx="7">
                  <c:v>0.0018621456429947084</c:v>
                </c:pt>
                <c:pt idx="8">
                  <c:v>0.0018621456429947084</c:v>
                </c:pt>
                <c:pt idx="9">
                  <c:v>0.0018621456429947084</c:v>
                </c:pt>
                <c:pt idx="10">
                  <c:v>0.0018621456429947084</c:v>
                </c:pt>
                <c:pt idx="11">
                  <c:v>0.0018621456429947084</c:v>
                </c:pt>
                <c:pt idx="12">
                  <c:v>0.0018621456429947084</c:v>
                </c:pt>
                <c:pt idx="13">
                  <c:v>0.0018621456429947084</c:v>
                </c:pt>
                <c:pt idx="14">
                  <c:v>0.0018621456429947084</c:v>
                </c:pt>
                <c:pt idx="15">
                  <c:v>0.0018621456429947084</c:v>
                </c:pt>
                <c:pt idx="16">
                  <c:v>0.0018621456429947084</c:v>
                </c:pt>
                <c:pt idx="17">
                  <c:v>0.0018621456429947084</c:v>
                </c:pt>
                <c:pt idx="18">
                  <c:v>0.0018621456429947084</c:v>
                </c:pt>
                <c:pt idx="19">
                  <c:v>0.0018621456429947084</c:v>
                </c:pt>
                <c:pt idx="20">
                  <c:v>0.0018621456429947084</c:v>
                </c:pt>
                <c:pt idx="21">
                  <c:v>0.0018621456429947084</c:v>
                </c:pt>
                <c:pt idx="22">
                  <c:v>0.12679549456040318</c:v>
                </c:pt>
                <c:pt idx="23">
                  <c:v>0.0018621456429947084</c:v>
                </c:pt>
                <c:pt idx="24">
                  <c:v>0.10537519434831548</c:v>
                </c:pt>
                <c:pt idx="25">
                  <c:v>0.0018621456429947084</c:v>
                </c:pt>
                <c:pt idx="26">
                  <c:v>0.0018621456429947084</c:v>
                </c:pt>
                <c:pt idx="27">
                  <c:v>0.0018621456429947084</c:v>
                </c:pt>
                <c:pt idx="28">
                  <c:v>0.0018621456429947084</c:v>
                </c:pt>
                <c:pt idx="29">
                  <c:v>0.0018621456429947084</c:v>
                </c:pt>
                <c:pt idx="30">
                  <c:v>0.0018621456429947084</c:v>
                </c:pt>
                <c:pt idx="31">
                  <c:v>0.0018621456429947084</c:v>
                </c:pt>
                <c:pt idx="32">
                  <c:v>0.0018621456429947084</c:v>
                </c:pt>
                <c:pt idx="33">
                  <c:v>0.0018621456429947084</c:v>
                </c:pt>
                <c:pt idx="34">
                  <c:v>0.05092592592592592</c:v>
                </c:pt>
                <c:pt idx="35">
                  <c:v>0.3610176282051282</c:v>
                </c:pt>
                <c:pt idx="36">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80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9</c:f>
              <c:numCache>
                <c:formatCode>General</c:formatCode>
                <c:ptCount val="28"/>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numCache>
            </c:numRef>
          </c:xVal>
          <c:yVal>
            <c:numRef>
              <c:f>Sheet1!$B$2:$B$29</c:f>
              <c:numCache>
                <c:formatCode>General</c:formatCode>
                <c:ptCount val="28"/>
                <c:pt idx="0">
                  <c:v>0.375</c:v>
                </c:pt>
                <c:pt idx="1">
                  <c:v>0.38461538461538464</c:v>
                </c:pt>
                <c:pt idx="2">
                  <c:v>0.25</c:v>
                </c:pt>
                <c:pt idx="3">
                  <c:v>0.4</c:v>
                </c:pt>
                <c:pt idx="4">
                  <c:v>0.43478260869565216</c:v>
                </c:pt>
                <c:pt idx="5">
                  <c:v>0.3125</c:v>
                </c:pt>
                <c:pt idx="6">
                  <c:v>0.2857142857142857</c:v>
                </c:pt>
                <c:pt idx="7">
                  <c:v>0.28</c:v>
                </c:pt>
                <c:pt idx="8">
                  <c:v>0.3076923076923077</c:v>
                </c:pt>
                <c:pt idx="9">
                  <c:v>0.16666666666666666</c:v>
                </c:pt>
                <c:pt idx="10">
                  <c:v>0.16666666666666666</c:v>
                </c:pt>
                <c:pt idx="11">
                  <c:v>0.13333333333333333</c:v>
                </c:pt>
                <c:pt idx="12">
                  <c:v>0.18181818181818182</c:v>
                </c:pt>
                <c:pt idx="13">
                  <c:v>0.14285714285714285</c:v>
                </c:pt>
                <c:pt idx="14">
                  <c:v>0.06666666666666667</c:v>
                </c:pt>
                <c:pt idx="15">
                  <c:v>0.05</c:v>
                </c:pt>
                <c:pt idx="16">
                  <c:v>0.11764705882352941</c:v>
                </c:pt>
                <c:pt idx="17">
                  <c:v>0.07142857142857142</c:v>
                </c:pt>
                <c:pt idx="18">
                  <c:v>0.07692307692307693</c:v>
                </c:pt>
                <c:pt idx="19">
                  <c:v>0.1111111111111111</c:v>
                </c:pt>
                <c:pt idx="20">
                  <c:v>0.0</c:v>
                </c:pt>
                <c:pt idx="21">
                  <c:v>0.0</c:v>
                </c:pt>
                <c:pt idx="22">
                  <c:v>0.0</c:v>
                </c:pt>
                <c:pt idx="23">
                  <c:v>0.0</c:v>
                </c:pt>
                <c:pt idx="24">
                  <c:v>0.08333333333333333</c:v>
                </c:pt>
                <c:pt idx="25">
                  <c:v>0.0</c:v>
                </c:pt>
                <c:pt idx="26">
                  <c:v>0.0</c:v>
                </c:pt>
                <c:pt idx="27">
                  <c:v>0.0</c:v>
                </c:pt>
              </c:numCache>
            </c:numRef>
          </c:yVal>
          <c:smooth val="0"/>
          <c:extLst>
            <c:ext xmlns:c16="http://schemas.microsoft.com/office/drawing/2014/chart" uri="{C3380CC4-5D6E-409C-BE32-E72D297353CC}">
              <c16:uniqueId val="{00000000-096C-4121-9522-6AB7243CCAAE}"/>
            </c:ext>
          </c:extLst>
        </c:ser>
        <c:ser>
          <c:idx val="1"/>
          <c:order val="1"/>
          <c:tx>
            <c:strRef>
              <c:f>Sheet1!$B$3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32:$A$31</c:f>
              <c:numCache>
                <c:formatCode>General</c:formatCode>
                <c:ptCount val="0"/>
              </c:numCache>
            </c:numRef>
          </c:xVal>
          <c:yVal>
            <c:numRef>
              <c:f>Sheet1!$B$32:$B$31</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3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34:$A$35</c:f>
              <c:numCache>
                <c:formatCode>General</c:formatCode>
                <c:ptCount val="2"/>
                <c:pt idx="0">
                  <c:v>0</c:v>
                </c:pt>
                <c:pt idx="1">
                  <c:v>0.4</c:v>
                </c:pt>
              </c:numCache>
            </c:numRef>
          </c:xVal>
          <c:yVal>
            <c:numRef>
              <c:f>Sheet1!$B$34:$B$35</c:f>
              <c:numCache>
                <c:formatCode>General</c:formatCode>
                <c:ptCount val="2"/>
                <c:pt idx="0">
                  <c:v>0.4</c:v>
                </c:pt>
                <c:pt idx="1">
                  <c:v>0.4</c:v>
                </c:pt>
              </c:numCache>
            </c:numRef>
          </c:yVal>
          <c:smooth val="0"/>
          <c:extLst>
            <c:ext xmlns:c16="http://schemas.microsoft.com/office/drawing/2014/chart" uri="{C3380CC4-5D6E-409C-BE32-E72D297353CC}">
              <c16:uniqueId val="{00000005-096C-4121-9522-6AB7243CCAAE}"/>
            </c:ext>
          </c:extLst>
        </c:ser>
        <c:ser>
          <c:idx val="3"/>
          <c:order val="3"/>
          <c:tx>
            <c:strRef>
              <c:f>Sheet1!$B$3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8:$A$39</c:f>
              <c:numCache>
                <c:formatCode>General</c:formatCode>
                <c:ptCount val="2"/>
                <c:pt idx="0">
                  <c:v>0.4</c:v>
                </c:pt>
                <c:pt idx="1">
                  <c:v>0.4</c:v>
                </c:pt>
              </c:numCache>
            </c:numRef>
          </c:xVal>
          <c:yVal>
            <c:numRef>
              <c:f>Sheet1!$B$38:$B$39</c:f>
              <c:numCache>
                <c:formatCode>General</c:formatCode>
                <c:ptCount val="2"/>
                <c:pt idx="0">
                  <c:v>0.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4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42:$A$43</c:f>
              <c:numCache>
                <c:formatCode>General</c:formatCode>
                <c:ptCount val="2"/>
                <c:pt idx="0">
                  <c:v>0</c:v>
                </c:pt>
                <c:pt idx="1">
                  <c:v>0.1111111111111111</c:v>
                </c:pt>
              </c:numCache>
            </c:numRef>
          </c:xVal>
          <c:yVal>
            <c:numRef>
              <c:f>Sheet1!$B$42:$B$43</c:f>
              <c:numCache>
                <c:formatCode>General</c:formatCode>
                <c:ptCount val="2"/>
                <c:pt idx="0">
                  <c:v>0.1111111111111111</c:v>
                </c:pt>
                <c:pt idx="1">
                  <c:v>0.1111111111111111</c:v>
                </c:pt>
              </c:numCache>
            </c:numRef>
          </c:yVal>
          <c:smooth val="0"/>
          <c:extLst>
            <c:ext xmlns:c16="http://schemas.microsoft.com/office/drawing/2014/chart" uri="{C3380CC4-5D6E-409C-BE32-E72D297353CC}">
              <c16:uniqueId val="{0000000D-096C-4121-9522-6AB7243CCAAE}"/>
            </c:ext>
          </c:extLst>
        </c:ser>
        <c:ser>
          <c:idx val="5"/>
          <c:order val="5"/>
          <c:tx>
            <c:strRef>
              <c:f>Sheet1!$B$4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6:$A$47</c:f>
              <c:numCache>
                <c:formatCode>General</c:formatCode>
                <c:ptCount val="2"/>
                <c:pt idx="0">
                  <c:v>0.1111111111111111</c:v>
                </c:pt>
                <c:pt idx="1">
                  <c:v>0.1111111111111111</c:v>
                </c:pt>
              </c:numCache>
            </c:numRef>
          </c:xVal>
          <c:yVal>
            <c:numRef>
              <c:f>Sheet1!$B$46:$B$47</c:f>
              <c:numCache>
                <c:formatCode>General</c:formatCode>
                <c:ptCount val="2"/>
                <c:pt idx="0">
                  <c:v>0.111111111111111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49</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50:$A$51</c:f>
              <c:numCache>
                <c:formatCode>General</c:formatCode>
                <c:ptCount val="2"/>
                <c:pt idx="0">
                  <c:v>0</c:v>
                </c:pt>
                <c:pt idx="1">
                  <c:v>0.0</c:v>
                </c:pt>
              </c:numCache>
            </c:numRef>
          </c:xVal>
          <c:yVal>
            <c:numRef>
              <c:f>Sheet1!$B$50:$B$51</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53</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4:$A$55</c:f>
              <c:numCache>
                <c:formatCode>General</c:formatCode>
                <c:ptCount val="2"/>
                <c:pt idx="0">
                  <c:v>0.0</c:v>
                </c:pt>
                <c:pt idx="1">
                  <c:v>0.0</c:v>
                </c:pt>
              </c:numCache>
            </c:numRef>
          </c:xVal>
          <c:yVal>
            <c:numRef>
              <c:f>Sheet1!$B$54:$B$55</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57</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58:$A$60</c:f>
              <c:numCache>
                <c:formatCode>General</c:formatCode>
                <c:ptCount val="3"/>
                <c:pt idx="0">
                  <c:v>0.1111111111111111</c:v>
                </c:pt>
                <c:pt idx="1">
                  <c:v>0.4</c:v>
                </c:pt>
                <c:pt idx="2">
                  <c:v>0.0</c:v>
                </c:pt>
              </c:numCache>
            </c:numRef>
          </c:xVal>
          <c:yVal>
            <c:numRef>
              <c:f>Sheet1!$B$58:$B$60</c:f>
              <c:numCache>
                <c:formatCode>General</c:formatCode>
                <c:ptCount val="3"/>
                <c:pt idx="0">
                  <c:v>0.1111111111111111</c:v>
                </c:pt>
                <c:pt idx="1">
                  <c:v>0.4</c:v>
                </c:pt>
                <c:pt idx="2">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opperto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21739130434782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0</c:f>
              <c:numCache>
                <c:formatCode>General</c:formatCode>
                <c:ptCount val="19"/>
                <c:pt idx="0">
                  <c:v>1102.0</c:v>
                </c:pt>
                <c:pt idx="1">
                  <c:v>1050.4</c:v>
                </c:pt>
                <c:pt idx="2">
                  <c:v>1108.0</c:v>
                </c:pt>
                <c:pt idx="3">
                  <c:v>1314.5</c:v>
                </c:pt>
                <c:pt idx="4">
                  <c:v>1244.1</c:v>
                </c:pt>
                <c:pt idx="5">
                  <c:v>1350.2</c:v>
                </c:pt>
                <c:pt idx="6">
                  <c:v>1386.5</c:v>
                </c:pt>
                <c:pt idx="7">
                  <c:v>1289.7143</c:v>
                </c:pt>
                <c:pt idx="8">
                  <c:v>1184.25</c:v>
                </c:pt>
                <c:pt idx="9">
                  <c:v>1705.0</c:v>
                </c:pt>
                <c:pt idx="10">
                  <c:v>1344.0</c:v>
                </c:pt>
                <c:pt idx="11">
                  <c:v>1191.0</c:v>
                </c:pt>
                <c:pt idx="12">
                  <c:v>1195.5</c:v>
                </c:pt>
                <c:pt idx="13">
                  <c:v>1337.5</c:v>
                </c:pt>
                <c:pt idx="14">
                  <c:v>1714.0</c:v>
                </c:pt>
                <c:pt idx="15">
                  <c:v>1029.0</c:v>
                </c:pt>
                <c:pt idx="16">
                  <c:v>1208.0</c:v>
                </c:pt>
                <c:pt idx="17">
                  <c:v>1365.0</c:v>
                </c:pt>
                <c:pt idx="18">
                  <c:v>1051.0</c:v>
                </c:pt>
              </c:numCache>
            </c:numRef>
          </c:xVal>
          <c:yVal>
            <c:numRef>
              <c:f>Sheet1!$B$2:$B$20</c:f>
              <c:numCache>
                <c:formatCode>General</c:formatCode>
                <c:ptCount val="19"/>
                <c:pt idx="0">
                  <c:v>0.375</c:v>
                </c:pt>
                <c:pt idx="1">
                  <c:v>0.38461538461538464</c:v>
                </c:pt>
                <c:pt idx="2">
                  <c:v>0.25</c:v>
                </c:pt>
                <c:pt idx="3">
                  <c:v>0.4</c:v>
                </c:pt>
                <c:pt idx="4">
                  <c:v>0.43478260869565216</c:v>
                </c:pt>
                <c:pt idx="5">
                  <c:v>0.3125</c:v>
                </c:pt>
                <c:pt idx="6">
                  <c:v>0.2857142857142857</c:v>
                </c:pt>
                <c:pt idx="7">
                  <c:v>0.28</c:v>
                </c:pt>
                <c:pt idx="8">
                  <c:v>0.3076923076923077</c:v>
                </c:pt>
                <c:pt idx="9">
                  <c:v>0.16666666666666666</c:v>
                </c:pt>
                <c:pt idx="10">
                  <c:v>0.16666666666666666</c:v>
                </c:pt>
                <c:pt idx="11">
                  <c:v>0.13333333333333333</c:v>
                </c:pt>
                <c:pt idx="12">
                  <c:v>0.18181818181818182</c:v>
                </c:pt>
                <c:pt idx="13">
                  <c:v>0.14285714285714285</c:v>
                </c:pt>
                <c:pt idx="14">
                  <c:v>0.06666666666666667</c:v>
                </c:pt>
                <c:pt idx="15">
                  <c:v>0.05</c:v>
                </c:pt>
                <c:pt idx="16">
                  <c:v>0.11764705882352941</c:v>
                </c:pt>
                <c:pt idx="17">
                  <c:v>0.07142857142857142</c:v>
                </c:pt>
                <c:pt idx="18">
                  <c:v>0.07692307692307693</c:v>
                </c:pt>
              </c:numCache>
            </c:numRef>
          </c:yVal>
          <c:smooth val="0"/>
          <c:extLst>
            <c:ext xmlns:c16="http://schemas.microsoft.com/office/drawing/2014/chart" uri="{C3380CC4-5D6E-409C-BE32-E72D297353CC}">
              <c16:uniqueId val="{00000000-F32D-48B7-BC20-E66FC6253BAD}"/>
            </c:ext>
          </c:extLst>
        </c:ser>
        <c:ser>
          <c:idx val="1"/>
          <c:order val="1"/>
          <c:tx>
            <c:strRef>
              <c:f>Sheet1!$B$2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3:$A$31</c:f>
              <c:numCache>
                <c:formatCode>General</c:formatCode>
                <c:ptCount val="9"/>
                <c:pt idx="0">
                  <c:v>1029.0</c:v>
                </c:pt>
                <c:pt idx="1">
                  <c:v>0.0</c:v>
                </c:pt>
                <c:pt idx="2">
                  <c:v>0.0</c:v>
                </c:pt>
                <c:pt idx="3">
                  <c:v>0.0</c:v>
                </c:pt>
                <c:pt idx="4">
                  <c:v>0.0</c:v>
                </c:pt>
                <c:pt idx="5">
                  <c:v>2263.0</c:v>
                </c:pt>
                <c:pt idx="6">
                  <c:v>0.0</c:v>
                </c:pt>
                <c:pt idx="7">
                  <c:v>0.0</c:v>
                </c:pt>
                <c:pt idx="8">
                  <c:v>0.0</c:v>
                </c:pt>
              </c:numCache>
            </c:numRef>
          </c:xVal>
          <c:yVal>
            <c:numRef>
              <c:f>Sheet1!$B$23:$B$31</c:f>
              <c:numCache>
                <c:formatCode>General</c:formatCode>
                <c:ptCount val="9"/>
                <c:pt idx="0">
                  <c:v>0.1111111111111111</c:v>
                </c:pt>
                <c:pt idx="1">
                  <c:v>0.0</c:v>
                </c:pt>
                <c:pt idx="2">
                  <c:v>0.0</c:v>
                </c:pt>
                <c:pt idx="3">
                  <c:v>0.0</c:v>
                </c:pt>
                <c:pt idx="4">
                  <c:v>0.0</c:v>
                </c:pt>
                <c:pt idx="5">
                  <c:v>0.08333333333333333</c:v>
                </c:pt>
                <c:pt idx="6">
                  <c:v>0.0</c:v>
                </c:pt>
                <c:pt idx="7">
                  <c:v>0.0</c:v>
                </c:pt>
                <c:pt idx="8">
                  <c:v>0.0</c:v>
                </c:pt>
              </c:numCache>
            </c:numRef>
          </c:yVal>
          <c:smooth val="0"/>
          <c:extLst>
            <c:ext xmlns:c16="http://schemas.microsoft.com/office/drawing/2014/chart" uri="{C3380CC4-5D6E-409C-BE32-E72D297353CC}">
              <c16:uniqueId val="{00000002-F32D-48B7-BC20-E66FC6253BAD}"/>
            </c:ext>
          </c:extLst>
        </c:ser>
        <c:ser>
          <c:idx val="2"/>
          <c:order val="2"/>
          <c:tx>
            <c:strRef>
              <c:f>Sheet1!$B$33</c:f>
              <c:strCache>
                <c:ptCount val="1"/>
                <c:pt idx="0">
                  <c:v>Custom Linep3yQ</c:v>
                </c:pt>
              </c:strCache>
            </c:strRef>
          </c:tx>
          <c:spPr>
            <a:ln w="19050" cap="rnd">
              <a:solidFill>
                <a:srgbClr val="C00000"/>
              </a:solidFill>
              <a:prstDash val="sysDot"/>
              <a:round/>
            </a:ln>
            <a:effectLst/>
          </c:spPr>
          <c:marker>
            <c:symbol val="none"/>
          </c:marker>
          <c:xVal>
            <c:numRef>
              <c:f>Sheet1!$A$34:$A$35</c:f>
              <c:numCache>
                <c:formatCode>General</c:formatCode>
                <c:ptCount val="2"/>
                <c:pt idx="0">
                  <c:v>0</c:v>
                </c:pt>
                <c:pt idx="1">
                  <c:v>8488.726973009681</c:v>
                </c:pt>
              </c:numCache>
            </c:numRef>
          </c:xVal>
          <c:yVal>
            <c:numRef>
              <c:f>Sheet1!$B$34:$B$35</c:f>
              <c:numCache>
                <c:formatCode>General</c:formatCode>
                <c:ptCount val="2"/>
                <c:pt idx="0">
                  <c:v>0.4</c:v>
                </c:pt>
                <c:pt idx="1">
                  <c:v>0.4</c:v>
                </c:pt>
              </c:numCache>
            </c:numRef>
          </c:yVal>
          <c:smooth val="0"/>
          <c:extLst>
            <c:ext xmlns:c16="http://schemas.microsoft.com/office/drawing/2014/chart" uri="{C3380CC4-5D6E-409C-BE32-E72D297353CC}">
              <c16:uniqueId val="{00000003-F32D-48B7-BC20-E66FC6253BAD}"/>
            </c:ext>
          </c:extLst>
        </c:ser>
        <c:ser>
          <c:idx val="3"/>
          <c:order val="3"/>
          <c:tx>
            <c:strRef>
              <c:f>Sheet1!$B$3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8:$A$39</c:f>
              <c:numCache>
                <c:formatCode>General</c:formatCode>
                <c:ptCount val="2"/>
                <c:pt idx="0">
                  <c:v>8488.726973009681</c:v>
                </c:pt>
                <c:pt idx="1">
                  <c:v>8488.726973009681</c:v>
                </c:pt>
              </c:numCache>
            </c:numRef>
          </c:xVal>
          <c:yVal>
            <c:numRef>
              <c:f>Sheet1!$B$38:$B$39</c:f>
              <c:numCache>
                <c:formatCode>General</c:formatCode>
                <c:ptCount val="2"/>
                <c:pt idx="0">
                  <c:v>0.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4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42:$A$43</c:f>
              <c:numCache>
                <c:formatCode>General</c:formatCode>
                <c:ptCount val="2"/>
                <c:pt idx="0">
                  <c:v>0</c:v>
                </c:pt>
                <c:pt idx="1">
                  <c:v>2287.193166535732</c:v>
                </c:pt>
              </c:numCache>
            </c:numRef>
          </c:xVal>
          <c:yVal>
            <c:numRef>
              <c:f>Sheet1!$B$42:$B$43</c:f>
              <c:numCache>
                <c:formatCode>General</c:formatCode>
                <c:ptCount val="2"/>
                <c:pt idx="0">
                  <c:v>0.1111111111111111</c:v>
                </c:pt>
                <c:pt idx="1">
                  <c:v>0.1111111111111111</c:v>
                </c:pt>
              </c:numCache>
            </c:numRef>
          </c:yVal>
          <c:smooth val="0"/>
          <c:extLst>
            <c:ext xmlns:c16="http://schemas.microsoft.com/office/drawing/2014/chart" uri="{C3380CC4-5D6E-409C-BE32-E72D297353CC}">
              <c16:uniqueId val="{0000000A-F32D-48B7-BC20-E66FC6253BAD}"/>
            </c:ext>
          </c:extLst>
        </c:ser>
        <c:ser>
          <c:idx val="5"/>
          <c:order val="5"/>
          <c:tx>
            <c:strRef>
              <c:f>Sheet1!$B$4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6:$A$47</c:f>
              <c:numCache>
                <c:formatCode>General</c:formatCode>
                <c:ptCount val="2"/>
                <c:pt idx="0">
                  <c:v>2287.193166535732</c:v>
                </c:pt>
                <c:pt idx="1">
                  <c:v>2287.193166535732</c:v>
                </c:pt>
              </c:numCache>
            </c:numRef>
          </c:xVal>
          <c:yVal>
            <c:numRef>
              <c:f>Sheet1!$B$46:$B$47</c:f>
              <c:numCache>
                <c:formatCode>General</c:formatCode>
                <c:ptCount val="2"/>
                <c:pt idx="0">
                  <c:v>0.111111111111111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49</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50:$A$51</c:f>
              <c:numCache>
                <c:formatCode>General</c:formatCode>
                <c:ptCount val="2"/>
                <c:pt idx="0">
                  <c:v>0</c:v>
                </c:pt>
                <c:pt idx="1">
                  <c:v>-98.012143646556</c:v>
                </c:pt>
              </c:numCache>
            </c:numRef>
          </c:xVal>
          <c:yVal>
            <c:numRef>
              <c:f>Sheet1!$B$50:$B$51</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53</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4:$A$55</c:f>
              <c:numCache>
                <c:formatCode>General</c:formatCode>
                <c:ptCount val="2"/>
                <c:pt idx="0">
                  <c:v>-98.012143646556</c:v>
                </c:pt>
                <c:pt idx="1">
                  <c:v>-98.012143646556</c:v>
                </c:pt>
              </c:numCache>
            </c:numRef>
          </c:xVal>
          <c:yVal>
            <c:numRef>
              <c:f>Sheet1!$B$54:$B$55</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57</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58:$A$69</c:f>
              <c:numCache>
                <c:formatCode>General</c:formatCode>
                <c:ptCount val="12"/>
                <c:pt idx="0">
                  <c:v>1029.0</c:v>
                </c:pt>
                <c:pt idx="1">
                  <c:v>0.0</c:v>
                </c:pt>
                <c:pt idx="2">
                  <c:v>0.0</c:v>
                </c:pt>
                <c:pt idx="3">
                  <c:v>0.0</c:v>
                </c:pt>
                <c:pt idx="4">
                  <c:v>0.0</c:v>
                </c:pt>
                <c:pt idx="5">
                  <c:v>2263.0</c:v>
                </c:pt>
                <c:pt idx="6">
                  <c:v>0.0</c:v>
                </c:pt>
                <c:pt idx="7">
                  <c:v>0.0</c:v>
                </c:pt>
                <c:pt idx="8">
                  <c:v>0.0</c:v>
                </c:pt>
                <c:pt idx="9">
                  <c:v>2287.193166535732</c:v>
                </c:pt>
                <c:pt idx="10">
                  <c:v>8488.726973009681</c:v>
                </c:pt>
                <c:pt idx="11">
                  <c:v>-98.012143646556</c:v>
                </c:pt>
              </c:numCache>
            </c:numRef>
          </c:xVal>
          <c:yVal>
            <c:numRef>
              <c:f>Sheet1!$B$58:$B$69</c:f>
              <c:numCache>
                <c:formatCode>General</c:formatCode>
                <c:ptCount val="12"/>
                <c:pt idx="0">
                  <c:v>0.052500122728099174</c:v>
                </c:pt>
                <c:pt idx="1">
                  <c:v>0.004565744565661052</c:v>
                </c:pt>
                <c:pt idx="2">
                  <c:v>0.004565744565661052</c:v>
                </c:pt>
                <c:pt idx="3">
                  <c:v>0.004565744565661052</c:v>
                </c:pt>
                <c:pt idx="4">
                  <c:v>0.004565744565661052</c:v>
                </c:pt>
                <c:pt idx="5">
                  <c:v>0.1099841097567179</c:v>
                </c:pt>
                <c:pt idx="6">
                  <c:v>0.004565744565661052</c:v>
                </c:pt>
                <c:pt idx="7">
                  <c:v>0.004565744565661052</c:v>
                </c:pt>
                <c:pt idx="8">
                  <c:v>0.004565744565661052</c:v>
                </c:pt>
                <c:pt idx="9">
                  <c:v>0.1111111111111111</c:v>
                </c:pt>
                <c:pt idx="10">
                  <c:v>0.4</c:v>
                </c:pt>
                <c:pt idx="11">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18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21739130434782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5</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5</c:v>
                </c:pt>
              </c:numCache>
            </c:numRef>
          </c:xVal>
          <c:yVal>
            <c:numRef>
              <c:f>Sheet1!$B$7:$B$8</c:f>
              <c:numCache>
                <c:formatCode>General</c:formatCode>
                <c:ptCount val="2"/>
                <c:pt idx="0">
                  <c:v>0.5</c:v>
                </c:pt>
                <c:pt idx="1">
                  <c:v>0.5</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5</c:v>
                </c:pt>
                <c:pt idx="1">
                  <c:v>0.5</c:v>
                </c:pt>
              </c:numCache>
            </c:numRef>
          </c:xVal>
          <c:yVal>
            <c:numRef>
              <c:f>Sheet1!$B$11:$B$12</c:f>
              <c:numCache>
                <c:formatCode>General</c:formatCode>
                <c:ptCount val="2"/>
                <c:pt idx="0">
                  <c:v>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5</c:v>
                </c:pt>
                <c:pt idx="2">
                  <c:v>0</c:v>
                </c:pt>
              </c:numCache>
            </c:numRef>
          </c:xVal>
          <c:yVal>
            <c:numRef>
              <c:f>Sheet1!$B$15:$B$17</c:f>
              <c:numCache>
                <c:formatCode>General</c:formatCode>
                <c:ptCount val="3"/>
                <c:pt idx="0">
                  <c:v>0</c:v>
                </c:pt>
                <c:pt idx="1">
                  <c:v>0.5</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Mustel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
          <c:min val="0.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6240477954827406</c:v>
                </c:pt>
                <c:pt idx="1">
                  <c:v>0.17152170712829543</c:v>
                </c:pt>
                <c:pt idx="2">
                  <c:v>0.17120700327600755</c:v>
                </c:pt>
                <c:pt idx="3">
                  <c:v>0.17413633380971422</c:v>
                </c:pt>
                <c:pt idx="4">
                  <c:v>0.16252380166829314</c:v>
                </c:pt>
                <c:pt idx="5">
                  <c:v>0.15750249825805132</c:v>
                </c:pt>
                <c:pt idx="6">
                  <c:v>0.16246483193266326</c:v>
                </c:pt>
                <c:pt idx="7">
                  <c:v>0.15639198024814366</c:v>
                </c:pt>
                <c:pt idx="8">
                  <c:v>0.15978555600027036</c:v>
                </c:pt>
                <c:pt idx="9">
                  <c:v>0.15517494087229886</c:v>
                </c:pt>
                <c:pt idx="10">
                  <c:v>0.15257136082236863</c:v>
                </c:pt>
                <c:pt idx="11">
                  <c:v>0.15529906231387275</c:v>
                </c:pt>
                <c:pt idx="12">
                  <c:v>0.16391488109761193</c:v>
                </c:pt>
                <c:pt idx="13">
                  <c:v>0.15895289634084667</c:v>
                </c:pt>
                <c:pt idx="14">
                  <c:v>0.18019240159866443</c:v>
                </c:pt>
                <c:pt idx="15">
                  <c:v>0.17648758648659957</c:v>
                </c:pt>
                <c:pt idx="16">
                  <c:v>0.16777820742199492</c:v>
                </c:pt>
                <c:pt idx="17">
                  <c:v>0.16685471016454512</c:v>
                </c:pt>
                <c:pt idx="18">
                  <c:v>0.1580631042407052</c:v>
                </c:pt>
                <c:pt idx="19">
                  <c:v>0.15621430452685542</c:v>
                </c:pt>
                <c:pt idx="20">
                  <c:v>0.1667696787688273</c:v>
                </c:pt>
                <c:pt idx="21">
                  <c:v>0.15948282099481795</c:v>
                </c:pt>
                <c:pt idx="22">
                  <c:v>0.1532821480773035</c:v>
                </c:pt>
                <c:pt idx="23">
                  <c:v>0.15511192048271993</c:v>
                </c:pt>
                <c:pt idx="24">
                  <c:v>0.15323810400819704</c:v>
                </c:pt>
                <c:pt idx="25">
                  <c:v>0.14513081361845995</c:v>
                </c:pt>
                <c:pt idx="26">
                  <c:v>0.1531690667563777</c:v>
                </c:pt>
                <c:pt idx="27">
                  <c:v>0.14799487895948957</c:v>
                </c:pt>
                <c:pt idx="28">
                  <c:v>0.1464326153728176</c:v>
                </c:pt>
                <c:pt idx="29">
                  <c:v>0.15311784045103724</c:v>
                </c:pt>
                <c:pt idx="30">
                  <c:v>0.14130025059791967</c:v>
                </c:pt>
                <c:pt idx="31">
                  <c:v>0.13777653936096151</c:v>
                </c:pt>
                <c:pt idx="32">
                  <c:v>0.13800348896294581</c:v>
                </c:pt>
                <c:pt idx="33">
                  <c:v>0.14202431961943038</c:v>
                </c:pt>
                <c:pt idx="34">
                  <c:v>0.1450894591780814</c:v>
                </c:pt>
                <c:pt idx="35">
                  <c:v>0.15616439008575225</c:v>
                </c:pt>
                <c:pt idx="36">
                  <c:v>0.14632255501909489</c:v>
                </c:pt>
                <c:pt idx="37">
                  <c:v>0.13573786057742027</c:v>
                </c:pt>
                <c:pt idx="38">
                  <c:v>0.1379889396560814</c:v>
                </c:pt>
                <c:pt idx="39">
                  <c:v>0.14412835608966357</c:v>
                </c:pt>
                <c:pt idx="40">
                  <c:v>0.1562745652470845</c:v>
                </c:pt>
                <c:pt idx="41">
                  <c:v>0.14985590335133708</c:v>
                </c:pt>
                <c:pt idx="42">
                  <c:v>0.15467696013567503</c:v>
                </c:pt>
                <c:pt idx="43">
                  <c:v>0.164781705059848</c:v>
                </c:pt>
                <c:pt idx="44">
                  <c:v>0.1804513840493281</c:v>
                </c:pt>
                <c:pt idx="45">
                  <c:v>0.1891592819995231</c:v>
                </c:pt>
                <c:pt idx="46">
                  <c:v>0.18096434850776616</c:v>
                </c:pt>
                <c:pt idx="47">
                  <c:v>0.17995475614427403</c:v>
                </c:pt>
                <c:pt idx="48">
                  <c:v>0.19315563830638094</c:v>
                </c:pt>
                <c:pt idx="49">
                  <c:v>0.1964736130825695</c:v>
                </c:pt>
                <c:pt idx="50">
                  <c:v>0.1761353848197656</c:v>
                </c:pt>
                <c:pt idx="51">
                  <c:v>0.16363516702246303</c:v>
                </c:pt>
                <c:pt idx="52">
                  <c:v>0.17334349606195723</c:v>
                </c:pt>
                <c:pt idx="53">
                  <c:v>0.1906556207436337</c:v>
                </c:pt>
                <c:pt idx="54">
                  <c:v>0.18226166469951804</c:v>
                </c:pt>
                <c:pt idx="55">
                  <c:v>0.18323447508837282</c:v>
                </c:pt>
                <c:pt idx="56">
                  <c:v>0.1830149141482816</c:v>
                </c:pt>
                <c:pt idx="57">
                  <c:v>0.18383332347248607</c:v>
                </c:pt>
                <c:pt idx="58">
                  <c:v>0.1964044910090703</c:v>
                </c:pt>
                <c:pt idx="59">
                  <c:v>0.22410623621488504</c:v>
                </c:pt>
                <c:pt idx="60">
                  <c:v>0.22679322211553093</c:v>
                </c:pt>
                <c:pt idx="61">
                  <c:v>0.2017364642272239</c:v>
                </c:pt>
                <c:pt idx="62">
                  <c:v>0.18245477260641915</c:v>
                </c:pt>
                <c:pt idx="63">
                  <c:v>0.1883175945342368</c:v>
                </c:pt>
                <c:pt idx="64">
                  <c:v>0.19637983364033515</c:v>
                </c:pt>
                <c:pt idx="65">
                  <c:v>0.19278728948252838</c:v>
                </c:pt>
                <c:pt idx="66">
                  <c:v>0.20894866177978094</c:v>
                </c:pt>
                <c:pt idx="67">
                  <c:v>0.20898608119565845</c:v>
                </c:pt>
                <c:pt idx="68">
                  <c:v>0.1961038473554327</c:v>
                </c:pt>
                <c:pt idx="69">
                  <c:v>0.19195800737542812</c:v>
                </c:pt>
                <c:pt idx="70">
                  <c:v>0.18835143029789808</c:v>
                </c:pt>
                <c:pt idx="71">
                  <c:v>0.18563611814818196</c:v>
                </c:pt>
                <c:pt idx="72">
                  <c:v>0.19610495873784117</c:v>
                </c:pt>
                <c:pt idx="73">
                  <c:v>0.19220560412162077</c:v>
                </c:pt>
                <c:pt idx="74">
                  <c:v>0.19344046284175834</c:v>
                </c:pt>
                <c:pt idx="75">
                  <c:v>0.18461822790181495</c:v>
                </c:pt>
                <c:pt idx="76">
                  <c:v>0.17732635864715282</c:v>
                </c:pt>
                <c:pt idx="77">
                  <c:v>0.17579999869793972</c:v>
                </c:pt>
                <c:pt idx="78">
                  <c:v>0.17095647459594168</c:v>
                </c:pt>
                <c:pt idx="79">
                  <c:v>0.16415065044750887</c:v>
                </c:pt>
                <c:pt idx="80">
                  <c:v>0.1639022669528552</c:v>
                </c:pt>
                <c:pt idx="81">
                  <c:v>0.17728650670753934</c:v>
                </c:pt>
                <c:pt idx="82">
                  <c:v>0.16773559520960066</c:v>
                </c:pt>
                <c:pt idx="83">
                  <c:v>0.1594987026966244</c:v>
                </c:pt>
                <c:pt idx="84">
                  <c:v>0.15923105003828028</c:v>
                </c:pt>
                <c:pt idx="85">
                  <c:v>0.1618642954994114</c:v>
                </c:pt>
                <c:pt idx="86">
                  <c:v>0.1703290384841131</c:v>
                </c:pt>
                <c:pt idx="87">
                  <c:v>0.18850138050357268</c:v>
                </c:pt>
                <c:pt idx="88">
                  <c:v>0.1691219204582464</c:v>
                </c:pt>
                <c:pt idx="89">
                  <c:v>0.1653270892407267</c:v>
                </c:pt>
                <c:pt idx="90">
                  <c:v>0.16518234049893102</c:v>
                </c:pt>
                <c:pt idx="91">
                  <c:v>0.17070481452152717</c:v>
                </c:pt>
                <c:pt idx="92">
                  <c:v>0.17737922625807884</c:v>
                </c:pt>
                <c:pt idx="93">
                  <c:v>0.17749395628140938</c:v>
                </c:pt>
                <c:pt idx="94">
                  <c:v>0.17182318862106924</c:v>
                </c:pt>
                <c:pt idx="95">
                  <c:v>0.18716228354941702</c:v>
                </c:pt>
                <c:pt idx="96">
                  <c:v>0.18553333060065835</c:v>
                </c:pt>
                <c:pt idx="97">
                  <c:v>0.19989434967314676</c:v>
                </c:pt>
                <c:pt idx="98">
                  <c:v>0.20752761269061112</c:v>
                </c:pt>
                <c:pt idx="99">
                  <c:v>0.21368840083268528</c:v>
                </c:pt>
                <c:pt idx="100">
                  <c:v>0.21946081471296966</c:v>
                </c:pt>
                <c:pt idx="101">
                  <c:v>0.22259626543907177</c:v>
                </c:pt>
                <c:pt idx="102">
                  <c:v>0.22213945498316404</c:v>
                </c:pt>
                <c:pt idx="103">
                  <c:v>0.20451701067455177</c:v>
                </c:pt>
                <c:pt idx="104">
                  <c:v>0.20248435160546097</c:v>
                </c:pt>
              </c:numCache>
            </c:numRef>
          </c:xVal>
          <c:yVal>
            <c:numRef>
              <c:f>Sheet1!$B$2:$B$106</c:f>
              <c:numCache>
                <c:formatCode>General</c:formatCode>
                <c:ptCount val="105"/>
                <c:pt idx="0">
                  <c:v>0.19014989293361884</c:v>
                </c:pt>
                <c:pt idx="1">
                  <c:v>0.1874182090110301</c:v>
                </c:pt>
                <c:pt idx="2">
                  <c:v>0.18448132010753684</c:v>
                </c:pt>
                <c:pt idx="3">
                  <c:v>0.19202967471942173</c:v>
                </c:pt>
                <c:pt idx="4">
                  <c:v>0.21944354227563062</c:v>
                </c:pt>
                <c:pt idx="5">
                  <c:v>0.20855138625988198</c:v>
                </c:pt>
                <c:pt idx="6">
                  <c:v>0.23273385122911566</c:v>
                </c:pt>
                <c:pt idx="7">
                  <c:v>0.22297297297297297</c:v>
                </c:pt>
                <c:pt idx="8">
                  <c:v>0.23093121197941038</c:v>
                </c:pt>
                <c:pt idx="9">
                  <c:v>0.23115327009485773</c:v>
                </c:pt>
                <c:pt idx="10">
                  <c:v>0.22522522522522523</c:v>
                </c:pt>
                <c:pt idx="11">
                  <c:v>0.22725676150333685</c:v>
                </c:pt>
                <c:pt idx="12">
                  <c:v>0.21053849714550224</c:v>
                </c:pt>
                <c:pt idx="13">
                  <c:v>0.20055565202292064</c:v>
                </c:pt>
                <c:pt idx="14">
                  <c:v>0.17704734335605565</c:v>
                </c:pt>
                <c:pt idx="15">
                  <c:v>0.16691908264820424</c:v>
                </c:pt>
                <c:pt idx="16">
                  <c:v>0.16824498831632026</c:v>
                </c:pt>
                <c:pt idx="17">
                  <c:v>0.1657111657111657</c:v>
                </c:pt>
                <c:pt idx="18">
                  <c:v>0.1534027221777422</c:v>
                </c:pt>
                <c:pt idx="19">
                  <c:v>0.1468956879584899</c:v>
                </c:pt>
                <c:pt idx="20">
                  <c:v>0.18550137462017074</c:v>
                </c:pt>
                <c:pt idx="21">
                  <c:v>0.1703767123287671</c:v>
                </c:pt>
                <c:pt idx="22">
                  <c:v>0.14937759336099585</c:v>
                </c:pt>
                <c:pt idx="23">
                  <c:v>0.1632692681032809</c:v>
                </c:pt>
                <c:pt idx="24">
                  <c:v>0.16699981828093768</c:v>
                </c:pt>
                <c:pt idx="25">
                  <c:v>0.16081750619322874</c:v>
                </c:pt>
                <c:pt idx="26">
                  <c:v>0.16816409560942533</c:v>
                </c:pt>
                <c:pt idx="27">
                  <c:v>0.18117854001759015</c:v>
                </c:pt>
                <c:pt idx="28">
                  <c:v>0.18936994016191483</c:v>
                </c:pt>
                <c:pt idx="29">
                  <c:v>0.18606127956818544</c:v>
                </c:pt>
                <c:pt idx="30">
                  <c:v>0.1950787401574803</c:v>
                </c:pt>
                <c:pt idx="31">
                  <c:v>0.17657657657657658</c:v>
                </c:pt>
                <c:pt idx="32">
                  <c:v>0.18993506493506493</c:v>
                </c:pt>
                <c:pt idx="33">
                  <c:v>0.1818020259463302</c:v>
                </c:pt>
                <c:pt idx="34">
                  <c:v>0.20025288446341077</c:v>
                </c:pt>
                <c:pt idx="35">
                  <c:v>0.2567105905319668</c:v>
                </c:pt>
                <c:pt idx="36">
                  <c:v>0.2090291536937447</c:v>
                </c:pt>
                <c:pt idx="37">
                  <c:v>0.19676739283204497</c:v>
                </c:pt>
                <c:pt idx="38">
                  <c:v>0.18666219839142092</c:v>
                </c:pt>
                <c:pt idx="39">
                  <c:v>0.18684603886397608</c:v>
                </c:pt>
                <c:pt idx="40">
                  <c:v>0.1901644336175396</c:v>
                </c:pt>
                <c:pt idx="41">
                  <c:v>0.17954735959765297</c:v>
                </c:pt>
                <c:pt idx="42">
                  <c:v>0.18690275435637999</c:v>
                </c:pt>
                <c:pt idx="43">
                  <c:v>0.18360136452241715</c:v>
                </c:pt>
                <c:pt idx="44">
                  <c:v>0.16826381059751974</c:v>
                </c:pt>
                <c:pt idx="45">
                  <c:v>0.16118853536681568</c:v>
                </c:pt>
                <c:pt idx="46">
                  <c:v>0.16547874624302275</c:v>
                </c:pt>
                <c:pt idx="47">
                  <c:v>0.16660851360781578</c:v>
                </c:pt>
                <c:pt idx="48">
                  <c:v>0.16566534577527803</c:v>
                </c:pt>
                <c:pt idx="49">
                  <c:v>0.18493237800483317</c:v>
                </c:pt>
                <c:pt idx="50">
                  <c:v>0.1706705661165657</c:v>
                </c:pt>
                <c:pt idx="51">
                  <c:v>0.1737982884107814</c:v>
                </c:pt>
                <c:pt idx="52">
                  <c:v>0.17529908028490424</c:v>
                </c:pt>
                <c:pt idx="53">
                  <c:v>0.16356603426045313</c:v>
                </c:pt>
                <c:pt idx="54">
                  <c:v>0.16656510257972781</c:v>
                </c:pt>
                <c:pt idx="55">
                  <c:v>0.16468982890731604</c:v>
                </c:pt>
                <c:pt idx="56">
                  <c:v>0.17314981049271894</c:v>
                </c:pt>
                <c:pt idx="57">
                  <c:v>0.15567353549896518</c:v>
                </c:pt>
                <c:pt idx="58">
                  <c:v>0.1553445337229121</c:v>
                </c:pt>
                <c:pt idx="59">
                  <c:v>0.14042185898473325</c:v>
                </c:pt>
                <c:pt idx="60">
                  <c:v>0.13943281566509116</c:v>
                </c:pt>
                <c:pt idx="61">
                  <c:v>0.1463888266487415</c:v>
                </c:pt>
                <c:pt idx="62">
                  <c:v>0.16681908245694255</c:v>
                </c:pt>
                <c:pt idx="63">
                  <c:v>0.16552175335296043</c:v>
                </c:pt>
                <c:pt idx="64">
                  <c:v>0.16559465254130407</c:v>
                </c:pt>
                <c:pt idx="65">
                  <c:v>0.16908012687905116</c:v>
                </c:pt>
                <c:pt idx="66">
                  <c:v>0.16127120527446479</c:v>
                </c:pt>
                <c:pt idx="67">
                  <c:v>0.1575673807878369</c:v>
                </c:pt>
                <c:pt idx="68">
                  <c:v>0.15084640609766906</c:v>
                </c:pt>
                <c:pt idx="69">
                  <c:v>0.13940273243864104</c:v>
                </c:pt>
                <c:pt idx="70">
                  <c:v>0.1383089168300842</c:v>
                </c:pt>
                <c:pt idx="71">
                  <c:v>0.1375188580712545</c:v>
                </c:pt>
                <c:pt idx="72">
                  <c:v>0.15128576199487923</c:v>
                </c:pt>
                <c:pt idx="73">
                  <c:v>0.14916875427009793</c:v>
                </c:pt>
                <c:pt idx="74">
                  <c:v>0.14144620811287478</c:v>
                </c:pt>
                <c:pt idx="75">
                  <c:v>0.15030504714364948</c:v>
                </c:pt>
                <c:pt idx="76">
                  <c:v>0.15098152424942263</c:v>
                </c:pt>
                <c:pt idx="77">
                  <c:v>0.14893926184248765</c:v>
                </c:pt>
                <c:pt idx="78">
                  <c:v>0.1562448711636304</c:v>
                </c:pt>
                <c:pt idx="79">
                  <c:v>0.1584241408214585</c:v>
                </c:pt>
                <c:pt idx="80">
                  <c:v>0.158530531193116</c:v>
                </c:pt>
                <c:pt idx="81">
                  <c:v>0.15322033898305085</c:v>
                </c:pt>
                <c:pt idx="82">
                  <c:v>0.15401558793629277</c:v>
                </c:pt>
                <c:pt idx="83">
                  <c:v>0.13964346349745332</c:v>
                </c:pt>
                <c:pt idx="84">
                  <c:v>0.14164366107453813</c:v>
                </c:pt>
                <c:pt idx="85">
                  <c:v>0.1314352574102964</c:v>
                </c:pt>
                <c:pt idx="86">
                  <c:v>0.14265335235378032</c:v>
                </c:pt>
                <c:pt idx="87">
                  <c:v>0.17739646497226164</c:v>
                </c:pt>
                <c:pt idx="88">
                  <c:v>0.18386639357176618</c:v>
                </c:pt>
                <c:pt idx="89">
                  <c:v>0.1434290687554395</c:v>
                </c:pt>
                <c:pt idx="90">
                  <c:v>0.14193663862538033</c:v>
                </c:pt>
                <c:pt idx="91">
                  <c:v>0.14365199797673242</c:v>
                </c:pt>
                <c:pt idx="92">
                  <c:v>0.15895232815964525</c:v>
                </c:pt>
                <c:pt idx="93">
                  <c:v>0.13890293225480282</c:v>
                </c:pt>
                <c:pt idx="94">
                  <c:v>0.13735046521931768</c:v>
                </c:pt>
                <c:pt idx="95">
                  <c:v>0.1478503270076123</c:v>
                </c:pt>
                <c:pt idx="96">
                  <c:v>0.14983572540204046</c:v>
                </c:pt>
                <c:pt idx="97">
                  <c:v>0.1448043382676242</c:v>
                </c:pt>
                <c:pt idx="98">
                  <c:v>0.15628408288958748</c:v>
                </c:pt>
                <c:pt idx="99">
                  <c:v>0.1556851648668938</c:v>
                </c:pt>
                <c:pt idx="100">
                  <c:v>0.17040760657781934</c:v>
                </c:pt>
                <c:pt idx="101">
                  <c:v>0.14546495356824832</c:v>
                </c:pt>
                <c:pt idx="102">
                  <c:v>0.13494876586969132</c:v>
                </c:pt>
                <c:pt idx="103">
                  <c:v>0.1509997222993613</c:v>
                </c:pt>
                <c:pt idx="104">
                  <c:v>0.155755176613885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186077296537739</c:v>
                </c:pt>
                <c:pt idx="1">
                  <c:v>0.21400611031752134</c:v>
                </c:pt>
                <c:pt idx="2">
                  <c:v>0.21809251054375364</c:v>
                </c:pt>
                <c:pt idx="3">
                  <c:v>0.22408640975722846</c:v>
                </c:pt>
                <c:pt idx="4">
                  <c:v>0.2165935322398825</c:v>
                </c:pt>
                <c:pt idx="5">
                  <c:v>0.21803373743433022</c:v>
                </c:pt>
                <c:pt idx="6">
                  <c:v>0.21248571888851445</c:v>
                </c:pt>
                <c:pt idx="7">
                  <c:v>0.20601399441002421</c:v>
                </c:pt>
                <c:pt idx="8">
                  <c:v>0.20063885190182063</c:v>
                </c:pt>
                <c:pt idx="9">
                  <c:v>0.1865018266524623</c:v>
                </c:pt>
                <c:pt idx="10">
                  <c:v>0.19798808796127879</c:v>
                </c:pt>
                <c:pt idx="11">
                  <c:v>0.22317002556044863</c:v>
                </c:pt>
                <c:pt idx="12">
                  <c:v>0.21916192013439487</c:v>
                </c:pt>
                <c:pt idx="13">
                  <c:v>0.19065037302466298</c:v>
                </c:pt>
                <c:pt idx="14">
                  <c:v>0.20700137422591255</c:v>
                </c:pt>
                <c:pt idx="15">
                  <c:v>0.1880883029718309</c:v>
                </c:pt>
                <c:pt idx="16">
                  <c:v>0.19482705775795986</c:v>
                </c:pt>
                <c:pt idx="17">
                  <c:v>0.19492949394379142</c:v>
                </c:pt>
                <c:pt idx="18">
                  <c:v>0.1841558856212417</c:v>
                </c:pt>
                <c:pt idx="19">
                  <c:v>0.19902860824586338</c:v>
                </c:pt>
                <c:pt idx="20">
                  <c:v>0.17793062577266805</c:v>
                </c:pt>
                <c:pt idx="21">
                  <c:v>0.17199318076383885</c:v>
                </c:pt>
                <c:pt idx="22">
                  <c:v>0.17487847937511306</c:v>
                </c:pt>
                <c:pt idx="23">
                  <c:v>0.14953711588065663</c:v>
                </c:pt>
                <c:pt idx="24">
                  <c:v>0.147483479081812</c:v>
                </c:pt>
                <c:pt idx="25">
                  <c:v>0.1523372304034474</c:v>
                </c:pt>
                <c:pt idx="26">
                  <c:v>0.1586886589408183</c:v>
                </c:pt>
                <c:pt idx="27">
                  <c:v>0.1638176326923272</c:v>
                </c:pt>
                <c:pt idx="28">
                  <c:v>0.17202709107655037</c:v>
                </c:pt>
                <c:pt idx="29">
                  <c:v>0.1637399998988175</c:v>
                </c:pt>
                <c:pt idx="30">
                  <c:v>0.16028662401848653</c:v>
                </c:pt>
                <c:pt idx="31">
                  <c:v>0.1620413060862328</c:v>
                </c:pt>
                <c:pt idx="32">
                  <c:v>0.15466839330641702</c:v>
                </c:pt>
                <c:pt idx="33">
                  <c:v>0.16546193198246842</c:v>
                </c:pt>
                <c:pt idx="34">
                  <c:v>0.17973973965168502</c:v>
                </c:pt>
                <c:pt idx="35">
                  <c:v>0.17717313305842683</c:v>
                </c:pt>
                <c:pt idx="36">
                  <c:v>0.15831294734214127</c:v>
                </c:pt>
                <c:pt idx="37">
                  <c:v>0.1588203387186952</c:v>
                </c:pt>
                <c:pt idx="38">
                  <c:v>0.16150350649516754</c:v>
                </c:pt>
                <c:pt idx="39">
                  <c:v>0.17755558167836227</c:v>
                </c:pt>
                <c:pt idx="40">
                  <c:v>0.1736444909438409</c:v>
                </c:pt>
                <c:pt idx="41">
                  <c:v>0.17694410270819655</c:v>
                </c:pt>
                <c:pt idx="42">
                  <c:v>0.1724234639306775</c:v>
                </c:pt>
                <c:pt idx="43">
                  <c:v>0.17601990694262973</c:v>
                </c:pt>
                <c:pt idx="44">
                  <c:v>0.17917355460370724</c:v>
                </c:pt>
                <c:pt idx="45">
                  <c:v>0.19235117478195016</c:v>
                </c:pt>
                <c:pt idx="46">
                  <c:v>0.18062212093156418</c:v>
                </c:pt>
                <c:pt idx="47">
                  <c:v>0.18148765768855316</c:v>
                </c:pt>
                <c:pt idx="48">
                  <c:v>0.1796268503672698</c:v>
                </c:pt>
                <c:pt idx="49">
                  <c:v>0.19170004491184175</c:v>
                </c:pt>
                <c:pt idx="50">
                  <c:v>0.2042914776212333</c:v>
                </c:pt>
                <c:pt idx="51">
                  <c:v>0.18770430215113512</c:v>
                </c:pt>
              </c:numCache>
            </c:numRef>
          </c:xVal>
          <c:yVal>
            <c:numRef>
              <c:f>Sheet1!$B$109:$B$160</c:f>
              <c:numCache>
                <c:formatCode>General</c:formatCode>
                <c:ptCount val="52"/>
                <c:pt idx="0">
                  <c:v>0.17426059152677859</c:v>
                </c:pt>
                <c:pt idx="1">
                  <c:v>0.16431742076162292</c:v>
                </c:pt>
                <c:pt idx="2">
                  <c:v>0.17060423825887744</c:v>
                </c:pt>
                <c:pt idx="3">
                  <c:v>0.17236204897346702</c:v>
                </c:pt>
                <c:pt idx="4">
                  <c:v>0.16263736263736264</c:v>
                </c:pt>
                <c:pt idx="5">
                  <c:v>0.14956301099520722</c:v>
                </c:pt>
                <c:pt idx="6">
                  <c:v>0.13353554207497279</c:v>
                </c:pt>
                <c:pt idx="7">
                  <c:v>0.12613092070250134</c:v>
                </c:pt>
                <c:pt idx="8">
                  <c:v>0.13820283762480295</c:v>
                </c:pt>
                <c:pt idx="9">
                  <c:v>0.14737147274835716</c:v>
                </c:pt>
                <c:pt idx="10">
                  <c:v>0.1545095220984549</c:v>
                </c:pt>
                <c:pt idx="11">
                  <c:v>0.14495201535508637</c:v>
                </c:pt>
                <c:pt idx="12">
                  <c:v>0.15231272387478587</c:v>
                </c:pt>
                <c:pt idx="13">
                  <c:v>0.1674721902570004</c:v>
                </c:pt>
                <c:pt idx="14">
                  <c:v>0.15209580838323353</c:v>
                </c:pt>
                <c:pt idx="15">
                  <c:v>0.16133059841255684</c:v>
                </c:pt>
                <c:pt idx="16">
                  <c:v>0.14427465767017264</c:v>
                </c:pt>
                <c:pt idx="17">
                  <c:v>0.13034602429315095</c:v>
                </c:pt>
                <c:pt idx="18">
                  <c:v>0.14128664495114007</c:v>
                </c:pt>
                <c:pt idx="19">
                  <c:v>0.1602713824936047</c:v>
                </c:pt>
                <c:pt idx="20">
                  <c:v>0.14584607855132753</c:v>
                </c:pt>
                <c:pt idx="21">
                  <c:v>0.14382130805077936</c:v>
                </c:pt>
                <c:pt idx="22">
                  <c:v>0.14724121481952615</c:v>
                </c:pt>
                <c:pt idx="23">
                  <c:v>0.1690320523042577</c:v>
                </c:pt>
                <c:pt idx="24">
                  <c:v>0.16956521739130434</c:v>
                </c:pt>
                <c:pt idx="25">
                  <c:v>0.15811023622047243</c:v>
                </c:pt>
                <c:pt idx="26">
                  <c:v>0.14969111357516238</c:v>
                </c:pt>
                <c:pt idx="27">
                  <c:v>0.14162224463333814</c:v>
                </c:pt>
                <c:pt idx="28">
                  <c:v>0.13396251146939311</c:v>
                </c:pt>
                <c:pt idx="29">
                  <c:v>0.13297451321829984</c:v>
                </c:pt>
                <c:pt idx="30">
                  <c:v>0.14792115289050853</c:v>
                </c:pt>
                <c:pt idx="31">
                  <c:v>0.13254147812971342</c:v>
                </c:pt>
                <c:pt idx="32">
                  <c:v>0.1279716742539201</c:v>
                </c:pt>
                <c:pt idx="33">
                  <c:v>0.14977383146255654</c:v>
                </c:pt>
                <c:pt idx="34">
                  <c:v>0.17450045413260673</c:v>
                </c:pt>
                <c:pt idx="35">
                  <c:v>0.18845963348192174</c:v>
                </c:pt>
                <c:pt idx="36">
                  <c:v>0.15489660554038237</c:v>
                </c:pt>
                <c:pt idx="37">
                  <c:v>0.15602594742232845</c:v>
                </c:pt>
                <c:pt idx="38">
                  <c:v>0.14591439688715954</c:v>
                </c:pt>
                <c:pt idx="39">
                  <c:v>0.17303051809794182</c:v>
                </c:pt>
                <c:pt idx="40">
                  <c:v>0.16149154421957304</c:v>
                </c:pt>
                <c:pt idx="41">
                  <c:v>0.17019628099173553</c:v>
                </c:pt>
                <c:pt idx="42">
                  <c:v>0.1579172610556348</c:v>
                </c:pt>
                <c:pt idx="43">
                  <c:v>0.16775396085740912</c:v>
                </c:pt>
                <c:pt idx="44">
                  <c:v>0.15995563896945914</c:v>
                </c:pt>
                <c:pt idx="45">
                  <c:v>0.16269083969465647</c:v>
                </c:pt>
                <c:pt idx="46">
                  <c:v>0.1665410069531708</c:v>
                </c:pt>
                <c:pt idx="47">
                  <c:v>0.16591639871382638</c:v>
                </c:pt>
                <c:pt idx="48">
                  <c:v>0.17167352537722907</c:v>
                </c:pt>
                <c:pt idx="49">
                  <c:v>0.18769338548660167</c:v>
                </c:pt>
                <c:pt idx="50">
                  <c:v>0.21326613199911706</c:v>
                </c:pt>
                <c:pt idx="51">
                  <c:v>0.191201050620821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387324429448713</c:v>
                </c:pt>
              </c:numCache>
            </c:numRef>
          </c:xVal>
          <c:yVal>
            <c:numRef>
              <c:f>Sheet1!$B$163:$B$164</c:f>
              <c:numCache>
                <c:formatCode>General</c:formatCode>
                <c:ptCount val="2"/>
                <c:pt idx="0">
                  <c:v>0.20763467349873543</c:v>
                </c:pt>
                <c:pt idx="1">
                  <c:v>0.2076346734987354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387324429448713</c:v>
                </c:pt>
                <c:pt idx="1">
                  <c:v>0.6387324429448713</c:v>
                </c:pt>
              </c:numCache>
            </c:numRef>
          </c:xVal>
          <c:yVal>
            <c:numRef>
              <c:f>Sheet1!$B$167:$B$168</c:f>
              <c:numCache>
                <c:formatCode>General</c:formatCode>
                <c:ptCount val="2"/>
                <c:pt idx="0">
                  <c:v>0.207634673498735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8898735210553557</c:v>
                </c:pt>
              </c:numCache>
            </c:numRef>
          </c:xVal>
          <c:yVal>
            <c:numRef>
              <c:f>Sheet1!$B$171:$B$172</c:f>
              <c:numCache>
                <c:formatCode>General</c:formatCode>
                <c:ptCount val="2"/>
                <c:pt idx="0">
                  <c:v>0.1909585233709423</c:v>
                </c:pt>
                <c:pt idx="1">
                  <c:v>0.190958523370942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8898735210553557</c:v>
                </c:pt>
                <c:pt idx="1">
                  <c:v>0.48898735210553557</c:v>
                </c:pt>
              </c:numCache>
            </c:numRef>
          </c:xVal>
          <c:yVal>
            <c:numRef>
              <c:f>Sheet1!$B$175:$B$176</c:f>
              <c:numCache>
                <c:formatCode>General</c:formatCode>
                <c:ptCount val="2"/>
                <c:pt idx="0">
                  <c:v>0.190958523370942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2795331410514006</c:v>
                </c:pt>
              </c:numCache>
            </c:numRef>
          </c:xVal>
          <c:yVal>
            <c:numRef>
              <c:f>Sheet1!$B$179:$B$180</c:f>
              <c:numCache>
                <c:formatCode>General</c:formatCode>
                <c:ptCount val="2"/>
                <c:pt idx="0">
                  <c:v>0.1730251956182443</c:v>
                </c:pt>
                <c:pt idx="1">
                  <c:v>0.173025195618244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2795331410514006</c:v>
                </c:pt>
                <c:pt idx="1">
                  <c:v>0.32795331410514006</c:v>
                </c:pt>
              </c:numCache>
            </c:numRef>
          </c:xVal>
          <c:yVal>
            <c:numRef>
              <c:f>Sheet1!$B$183:$B$184</c:f>
              <c:numCache>
                <c:formatCode>General</c:formatCode>
                <c:ptCount val="2"/>
                <c:pt idx="0">
                  <c:v>0.173025195618244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186077296537739</c:v>
                </c:pt>
                <c:pt idx="1">
                  <c:v>0.21400611031752134</c:v>
                </c:pt>
                <c:pt idx="2">
                  <c:v>0.21809251054375364</c:v>
                </c:pt>
                <c:pt idx="3">
                  <c:v>0.22408640975722846</c:v>
                </c:pt>
                <c:pt idx="4">
                  <c:v>0.2165935322398825</c:v>
                </c:pt>
                <c:pt idx="5">
                  <c:v>0.21803373743433022</c:v>
                </c:pt>
                <c:pt idx="6">
                  <c:v>0.21248571888851445</c:v>
                </c:pt>
                <c:pt idx="7">
                  <c:v>0.20601399441002421</c:v>
                </c:pt>
                <c:pt idx="8">
                  <c:v>0.20063885190182063</c:v>
                </c:pt>
                <c:pt idx="9">
                  <c:v>0.1865018266524623</c:v>
                </c:pt>
                <c:pt idx="10">
                  <c:v>0.19798808796127879</c:v>
                </c:pt>
                <c:pt idx="11">
                  <c:v>0.22317002556044863</c:v>
                </c:pt>
                <c:pt idx="12">
                  <c:v>0.21916192013439487</c:v>
                </c:pt>
                <c:pt idx="13">
                  <c:v>0.19065037302466298</c:v>
                </c:pt>
                <c:pt idx="14">
                  <c:v>0.20700137422591255</c:v>
                </c:pt>
                <c:pt idx="15">
                  <c:v>0.1880883029718309</c:v>
                </c:pt>
                <c:pt idx="16">
                  <c:v>0.19482705775795986</c:v>
                </c:pt>
                <c:pt idx="17">
                  <c:v>0.19492949394379142</c:v>
                </c:pt>
                <c:pt idx="18">
                  <c:v>0.1841558856212417</c:v>
                </c:pt>
                <c:pt idx="19">
                  <c:v>0.19902860824586338</c:v>
                </c:pt>
                <c:pt idx="20">
                  <c:v>0.17793062577266805</c:v>
                </c:pt>
                <c:pt idx="21">
                  <c:v>0.17199318076383885</c:v>
                </c:pt>
                <c:pt idx="22">
                  <c:v>0.17487847937511306</c:v>
                </c:pt>
                <c:pt idx="23">
                  <c:v>0.14953711588065663</c:v>
                </c:pt>
                <c:pt idx="24">
                  <c:v>0.147483479081812</c:v>
                </c:pt>
                <c:pt idx="25">
                  <c:v>0.1523372304034474</c:v>
                </c:pt>
                <c:pt idx="26">
                  <c:v>0.1586886589408183</c:v>
                </c:pt>
                <c:pt idx="27">
                  <c:v>0.1638176326923272</c:v>
                </c:pt>
                <c:pt idx="28">
                  <c:v>0.17202709107655037</c:v>
                </c:pt>
                <c:pt idx="29">
                  <c:v>0.1637399998988175</c:v>
                </c:pt>
                <c:pt idx="30">
                  <c:v>0.16028662401848653</c:v>
                </c:pt>
                <c:pt idx="31">
                  <c:v>0.1620413060862328</c:v>
                </c:pt>
                <c:pt idx="32">
                  <c:v>0.15466839330641702</c:v>
                </c:pt>
                <c:pt idx="33">
                  <c:v>0.16546193198246842</c:v>
                </c:pt>
                <c:pt idx="34">
                  <c:v>0.17973973965168502</c:v>
                </c:pt>
                <c:pt idx="35">
                  <c:v>0.17717313305842683</c:v>
                </c:pt>
                <c:pt idx="36">
                  <c:v>0.15831294734214127</c:v>
                </c:pt>
                <c:pt idx="37">
                  <c:v>0.1588203387186952</c:v>
                </c:pt>
                <c:pt idx="38">
                  <c:v>0.16150350649516754</c:v>
                </c:pt>
                <c:pt idx="39">
                  <c:v>0.17755558167836227</c:v>
                </c:pt>
                <c:pt idx="40">
                  <c:v>0.1736444909438409</c:v>
                </c:pt>
                <c:pt idx="41">
                  <c:v>0.17694410270819655</c:v>
                </c:pt>
                <c:pt idx="42">
                  <c:v>0.1724234639306775</c:v>
                </c:pt>
                <c:pt idx="43">
                  <c:v>0.17601990694262973</c:v>
                </c:pt>
                <c:pt idx="44">
                  <c:v>0.17917355460370724</c:v>
                </c:pt>
                <c:pt idx="45">
                  <c:v>0.19235117478195016</c:v>
                </c:pt>
                <c:pt idx="46">
                  <c:v>0.18062212093156418</c:v>
                </c:pt>
                <c:pt idx="47">
                  <c:v>0.18148765768855316</c:v>
                </c:pt>
                <c:pt idx="48">
                  <c:v>0.1796268503672698</c:v>
                </c:pt>
                <c:pt idx="49">
                  <c:v>0.19170004491184175</c:v>
                </c:pt>
                <c:pt idx="50">
                  <c:v>0.2042914776212333</c:v>
                </c:pt>
                <c:pt idx="51">
                  <c:v>0.18770430215113512</c:v>
                </c:pt>
                <c:pt idx="52">
                  <c:v>0.48898735210553557</c:v>
                </c:pt>
                <c:pt idx="53">
                  <c:v>0.6387324429448713</c:v>
                </c:pt>
                <c:pt idx="54">
                  <c:v>0.32795331410514006</c:v>
                </c:pt>
              </c:numCache>
            </c:numRef>
          </c:xVal>
          <c:yVal>
            <c:numRef>
              <c:f>Sheet1!$B$187:$B$241</c:f>
              <c:numCache>
                <c:formatCode>General</c:formatCode>
                <c:ptCount val="55"/>
                <c:pt idx="0">
                  <c:v>0.16084807934751</c:v>
                </c:pt>
                <c:pt idx="1">
                  <c:v>0.16033562652216404</c:v>
                </c:pt>
                <c:pt idx="2">
                  <c:v>0.16079070270044096</c:v>
                </c:pt>
                <c:pt idx="3">
                  <c:v>0.16145820480401252</c:v>
                </c:pt>
                <c:pt idx="4">
                  <c:v>0.16062377110292717</c:v>
                </c:pt>
                <c:pt idx="5">
                  <c:v>0.1607841575162835</c:v>
                </c:pt>
                <c:pt idx="6">
                  <c:v>0.16016631028227252</c:v>
                </c:pt>
                <c:pt idx="7">
                  <c:v>0.1594455958442626</c:v>
                </c:pt>
                <c:pt idx="8">
                  <c:v>0.15884700070553276</c:v>
                </c:pt>
                <c:pt idx="9">
                  <c:v>0.1572726508948158</c:v>
                </c:pt>
                <c:pt idx="10">
                  <c:v>0.15855180213055414</c:v>
                </c:pt>
                <c:pt idx="11">
                  <c:v>0.16135615297477002</c:v>
                </c:pt>
                <c:pt idx="12">
                  <c:v>0.16090979598611516</c:v>
                </c:pt>
                <c:pt idx="13">
                  <c:v>0.15773464789069166</c:v>
                </c:pt>
                <c:pt idx="14">
                  <c:v>0.15955555400015684</c:v>
                </c:pt>
                <c:pt idx="15">
                  <c:v>0.15744932658500163</c:v>
                </c:pt>
                <c:pt idx="16">
                  <c:v>0.15819977847533065</c:v>
                </c:pt>
                <c:pt idx="17">
                  <c:v>0.158211186136202</c:v>
                </c:pt>
                <c:pt idx="18">
                  <c:v>0.15701139849176</c:v>
                </c:pt>
                <c:pt idx="19">
                  <c:v>0.15866767819954236</c:v>
                </c:pt>
                <c:pt idx="20">
                  <c:v>0.1563181312384734</c:v>
                </c:pt>
                <c:pt idx="21">
                  <c:v>0.15565691607751042</c:v>
                </c:pt>
                <c:pt idx="22">
                  <c:v>0.15597823327419064</c:v>
                </c:pt>
                <c:pt idx="23">
                  <c:v>0.1531561281907596</c:v>
                </c:pt>
                <c:pt idx="24">
                  <c:v>0.15292742783488458</c:v>
                </c:pt>
                <c:pt idx="25">
                  <c:v>0.15346795898197513</c:v>
                </c:pt>
                <c:pt idx="26">
                  <c:v>0.15417527683274052</c:v>
                </c:pt>
                <c:pt idx="27">
                  <c:v>0.15474645773624968</c:v>
                </c:pt>
                <c:pt idx="28">
                  <c:v>0.15566069245149694</c:v>
                </c:pt>
                <c:pt idx="29">
                  <c:v>0.15473781227006345</c:v>
                </c:pt>
                <c:pt idx="30">
                  <c:v>0.15435323195223594</c:v>
                </c:pt>
                <c:pt idx="31">
                  <c:v>0.1545486396375515</c:v>
                </c:pt>
                <c:pt idx="32">
                  <c:v>0.1537275656396917</c:v>
                </c:pt>
                <c:pt idx="33">
                  <c:v>0.15492957279974676</c:v>
                </c:pt>
                <c:pt idx="34">
                  <c:v>0.1565196006454213</c:v>
                </c:pt>
                <c:pt idx="35">
                  <c:v>0.15623377413432668</c:v>
                </c:pt>
                <c:pt idx="36">
                  <c:v>0.15413343624224657</c:v>
                </c:pt>
                <c:pt idx="37">
                  <c:v>0.1541899411648556</c:v>
                </c:pt>
                <c:pt idx="38">
                  <c:v>0.15448874834716594</c:v>
                </c:pt>
                <c:pt idx="39">
                  <c:v>0.15627636498365913</c:v>
                </c:pt>
                <c:pt idx="40">
                  <c:v>0.15584081189883528</c:v>
                </c:pt>
                <c:pt idx="41">
                  <c:v>0.1562082684934883</c:v>
                </c:pt>
                <c:pt idx="42">
                  <c:v>0.1557048339534651</c:v>
                </c:pt>
                <c:pt idx="43">
                  <c:v>0.15610534673994247</c:v>
                </c:pt>
                <c:pt idx="44">
                  <c:v>0.1564565482487967</c:v>
                </c:pt>
                <c:pt idx="45">
                  <c:v>0.1579240552714823</c:v>
                </c:pt>
                <c:pt idx="46">
                  <c:v>0.1566178657879428</c:v>
                </c:pt>
                <c:pt idx="47">
                  <c:v>0.15671425506401035</c:v>
                </c:pt>
                <c:pt idx="48">
                  <c:v>0.15650702889001902</c:v>
                </c:pt>
                <c:pt idx="49">
                  <c:v>0.15785154311495178</c:v>
                </c:pt>
                <c:pt idx="50">
                  <c:v>0.1592537701997188</c:v>
                </c:pt>
                <c:pt idx="51">
                  <c:v>0.15740656287702814</c:v>
                </c:pt>
                <c:pt idx="52">
                  <c:v>0.1909585233709423</c:v>
                </c:pt>
                <c:pt idx="53">
                  <c:v>0.20763467349873543</c:v>
                </c:pt>
                <c:pt idx="54">
                  <c:v>0.17302519561824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805270863836015"/>
          <c:min val="0.1009047365620010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1385.7143</c:v>
                </c:pt>
              </c:numCache>
            </c:numRef>
          </c:xVal>
          <c:yVal>
            <c:numRef>
              <c:f>Sheet1!$B$2:$B$2</c:f>
              <c:numCache>
                <c:formatCode>General</c:formatCode>
                <c:ptCount val="1"/>
                <c:pt idx="0">
                  <c:v>0.5</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5</c:v>
                </c:pt>
              </c:numCache>
            </c:numRef>
          </c:xVal>
          <c:yVal>
            <c:numRef>
              <c:f>Sheet1!$B$7:$B$8</c:f>
              <c:numCache>
                <c:formatCode>General</c:formatCode>
                <c:ptCount val="2"/>
                <c:pt idx="0">
                  <c:v>0.5</c:v>
                </c:pt>
                <c:pt idx="1">
                  <c:v>0.5</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5</c:v>
                </c:pt>
                <c:pt idx="1">
                  <c:v>0.5</c:v>
                </c:pt>
              </c:numCache>
            </c:numRef>
          </c:xVal>
          <c:yVal>
            <c:numRef>
              <c:f>Sheet1!$B$11:$B$12</c:f>
              <c:numCache>
                <c:formatCode>General</c:formatCode>
                <c:ptCount val="2"/>
                <c:pt idx="0">
                  <c:v>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5</c:v>
                </c:pt>
                <c:pt idx="2">
                  <c:v>0</c:v>
                </c:pt>
              </c:numCache>
            </c:numRef>
          </c:xVal>
          <c:yVal>
            <c:numRef>
              <c:f>Sheet1!$B$15:$B$17</c:f>
              <c:numCache>
                <c:formatCode>General</c:formatCode>
                <c:ptCount val="3"/>
                <c:pt idx="0">
                  <c:v>0</c:v>
                </c:pt>
                <c:pt idx="1">
                  <c:v>0.5</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6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
          <c:min val="0.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2979753606719059</c:v>
                </c:pt>
                <c:pt idx="1">
                  <c:v>0.2872961056024364</c:v>
                </c:pt>
                <c:pt idx="2">
                  <c:v>0.3376127121635917</c:v>
                </c:pt>
                <c:pt idx="3">
                  <c:v>0.38434433231676396</c:v>
                </c:pt>
                <c:pt idx="4">
                  <c:v>0.3564664298439925</c:v>
                </c:pt>
                <c:pt idx="5">
                  <c:v>0.3273302990436231</c:v>
                </c:pt>
                <c:pt idx="6">
                  <c:v>0.32867110496070756</c:v>
                </c:pt>
                <c:pt idx="7">
                  <c:v>0.30765140233155913</c:v>
                </c:pt>
                <c:pt idx="8">
                  <c:v>0.30038978866358146</c:v>
                </c:pt>
                <c:pt idx="9">
                  <c:v>0.3588156788525323</c:v>
                </c:pt>
                <c:pt idx="10">
                  <c:v>0.3625688778918075</c:v>
                </c:pt>
                <c:pt idx="11">
                  <c:v>0.31730185332564403</c:v>
                </c:pt>
                <c:pt idx="12">
                  <c:v>0.3273886025488641</c:v>
                </c:pt>
                <c:pt idx="13">
                  <c:v>0.3041007275496177</c:v>
                </c:pt>
                <c:pt idx="14">
                  <c:v>0.3169839731089588</c:v>
                </c:pt>
                <c:pt idx="15">
                  <c:v>0.3136888350908242</c:v>
                </c:pt>
                <c:pt idx="16">
                  <c:v>0.3104877352789096</c:v>
                </c:pt>
                <c:pt idx="17">
                  <c:v>0.3137797340134152</c:v>
                </c:pt>
                <c:pt idx="18">
                  <c:v>0.293361140108336</c:v>
                </c:pt>
                <c:pt idx="19">
                  <c:v>0.2793538880179716</c:v>
                </c:pt>
                <c:pt idx="20">
                  <c:v>0.3037149889486795</c:v>
                </c:pt>
                <c:pt idx="21">
                  <c:v>0.2988240859625497</c:v>
                </c:pt>
                <c:pt idx="22">
                  <c:v>0.27629051969726126</c:v>
                </c:pt>
                <c:pt idx="23">
                  <c:v>0.27545489855316163</c:v>
                </c:pt>
                <c:pt idx="24">
                  <c:v>0.29369383988130565</c:v>
                </c:pt>
                <c:pt idx="25">
                  <c:v>0.2713866018227062</c:v>
                </c:pt>
                <c:pt idx="26">
                  <c:v>0.27746310936498925</c:v>
                </c:pt>
                <c:pt idx="27">
                  <c:v>0.26957131736144835</c:v>
                </c:pt>
                <c:pt idx="28">
                  <c:v>0.2663360060391243</c:v>
                </c:pt>
                <c:pt idx="29">
                  <c:v>0.2758186432431073</c:v>
                </c:pt>
                <c:pt idx="30">
                  <c:v>0.26427264333409595</c:v>
                </c:pt>
                <c:pt idx="31">
                  <c:v>0.25093475963101436</c:v>
                </c:pt>
                <c:pt idx="32">
                  <c:v>0.25797488912354966</c:v>
                </c:pt>
                <c:pt idx="33">
                  <c:v>0.2495504388864713</c:v>
                </c:pt>
                <c:pt idx="34">
                  <c:v>0.2573547171724389</c:v>
                </c:pt>
                <c:pt idx="35">
                  <c:v>0.28056729681187076</c:v>
                </c:pt>
                <c:pt idx="36">
                  <c:v>0.25927508850973446</c:v>
                </c:pt>
                <c:pt idx="37">
                  <c:v>0.2558277420254869</c:v>
                </c:pt>
                <c:pt idx="38">
                  <c:v>0.25007385230176055</c:v>
                </c:pt>
                <c:pt idx="39">
                  <c:v>0.2748708183983861</c:v>
                </c:pt>
                <c:pt idx="40">
                  <c:v>0.2995583435701679</c:v>
                </c:pt>
                <c:pt idx="41">
                  <c:v>0.2872536429392562</c:v>
                </c:pt>
                <c:pt idx="42">
                  <c:v>0.3045301866703935</c:v>
                </c:pt>
                <c:pt idx="43">
                  <c:v>0.2953418202428675</c:v>
                </c:pt>
                <c:pt idx="44">
                  <c:v>0.30450187523865696</c:v>
                </c:pt>
                <c:pt idx="45">
                  <c:v>0.305404907993785</c:v>
                </c:pt>
                <c:pt idx="46">
                  <c:v>0.3250569901646008</c:v>
                </c:pt>
                <c:pt idx="47">
                  <c:v>0.32749211384597504</c:v>
                </c:pt>
                <c:pt idx="48">
                  <c:v>0.3241560720035088</c:v>
                </c:pt>
                <c:pt idx="49">
                  <c:v>0.37569832096936656</c:v>
                </c:pt>
                <c:pt idx="50">
                  <c:v>0.281199768726459</c:v>
                </c:pt>
                <c:pt idx="51">
                  <c:v>0.26886392211113375</c:v>
                </c:pt>
                <c:pt idx="52">
                  <c:v>0.3059012462793413</c:v>
                </c:pt>
                <c:pt idx="53">
                  <c:v>0.34167955425520863</c:v>
                </c:pt>
                <c:pt idx="54">
                  <c:v>0.3353814670783529</c:v>
                </c:pt>
                <c:pt idx="55">
                  <c:v>0.321065951452645</c:v>
                </c:pt>
                <c:pt idx="56">
                  <c:v>0.32185070399224114</c:v>
                </c:pt>
                <c:pt idx="57">
                  <c:v>0.323343651943257</c:v>
                </c:pt>
                <c:pt idx="58">
                  <c:v>0.34288065374344245</c:v>
                </c:pt>
                <c:pt idx="59">
                  <c:v>0.39574801065048854</c:v>
                </c:pt>
                <c:pt idx="60">
                  <c:v>0.41304342274181916</c:v>
                </c:pt>
                <c:pt idx="61">
                  <c:v>0.3216444681395618</c:v>
                </c:pt>
                <c:pt idx="62">
                  <c:v>0.25764881577214765</c:v>
                </c:pt>
                <c:pt idx="63">
                  <c:v>0.2888272401864139</c:v>
                </c:pt>
                <c:pt idx="64">
                  <c:v>0.30290596622978405</c:v>
                </c:pt>
                <c:pt idx="65">
                  <c:v>0.28644001817201553</c:v>
                </c:pt>
                <c:pt idx="66">
                  <c:v>0.2885564870358974</c:v>
                </c:pt>
                <c:pt idx="67">
                  <c:v>0.3061391772017573</c:v>
                </c:pt>
                <c:pt idx="68">
                  <c:v>0.346512129041105</c:v>
                </c:pt>
                <c:pt idx="69">
                  <c:v>0.33019465678825133</c:v>
                </c:pt>
                <c:pt idx="70">
                  <c:v>0.3453797529187207</c:v>
                </c:pt>
                <c:pt idx="71">
                  <c:v>0.32095023181482973</c:v>
                </c:pt>
                <c:pt idx="72">
                  <c:v>0.30865918471232684</c:v>
                </c:pt>
                <c:pt idx="73">
                  <c:v>0.31929441355676424</c:v>
                </c:pt>
                <c:pt idx="74">
                  <c:v>0.31911584688979905</c:v>
                </c:pt>
                <c:pt idx="75">
                  <c:v>0.30770340981372807</c:v>
                </c:pt>
                <c:pt idx="76">
                  <c:v>0.2756224302959492</c:v>
                </c:pt>
                <c:pt idx="77">
                  <c:v>0.28212042526714265</c:v>
                </c:pt>
                <c:pt idx="78">
                  <c:v>0.2937781027868382</c:v>
                </c:pt>
                <c:pt idx="79">
                  <c:v>0.26727603246906706</c:v>
                </c:pt>
                <c:pt idx="80">
                  <c:v>0.2984601927204608</c:v>
                </c:pt>
                <c:pt idx="81">
                  <c:v>0.33444497725871963</c:v>
                </c:pt>
                <c:pt idx="82">
                  <c:v>0.3158557509141336</c:v>
                </c:pt>
                <c:pt idx="83">
                  <c:v>0.2964176272996781</c:v>
                </c:pt>
                <c:pt idx="84">
                  <c:v>0.3242624320357195</c:v>
                </c:pt>
                <c:pt idx="85">
                  <c:v>0.3394305782865164</c:v>
                </c:pt>
                <c:pt idx="86">
                  <c:v>0.3436139828730443</c:v>
                </c:pt>
                <c:pt idx="87">
                  <c:v>0.3403514759799029</c:v>
                </c:pt>
                <c:pt idx="88">
                  <c:v>0.33186488980718826</c:v>
                </c:pt>
                <c:pt idx="89">
                  <c:v>0.326721187984991</c:v>
                </c:pt>
                <c:pt idx="90">
                  <c:v>0.32483937517186123</c:v>
                </c:pt>
                <c:pt idx="91">
                  <c:v>0.3231014533833228</c:v>
                </c:pt>
                <c:pt idx="92">
                  <c:v>0.3176732446327144</c:v>
                </c:pt>
                <c:pt idx="93">
                  <c:v>0.3352103479197766</c:v>
                </c:pt>
                <c:pt idx="94">
                  <c:v>0.3012174490340932</c:v>
                </c:pt>
                <c:pt idx="95">
                  <c:v>0.3228285943937945</c:v>
                </c:pt>
                <c:pt idx="96">
                  <c:v>0.32196043482817976</c:v>
                </c:pt>
                <c:pt idx="97">
                  <c:v>0.3437875166895062</c:v>
                </c:pt>
                <c:pt idx="98">
                  <c:v>0.3973503023675386</c:v>
                </c:pt>
                <c:pt idx="99">
                  <c:v>0.38571987929082857</c:v>
                </c:pt>
                <c:pt idx="100">
                  <c:v>0.4594925429173014</c:v>
                </c:pt>
                <c:pt idx="101">
                  <c:v>0.45184316099096583</c:v>
                </c:pt>
                <c:pt idx="102">
                  <c:v>0.37054560908589335</c:v>
                </c:pt>
                <c:pt idx="103">
                  <c:v>0.4001598121291256</c:v>
                </c:pt>
                <c:pt idx="104">
                  <c:v>0.36033923146977087</c:v>
                </c:pt>
              </c:numCache>
            </c:numRef>
          </c:xVal>
          <c:yVal>
            <c:numRef>
              <c:f>Sheet1!$B$2:$B$106</c:f>
              <c:numCache>
                <c:formatCode>General</c:formatCode>
                <c:ptCount val="105"/>
                <c:pt idx="0">
                  <c:v>0.2600106780565937</c:v>
                </c:pt>
                <c:pt idx="1">
                  <c:v>0.2777777777777778</c:v>
                </c:pt>
                <c:pt idx="2">
                  <c:v>0.2935897435897436</c:v>
                </c:pt>
                <c:pt idx="3">
                  <c:v>0.286745406824147</c:v>
                </c:pt>
                <c:pt idx="4">
                  <c:v>0.3491346877351392</c:v>
                </c:pt>
                <c:pt idx="5">
                  <c:v>0.4324712643678161</c:v>
                </c:pt>
                <c:pt idx="6">
                  <c:v>0.43647416413373863</c:v>
                </c:pt>
                <c:pt idx="7">
                  <c:v>0.43015983321751217</c:v>
                </c:pt>
                <c:pt idx="8">
                  <c:v>0.4666234607906675</c:v>
                </c:pt>
                <c:pt idx="9">
                  <c:v>0.4671730873575692</c:v>
                </c:pt>
                <c:pt idx="10">
                  <c:v>0.4513922813873962</c:v>
                </c:pt>
                <c:pt idx="11">
                  <c:v>0.44742831133363675</c:v>
                </c:pt>
                <c:pt idx="12">
                  <c:v>0.4079283887468031</c:v>
                </c:pt>
                <c:pt idx="13">
                  <c:v>0.39940387481371087</c:v>
                </c:pt>
                <c:pt idx="14">
                  <c:v>0.3453887884267631</c:v>
                </c:pt>
                <c:pt idx="15">
                  <c:v>0.29555236728837875</c:v>
                </c:pt>
                <c:pt idx="16">
                  <c:v>0.26583407671721676</c:v>
                </c:pt>
                <c:pt idx="17">
                  <c:v>0.2286302780638517</c:v>
                </c:pt>
                <c:pt idx="18">
                  <c:v>0.21981776765375854</c:v>
                </c:pt>
                <c:pt idx="19">
                  <c:v>0.22362869198312235</c:v>
                </c:pt>
                <c:pt idx="20">
                  <c:v>0.25626423690205014</c:v>
                </c:pt>
                <c:pt idx="21">
                  <c:v>0.2371392722710163</c:v>
                </c:pt>
                <c:pt idx="22">
                  <c:v>0.20175438596491227</c:v>
                </c:pt>
                <c:pt idx="23">
                  <c:v>0.2569343065693431</c:v>
                </c:pt>
                <c:pt idx="24">
                  <c:v>0.25609756097560976</c:v>
                </c:pt>
                <c:pt idx="25">
                  <c:v>0.2362555720653789</c:v>
                </c:pt>
                <c:pt idx="26">
                  <c:v>0.2634088200238379</c:v>
                </c:pt>
                <c:pt idx="27">
                  <c:v>0.29350348027842227</c:v>
                </c:pt>
                <c:pt idx="28">
                  <c:v>0.2882147024504084</c:v>
                </c:pt>
                <c:pt idx="29">
                  <c:v>0.3048016701461378</c:v>
                </c:pt>
                <c:pt idx="30">
                  <c:v>0.31794871794871793</c:v>
                </c:pt>
                <c:pt idx="31">
                  <c:v>0.3101529902642559</c:v>
                </c:pt>
                <c:pt idx="32">
                  <c:v>0.328998699609883</c:v>
                </c:pt>
                <c:pt idx="33">
                  <c:v>0.2958057395143488</c:v>
                </c:pt>
                <c:pt idx="34">
                  <c:v>0.3207126948775056</c:v>
                </c:pt>
                <c:pt idx="35">
                  <c:v>0.3730484798685292</c:v>
                </c:pt>
                <c:pt idx="36">
                  <c:v>0.3312043795620438</c:v>
                </c:pt>
                <c:pt idx="37">
                  <c:v>0.31138392857142855</c:v>
                </c:pt>
                <c:pt idx="38">
                  <c:v>0.30042918454935624</c:v>
                </c:pt>
                <c:pt idx="39">
                  <c:v>0.2960199004975124</c:v>
                </c:pt>
                <c:pt idx="40">
                  <c:v>0.29471544715447157</c:v>
                </c:pt>
                <c:pt idx="41">
                  <c:v>0.27832783278327833</c:v>
                </c:pt>
                <c:pt idx="42">
                  <c:v>0.28991971454058874</c:v>
                </c:pt>
                <c:pt idx="43">
                  <c:v>0.29578606158833065</c:v>
                </c:pt>
                <c:pt idx="44">
                  <c:v>0.26377708978328174</c:v>
                </c:pt>
                <c:pt idx="45">
                  <c:v>0.25245522819179667</c:v>
                </c:pt>
                <c:pt idx="46">
                  <c:v>0.26373626373626374</c:v>
                </c:pt>
                <c:pt idx="47">
                  <c:v>0.2404138770541692</c:v>
                </c:pt>
                <c:pt idx="48">
                  <c:v>0.24582967515364354</c:v>
                </c:pt>
                <c:pt idx="49">
                  <c:v>0.24869482676791646</c:v>
                </c:pt>
                <c:pt idx="50">
                  <c:v>0.24932614555256064</c:v>
                </c:pt>
                <c:pt idx="51">
                  <c:v>0.2632398753894081</c:v>
                </c:pt>
                <c:pt idx="52">
                  <c:v>0.25079945180447694</c:v>
                </c:pt>
                <c:pt idx="53">
                  <c:v>0.21746478873239436</c:v>
                </c:pt>
                <c:pt idx="54">
                  <c:v>0.21578003586371788</c:v>
                </c:pt>
                <c:pt idx="55">
                  <c:v>0.22264631043256997</c:v>
                </c:pt>
                <c:pt idx="56">
                  <c:v>0.2506112469437653</c:v>
                </c:pt>
                <c:pt idx="57">
                  <c:v>0.23627002288329518</c:v>
                </c:pt>
                <c:pt idx="58">
                  <c:v>0.2308085977482088</c:v>
                </c:pt>
                <c:pt idx="59">
                  <c:v>0.18940609951845908</c:v>
                </c:pt>
                <c:pt idx="60">
                  <c:v>0.19972593353888318</c:v>
                </c:pt>
                <c:pt idx="61">
                  <c:v>0.22555282555282555</c:v>
                </c:pt>
                <c:pt idx="62">
                  <c:v>0.24134312696747115</c:v>
                </c:pt>
                <c:pt idx="63">
                  <c:v>0.24294268605645852</c:v>
                </c:pt>
                <c:pt idx="64">
                  <c:v>0.22603599832565927</c:v>
                </c:pt>
                <c:pt idx="65">
                  <c:v>0.2343891402714932</c:v>
                </c:pt>
                <c:pt idx="66">
                  <c:v>0.22414622414622415</c:v>
                </c:pt>
                <c:pt idx="67">
                  <c:v>0.20857988165680474</c:v>
                </c:pt>
                <c:pt idx="68">
                  <c:v>0.18498659517426275</c:v>
                </c:pt>
                <c:pt idx="69">
                  <c:v>0.17526617526617527</c:v>
                </c:pt>
                <c:pt idx="70">
                  <c:v>0.19636363636363635</c:v>
                </c:pt>
                <c:pt idx="71">
                  <c:v>0.17210682492581603</c:v>
                </c:pt>
                <c:pt idx="72">
                  <c:v>0.18714689265536724</c:v>
                </c:pt>
                <c:pt idx="73">
                  <c:v>0.181021897810219</c:v>
                </c:pt>
                <c:pt idx="74">
                  <c:v>0.18181818181818182</c:v>
                </c:pt>
                <c:pt idx="75">
                  <c:v>0.17698343504795117</c:v>
                </c:pt>
                <c:pt idx="76">
                  <c:v>0.20742150333016174</c:v>
                </c:pt>
                <c:pt idx="77">
                  <c:v>0.20353982300884957</c:v>
                </c:pt>
                <c:pt idx="78">
                  <c:v>0.22164412070759626</c:v>
                </c:pt>
                <c:pt idx="79">
                  <c:v>0.23860021208907742</c:v>
                </c:pt>
                <c:pt idx="80">
                  <c:v>0.23498419388830347</c:v>
                </c:pt>
                <c:pt idx="81">
                  <c:v>0.216</c:v>
                </c:pt>
                <c:pt idx="82">
                  <c:v>0.20616113744075829</c:v>
                </c:pt>
                <c:pt idx="83">
                  <c:v>0.18330849478390462</c:v>
                </c:pt>
                <c:pt idx="84">
                  <c:v>0.18303571428571427</c:v>
                </c:pt>
                <c:pt idx="85">
                  <c:v>0.18950437317784258</c:v>
                </c:pt>
                <c:pt idx="86">
                  <c:v>0.19957310565635006</c:v>
                </c:pt>
                <c:pt idx="87">
                  <c:v>0.23127962085308057</c:v>
                </c:pt>
                <c:pt idx="88">
                  <c:v>0.22777777777777777</c:v>
                </c:pt>
                <c:pt idx="89">
                  <c:v>0.19901719901719903</c:v>
                </c:pt>
                <c:pt idx="90">
                  <c:v>0.19318181818181818</c:v>
                </c:pt>
                <c:pt idx="91">
                  <c:v>0.20045300113250283</c:v>
                </c:pt>
                <c:pt idx="92">
                  <c:v>0.23143683702989393</c:v>
                </c:pt>
                <c:pt idx="93">
                  <c:v>0.21632996632996632</c:v>
                </c:pt>
                <c:pt idx="94">
                  <c:v>0.21390374331550802</c:v>
                </c:pt>
                <c:pt idx="95">
                  <c:v>0.20206489675516223</c:v>
                </c:pt>
                <c:pt idx="96">
                  <c:v>0.2222222222222222</c:v>
                </c:pt>
                <c:pt idx="97">
                  <c:v>0.22684026039058588</c:v>
                </c:pt>
                <c:pt idx="98">
                  <c:v>0.22148760330578512</c:v>
                </c:pt>
                <c:pt idx="99">
                  <c:v>0.23511093810821332</c:v>
                </c:pt>
                <c:pt idx="100">
                  <c:v>0.25372781065088756</c:v>
                </c:pt>
                <c:pt idx="101">
                  <c:v>0.22573363431151242</c:v>
                </c:pt>
                <c:pt idx="102">
                  <c:v>0.24556962025316456</c:v>
                </c:pt>
                <c:pt idx="103">
                  <c:v>0.23472278429785512</c:v>
                </c:pt>
                <c:pt idx="104">
                  <c:v>0.2415094339622641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5314530498602453</c:v>
                </c:pt>
                <c:pt idx="1">
                  <c:v>0.3497761013708715</c:v>
                </c:pt>
                <c:pt idx="2">
                  <c:v>0.3572139423406532</c:v>
                </c:pt>
                <c:pt idx="3">
                  <c:v>0.36877299590445595</c:v>
                </c:pt>
                <c:pt idx="4">
                  <c:v>0.3450658640148095</c:v>
                </c:pt>
                <c:pt idx="5">
                  <c:v>0.32147092092536483</c:v>
                </c:pt>
                <c:pt idx="6">
                  <c:v>0.34560671626569917</c:v>
                </c:pt>
                <c:pt idx="7">
                  <c:v>0.3099719142278321</c:v>
                </c:pt>
                <c:pt idx="8">
                  <c:v>0.3367436229500288</c:v>
                </c:pt>
                <c:pt idx="9">
                  <c:v>0.3106217109012387</c:v>
                </c:pt>
                <c:pt idx="10">
                  <c:v>0.3248189791445013</c:v>
                </c:pt>
                <c:pt idx="11">
                  <c:v>0.37551379560784603</c:v>
                </c:pt>
                <c:pt idx="12">
                  <c:v>0.3567148772999392</c:v>
                </c:pt>
                <c:pt idx="13">
                  <c:v>0.34879095639520646</c:v>
                </c:pt>
                <c:pt idx="14">
                  <c:v>0.3654397216710531</c:v>
                </c:pt>
                <c:pt idx="15">
                  <c:v>0.341187908607484</c:v>
                </c:pt>
                <c:pt idx="16">
                  <c:v>0.3547628295704593</c:v>
                </c:pt>
                <c:pt idx="17">
                  <c:v>0.3360259447287421</c:v>
                </c:pt>
                <c:pt idx="18">
                  <c:v>0.3235821660468168</c:v>
                </c:pt>
                <c:pt idx="19">
                  <c:v>0.3426836378669715</c:v>
                </c:pt>
                <c:pt idx="20">
                  <c:v>0.32679980461252567</c:v>
                </c:pt>
                <c:pt idx="21">
                  <c:v>0.31820210365750845</c:v>
                </c:pt>
                <c:pt idx="22">
                  <c:v>0.3100086206883029</c:v>
                </c:pt>
                <c:pt idx="23">
                  <c:v>0.3155050293779765</c:v>
                </c:pt>
                <c:pt idx="24">
                  <c:v>0.3456912050756121</c:v>
                </c:pt>
                <c:pt idx="25">
                  <c:v>0.33877961794097977</c:v>
                </c:pt>
                <c:pt idx="26">
                  <c:v>0.35781228544670945</c:v>
                </c:pt>
                <c:pt idx="27">
                  <c:v>0.3496506064198647</c:v>
                </c:pt>
                <c:pt idx="28">
                  <c:v>0.36985255917091797</c:v>
                </c:pt>
                <c:pt idx="29">
                  <c:v>0.3522754291144142</c:v>
                </c:pt>
                <c:pt idx="30">
                  <c:v>0.33431212376612</c:v>
                </c:pt>
                <c:pt idx="31">
                  <c:v>0.32190731865176264</c:v>
                </c:pt>
                <c:pt idx="32">
                  <c:v>0.3384977228396267</c:v>
                </c:pt>
                <c:pt idx="33">
                  <c:v>0.3485137729878246</c:v>
                </c:pt>
                <c:pt idx="34">
                  <c:v>0.3662782545307261</c:v>
                </c:pt>
                <c:pt idx="35">
                  <c:v>0.3590515753973789</c:v>
                </c:pt>
                <c:pt idx="36">
                  <c:v>0.3321848674086439</c:v>
                </c:pt>
                <c:pt idx="37">
                  <c:v>0.33419777943246304</c:v>
                </c:pt>
                <c:pt idx="38">
                  <c:v>0.3356891632957207</c:v>
                </c:pt>
                <c:pt idx="39">
                  <c:v>0.3384596587508722</c:v>
                </c:pt>
                <c:pt idx="40">
                  <c:v>0.31577082046409116</c:v>
                </c:pt>
                <c:pt idx="41">
                  <c:v>0.32824128079717874</c:v>
                </c:pt>
                <c:pt idx="42">
                  <c:v>0.32081909596595</c:v>
                </c:pt>
                <c:pt idx="43">
                  <c:v>0.3440815639984947</c:v>
                </c:pt>
                <c:pt idx="44">
                  <c:v>0.37126762888100784</c:v>
                </c:pt>
                <c:pt idx="45">
                  <c:v>0.3997507474447373</c:v>
                </c:pt>
                <c:pt idx="46">
                  <c:v>0.35027031772228173</c:v>
                </c:pt>
                <c:pt idx="47">
                  <c:v>0.3665545561720832</c:v>
                </c:pt>
                <c:pt idx="48">
                  <c:v>0.38995240986864027</c:v>
                </c:pt>
                <c:pt idx="49">
                  <c:v>0.39901974524562045</c:v>
                </c:pt>
                <c:pt idx="50">
                  <c:v>0.42635125576730254</c:v>
                </c:pt>
                <c:pt idx="51">
                  <c:v>0.39924857768400374</c:v>
                </c:pt>
              </c:numCache>
            </c:numRef>
          </c:xVal>
          <c:yVal>
            <c:numRef>
              <c:f>Sheet1!$B$109:$B$160</c:f>
              <c:numCache>
                <c:formatCode>General</c:formatCode>
                <c:ptCount val="52"/>
                <c:pt idx="0">
                  <c:v>0.23903508771929824</c:v>
                </c:pt>
                <c:pt idx="1">
                  <c:v>0.2225691347011597</c:v>
                </c:pt>
                <c:pt idx="2">
                  <c:v>0.23661626481405804</c:v>
                </c:pt>
                <c:pt idx="3">
                  <c:v>0.2576709796672828</c:v>
                </c:pt>
                <c:pt idx="4">
                  <c:v>0.2545757071547421</c:v>
                </c:pt>
                <c:pt idx="5">
                  <c:v>0.24957264957264957</c:v>
                </c:pt>
                <c:pt idx="6">
                  <c:v>0.22037125178486436</c:v>
                </c:pt>
                <c:pt idx="7">
                  <c:v>0.2268041237113402</c:v>
                </c:pt>
                <c:pt idx="8">
                  <c:v>0.21259309410968177</c:v>
                </c:pt>
                <c:pt idx="9">
                  <c:v>0.2487012987012987</c:v>
                </c:pt>
                <c:pt idx="10">
                  <c:v>0.2536057692307692</c:v>
                </c:pt>
                <c:pt idx="11">
                  <c:v>0.23016650342801176</c:v>
                </c:pt>
                <c:pt idx="12">
                  <c:v>0.23159434422233058</c:v>
                </c:pt>
                <c:pt idx="13">
                  <c:v>0.2338235294117647</c:v>
                </c:pt>
                <c:pt idx="14">
                  <c:v>0.20257234726688103</c:v>
                </c:pt>
                <c:pt idx="15">
                  <c:v>0.22913165266106442</c:v>
                </c:pt>
                <c:pt idx="16">
                  <c:v>0.19851116625310175</c:v>
                </c:pt>
                <c:pt idx="17">
                  <c:v>0.19716407832545577</c:v>
                </c:pt>
                <c:pt idx="18">
                  <c:v>0.20904836193447737</c:v>
                </c:pt>
                <c:pt idx="19">
                  <c:v>0.23145780051150894</c:v>
                </c:pt>
                <c:pt idx="20">
                  <c:v>0.21305595408895264</c:v>
                </c:pt>
                <c:pt idx="21">
                  <c:v>0.2238667900092507</c:v>
                </c:pt>
                <c:pt idx="22">
                  <c:v>0.2396135265700483</c:v>
                </c:pt>
                <c:pt idx="23">
                  <c:v>0.23921971252566734</c:v>
                </c:pt>
                <c:pt idx="24">
                  <c:v>0.23748773307163887</c:v>
                </c:pt>
                <c:pt idx="25">
                  <c:v>0.22316684378320936</c:v>
                </c:pt>
                <c:pt idx="26">
                  <c:v>0.2</c:v>
                </c:pt>
                <c:pt idx="27">
                  <c:v>0.20844564240790656</c:v>
                </c:pt>
                <c:pt idx="28">
                  <c:v>0.21981681931723562</c:v>
                </c:pt>
                <c:pt idx="29">
                  <c:v>0.21773399014778325</c:v>
                </c:pt>
                <c:pt idx="30">
                  <c:v>0.22810590631364563</c:v>
                </c:pt>
                <c:pt idx="31">
                  <c:v>0.2082294264339152</c:v>
                </c:pt>
                <c:pt idx="32">
                  <c:v>0.20247469066366705</c:v>
                </c:pt>
                <c:pt idx="33">
                  <c:v>0.2278876170655567</c:v>
                </c:pt>
                <c:pt idx="34">
                  <c:v>0.2430453879941435</c:v>
                </c:pt>
                <c:pt idx="35">
                  <c:v>0.2591486183719193</c:v>
                </c:pt>
                <c:pt idx="36">
                  <c:v>0.22600243013365734</c:v>
                </c:pt>
                <c:pt idx="37">
                  <c:v>0.21621621621621623</c:v>
                </c:pt>
                <c:pt idx="38">
                  <c:v>0.2645739910313901</c:v>
                </c:pt>
                <c:pt idx="39">
                  <c:v>0.2979876160990712</c:v>
                </c:pt>
                <c:pt idx="40">
                  <c:v>0.2741007194244604</c:v>
                </c:pt>
                <c:pt idx="41">
                  <c:v>0.2736220472440945</c:v>
                </c:pt>
                <c:pt idx="42">
                  <c:v>0.268346923647146</c:v>
                </c:pt>
                <c:pt idx="43">
                  <c:v>0.2779569892473118</c:v>
                </c:pt>
                <c:pt idx="44">
                  <c:v>0.27756833176248824</c:v>
                </c:pt>
                <c:pt idx="45">
                  <c:v>0.27578215527230593</c:v>
                </c:pt>
                <c:pt idx="46">
                  <c:v>0.30251694094869314</c:v>
                </c:pt>
                <c:pt idx="47">
                  <c:v>0.3085606773283161</c:v>
                </c:pt>
                <c:pt idx="48">
                  <c:v>0.32023943135054245</c:v>
                </c:pt>
                <c:pt idx="49">
                  <c:v>0.33222701626286094</c:v>
                </c:pt>
                <c:pt idx="50">
                  <c:v>0.3575506989564875</c:v>
                </c:pt>
                <c:pt idx="51">
                  <c:v>0.32110969387755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945992048163854</c:v>
                </c:pt>
              </c:numCache>
            </c:numRef>
          </c:xVal>
          <c:yVal>
            <c:numRef>
              <c:f>Sheet1!$B$163:$B$164</c:f>
              <c:numCache>
                <c:formatCode>General</c:formatCode>
                <c:ptCount val="2"/>
                <c:pt idx="0">
                  <c:v>0.35922077961034843</c:v>
                </c:pt>
                <c:pt idx="1">
                  <c:v>0.3592207796103484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945992048163854</c:v>
                </c:pt>
                <c:pt idx="1">
                  <c:v>0.4945992048163854</c:v>
                </c:pt>
              </c:numCache>
            </c:numRef>
          </c:xVal>
          <c:yVal>
            <c:numRef>
              <c:f>Sheet1!$B$167:$B$168</c:f>
              <c:numCache>
                <c:formatCode>General</c:formatCode>
                <c:ptCount val="2"/>
                <c:pt idx="0">
                  <c:v>0.359220779610348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4603825948036947</c:v>
                </c:pt>
              </c:numCache>
            </c:numRef>
          </c:xVal>
          <c:yVal>
            <c:numRef>
              <c:f>Sheet1!$B$171:$B$172</c:f>
              <c:numCache>
                <c:formatCode>General</c:formatCode>
                <c:ptCount val="2"/>
                <c:pt idx="0">
                  <c:v>0.3327817101118605</c:v>
                </c:pt>
                <c:pt idx="1">
                  <c:v>0.332781710111860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4603825948036947</c:v>
                </c:pt>
                <c:pt idx="1">
                  <c:v>0.4603825948036947</c:v>
                </c:pt>
              </c:numCache>
            </c:numRef>
          </c:xVal>
          <c:yVal>
            <c:numRef>
              <c:f>Sheet1!$B$175:$B$176</c:f>
              <c:numCache>
                <c:formatCode>General</c:formatCode>
                <c:ptCount val="2"/>
                <c:pt idx="0">
                  <c:v>0.33278171011186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4167200396448126</c:v>
                </c:pt>
              </c:numCache>
            </c:numRef>
          </c:xVal>
          <c:yVal>
            <c:numRef>
              <c:f>Sheet1!$B$179:$B$180</c:f>
              <c:numCache>
                <c:formatCode>General</c:formatCode>
                <c:ptCount val="2"/>
                <c:pt idx="0">
                  <c:v>0.2990437878016407</c:v>
                </c:pt>
                <c:pt idx="1">
                  <c:v>0.299043787801640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4167200396448126</c:v>
                </c:pt>
                <c:pt idx="1">
                  <c:v>0.4167200396448126</c:v>
                </c:pt>
              </c:numCache>
            </c:numRef>
          </c:xVal>
          <c:yVal>
            <c:numRef>
              <c:f>Sheet1!$B$183:$B$184</c:f>
              <c:numCache>
                <c:formatCode>General</c:formatCode>
                <c:ptCount val="2"/>
                <c:pt idx="0">
                  <c:v>0.29904378780164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5314530498602453</c:v>
                </c:pt>
                <c:pt idx="1">
                  <c:v>0.3497761013708715</c:v>
                </c:pt>
                <c:pt idx="2">
                  <c:v>0.3572139423406532</c:v>
                </c:pt>
                <c:pt idx="3">
                  <c:v>0.36877299590445595</c:v>
                </c:pt>
                <c:pt idx="4">
                  <c:v>0.3450658640148095</c:v>
                </c:pt>
                <c:pt idx="5">
                  <c:v>0.32147092092536483</c:v>
                </c:pt>
                <c:pt idx="6">
                  <c:v>0.34560671626569917</c:v>
                </c:pt>
                <c:pt idx="7">
                  <c:v>0.3099719142278321</c:v>
                </c:pt>
                <c:pt idx="8">
                  <c:v>0.3367436229500288</c:v>
                </c:pt>
                <c:pt idx="9">
                  <c:v>0.3106217109012387</c:v>
                </c:pt>
                <c:pt idx="10">
                  <c:v>0.3248189791445013</c:v>
                </c:pt>
                <c:pt idx="11">
                  <c:v>0.37551379560784603</c:v>
                </c:pt>
                <c:pt idx="12">
                  <c:v>0.3567148772999392</c:v>
                </c:pt>
                <c:pt idx="13">
                  <c:v>0.34879095639520646</c:v>
                </c:pt>
                <c:pt idx="14">
                  <c:v>0.3654397216710531</c:v>
                </c:pt>
                <c:pt idx="15">
                  <c:v>0.341187908607484</c:v>
                </c:pt>
                <c:pt idx="16">
                  <c:v>0.3547628295704593</c:v>
                </c:pt>
                <c:pt idx="17">
                  <c:v>0.3360259447287421</c:v>
                </c:pt>
                <c:pt idx="18">
                  <c:v>0.3235821660468168</c:v>
                </c:pt>
                <c:pt idx="19">
                  <c:v>0.3426836378669715</c:v>
                </c:pt>
                <c:pt idx="20">
                  <c:v>0.32679980461252567</c:v>
                </c:pt>
                <c:pt idx="21">
                  <c:v>0.31820210365750845</c:v>
                </c:pt>
                <c:pt idx="22">
                  <c:v>0.3100086206883029</c:v>
                </c:pt>
                <c:pt idx="23">
                  <c:v>0.3155050293779765</c:v>
                </c:pt>
                <c:pt idx="24">
                  <c:v>0.3456912050756121</c:v>
                </c:pt>
                <c:pt idx="25">
                  <c:v>0.33877961794097977</c:v>
                </c:pt>
                <c:pt idx="26">
                  <c:v>0.35781228544670945</c:v>
                </c:pt>
                <c:pt idx="27">
                  <c:v>0.3496506064198647</c:v>
                </c:pt>
                <c:pt idx="28">
                  <c:v>0.36985255917091797</c:v>
                </c:pt>
                <c:pt idx="29">
                  <c:v>0.3522754291144142</c:v>
                </c:pt>
                <c:pt idx="30">
                  <c:v>0.33431212376612</c:v>
                </c:pt>
                <c:pt idx="31">
                  <c:v>0.32190731865176264</c:v>
                </c:pt>
                <c:pt idx="32">
                  <c:v>0.3384977228396267</c:v>
                </c:pt>
                <c:pt idx="33">
                  <c:v>0.3485137729878246</c:v>
                </c:pt>
                <c:pt idx="34">
                  <c:v>0.3662782545307261</c:v>
                </c:pt>
                <c:pt idx="35">
                  <c:v>0.3590515753973789</c:v>
                </c:pt>
                <c:pt idx="36">
                  <c:v>0.3321848674086439</c:v>
                </c:pt>
                <c:pt idx="37">
                  <c:v>0.33419777943246304</c:v>
                </c:pt>
                <c:pt idx="38">
                  <c:v>0.3356891632957207</c:v>
                </c:pt>
                <c:pt idx="39">
                  <c:v>0.3384596587508722</c:v>
                </c:pt>
                <c:pt idx="40">
                  <c:v>0.31577082046409116</c:v>
                </c:pt>
                <c:pt idx="41">
                  <c:v>0.32824128079717874</c:v>
                </c:pt>
                <c:pt idx="42">
                  <c:v>0.32081909596595</c:v>
                </c:pt>
                <c:pt idx="43">
                  <c:v>0.3440815639984947</c:v>
                </c:pt>
                <c:pt idx="44">
                  <c:v>0.37126762888100784</c:v>
                </c:pt>
                <c:pt idx="45">
                  <c:v>0.3997507474447373</c:v>
                </c:pt>
                <c:pt idx="46">
                  <c:v>0.35027031772228173</c:v>
                </c:pt>
                <c:pt idx="47">
                  <c:v>0.3665545561720832</c:v>
                </c:pt>
                <c:pt idx="48">
                  <c:v>0.38995240986864027</c:v>
                </c:pt>
                <c:pt idx="49">
                  <c:v>0.39901974524562045</c:v>
                </c:pt>
                <c:pt idx="50">
                  <c:v>0.42635125576730254</c:v>
                </c:pt>
                <c:pt idx="51">
                  <c:v>0.39924857768400374</c:v>
                </c:pt>
                <c:pt idx="52">
                  <c:v>0.4603825948036947</c:v>
                </c:pt>
                <c:pt idx="53">
                  <c:v>0.4945992048163854</c:v>
                </c:pt>
                <c:pt idx="54">
                  <c:v>0.4167200396448126</c:v>
                </c:pt>
              </c:numCache>
            </c:numRef>
          </c:xVal>
          <c:yVal>
            <c:numRef>
              <c:f>Sheet1!$B$187:$B$241</c:f>
              <c:numCache>
                <c:formatCode>General</c:formatCode>
                <c:ptCount val="55"/>
                <c:pt idx="0">
                  <c:v>0.2499197855299893</c:v>
                </c:pt>
                <c:pt idx="1">
                  <c:v>0.24731641224132775</c:v>
                </c:pt>
                <c:pt idx="2">
                  <c:v>0.2530636091216097</c:v>
                </c:pt>
                <c:pt idx="3">
                  <c:v>0.26199525431956405</c:v>
                </c:pt>
                <c:pt idx="4">
                  <c:v>0.24367682629856172</c:v>
                </c:pt>
                <c:pt idx="5">
                  <c:v>0.225445086219012</c:v>
                </c:pt>
                <c:pt idx="6">
                  <c:v>0.24409474117219712</c:v>
                </c:pt>
                <c:pt idx="7">
                  <c:v>0.21655983905025722</c:v>
                </c:pt>
                <c:pt idx="8">
                  <c:v>0.23724625618032677</c:v>
                </c:pt>
                <c:pt idx="9">
                  <c:v>0.21706193494466963</c:v>
                </c:pt>
                <c:pt idx="10">
                  <c:v>0.2280321205250961</c:v>
                </c:pt>
                <c:pt idx="11">
                  <c:v>0.26720384955349336</c:v>
                </c:pt>
                <c:pt idx="12">
                  <c:v>0.25267798309697403</c:v>
                </c:pt>
                <c:pt idx="13">
                  <c:v>0.24655519374341014</c:v>
                </c:pt>
                <c:pt idx="14">
                  <c:v>0.2594196435538637</c:v>
                </c:pt>
                <c:pt idx="15">
                  <c:v>0.24068034206215463</c:v>
                </c:pt>
                <c:pt idx="16">
                  <c:v>0.25116964180995166</c:v>
                </c:pt>
                <c:pt idx="17">
                  <c:v>0.23669170842229018</c:v>
                </c:pt>
                <c:pt idx="18">
                  <c:v>0.22707643884201315</c:v>
                </c:pt>
                <c:pt idx="19">
                  <c:v>0.2418360874684893</c:v>
                </c:pt>
                <c:pt idx="20">
                  <c:v>0.22956269828233297</c:v>
                </c:pt>
                <c:pt idx="21">
                  <c:v>0.2229192811526814</c:v>
                </c:pt>
                <c:pt idx="22">
                  <c:v>0.2165882020195599</c:v>
                </c:pt>
                <c:pt idx="23">
                  <c:v>0.22083526013795543</c:v>
                </c:pt>
                <c:pt idx="24">
                  <c:v>0.24416002541620327</c:v>
                </c:pt>
                <c:pt idx="25">
                  <c:v>0.23881946325853706</c:v>
                </c:pt>
                <c:pt idx="26">
                  <c:v>0.253525947002513</c:v>
                </c:pt>
                <c:pt idx="27">
                  <c:v>0.24721944267800314</c:v>
                </c:pt>
                <c:pt idx="28">
                  <c:v>0.2628294295408796</c:v>
                </c:pt>
                <c:pt idx="29">
                  <c:v>0.24924763511485368</c:v>
                </c:pt>
                <c:pt idx="30">
                  <c:v>0.23536744422656988</c:v>
                </c:pt>
                <c:pt idx="31">
                  <c:v>0.22578228940228862</c:v>
                </c:pt>
                <c:pt idx="32">
                  <c:v>0.23860164377924928</c:v>
                </c:pt>
                <c:pt idx="33">
                  <c:v>0.24634101497558716</c:v>
                </c:pt>
                <c:pt idx="34">
                  <c:v>0.2600675753199106</c:v>
                </c:pt>
                <c:pt idx="35">
                  <c:v>0.25448354254229255</c:v>
                </c:pt>
                <c:pt idx="36">
                  <c:v>0.23372371977065357</c:v>
                </c:pt>
                <c:pt idx="37">
                  <c:v>0.23527909071103478</c:v>
                </c:pt>
                <c:pt idx="38">
                  <c:v>0.23643147844304466</c:v>
                </c:pt>
                <c:pt idx="39">
                  <c:v>0.23857223177474027</c:v>
                </c:pt>
                <c:pt idx="40">
                  <c:v>0.22104063609411412</c:v>
                </c:pt>
                <c:pt idx="41">
                  <c:v>0.2306765225043211</c:v>
                </c:pt>
                <c:pt idx="42">
                  <c:v>0.2249414230742286</c:v>
                </c:pt>
                <c:pt idx="43">
                  <c:v>0.24291626069813962</c:v>
                </c:pt>
                <c:pt idx="44">
                  <c:v>0.26392284956105094</c:v>
                </c:pt>
                <c:pt idx="45">
                  <c:v>0.2859316678209782</c:v>
                </c:pt>
                <c:pt idx="46">
                  <c:v>0.24769829169862576</c:v>
                </c:pt>
                <c:pt idx="47">
                  <c:v>0.2602810727498336</c:v>
                </c:pt>
                <c:pt idx="48">
                  <c:v>0.27836052246064025</c:v>
                </c:pt>
                <c:pt idx="49">
                  <c:v>0.285366824666182</c:v>
                </c:pt>
                <c:pt idx="50">
                  <c:v>0.3064857989279044</c:v>
                </c:pt>
                <c:pt idx="51">
                  <c:v>0.2855436427887161</c:v>
                </c:pt>
                <c:pt idx="52">
                  <c:v>0.3327817101118605</c:v>
                </c:pt>
                <c:pt idx="53">
                  <c:v>0.35922077961034843</c:v>
                </c:pt>
                <c:pt idx="54">
                  <c:v>0.29904378780164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60607704829083"/>
          <c:min val="0.1376854599406528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3.4784</c:v>
                </c:pt>
                <c:pt idx="1">
                  <c:v>924.2886</c:v>
                </c:pt>
                <c:pt idx="2">
                  <c:v>928.9563</c:v>
                </c:pt>
                <c:pt idx="3">
                  <c:v>923.5355</c:v>
                </c:pt>
                <c:pt idx="4">
                  <c:v>897.8341</c:v>
                </c:pt>
                <c:pt idx="5">
                  <c:v>858.6296</c:v>
                </c:pt>
                <c:pt idx="6">
                  <c:v>833.2201</c:v>
                </c:pt>
                <c:pt idx="7">
                  <c:v>825.6381</c:v>
                </c:pt>
                <c:pt idx="8">
                  <c:v>829.2556</c:v>
                </c:pt>
                <c:pt idx="9">
                  <c:v>803.3995</c:v>
                </c:pt>
                <c:pt idx="10">
                  <c:v>736.0563</c:v>
                </c:pt>
                <c:pt idx="11">
                  <c:v>726.824</c:v>
                </c:pt>
                <c:pt idx="12">
                  <c:v>768.4242</c:v>
                </c:pt>
                <c:pt idx="13">
                  <c:v>705.7289</c:v>
                </c:pt>
                <c:pt idx="14">
                  <c:v>869.0942</c:v>
                </c:pt>
                <c:pt idx="15">
                  <c:v>876.3908</c:v>
                </c:pt>
                <c:pt idx="16">
                  <c:v>919.2013</c:v>
                </c:pt>
                <c:pt idx="17">
                  <c:v>965.464</c:v>
                </c:pt>
                <c:pt idx="18">
                  <c:v>959.9223</c:v>
                </c:pt>
                <c:pt idx="19">
                  <c:v>957.3208</c:v>
                </c:pt>
                <c:pt idx="20">
                  <c:v>990.5422</c:v>
                </c:pt>
                <c:pt idx="21">
                  <c:v>983.6402</c:v>
                </c:pt>
                <c:pt idx="22">
                  <c:v>987.6957</c:v>
                </c:pt>
                <c:pt idx="23">
                  <c:v>985.4886</c:v>
                </c:pt>
                <c:pt idx="24">
                  <c:v>999.8042</c:v>
                </c:pt>
                <c:pt idx="25">
                  <c:v>994.4654</c:v>
                </c:pt>
                <c:pt idx="26">
                  <c:v>969.6018</c:v>
                </c:pt>
                <c:pt idx="27">
                  <c:v>974.996</c:v>
                </c:pt>
                <c:pt idx="28">
                  <c:v>975.1781</c:v>
                </c:pt>
                <c:pt idx="29">
                  <c:v>1028.637</c:v>
                </c:pt>
                <c:pt idx="30">
                  <c:v>1000.7056</c:v>
                </c:pt>
                <c:pt idx="31">
                  <c:v>1007.6816</c:v>
                </c:pt>
                <c:pt idx="32">
                  <c:v>1027.3083</c:v>
                </c:pt>
                <c:pt idx="33">
                  <c:v>1037.9776</c:v>
                </c:pt>
                <c:pt idx="34">
                  <c:v>1034.0625</c:v>
                </c:pt>
                <c:pt idx="35">
                  <c:v>1036.9604</c:v>
                </c:pt>
                <c:pt idx="36">
                  <c:v>1027.2975</c:v>
                </c:pt>
                <c:pt idx="37">
                  <c:v>1054.4516</c:v>
                </c:pt>
                <c:pt idx="38">
                  <c:v>1060.9607</c:v>
                </c:pt>
                <c:pt idx="39">
                  <c:v>1122.7689</c:v>
                </c:pt>
                <c:pt idx="40">
                  <c:v>1181.9241</c:v>
                </c:pt>
                <c:pt idx="41">
                  <c:v>1179.6126</c:v>
                </c:pt>
                <c:pt idx="42">
                  <c:v>1171.88</c:v>
                </c:pt>
                <c:pt idx="43">
                  <c:v>1173.9397</c:v>
                </c:pt>
                <c:pt idx="44">
                  <c:v>1192.3263</c:v>
                </c:pt>
                <c:pt idx="45">
                  <c:v>1196.2815</c:v>
                </c:pt>
                <c:pt idx="46">
                  <c:v>1156.875</c:v>
                </c:pt>
                <c:pt idx="47">
                  <c:v>1138.4759</c:v>
                </c:pt>
                <c:pt idx="48">
                  <c:v>1080.5036</c:v>
                </c:pt>
                <c:pt idx="49">
                  <c:v>996.8511</c:v>
                </c:pt>
                <c:pt idx="50">
                  <c:v>1053.5802</c:v>
                </c:pt>
                <c:pt idx="51">
                  <c:v>1044.7357</c:v>
                </c:pt>
                <c:pt idx="52">
                  <c:v>1044.2787</c:v>
                </c:pt>
                <c:pt idx="53">
                  <c:v>1209.8886</c:v>
                </c:pt>
                <c:pt idx="54">
                  <c:v>1211.5956</c:v>
                </c:pt>
                <c:pt idx="55">
                  <c:v>1206.5714</c:v>
                </c:pt>
                <c:pt idx="56">
                  <c:v>1190.4927</c:v>
                </c:pt>
                <c:pt idx="57">
                  <c:v>1194.3705</c:v>
                </c:pt>
                <c:pt idx="58">
                  <c:v>1196.714</c:v>
                </c:pt>
                <c:pt idx="59">
                  <c:v>1202.7661</c:v>
                </c:pt>
                <c:pt idx="60">
                  <c:v>1212.9897</c:v>
                </c:pt>
                <c:pt idx="61">
                  <c:v>1164.976</c:v>
                </c:pt>
                <c:pt idx="62">
                  <c:v>1071.8587</c:v>
                </c:pt>
                <c:pt idx="63">
                  <c:v>1082.2465</c:v>
                </c:pt>
                <c:pt idx="64">
                  <c:v>1107.2259</c:v>
                </c:pt>
                <c:pt idx="65">
                  <c:v>1074.89</c:v>
                </c:pt>
                <c:pt idx="66">
                  <c:v>1160.1052</c:v>
                </c:pt>
                <c:pt idx="67">
                  <c:v>1199.26</c:v>
                </c:pt>
                <c:pt idx="68">
                  <c:v>1181.5855</c:v>
                </c:pt>
                <c:pt idx="69">
                  <c:v>1237.1495</c:v>
                </c:pt>
                <c:pt idx="70">
                  <c:v>1246.9</c:v>
                </c:pt>
                <c:pt idx="71">
                  <c:v>1236.2716</c:v>
                </c:pt>
                <c:pt idx="72">
                  <c:v>1225.7472</c:v>
                </c:pt>
                <c:pt idx="73">
                  <c:v>1228.5161</c:v>
                </c:pt>
                <c:pt idx="74">
                  <c:v>1225.0656</c:v>
                </c:pt>
                <c:pt idx="75">
                  <c:v>1225.6749</c:v>
                </c:pt>
                <c:pt idx="76">
                  <c:v>1148.8853</c:v>
                </c:pt>
                <c:pt idx="77">
                  <c:v>1140.4251</c:v>
                </c:pt>
                <c:pt idx="78">
                  <c:v>1123.2958</c:v>
                </c:pt>
                <c:pt idx="79">
                  <c:v>1110.9289</c:v>
                </c:pt>
                <c:pt idx="80">
                  <c:v>1161.861</c:v>
                </c:pt>
                <c:pt idx="81">
                  <c:v>1256.5761</c:v>
                </c:pt>
                <c:pt idx="82">
                  <c:v>1256.2069</c:v>
                </c:pt>
                <c:pt idx="83">
                  <c:v>1221.0813</c:v>
                </c:pt>
                <c:pt idx="84">
                  <c:v>1273.4228</c:v>
                </c:pt>
                <c:pt idx="85">
                  <c:v>1300.8923</c:v>
                </c:pt>
                <c:pt idx="86">
                  <c:v>1311.6791</c:v>
                </c:pt>
                <c:pt idx="87">
                  <c:v>1288.9754</c:v>
                </c:pt>
                <c:pt idx="88">
                  <c:v>1279.0341</c:v>
                </c:pt>
                <c:pt idx="89">
                  <c:v>1307.3765</c:v>
                </c:pt>
                <c:pt idx="90">
                  <c:v>1303.2418</c:v>
                </c:pt>
                <c:pt idx="91">
                  <c:v>1311.5593</c:v>
                </c:pt>
                <c:pt idx="92">
                  <c:v>1260.5917</c:v>
                </c:pt>
                <c:pt idx="93">
                  <c:v>1262.9611</c:v>
                </c:pt>
                <c:pt idx="94">
                  <c:v>1239.185</c:v>
                </c:pt>
                <c:pt idx="95">
                  <c:v>1235.635</c:v>
                </c:pt>
                <c:pt idx="96">
                  <c:v>1172.1799</c:v>
                </c:pt>
                <c:pt idx="97">
                  <c:v>1195.1038</c:v>
                </c:pt>
                <c:pt idx="98">
                  <c:v>1161.8619</c:v>
                </c:pt>
                <c:pt idx="99">
                  <c:v>1152.3808</c:v>
                </c:pt>
                <c:pt idx="100">
                  <c:v>1111.2239</c:v>
                </c:pt>
                <c:pt idx="101">
                  <c:v>1218.3133</c:v>
                </c:pt>
                <c:pt idx="102">
                  <c:v>1202.6993</c:v>
                </c:pt>
                <c:pt idx="103">
                  <c:v>1153.0138</c:v>
                </c:pt>
                <c:pt idx="104">
                  <c:v>1148.2793</c:v>
                </c:pt>
              </c:numCache>
            </c:numRef>
          </c:xVal>
          <c:yVal>
            <c:numRef>
              <c:f>Sheet1!$B$2:$B$106</c:f>
              <c:numCache>
                <c:formatCode>General</c:formatCode>
                <c:ptCount val="105"/>
                <c:pt idx="0">
                  <c:v>0.2600106780565937</c:v>
                </c:pt>
                <c:pt idx="1">
                  <c:v>0.2777777777777778</c:v>
                </c:pt>
                <c:pt idx="2">
                  <c:v>0.2935897435897436</c:v>
                </c:pt>
                <c:pt idx="3">
                  <c:v>0.286745406824147</c:v>
                </c:pt>
                <c:pt idx="4">
                  <c:v>0.3491346877351392</c:v>
                </c:pt>
                <c:pt idx="5">
                  <c:v>0.4324712643678161</c:v>
                </c:pt>
                <c:pt idx="6">
                  <c:v>0.43647416413373863</c:v>
                </c:pt>
                <c:pt idx="7">
                  <c:v>0.43015983321751217</c:v>
                </c:pt>
                <c:pt idx="8">
                  <c:v>0.4666234607906675</c:v>
                </c:pt>
                <c:pt idx="9">
                  <c:v>0.4671730873575692</c:v>
                </c:pt>
                <c:pt idx="10">
                  <c:v>0.4513922813873962</c:v>
                </c:pt>
                <c:pt idx="11">
                  <c:v>0.44742831133363675</c:v>
                </c:pt>
                <c:pt idx="12">
                  <c:v>0.4079283887468031</c:v>
                </c:pt>
                <c:pt idx="13">
                  <c:v>0.39940387481371087</c:v>
                </c:pt>
                <c:pt idx="14">
                  <c:v>0.3453887884267631</c:v>
                </c:pt>
                <c:pt idx="15">
                  <c:v>0.29555236728837875</c:v>
                </c:pt>
                <c:pt idx="16">
                  <c:v>0.26583407671721676</c:v>
                </c:pt>
                <c:pt idx="17">
                  <c:v>0.2286302780638517</c:v>
                </c:pt>
                <c:pt idx="18">
                  <c:v>0.21981776765375854</c:v>
                </c:pt>
                <c:pt idx="19">
                  <c:v>0.22362869198312235</c:v>
                </c:pt>
                <c:pt idx="20">
                  <c:v>0.25626423690205014</c:v>
                </c:pt>
                <c:pt idx="21">
                  <c:v>0.2371392722710163</c:v>
                </c:pt>
                <c:pt idx="22">
                  <c:v>0.20175438596491227</c:v>
                </c:pt>
                <c:pt idx="23">
                  <c:v>0.2569343065693431</c:v>
                </c:pt>
                <c:pt idx="24">
                  <c:v>0.25609756097560976</c:v>
                </c:pt>
                <c:pt idx="25">
                  <c:v>0.2362555720653789</c:v>
                </c:pt>
                <c:pt idx="26">
                  <c:v>0.2634088200238379</c:v>
                </c:pt>
                <c:pt idx="27">
                  <c:v>0.29350348027842227</c:v>
                </c:pt>
                <c:pt idx="28">
                  <c:v>0.2882147024504084</c:v>
                </c:pt>
                <c:pt idx="29">
                  <c:v>0.3048016701461378</c:v>
                </c:pt>
                <c:pt idx="30">
                  <c:v>0.31794871794871793</c:v>
                </c:pt>
                <c:pt idx="31">
                  <c:v>0.3101529902642559</c:v>
                </c:pt>
                <c:pt idx="32">
                  <c:v>0.328998699609883</c:v>
                </c:pt>
                <c:pt idx="33">
                  <c:v>0.2958057395143488</c:v>
                </c:pt>
                <c:pt idx="34">
                  <c:v>0.3207126948775056</c:v>
                </c:pt>
                <c:pt idx="35">
                  <c:v>0.3730484798685292</c:v>
                </c:pt>
                <c:pt idx="36">
                  <c:v>0.3312043795620438</c:v>
                </c:pt>
                <c:pt idx="37">
                  <c:v>0.31138392857142855</c:v>
                </c:pt>
                <c:pt idx="38">
                  <c:v>0.30042918454935624</c:v>
                </c:pt>
                <c:pt idx="39">
                  <c:v>0.2960199004975124</c:v>
                </c:pt>
                <c:pt idx="40">
                  <c:v>0.29471544715447157</c:v>
                </c:pt>
                <c:pt idx="41">
                  <c:v>0.27832783278327833</c:v>
                </c:pt>
                <c:pt idx="42">
                  <c:v>0.28991971454058874</c:v>
                </c:pt>
                <c:pt idx="43">
                  <c:v>0.29578606158833065</c:v>
                </c:pt>
                <c:pt idx="44">
                  <c:v>0.26377708978328174</c:v>
                </c:pt>
                <c:pt idx="45">
                  <c:v>0.25245522819179667</c:v>
                </c:pt>
                <c:pt idx="46">
                  <c:v>0.26373626373626374</c:v>
                </c:pt>
                <c:pt idx="47">
                  <c:v>0.2404138770541692</c:v>
                </c:pt>
                <c:pt idx="48">
                  <c:v>0.24582967515364354</c:v>
                </c:pt>
                <c:pt idx="49">
                  <c:v>0.24869482676791646</c:v>
                </c:pt>
                <c:pt idx="50">
                  <c:v>0.24932614555256064</c:v>
                </c:pt>
                <c:pt idx="51">
                  <c:v>0.2632398753894081</c:v>
                </c:pt>
                <c:pt idx="52">
                  <c:v>0.25079945180447694</c:v>
                </c:pt>
                <c:pt idx="53">
                  <c:v>0.21746478873239436</c:v>
                </c:pt>
                <c:pt idx="54">
                  <c:v>0.21578003586371788</c:v>
                </c:pt>
                <c:pt idx="55">
                  <c:v>0.22264631043256997</c:v>
                </c:pt>
                <c:pt idx="56">
                  <c:v>0.2506112469437653</c:v>
                </c:pt>
                <c:pt idx="57">
                  <c:v>0.23627002288329518</c:v>
                </c:pt>
                <c:pt idx="58">
                  <c:v>0.2308085977482088</c:v>
                </c:pt>
                <c:pt idx="59">
                  <c:v>0.18940609951845908</c:v>
                </c:pt>
                <c:pt idx="60">
                  <c:v>0.19972593353888318</c:v>
                </c:pt>
                <c:pt idx="61">
                  <c:v>0.22555282555282555</c:v>
                </c:pt>
                <c:pt idx="62">
                  <c:v>0.24134312696747115</c:v>
                </c:pt>
                <c:pt idx="63">
                  <c:v>0.24294268605645852</c:v>
                </c:pt>
                <c:pt idx="64">
                  <c:v>0.22603599832565927</c:v>
                </c:pt>
                <c:pt idx="65">
                  <c:v>0.2343891402714932</c:v>
                </c:pt>
                <c:pt idx="66">
                  <c:v>0.22414622414622415</c:v>
                </c:pt>
                <c:pt idx="67">
                  <c:v>0.20857988165680474</c:v>
                </c:pt>
                <c:pt idx="68">
                  <c:v>0.18498659517426275</c:v>
                </c:pt>
                <c:pt idx="69">
                  <c:v>0.17526617526617527</c:v>
                </c:pt>
                <c:pt idx="70">
                  <c:v>0.19636363636363635</c:v>
                </c:pt>
                <c:pt idx="71">
                  <c:v>0.17210682492581603</c:v>
                </c:pt>
                <c:pt idx="72">
                  <c:v>0.18714689265536724</c:v>
                </c:pt>
                <c:pt idx="73">
                  <c:v>0.181021897810219</c:v>
                </c:pt>
                <c:pt idx="74">
                  <c:v>0.18181818181818182</c:v>
                </c:pt>
                <c:pt idx="75">
                  <c:v>0.17698343504795117</c:v>
                </c:pt>
                <c:pt idx="76">
                  <c:v>0.20742150333016174</c:v>
                </c:pt>
                <c:pt idx="77">
                  <c:v>0.20353982300884957</c:v>
                </c:pt>
                <c:pt idx="78">
                  <c:v>0.22164412070759626</c:v>
                </c:pt>
                <c:pt idx="79">
                  <c:v>0.23860021208907742</c:v>
                </c:pt>
                <c:pt idx="80">
                  <c:v>0.23498419388830347</c:v>
                </c:pt>
                <c:pt idx="81">
                  <c:v>0.216</c:v>
                </c:pt>
                <c:pt idx="82">
                  <c:v>0.20616113744075829</c:v>
                </c:pt>
                <c:pt idx="83">
                  <c:v>0.18330849478390462</c:v>
                </c:pt>
                <c:pt idx="84">
                  <c:v>0.18303571428571427</c:v>
                </c:pt>
                <c:pt idx="85">
                  <c:v>0.18950437317784258</c:v>
                </c:pt>
                <c:pt idx="86">
                  <c:v>0.19957310565635006</c:v>
                </c:pt>
                <c:pt idx="87">
                  <c:v>0.23127962085308057</c:v>
                </c:pt>
                <c:pt idx="88">
                  <c:v>0.22777777777777777</c:v>
                </c:pt>
                <c:pt idx="89">
                  <c:v>0.19901719901719903</c:v>
                </c:pt>
                <c:pt idx="90">
                  <c:v>0.19318181818181818</c:v>
                </c:pt>
                <c:pt idx="91">
                  <c:v>0.20045300113250283</c:v>
                </c:pt>
                <c:pt idx="92">
                  <c:v>0.23143683702989393</c:v>
                </c:pt>
                <c:pt idx="93">
                  <c:v>0.21632996632996632</c:v>
                </c:pt>
                <c:pt idx="94">
                  <c:v>0.21390374331550802</c:v>
                </c:pt>
                <c:pt idx="95">
                  <c:v>0.20206489675516223</c:v>
                </c:pt>
                <c:pt idx="96">
                  <c:v>0.2222222222222222</c:v>
                </c:pt>
                <c:pt idx="97">
                  <c:v>0.22684026039058588</c:v>
                </c:pt>
                <c:pt idx="98">
                  <c:v>0.22148760330578512</c:v>
                </c:pt>
                <c:pt idx="99">
                  <c:v>0.23511093810821332</c:v>
                </c:pt>
                <c:pt idx="100">
                  <c:v>0.25372781065088756</c:v>
                </c:pt>
                <c:pt idx="101">
                  <c:v>0.22573363431151242</c:v>
                </c:pt>
                <c:pt idx="102">
                  <c:v>0.24556962025316456</c:v>
                </c:pt>
                <c:pt idx="103">
                  <c:v>0.23472278429785512</c:v>
                </c:pt>
                <c:pt idx="104">
                  <c:v>0.2415094339622641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4.4972</c:v>
                </c:pt>
                <c:pt idx="1">
                  <c:v>1220.1543</c:v>
                </c:pt>
                <c:pt idx="2">
                  <c:v>1227.0345</c:v>
                </c:pt>
                <c:pt idx="3">
                  <c:v>1222.0387</c:v>
                </c:pt>
                <c:pt idx="4">
                  <c:v>1222.9314</c:v>
                </c:pt>
                <c:pt idx="5">
                  <c:v>1223.762</c:v>
                </c:pt>
                <c:pt idx="6">
                  <c:v>1231.1922</c:v>
                </c:pt>
                <c:pt idx="7">
                  <c:v>1231.3333</c:v>
                </c:pt>
                <c:pt idx="8">
                  <c:v>1250.1146</c:v>
                </c:pt>
                <c:pt idx="9">
                  <c:v>1132.6397</c:v>
                </c:pt>
                <c:pt idx="10">
                  <c:v>1153.9076</c:v>
                </c:pt>
                <c:pt idx="11">
                  <c:v>1238.3638</c:v>
                </c:pt>
                <c:pt idx="12">
                  <c:v>1233.32</c:v>
                </c:pt>
                <c:pt idx="13">
                  <c:v>1158.413</c:v>
                </c:pt>
                <c:pt idx="14">
                  <c:v>1234.9974</c:v>
                </c:pt>
                <c:pt idx="15">
                  <c:v>1144.6724</c:v>
                </c:pt>
                <c:pt idx="16">
                  <c:v>1233.8438</c:v>
                </c:pt>
                <c:pt idx="17">
                  <c:v>1241.5411</c:v>
                </c:pt>
                <c:pt idx="18">
                  <c:v>1275.1007</c:v>
                </c:pt>
                <c:pt idx="19">
                  <c:v>1249.6575</c:v>
                </c:pt>
                <c:pt idx="20">
                  <c:v>1199.101</c:v>
                </c:pt>
                <c:pt idx="21">
                  <c:v>1193.6488</c:v>
                </c:pt>
                <c:pt idx="22">
                  <c:v>1185.7782</c:v>
                </c:pt>
                <c:pt idx="23">
                  <c:v>1194.8455</c:v>
                </c:pt>
                <c:pt idx="24">
                  <c:v>1273.3306</c:v>
                </c:pt>
                <c:pt idx="25">
                  <c:v>1302.981</c:v>
                </c:pt>
                <c:pt idx="26">
                  <c:v>1304.7211</c:v>
                </c:pt>
                <c:pt idx="27">
                  <c:v>1289.3578</c:v>
                </c:pt>
                <c:pt idx="28">
                  <c:v>1309.6856</c:v>
                </c:pt>
                <c:pt idx="29">
                  <c:v>1283.2398</c:v>
                </c:pt>
                <c:pt idx="30">
                  <c:v>1284.2634</c:v>
                </c:pt>
                <c:pt idx="31">
                  <c:v>1271.5689</c:v>
                </c:pt>
                <c:pt idx="32">
                  <c:v>1292.0278</c:v>
                </c:pt>
                <c:pt idx="33">
                  <c:v>1300.7169</c:v>
                </c:pt>
                <c:pt idx="34">
                  <c:v>1293.5392</c:v>
                </c:pt>
                <c:pt idx="35">
                  <c:v>1283.6571</c:v>
                </c:pt>
                <c:pt idx="36">
                  <c:v>1263.2366</c:v>
                </c:pt>
                <c:pt idx="37">
                  <c:v>1246.2933</c:v>
                </c:pt>
                <c:pt idx="38">
                  <c:v>1261.3856</c:v>
                </c:pt>
                <c:pt idx="39">
                  <c:v>1229.6675</c:v>
                </c:pt>
                <c:pt idx="40">
                  <c:v>1217.6929</c:v>
                </c:pt>
                <c:pt idx="41">
                  <c:v>1225.458</c:v>
                </c:pt>
                <c:pt idx="42">
                  <c:v>1235.442</c:v>
                </c:pt>
                <c:pt idx="43">
                  <c:v>1223.6925</c:v>
                </c:pt>
                <c:pt idx="44">
                  <c:v>1193.9576</c:v>
                </c:pt>
                <c:pt idx="45">
                  <c:v>1188.0294</c:v>
                </c:pt>
                <c:pt idx="46">
                  <c:v>1190.6272</c:v>
                </c:pt>
                <c:pt idx="47">
                  <c:v>1188.3735</c:v>
                </c:pt>
                <c:pt idx="48">
                  <c:v>1113.2664</c:v>
                </c:pt>
                <c:pt idx="49">
                  <c:v>1088.7233</c:v>
                </c:pt>
                <c:pt idx="50">
                  <c:v>1070.5165</c:v>
                </c:pt>
                <c:pt idx="51">
                  <c:v>1074.9106</c:v>
                </c:pt>
              </c:numCache>
            </c:numRef>
          </c:xVal>
          <c:yVal>
            <c:numRef>
              <c:f>Sheet1!$B$109:$B$160</c:f>
              <c:numCache>
                <c:formatCode>General</c:formatCode>
                <c:ptCount val="52"/>
                <c:pt idx="0">
                  <c:v>0.23903508771929824</c:v>
                </c:pt>
                <c:pt idx="1">
                  <c:v>0.2225691347011597</c:v>
                </c:pt>
                <c:pt idx="2">
                  <c:v>0.23661626481405804</c:v>
                </c:pt>
                <c:pt idx="3">
                  <c:v>0.2576709796672828</c:v>
                </c:pt>
                <c:pt idx="4">
                  <c:v>0.2545757071547421</c:v>
                </c:pt>
                <c:pt idx="5">
                  <c:v>0.24957264957264957</c:v>
                </c:pt>
                <c:pt idx="6">
                  <c:v>0.22037125178486436</c:v>
                </c:pt>
                <c:pt idx="7">
                  <c:v>0.2268041237113402</c:v>
                </c:pt>
                <c:pt idx="8">
                  <c:v>0.21259309410968177</c:v>
                </c:pt>
                <c:pt idx="9">
                  <c:v>0.2487012987012987</c:v>
                </c:pt>
                <c:pt idx="10">
                  <c:v>0.2536057692307692</c:v>
                </c:pt>
                <c:pt idx="11">
                  <c:v>0.23016650342801176</c:v>
                </c:pt>
                <c:pt idx="12">
                  <c:v>0.23159434422233058</c:v>
                </c:pt>
                <c:pt idx="13">
                  <c:v>0.2338235294117647</c:v>
                </c:pt>
                <c:pt idx="14">
                  <c:v>0.20257234726688103</c:v>
                </c:pt>
                <c:pt idx="15">
                  <c:v>0.22913165266106442</c:v>
                </c:pt>
                <c:pt idx="16">
                  <c:v>0.19851116625310175</c:v>
                </c:pt>
                <c:pt idx="17">
                  <c:v>0.19716407832545577</c:v>
                </c:pt>
                <c:pt idx="18">
                  <c:v>0.20904836193447737</c:v>
                </c:pt>
                <c:pt idx="19">
                  <c:v>0.23145780051150894</c:v>
                </c:pt>
                <c:pt idx="20">
                  <c:v>0.21305595408895264</c:v>
                </c:pt>
                <c:pt idx="21">
                  <c:v>0.2238667900092507</c:v>
                </c:pt>
                <c:pt idx="22">
                  <c:v>0.2396135265700483</c:v>
                </c:pt>
                <c:pt idx="23">
                  <c:v>0.23921971252566734</c:v>
                </c:pt>
                <c:pt idx="24">
                  <c:v>0.23748773307163887</c:v>
                </c:pt>
                <c:pt idx="25">
                  <c:v>0.22316684378320936</c:v>
                </c:pt>
                <c:pt idx="26">
                  <c:v>0.2</c:v>
                </c:pt>
                <c:pt idx="27">
                  <c:v>0.20844564240790656</c:v>
                </c:pt>
                <c:pt idx="28">
                  <c:v>0.21981681931723562</c:v>
                </c:pt>
                <c:pt idx="29">
                  <c:v>0.21773399014778325</c:v>
                </c:pt>
                <c:pt idx="30">
                  <c:v>0.22810590631364563</c:v>
                </c:pt>
                <c:pt idx="31">
                  <c:v>0.2082294264339152</c:v>
                </c:pt>
                <c:pt idx="32">
                  <c:v>0.20247469066366705</c:v>
                </c:pt>
                <c:pt idx="33">
                  <c:v>0.2278876170655567</c:v>
                </c:pt>
                <c:pt idx="34">
                  <c:v>0.2430453879941435</c:v>
                </c:pt>
                <c:pt idx="35">
                  <c:v>0.2591486183719193</c:v>
                </c:pt>
                <c:pt idx="36">
                  <c:v>0.22600243013365734</c:v>
                </c:pt>
                <c:pt idx="37">
                  <c:v>0.21621621621621623</c:v>
                </c:pt>
                <c:pt idx="38">
                  <c:v>0.2645739910313901</c:v>
                </c:pt>
                <c:pt idx="39">
                  <c:v>0.2979876160990712</c:v>
                </c:pt>
                <c:pt idx="40">
                  <c:v>0.2741007194244604</c:v>
                </c:pt>
                <c:pt idx="41">
                  <c:v>0.2736220472440945</c:v>
                </c:pt>
                <c:pt idx="42">
                  <c:v>0.268346923647146</c:v>
                </c:pt>
                <c:pt idx="43">
                  <c:v>0.2779569892473118</c:v>
                </c:pt>
                <c:pt idx="44">
                  <c:v>0.27756833176248824</c:v>
                </c:pt>
                <c:pt idx="45">
                  <c:v>0.27578215527230593</c:v>
                </c:pt>
                <c:pt idx="46">
                  <c:v>0.30251694094869314</c:v>
                </c:pt>
                <c:pt idx="47">
                  <c:v>0.3085606773283161</c:v>
                </c:pt>
                <c:pt idx="48">
                  <c:v>0.32023943135054245</c:v>
                </c:pt>
                <c:pt idx="49">
                  <c:v>0.33222701626286094</c:v>
                </c:pt>
                <c:pt idx="50">
                  <c:v>0.3575506989564875</c:v>
                </c:pt>
                <c:pt idx="51">
                  <c:v>0.32110969387755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64.4786894623837</c:v>
                </c:pt>
              </c:numCache>
            </c:numRef>
          </c:xVal>
          <c:yVal>
            <c:numRef>
              <c:f>Sheet1!$B$163:$B$164</c:f>
              <c:numCache>
                <c:formatCode>General</c:formatCode>
                <c:ptCount val="2"/>
                <c:pt idx="0">
                  <c:v>0.35922077961034843</c:v>
                </c:pt>
                <c:pt idx="1">
                  <c:v>0.3592207796103484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64.4786894623837</c:v>
                </c:pt>
                <c:pt idx="1">
                  <c:v>964.4786894623837</c:v>
                </c:pt>
              </c:numCache>
            </c:numRef>
          </c:xVal>
          <c:yVal>
            <c:numRef>
              <c:f>Sheet1!$B$167:$B$168</c:f>
              <c:numCache>
                <c:formatCode>General</c:formatCode>
                <c:ptCount val="2"/>
                <c:pt idx="0">
                  <c:v>0.359220779610348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24.6684049378846</c:v>
                </c:pt>
              </c:numCache>
            </c:numRef>
          </c:xVal>
          <c:yVal>
            <c:numRef>
              <c:f>Sheet1!$B$171:$B$172</c:f>
              <c:numCache>
                <c:formatCode>General</c:formatCode>
                <c:ptCount val="2"/>
                <c:pt idx="0">
                  <c:v>0.3327817101118605</c:v>
                </c:pt>
                <c:pt idx="1">
                  <c:v>0.332781710111860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24.6684049378846</c:v>
                </c:pt>
                <c:pt idx="1">
                  <c:v>1024.6684049378846</c:v>
                </c:pt>
              </c:numCache>
            </c:numRef>
          </c:xVal>
          <c:yVal>
            <c:numRef>
              <c:f>Sheet1!$B$175:$B$176</c:f>
              <c:numCache>
                <c:formatCode>General</c:formatCode>
                <c:ptCount val="2"/>
                <c:pt idx="0">
                  <c:v>0.33278171011186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01.4742828717815</c:v>
                </c:pt>
              </c:numCache>
            </c:numRef>
          </c:xVal>
          <c:yVal>
            <c:numRef>
              <c:f>Sheet1!$B$179:$B$180</c:f>
              <c:numCache>
                <c:formatCode>General</c:formatCode>
                <c:ptCount val="2"/>
                <c:pt idx="0">
                  <c:v>0.2990437878016407</c:v>
                </c:pt>
                <c:pt idx="1">
                  <c:v>0.299043787801640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01.4742828717815</c:v>
                </c:pt>
                <c:pt idx="1">
                  <c:v>1101.4742828717815</c:v>
                </c:pt>
              </c:numCache>
            </c:numRef>
          </c:xVal>
          <c:yVal>
            <c:numRef>
              <c:f>Sheet1!$B$183:$B$184</c:f>
              <c:numCache>
                <c:formatCode>General</c:formatCode>
                <c:ptCount val="2"/>
                <c:pt idx="0">
                  <c:v>0.29904378780164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4.4972</c:v>
                </c:pt>
                <c:pt idx="1">
                  <c:v>1220.1543</c:v>
                </c:pt>
                <c:pt idx="2">
                  <c:v>1227.0345</c:v>
                </c:pt>
                <c:pt idx="3">
                  <c:v>1222.0387</c:v>
                </c:pt>
                <c:pt idx="4">
                  <c:v>1222.9314</c:v>
                </c:pt>
                <c:pt idx="5">
                  <c:v>1223.762</c:v>
                </c:pt>
                <c:pt idx="6">
                  <c:v>1231.1922</c:v>
                </c:pt>
                <c:pt idx="7">
                  <c:v>1231.3333</c:v>
                </c:pt>
                <c:pt idx="8">
                  <c:v>1250.1146</c:v>
                </c:pt>
                <c:pt idx="9">
                  <c:v>1132.6397</c:v>
                </c:pt>
                <c:pt idx="10">
                  <c:v>1153.9076</c:v>
                </c:pt>
                <c:pt idx="11">
                  <c:v>1238.3638</c:v>
                </c:pt>
                <c:pt idx="12">
                  <c:v>1233.32</c:v>
                </c:pt>
                <c:pt idx="13">
                  <c:v>1158.413</c:v>
                </c:pt>
                <c:pt idx="14">
                  <c:v>1234.9974</c:v>
                </c:pt>
                <c:pt idx="15">
                  <c:v>1144.6724</c:v>
                </c:pt>
                <c:pt idx="16">
                  <c:v>1233.8438</c:v>
                </c:pt>
                <c:pt idx="17">
                  <c:v>1241.5411</c:v>
                </c:pt>
                <c:pt idx="18">
                  <c:v>1275.1007</c:v>
                </c:pt>
                <c:pt idx="19">
                  <c:v>1249.6575</c:v>
                </c:pt>
                <c:pt idx="20">
                  <c:v>1199.101</c:v>
                </c:pt>
                <c:pt idx="21">
                  <c:v>1193.6488</c:v>
                </c:pt>
                <c:pt idx="22">
                  <c:v>1185.7782</c:v>
                </c:pt>
                <c:pt idx="23">
                  <c:v>1194.8455</c:v>
                </c:pt>
                <c:pt idx="24">
                  <c:v>1273.3306</c:v>
                </c:pt>
                <c:pt idx="25">
                  <c:v>1302.981</c:v>
                </c:pt>
                <c:pt idx="26">
                  <c:v>1304.7211</c:v>
                </c:pt>
                <c:pt idx="27">
                  <c:v>1289.3578</c:v>
                </c:pt>
                <c:pt idx="28">
                  <c:v>1309.6856</c:v>
                </c:pt>
                <c:pt idx="29">
                  <c:v>1283.2398</c:v>
                </c:pt>
                <c:pt idx="30">
                  <c:v>1284.2634</c:v>
                </c:pt>
                <c:pt idx="31">
                  <c:v>1271.5689</c:v>
                </c:pt>
                <c:pt idx="32">
                  <c:v>1292.0278</c:v>
                </c:pt>
                <c:pt idx="33">
                  <c:v>1300.7169</c:v>
                </c:pt>
                <c:pt idx="34">
                  <c:v>1293.5392</c:v>
                </c:pt>
                <c:pt idx="35">
                  <c:v>1283.6571</c:v>
                </c:pt>
                <c:pt idx="36">
                  <c:v>1263.2366</c:v>
                </c:pt>
                <c:pt idx="37">
                  <c:v>1246.2933</c:v>
                </c:pt>
                <c:pt idx="38">
                  <c:v>1261.3856</c:v>
                </c:pt>
                <c:pt idx="39">
                  <c:v>1229.6675</c:v>
                </c:pt>
                <c:pt idx="40">
                  <c:v>1217.6929</c:v>
                </c:pt>
                <c:pt idx="41">
                  <c:v>1225.458</c:v>
                </c:pt>
                <c:pt idx="42">
                  <c:v>1235.442</c:v>
                </c:pt>
                <c:pt idx="43">
                  <c:v>1223.6925</c:v>
                </c:pt>
                <c:pt idx="44">
                  <c:v>1193.9576</c:v>
                </c:pt>
                <c:pt idx="45">
                  <c:v>1188.0294</c:v>
                </c:pt>
                <c:pt idx="46">
                  <c:v>1190.6272</c:v>
                </c:pt>
                <c:pt idx="47">
                  <c:v>1188.3735</c:v>
                </c:pt>
                <c:pt idx="48">
                  <c:v>1113.2664</c:v>
                </c:pt>
                <c:pt idx="49">
                  <c:v>1088.7233</c:v>
                </c:pt>
                <c:pt idx="50">
                  <c:v>1070.5165</c:v>
                </c:pt>
                <c:pt idx="51">
                  <c:v>1074.9106</c:v>
                </c:pt>
                <c:pt idx="52">
                  <c:v>1024.6684049378846</c:v>
                </c:pt>
                <c:pt idx="53">
                  <c:v>964.4786894623837</c:v>
                </c:pt>
                <c:pt idx="54">
                  <c:v>1101.4742828717815</c:v>
                </c:pt>
              </c:numCache>
            </c:numRef>
          </c:xVal>
          <c:yVal>
            <c:numRef>
              <c:f>Sheet1!$B$187:$B$241</c:f>
              <c:numCache>
                <c:formatCode>General</c:formatCode>
                <c:ptCount val="55"/>
                <c:pt idx="0">
                  <c:v>0.2537897100182256</c:v>
                </c:pt>
                <c:pt idx="1">
                  <c:v>0.24691213713431215</c:v>
                </c:pt>
                <c:pt idx="2">
                  <c:v>0.24388992504165752</c:v>
                </c:pt>
                <c:pt idx="3">
                  <c:v>0.24608439136131155</c:v>
                </c:pt>
                <c:pt idx="4">
                  <c:v>0.2456922619559</c:v>
                </c:pt>
                <c:pt idx="5">
                  <c:v>0.2453274107358543</c:v>
                </c:pt>
                <c:pt idx="6">
                  <c:v>0.24206360440888086</c:v>
                </c:pt>
                <c:pt idx="7">
                  <c:v>0.24200162450622198</c:v>
                </c:pt>
                <c:pt idx="8">
                  <c:v>0.2337517085189289</c:v>
                </c:pt>
                <c:pt idx="9">
                  <c:v>0.28535399673197326</c:v>
                </c:pt>
                <c:pt idx="10">
                  <c:v>0.27601181124821283</c:v>
                </c:pt>
                <c:pt idx="11">
                  <c:v>0.23891339129826172</c:v>
                </c:pt>
                <c:pt idx="12">
                  <c:v>0.24112894220563819</c:v>
                </c:pt>
                <c:pt idx="13">
                  <c:v>0.2740327591331223</c:v>
                </c:pt>
                <c:pt idx="14">
                  <c:v>0.24039212371719032</c:v>
                </c:pt>
                <c:pt idx="15">
                  <c:v>0.280068485925996</c:v>
                </c:pt>
                <c:pt idx="16">
                  <c:v>0.24089885664211785</c:v>
                </c:pt>
                <c:pt idx="17">
                  <c:v>0.23751772336971444</c:v>
                </c:pt>
                <c:pt idx="18">
                  <c:v>0.22277625815872493</c:v>
                </c:pt>
                <c:pt idx="19">
                  <c:v>0.23395249529076012</c:v>
                </c:pt>
                <c:pt idx="20">
                  <c:v>0.25616005694046373</c:v>
                </c:pt>
                <c:pt idx="21">
                  <c:v>0.25855500254837793</c:v>
                </c:pt>
                <c:pt idx="22">
                  <c:v>0.26201225996770405</c:v>
                </c:pt>
                <c:pt idx="23">
                  <c:v>0.25802933742072476</c:v>
                </c:pt>
                <c:pt idx="24">
                  <c:v>0.2235537962572115</c:v>
                </c:pt>
                <c:pt idx="25">
                  <c:v>0.2105294950113109</c:v>
                </c:pt>
                <c:pt idx="26">
                  <c:v>0.2097651347801508</c:v>
                </c:pt>
                <c:pt idx="27">
                  <c:v>0.2165136524167136</c:v>
                </c:pt>
                <c:pt idx="28">
                  <c:v>0.20758441736874067</c:v>
                </c:pt>
                <c:pt idx="29">
                  <c:v>0.21920105882682683</c:v>
                </c:pt>
                <c:pt idx="30">
                  <c:v>0.21875142999364738</c:v>
                </c:pt>
                <c:pt idx="31">
                  <c:v>0.22432764455284682</c:v>
                </c:pt>
                <c:pt idx="32">
                  <c:v>0.215340822224657</c:v>
                </c:pt>
                <c:pt idx="33">
                  <c:v>0.21152402865844033</c:v>
                </c:pt>
                <c:pt idx="34">
                  <c:v>0.21467692126874915</c:v>
                </c:pt>
                <c:pt idx="35">
                  <c:v>0.21901775469231555</c:v>
                </c:pt>
                <c:pt idx="36">
                  <c:v>0.2279877093503273</c:v>
                </c:pt>
                <c:pt idx="37">
                  <c:v>0.23543026133275136</c:v>
                </c:pt>
                <c:pt idx="38">
                  <c:v>0.22880078376437096</c:v>
                </c:pt>
                <c:pt idx="39">
                  <c:v>0.24273334755263698</c:v>
                </c:pt>
                <c:pt idx="40">
                  <c:v>0.24799333722222527</c:v>
                </c:pt>
                <c:pt idx="41">
                  <c:v>0.24458242196966395</c:v>
                </c:pt>
                <c:pt idx="42">
                  <c:v>0.2401968277234119</c:v>
                </c:pt>
                <c:pt idx="43">
                  <c:v>0.24535793946182716</c:v>
                </c:pt>
                <c:pt idx="44">
                  <c:v>0.25841935836736407</c:v>
                </c:pt>
                <c:pt idx="45">
                  <c:v>0.26102339280352505</c:v>
                </c:pt>
                <c:pt idx="46">
                  <c:v>0.25988227734550085</c:v>
                </c:pt>
                <c:pt idx="47">
                  <c:v>0.2608722426652904</c:v>
                </c:pt>
                <c:pt idx="48">
                  <c:v>0.2938639559678421</c:v>
                </c:pt>
                <c:pt idx="49">
                  <c:v>0.3046448131538585</c:v>
                </c:pt>
                <c:pt idx="50">
                  <c:v>0.3126423729818495</c:v>
                </c:pt>
                <c:pt idx="51">
                  <c:v>0.3107122107545402</c:v>
                </c:pt>
                <c:pt idx="52">
                  <c:v>0.3327817101118605</c:v>
                </c:pt>
                <c:pt idx="53">
                  <c:v>0.35922077961034843</c:v>
                </c:pt>
                <c:pt idx="54">
                  <c:v>0.2990437878016406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4.0"/>
          <c:min val="56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60607704829083"/>
          <c:min val="0.1376854599406528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4079805731706512</c:v>
                </c:pt>
                <c:pt idx="1">
                  <c:v>1.547541917924182</c:v>
                </c:pt>
                <c:pt idx="2">
                  <c:v>1.533536757997011</c:v>
                </c:pt>
                <c:pt idx="3">
                  <c:v>1.522791612453137</c:v>
                </c:pt>
                <c:pt idx="4">
                  <c:v>1.478776460248645</c:v>
                </c:pt>
                <c:pt idx="5">
                  <c:v>1.4969135285913528</c:v>
                </c:pt>
                <c:pt idx="6">
                  <c:v>1.429283480012042</c:v>
                </c:pt>
                <c:pt idx="7">
                  <c:v>1.3444231728388245</c:v>
                </c:pt>
                <c:pt idx="8">
                  <c:v>1.3617613428575792</c:v>
                </c:pt>
                <c:pt idx="9">
                  <c:v>1.3244780310271618</c:v>
                </c:pt>
                <c:pt idx="10">
                  <c:v>1.2517376735377725</c:v>
                </c:pt>
                <c:pt idx="11">
                  <c:v>1.2229082112176082</c:v>
                </c:pt>
                <c:pt idx="12">
                  <c:v>1.2915341460016228</c:v>
                </c:pt>
                <c:pt idx="13">
                  <c:v>1.1428263982249265</c:v>
                </c:pt>
                <c:pt idx="14">
                  <c:v>1.3878254748715042</c:v>
                </c:pt>
                <c:pt idx="15">
                  <c:v>1.3771213493291021</c:v>
                </c:pt>
                <c:pt idx="16">
                  <c:v>1.4688595660702228</c:v>
                </c:pt>
                <c:pt idx="17">
                  <c:v>1.5145908938239254</c:v>
                </c:pt>
                <c:pt idx="18">
                  <c:v>1.5037396803385943</c:v>
                </c:pt>
                <c:pt idx="19">
                  <c:v>1.5187904389197895</c:v>
                </c:pt>
                <c:pt idx="20">
                  <c:v>1.5763195802855938</c:v>
                </c:pt>
                <c:pt idx="21">
                  <c:v>1.572715366940463</c:v>
                </c:pt>
                <c:pt idx="22">
                  <c:v>1.577696919859612</c:v>
                </c:pt>
                <c:pt idx="23">
                  <c:v>1.575328173188036</c:v>
                </c:pt>
                <c:pt idx="24">
                  <c:v>1.5697859397511214</c:v>
                </c:pt>
                <c:pt idx="25">
                  <c:v>1.5657203477358377</c:v>
                </c:pt>
                <c:pt idx="26">
                  <c:v>1.532250930276549</c:v>
                </c:pt>
                <c:pt idx="27">
                  <c:v>1.5447752160634467</c:v>
                </c:pt>
                <c:pt idx="28">
                  <c:v>1.5367706479039438</c:v>
                </c:pt>
                <c:pt idx="29">
                  <c:v>1.639830277453894</c:v>
                </c:pt>
                <c:pt idx="30">
                  <c:v>1.5922574112270147</c:v>
                </c:pt>
                <c:pt idx="31">
                  <c:v>1.5787555193608283</c:v>
                </c:pt>
                <c:pt idx="32">
                  <c:v>1.6255433730013558</c:v>
                </c:pt>
                <c:pt idx="33">
                  <c:v>1.6405997454012429</c:v>
                </c:pt>
                <c:pt idx="34">
                  <c:v>1.6071152982689432</c:v>
                </c:pt>
                <c:pt idx="35">
                  <c:v>1.6328670745053577</c:v>
                </c:pt>
                <c:pt idx="36">
                  <c:v>1.611034381310638</c:v>
                </c:pt>
                <c:pt idx="37">
                  <c:v>1.6250645933106531</c:v>
                </c:pt>
                <c:pt idx="38">
                  <c:v>1.630359024194748</c:v>
                </c:pt>
                <c:pt idx="39">
                  <c:v>1.7565553102616618</c:v>
                </c:pt>
                <c:pt idx="40">
                  <c:v>1.8832034551195194</c:v>
                </c:pt>
                <c:pt idx="41">
                  <c:v>1.876993329393535</c:v>
                </c:pt>
                <c:pt idx="42">
                  <c:v>1.8745683012592567</c:v>
                </c:pt>
                <c:pt idx="43">
                  <c:v>1.8640757012396898</c:v>
                </c:pt>
                <c:pt idx="44">
                  <c:v>1.9101254762792734</c:v>
                </c:pt>
                <c:pt idx="45">
                  <c:v>1.9231751738568885</c:v>
                </c:pt>
                <c:pt idx="46">
                  <c:v>1.8661043982880958</c:v>
                </c:pt>
                <c:pt idx="47">
                  <c:v>1.8084635343446962</c:v>
                </c:pt>
                <c:pt idx="48">
                  <c:v>1.7323272348029073</c:v>
                </c:pt>
                <c:pt idx="49">
                  <c:v>1.5893590785251095</c:v>
                </c:pt>
                <c:pt idx="50">
                  <c:v>1.6834337324852735</c:v>
                </c:pt>
                <c:pt idx="51">
                  <c:v>1.6595995906026695</c:v>
                </c:pt>
                <c:pt idx="52">
                  <c:v>1.6709023296626497</c:v>
                </c:pt>
                <c:pt idx="53">
                  <c:v>1.92153842684252</c:v>
                </c:pt>
                <c:pt idx="54">
                  <c:v>1.911815682373614</c:v>
                </c:pt>
                <c:pt idx="55">
                  <c:v>1.900627256516726</c:v>
                </c:pt>
                <c:pt idx="56">
                  <c:v>1.8663056938114304</c:v>
                </c:pt>
                <c:pt idx="57">
                  <c:v>1.8789064884283309</c:v>
                </c:pt>
                <c:pt idx="58">
                  <c:v>1.8845420854095283</c:v>
                </c:pt>
                <c:pt idx="59">
                  <c:v>1.89952676318813</c:v>
                </c:pt>
                <c:pt idx="60">
                  <c:v>1.9109058195846982</c:v>
                </c:pt>
                <c:pt idx="61">
                  <c:v>1.830218520024967</c:v>
                </c:pt>
                <c:pt idx="62">
                  <c:v>1.7059816226278637</c:v>
                </c:pt>
                <c:pt idx="63">
                  <c:v>1.7297976246113638</c:v>
                </c:pt>
                <c:pt idx="64">
                  <c:v>1.7681467949096703</c:v>
                </c:pt>
                <c:pt idx="65">
                  <c:v>1.7103761557756803</c:v>
                </c:pt>
                <c:pt idx="66">
                  <c:v>1.8382228532177471</c:v>
                </c:pt>
                <c:pt idx="67">
                  <c:v>1.919476607069089</c:v>
                </c:pt>
                <c:pt idx="68">
                  <c:v>1.874748121262278</c:v>
                </c:pt>
                <c:pt idx="69">
                  <c:v>1.9490969067773112</c:v>
                </c:pt>
                <c:pt idx="70">
                  <c:v>1.970604504148558</c:v>
                </c:pt>
                <c:pt idx="71">
                  <c:v>1.9580635647997244</c:v>
                </c:pt>
                <c:pt idx="72">
                  <c:v>1.9514038438484906</c:v>
                </c:pt>
                <c:pt idx="73">
                  <c:v>1.9413796367510596</c:v>
                </c:pt>
                <c:pt idx="74">
                  <c:v>1.9421412411187466</c:v>
                </c:pt>
                <c:pt idx="75">
                  <c:v>1.9486700853222407</c:v>
                </c:pt>
                <c:pt idx="76">
                  <c:v>1.8158794198910964</c:v>
                </c:pt>
                <c:pt idx="77">
                  <c:v>1.8066666814525763</c:v>
                </c:pt>
                <c:pt idx="78">
                  <c:v>1.7765212379930566</c:v>
                </c:pt>
                <c:pt idx="79">
                  <c:v>1.7315637832180313</c:v>
                </c:pt>
                <c:pt idx="80">
                  <c:v>1.811073969088034</c:v>
                </c:pt>
                <c:pt idx="81">
                  <c:v>1.9967724640380256</c:v>
                </c:pt>
                <c:pt idx="82">
                  <c:v>2.038502032162134</c:v>
                </c:pt>
                <c:pt idx="83">
                  <c:v>1.9542916652529274</c:v>
                </c:pt>
                <c:pt idx="84">
                  <c:v>2.015342537209736</c:v>
                </c:pt>
                <c:pt idx="85">
                  <c:v>2.0735455527611997</c:v>
                </c:pt>
                <c:pt idx="86">
                  <c:v>2.0885050145140434</c:v>
                </c:pt>
                <c:pt idx="87">
                  <c:v>2.1073900008076576</c:v>
                </c:pt>
                <c:pt idx="88">
                  <c:v>2.0619325806324724</c:v>
                </c:pt>
                <c:pt idx="89">
                  <c:v>2.013472520164734</c:v>
                </c:pt>
                <c:pt idx="90">
                  <c:v>2.054917776754977</c:v>
                </c:pt>
                <c:pt idx="91">
                  <c:v>2.0698439346687993</c:v>
                </c:pt>
                <c:pt idx="92">
                  <c:v>2.0003159333052256</c:v>
                </c:pt>
                <c:pt idx="93">
                  <c:v>2.0096553947463476</c:v>
                </c:pt>
                <c:pt idx="94">
                  <c:v>1.991537790497717</c:v>
                </c:pt>
                <c:pt idx="95">
                  <c:v>1.9929850719065612</c:v>
                </c:pt>
                <c:pt idx="96">
                  <c:v>1.902847437134505</c:v>
                </c:pt>
                <c:pt idx="97">
                  <c:v>1.9637666406551806</c:v>
                </c:pt>
                <c:pt idx="98">
                  <c:v>1.9171003067890084</c:v>
                </c:pt>
                <c:pt idx="99">
                  <c:v>1.8846957181335313</c:v>
                </c:pt>
                <c:pt idx="100">
                  <c:v>1.7985290963929035</c:v>
                </c:pt>
                <c:pt idx="101">
                  <c:v>1.960880199140718</c:v>
                </c:pt>
                <c:pt idx="102">
                  <c:v>1.9214404085527554</c:v>
                </c:pt>
                <c:pt idx="103">
                  <c:v>1.8614617611413127</c:v>
                </c:pt>
                <c:pt idx="104">
                  <c:v>1.8659578509849064</c:v>
                </c:pt>
              </c:numCache>
            </c:numRef>
          </c:xVal>
          <c:yVal>
            <c:numRef>
              <c:f>Sheet1!$B$2:$B$106</c:f>
              <c:numCache>
                <c:formatCode>General</c:formatCode>
                <c:ptCount val="105"/>
                <c:pt idx="0">
                  <c:v>0.2600106780565937</c:v>
                </c:pt>
                <c:pt idx="1">
                  <c:v>0.2777777777777778</c:v>
                </c:pt>
                <c:pt idx="2">
                  <c:v>0.2935897435897436</c:v>
                </c:pt>
                <c:pt idx="3">
                  <c:v>0.286745406824147</c:v>
                </c:pt>
                <c:pt idx="4">
                  <c:v>0.3491346877351392</c:v>
                </c:pt>
                <c:pt idx="5">
                  <c:v>0.4324712643678161</c:v>
                </c:pt>
                <c:pt idx="6">
                  <c:v>0.43647416413373863</c:v>
                </c:pt>
                <c:pt idx="7">
                  <c:v>0.43015983321751217</c:v>
                </c:pt>
                <c:pt idx="8">
                  <c:v>0.4666234607906675</c:v>
                </c:pt>
                <c:pt idx="9">
                  <c:v>0.4671730873575692</c:v>
                </c:pt>
                <c:pt idx="10">
                  <c:v>0.4513922813873962</c:v>
                </c:pt>
                <c:pt idx="11">
                  <c:v>0.44742831133363675</c:v>
                </c:pt>
                <c:pt idx="12">
                  <c:v>0.4079283887468031</c:v>
                </c:pt>
                <c:pt idx="13">
                  <c:v>0.39940387481371087</c:v>
                </c:pt>
                <c:pt idx="14">
                  <c:v>0.3453887884267631</c:v>
                </c:pt>
                <c:pt idx="15">
                  <c:v>0.29555236728837875</c:v>
                </c:pt>
                <c:pt idx="16">
                  <c:v>0.26583407671721676</c:v>
                </c:pt>
                <c:pt idx="17">
                  <c:v>0.2286302780638517</c:v>
                </c:pt>
                <c:pt idx="18">
                  <c:v>0.21981776765375854</c:v>
                </c:pt>
                <c:pt idx="19">
                  <c:v>0.22362869198312235</c:v>
                </c:pt>
                <c:pt idx="20">
                  <c:v>0.25626423690205014</c:v>
                </c:pt>
                <c:pt idx="21">
                  <c:v>0.2371392722710163</c:v>
                </c:pt>
                <c:pt idx="22">
                  <c:v>0.20175438596491227</c:v>
                </c:pt>
                <c:pt idx="23">
                  <c:v>0.2569343065693431</c:v>
                </c:pt>
                <c:pt idx="24">
                  <c:v>0.25609756097560976</c:v>
                </c:pt>
                <c:pt idx="25">
                  <c:v>0.2362555720653789</c:v>
                </c:pt>
                <c:pt idx="26">
                  <c:v>0.2634088200238379</c:v>
                </c:pt>
                <c:pt idx="27">
                  <c:v>0.29350348027842227</c:v>
                </c:pt>
                <c:pt idx="28">
                  <c:v>0.2882147024504084</c:v>
                </c:pt>
                <c:pt idx="29">
                  <c:v>0.3048016701461378</c:v>
                </c:pt>
                <c:pt idx="30">
                  <c:v>0.31794871794871793</c:v>
                </c:pt>
                <c:pt idx="31">
                  <c:v>0.3101529902642559</c:v>
                </c:pt>
                <c:pt idx="32">
                  <c:v>0.328998699609883</c:v>
                </c:pt>
                <c:pt idx="33">
                  <c:v>0.2958057395143488</c:v>
                </c:pt>
                <c:pt idx="34">
                  <c:v>0.3207126948775056</c:v>
                </c:pt>
                <c:pt idx="35">
                  <c:v>0.3730484798685292</c:v>
                </c:pt>
                <c:pt idx="36">
                  <c:v>0.3312043795620438</c:v>
                </c:pt>
                <c:pt idx="37">
                  <c:v>0.31138392857142855</c:v>
                </c:pt>
                <c:pt idx="38">
                  <c:v>0.30042918454935624</c:v>
                </c:pt>
                <c:pt idx="39">
                  <c:v>0.2960199004975124</c:v>
                </c:pt>
                <c:pt idx="40">
                  <c:v>0.29471544715447157</c:v>
                </c:pt>
                <c:pt idx="41">
                  <c:v>0.27832783278327833</c:v>
                </c:pt>
                <c:pt idx="42">
                  <c:v>0.28991971454058874</c:v>
                </c:pt>
                <c:pt idx="43">
                  <c:v>0.29578606158833065</c:v>
                </c:pt>
                <c:pt idx="44">
                  <c:v>0.26377708978328174</c:v>
                </c:pt>
                <c:pt idx="45">
                  <c:v>0.25245522819179667</c:v>
                </c:pt>
                <c:pt idx="46">
                  <c:v>0.26373626373626374</c:v>
                </c:pt>
                <c:pt idx="47">
                  <c:v>0.2404138770541692</c:v>
                </c:pt>
                <c:pt idx="48">
                  <c:v>0.24582967515364354</c:v>
                </c:pt>
                <c:pt idx="49">
                  <c:v>0.24869482676791646</c:v>
                </c:pt>
                <c:pt idx="50">
                  <c:v>0.24932614555256064</c:v>
                </c:pt>
                <c:pt idx="51">
                  <c:v>0.2632398753894081</c:v>
                </c:pt>
                <c:pt idx="52">
                  <c:v>0.25079945180447694</c:v>
                </c:pt>
                <c:pt idx="53">
                  <c:v>0.21746478873239436</c:v>
                </c:pt>
                <c:pt idx="54">
                  <c:v>0.21578003586371788</c:v>
                </c:pt>
                <c:pt idx="55">
                  <c:v>0.22264631043256997</c:v>
                </c:pt>
                <c:pt idx="56">
                  <c:v>0.2506112469437653</c:v>
                </c:pt>
                <c:pt idx="57">
                  <c:v>0.23627002288329518</c:v>
                </c:pt>
                <c:pt idx="58">
                  <c:v>0.2308085977482088</c:v>
                </c:pt>
                <c:pt idx="59">
                  <c:v>0.18940609951845908</c:v>
                </c:pt>
                <c:pt idx="60">
                  <c:v>0.19972593353888318</c:v>
                </c:pt>
                <c:pt idx="61">
                  <c:v>0.22555282555282555</c:v>
                </c:pt>
                <c:pt idx="62">
                  <c:v>0.24134312696747115</c:v>
                </c:pt>
                <c:pt idx="63">
                  <c:v>0.24294268605645852</c:v>
                </c:pt>
                <c:pt idx="64">
                  <c:v>0.22603599832565927</c:v>
                </c:pt>
                <c:pt idx="65">
                  <c:v>0.2343891402714932</c:v>
                </c:pt>
                <c:pt idx="66">
                  <c:v>0.22414622414622415</c:v>
                </c:pt>
                <c:pt idx="67">
                  <c:v>0.20857988165680474</c:v>
                </c:pt>
                <c:pt idx="68">
                  <c:v>0.18498659517426275</c:v>
                </c:pt>
                <c:pt idx="69">
                  <c:v>0.17526617526617527</c:v>
                </c:pt>
                <c:pt idx="70">
                  <c:v>0.19636363636363635</c:v>
                </c:pt>
                <c:pt idx="71">
                  <c:v>0.17210682492581603</c:v>
                </c:pt>
                <c:pt idx="72">
                  <c:v>0.18714689265536724</c:v>
                </c:pt>
                <c:pt idx="73">
                  <c:v>0.181021897810219</c:v>
                </c:pt>
                <c:pt idx="74">
                  <c:v>0.18181818181818182</c:v>
                </c:pt>
                <c:pt idx="75">
                  <c:v>0.17698343504795117</c:v>
                </c:pt>
                <c:pt idx="76">
                  <c:v>0.20742150333016174</c:v>
                </c:pt>
                <c:pt idx="77">
                  <c:v>0.20353982300884957</c:v>
                </c:pt>
                <c:pt idx="78">
                  <c:v>0.22164412070759626</c:v>
                </c:pt>
                <c:pt idx="79">
                  <c:v>0.23860021208907742</c:v>
                </c:pt>
                <c:pt idx="80">
                  <c:v>0.23498419388830347</c:v>
                </c:pt>
                <c:pt idx="81">
                  <c:v>0.216</c:v>
                </c:pt>
                <c:pt idx="82">
                  <c:v>0.20616113744075829</c:v>
                </c:pt>
                <c:pt idx="83">
                  <c:v>0.18330849478390462</c:v>
                </c:pt>
                <c:pt idx="84">
                  <c:v>0.18303571428571427</c:v>
                </c:pt>
                <c:pt idx="85">
                  <c:v>0.18950437317784258</c:v>
                </c:pt>
                <c:pt idx="86">
                  <c:v>0.19957310565635006</c:v>
                </c:pt>
                <c:pt idx="87">
                  <c:v>0.23127962085308057</c:v>
                </c:pt>
                <c:pt idx="88">
                  <c:v>0.22777777777777777</c:v>
                </c:pt>
                <c:pt idx="89">
                  <c:v>0.19901719901719903</c:v>
                </c:pt>
                <c:pt idx="90">
                  <c:v>0.19318181818181818</c:v>
                </c:pt>
                <c:pt idx="91">
                  <c:v>0.20045300113250283</c:v>
                </c:pt>
                <c:pt idx="92">
                  <c:v>0.23143683702989393</c:v>
                </c:pt>
                <c:pt idx="93">
                  <c:v>0.21632996632996632</c:v>
                </c:pt>
                <c:pt idx="94">
                  <c:v>0.21390374331550802</c:v>
                </c:pt>
                <c:pt idx="95">
                  <c:v>0.20206489675516223</c:v>
                </c:pt>
                <c:pt idx="96">
                  <c:v>0.2222222222222222</c:v>
                </c:pt>
                <c:pt idx="97">
                  <c:v>0.22684026039058588</c:v>
                </c:pt>
                <c:pt idx="98">
                  <c:v>0.22148760330578512</c:v>
                </c:pt>
                <c:pt idx="99">
                  <c:v>0.23511093810821332</c:v>
                </c:pt>
                <c:pt idx="100">
                  <c:v>0.25372781065088756</c:v>
                </c:pt>
                <c:pt idx="101">
                  <c:v>0.22573363431151242</c:v>
                </c:pt>
                <c:pt idx="102">
                  <c:v>0.24556962025316456</c:v>
                </c:pt>
                <c:pt idx="103">
                  <c:v>0.23472278429785512</c:v>
                </c:pt>
                <c:pt idx="104">
                  <c:v>0.2415094339622641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9299697356968804</c:v>
                </c:pt>
                <c:pt idx="1">
                  <c:v>1.941906306593641</c:v>
                </c:pt>
                <c:pt idx="2">
                  <c:v>1.957215077693033</c:v>
                </c:pt>
                <c:pt idx="3">
                  <c:v>1.9740734183439566</c:v>
                </c:pt>
                <c:pt idx="4">
                  <c:v>2.0058509180440103</c:v>
                </c:pt>
                <c:pt idx="5">
                  <c:v>2.0066787517145763</c:v>
                </c:pt>
                <c:pt idx="6">
                  <c:v>1.9976132977767163</c:v>
                </c:pt>
                <c:pt idx="7">
                  <c:v>2.034981464535544</c:v>
                </c:pt>
                <c:pt idx="8">
                  <c:v>2.0616787849282336</c:v>
                </c:pt>
                <c:pt idx="9">
                  <c:v>1.908943421850754</c:v>
                </c:pt>
                <c:pt idx="10">
                  <c:v>1.91408805311041</c:v>
                </c:pt>
                <c:pt idx="11">
                  <c:v>1.9986726772780394</c:v>
                </c:pt>
                <c:pt idx="12">
                  <c:v>1.9584462958843123</c:v>
                </c:pt>
                <c:pt idx="13">
                  <c:v>1.8236587151693988</c:v>
                </c:pt>
                <c:pt idx="14">
                  <c:v>1.9776314202898364</c:v>
                </c:pt>
                <c:pt idx="15">
                  <c:v>1.844448064571902</c:v>
                </c:pt>
                <c:pt idx="16">
                  <c:v>1.979844111665149</c:v>
                </c:pt>
                <c:pt idx="17">
                  <c:v>1.9692344856344222</c:v>
                </c:pt>
                <c:pt idx="18">
                  <c:v>2.0424188915394637</c:v>
                </c:pt>
                <c:pt idx="19">
                  <c:v>2.0156094478313276</c:v>
                </c:pt>
                <c:pt idx="20">
                  <c:v>1.9069739111682642</c:v>
                </c:pt>
                <c:pt idx="21">
                  <c:v>1.8737181896126542</c:v>
                </c:pt>
                <c:pt idx="22">
                  <c:v>1.8533946912348356</c:v>
                </c:pt>
                <c:pt idx="23">
                  <c:v>1.930486862267237</c:v>
                </c:pt>
                <c:pt idx="24">
                  <c:v>1.9950486129629763</c:v>
                </c:pt>
                <c:pt idx="25">
                  <c:v>2.0699859261145637</c:v>
                </c:pt>
                <c:pt idx="26">
                  <c:v>2.072945299882667</c:v>
                </c:pt>
                <c:pt idx="27">
                  <c:v>2.024079707458006</c:v>
                </c:pt>
                <c:pt idx="28">
                  <c:v>2.0837403303569</c:v>
                </c:pt>
                <c:pt idx="29">
                  <c:v>2.086208867055619</c:v>
                </c:pt>
                <c:pt idx="30">
                  <c:v>2.0422743598608104</c:v>
                </c:pt>
                <c:pt idx="31">
                  <c:v>2.0378412137343216</c:v>
                </c:pt>
                <c:pt idx="32">
                  <c:v>2.0733161448639112</c:v>
                </c:pt>
                <c:pt idx="33">
                  <c:v>2.0886571828592633</c:v>
                </c:pt>
                <c:pt idx="34">
                  <c:v>2.142984683797986</c:v>
                </c:pt>
                <c:pt idx="35">
                  <c:v>2.14967456553754</c:v>
                </c:pt>
                <c:pt idx="36">
                  <c:v>2.0225775364303984</c:v>
                </c:pt>
                <c:pt idx="37">
                  <c:v>1.9696145457993552</c:v>
                </c:pt>
                <c:pt idx="38">
                  <c:v>2.043644806135865</c:v>
                </c:pt>
                <c:pt idx="39">
                  <c:v>1.9592048575926175</c:v>
                </c:pt>
                <c:pt idx="40">
                  <c:v>1.9497936028078986</c:v>
                </c:pt>
                <c:pt idx="41">
                  <c:v>1.9305124043808302</c:v>
                </c:pt>
                <c:pt idx="42">
                  <c:v>1.9619782369793486</c:v>
                </c:pt>
                <c:pt idx="43">
                  <c:v>1.94811164784319</c:v>
                </c:pt>
                <c:pt idx="44">
                  <c:v>1.9240845931109525</c:v>
                </c:pt>
                <c:pt idx="45">
                  <c:v>1.903358254746983</c:v>
                </c:pt>
                <c:pt idx="46">
                  <c:v>1.922568412628722</c:v>
                </c:pt>
                <c:pt idx="47">
                  <c:v>1.9021176656635133</c:v>
                </c:pt>
                <c:pt idx="48">
                  <c:v>1.7815346592802146</c:v>
                </c:pt>
                <c:pt idx="49">
                  <c:v>1.7528849047268598</c:v>
                </c:pt>
                <c:pt idx="50">
                  <c:v>1.743176923135794</c:v>
                </c:pt>
                <c:pt idx="51">
                  <c:v>1.752226613205454</c:v>
                </c:pt>
              </c:numCache>
            </c:numRef>
          </c:xVal>
          <c:yVal>
            <c:numRef>
              <c:f>Sheet1!$B$109:$B$160</c:f>
              <c:numCache>
                <c:formatCode>General</c:formatCode>
                <c:ptCount val="52"/>
                <c:pt idx="0">
                  <c:v>0.23903508771929824</c:v>
                </c:pt>
                <c:pt idx="1">
                  <c:v>0.2225691347011597</c:v>
                </c:pt>
                <c:pt idx="2">
                  <c:v>0.23661626481405804</c:v>
                </c:pt>
                <c:pt idx="3">
                  <c:v>0.2576709796672828</c:v>
                </c:pt>
                <c:pt idx="4">
                  <c:v>0.2545757071547421</c:v>
                </c:pt>
                <c:pt idx="5">
                  <c:v>0.24957264957264957</c:v>
                </c:pt>
                <c:pt idx="6">
                  <c:v>0.22037125178486436</c:v>
                </c:pt>
                <c:pt idx="7">
                  <c:v>0.2268041237113402</c:v>
                </c:pt>
                <c:pt idx="8">
                  <c:v>0.21259309410968177</c:v>
                </c:pt>
                <c:pt idx="9">
                  <c:v>0.2487012987012987</c:v>
                </c:pt>
                <c:pt idx="10">
                  <c:v>0.2536057692307692</c:v>
                </c:pt>
                <c:pt idx="11">
                  <c:v>0.23016650342801176</c:v>
                </c:pt>
                <c:pt idx="12">
                  <c:v>0.23159434422233058</c:v>
                </c:pt>
                <c:pt idx="13">
                  <c:v>0.2338235294117647</c:v>
                </c:pt>
                <c:pt idx="14">
                  <c:v>0.20257234726688103</c:v>
                </c:pt>
                <c:pt idx="15">
                  <c:v>0.22913165266106442</c:v>
                </c:pt>
                <c:pt idx="16">
                  <c:v>0.19851116625310175</c:v>
                </c:pt>
                <c:pt idx="17">
                  <c:v>0.19716407832545577</c:v>
                </c:pt>
                <c:pt idx="18">
                  <c:v>0.20904836193447737</c:v>
                </c:pt>
                <c:pt idx="19">
                  <c:v>0.23145780051150894</c:v>
                </c:pt>
                <c:pt idx="20">
                  <c:v>0.21305595408895264</c:v>
                </c:pt>
                <c:pt idx="21">
                  <c:v>0.2238667900092507</c:v>
                </c:pt>
                <c:pt idx="22">
                  <c:v>0.2396135265700483</c:v>
                </c:pt>
                <c:pt idx="23">
                  <c:v>0.23921971252566734</c:v>
                </c:pt>
                <c:pt idx="24">
                  <c:v>0.23748773307163887</c:v>
                </c:pt>
                <c:pt idx="25">
                  <c:v>0.22316684378320936</c:v>
                </c:pt>
                <c:pt idx="26">
                  <c:v>0.2</c:v>
                </c:pt>
                <c:pt idx="27">
                  <c:v>0.20844564240790656</c:v>
                </c:pt>
                <c:pt idx="28">
                  <c:v>0.21981681931723562</c:v>
                </c:pt>
                <c:pt idx="29">
                  <c:v>0.21773399014778325</c:v>
                </c:pt>
                <c:pt idx="30">
                  <c:v>0.22810590631364563</c:v>
                </c:pt>
                <c:pt idx="31">
                  <c:v>0.2082294264339152</c:v>
                </c:pt>
                <c:pt idx="32">
                  <c:v>0.20247469066366705</c:v>
                </c:pt>
                <c:pt idx="33">
                  <c:v>0.2278876170655567</c:v>
                </c:pt>
                <c:pt idx="34">
                  <c:v>0.2430453879941435</c:v>
                </c:pt>
                <c:pt idx="35">
                  <c:v>0.2591486183719193</c:v>
                </c:pt>
                <c:pt idx="36">
                  <c:v>0.22600243013365734</c:v>
                </c:pt>
                <c:pt idx="37">
                  <c:v>0.21621621621621623</c:v>
                </c:pt>
                <c:pt idx="38">
                  <c:v>0.2645739910313901</c:v>
                </c:pt>
                <c:pt idx="39">
                  <c:v>0.2979876160990712</c:v>
                </c:pt>
                <c:pt idx="40">
                  <c:v>0.2741007194244604</c:v>
                </c:pt>
                <c:pt idx="41">
                  <c:v>0.2736220472440945</c:v>
                </c:pt>
                <c:pt idx="42">
                  <c:v>0.268346923647146</c:v>
                </c:pt>
                <c:pt idx="43">
                  <c:v>0.2779569892473118</c:v>
                </c:pt>
                <c:pt idx="44">
                  <c:v>0.27756833176248824</c:v>
                </c:pt>
                <c:pt idx="45">
                  <c:v>0.27578215527230593</c:v>
                </c:pt>
                <c:pt idx="46">
                  <c:v>0.30251694094869314</c:v>
                </c:pt>
                <c:pt idx="47">
                  <c:v>0.3085606773283161</c:v>
                </c:pt>
                <c:pt idx="48">
                  <c:v>0.32023943135054245</c:v>
                </c:pt>
                <c:pt idx="49">
                  <c:v>0.33222701626286094</c:v>
                </c:pt>
                <c:pt idx="50">
                  <c:v>0.3575506989564875</c:v>
                </c:pt>
                <c:pt idx="51">
                  <c:v>0.32110969387755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504071704341976</c:v>
                </c:pt>
              </c:numCache>
            </c:numRef>
          </c:xVal>
          <c:yVal>
            <c:numRef>
              <c:f>Sheet1!$B$163:$B$164</c:f>
              <c:numCache>
                <c:formatCode>General</c:formatCode>
                <c:ptCount val="2"/>
                <c:pt idx="0">
                  <c:v>0.35922077961034843</c:v>
                </c:pt>
                <c:pt idx="1">
                  <c:v>0.3592207796103484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504071704341976</c:v>
                </c:pt>
                <c:pt idx="1">
                  <c:v>1.504071704341976</c:v>
                </c:pt>
              </c:numCache>
            </c:numRef>
          </c:xVal>
          <c:yVal>
            <c:numRef>
              <c:f>Sheet1!$B$167:$B$168</c:f>
              <c:numCache>
                <c:formatCode>General</c:formatCode>
                <c:ptCount val="2"/>
                <c:pt idx="0">
                  <c:v>0.359220779610348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6116046077818065</c:v>
                </c:pt>
              </c:numCache>
            </c:numRef>
          </c:xVal>
          <c:yVal>
            <c:numRef>
              <c:f>Sheet1!$B$171:$B$172</c:f>
              <c:numCache>
                <c:formatCode>General</c:formatCode>
                <c:ptCount val="2"/>
                <c:pt idx="0">
                  <c:v>0.3327817101118605</c:v>
                </c:pt>
                <c:pt idx="1">
                  <c:v>0.332781710111860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6116046077818065</c:v>
                </c:pt>
                <c:pt idx="1">
                  <c:v>1.6116046077818065</c:v>
                </c:pt>
              </c:numCache>
            </c:numRef>
          </c:xVal>
          <c:yVal>
            <c:numRef>
              <c:f>Sheet1!$B$175:$B$176</c:f>
              <c:numCache>
                <c:formatCode>General</c:formatCode>
                <c:ptCount val="2"/>
                <c:pt idx="0">
                  <c:v>0.33278171011186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7488233832857192</c:v>
                </c:pt>
              </c:numCache>
            </c:numRef>
          </c:xVal>
          <c:yVal>
            <c:numRef>
              <c:f>Sheet1!$B$179:$B$180</c:f>
              <c:numCache>
                <c:formatCode>General</c:formatCode>
                <c:ptCount val="2"/>
                <c:pt idx="0">
                  <c:v>0.2990437878016407</c:v>
                </c:pt>
                <c:pt idx="1">
                  <c:v>0.299043787801640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7488233832857192</c:v>
                </c:pt>
                <c:pt idx="1">
                  <c:v>1.7488233832857192</c:v>
                </c:pt>
              </c:numCache>
            </c:numRef>
          </c:xVal>
          <c:yVal>
            <c:numRef>
              <c:f>Sheet1!$B$183:$B$184</c:f>
              <c:numCache>
                <c:formatCode>General</c:formatCode>
                <c:ptCount val="2"/>
                <c:pt idx="0">
                  <c:v>0.29904378780164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9299697356968804</c:v>
                </c:pt>
                <c:pt idx="1">
                  <c:v>1.941906306593641</c:v>
                </c:pt>
                <c:pt idx="2">
                  <c:v>1.957215077693033</c:v>
                </c:pt>
                <c:pt idx="3">
                  <c:v>1.9740734183439566</c:v>
                </c:pt>
                <c:pt idx="4">
                  <c:v>2.0058509180440103</c:v>
                </c:pt>
                <c:pt idx="5">
                  <c:v>2.0066787517145763</c:v>
                </c:pt>
                <c:pt idx="6">
                  <c:v>1.9976132977767163</c:v>
                </c:pt>
                <c:pt idx="7">
                  <c:v>2.034981464535544</c:v>
                </c:pt>
                <c:pt idx="8">
                  <c:v>2.0616787849282336</c:v>
                </c:pt>
                <c:pt idx="9">
                  <c:v>1.908943421850754</c:v>
                </c:pt>
                <c:pt idx="10">
                  <c:v>1.91408805311041</c:v>
                </c:pt>
                <c:pt idx="11">
                  <c:v>1.9986726772780394</c:v>
                </c:pt>
                <c:pt idx="12">
                  <c:v>1.9584462958843123</c:v>
                </c:pt>
                <c:pt idx="13">
                  <c:v>1.8236587151693988</c:v>
                </c:pt>
                <c:pt idx="14">
                  <c:v>1.9776314202898364</c:v>
                </c:pt>
                <c:pt idx="15">
                  <c:v>1.844448064571902</c:v>
                </c:pt>
                <c:pt idx="16">
                  <c:v>1.979844111665149</c:v>
                </c:pt>
                <c:pt idx="17">
                  <c:v>1.9692344856344222</c:v>
                </c:pt>
                <c:pt idx="18">
                  <c:v>2.0424188915394637</c:v>
                </c:pt>
                <c:pt idx="19">
                  <c:v>2.0156094478313276</c:v>
                </c:pt>
                <c:pt idx="20">
                  <c:v>1.9069739111682642</c:v>
                </c:pt>
                <c:pt idx="21">
                  <c:v>1.8737181896126542</c:v>
                </c:pt>
                <c:pt idx="22">
                  <c:v>1.8533946912348356</c:v>
                </c:pt>
                <c:pt idx="23">
                  <c:v>1.930486862267237</c:v>
                </c:pt>
                <c:pt idx="24">
                  <c:v>1.9950486129629763</c:v>
                </c:pt>
                <c:pt idx="25">
                  <c:v>2.0699859261145637</c:v>
                </c:pt>
                <c:pt idx="26">
                  <c:v>2.072945299882667</c:v>
                </c:pt>
                <c:pt idx="27">
                  <c:v>2.024079707458006</c:v>
                </c:pt>
                <c:pt idx="28">
                  <c:v>2.0837403303569</c:v>
                </c:pt>
                <c:pt idx="29">
                  <c:v>2.086208867055619</c:v>
                </c:pt>
                <c:pt idx="30">
                  <c:v>2.0422743598608104</c:v>
                </c:pt>
                <c:pt idx="31">
                  <c:v>2.0378412137343216</c:v>
                </c:pt>
                <c:pt idx="32">
                  <c:v>2.0733161448639112</c:v>
                </c:pt>
                <c:pt idx="33">
                  <c:v>2.0886571828592633</c:v>
                </c:pt>
                <c:pt idx="34">
                  <c:v>2.142984683797986</c:v>
                </c:pt>
                <c:pt idx="35">
                  <c:v>2.14967456553754</c:v>
                </c:pt>
                <c:pt idx="36">
                  <c:v>2.0225775364303984</c:v>
                </c:pt>
                <c:pt idx="37">
                  <c:v>1.9696145457993552</c:v>
                </c:pt>
                <c:pt idx="38">
                  <c:v>2.043644806135865</c:v>
                </c:pt>
                <c:pt idx="39">
                  <c:v>1.9592048575926175</c:v>
                </c:pt>
                <c:pt idx="40">
                  <c:v>1.9497936028078986</c:v>
                </c:pt>
                <c:pt idx="41">
                  <c:v>1.9305124043808302</c:v>
                </c:pt>
                <c:pt idx="42">
                  <c:v>1.9619782369793486</c:v>
                </c:pt>
                <c:pt idx="43">
                  <c:v>1.94811164784319</c:v>
                </c:pt>
                <c:pt idx="44">
                  <c:v>1.9240845931109525</c:v>
                </c:pt>
                <c:pt idx="45">
                  <c:v>1.903358254746983</c:v>
                </c:pt>
                <c:pt idx="46">
                  <c:v>1.922568412628722</c:v>
                </c:pt>
                <c:pt idx="47">
                  <c:v>1.9021176656635133</c:v>
                </c:pt>
                <c:pt idx="48">
                  <c:v>1.7815346592802146</c:v>
                </c:pt>
                <c:pt idx="49">
                  <c:v>1.7528849047268598</c:v>
                </c:pt>
                <c:pt idx="50">
                  <c:v>1.743176923135794</c:v>
                </c:pt>
                <c:pt idx="51">
                  <c:v>1.752226613205454</c:v>
                </c:pt>
                <c:pt idx="52">
                  <c:v>1.6116046077818065</c:v>
                </c:pt>
                <c:pt idx="53">
                  <c:v>1.504071704341976</c:v>
                </c:pt>
                <c:pt idx="54">
                  <c:v>1.7488233832857192</c:v>
                </c:pt>
              </c:numCache>
            </c:numRef>
          </c:xVal>
          <c:yVal>
            <c:numRef>
              <c:f>Sheet1!$B$187:$B$241</c:f>
              <c:numCache>
                <c:formatCode>General</c:formatCode>
                <c:ptCount val="55"/>
                <c:pt idx="0">
                  <c:v>0.25450541073200145</c:v>
                </c:pt>
                <c:pt idx="1">
                  <c:v>0.2515705710929911</c:v>
                </c:pt>
                <c:pt idx="2">
                  <c:v>0.2478066100160939</c:v>
                </c:pt>
                <c:pt idx="3">
                  <c:v>0.24366165692879677</c:v>
                </c:pt>
                <c:pt idx="4">
                  <c:v>0.23584853651465287</c:v>
                </c:pt>
                <c:pt idx="5">
                  <c:v>0.23564499740012007</c:v>
                </c:pt>
                <c:pt idx="6">
                  <c:v>0.23787391672649666</c:v>
                </c:pt>
                <c:pt idx="7">
                  <c:v>0.2286862213666243</c:v>
                </c:pt>
                <c:pt idx="8">
                  <c:v>0.22212216249062944</c:v>
                </c:pt>
                <c:pt idx="9">
                  <c:v>0.2596751416263766</c:v>
                </c:pt>
                <c:pt idx="10">
                  <c:v>0.2584102333139711</c:v>
                </c:pt>
                <c:pt idx="11">
                  <c:v>0.23761344753646468</c:v>
                </c:pt>
                <c:pt idx="12">
                  <c:v>0.2475038909200244</c:v>
                </c:pt>
                <c:pt idx="13">
                  <c:v>0.28064405639550305</c:v>
                </c:pt>
                <c:pt idx="14">
                  <c:v>0.24278685249486354</c:v>
                </c:pt>
                <c:pt idx="15">
                  <c:v>0.2755325878486812</c:v>
                </c:pt>
                <c:pt idx="16">
                  <c:v>0.24224281900205147</c:v>
                </c:pt>
                <c:pt idx="17">
                  <c:v>0.2448514032679484</c:v>
                </c:pt>
                <c:pt idx="18">
                  <c:v>0.22685758433408487</c:v>
                </c:pt>
                <c:pt idx="19">
                  <c:v>0.23344921092223725</c:v>
                </c:pt>
                <c:pt idx="20">
                  <c:v>0.26015938438507324</c:v>
                </c:pt>
                <c:pt idx="21">
                  <c:v>0.26833595458177695</c:v>
                </c:pt>
                <c:pt idx="22">
                  <c:v>0.27333288453414467</c:v>
                </c:pt>
                <c:pt idx="23">
                  <c:v>0.2543782650408147</c:v>
                </c:pt>
                <c:pt idx="24">
                  <c:v>0.2385044946971745</c:v>
                </c:pt>
                <c:pt idx="25">
                  <c:v>0.22007968919981913</c:v>
                </c:pt>
                <c:pt idx="26">
                  <c:v>0.21935206922282613</c:v>
                </c:pt>
                <c:pt idx="27">
                  <c:v>0.23136663176947314</c:v>
                </c:pt>
                <c:pt idx="28">
                  <c:v>0.21669789964480246</c:v>
                </c:pt>
                <c:pt idx="29">
                  <c:v>0.21609096157050867</c:v>
                </c:pt>
                <c:pt idx="30">
                  <c:v>0.2268931202768001</c:v>
                </c:pt>
                <c:pt idx="31">
                  <c:v>0.22798309604036515</c:v>
                </c:pt>
                <c:pt idx="32">
                  <c:v>0.2192608897240993</c:v>
                </c:pt>
                <c:pt idx="33">
                  <c:v>0.21548899519913645</c:v>
                </c:pt>
                <c:pt idx="34">
                  <c:v>0.20213151551570374</c:v>
                </c:pt>
                <c:pt idx="35">
                  <c:v>0.2004866771212146</c:v>
                </c:pt>
                <c:pt idx="36">
                  <c:v>0.2317359699248383</c:v>
                </c:pt>
                <c:pt idx="37">
                  <c:v>0.24475795803590467</c:v>
                </c:pt>
                <c:pt idx="38">
                  <c:v>0.22655616923064525</c:v>
                </c:pt>
                <c:pt idx="39">
                  <c:v>0.24731738367356104</c:v>
                </c:pt>
                <c:pt idx="40">
                  <c:v>0.249631324907933</c:v>
                </c:pt>
                <c:pt idx="41">
                  <c:v>0.25437198501214603</c:v>
                </c:pt>
                <c:pt idx="42">
                  <c:v>0.24663549405646829</c:v>
                </c:pt>
                <c:pt idx="43">
                  <c:v>0.2500448664638916</c:v>
                </c:pt>
                <c:pt idx="44">
                  <c:v>0.25595238825107236</c:v>
                </c:pt>
                <c:pt idx="45">
                  <c:v>0.26104836430049416</c:v>
                </c:pt>
                <c:pt idx="46">
                  <c:v>0.2563251709051218</c:v>
                </c:pt>
                <c:pt idx="47">
                  <c:v>0.2613533874138641</c:v>
                </c:pt>
                <c:pt idx="48">
                  <c:v>0.29100108020482957</c:v>
                </c:pt>
                <c:pt idx="49">
                  <c:v>0.2980451832423209</c:v>
                </c:pt>
                <c:pt idx="50">
                  <c:v>0.30043208057109844</c:v>
                </c:pt>
                <c:pt idx="51">
                  <c:v>0.2982070371003305</c:v>
                </c:pt>
                <c:pt idx="52">
                  <c:v>0.3327817101118605</c:v>
                </c:pt>
                <c:pt idx="53">
                  <c:v>0.35922077961034843</c:v>
                </c:pt>
                <c:pt idx="54">
                  <c:v>0.29904378780164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60607704829083"/>
          <c:min val="0.1376854599406528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3.4784</c:v>
                </c:pt>
                <c:pt idx="1">
                  <c:v>924.2886</c:v>
                </c:pt>
                <c:pt idx="2">
                  <c:v>928.9563</c:v>
                </c:pt>
                <c:pt idx="3">
                  <c:v>923.5355</c:v>
                </c:pt>
                <c:pt idx="4">
                  <c:v>897.8341</c:v>
                </c:pt>
                <c:pt idx="5">
                  <c:v>858.6296</c:v>
                </c:pt>
                <c:pt idx="6">
                  <c:v>833.2201</c:v>
                </c:pt>
                <c:pt idx="7">
                  <c:v>825.6381</c:v>
                </c:pt>
                <c:pt idx="8">
                  <c:v>829.2556</c:v>
                </c:pt>
                <c:pt idx="9">
                  <c:v>803.3995</c:v>
                </c:pt>
                <c:pt idx="10">
                  <c:v>736.0563</c:v>
                </c:pt>
                <c:pt idx="11">
                  <c:v>726.824</c:v>
                </c:pt>
                <c:pt idx="12">
                  <c:v>768.4242</c:v>
                </c:pt>
                <c:pt idx="13">
                  <c:v>705.7289</c:v>
                </c:pt>
                <c:pt idx="14">
                  <c:v>869.0942</c:v>
                </c:pt>
                <c:pt idx="15">
                  <c:v>876.3908</c:v>
                </c:pt>
                <c:pt idx="16">
                  <c:v>919.2013</c:v>
                </c:pt>
                <c:pt idx="17">
                  <c:v>965.464</c:v>
                </c:pt>
                <c:pt idx="18">
                  <c:v>959.9223</c:v>
                </c:pt>
                <c:pt idx="19">
                  <c:v>957.3208</c:v>
                </c:pt>
                <c:pt idx="20">
                  <c:v>990.5422</c:v>
                </c:pt>
                <c:pt idx="21">
                  <c:v>983.6402</c:v>
                </c:pt>
                <c:pt idx="22">
                  <c:v>987.6957</c:v>
                </c:pt>
                <c:pt idx="23">
                  <c:v>985.4886</c:v>
                </c:pt>
                <c:pt idx="24">
                  <c:v>999.8042</c:v>
                </c:pt>
                <c:pt idx="25">
                  <c:v>994.4654</c:v>
                </c:pt>
                <c:pt idx="26">
                  <c:v>969.6018</c:v>
                </c:pt>
                <c:pt idx="27">
                  <c:v>974.996</c:v>
                </c:pt>
                <c:pt idx="28">
                  <c:v>975.1781</c:v>
                </c:pt>
                <c:pt idx="29">
                  <c:v>1028.637</c:v>
                </c:pt>
                <c:pt idx="30">
                  <c:v>1000.7056</c:v>
                </c:pt>
                <c:pt idx="31">
                  <c:v>1007.6816</c:v>
                </c:pt>
                <c:pt idx="32">
                  <c:v>1027.3083</c:v>
                </c:pt>
                <c:pt idx="33">
                  <c:v>1037.9776</c:v>
                </c:pt>
                <c:pt idx="34">
                  <c:v>1034.0625</c:v>
                </c:pt>
                <c:pt idx="35">
                  <c:v>1036.9604</c:v>
                </c:pt>
                <c:pt idx="36">
                  <c:v>1027.2975</c:v>
                </c:pt>
                <c:pt idx="37">
                  <c:v>1054.4516</c:v>
                </c:pt>
                <c:pt idx="38">
                  <c:v>1060.9607</c:v>
                </c:pt>
                <c:pt idx="39">
                  <c:v>1122.7689</c:v>
                </c:pt>
                <c:pt idx="40">
                  <c:v>1181.9241</c:v>
                </c:pt>
                <c:pt idx="41">
                  <c:v>1179.6126</c:v>
                </c:pt>
                <c:pt idx="42">
                  <c:v>1171.88</c:v>
                </c:pt>
                <c:pt idx="43">
                  <c:v>1173.9397</c:v>
                </c:pt>
                <c:pt idx="44">
                  <c:v>1192.3263</c:v>
                </c:pt>
                <c:pt idx="45">
                  <c:v>1196.2815</c:v>
                </c:pt>
                <c:pt idx="46">
                  <c:v>1156.875</c:v>
                </c:pt>
                <c:pt idx="47">
                  <c:v>1138.4759</c:v>
                </c:pt>
                <c:pt idx="48">
                  <c:v>1080.5036</c:v>
                </c:pt>
                <c:pt idx="49">
                  <c:v>996.8511</c:v>
                </c:pt>
                <c:pt idx="50">
                  <c:v>1053.5802</c:v>
                </c:pt>
                <c:pt idx="51">
                  <c:v>1044.7357</c:v>
                </c:pt>
                <c:pt idx="52">
                  <c:v>1044.2787</c:v>
                </c:pt>
                <c:pt idx="53">
                  <c:v>1209.8886</c:v>
                </c:pt>
                <c:pt idx="54">
                  <c:v>1211.5956</c:v>
                </c:pt>
                <c:pt idx="55">
                  <c:v>1206.5714</c:v>
                </c:pt>
                <c:pt idx="56">
                  <c:v>1190.4927</c:v>
                </c:pt>
                <c:pt idx="57">
                  <c:v>1194.3705</c:v>
                </c:pt>
                <c:pt idx="58">
                  <c:v>1196.714</c:v>
                </c:pt>
                <c:pt idx="59">
                  <c:v>1202.7661</c:v>
                </c:pt>
                <c:pt idx="60">
                  <c:v>1212.9897</c:v>
                </c:pt>
                <c:pt idx="61">
                  <c:v>1164.976</c:v>
                </c:pt>
                <c:pt idx="62">
                  <c:v>1071.8587</c:v>
                </c:pt>
                <c:pt idx="63">
                  <c:v>1082.2465</c:v>
                </c:pt>
                <c:pt idx="64">
                  <c:v>1107.2259</c:v>
                </c:pt>
                <c:pt idx="65">
                  <c:v>1074.89</c:v>
                </c:pt>
                <c:pt idx="66">
                  <c:v>1160.1052</c:v>
                </c:pt>
                <c:pt idx="67">
                  <c:v>1199.26</c:v>
                </c:pt>
                <c:pt idx="68">
                  <c:v>1181.5855</c:v>
                </c:pt>
                <c:pt idx="69">
                  <c:v>1237.1495</c:v>
                </c:pt>
                <c:pt idx="70">
                  <c:v>1246.9</c:v>
                </c:pt>
                <c:pt idx="71">
                  <c:v>1236.2716</c:v>
                </c:pt>
                <c:pt idx="72">
                  <c:v>1225.7472</c:v>
                </c:pt>
                <c:pt idx="73">
                  <c:v>1228.5161</c:v>
                </c:pt>
                <c:pt idx="74">
                  <c:v>1225.0656</c:v>
                </c:pt>
                <c:pt idx="75">
                  <c:v>1225.6749</c:v>
                </c:pt>
                <c:pt idx="76">
                  <c:v>1148.8853</c:v>
                </c:pt>
                <c:pt idx="77">
                  <c:v>1140.4251</c:v>
                </c:pt>
                <c:pt idx="78">
                  <c:v>1123.2958</c:v>
                </c:pt>
                <c:pt idx="79">
                  <c:v>1110.9289</c:v>
                </c:pt>
                <c:pt idx="80">
                  <c:v>1161.861</c:v>
                </c:pt>
                <c:pt idx="81">
                  <c:v>1256.5761</c:v>
                </c:pt>
                <c:pt idx="82">
                  <c:v>1256.2069</c:v>
                </c:pt>
                <c:pt idx="83">
                  <c:v>1221.0813</c:v>
                </c:pt>
                <c:pt idx="84">
                  <c:v>1273.4228</c:v>
                </c:pt>
                <c:pt idx="85">
                  <c:v>1300.8923</c:v>
                </c:pt>
                <c:pt idx="86">
                  <c:v>1311.6791</c:v>
                </c:pt>
                <c:pt idx="87">
                  <c:v>1288.9754</c:v>
                </c:pt>
                <c:pt idx="88">
                  <c:v>1279.0341</c:v>
                </c:pt>
                <c:pt idx="89">
                  <c:v>1307.3765</c:v>
                </c:pt>
                <c:pt idx="90">
                  <c:v>1303.2418</c:v>
                </c:pt>
                <c:pt idx="91">
                  <c:v>1311.5593</c:v>
                </c:pt>
                <c:pt idx="92">
                  <c:v>1260.5917</c:v>
                </c:pt>
                <c:pt idx="93">
                  <c:v>1262.9611</c:v>
                </c:pt>
                <c:pt idx="94">
                  <c:v>1239.185</c:v>
                </c:pt>
                <c:pt idx="95">
                  <c:v>1235.635</c:v>
                </c:pt>
                <c:pt idx="96">
                  <c:v>1172.1799</c:v>
                </c:pt>
                <c:pt idx="97">
                  <c:v>1195.1038</c:v>
                </c:pt>
                <c:pt idx="98">
                  <c:v>1161.8619</c:v>
                </c:pt>
                <c:pt idx="99">
                  <c:v>1152.3808</c:v>
                </c:pt>
                <c:pt idx="100">
                  <c:v>1111.2239</c:v>
                </c:pt>
                <c:pt idx="101">
                  <c:v>1218.3133</c:v>
                </c:pt>
                <c:pt idx="102">
                  <c:v>1202.6993</c:v>
                </c:pt>
                <c:pt idx="103">
                  <c:v>1153.0138</c:v>
                </c:pt>
                <c:pt idx="104">
                  <c:v>1148.2793</c:v>
                </c:pt>
              </c:numCache>
            </c:numRef>
          </c:xVal>
          <c:yVal>
            <c:numRef>
              <c:f>Sheet1!$B$2:$B$106</c:f>
              <c:numCache>
                <c:formatCode>General</c:formatCode>
                <c:ptCount val="105"/>
                <c:pt idx="0">
                  <c:v>0.2600106780565937</c:v>
                </c:pt>
                <c:pt idx="1">
                  <c:v>0.2777777777777778</c:v>
                </c:pt>
                <c:pt idx="2">
                  <c:v>0.2935897435897436</c:v>
                </c:pt>
                <c:pt idx="3">
                  <c:v>0.286745406824147</c:v>
                </c:pt>
                <c:pt idx="4">
                  <c:v>0.3491346877351392</c:v>
                </c:pt>
                <c:pt idx="5">
                  <c:v>0.4324712643678161</c:v>
                </c:pt>
                <c:pt idx="6">
                  <c:v>0.43647416413373863</c:v>
                </c:pt>
                <c:pt idx="7">
                  <c:v>0.43015983321751217</c:v>
                </c:pt>
                <c:pt idx="8">
                  <c:v>0.4666234607906675</c:v>
                </c:pt>
                <c:pt idx="9">
                  <c:v>0.4671730873575692</c:v>
                </c:pt>
                <c:pt idx="10">
                  <c:v>0.4513922813873962</c:v>
                </c:pt>
                <c:pt idx="11">
                  <c:v>0.44742831133363675</c:v>
                </c:pt>
                <c:pt idx="12">
                  <c:v>0.4079283887468031</c:v>
                </c:pt>
                <c:pt idx="13">
                  <c:v>0.39940387481371087</c:v>
                </c:pt>
                <c:pt idx="14">
                  <c:v>0.3453887884267631</c:v>
                </c:pt>
                <c:pt idx="15">
                  <c:v>0.29555236728837875</c:v>
                </c:pt>
                <c:pt idx="16">
                  <c:v>0.26583407671721676</c:v>
                </c:pt>
                <c:pt idx="17">
                  <c:v>0.2286302780638517</c:v>
                </c:pt>
                <c:pt idx="18">
                  <c:v>0.21981776765375854</c:v>
                </c:pt>
                <c:pt idx="19">
                  <c:v>0.22362869198312235</c:v>
                </c:pt>
                <c:pt idx="20">
                  <c:v>0.25626423690205014</c:v>
                </c:pt>
                <c:pt idx="21">
                  <c:v>0.2371392722710163</c:v>
                </c:pt>
                <c:pt idx="22">
                  <c:v>0.20175438596491227</c:v>
                </c:pt>
                <c:pt idx="23">
                  <c:v>0.2569343065693431</c:v>
                </c:pt>
                <c:pt idx="24">
                  <c:v>0.25609756097560976</c:v>
                </c:pt>
                <c:pt idx="25">
                  <c:v>0.2362555720653789</c:v>
                </c:pt>
                <c:pt idx="26">
                  <c:v>0.2634088200238379</c:v>
                </c:pt>
                <c:pt idx="27">
                  <c:v>0.29350348027842227</c:v>
                </c:pt>
                <c:pt idx="28">
                  <c:v>0.2882147024504084</c:v>
                </c:pt>
                <c:pt idx="29">
                  <c:v>0.3048016701461378</c:v>
                </c:pt>
                <c:pt idx="30">
                  <c:v>0.31794871794871793</c:v>
                </c:pt>
                <c:pt idx="31">
                  <c:v>0.3101529902642559</c:v>
                </c:pt>
                <c:pt idx="32">
                  <c:v>0.328998699609883</c:v>
                </c:pt>
                <c:pt idx="33">
                  <c:v>0.2958057395143488</c:v>
                </c:pt>
                <c:pt idx="34">
                  <c:v>0.3207126948775056</c:v>
                </c:pt>
                <c:pt idx="35">
                  <c:v>0.3730484798685292</c:v>
                </c:pt>
                <c:pt idx="36">
                  <c:v>0.3312043795620438</c:v>
                </c:pt>
                <c:pt idx="37">
                  <c:v>0.31138392857142855</c:v>
                </c:pt>
                <c:pt idx="38">
                  <c:v>0.30042918454935624</c:v>
                </c:pt>
                <c:pt idx="39">
                  <c:v>0.2960199004975124</c:v>
                </c:pt>
                <c:pt idx="40">
                  <c:v>0.29471544715447157</c:v>
                </c:pt>
                <c:pt idx="41">
                  <c:v>0.27832783278327833</c:v>
                </c:pt>
                <c:pt idx="42">
                  <c:v>0.28991971454058874</c:v>
                </c:pt>
                <c:pt idx="43">
                  <c:v>0.29578606158833065</c:v>
                </c:pt>
                <c:pt idx="44">
                  <c:v>0.26377708978328174</c:v>
                </c:pt>
                <c:pt idx="45">
                  <c:v>0.25245522819179667</c:v>
                </c:pt>
                <c:pt idx="46">
                  <c:v>0.26373626373626374</c:v>
                </c:pt>
                <c:pt idx="47">
                  <c:v>0.2404138770541692</c:v>
                </c:pt>
                <c:pt idx="48">
                  <c:v>0.24582967515364354</c:v>
                </c:pt>
                <c:pt idx="49">
                  <c:v>0.24869482676791646</c:v>
                </c:pt>
                <c:pt idx="50">
                  <c:v>0.24932614555256064</c:v>
                </c:pt>
                <c:pt idx="51">
                  <c:v>0.2632398753894081</c:v>
                </c:pt>
                <c:pt idx="52">
                  <c:v>0.25079945180447694</c:v>
                </c:pt>
                <c:pt idx="53">
                  <c:v>0.21746478873239436</c:v>
                </c:pt>
                <c:pt idx="54">
                  <c:v>0.21578003586371788</c:v>
                </c:pt>
                <c:pt idx="55">
                  <c:v>0.22264631043256997</c:v>
                </c:pt>
                <c:pt idx="56">
                  <c:v>0.2506112469437653</c:v>
                </c:pt>
                <c:pt idx="57">
                  <c:v>0.23627002288329518</c:v>
                </c:pt>
                <c:pt idx="58">
                  <c:v>0.2308085977482088</c:v>
                </c:pt>
                <c:pt idx="59">
                  <c:v>0.18940609951845908</c:v>
                </c:pt>
                <c:pt idx="60">
                  <c:v>0.19972593353888318</c:v>
                </c:pt>
                <c:pt idx="61">
                  <c:v>0.22555282555282555</c:v>
                </c:pt>
                <c:pt idx="62">
                  <c:v>0.24134312696747115</c:v>
                </c:pt>
                <c:pt idx="63">
                  <c:v>0.24294268605645852</c:v>
                </c:pt>
                <c:pt idx="64">
                  <c:v>0.22603599832565927</c:v>
                </c:pt>
                <c:pt idx="65">
                  <c:v>0.2343891402714932</c:v>
                </c:pt>
                <c:pt idx="66">
                  <c:v>0.22414622414622415</c:v>
                </c:pt>
                <c:pt idx="67">
                  <c:v>0.20857988165680474</c:v>
                </c:pt>
                <c:pt idx="68">
                  <c:v>0.18498659517426275</c:v>
                </c:pt>
                <c:pt idx="69">
                  <c:v>0.17526617526617527</c:v>
                </c:pt>
                <c:pt idx="70">
                  <c:v>0.19636363636363635</c:v>
                </c:pt>
                <c:pt idx="71">
                  <c:v>0.17210682492581603</c:v>
                </c:pt>
                <c:pt idx="72">
                  <c:v>0.18714689265536724</c:v>
                </c:pt>
                <c:pt idx="73">
                  <c:v>0.181021897810219</c:v>
                </c:pt>
                <c:pt idx="74">
                  <c:v>0.18181818181818182</c:v>
                </c:pt>
                <c:pt idx="75">
                  <c:v>0.17698343504795117</c:v>
                </c:pt>
                <c:pt idx="76">
                  <c:v>0.20742150333016174</c:v>
                </c:pt>
                <c:pt idx="77">
                  <c:v>0.20353982300884957</c:v>
                </c:pt>
                <c:pt idx="78">
                  <c:v>0.22164412070759626</c:v>
                </c:pt>
                <c:pt idx="79">
                  <c:v>0.23860021208907742</c:v>
                </c:pt>
                <c:pt idx="80">
                  <c:v>0.23498419388830347</c:v>
                </c:pt>
                <c:pt idx="81">
                  <c:v>0.216</c:v>
                </c:pt>
                <c:pt idx="82">
                  <c:v>0.20616113744075829</c:v>
                </c:pt>
                <c:pt idx="83">
                  <c:v>0.18330849478390462</c:v>
                </c:pt>
                <c:pt idx="84">
                  <c:v>0.18303571428571427</c:v>
                </c:pt>
                <c:pt idx="85">
                  <c:v>0.18950437317784258</c:v>
                </c:pt>
                <c:pt idx="86">
                  <c:v>0.19957310565635006</c:v>
                </c:pt>
                <c:pt idx="87">
                  <c:v>0.23127962085308057</c:v>
                </c:pt>
                <c:pt idx="88">
                  <c:v>0.22777777777777777</c:v>
                </c:pt>
                <c:pt idx="89">
                  <c:v>0.19901719901719903</c:v>
                </c:pt>
                <c:pt idx="90">
                  <c:v>0.19318181818181818</c:v>
                </c:pt>
                <c:pt idx="91">
                  <c:v>0.20045300113250283</c:v>
                </c:pt>
                <c:pt idx="92">
                  <c:v>0.23143683702989393</c:v>
                </c:pt>
                <c:pt idx="93">
                  <c:v>0.21632996632996632</c:v>
                </c:pt>
                <c:pt idx="94">
                  <c:v>0.21390374331550802</c:v>
                </c:pt>
                <c:pt idx="95">
                  <c:v>0.20206489675516223</c:v>
                </c:pt>
                <c:pt idx="96">
                  <c:v>0.2222222222222222</c:v>
                </c:pt>
                <c:pt idx="97">
                  <c:v>0.22684026039058588</c:v>
                </c:pt>
                <c:pt idx="98">
                  <c:v>0.22148760330578512</c:v>
                </c:pt>
                <c:pt idx="99">
                  <c:v>0.23511093810821332</c:v>
                </c:pt>
                <c:pt idx="100">
                  <c:v>0.25372781065088756</c:v>
                </c:pt>
                <c:pt idx="101">
                  <c:v>0.22573363431151242</c:v>
                </c:pt>
                <c:pt idx="102">
                  <c:v>0.24556962025316456</c:v>
                </c:pt>
                <c:pt idx="103">
                  <c:v>0.23472278429785512</c:v>
                </c:pt>
                <c:pt idx="104">
                  <c:v>0.2415094339622641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4.4972</c:v>
                </c:pt>
                <c:pt idx="1">
                  <c:v>1220.1543</c:v>
                </c:pt>
                <c:pt idx="2">
                  <c:v>1227.0345</c:v>
                </c:pt>
                <c:pt idx="3">
                  <c:v>1222.0387</c:v>
                </c:pt>
                <c:pt idx="4">
                  <c:v>1222.9314</c:v>
                </c:pt>
                <c:pt idx="5">
                  <c:v>1223.762</c:v>
                </c:pt>
                <c:pt idx="6">
                  <c:v>1231.1922</c:v>
                </c:pt>
                <c:pt idx="7">
                  <c:v>1231.3333</c:v>
                </c:pt>
                <c:pt idx="8">
                  <c:v>1250.1146</c:v>
                </c:pt>
                <c:pt idx="9">
                  <c:v>1132.6397</c:v>
                </c:pt>
                <c:pt idx="10">
                  <c:v>1153.9076</c:v>
                </c:pt>
                <c:pt idx="11">
                  <c:v>1238.3638</c:v>
                </c:pt>
                <c:pt idx="12">
                  <c:v>1233.32</c:v>
                </c:pt>
                <c:pt idx="13">
                  <c:v>1158.413</c:v>
                </c:pt>
                <c:pt idx="14">
                  <c:v>1234.9974</c:v>
                </c:pt>
                <c:pt idx="15">
                  <c:v>1144.6724</c:v>
                </c:pt>
                <c:pt idx="16">
                  <c:v>1233.8438</c:v>
                </c:pt>
                <c:pt idx="17">
                  <c:v>1241.5411</c:v>
                </c:pt>
                <c:pt idx="18">
                  <c:v>1275.1007</c:v>
                </c:pt>
                <c:pt idx="19">
                  <c:v>1249.6575</c:v>
                </c:pt>
                <c:pt idx="20">
                  <c:v>1199.101</c:v>
                </c:pt>
                <c:pt idx="21">
                  <c:v>1193.6488</c:v>
                </c:pt>
                <c:pt idx="22">
                  <c:v>1185.7782</c:v>
                </c:pt>
                <c:pt idx="23">
                  <c:v>1194.8455</c:v>
                </c:pt>
                <c:pt idx="24">
                  <c:v>1273.3306</c:v>
                </c:pt>
                <c:pt idx="25">
                  <c:v>1302.981</c:v>
                </c:pt>
                <c:pt idx="26">
                  <c:v>1304.7211</c:v>
                </c:pt>
                <c:pt idx="27">
                  <c:v>1289.3578</c:v>
                </c:pt>
                <c:pt idx="28">
                  <c:v>1309.6856</c:v>
                </c:pt>
                <c:pt idx="29">
                  <c:v>1283.2398</c:v>
                </c:pt>
                <c:pt idx="30">
                  <c:v>1284.2634</c:v>
                </c:pt>
                <c:pt idx="31">
                  <c:v>1271.5689</c:v>
                </c:pt>
                <c:pt idx="32">
                  <c:v>1292.0278</c:v>
                </c:pt>
                <c:pt idx="33">
                  <c:v>1300.7169</c:v>
                </c:pt>
                <c:pt idx="34">
                  <c:v>1293.5392</c:v>
                </c:pt>
                <c:pt idx="35">
                  <c:v>1283.6571</c:v>
                </c:pt>
                <c:pt idx="36">
                  <c:v>1263.2366</c:v>
                </c:pt>
                <c:pt idx="37">
                  <c:v>1246.2933</c:v>
                </c:pt>
                <c:pt idx="38">
                  <c:v>1261.3856</c:v>
                </c:pt>
                <c:pt idx="39">
                  <c:v>1229.6675</c:v>
                </c:pt>
                <c:pt idx="40">
                  <c:v>1217.6929</c:v>
                </c:pt>
                <c:pt idx="41">
                  <c:v>1225.458</c:v>
                </c:pt>
                <c:pt idx="42">
                  <c:v>1235.442</c:v>
                </c:pt>
                <c:pt idx="43">
                  <c:v>1223.6925</c:v>
                </c:pt>
                <c:pt idx="44">
                  <c:v>1193.9576</c:v>
                </c:pt>
                <c:pt idx="45">
                  <c:v>1188.0294</c:v>
                </c:pt>
                <c:pt idx="46">
                  <c:v>1190.6272</c:v>
                </c:pt>
                <c:pt idx="47">
                  <c:v>1188.3735</c:v>
                </c:pt>
                <c:pt idx="48">
                  <c:v>1113.2664</c:v>
                </c:pt>
                <c:pt idx="49">
                  <c:v>1088.7233</c:v>
                </c:pt>
                <c:pt idx="50">
                  <c:v>1070.5165</c:v>
                </c:pt>
                <c:pt idx="51">
                  <c:v>1074.9106</c:v>
                </c:pt>
              </c:numCache>
            </c:numRef>
          </c:xVal>
          <c:yVal>
            <c:numRef>
              <c:f>Sheet1!$B$109:$B$160</c:f>
              <c:numCache>
                <c:formatCode>General</c:formatCode>
                <c:ptCount val="52"/>
                <c:pt idx="0">
                  <c:v>0.23903508771929824</c:v>
                </c:pt>
                <c:pt idx="1">
                  <c:v>0.2225691347011597</c:v>
                </c:pt>
                <c:pt idx="2">
                  <c:v>0.23661626481405804</c:v>
                </c:pt>
                <c:pt idx="3">
                  <c:v>0.2576709796672828</c:v>
                </c:pt>
                <c:pt idx="4">
                  <c:v>0.2545757071547421</c:v>
                </c:pt>
                <c:pt idx="5">
                  <c:v>0.24957264957264957</c:v>
                </c:pt>
                <c:pt idx="6">
                  <c:v>0.22037125178486436</c:v>
                </c:pt>
                <c:pt idx="7">
                  <c:v>0.2268041237113402</c:v>
                </c:pt>
                <c:pt idx="8">
                  <c:v>0.21259309410968177</c:v>
                </c:pt>
                <c:pt idx="9">
                  <c:v>0.2487012987012987</c:v>
                </c:pt>
                <c:pt idx="10">
                  <c:v>0.2536057692307692</c:v>
                </c:pt>
                <c:pt idx="11">
                  <c:v>0.23016650342801176</c:v>
                </c:pt>
                <c:pt idx="12">
                  <c:v>0.23159434422233058</c:v>
                </c:pt>
                <c:pt idx="13">
                  <c:v>0.2338235294117647</c:v>
                </c:pt>
                <c:pt idx="14">
                  <c:v>0.20257234726688103</c:v>
                </c:pt>
                <c:pt idx="15">
                  <c:v>0.22913165266106442</c:v>
                </c:pt>
                <c:pt idx="16">
                  <c:v>0.19851116625310175</c:v>
                </c:pt>
                <c:pt idx="17">
                  <c:v>0.19716407832545577</c:v>
                </c:pt>
                <c:pt idx="18">
                  <c:v>0.20904836193447737</c:v>
                </c:pt>
                <c:pt idx="19">
                  <c:v>0.23145780051150894</c:v>
                </c:pt>
                <c:pt idx="20">
                  <c:v>0.21305595408895264</c:v>
                </c:pt>
                <c:pt idx="21">
                  <c:v>0.2238667900092507</c:v>
                </c:pt>
                <c:pt idx="22">
                  <c:v>0.2396135265700483</c:v>
                </c:pt>
                <c:pt idx="23">
                  <c:v>0.23921971252566734</c:v>
                </c:pt>
                <c:pt idx="24">
                  <c:v>0.23748773307163887</c:v>
                </c:pt>
                <c:pt idx="25">
                  <c:v>0.22316684378320936</c:v>
                </c:pt>
                <c:pt idx="26">
                  <c:v>0.2</c:v>
                </c:pt>
                <c:pt idx="27">
                  <c:v>0.20844564240790656</c:v>
                </c:pt>
                <c:pt idx="28">
                  <c:v>0.21981681931723562</c:v>
                </c:pt>
                <c:pt idx="29">
                  <c:v>0.21773399014778325</c:v>
                </c:pt>
                <c:pt idx="30">
                  <c:v>0.22810590631364563</c:v>
                </c:pt>
                <c:pt idx="31">
                  <c:v>0.2082294264339152</c:v>
                </c:pt>
                <c:pt idx="32">
                  <c:v>0.20247469066366705</c:v>
                </c:pt>
                <c:pt idx="33">
                  <c:v>0.2278876170655567</c:v>
                </c:pt>
                <c:pt idx="34">
                  <c:v>0.2430453879941435</c:v>
                </c:pt>
                <c:pt idx="35">
                  <c:v>0.2591486183719193</c:v>
                </c:pt>
                <c:pt idx="36">
                  <c:v>0.22600243013365734</c:v>
                </c:pt>
                <c:pt idx="37">
                  <c:v>0.21621621621621623</c:v>
                </c:pt>
                <c:pt idx="38">
                  <c:v>0.2645739910313901</c:v>
                </c:pt>
                <c:pt idx="39">
                  <c:v>0.2979876160990712</c:v>
                </c:pt>
                <c:pt idx="40">
                  <c:v>0.2741007194244604</c:v>
                </c:pt>
                <c:pt idx="41">
                  <c:v>0.2736220472440945</c:v>
                </c:pt>
                <c:pt idx="42">
                  <c:v>0.268346923647146</c:v>
                </c:pt>
                <c:pt idx="43">
                  <c:v>0.2779569892473118</c:v>
                </c:pt>
                <c:pt idx="44">
                  <c:v>0.27756833176248824</c:v>
                </c:pt>
                <c:pt idx="45">
                  <c:v>0.27578215527230593</c:v>
                </c:pt>
                <c:pt idx="46">
                  <c:v>0.30251694094869314</c:v>
                </c:pt>
                <c:pt idx="47">
                  <c:v>0.3085606773283161</c:v>
                </c:pt>
                <c:pt idx="48">
                  <c:v>0.32023943135054245</c:v>
                </c:pt>
                <c:pt idx="49">
                  <c:v>0.33222701626286094</c:v>
                </c:pt>
                <c:pt idx="50">
                  <c:v>0.3575506989564875</c:v>
                </c:pt>
                <c:pt idx="51">
                  <c:v>0.32110969387755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64.4786894623837</c:v>
                </c:pt>
              </c:numCache>
            </c:numRef>
          </c:xVal>
          <c:yVal>
            <c:numRef>
              <c:f>Sheet1!$B$163:$B$164</c:f>
              <c:numCache>
                <c:formatCode>General</c:formatCode>
                <c:ptCount val="2"/>
                <c:pt idx="0">
                  <c:v>0.35922077961034843</c:v>
                </c:pt>
                <c:pt idx="1">
                  <c:v>0.3592207796103484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64.4786894623837</c:v>
                </c:pt>
                <c:pt idx="1">
                  <c:v>964.4786894623837</c:v>
                </c:pt>
              </c:numCache>
            </c:numRef>
          </c:xVal>
          <c:yVal>
            <c:numRef>
              <c:f>Sheet1!$B$167:$B$168</c:f>
              <c:numCache>
                <c:formatCode>General</c:formatCode>
                <c:ptCount val="2"/>
                <c:pt idx="0">
                  <c:v>0.359220779610348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24.6684049378846</c:v>
                </c:pt>
              </c:numCache>
            </c:numRef>
          </c:xVal>
          <c:yVal>
            <c:numRef>
              <c:f>Sheet1!$B$171:$B$172</c:f>
              <c:numCache>
                <c:formatCode>General</c:formatCode>
                <c:ptCount val="2"/>
                <c:pt idx="0">
                  <c:v>0.3327817101118605</c:v>
                </c:pt>
                <c:pt idx="1">
                  <c:v>0.332781710111860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24.6684049378846</c:v>
                </c:pt>
                <c:pt idx="1">
                  <c:v>1024.6684049378846</c:v>
                </c:pt>
              </c:numCache>
            </c:numRef>
          </c:xVal>
          <c:yVal>
            <c:numRef>
              <c:f>Sheet1!$B$175:$B$176</c:f>
              <c:numCache>
                <c:formatCode>General</c:formatCode>
                <c:ptCount val="2"/>
                <c:pt idx="0">
                  <c:v>0.33278171011186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01.4742828717815</c:v>
                </c:pt>
              </c:numCache>
            </c:numRef>
          </c:xVal>
          <c:yVal>
            <c:numRef>
              <c:f>Sheet1!$B$179:$B$180</c:f>
              <c:numCache>
                <c:formatCode>General</c:formatCode>
                <c:ptCount val="2"/>
                <c:pt idx="0">
                  <c:v>0.2990437878016407</c:v>
                </c:pt>
                <c:pt idx="1">
                  <c:v>0.299043787801640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01.4742828717815</c:v>
                </c:pt>
                <c:pt idx="1">
                  <c:v>1101.4742828717815</c:v>
                </c:pt>
              </c:numCache>
            </c:numRef>
          </c:xVal>
          <c:yVal>
            <c:numRef>
              <c:f>Sheet1!$B$183:$B$184</c:f>
              <c:numCache>
                <c:formatCode>General</c:formatCode>
                <c:ptCount val="2"/>
                <c:pt idx="0">
                  <c:v>0.29904378780164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4.4972</c:v>
                </c:pt>
                <c:pt idx="1">
                  <c:v>1220.1543</c:v>
                </c:pt>
                <c:pt idx="2">
                  <c:v>1227.0345</c:v>
                </c:pt>
                <c:pt idx="3">
                  <c:v>1222.0387</c:v>
                </c:pt>
                <c:pt idx="4">
                  <c:v>1222.9314</c:v>
                </c:pt>
                <c:pt idx="5">
                  <c:v>1223.762</c:v>
                </c:pt>
                <c:pt idx="6">
                  <c:v>1231.1922</c:v>
                </c:pt>
                <c:pt idx="7">
                  <c:v>1231.3333</c:v>
                </c:pt>
                <c:pt idx="8">
                  <c:v>1250.1146</c:v>
                </c:pt>
                <c:pt idx="9">
                  <c:v>1132.6397</c:v>
                </c:pt>
                <c:pt idx="10">
                  <c:v>1153.9076</c:v>
                </c:pt>
                <c:pt idx="11">
                  <c:v>1238.3638</c:v>
                </c:pt>
                <c:pt idx="12">
                  <c:v>1233.32</c:v>
                </c:pt>
                <c:pt idx="13">
                  <c:v>1158.413</c:v>
                </c:pt>
                <c:pt idx="14">
                  <c:v>1234.9974</c:v>
                </c:pt>
                <c:pt idx="15">
                  <c:v>1144.6724</c:v>
                </c:pt>
                <c:pt idx="16">
                  <c:v>1233.8438</c:v>
                </c:pt>
                <c:pt idx="17">
                  <c:v>1241.5411</c:v>
                </c:pt>
                <c:pt idx="18">
                  <c:v>1275.1007</c:v>
                </c:pt>
                <c:pt idx="19">
                  <c:v>1249.6575</c:v>
                </c:pt>
                <c:pt idx="20">
                  <c:v>1199.101</c:v>
                </c:pt>
                <c:pt idx="21">
                  <c:v>1193.6488</c:v>
                </c:pt>
                <c:pt idx="22">
                  <c:v>1185.7782</c:v>
                </c:pt>
                <c:pt idx="23">
                  <c:v>1194.8455</c:v>
                </c:pt>
                <c:pt idx="24">
                  <c:v>1273.3306</c:v>
                </c:pt>
                <c:pt idx="25">
                  <c:v>1302.981</c:v>
                </c:pt>
                <c:pt idx="26">
                  <c:v>1304.7211</c:v>
                </c:pt>
                <c:pt idx="27">
                  <c:v>1289.3578</c:v>
                </c:pt>
                <c:pt idx="28">
                  <c:v>1309.6856</c:v>
                </c:pt>
                <c:pt idx="29">
                  <c:v>1283.2398</c:v>
                </c:pt>
                <c:pt idx="30">
                  <c:v>1284.2634</c:v>
                </c:pt>
                <c:pt idx="31">
                  <c:v>1271.5689</c:v>
                </c:pt>
                <c:pt idx="32">
                  <c:v>1292.0278</c:v>
                </c:pt>
                <c:pt idx="33">
                  <c:v>1300.7169</c:v>
                </c:pt>
                <c:pt idx="34">
                  <c:v>1293.5392</c:v>
                </c:pt>
                <c:pt idx="35">
                  <c:v>1283.6571</c:v>
                </c:pt>
                <c:pt idx="36">
                  <c:v>1263.2366</c:v>
                </c:pt>
                <c:pt idx="37">
                  <c:v>1246.2933</c:v>
                </c:pt>
                <c:pt idx="38">
                  <c:v>1261.3856</c:v>
                </c:pt>
                <c:pt idx="39">
                  <c:v>1229.6675</c:v>
                </c:pt>
                <c:pt idx="40">
                  <c:v>1217.6929</c:v>
                </c:pt>
                <c:pt idx="41">
                  <c:v>1225.458</c:v>
                </c:pt>
                <c:pt idx="42">
                  <c:v>1235.442</c:v>
                </c:pt>
                <c:pt idx="43">
                  <c:v>1223.6925</c:v>
                </c:pt>
                <c:pt idx="44">
                  <c:v>1193.9576</c:v>
                </c:pt>
                <c:pt idx="45">
                  <c:v>1188.0294</c:v>
                </c:pt>
                <c:pt idx="46">
                  <c:v>1190.6272</c:v>
                </c:pt>
                <c:pt idx="47">
                  <c:v>1188.3735</c:v>
                </c:pt>
                <c:pt idx="48">
                  <c:v>1113.2664</c:v>
                </c:pt>
                <c:pt idx="49">
                  <c:v>1088.7233</c:v>
                </c:pt>
                <c:pt idx="50">
                  <c:v>1070.5165</c:v>
                </c:pt>
                <c:pt idx="51">
                  <c:v>1074.9106</c:v>
                </c:pt>
                <c:pt idx="52">
                  <c:v>1024.6684049378846</c:v>
                </c:pt>
                <c:pt idx="53">
                  <c:v>964.4786894623837</c:v>
                </c:pt>
                <c:pt idx="54">
                  <c:v>1101.4742828717815</c:v>
                </c:pt>
              </c:numCache>
            </c:numRef>
          </c:xVal>
          <c:yVal>
            <c:numRef>
              <c:f>Sheet1!$B$187:$B$241</c:f>
              <c:numCache>
                <c:formatCode>General</c:formatCode>
                <c:ptCount val="55"/>
                <c:pt idx="0">
                  <c:v>0.2537897100182256</c:v>
                </c:pt>
                <c:pt idx="1">
                  <c:v>0.24691213713431215</c:v>
                </c:pt>
                <c:pt idx="2">
                  <c:v>0.24388992504165752</c:v>
                </c:pt>
                <c:pt idx="3">
                  <c:v>0.24608439136131155</c:v>
                </c:pt>
                <c:pt idx="4">
                  <c:v>0.2456922619559</c:v>
                </c:pt>
                <c:pt idx="5">
                  <c:v>0.2453274107358543</c:v>
                </c:pt>
                <c:pt idx="6">
                  <c:v>0.24206360440888086</c:v>
                </c:pt>
                <c:pt idx="7">
                  <c:v>0.24200162450622198</c:v>
                </c:pt>
                <c:pt idx="8">
                  <c:v>0.2337517085189289</c:v>
                </c:pt>
                <c:pt idx="9">
                  <c:v>0.28535399673197326</c:v>
                </c:pt>
                <c:pt idx="10">
                  <c:v>0.27601181124821283</c:v>
                </c:pt>
                <c:pt idx="11">
                  <c:v>0.23891339129826172</c:v>
                </c:pt>
                <c:pt idx="12">
                  <c:v>0.24112894220563819</c:v>
                </c:pt>
                <c:pt idx="13">
                  <c:v>0.2740327591331223</c:v>
                </c:pt>
                <c:pt idx="14">
                  <c:v>0.24039212371719032</c:v>
                </c:pt>
                <c:pt idx="15">
                  <c:v>0.280068485925996</c:v>
                </c:pt>
                <c:pt idx="16">
                  <c:v>0.24089885664211785</c:v>
                </c:pt>
                <c:pt idx="17">
                  <c:v>0.23751772336971444</c:v>
                </c:pt>
                <c:pt idx="18">
                  <c:v>0.22277625815872493</c:v>
                </c:pt>
                <c:pt idx="19">
                  <c:v>0.23395249529076012</c:v>
                </c:pt>
                <c:pt idx="20">
                  <c:v>0.25616005694046373</c:v>
                </c:pt>
                <c:pt idx="21">
                  <c:v>0.25855500254837793</c:v>
                </c:pt>
                <c:pt idx="22">
                  <c:v>0.26201225996770405</c:v>
                </c:pt>
                <c:pt idx="23">
                  <c:v>0.25802933742072476</c:v>
                </c:pt>
                <c:pt idx="24">
                  <c:v>0.2235537962572115</c:v>
                </c:pt>
                <c:pt idx="25">
                  <c:v>0.2105294950113109</c:v>
                </c:pt>
                <c:pt idx="26">
                  <c:v>0.2097651347801508</c:v>
                </c:pt>
                <c:pt idx="27">
                  <c:v>0.2165136524167136</c:v>
                </c:pt>
                <c:pt idx="28">
                  <c:v>0.20758441736874067</c:v>
                </c:pt>
                <c:pt idx="29">
                  <c:v>0.21920105882682683</c:v>
                </c:pt>
                <c:pt idx="30">
                  <c:v>0.21875142999364738</c:v>
                </c:pt>
                <c:pt idx="31">
                  <c:v>0.22432764455284682</c:v>
                </c:pt>
                <c:pt idx="32">
                  <c:v>0.215340822224657</c:v>
                </c:pt>
                <c:pt idx="33">
                  <c:v>0.21152402865844033</c:v>
                </c:pt>
                <c:pt idx="34">
                  <c:v>0.21467692126874915</c:v>
                </c:pt>
                <c:pt idx="35">
                  <c:v>0.21901775469231555</c:v>
                </c:pt>
                <c:pt idx="36">
                  <c:v>0.2279877093503273</c:v>
                </c:pt>
                <c:pt idx="37">
                  <c:v>0.23543026133275136</c:v>
                </c:pt>
                <c:pt idx="38">
                  <c:v>0.22880078376437096</c:v>
                </c:pt>
                <c:pt idx="39">
                  <c:v>0.24273334755263698</c:v>
                </c:pt>
                <c:pt idx="40">
                  <c:v>0.24799333722222527</c:v>
                </c:pt>
                <c:pt idx="41">
                  <c:v>0.24458242196966395</c:v>
                </c:pt>
                <c:pt idx="42">
                  <c:v>0.2401968277234119</c:v>
                </c:pt>
                <c:pt idx="43">
                  <c:v>0.24535793946182716</c:v>
                </c:pt>
                <c:pt idx="44">
                  <c:v>0.25841935836736407</c:v>
                </c:pt>
                <c:pt idx="45">
                  <c:v>0.26102339280352505</c:v>
                </c:pt>
                <c:pt idx="46">
                  <c:v>0.25988227734550085</c:v>
                </c:pt>
                <c:pt idx="47">
                  <c:v>0.2608722426652904</c:v>
                </c:pt>
                <c:pt idx="48">
                  <c:v>0.2938639559678421</c:v>
                </c:pt>
                <c:pt idx="49">
                  <c:v>0.3046448131538585</c:v>
                </c:pt>
                <c:pt idx="50">
                  <c:v>0.3126423729818495</c:v>
                </c:pt>
                <c:pt idx="51">
                  <c:v>0.3107122107545402</c:v>
                </c:pt>
                <c:pt idx="52">
                  <c:v>0.3327817101118605</c:v>
                </c:pt>
                <c:pt idx="53">
                  <c:v>0.35922077961034843</c:v>
                </c:pt>
                <c:pt idx="54">
                  <c:v>0.2990437878016406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4.0"/>
          <c:min val="56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60607704829083"/>
          <c:min val="0.1376854599406528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844606859439011</c:v>
                </c:pt>
                <c:pt idx="1">
                  <c:v>0.8253559106632958</c:v>
                </c:pt>
                <c:pt idx="2">
                  <c:v>0.8004519793678752</c:v>
                </c:pt>
                <c:pt idx="3">
                  <c:v>0.84045095581582</c:v>
                </c:pt>
                <c:pt idx="4">
                  <c:v>0.8326523272527664</c:v>
                </c:pt>
                <c:pt idx="5">
                  <c:v>0.7570799658205962</c:v>
                </c:pt>
                <c:pt idx="6">
                  <c:v>0.7321078759358378</c:v>
                </c:pt>
                <c:pt idx="7">
                  <c:v>0.7399123043637935</c:v>
                </c:pt>
                <c:pt idx="8">
                  <c:v>0.7735146636588801</c:v>
                </c:pt>
                <c:pt idx="9">
                  <c:v>0.7573704616663217</c:v>
                </c:pt>
                <c:pt idx="10">
                  <c:v>0.7148352712368986</c:v>
                </c:pt>
                <c:pt idx="11">
                  <c:v>0.7075560460215548</c:v>
                </c:pt>
                <c:pt idx="12">
                  <c:v>0.7235929155290259</c:v>
                </c:pt>
                <c:pt idx="13">
                  <c:v>0.6171243462942794</c:v>
                </c:pt>
                <c:pt idx="14">
                  <c:v>0.7628271857940284</c:v>
                </c:pt>
                <c:pt idx="15">
                  <c:v>0.8159912880563281</c:v>
                </c:pt>
                <c:pt idx="16">
                  <c:v>0.8888901460206944</c:v>
                </c:pt>
                <c:pt idx="17">
                  <c:v>0.8968301283736423</c:v>
                </c:pt>
                <c:pt idx="18">
                  <c:v>0.8810812954155006</c:v>
                </c:pt>
                <c:pt idx="19">
                  <c:v>0.8454112598420537</c:v>
                </c:pt>
                <c:pt idx="20">
                  <c:v>0.8353078393568648</c:v>
                </c:pt>
                <c:pt idx="21">
                  <c:v>0.9051398635149775</c:v>
                </c:pt>
                <c:pt idx="22">
                  <c:v>0.892691699982701</c:v>
                </c:pt>
                <c:pt idx="23">
                  <c:v>0.7881264478142294</c:v>
                </c:pt>
                <c:pt idx="24">
                  <c:v>0.7928661379857257</c:v>
                </c:pt>
                <c:pt idx="25">
                  <c:v>0.8176335783907672</c:v>
                </c:pt>
                <c:pt idx="26">
                  <c:v>0.6923607529866214</c:v>
                </c:pt>
                <c:pt idx="27">
                  <c:v>0.6273630772857858</c:v>
                </c:pt>
                <c:pt idx="28">
                  <c:v>0.7688658020726886</c:v>
                </c:pt>
                <c:pt idx="29">
                  <c:v>0.6997530612244898</c:v>
                </c:pt>
                <c:pt idx="30">
                  <c:v>0.5546912107793188</c:v>
                </c:pt>
                <c:pt idx="31">
                  <c:v>0.6789475521125511</c:v>
                </c:pt>
                <c:pt idx="32">
                  <c:v>0.6457287272351505</c:v>
                </c:pt>
                <c:pt idx="33">
                  <c:v>0.6457919555605909</c:v>
                </c:pt>
                <c:pt idx="34">
                  <c:v>0.6672695605443739</c:v>
                </c:pt>
                <c:pt idx="35">
                  <c:v>0.708220900963784</c:v>
                </c:pt>
                <c:pt idx="36">
                  <c:v>0.5638057866822196</c:v>
                </c:pt>
                <c:pt idx="37">
                  <c:v>0.6249029415107854</c:v>
                </c:pt>
                <c:pt idx="38">
                  <c:v>0.6210350186580815</c:v>
                </c:pt>
                <c:pt idx="39">
                  <c:v>0.8623417050691244</c:v>
                </c:pt>
                <c:pt idx="40">
                  <c:v>0.8644008743149896</c:v>
                </c:pt>
                <c:pt idx="41">
                  <c:v>0.7893611897144043</c:v>
                </c:pt>
                <c:pt idx="42">
                  <c:v>0.7044107601707014</c:v>
                </c:pt>
                <c:pt idx="43">
                  <c:v>0.7635154211696499</c:v>
                </c:pt>
                <c:pt idx="44">
                  <c:v>0.8536051187972615</c:v>
                </c:pt>
                <c:pt idx="45">
                  <c:v>0.9542651597930275</c:v>
                </c:pt>
                <c:pt idx="46">
                  <c:v>0.9918250893360595</c:v>
                </c:pt>
                <c:pt idx="47">
                  <c:v>1.096573522886123</c:v>
                </c:pt>
                <c:pt idx="48">
                  <c:v>0.8496048701815161</c:v>
                </c:pt>
                <c:pt idx="49">
                  <c:v>0.9388557284028102</c:v>
                </c:pt>
                <c:pt idx="50">
                  <c:v>0.9113522841541872</c:v>
                </c:pt>
                <c:pt idx="51">
                  <c:v>0.9369343733394915</c:v>
                </c:pt>
                <c:pt idx="52">
                  <c:v>0.93623695535234</c:v>
                </c:pt>
                <c:pt idx="53">
                  <c:v>1.0420177664023746</c:v>
                </c:pt>
                <c:pt idx="54">
                  <c:v>1.0734575061319136</c:v>
                </c:pt>
                <c:pt idx="55">
                  <c:v>1.0911152572745453</c:v>
                </c:pt>
                <c:pt idx="56">
                  <c:v>1.0427166082957835</c:v>
                </c:pt>
                <c:pt idx="57">
                  <c:v>1.0743197770569497</c:v>
                </c:pt>
                <c:pt idx="58">
                  <c:v>1.050819022490706</c:v>
                </c:pt>
                <c:pt idx="59">
                  <c:v>1.1901685232321448</c:v>
                </c:pt>
                <c:pt idx="60">
                  <c:v>1.119086481855607</c:v>
                </c:pt>
                <c:pt idx="61">
                  <c:v>1.0322405948096633</c:v>
                </c:pt>
                <c:pt idx="62">
                  <c:v>0.9181638550901893</c:v>
                </c:pt>
                <c:pt idx="63">
                  <c:v>0.9488379820480762</c:v>
                </c:pt>
                <c:pt idx="64">
                  <c:v>0.9504609567721205</c:v>
                </c:pt>
                <c:pt idx="65">
                  <c:v>0.8699905270593934</c:v>
                </c:pt>
                <c:pt idx="66">
                  <c:v>0.9391247357838111</c:v>
                </c:pt>
                <c:pt idx="67">
                  <c:v>0.9603551406539185</c:v>
                </c:pt>
                <c:pt idx="68">
                  <c:v>0.9129685231386196</c:v>
                </c:pt>
                <c:pt idx="69">
                  <c:v>0.9760402013697624</c:v>
                </c:pt>
                <c:pt idx="70">
                  <c:v>0.9926906789696939</c:v>
                </c:pt>
                <c:pt idx="71">
                  <c:v>0.9447954126656697</c:v>
                </c:pt>
                <c:pt idx="72">
                  <c:v>0.932711245407295</c:v>
                </c:pt>
                <c:pt idx="73">
                  <c:v>0.9849653839514723</c:v>
                </c:pt>
                <c:pt idx="74">
                  <c:v>0.8723334017870696</c:v>
                </c:pt>
                <c:pt idx="75">
                  <c:v>0.886364859169454</c:v>
                </c:pt>
                <c:pt idx="76">
                  <c:v>0.8173554041799131</c:v>
                </c:pt>
                <c:pt idx="77">
                  <c:v>0.7929129851383537</c:v>
                </c:pt>
                <c:pt idx="78">
                  <c:v>0.8644536529363753</c:v>
                </c:pt>
                <c:pt idx="79">
                  <c:v>0.8540520714509867</c:v>
                </c:pt>
                <c:pt idx="80">
                  <c:v>0.9312098993844384</c:v>
                </c:pt>
                <c:pt idx="81">
                  <c:v>0.8640144279264456</c:v>
                </c:pt>
                <c:pt idx="82">
                  <c:v>1.0137968258052081</c:v>
                </c:pt>
                <c:pt idx="83">
                  <c:v>0.9789098652393011</c:v>
                </c:pt>
                <c:pt idx="84">
                  <c:v>1.0320726182274995</c:v>
                </c:pt>
                <c:pt idx="85">
                  <c:v>1.0984482816853838</c:v>
                </c:pt>
                <c:pt idx="86">
                  <c:v>1.0442889216193623</c:v>
                </c:pt>
                <c:pt idx="87">
                  <c:v>1.0873259159250734</c:v>
                </c:pt>
                <c:pt idx="88">
                  <c:v>1.1176120299732235</c:v>
                </c:pt>
                <c:pt idx="89">
                  <c:v>1.0261087121837333</c:v>
                </c:pt>
                <c:pt idx="90">
                  <c:v>0.8112810009960159</c:v>
                </c:pt>
                <c:pt idx="91">
                  <c:v>0.6632830393830204</c:v>
                </c:pt>
                <c:pt idx="92">
                  <c:v>0.7279924347424348</c:v>
                </c:pt>
                <c:pt idx="93">
                  <c:v>0.667191155995259</c:v>
                </c:pt>
                <c:pt idx="94">
                  <c:v>0.5159812254177792</c:v>
                </c:pt>
                <c:pt idx="95">
                  <c:v>0.7009984690345704</c:v>
                </c:pt>
                <c:pt idx="96">
                  <c:v>0.7935930715063179</c:v>
                </c:pt>
                <c:pt idx="97">
                  <c:v>0.9862811541837838</c:v>
                </c:pt>
                <c:pt idx="98">
                  <c:v>0.9521402510310479</c:v>
                </c:pt>
                <c:pt idx="99">
                  <c:v>0.9342449696953089</c:v>
                </c:pt>
                <c:pt idx="100">
                  <c:v>0.935441606574619</c:v>
                </c:pt>
                <c:pt idx="101">
                  <c:v>1.0294616488951345</c:v>
                </c:pt>
                <c:pt idx="102">
                  <c:v>1.019921165738261</c:v>
                </c:pt>
                <c:pt idx="103">
                  <c:v>0.993877340626392</c:v>
                </c:pt>
                <c:pt idx="104">
                  <c:v>0.992894317927327</c:v>
                </c:pt>
              </c:numCache>
            </c:numRef>
          </c:xVal>
          <c:yVal>
            <c:numRef>
              <c:f>Sheet1!$B$2:$B$106</c:f>
              <c:numCache>
                <c:formatCode>General</c:formatCode>
                <c:ptCount val="105"/>
                <c:pt idx="0">
                  <c:v>0.2600106780565937</c:v>
                </c:pt>
                <c:pt idx="1">
                  <c:v>0.2777777777777778</c:v>
                </c:pt>
                <c:pt idx="2">
                  <c:v>0.2935897435897436</c:v>
                </c:pt>
                <c:pt idx="3">
                  <c:v>0.286745406824147</c:v>
                </c:pt>
                <c:pt idx="4">
                  <c:v>0.3491346877351392</c:v>
                </c:pt>
                <c:pt idx="5">
                  <c:v>0.4324712643678161</c:v>
                </c:pt>
                <c:pt idx="6">
                  <c:v>0.43647416413373863</c:v>
                </c:pt>
                <c:pt idx="7">
                  <c:v>0.43015983321751217</c:v>
                </c:pt>
                <c:pt idx="8">
                  <c:v>0.4666234607906675</c:v>
                </c:pt>
                <c:pt idx="9">
                  <c:v>0.4671730873575692</c:v>
                </c:pt>
                <c:pt idx="10">
                  <c:v>0.4513922813873962</c:v>
                </c:pt>
                <c:pt idx="11">
                  <c:v>0.44742831133363675</c:v>
                </c:pt>
                <c:pt idx="12">
                  <c:v>0.4079283887468031</c:v>
                </c:pt>
                <c:pt idx="13">
                  <c:v>0.39940387481371087</c:v>
                </c:pt>
                <c:pt idx="14">
                  <c:v>0.3453887884267631</c:v>
                </c:pt>
                <c:pt idx="15">
                  <c:v>0.29555236728837875</c:v>
                </c:pt>
                <c:pt idx="16">
                  <c:v>0.26583407671721676</c:v>
                </c:pt>
                <c:pt idx="17">
                  <c:v>0.2286302780638517</c:v>
                </c:pt>
                <c:pt idx="18">
                  <c:v>0.21981776765375854</c:v>
                </c:pt>
                <c:pt idx="19">
                  <c:v>0.22362869198312235</c:v>
                </c:pt>
                <c:pt idx="20">
                  <c:v>0.25626423690205014</c:v>
                </c:pt>
                <c:pt idx="21">
                  <c:v>0.2371392722710163</c:v>
                </c:pt>
                <c:pt idx="22">
                  <c:v>0.20175438596491227</c:v>
                </c:pt>
                <c:pt idx="23">
                  <c:v>0.2569343065693431</c:v>
                </c:pt>
                <c:pt idx="24">
                  <c:v>0.25609756097560976</c:v>
                </c:pt>
                <c:pt idx="25">
                  <c:v>0.2362555720653789</c:v>
                </c:pt>
                <c:pt idx="26">
                  <c:v>0.2634088200238379</c:v>
                </c:pt>
                <c:pt idx="27">
                  <c:v>0.29350348027842227</c:v>
                </c:pt>
                <c:pt idx="28">
                  <c:v>0.2882147024504084</c:v>
                </c:pt>
                <c:pt idx="29">
                  <c:v>0.3048016701461378</c:v>
                </c:pt>
                <c:pt idx="30">
                  <c:v>0.31794871794871793</c:v>
                </c:pt>
                <c:pt idx="31">
                  <c:v>0.3101529902642559</c:v>
                </c:pt>
                <c:pt idx="32">
                  <c:v>0.328998699609883</c:v>
                </c:pt>
                <c:pt idx="33">
                  <c:v>0.2958057395143488</c:v>
                </c:pt>
                <c:pt idx="34">
                  <c:v>0.3207126948775056</c:v>
                </c:pt>
                <c:pt idx="35">
                  <c:v>0.3730484798685292</c:v>
                </c:pt>
                <c:pt idx="36">
                  <c:v>0.3312043795620438</c:v>
                </c:pt>
                <c:pt idx="37">
                  <c:v>0.31138392857142855</c:v>
                </c:pt>
                <c:pt idx="38">
                  <c:v>0.30042918454935624</c:v>
                </c:pt>
                <c:pt idx="39">
                  <c:v>0.2960199004975124</c:v>
                </c:pt>
                <c:pt idx="40">
                  <c:v>0.29471544715447157</c:v>
                </c:pt>
                <c:pt idx="41">
                  <c:v>0.27832783278327833</c:v>
                </c:pt>
                <c:pt idx="42">
                  <c:v>0.28991971454058874</c:v>
                </c:pt>
                <c:pt idx="43">
                  <c:v>0.29578606158833065</c:v>
                </c:pt>
                <c:pt idx="44">
                  <c:v>0.26377708978328174</c:v>
                </c:pt>
                <c:pt idx="45">
                  <c:v>0.25245522819179667</c:v>
                </c:pt>
                <c:pt idx="46">
                  <c:v>0.26373626373626374</c:v>
                </c:pt>
                <c:pt idx="47">
                  <c:v>0.2404138770541692</c:v>
                </c:pt>
                <c:pt idx="48">
                  <c:v>0.24582967515364354</c:v>
                </c:pt>
                <c:pt idx="49">
                  <c:v>0.24869482676791646</c:v>
                </c:pt>
                <c:pt idx="50">
                  <c:v>0.24932614555256064</c:v>
                </c:pt>
                <c:pt idx="51">
                  <c:v>0.2632398753894081</c:v>
                </c:pt>
                <c:pt idx="52">
                  <c:v>0.25079945180447694</c:v>
                </c:pt>
                <c:pt idx="53">
                  <c:v>0.21746478873239436</c:v>
                </c:pt>
                <c:pt idx="54">
                  <c:v>0.21578003586371788</c:v>
                </c:pt>
                <c:pt idx="55">
                  <c:v>0.22264631043256997</c:v>
                </c:pt>
                <c:pt idx="56">
                  <c:v>0.2506112469437653</c:v>
                </c:pt>
                <c:pt idx="57">
                  <c:v>0.23627002288329518</c:v>
                </c:pt>
                <c:pt idx="58">
                  <c:v>0.2308085977482088</c:v>
                </c:pt>
                <c:pt idx="59">
                  <c:v>0.18940609951845908</c:v>
                </c:pt>
                <c:pt idx="60">
                  <c:v>0.19972593353888318</c:v>
                </c:pt>
                <c:pt idx="61">
                  <c:v>0.22555282555282555</c:v>
                </c:pt>
                <c:pt idx="62">
                  <c:v>0.24134312696747115</c:v>
                </c:pt>
                <c:pt idx="63">
                  <c:v>0.24294268605645852</c:v>
                </c:pt>
                <c:pt idx="64">
                  <c:v>0.22603599832565927</c:v>
                </c:pt>
                <c:pt idx="65">
                  <c:v>0.2343891402714932</c:v>
                </c:pt>
                <c:pt idx="66">
                  <c:v>0.22414622414622415</c:v>
                </c:pt>
                <c:pt idx="67">
                  <c:v>0.20857988165680474</c:v>
                </c:pt>
                <c:pt idx="68">
                  <c:v>0.18498659517426275</c:v>
                </c:pt>
                <c:pt idx="69">
                  <c:v>0.17526617526617527</c:v>
                </c:pt>
                <c:pt idx="70">
                  <c:v>0.19636363636363635</c:v>
                </c:pt>
                <c:pt idx="71">
                  <c:v>0.17210682492581603</c:v>
                </c:pt>
                <c:pt idx="72">
                  <c:v>0.18714689265536724</c:v>
                </c:pt>
                <c:pt idx="73">
                  <c:v>0.181021897810219</c:v>
                </c:pt>
                <c:pt idx="74">
                  <c:v>0.18181818181818182</c:v>
                </c:pt>
                <c:pt idx="75">
                  <c:v>0.17698343504795117</c:v>
                </c:pt>
                <c:pt idx="76">
                  <c:v>0.20742150333016174</c:v>
                </c:pt>
                <c:pt idx="77">
                  <c:v>0.20353982300884957</c:v>
                </c:pt>
                <c:pt idx="78">
                  <c:v>0.22164412070759626</c:v>
                </c:pt>
                <c:pt idx="79">
                  <c:v>0.23860021208907742</c:v>
                </c:pt>
                <c:pt idx="80">
                  <c:v>0.23498419388830347</c:v>
                </c:pt>
                <c:pt idx="81">
                  <c:v>0.216</c:v>
                </c:pt>
                <c:pt idx="82">
                  <c:v>0.20616113744075829</c:v>
                </c:pt>
                <c:pt idx="83">
                  <c:v>0.18330849478390462</c:v>
                </c:pt>
                <c:pt idx="84">
                  <c:v>0.18303571428571427</c:v>
                </c:pt>
                <c:pt idx="85">
                  <c:v>0.18950437317784258</c:v>
                </c:pt>
                <c:pt idx="86">
                  <c:v>0.19957310565635006</c:v>
                </c:pt>
                <c:pt idx="87">
                  <c:v>0.23127962085308057</c:v>
                </c:pt>
                <c:pt idx="88">
                  <c:v>0.22777777777777777</c:v>
                </c:pt>
                <c:pt idx="89">
                  <c:v>0.19901719901719903</c:v>
                </c:pt>
                <c:pt idx="90">
                  <c:v>0.19318181818181818</c:v>
                </c:pt>
                <c:pt idx="91">
                  <c:v>0.20045300113250283</c:v>
                </c:pt>
                <c:pt idx="92">
                  <c:v>0.23143683702989393</c:v>
                </c:pt>
                <c:pt idx="93">
                  <c:v>0.21632996632996632</c:v>
                </c:pt>
                <c:pt idx="94">
                  <c:v>0.21390374331550802</c:v>
                </c:pt>
                <c:pt idx="95">
                  <c:v>0.20206489675516223</c:v>
                </c:pt>
                <c:pt idx="96">
                  <c:v>0.2222222222222222</c:v>
                </c:pt>
                <c:pt idx="97">
                  <c:v>0.22684026039058588</c:v>
                </c:pt>
                <c:pt idx="98">
                  <c:v>0.22148760330578512</c:v>
                </c:pt>
                <c:pt idx="99">
                  <c:v>0.23511093810821332</c:v>
                </c:pt>
                <c:pt idx="100">
                  <c:v>0.25372781065088756</c:v>
                </c:pt>
                <c:pt idx="101">
                  <c:v>0.22573363431151242</c:v>
                </c:pt>
                <c:pt idx="102">
                  <c:v>0.24556962025316456</c:v>
                </c:pt>
                <c:pt idx="103">
                  <c:v>0.23472278429785512</c:v>
                </c:pt>
                <c:pt idx="104">
                  <c:v>0.2415094339622641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0331103856782864</c:v>
                </c:pt>
                <c:pt idx="1">
                  <c:v>1.0398225537113348</c:v>
                </c:pt>
                <c:pt idx="2">
                  <c:v>1.028134826497281</c:v>
                </c:pt>
                <c:pt idx="3">
                  <c:v>1.0505096013708803</c:v>
                </c:pt>
                <c:pt idx="4">
                  <c:v>1.1020084532304086</c:v>
                </c:pt>
                <c:pt idx="5">
                  <c:v>1.176835677365068</c:v>
                </c:pt>
                <c:pt idx="6">
                  <c:v>1.1470385683913968</c:v>
                </c:pt>
                <c:pt idx="7">
                  <c:v>1.0929465888171501</c:v>
                </c:pt>
                <c:pt idx="8">
                  <c:v>1.0864879879339622</c:v>
                </c:pt>
                <c:pt idx="9">
                  <c:v>0.9580358466753152</c:v>
                </c:pt>
                <c:pt idx="10">
                  <c:v>0.9867749594953739</c:v>
                </c:pt>
                <c:pt idx="11">
                  <c:v>1.0859892937828979</c:v>
                </c:pt>
                <c:pt idx="12">
                  <c:v>1.0987375102261645</c:v>
                </c:pt>
                <c:pt idx="13">
                  <c:v>1.043479286979436</c:v>
                </c:pt>
                <c:pt idx="14">
                  <c:v>1.117522536902753</c:v>
                </c:pt>
                <c:pt idx="15">
                  <c:v>0.979826153917135</c:v>
                </c:pt>
                <c:pt idx="16">
                  <c:v>1.0026806819189318</c:v>
                </c:pt>
                <c:pt idx="17">
                  <c:v>0.9990749909913216</c:v>
                </c:pt>
                <c:pt idx="18">
                  <c:v>1.050274264670452</c:v>
                </c:pt>
                <c:pt idx="19">
                  <c:v>1.0247010804211478</c:v>
                </c:pt>
                <c:pt idx="20">
                  <c:v>1.008556617146979</c:v>
                </c:pt>
                <c:pt idx="21">
                  <c:v>0.9754287163266737</c:v>
                </c:pt>
                <c:pt idx="22">
                  <c:v>0.9678723011942072</c:v>
                </c:pt>
                <c:pt idx="23">
                  <c:v>0.921194673372289</c:v>
                </c:pt>
                <c:pt idx="24">
                  <c:v>0.9702682746738863</c:v>
                </c:pt>
                <c:pt idx="25">
                  <c:v>1.013284406717606</c:v>
                </c:pt>
                <c:pt idx="26">
                  <c:v>0.9893516185385132</c:v>
                </c:pt>
                <c:pt idx="27">
                  <c:v>1.0007663945089083</c:v>
                </c:pt>
                <c:pt idx="28">
                  <c:v>1.0726826887488135</c:v>
                </c:pt>
                <c:pt idx="29">
                  <c:v>1.0305748055083286</c:v>
                </c:pt>
                <c:pt idx="30">
                  <c:v>1.0252197024694585</c:v>
                </c:pt>
                <c:pt idx="31">
                  <c:v>1.0949529837251357</c:v>
                </c:pt>
                <c:pt idx="32">
                  <c:v>1.0980380725461205</c:v>
                </c:pt>
                <c:pt idx="33">
                  <c:v>1.0713686843340124</c:v>
                </c:pt>
                <c:pt idx="34">
                  <c:v>1.146332357185806</c:v>
                </c:pt>
                <c:pt idx="35">
                  <c:v>1.0199311553257606</c:v>
                </c:pt>
                <c:pt idx="36">
                  <c:v>0.9205271162146386</c:v>
                </c:pt>
                <c:pt idx="37">
                  <c:v>0.8523005125319555</c:v>
                </c:pt>
                <c:pt idx="38">
                  <c:v>0.9838611084873302</c:v>
                </c:pt>
                <c:pt idx="39">
                  <c:v>0.9287840168489213</c:v>
                </c:pt>
                <c:pt idx="40">
                  <c:v>0.9013885402550389</c:v>
                </c:pt>
                <c:pt idx="41">
                  <c:v>0.9063099304576501</c:v>
                </c:pt>
                <c:pt idx="42">
                  <c:v>0.9424911511908407</c:v>
                </c:pt>
                <c:pt idx="43">
                  <c:v>0.9719271996093524</c:v>
                </c:pt>
                <c:pt idx="44">
                  <c:v>0.9464603859364944</c:v>
                </c:pt>
                <c:pt idx="45">
                  <c:v>0.9568064138591106</c:v>
                </c:pt>
                <c:pt idx="46">
                  <c:v>0.9827578877807917</c:v>
                </c:pt>
                <c:pt idx="47">
                  <c:v>0.9439534596101792</c:v>
                </c:pt>
                <c:pt idx="48">
                  <c:v>0.8998209518070029</c:v>
                </c:pt>
                <c:pt idx="49">
                  <c:v>0.918778960707449</c:v>
                </c:pt>
                <c:pt idx="50">
                  <c:v>0.9407076824711907</c:v>
                </c:pt>
                <c:pt idx="51">
                  <c:v>0.8201075353398468</c:v>
                </c:pt>
              </c:numCache>
            </c:numRef>
          </c:xVal>
          <c:yVal>
            <c:numRef>
              <c:f>Sheet1!$B$109:$B$160</c:f>
              <c:numCache>
                <c:formatCode>General</c:formatCode>
                <c:ptCount val="52"/>
                <c:pt idx="0">
                  <c:v>0.23903508771929824</c:v>
                </c:pt>
                <c:pt idx="1">
                  <c:v>0.2225691347011597</c:v>
                </c:pt>
                <c:pt idx="2">
                  <c:v>0.23661626481405804</c:v>
                </c:pt>
                <c:pt idx="3">
                  <c:v>0.2576709796672828</c:v>
                </c:pt>
                <c:pt idx="4">
                  <c:v>0.2545757071547421</c:v>
                </c:pt>
                <c:pt idx="5">
                  <c:v>0.24957264957264957</c:v>
                </c:pt>
                <c:pt idx="6">
                  <c:v>0.22037125178486436</c:v>
                </c:pt>
                <c:pt idx="7">
                  <c:v>0.2268041237113402</c:v>
                </c:pt>
                <c:pt idx="8">
                  <c:v>0.21259309410968177</c:v>
                </c:pt>
                <c:pt idx="9">
                  <c:v>0.2487012987012987</c:v>
                </c:pt>
                <c:pt idx="10">
                  <c:v>0.2536057692307692</c:v>
                </c:pt>
                <c:pt idx="11">
                  <c:v>0.23016650342801176</c:v>
                </c:pt>
                <c:pt idx="12">
                  <c:v>0.23159434422233058</c:v>
                </c:pt>
                <c:pt idx="13">
                  <c:v>0.2338235294117647</c:v>
                </c:pt>
                <c:pt idx="14">
                  <c:v>0.20257234726688103</c:v>
                </c:pt>
                <c:pt idx="15">
                  <c:v>0.22913165266106442</c:v>
                </c:pt>
                <c:pt idx="16">
                  <c:v>0.19851116625310175</c:v>
                </c:pt>
                <c:pt idx="17">
                  <c:v>0.19716407832545577</c:v>
                </c:pt>
                <c:pt idx="18">
                  <c:v>0.20904836193447737</c:v>
                </c:pt>
                <c:pt idx="19">
                  <c:v>0.23145780051150894</c:v>
                </c:pt>
                <c:pt idx="20">
                  <c:v>0.21305595408895264</c:v>
                </c:pt>
                <c:pt idx="21">
                  <c:v>0.2238667900092507</c:v>
                </c:pt>
                <c:pt idx="22">
                  <c:v>0.2396135265700483</c:v>
                </c:pt>
                <c:pt idx="23">
                  <c:v>0.23921971252566734</c:v>
                </c:pt>
                <c:pt idx="24">
                  <c:v>0.23748773307163887</c:v>
                </c:pt>
                <c:pt idx="25">
                  <c:v>0.22316684378320936</c:v>
                </c:pt>
                <c:pt idx="26">
                  <c:v>0.2</c:v>
                </c:pt>
                <c:pt idx="27">
                  <c:v>0.20844564240790656</c:v>
                </c:pt>
                <c:pt idx="28">
                  <c:v>0.21981681931723562</c:v>
                </c:pt>
                <c:pt idx="29">
                  <c:v>0.21773399014778325</c:v>
                </c:pt>
                <c:pt idx="30">
                  <c:v>0.22810590631364563</c:v>
                </c:pt>
                <c:pt idx="31">
                  <c:v>0.2082294264339152</c:v>
                </c:pt>
                <c:pt idx="32">
                  <c:v>0.20247469066366705</c:v>
                </c:pt>
                <c:pt idx="33">
                  <c:v>0.2278876170655567</c:v>
                </c:pt>
                <c:pt idx="34">
                  <c:v>0.2430453879941435</c:v>
                </c:pt>
                <c:pt idx="35">
                  <c:v>0.2591486183719193</c:v>
                </c:pt>
                <c:pt idx="36">
                  <c:v>0.22600243013365734</c:v>
                </c:pt>
                <c:pt idx="37">
                  <c:v>0.21621621621621623</c:v>
                </c:pt>
                <c:pt idx="38">
                  <c:v>0.2645739910313901</c:v>
                </c:pt>
                <c:pt idx="39">
                  <c:v>0.2979876160990712</c:v>
                </c:pt>
                <c:pt idx="40">
                  <c:v>0.2741007194244604</c:v>
                </c:pt>
                <c:pt idx="41">
                  <c:v>0.2736220472440945</c:v>
                </c:pt>
                <c:pt idx="42">
                  <c:v>0.268346923647146</c:v>
                </c:pt>
                <c:pt idx="43">
                  <c:v>0.2779569892473118</c:v>
                </c:pt>
                <c:pt idx="44">
                  <c:v>0.27756833176248824</c:v>
                </c:pt>
                <c:pt idx="45">
                  <c:v>0.27578215527230593</c:v>
                </c:pt>
                <c:pt idx="46">
                  <c:v>0.30251694094869314</c:v>
                </c:pt>
                <c:pt idx="47">
                  <c:v>0.3085606773283161</c:v>
                </c:pt>
                <c:pt idx="48">
                  <c:v>0.32023943135054245</c:v>
                </c:pt>
                <c:pt idx="49">
                  <c:v>0.33222701626286094</c:v>
                </c:pt>
                <c:pt idx="50">
                  <c:v>0.3575506989564875</c:v>
                </c:pt>
                <c:pt idx="51">
                  <c:v>0.32110969387755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633198909733369</c:v>
                </c:pt>
              </c:numCache>
            </c:numRef>
          </c:xVal>
          <c:yVal>
            <c:numRef>
              <c:f>Sheet1!$B$163:$B$164</c:f>
              <c:numCache>
                <c:formatCode>General</c:formatCode>
                <c:ptCount val="2"/>
                <c:pt idx="0">
                  <c:v>0.35922077961034843</c:v>
                </c:pt>
                <c:pt idx="1">
                  <c:v>0.3592207796103484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633198909733369</c:v>
                </c:pt>
                <c:pt idx="1">
                  <c:v>0.5633198909733369</c:v>
                </c:pt>
              </c:numCache>
            </c:numRef>
          </c:xVal>
          <c:yVal>
            <c:numRef>
              <c:f>Sheet1!$B$167:$B$168</c:f>
              <c:numCache>
                <c:formatCode>General</c:formatCode>
                <c:ptCount val="2"/>
                <c:pt idx="0">
                  <c:v>0.359220779610348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66396673981203</c:v>
                </c:pt>
              </c:numCache>
            </c:numRef>
          </c:xVal>
          <c:yVal>
            <c:numRef>
              <c:f>Sheet1!$B$171:$B$172</c:f>
              <c:numCache>
                <c:formatCode>General</c:formatCode>
                <c:ptCount val="2"/>
                <c:pt idx="0">
                  <c:v>0.3327817101118605</c:v>
                </c:pt>
                <c:pt idx="1">
                  <c:v>0.332781710111860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66396673981203</c:v>
                </c:pt>
                <c:pt idx="1">
                  <c:v>0.666396673981203</c:v>
                </c:pt>
              </c:numCache>
            </c:numRef>
          </c:xVal>
          <c:yVal>
            <c:numRef>
              <c:f>Sheet1!$B$175:$B$176</c:f>
              <c:numCache>
                <c:formatCode>General</c:formatCode>
                <c:ptCount val="2"/>
                <c:pt idx="0">
                  <c:v>0.33278171011186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979291584094333</c:v>
                </c:pt>
              </c:numCache>
            </c:numRef>
          </c:xVal>
          <c:yVal>
            <c:numRef>
              <c:f>Sheet1!$B$179:$B$180</c:f>
              <c:numCache>
                <c:formatCode>General</c:formatCode>
                <c:ptCount val="2"/>
                <c:pt idx="0">
                  <c:v>0.2990437878016407</c:v>
                </c:pt>
                <c:pt idx="1">
                  <c:v>0.299043787801640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979291584094333</c:v>
                </c:pt>
                <c:pt idx="1">
                  <c:v>0.7979291584094333</c:v>
                </c:pt>
              </c:numCache>
            </c:numRef>
          </c:xVal>
          <c:yVal>
            <c:numRef>
              <c:f>Sheet1!$B$183:$B$184</c:f>
              <c:numCache>
                <c:formatCode>General</c:formatCode>
                <c:ptCount val="2"/>
                <c:pt idx="0">
                  <c:v>0.29904378780164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0331103856782864</c:v>
                </c:pt>
                <c:pt idx="1">
                  <c:v>1.0398225537113348</c:v>
                </c:pt>
                <c:pt idx="2">
                  <c:v>1.028134826497281</c:v>
                </c:pt>
                <c:pt idx="3">
                  <c:v>1.0505096013708803</c:v>
                </c:pt>
                <c:pt idx="4">
                  <c:v>1.1020084532304086</c:v>
                </c:pt>
                <c:pt idx="5">
                  <c:v>1.176835677365068</c:v>
                </c:pt>
                <c:pt idx="6">
                  <c:v>1.1470385683913968</c:v>
                </c:pt>
                <c:pt idx="7">
                  <c:v>1.0929465888171501</c:v>
                </c:pt>
                <c:pt idx="8">
                  <c:v>1.0864879879339622</c:v>
                </c:pt>
                <c:pt idx="9">
                  <c:v>0.9580358466753152</c:v>
                </c:pt>
                <c:pt idx="10">
                  <c:v>0.9867749594953739</c:v>
                </c:pt>
                <c:pt idx="11">
                  <c:v>1.0859892937828979</c:v>
                </c:pt>
                <c:pt idx="12">
                  <c:v>1.0987375102261645</c:v>
                </c:pt>
                <c:pt idx="13">
                  <c:v>1.043479286979436</c:v>
                </c:pt>
                <c:pt idx="14">
                  <c:v>1.117522536902753</c:v>
                </c:pt>
                <c:pt idx="15">
                  <c:v>0.979826153917135</c:v>
                </c:pt>
                <c:pt idx="16">
                  <c:v>1.0026806819189318</c:v>
                </c:pt>
                <c:pt idx="17">
                  <c:v>0.9990749909913216</c:v>
                </c:pt>
                <c:pt idx="18">
                  <c:v>1.050274264670452</c:v>
                </c:pt>
                <c:pt idx="19">
                  <c:v>1.0247010804211478</c:v>
                </c:pt>
                <c:pt idx="20">
                  <c:v>1.008556617146979</c:v>
                </c:pt>
                <c:pt idx="21">
                  <c:v>0.9754287163266737</c:v>
                </c:pt>
                <c:pt idx="22">
                  <c:v>0.9678723011942072</c:v>
                </c:pt>
                <c:pt idx="23">
                  <c:v>0.921194673372289</c:v>
                </c:pt>
                <c:pt idx="24">
                  <c:v>0.9702682746738863</c:v>
                </c:pt>
                <c:pt idx="25">
                  <c:v>1.013284406717606</c:v>
                </c:pt>
                <c:pt idx="26">
                  <c:v>0.9893516185385132</c:v>
                </c:pt>
                <c:pt idx="27">
                  <c:v>1.0007663945089083</c:v>
                </c:pt>
                <c:pt idx="28">
                  <c:v>1.0726826887488135</c:v>
                </c:pt>
                <c:pt idx="29">
                  <c:v>1.0305748055083286</c:v>
                </c:pt>
                <c:pt idx="30">
                  <c:v>1.0252197024694585</c:v>
                </c:pt>
                <c:pt idx="31">
                  <c:v>1.0949529837251357</c:v>
                </c:pt>
                <c:pt idx="32">
                  <c:v>1.0980380725461205</c:v>
                </c:pt>
                <c:pt idx="33">
                  <c:v>1.0713686843340124</c:v>
                </c:pt>
                <c:pt idx="34">
                  <c:v>1.146332357185806</c:v>
                </c:pt>
                <c:pt idx="35">
                  <c:v>1.0199311553257606</c:v>
                </c:pt>
                <c:pt idx="36">
                  <c:v>0.9205271162146386</c:v>
                </c:pt>
                <c:pt idx="37">
                  <c:v>0.8523005125319555</c:v>
                </c:pt>
                <c:pt idx="38">
                  <c:v>0.9838611084873302</c:v>
                </c:pt>
                <c:pt idx="39">
                  <c:v>0.9287840168489213</c:v>
                </c:pt>
                <c:pt idx="40">
                  <c:v>0.9013885402550389</c:v>
                </c:pt>
                <c:pt idx="41">
                  <c:v>0.9063099304576501</c:v>
                </c:pt>
                <c:pt idx="42">
                  <c:v>0.9424911511908407</c:v>
                </c:pt>
                <c:pt idx="43">
                  <c:v>0.9719271996093524</c:v>
                </c:pt>
                <c:pt idx="44">
                  <c:v>0.9464603859364944</c:v>
                </c:pt>
                <c:pt idx="45">
                  <c:v>0.9568064138591106</c:v>
                </c:pt>
                <c:pt idx="46">
                  <c:v>0.9827578877807917</c:v>
                </c:pt>
                <c:pt idx="47">
                  <c:v>0.9439534596101792</c:v>
                </c:pt>
                <c:pt idx="48">
                  <c:v>0.8998209518070029</c:v>
                </c:pt>
                <c:pt idx="49">
                  <c:v>0.918778960707449</c:v>
                </c:pt>
                <c:pt idx="50">
                  <c:v>0.9407076824711907</c:v>
                </c:pt>
                <c:pt idx="51">
                  <c:v>0.8201075353398468</c:v>
                </c:pt>
                <c:pt idx="52">
                  <c:v>0.666396673981203</c:v>
                </c:pt>
                <c:pt idx="53">
                  <c:v>0.5633198909733369</c:v>
                </c:pt>
                <c:pt idx="54">
                  <c:v>0.7979291584094333</c:v>
                </c:pt>
              </c:numCache>
            </c:numRef>
          </c:xVal>
          <c:yVal>
            <c:numRef>
              <c:f>Sheet1!$B$187:$B$241</c:f>
              <c:numCache>
                <c:formatCode>General</c:formatCode>
                <c:ptCount val="55"/>
                <c:pt idx="0">
                  <c:v>0.23872008899134328</c:v>
                </c:pt>
                <c:pt idx="1">
                  <c:v>0.2369984260529709</c:v>
                </c:pt>
                <c:pt idx="2">
                  <c:v>0.23999631387091103</c:v>
                </c:pt>
                <c:pt idx="3">
                  <c:v>0.2342572113239197</c:v>
                </c:pt>
                <c:pt idx="4">
                  <c:v>0.22104781844538468</c:v>
                </c:pt>
                <c:pt idx="5">
                  <c:v>0.2018547264459553</c:v>
                </c:pt>
                <c:pt idx="6">
                  <c:v>0.2094976486639371</c:v>
                </c:pt>
                <c:pt idx="7">
                  <c:v>0.22337217564801232</c:v>
                </c:pt>
                <c:pt idx="8">
                  <c:v>0.2250287989207872</c:v>
                </c:pt>
                <c:pt idx="9">
                  <c:v>0.25797661695375584</c:v>
                </c:pt>
                <c:pt idx="10">
                  <c:v>0.2506050694626352</c:v>
                </c:pt>
                <c:pt idx="11">
                  <c:v>0.22515671336411508</c:v>
                </c:pt>
                <c:pt idx="12">
                  <c:v>0.2218868113484539</c:v>
                </c:pt>
                <c:pt idx="13">
                  <c:v>0.23606047841634953</c:v>
                </c:pt>
                <c:pt idx="14">
                  <c:v>0.21706847484880415</c:v>
                </c:pt>
                <c:pt idx="15">
                  <c:v>0.2523874296435939</c:v>
                </c:pt>
                <c:pt idx="16">
                  <c:v>0.24652527100260746</c:v>
                </c:pt>
                <c:pt idx="17">
                  <c:v>0.2474501263409612</c:v>
                </c:pt>
                <c:pt idx="18">
                  <c:v>0.23431757490140637</c:v>
                </c:pt>
                <c:pt idx="19">
                  <c:v>0.2408770655639486</c:v>
                </c:pt>
                <c:pt idx="20">
                  <c:v>0.24501810076184527</c:v>
                </c:pt>
                <c:pt idx="21">
                  <c:v>0.2535153670381922</c:v>
                </c:pt>
                <c:pt idx="22">
                  <c:v>0.2554535783309473</c:v>
                </c:pt>
                <c:pt idx="23">
                  <c:v>0.2674263331065214</c:v>
                </c:pt>
                <c:pt idx="24">
                  <c:v>0.254839014046952</c:v>
                </c:pt>
                <c:pt idx="25">
                  <c:v>0.24380542848604786</c:v>
                </c:pt>
                <c:pt idx="26">
                  <c:v>0.24994415955132893</c:v>
                </c:pt>
                <c:pt idx="27">
                  <c:v>0.24701628339547416</c:v>
                </c:pt>
                <c:pt idx="28">
                  <c:v>0.22856984137431152</c:v>
                </c:pt>
                <c:pt idx="29">
                  <c:v>0.2393704622216311</c:v>
                </c:pt>
                <c:pt idx="30">
                  <c:v>0.24074403963920965</c:v>
                </c:pt>
                <c:pt idx="31">
                  <c:v>0.22285753779392253</c:v>
                </c:pt>
                <c:pt idx="32">
                  <c:v>0.22206621626285766</c:v>
                </c:pt>
                <c:pt idx="33">
                  <c:v>0.22890688190885744</c:v>
                </c:pt>
                <c:pt idx="34">
                  <c:v>0.20967879097940695</c:v>
                </c:pt>
                <c:pt idx="35">
                  <c:v>0.2421005455506096</c:v>
                </c:pt>
                <c:pt idx="36">
                  <c:v>0.2675975607056985</c:v>
                </c:pt>
                <c:pt idx="37">
                  <c:v>0.28509760158565683</c:v>
                </c:pt>
                <c:pt idx="38">
                  <c:v>0.2513524687029086</c:v>
                </c:pt>
                <c:pt idx="39">
                  <c:v>0.26547967573352926</c:v>
                </c:pt>
                <c:pt idx="40">
                  <c:v>0.2725065821665189</c:v>
                </c:pt>
                <c:pt idx="41">
                  <c:v>0.271244251564039</c:v>
                </c:pt>
                <c:pt idx="42">
                  <c:v>0.2619638124429232</c:v>
                </c:pt>
                <c:pt idx="43">
                  <c:v>0.25441350181828437</c:v>
                </c:pt>
                <c:pt idx="44">
                  <c:v>0.26094570855731647</c:v>
                </c:pt>
                <c:pt idx="45">
                  <c:v>0.2582919649761022</c:v>
                </c:pt>
                <c:pt idx="46">
                  <c:v>0.2516354434726016</c:v>
                </c:pt>
                <c:pt idx="47">
                  <c:v>0.26158873211155353</c:v>
                </c:pt>
                <c:pt idx="48">
                  <c:v>0.27290866669722735</c:v>
                </c:pt>
                <c:pt idx="49">
                  <c:v>0.26804596046750734</c:v>
                </c:pt>
                <c:pt idx="50">
                  <c:v>0.26242127000078674</c:v>
                </c:pt>
                <c:pt idx="51">
                  <c:v>0.2933550610882535</c:v>
                </c:pt>
                <c:pt idx="52">
                  <c:v>0.3327817101118605</c:v>
                </c:pt>
                <c:pt idx="53">
                  <c:v>0.35922077961034843</c:v>
                </c:pt>
                <c:pt idx="54">
                  <c:v>0.29904378780164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60607704829083"/>
          <c:min val="0.1376854599406528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3.4784</c:v>
                </c:pt>
                <c:pt idx="1">
                  <c:v>924.2886</c:v>
                </c:pt>
                <c:pt idx="2">
                  <c:v>928.9563</c:v>
                </c:pt>
                <c:pt idx="3">
                  <c:v>923.5355</c:v>
                </c:pt>
                <c:pt idx="4">
                  <c:v>897.8341</c:v>
                </c:pt>
                <c:pt idx="5">
                  <c:v>858.6296</c:v>
                </c:pt>
                <c:pt idx="6">
                  <c:v>833.2201</c:v>
                </c:pt>
                <c:pt idx="7">
                  <c:v>825.6381</c:v>
                </c:pt>
                <c:pt idx="8">
                  <c:v>829.2556</c:v>
                </c:pt>
                <c:pt idx="9">
                  <c:v>803.3995</c:v>
                </c:pt>
                <c:pt idx="10">
                  <c:v>736.0563</c:v>
                </c:pt>
                <c:pt idx="11">
                  <c:v>726.824</c:v>
                </c:pt>
                <c:pt idx="12">
                  <c:v>768.4242</c:v>
                </c:pt>
                <c:pt idx="13">
                  <c:v>705.7289</c:v>
                </c:pt>
                <c:pt idx="14">
                  <c:v>869.0942</c:v>
                </c:pt>
                <c:pt idx="15">
                  <c:v>876.3908</c:v>
                </c:pt>
                <c:pt idx="16">
                  <c:v>919.2013</c:v>
                </c:pt>
                <c:pt idx="17">
                  <c:v>965.464</c:v>
                </c:pt>
                <c:pt idx="18">
                  <c:v>959.9223</c:v>
                </c:pt>
                <c:pt idx="19">
                  <c:v>957.3208</c:v>
                </c:pt>
                <c:pt idx="20">
                  <c:v>990.5422</c:v>
                </c:pt>
                <c:pt idx="21">
                  <c:v>983.6402</c:v>
                </c:pt>
                <c:pt idx="22">
                  <c:v>987.6957</c:v>
                </c:pt>
                <c:pt idx="23">
                  <c:v>985.4886</c:v>
                </c:pt>
                <c:pt idx="24">
                  <c:v>999.8042</c:v>
                </c:pt>
                <c:pt idx="25">
                  <c:v>994.4654</c:v>
                </c:pt>
                <c:pt idx="26">
                  <c:v>969.6018</c:v>
                </c:pt>
                <c:pt idx="27">
                  <c:v>974.996</c:v>
                </c:pt>
                <c:pt idx="28">
                  <c:v>975.1781</c:v>
                </c:pt>
                <c:pt idx="29">
                  <c:v>1028.637</c:v>
                </c:pt>
                <c:pt idx="30">
                  <c:v>1000.7056</c:v>
                </c:pt>
                <c:pt idx="31">
                  <c:v>1007.6816</c:v>
                </c:pt>
                <c:pt idx="32">
                  <c:v>1027.3083</c:v>
                </c:pt>
                <c:pt idx="33">
                  <c:v>1037.9776</c:v>
                </c:pt>
                <c:pt idx="34">
                  <c:v>1034.0625</c:v>
                </c:pt>
                <c:pt idx="35">
                  <c:v>1036.9604</c:v>
                </c:pt>
                <c:pt idx="36">
                  <c:v>1027.2975</c:v>
                </c:pt>
                <c:pt idx="37">
                  <c:v>1054.4516</c:v>
                </c:pt>
                <c:pt idx="38">
                  <c:v>1060.9607</c:v>
                </c:pt>
                <c:pt idx="39">
                  <c:v>1122.7689</c:v>
                </c:pt>
                <c:pt idx="40">
                  <c:v>1181.9241</c:v>
                </c:pt>
                <c:pt idx="41">
                  <c:v>1179.6126</c:v>
                </c:pt>
                <c:pt idx="42">
                  <c:v>1171.88</c:v>
                </c:pt>
                <c:pt idx="43">
                  <c:v>1173.9397</c:v>
                </c:pt>
                <c:pt idx="44">
                  <c:v>1192.3263</c:v>
                </c:pt>
                <c:pt idx="45">
                  <c:v>1196.2815</c:v>
                </c:pt>
                <c:pt idx="46">
                  <c:v>1156.875</c:v>
                </c:pt>
                <c:pt idx="47">
                  <c:v>1138.4759</c:v>
                </c:pt>
                <c:pt idx="48">
                  <c:v>1080.5036</c:v>
                </c:pt>
                <c:pt idx="49">
                  <c:v>996.8511</c:v>
                </c:pt>
                <c:pt idx="50">
                  <c:v>1053.5802</c:v>
                </c:pt>
                <c:pt idx="51">
                  <c:v>1044.7357</c:v>
                </c:pt>
                <c:pt idx="52">
                  <c:v>1044.2787</c:v>
                </c:pt>
                <c:pt idx="53">
                  <c:v>1209.8886</c:v>
                </c:pt>
                <c:pt idx="54">
                  <c:v>1211.5956</c:v>
                </c:pt>
                <c:pt idx="55">
                  <c:v>1206.5714</c:v>
                </c:pt>
                <c:pt idx="56">
                  <c:v>1190.4927</c:v>
                </c:pt>
                <c:pt idx="57">
                  <c:v>1194.3705</c:v>
                </c:pt>
                <c:pt idx="58">
                  <c:v>1196.714</c:v>
                </c:pt>
                <c:pt idx="59">
                  <c:v>1202.7661</c:v>
                </c:pt>
                <c:pt idx="60">
                  <c:v>1212.9897</c:v>
                </c:pt>
                <c:pt idx="61">
                  <c:v>1164.976</c:v>
                </c:pt>
                <c:pt idx="62">
                  <c:v>1071.8587</c:v>
                </c:pt>
                <c:pt idx="63">
                  <c:v>1082.2465</c:v>
                </c:pt>
                <c:pt idx="64">
                  <c:v>1107.2259</c:v>
                </c:pt>
                <c:pt idx="65">
                  <c:v>1074.89</c:v>
                </c:pt>
                <c:pt idx="66">
                  <c:v>1160.1052</c:v>
                </c:pt>
                <c:pt idx="67">
                  <c:v>1199.26</c:v>
                </c:pt>
                <c:pt idx="68">
                  <c:v>1181.5855</c:v>
                </c:pt>
                <c:pt idx="69">
                  <c:v>1237.1495</c:v>
                </c:pt>
                <c:pt idx="70">
                  <c:v>1246.9</c:v>
                </c:pt>
                <c:pt idx="71">
                  <c:v>1236.2716</c:v>
                </c:pt>
                <c:pt idx="72">
                  <c:v>1225.7472</c:v>
                </c:pt>
                <c:pt idx="73">
                  <c:v>1228.5161</c:v>
                </c:pt>
                <c:pt idx="74">
                  <c:v>1225.0656</c:v>
                </c:pt>
                <c:pt idx="75">
                  <c:v>1225.6749</c:v>
                </c:pt>
                <c:pt idx="76">
                  <c:v>1148.8853</c:v>
                </c:pt>
                <c:pt idx="77">
                  <c:v>1140.4251</c:v>
                </c:pt>
                <c:pt idx="78">
                  <c:v>1123.2958</c:v>
                </c:pt>
                <c:pt idx="79">
                  <c:v>1110.9289</c:v>
                </c:pt>
                <c:pt idx="80">
                  <c:v>1161.861</c:v>
                </c:pt>
                <c:pt idx="81">
                  <c:v>1256.5761</c:v>
                </c:pt>
                <c:pt idx="82">
                  <c:v>1256.2069</c:v>
                </c:pt>
                <c:pt idx="83">
                  <c:v>1221.0813</c:v>
                </c:pt>
                <c:pt idx="84">
                  <c:v>1273.4228</c:v>
                </c:pt>
                <c:pt idx="85">
                  <c:v>1300.8923</c:v>
                </c:pt>
                <c:pt idx="86">
                  <c:v>1311.6791</c:v>
                </c:pt>
                <c:pt idx="87">
                  <c:v>1288.9754</c:v>
                </c:pt>
                <c:pt idx="88">
                  <c:v>1279.0341</c:v>
                </c:pt>
                <c:pt idx="89">
                  <c:v>1307.3765</c:v>
                </c:pt>
                <c:pt idx="90">
                  <c:v>1303.2418</c:v>
                </c:pt>
                <c:pt idx="91">
                  <c:v>1311.5593</c:v>
                </c:pt>
                <c:pt idx="92">
                  <c:v>1260.5917</c:v>
                </c:pt>
                <c:pt idx="93">
                  <c:v>1262.9611</c:v>
                </c:pt>
                <c:pt idx="94">
                  <c:v>1239.185</c:v>
                </c:pt>
                <c:pt idx="95">
                  <c:v>1235.635</c:v>
                </c:pt>
                <c:pt idx="96">
                  <c:v>1172.1799</c:v>
                </c:pt>
                <c:pt idx="97">
                  <c:v>1195.1038</c:v>
                </c:pt>
                <c:pt idx="98">
                  <c:v>1161.8619</c:v>
                </c:pt>
                <c:pt idx="99">
                  <c:v>1152.3808</c:v>
                </c:pt>
                <c:pt idx="100">
                  <c:v>1111.2239</c:v>
                </c:pt>
                <c:pt idx="101">
                  <c:v>1218.3133</c:v>
                </c:pt>
                <c:pt idx="102">
                  <c:v>1202.6993</c:v>
                </c:pt>
                <c:pt idx="103">
                  <c:v>1153.0138</c:v>
                </c:pt>
                <c:pt idx="104">
                  <c:v>1148.2793</c:v>
                </c:pt>
              </c:numCache>
            </c:numRef>
          </c:xVal>
          <c:yVal>
            <c:numRef>
              <c:f>Sheet1!$B$2:$B$106</c:f>
              <c:numCache>
                <c:formatCode>General</c:formatCode>
                <c:ptCount val="105"/>
                <c:pt idx="0">
                  <c:v>0.2600106780565937</c:v>
                </c:pt>
                <c:pt idx="1">
                  <c:v>0.2777777777777778</c:v>
                </c:pt>
                <c:pt idx="2">
                  <c:v>0.2935897435897436</c:v>
                </c:pt>
                <c:pt idx="3">
                  <c:v>0.286745406824147</c:v>
                </c:pt>
                <c:pt idx="4">
                  <c:v>0.3491346877351392</c:v>
                </c:pt>
                <c:pt idx="5">
                  <c:v>0.4324712643678161</c:v>
                </c:pt>
                <c:pt idx="6">
                  <c:v>0.43647416413373863</c:v>
                </c:pt>
                <c:pt idx="7">
                  <c:v>0.43015983321751217</c:v>
                </c:pt>
                <c:pt idx="8">
                  <c:v>0.4666234607906675</c:v>
                </c:pt>
                <c:pt idx="9">
                  <c:v>0.4671730873575692</c:v>
                </c:pt>
                <c:pt idx="10">
                  <c:v>0.4513922813873962</c:v>
                </c:pt>
                <c:pt idx="11">
                  <c:v>0.44742831133363675</c:v>
                </c:pt>
                <c:pt idx="12">
                  <c:v>0.4079283887468031</c:v>
                </c:pt>
                <c:pt idx="13">
                  <c:v>0.39940387481371087</c:v>
                </c:pt>
                <c:pt idx="14">
                  <c:v>0.3453887884267631</c:v>
                </c:pt>
                <c:pt idx="15">
                  <c:v>0.29555236728837875</c:v>
                </c:pt>
                <c:pt idx="16">
                  <c:v>0.26583407671721676</c:v>
                </c:pt>
                <c:pt idx="17">
                  <c:v>0.2286302780638517</c:v>
                </c:pt>
                <c:pt idx="18">
                  <c:v>0.21981776765375854</c:v>
                </c:pt>
                <c:pt idx="19">
                  <c:v>0.22362869198312235</c:v>
                </c:pt>
                <c:pt idx="20">
                  <c:v>0.25626423690205014</c:v>
                </c:pt>
                <c:pt idx="21">
                  <c:v>0.2371392722710163</c:v>
                </c:pt>
                <c:pt idx="22">
                  <c:v>0.20175438596491227</c:v>
                </c:pt>
                <c:pt idx="23">
                  <c:v>0.2569343065693431</c:v>
                </c:pt>
                <c:pt idx="24">
                  <c:v>0.25609756097560976</c:v>
                </c:pt>
                <c:pt idx="25">
                  <c:v>0.2362555720653789</c:v>
                </c:pt>
                <c:pt idx="26">
                  <c:v>0.2634088200238379</c:v>
                </c:pt>
                <c:pt idx="27">
                  <c:v>0.29350348027842227</c:v>
                </c:pt>
                <c:pt idx="28">
                  <c:v>0.2882147024504084</c:v>
                </c:pt>
                <c:pt idx="29">
                  <c:v>0.3048016701461378</c:v>
                </c:pt>
                <c:pt idx="30">
                  <c:v>0.31794871794871793</c:v>
                </c:pt>
                <c:pt idx="31">
                  <c:v>0.3101529902642559</c:v>
                </c:pt>
                <c:pt idx="32">
                  <c:v>0.328998699609883</c:v>
                </c:pt>
                <c:pt idx="33">
                  <c:v>0.2958057395143488</c:v>
                </c:pt>
                <c:pt idx="34">
                  <c:v>0.3207126948775056</c:v>
                </c:pt>
                <c:pt idx="35">
                  <c:v>0.3730484798685292</c:v>
                </c:pt>
                <c:pt idx="36">
                  <c:v>0.3312043795620438</c:v>
                </c:pt>
                <c:pt idx="37">
                  <c:v>0.31138392857142855</c:v>
                </c:pt>
                <c:pt idx="38">
                  <c:v>0.30042918454935624</c:v>
                </c:pt>
                <c:pt idx="39">
                  <c:v>0.2960199004975124</c:v>
                </c:pt>
                <c:pt idx="40">
                  <c:v>0.29471544715447157</c:v>
                </c:pt>
                <c:pt idx="41">
                  <c:v>0.27832783278327833</c:v>
                </c:pt>
                <c:pt idx="42">
                  <c:v>0.28991971454058874</c:v>
                </c:pt>
                <c:pt idx="43">
                  <c:v>0.29578606158833065</c:v>
                </c:pt>
                <c:pt idx="44">
                  <c:v>0.26377708978328174</c:v>
                </c:pt>
                <c:pt idx="45">
                  <c:v>0.25245522819179667</c:v>
                </c:pt>
                <c:pt idx="46">
                  <c:v>0.26373626373626374</c:v>
                </c:pt>
                <c:pt idx="47">
                  <c:v>0.2404138770541692</c:v>
                </c:pt>
                <c:pt idx="48">
                  <c:v>0.24582967515364354</c:v>
                </c:pt>
                <c:pt idx="49">
                  <c:v>0.24869482676791646</c:v>
                </c:pt>
                <c:pt idx="50">
                  <c:v>0.24932614555256064</c:v>
                </c:pt>
                <c:pt idx="51">
                  <c:v>0.2632398753894081</c:v>
                </c:pt>
                <c:pt idx="52">
                  <c:v>0.25079945180447694</c:v>
                </c:pt>
                <c:pt idx="53">
                  <c:v>0.21746478873239436</c:v>
                </c:pt>
                <c:pt idx="54">
                  <c:v>0.21578003586371788</c:v>
                </c:pt>
                <c:pt idx="55">
                  <c:v>0.22264631043256997</c:v>
                </c:pt>
                <c:pt idx="56">
                  <c:v>0.2506112469437653</c:v>
                </c:pt>
                <c:pt idx="57">
                  <c:v>0.23627002288329518</c:v>
                </c:pt>
                <c:pt idx="58">
                  <c:v>0.2308085977482088</c:v>
                </c:pt>
                <c:pt idx="59">
                  <c:v>0.18940609951845908</c:v>
                </c:pt>
                <c:pt idx="60">
                  <c:v>0.19972593353888318</c:v>
                </c:pt>
                <c:pt idx="61">
                  <c:v>0.22555282555282555</c:v>
                </c:pt>
                <c:pt idx="62">
                  <c:v>0.24134312696747115</c:v>
                </c:pt>
                <c:pt idx="63">
                  <c:v>0.24294268605645852</c:v>
                </c:pt>
                <c:pt idx="64">
                  <c:v>0.22603599832565927</c:v>
                </c:pt>
                <c:pt idx="65">
                  <c:v>0.2343891402714932</c:v>
                </c:pt>
                <c:pt idx="66">
                  <c:v>0.22414622414622415</c:v>
                </c:pt>
                <c:pt idx="67">
                  <c:v>0.20857988165680474</c:v>
                </c:pt>
                <c:pt idx="68">
                  <c:v>0.18498659517426275</c:v>
                </c:pt>
                <c:pt idx="69">
                  <c:v>0.17526617526617527</c:v>
                </c:pt>
                <c:pt idx="70">
                  <c:v>0.19636363636363635</c:v>
                </c:pt>
                <c:pt idx="71">
                  <c:v>0.17210682492581603</c:v>
                </c:pt>
                <c:pt idx="72">
                  <c:v>0.18714689265536724</c:v>
                </c:pt>
                <c:pt idx="73">
                  <c:v>0.181021897810219</c:v>
                </c:pt>
                <c:pt idx="74">
                  <c:v>0.18181818181818182</c:v>
                </c:pt>
                <c:pt idx="75">
                  <c:v>0.17698343504795117</c:v>
                </c:pt>
                <c:pt idx="76">
                  <c:v>0.20742150333016174</c:v>
                </c:pt>
                <c:pt idx="77">
                  <c:v>0.20353982300884957</c:v>
                </c:pt>
                <c:pt idx="78">
                  <c:v>0.22164412070759626</c:v>
                </c:pt>
                <c:pt idx="79">
                  <c:v>0.23860021208907742</c:v>
                </c:pt>
                <c:pt idx="80">
                  <c:v>0.23498419388830347</c:v>
                </c:pt>
                <c:pt idx="81">
                  <c:v>0.216</c:v>
                </c:pt>
                <c:pt idx="82">
                  <c:v>0.20616113744075829</c:v>
                </c:pt>
                <c:pt idx="83">
                  <c:v>0.18330849478390462</c:v>
                </c:pt>
                <c:pt idx="84">
                  <c:v>0.18303571428571427</c:v>
                </c:pt>
                <c:pt idx="85">
                  <c:v>0.18950437317784258</c:v>
                </c:pt>
                <c:pt idx="86">
                  <c:v>0.19957310565635006</c:v>
                </c:pt>
                <c:pt idx="87">
                  <c:v>0.23127962085308057</c:v>
                </c:pt>
                <c:pt idx="88">
                  <c:v>0.22777777777777777</c:v>
                </c:pt>
                <c:pt idx="89">
                  <c:v>0.19901719901719903</c:v>
                </c:pt>
                <c:pt idx="90">
                  <c:v>0.19318181818181818</c:v>
                </c:pt>
                <c:pt idx="91">
                  <c:v>0.20045300113250283</c:v>
                </c:pt>
                <c:pt idx="92">
                  <c:v>0.23143683702989393</c:v>
                </c:pt>
                <c:pt idx="93">
                  <c:v>0.21632996632996632</c:v>
                </c:pt>
                <c:pt idx="94">
                  <c:v>0.21390374331550802</c:v>
                </c:pt>
                <c:pt idx="95">
                  <c:v>0.20206489675516223</c:v>
                </c:pt>
                <c:pt idx="96">
                  <c:v>0.2222222222222222</c:v>
                </c:pt>
                <c:pt idx="97">
                  <c:v>0.22684026039058588</c:v>
                </c:pt>
                <c:pt idx="98">
                  <c:v>0.22148760330578512</c:v>
                </c:pt>
                <c:pt idx="99">
                  <c:v>0.23511093810821332</c:v>
                </c:pt>
                <c:pt idx="100">
                  <c:v>0.25372781065088756</c:v>
                </c:pt>
                <c:pt idx="101">
                  <c:v>0.22573363431151242</c:v>
                </c:pt>
                <c:pt idx="102">
                  <c:v>0.24556962025316456</c:v>
                </c:pt>
                <c:pt idx="103">
                  <c:v>0.23472278429785512</c:v>
                </c:pt>
                <c:pt idx="104">
                  <c:v>0.2415094339622641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04.4972</c:v>
                </c:pt>
                <c:pt idx="1">
                  <c:v>1220.1543</c:v>
                </c:pt>
                <c:pt idx="2">
                  <c:v>1227.0345</c:v>
                </c:pt>
                <c:pt idx="3">
                  <c:v>1222.0387</c:v>
                </c:pt>
                <c:pt idx="4">
                  <c:v>1222.9314</c:v>
                </c:pt>
                <c:pt idx="5">
                  <c:v>1223.762</c:v>
                </c:pt>
                <c:pt idx="6">
                  <c:v>1231.1922</c:v>
                </c:pt>
                <c:pt idx="7">
                  <c:v>1231.3333</c:v>
                </c:pt>
                <c:pt idx="8">
                  <c:v>1250.1146</c:v>
                </c:pt>
                <c:pt idx="9">
                  <c:v>1132.6397</c:v>
                </c:pt>
                <c:pt idx="10">
                  <c:v>1153.9076</c:v>
                </c:pt>
                <c:pt idx="11">
                  <c:v>1238.3638</c:v>
                </c:pt>
                <c:pt idx="12">
                  <c:v>1233.32</c:v>
                </c:pt>
                <c:pt idx="13">
                  <c:v>1158.413</c:v>
                </c:pt>
                <c:pt idx="14">
                  <c:v>1234.9974</c:v>
                </c:pt>
                <c:pt idx="15">
                  <c:v>1144.6724</c:v>
                </c:pt>
                <c:pt idx="16">
                  <c:v>1233.8438</c:v>
                </c:pt>
                <c:pt idx="17">
                  <c:v>1241.5411</c:v>
                </c:pt>
                <c:pt idx="18">
                  <c:v>1275.1007</c:v>
                </c:pt>
                <c:pt idx="19">
                  <c:v>1249.6575</c:v>
                </c:pt>
                <c:pt idx="20">
                  <c:v>1199.101</c:v>
                </c:pt>
                <c:pt idx="21">
                  <c:v>1193.6488</c:v>
                </c:pt>
                <c:pt idx="22">
                  <c:v>1185.7782</c:v>
                </c:pt>
                <c:pt idx="23">
                  <c:v>1194.8455</c:v>
                </c:pt>
                <c:pt idx="24">
                  <c:v>1273.3306</c:v>
                </c:pt>
                <c:pt idx="25">
                  <c:v>1302.981</c:v>
                </c:pt>
                <c:pt idx="26">
                  <c:v>1304.7211</c:v>
                </c:pt>
                <c:pt idx="27">
                  <c:v>1289.3578</c:v>
                </c:pt>
                <c:pt idx="28">
                  <c:v>1309.6856</c:v>
                </c:pt>
                <c:pt idx="29">
                  <c:v>1283.2398</c:v>
                </c:pt>
                <c:pt idx="30">
                  <c:v>1284.2634</c:v>
                </c:pt>
                <c:pt idx="31">
                  <c:v>1271.5689</c:v>
                </c:pt>
                <c:pt idx="32">
                  <c:v>1292.0278</c:v>
                </c:pt>
                <c:pt idx="33">
                  <c:v>1300.7169</c:v>
                </c:pt>
                <c:pt idx="34">
                  <c:v>1293.5392</c:v>
                </c:pt>
                <c:pt idx="35">
                  <c:v>1283.6571</c:v>
                </c:pt>
                <c:pt idx="36">
                  <c:v>1263.2366</c:v>
                </c:pt>
                <c:pt idx="37">
                  <c:v>1246.2933</c:v>
                </c:pt>
                <c:pt idx="38">
                  <c:v>1261.3856</c:v>
                </c:pt>
                <c:pt idx="39">
                  <c:v>1229.6675</c:v>
                </c:pt>
                <c:pt idx="40">
                  <c:v>1217.6929</c:v>
                </c:pt>
                <c:pt idx="41">
                  <c:v>1225.458</c:v>
                </c:pt>
                <c:pt idx="42">
                  <c:v>1235.442</c:v>
                </c:pt>
                <c:pt idx="43">
                  <c:v>1223.6925</c:v>
                </c:pt>
                <c:pt idx="44">
                  <c:v>1193.9576</c:v>
                </c:pt>
                <c:pt idx="45">
                  <c:v>1188.0294</c:v>
                </c:pt>
                <c:pt idx="46">
                  <c:v>1190.6272</c:v>
                </c:pt>
                <c:pt idx="47">
                  <c:v>1188.3735</c:v>
                </c:pt>
                <c:pt idx="48">
                  <c:v>1113.2664</c:v>
                </c:pt>
                <c:pt idx="49">
                  <c:v>1088.7233</c:v>
                </c:pt>
                <c:pt idx="50">
                  <c:v>1070.5165</c:v>
                </c:pt>
                <c:pt idx="51">
                  <c:v>1074.9106</c:v>
                </c:pt>
              </c:numCache>
            </c:numRef>
          </c:xVal>
          <c:yVal>
            <c:numRef>
              <c:f>Sheet1!$B$109:$B$160</c:f>
              <c:numCache>
                <c:formatCode>General</c:formatCode>
                <c:ptCount val="52"/>
                <c:pt idx="0">
                  <c:v>0.23903508771929824</c:v>
                </c:pt>
                <c:pt idx="1">
                  <c:v>0.2225691347011597</c:v>
                </c:pt>
                <c:pt idx="2">
                  <c:v>0.23661626481405804</c:v>
                </c:pt>
                <c:pt idx="3">
                  <c:v>0.2576709796672828</c:v>
                </c:pt>
                <c:pt idx="4">
                  <c:v>0.2545757071547421</c:v>
                </c:pt>
                <c:pt idx="5">
                  <c:v>0.24957264957264957</c:v>
                </c:pt>
                <c:pt idx="6">
                  <c:v>0.22037125178486436</c:v>
                </c:pt>
                <c:pt idx="7">
                  <c:v>0.2268041237113402</c:v>
                </c:pt>
                <c:pt idx="8">
                  <c:v>0.21259309410968177</c:v>
                </c:pt>
                <c:pt idx="9">
                  <c:v>0.2487012987012987</c:v>
                </c:pt>
                <c:pt idx="10">
                  <c:v>0.2536057692307692</c:v>
                </c:pt>
                <c:pt idx="11">
                  <c:v>0.23016650342801176</c:v>
                </c:pt>
                <c:pt idx="12">
                  <c:v>0.23159434422233058</c:v>
                </c:pt>
                <c:pt idx="13">
                  <c:v>0.2338235294117647</c:v>
                </c:pt>
                <c:pt idx="14">
                  <c:v>0.20257234726688103</c:v>
                </c:pt>
                <c:pt idx="15">
                  <c:v>0.22913165266106442</c:v>
                </c:pt>
                <c:pt idx="16">
                  <c:v>0.19851116625310175</c:v>
                </c:pt>
                <c:pt idx="17">
                  <c:v>0.19716407832545577</c:v>
                </c:pt>
                <c:pt idx="18">
                  <c:v>0.20904836193447737</c:v>
                </c:pt>
                <c:pt idx="19">
                  <c:v>0.23145780051150894</c:v>
                </c:pt>
                <c:pt idx="20">
                  <c:v>0.21305595408895264</c:v>
                </c:pt>
                <c:pt idx="21">
                  <c:v>0.2238667900092507</c:v>
                </c:pt>
                <c:pt idx="22">
                  <c:v>0.2396135265700483</c:v>
                </c:pt>
                <c:pt idx="23">
                  <c:v>0.23921971252566734</c:v>
                </c:pt>
                <c:pt idx="24">
                  <c:v>0.23748773307163887</c:v>
                </c:pt>
                <c:pt idx="25">
                  <c:v>0.22316684378320936</c:v>
                </c:pt>
                <c:pt idx="26">
                  <c:v>0.2</c:v>
                </c:pt>
                <c:pt idx="27">
                  <c:v>0.20844564240790656</c:v>
                </c:pt>
                <c:pt idx="28">
                  <c:v>0.21981681931723562</c:v>
                </c:pt>
                <c:pt idx="29">
                  <c:v>0.21773399014778325</c:v>
                </c:pt>
                <c:pt idx="30">
                  <c:v>0.22810590631364563</c:v>
                </c:pt>
                <c:pt idx="31">
                  <c:v>0.2082294264339152</c:v>
                </c:pt>
                <c:pt idx="32">
                  <c:v>0.20247469066366705</c:v>
                </c:pt>
                <c:pt idx="33">
                  <c:v>0.2278876170655567</c:v>
                </c:pt>
                <c:pt idx="34">
                  <c:v>0.2430453879941435</c:v>
                </c:pt>
                <c:pt idx="35">
                  <c:v>0.2591486183719193</c:v>
                </c:pt>
                <c:pt idx="36">
                  <c:v>0.22600243013365734</c:v>
                </c:pt>
                <c:pt idx="37">
                  <c:v>0.21621621621621623</c:v>
                </c:pt>
                <c:pt idx="38">
                  <c:v>0.2645739910313901</c:v>
                </c:pt>
                <c:pt idx="39">
                  <c:v>0.2979876160990712</c:v>
                </c:pt>
                <c:pt idx="40">
                  <c:v>0.2741007194244604</c:v>
                </c:pt>
                <c:pt idx="41">
                  <c:v>0.2736220472440945</c:v>
                </c:pt>
                <c:pt idx="42">
                  <c:v>0.268346923647146</c:v>
                </c:pt>
                <c:pt idx="43">
                  <c:v>0.2779569892473118</c:v>
                </c:pt>
                <c:pt idx="44">
                  <c:v>0.27756833176248824</c:v>
                </c:pt>
                <c:pt idx="45">
                  <c:v>0.27578215527230593</c:v>
                </c:pt>
                <c:pt idx="46">
                  <c:v>0.30251694094869314</c:v>
                </c:pt>
                <c:pt idx="47">
                  <c:v>0.3085606773283161</c:v>
                </c:pt>
                <c:pt idx="48">
                  <c:v>0.32023943135054245</c:v>
                </c:pt>
                <c:pt idx="49">
                  <c:v>0.33222701626286094</c:v>
                </c:pt>
                <c:pt idx="50">
                  <c:v>0.3575506989564875</c:v>
                </c:pt>
                <c:pt idx="51">
                  <c:v>0.32110969387755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64.4786894623837</c:v>
                </c:pt>
              </c:numCache>
            </c:numRef>
          </c:xVal>
          <c:yVal>
            <c:numRef>
              <c:f>Sheet1!$B$163:$B$164</c:f>
              <c:numCache>
                <c:formatCode>General</c:formatCode>
                <c:ptCount val="2"/>
                <c:pt idx="0">
                  <c:v>0.35922077961034843</c:v>
                </c:pt>
                <c:pt idx="1">
                  <c:v>0.3592207796103484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64.4786894623837</c:v>
                </c:pt>
                <c:pt idx="1">
                  <c:v>964.4786894623837</c:v>
                </c:pt>
              </c:numCache>
            </c:numRef>
          </c:xVal>
          <c:yVal>
            <c:numRef>
              <c:f>Sheet1!$B$167:$B$168</c:f>
              <c:numCache>
                <c:formatCode>General</c:formatCode>
                <c:ptCount val="2"/>
                <c:pt idx="0">
                  <c:v>0.359220779610348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24.6684049378846</c:v>
                </c:pt>
              </c:numCache>
            </c:numRef>
          </c:xVal>
          <c:yVal>
            <c:numRef>
              <c:f>Sheet1!$B$171:$B$172</c:f>
              <c:numCache>
                <c:formatCode>General</c:formatCode>
                <c:ptCount val="2"/>
                <c:pt idx="0">
                  <c:v>0.3327817101118605</c:v>
                </c:pt>
                <c:pt idx="1">
                  <c:v>0.332781710111860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24.6684049378846</c:v>
                </c:pt>
                <c:pt idx="1">
                  <c:v>1024.6684049378846</c:v>
                </c:pt>
              </c:numCache>
            </c:numRef>
          </c:xVal>
          <c:yVal>
            <c:numRef>
              <c:f>Sheet1!$B$175:$B$176</c:f>
              <c:numCache>
                <c:formatCode>General</c:formatCode>
                <c:ptCount val="2"/>
                <c:pt idx="0">
                  <c:v>0.33278171011186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01.4742828717815</c:v>
                </c:pt>
              </c:numCache>
            </c:numRef>
          </c:xVal>
          <c:yVal>
            <c:numRef>
              <c:f>Sheet1!$B$179:$B$180</c:f>
              <c:numCache>
                <c:formatCode>General</c:formatCode>
                <c:ptCount val="2"/>
                <c:pt idx="0">
                  <c:v>0.2990437878016407</c:v>
                </c:pt>
                <c:pt idx="1">
                  <c:v>0.299043787801640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01.4742828717815</c:v>
                </c:pt>
                <c:pt idx="1">
                  <c:v>1101.4742828717815</c:v>
                </c:pt>
              </c:numCache>
            </c:numRef>
          </c:xVal>
          <c:yVal>
            <c:numRef>
              <c:f>Sheet1!$B$183:$B$184</c:f>
              <c:numCache>
                <c:formatCode>General</c:formatCode>
                <c:ptCount val="2"/>
                <c:pt idx="0">
                  <c:v>0.29904378780164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04.4972</c:v>
                </c:pt>
                <c:pt idx="1">
                  <c:v>1220.1543</c:v>
                </c:pt>
                <c:pt idx="2">
                  <c:v>1227.0345</c:v>
                </c:pt>
                <c:pt idx="3">
                  <c:v>1222.0387</c:v>
                </c:pt>
                <c:pt idx="4">
                  <c:v>1222.9314</c:v>
                </c:pt>
                <c:pt idx="5">
                  <c:v>1223.762</c:v>
                </c:pt>
                <c:pt idx="6">
                  <c:v>1231.1922</c:v>
                </c:pt>
                <c:pt idx="7">
                  <c:v>1231.3333</c:v>
                </c:pt>
                <c:pt idx="8">
                  <c:v>1250.1146</c:v>
                </c:pt>
                <c:pt idx="9">
                  <c:v>1132.6397</c:v>
                </c:pt>
                <c:pt idx="10">
                  <c:v>1153.9076</c:v>
                </c:pt>
                <c:pt idx="11">
                  <c:v>1238.3638</c:v>
                </c:pt>
                <c:pt idx="12">
                  <c:v>1233.32</c:v>
                </c:pt>
                <c:pt idx="13">
                  <c:v>1158.413</c:v>
                </c:pt>
                <c:pt idx="14">
                  <c:v>1234.9974</c:v>
                </c:pt>
                <c:pt idx="15">
                  <c:v>1144.6724</c:v>
                </c:pt>
                <c:pt idx="16">
                  <c:v>1233.8438</c:v>
                </c:pt>
                <c:pt idx="17">
                  <c:v>1241.5411</c:v>
                </c:pt>
                <c:pt idx="18">
                  <c:v>1275.1007</c:v>
                </c:pt>
                <c:pt idx="19">
                  <c:v>1249.6575</c:v>
                </c:pt>
                <c:pt idx="20">
                  <c:v>1199.101</c:v>
                </c:pt>
                <c:pt idx="21">
                  <c:v>1193.6488</c:v>
                </c:pt>
                <c:pt idx="22">
                  <c:v>1185.7782</c:v>
                </c:pt>
                <c:pt idx="23">
                  <c:v>1194.8455</c:v>
                </c:pt>
                <c:pt idx="24">
                  <c:v>1273.3306</c:v>
                </c:pt>
                <c:pt idx="25">
                  <c:v>1302.981</c:v>
                </c:pt>
                <c:pt idx="26">
                  <c:v>1304.7211</c:v>
                </c:pt>
                <c:pt idx="27">
                  <c:v>1289.3578</c:v>
                </c:pt>
                <c:pt idx="28">
                  <c:v>1309.6856</c:v>
                </c:pt>
                <c:pt idx="29">
                  <c:v>1283.2398</c:v>
                </c:pt>
                <c:pt idx="30">
                  <c:v>1284.2634</c:v>
                </c:pt>
                <c:pt idx="31">
                  <c:v>1271.5689</c:v>
                </c:pt>
                <c:pt idx="32">
                  <c:v>1292.0278</c:v>
                </c:pt>
                <c:pt idx="33">
                  <c:v>1300.7169</c:v>
                </c:pt>
                <c:pt idx="34">
                  <c:v>1293.5392</c:v>
                </c:pt>
                <c:pt idx="35">
                  <c:v>1283.6571</c:v>
                </c:pt>
                <c:pt idx="36">
                  <c:v>1263.2366</c:v>
                </c:pt>
                <c:pt idx="37">
                  <c:v>1246.2933</c:v>
                </c:pt>
                <c:pt idx="38">
                  <c:v>1261.3856</c:v>
                </c:pt>
                <c:pt idx="39">
                  <c:v>1229.6675</c:v>
                </c:pt>
                <c:pt idx="40">
                  <c:v>1217.6929</c:v>
                </c:pt>
                <c:pt idx="41">
                  <c:v>1225.458</c:v>
                </c:pt>
                <c:pt idx="42">
                  <c:v>1235.442</c:v>
                </c:pt>
                <c:pt idx="43">
                  <c:v>1223.6925</c:v>
                </c:pt>
                <c:pt idx="44">
                  <c:v>1193.9576</c:v>
                </c:pt>
                <c:pt idx="45">
                  <c:v>1188.0294</c:v>
                </c:pt>
                <c:pt idx="46">
                  <c:v>1190.6272</c:v>
                </c:pt>
                <c:pt idx="47">
                  <c:v>1188.3735</c:v>
                </c:pt>
                <c:pt idx="48">
                  <c:v>1113.2664</c:v>
                </c:pt>
                <c:pt idx="49">
                  <c:v>1088.7233</c:v>
                </c:pt>
                <c:pt idx="50">
                  <c:v>1070.5165</c:v>
                </c:pt>
                <c:pt idx="51">
                  <c:v>1074.9106</c:v>
                </c:pt>
                <c:pt idx="52">
                  <c:v>1024.6684049378846</c:v>
                </c:pt>
                <c:pt idx="53">
                  <c:v>964.4786894623837</c:v>
                </c:pt>
                <c:pt idx="54">
                  <c:v>1101.4742828717815</c:v>
                </c:pt>
              </c:numCache>
            </c:numRef>
          </c:xVal>
          <c:yVal>
            <c:numRef>
              <c:f>Sheet1!$B$187:$B$241</c:f>
              <c:numCache>
                <c:formatCode>General</c:formatCode>
                <c:ptCount val="55"/>
                <c:pt idx="0">
                  <c:v>0.2537897100182256</c:v>
                </c:pt>
                <c:pt idx="1">
                  <c:v>0.24691213713431215</c:v>
                </c:pt>
                <c:pt idx="2">
                  <c:v>0.24388992504165752</c:v>
                </c:pt>
                <c:pt idx="3">
                  <c:v>0.24608439136131155</c:v>
                </c:pt>
                <c:pt idx="4">
                  <c:v>0.2456922619559</c:v>
                </c:pt>
                <c:pt idx="5">
                  <c:v>0.2453274107358543</c:v>
                </c:pt>
                <c:pt idx="6">
                  <c:v>0.24206360440888086</c:v>
                </c:pt>
                <c:pt idx="7">
                  <c:v>0.24200162450622198</c:v>
                </c:pt>
                <c:pt idx="8">
                  <c:v>0.2337517085189289</c:v>
                </c:pt>
                <c:pt idx="9">
                  <c:v>0.28535399673197326</c:v>
                </c:pt>
                <c:pt idx="10">
                  <c:v>0.27601181124821283</c:v>
                </c:pt>
                <c:pt idx="11">
                  <c:v>0.23891339129826172</c:v>
                </c:pt>
                <c:pt idx="12">
                  <c:v>0.24112894220563819</c:v>
                </c:pt>
                <c:pt idx="13">
                  <c:v>0.2740327591331223</c:v>
                </c:pt>
                <c:pt idx="14">
                  <c:v>0.24039212371719032</c:v>
                </c:pt>
                <c:pt idx="15">
                  <c:v>0.280068485925996</c:v>
                </c:pt>
                <c:pt idx="16">
                  <c:v>0.24089885664211785</c:v>
                </c:pt>
                <c:pt idx="17">
                  <c:v>0.23751772336971444</c:v>
                </c:pt>
                <c:pt idx="18">
                  <c:v>0.22277625815872493</c:v>
                </c:pt>
                <c:pt idx="19">
                  <c:v>0.23395249529076012</c:v>
                </c:pt>
                <c:pt idx="20">
                  <c:v>0.25616005694046373</c:v>
                </c:pt>
                <c:pt idx="21">
                  <c:v>0.25855500254837793</c:v>
                </c:pt>
                <c:pt idx="22">
                  <c:v>0.26201225996770405</c:v>
                </c:pt>
                <c:pt idx="23">
                  <c:v>0.25802933742072476</c:v>
                </c:pt>
                <c:pt idx="24">
                  <c:v>0.2235537962572115</c:v>
                </c:pt>
                <c:pt idx="25">
                  <c:v>0.2105294950113109</c:v>
                </c:pt>
                <c:pt idx="26">
                  <c:v>0.2097651347801508</c:v>
                </c:pt>
                <c:pt idx="27">
                  <c:v>0.2165136524167136</c:v>
                </c:pt>
                <c:pt idx="28">
                  <c:v>0.20758441736874067</c:v>
                </c:pt>
                <c:pt idx="29">
                  <c:v>0.21920105882682683</c:v>
                </c:pt>
                <c:pt idx="30">
                  <c:v>0.21875142999364738</c:v>
                </c:pt>
                <c:pt idx="31">
                  <c:v>0.22432764455284682</c:v>
                </c:pt>
                <c:pt idx="32">
                  <c:v>0.215340822224657</c:v>
                </c:pt>
                <c:pt idx="33">
                  <c:v>0.21152402865844033</c:v>
                </c:pt>
                <c:pt idx="34">
                  <c:v>0.21467692126874915</c:v>
                </c:pt>
                <c:pt idx="35">
                  <c:v>0.21901775469231555</c:v>
                </c:pt>
                <c:pt idx="36">
                  <c:v>0.2279877093503273</c:v>
                </c:pt>
                <c:pt idx="37">
                  <c:v>0.23543026133275136</c:v>
                </c:pt>
                <c:pt idx="38">
                  <c:v>0.22880078376437096</c:v>
                </c:pt>
                <c:pt idx="39">
                  <c:v>0.24273334755263698</c:v>
                </c:pt>
                <c:pt idx="40">
                  <c:v>0.24799333722222527</c:v>
                </c:pt>
                <c:pt idx="41">
                  <c:v>0.24458242196966395</c:v>
                </c:pt>
                <c:pt idx="42">
                  <c:v>0.2401968277234119</c:v>
                </c:pt>
                <c:pt idx="43">
                  <c:v>0.24535793946182716</c:v>
                </c:pt>
                <c:pt idx="44">
                  <c:v>0.25841935836736407</c:v>
                </c:pt>
                <c:pt idx="45">
                  <c:v>0.26102339280352505</c:v>
                </c:pt>
                <c:pt idx="46">
                  <c:v>0.25988227734550085</c:v>
                </c:pt>
                <c:pt idx="47">
                  <c:v>0.2608722426652904</c:v>
                </c:pt>
                <c:pt idx="48">
                  <c:v>0.2938639559678421</c:v>
                </c:pt>
                <c:pt idx="49">
                  <c:v>0.3046448131538585</c:v>
                </c:pt>
                <c:pt idx="50">
                  <c:v>0.3126423729818495</c:v>
                </c:pt>
                <c:pt idx="51">
                  <c:v>0.3107122107545402</c:v>
                </c:pt>
                <c:pt idx="52">
                  <c:v>0.3327817101118605</c:v>
                </c:pt>
                <c:pt idx="53">
                  <c:v>0.35922077961034843</c:v>
                </c:pt>
                <c:pt idx="54">
                  <c:v>0.2990437878016406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4.0"/>
          <c:min val="56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60607704829083"/>
          <c:min val="0.1376854599406528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3228363866485086</c:v>
                </c:pt>
                <c:pt idx="1">
                  <c:v>0.3080036559758436</c:v>
                </c:pt>
                <c:pt idx="2">
                  <c:v>0.36531068626845975</c:v>
                </c:pt>
                <c:pt idx="3">
                  <c:v>0.42146103745176067</c:v>
                </c:pt>
                <c:pt idx="4">
                  <c:v>0.4073178214256774</c:v>
                </c:pt>
                <c:pt idx="5">
                  <c:v>0.3898829603881471</c:v>
                </c:pt>
                <c:pt idx="6">
                  <c:v>0.4109748018849772</c:v>
                </c:pt>
                <c:pt idx="7">
                  <c:v>0.38421386658307993</c:v>
                </c:pt>
                <c:pt idx="8">
                  <c:v>0.3811088791071936</c:v>
                </c:pt>
                <c:pt idx="9">
                  <c:v>0.46225170957867856</c:v>
                </c:pt>
                <c:pt idx="10">
                  <c:v>0.5005154881912074</c:v>
                </c:pt>
                <c:pt idx="11">
                  <c:v>0.4472003663606531</c:v>
                </c:pt>
                <c:pt idx="12">
                  <c:v>0.44287883620340357</c:v>
                </c:pt>
                <c:pt idx="13">
                  <c:v>0.44619182329597135</c:v>
                </c:pt>
                <c:pt idx="14">
                  <c:v>0.37981896085971323</c:v>
                </c:pt>
                <c:pt idx="15">
                  <c:v>0.3700256004131401</c:v>
                </c:pt>
                <c:pt idx="16">
                  <c:v>0.3625638387146853</c:v>
                </c:pt>
                <c:pt idx="17">
                  <c:v>0.3508663714871325</c:v>
                </c:pt>
                <c:pt idx="18">
                  <c:v>0.3325246912414404</c:v>
                </c:pt>
                <c:pt idx="19">
                  <c:v>0.32369041083242733</c:v>
                </c:pt>
                <c:pt idx="20">
                  <c:v>0.33620240041439614</c:v>
                </c:pt>
                <c:pt idx="21">
                  <c:v>0.3228617634785542</c:v>
                </c:pt>
                <c:pt idx="22">
                  <c:v>0.29670432956150516</c:v>
                </c:pt>
                <c:pt idx="23">
                  <c:v>0.2949624739719362</c:v>
                </c:pt>
                <c:pt idx="24">
                  <c:v>0.31406346956307074</c:v>
                </c:pt>
                <c:pt idx="25">
                  <c:v>0.2983774773758172</c:v>
                </c:pt>
                <c:pt idx="26">
                  <c:v>0.3078281795715246</c:v>
                </c:pt>
                <c:pt idx="27">
                  <c:v>0.29647306924488864</c:v>
                </c:pt>
                <c:pt idx="28">
                  <c:v>0.28555389683563215</c:v>
                </c:pt>
                <c:pt idx="29">
                  <c:v>0.2974608061219133</c:v>
                </c:pt>
                <c:pt idx="30">
                  <c:v>0.29676962502570553</c:v>
                </c:pt>
                <c:pt idx="31">
                  <c:v>0.27719122750725494</c:v>
                </c:pt>
                <c:pt idx="32">
                  <c:v>0.2762765943581928</c:v>
                </c:pt>
                <c:pt idx="33">
                  <c:v>0.26276261663368905</c:v>
                </c:pt>
                <c:pt idx="34">
                  <c:v>0.27873143838629727</c:v>
                </c:pt>
                <c:pt idx="35">
                  <c:v>0.3109381484308005</c:v>
                </c:pt>
                <c:pt idx="36">
                  <c:v>0.29156875893397677</c:v>
                </c:pt>
                <c:pt idx="37">
                  <c:v>0.28648626485270123</c:v>
                </c:pt>
                <c:pt idx="38">
                  <c:v>0.2783736206389989</c:v>
                </c:pt>
                <c:pt idx="39">
                  <c:v>0.3235619534563343</c:v>
                </c:pt>
                <c:pt idx="40">
                  <c:v>0.3415980502213681</c:v>
                </c:pt>
                <c:pt idx="41">
                  <c:v>0.33122623656550787</c:v>
                </c:pt>
                <c:pt idx="42">
                  <c:v>0.3486729530870764</c:v>
                </c:pt>
                <c:pt idx="43">
                  <c:v>0.32747610734279364</c:v>
                </c:pt>
                <c:pt idx="44">
                  <c:v>0.3161442500547034</c:v>
                </c:pt>
                <c:pt idx="45">
                  <c:v>0.30128418839732907</c:v>
                </c:pt>
                <c:pt idx="46">
                  <c:v>0.33800905891509203</c:v>
                </c:pt>
                <c:pt idx="47">
                  <c:v>0.3433638941578312</c:v>
                </c:pt>
                <c:pt idx="48">
                  <c:v>0.365799263308655</c:v>
                </c:pt>
                <c:pt idx="49">
                  <c:v>0.4252025550095831</c:v>
                </c:pt>
                <c:pt idx="50">
                  <c:v>0.30494614226621647</c:v>
                </c:pt>
                <c:pt idx="51">
                  <c:v>0.29205195456259764</c:v>
                </c:pt>
                <c:pt idx="52">
                  <c:v>0.3475154441830592</c:v>
                </c:pt>
                <c:pt idx="53">
                  <c:v>0.3201550080234311</c:v>
                </c:pt>
                <c:pt idx="54">
                  <c:v>0.31968450000520404</c:v>
                </c:pt>
                <c:pt idx="55">
                  <c:v>0.29981780552207676</c:v>
                </c:pt>
                <c:pt idx="56">
                  <c:v>0.29543350662912427</c:v>
                </c:pt>
                <c:pt idx="57">
                  <c:v>0.31655873614557756</c:v>
                </c:pt>
                <c:pt idx="58">
                  <c:v>0.3343284788032926</c:v>
                </c:pt>
                <c:pt idx="59">
                  <c:v>0.3847197939235833</c:v>
                </c:pt>
                <c:pt idx="60">
                  <c:v>0.4055016216603853</c:v>
                </c:pt>
                <c:pt idx="61">
                  <c:v>0.32291646707272936</c:v>
                </c:pt>
                <c:pt idx="62">
                  <c:v>0.2802272598671713</c:v>
                </c:pt>
                <c:pt idx="63">
                  <c:v>0.30338225865100094</c:v>
                </c:pt>
                <c:pt idx="64">
                  <c:v>0.3091601770152877</c:v>
                </c:pt>
                <c:pt idx="65">
                  <c:v>0.2949017626044907</c:v>
                </c:pt>
                <c:pt idx="66">
                  <c:v>0.2793748304107077</c:v>
                </c:pt>
                <c:pt idx="67">
                  <c:v>0.28435498768229267</c:v>
                </c:pt>
                <c:pt idx="68">
                  <c:v>0.32250721845588004</c:v>
                </c:pt>
                <c:pt idx="69">
                  <c:v>0.3023809736058221</c:v>
                </c:pt>
                <c:pt idx="70">
                  <c:v>0.3137215118486944</c:v>
                </c:pt>
                <c:pt idx="71">
                  <c:v>0.2835434446479625</c:v>
                </c:pt>
                <c:pt idx="72">
                  <c:v>0.27817778985921005</c:v>
                </c:pt>
                <c:pt idx="73">
                  <c:v>0.30208912753483563</c:v>
                </c:pt>
                <c:pt idx="74">
                  <c:v>0.30810175598353806</c:v>
                </c:pt>
                <c:pt idx="75">
                  <c:v>0.2902563419970634</c:v>
                </c:pt>
                <c:pt idx="76">
                  <c:v>0.28070571280557377</c:v>
                </c:pt>
                <c:pt idx="77">
                  <c:v>0.2878221059593684</c:v>
                </c:pt>
                <c:pt idx="78">
                  <c:v>0.29755889177164285</c:v>
                </c:pt>
                <c:pt idx="79">
                  <c:v>0.28417848608775303</c:v>
                </c:pt>
                <c:pt idx="80">
                  <c:v>0.3030245084142449</c:v>
                </c:pt>
                <c:pt idx="81">
                  <c:v>0.333078640006837</c:v>
                </c:pt>
                <c:pt idx="82">
                  <c:v>0.29953714638845497</c:v>
                </c:pt>
                <c:pt idx="83">
                  <c:v>0.280276613757256</c:v>
                </c:pt>
                <c:pt idx="84">
                  <c:v>0.29599748559790284</c:v>
                </c:pt>
                <c:pt idx="85">
                  <c:v>0.3092059184790373</c:v>
                </c:pt>
                <c:pt idx="86">
                  <c:v>0.31998358946609495</c:v>
                </c:pt>
                <c:pt idx="87">
                  <c:v>0.3277523955695795</c:v>
                </c:pt>
                <c:pt idx="88">
                  <c:v>0.315408203170001</c:v>
                </c:pt>
                <c:pt idx="89">
                  <c:v>0.30704894016004125</c:v>
                </c:pt>
                <c:pt idx="90">
                  <c:v>0.3053372248998843</c:v>
                </c:pt>
                <c:pt idx="91">
                  <c:v>0.3053984128860681</c:v>
                </c:pt>
                <c:pt idx="92">
                  <c:v>0.31896692867699816</c:v>
                </c:pt>
                <c:pt idx="93">
                  <c:v>0.33512185815552614</c:v>
                </c:pt>
                <c:pt idx="94">
                  <c:v>0.3257478867427156</c:v>
                </c:pt>
                <c:pt idx="95">
                  <c:v>0.3412145938114341</c:v>
                </c:pt>
                <c:pt idx="96">
                  <c:v>0.33693698805984773</c:v>
                </c:pt>
                <c:pt idx="97">
                  <c:v>0.34800215816522817</c:v>
                </c:pt>
                <c:pt idx="98">
                  <c:v>0.3840279776070253</c:v>
                </c:pt>
                <c:pt idx="99">
                  <c:v>0.3933276645892205</c:v>
                </c:pt>
                <c:pt idx="100">
                  <c:v>0.49900743144561716</c:v>
                </c:pt>
                <c:pt idx="101">
                  <c:v>0.473513223027394</c:v>
                </c:pt>
                <c:pt idx="102">
                  <c:v>0.4097756809792393</c:v>
                </c:pt>
                <c:pt idx="103">
                  <c:v>0.43613919744728163</c:v>
                </c:pt>
                <c:pt idx="104">
                  <c:v>0.3993724906931607</c:v>
                </c:pt>
              </c:numCache>
            </c:numRef>
          </c:xVal>
          <c:yVal>
            <c:numRef>
              <c:f>Sheet1!$B$2:$B$106</c:f>
              <c:numCache>
                <c:formatCode>General</c:formatCode>
                <c:ptCount val="105"/>
                <c:pt idx="0">
                  <c:v>0.4159103043246129</c:v>
                </c:pt>
                <c:pt idx="1">
                  <c:v>0.4170182841068917</c:v>
                </c:pt>
                <c:pt idx="2">
                  <c:v>0.3423076923076923</c:v>
                </c:pt>
                <c:pt idx="3">
                  <c:v>0.3123359580052493</c:v>
                </c:pt>
                <c:pt idx="4">
                  <c:v>0.2618510158013544</c:v>
                </c:pt>
                <c:pt idx="5">
                  <c:v>0.20043103448275862</c:v>
                </c:pt>
                <c:pt idx="6">
                  <c:v>0.18662613981762918</c:v>
                </c:pt>
                <c:pt idx="7">
                  <c:v>0.16191799861014594</c:v>
                </c:pt>
                <c:pt idx="8">
                  <c:v>0.15359688917692807</c:v>
                </c:pt>
                <c:pt idx="9">
                  <c:v>0.1367335865436788</c:v>
                </c:pt>
                <c:pt idx="10">
                  <c:v>0.14606741573033707</c:v>
                </c:pt>
                <c:pt idx="11">
                  <c:v>0.14337733272644515</c:v>
                </c:pt>
                <c:pt idx="12">
                  <c:v>0.17135549872122763</c:v>
                </c:pt>
                <c:pt idx="13">
                  <c:v>0.16840536512667661</c:v>
                </c:pt>
                <c:pt idx="14">
                  <c:v>0.22965641952983726</c:v>
                </c:pt>
                <c:pt idx="15">
                  <c:v>0.2309899569583931</c:v>
                </c:pt>
                <c:pt idx="16">
                  <c:v>0.2247992863514719</c:v>
                </c:pt>
                <c:pt idx="17">
                  <c:v>0.2255406797116375</c:v>
                </c:pt>
                <c:pt idx="18">
                  <c:v>0.19134396355353075</c:v>
                </c:pt>
                <c:pt idx="19">
                  <c:v>0.2180028129395218</c:v>
                </c:pt>
                <c:pt idx="20">
                  <c:v>0.21298405466970388</c:v>
                </c:pt>
                <c:pt idx="21">
                  <c:v>0.18695106649937265</c:v>
                </c:pt>
                <c:pt idx="22">
                  <c:v>0.1871345029239766</c:v>
                </c:pt>
                <c:pt idx="23">
                  <c:v>0.1562043795620438</c:v>
                </c:pt>
                <c:pt idx="24">
                  <c:v>0.17479674796747968</c:v>
                </c:pt>
                <c:pt idx="25">
                  <c:v>0.16047548291233285</c:v>
                </c:pt>
                <c:pt idx="26">
                  <c:v>0.17044100119189512</c:v>
                </c:pt>
                <c:pt idx="27">
                  <c:v>0.1728538283062645</c:v>
                </c:pt>
                <c:pt idx="28">
                  <c:v>0.17386231038506417</c:v>
                </c:pt>
                <c:pt idx="29">
                  <c:v>0.19728601252609604</c:v>
                </c:pt>
                <c:pt idx="30">
                  <c:v>0.19230769230769232</c:v>
                </c:pt>
                <c:pt idx="31">
                  <c:v>0.17385257301808066</c:v>
                </c:pt>
                <c:pt idx="32">
                  <c:v>0.1716514954486346</c:v>
                </c:pt>
                <c:pt idx="33">
                  <c:v>0.19536423841059603</c:v>
                </c:pt>
                <c:pt idx="34">
                  <c:v>0.19821826280623608</c:v>
                </c:pt>
                <c:pt idx="35">
                  <c:v>0.21199671322925226</c:v>
                </c:pt>
                <c:pt idx="36">
                  <c:v>0.19616788321167883</c:v>
                </c:pt>
                <c:pt idx="37">
                  <c:v>0.16517857142857142</c:v>
                </c:pt>
                <c:pt idx="38">
                  <c:v>0.17167381974248927</c:v>
                </c:pt>
                <c:pt idx="39">
                  <c:v>0.14925373134328357</c:v>
                </c:pt>
                <c:pt idx="40">
                  <c:v>0.13821138211382114</c:v>
                </c:pt>
                <c:pt idx="41">
                  <c:v>0.11771177117711772</c:v>
                </c:pt>
                <c:pt idx="42">
                  <c:v>0.1311329170383586</c:v>
                </c:pt>
                <c:pt idx="43">
                  <c:v>0.13452188006482982</c:v>
                </c:pt>
                <c:pt idx="44">
                  <c:v>0.1653250773993808</c:v>
                </c:pt>
                <c:pt idx="45">
                  <c:v>0.1727325245522819</c:v>
                </c:pt>
                <c:pt idx="46">
                  <c:v>0.16136495083863506</c:v>
                </c:pt>
                <c:pt idx="47">
                  <c:v>0.16250760803408398</c:v>
                </c:pt>
                <c:pt idx="48">
                  <c:v>0.15188762071992976</c:v>
                </c:pt>
                <c:pt idx="49">
                  <c:v>0.1820123398196488</c:v>
                </c:pt>
                <c:pt idx="50">
                  <c:v>0.17026055705300988</c:v>
                </c:pt>
                <c:pt idx="51">
                  <c:v>0.1703011422637591</c:v>
                </c:pt>
                <c:pt idx="52">
                  <c:v>0.17587939698492464</c:v>
                </c:pt>
                <c:pt idx="53">
                  <c:v>0.163943661971831</c:v>
                </c:pt>
                <c:pt idx="54">
                  <c:v>0.13448894202032277</c:v>
                </c:pt>
                <c:pt idx="55">
                  <c:v>0.14567430025445294</c:v>
                </c:pt>
                <c:pt idx="56">
                  <c:v>0.1460880195599022</c:v>
                </c:pt>
                <c:pt idx="57">
                  <c:v>0.13729977116704806</c:v>
                </c:pt>
                <c:pt idx="58">
                  <c:v>0.1330603889457523</c:v>
                </c:pt>
                <c:pt idx="59">
                  <c:v>0.14317817014446227</c:v>
                </c:pt>
                <c:pt idx="60">
                  <c:v>0.13189448441247004</c:v>
                </c:pt>
                <c:pt idx="61">
                  <c:v>0.15085995085995085</c:v>
                </c:pt>
                <c:pt idx="62">
                  <c:v>0.14637985309548793</c:v>
                </c:pt>
                <c:pt idx="63">
                  <c:v>0.15098374679213003</c:v>
                </c:pt>
                <c:pt idx="64">
                  <c:v>0.16324822101297615</c:v>
                </c:pt>
                <c:pt idx="65">
                  <c:v>0.18778280542986425</c:v>
                </c:pt>
                <c:pt idx="66">
                  <c:v>0.19336219336219337</c:v>
                </c:pt>
                <c:pt idx="67">
                  <c:v>0.16715976331360946</c:v>
                </c:pt>
                <c:pt idx="68">
                  <c:v>0.16890080428954424</c:v>
                </c:pt>
                <c:pt idx="69">
                  <c:v>0.14823914823914824</c:v>
                </c:pt>
                <c:pt idx="70">
                  <c:v>0.11272727272727273</c:v>
                </c:pt>
                <c:pt idx="71">
                  <c:v>0.1572700296735905</c:v>
                </c:pt>
                <c:pt idx="72">
                  <c:v>0.14336158192090395</c:v>
                </c:pt>
                <c:pt idx="73">
                  <c:v>0.11970802919708029</c:v>
                </c:pt>
                <c:pt idx="74">
                  <c:v>0.10655737704918032</c:v>
                </c:pt>
                <c:pt idx="75">
                  <c:v>0.1028770706190061</c:v>
                </c:pt>
                <c:pt idx="76">
                  <c:v>0.1027592768791627</c:v>
                </c:pt>
                <c:pt idx="77">
                  <c:v>0.11012782694198624</c:v>
                </c:pt>
                <c:pt idx="78">
                  <c:v>0.12174817898022892</c:v>
                </c:pt>
                <c:pt idx="79">
                  <c:v>0.10392364793213149</c:v>
                </c:pt>
                <c:pt idx="80">
                  <c:v>0.09378292939936776</c:v>
                </c:pt>
                <c:pt idx="81">
                  <c:v>0.10044444444444445</c:v>
                </c:pt>
                <c:pt idx="82">
                  <c:v>0.11255924170616113</c:v>
                </c:pt>
                <c:pt idx="83">
                  <c:v>0.10879284649776454</c:v>
                </c:pt>
                <c:pt idx="84">
                  <c:v>0.1056547619047619</c:v>
                </c:pt>
                <c:pt idx="85">
                  <c:v>0.10787172011661808</c:v>
                </c:pt>
                <c:pt idx="86">
                  <c:v>0.1056563500533618</c:v>
                </c:pt>
                <c:pt idx="87">
                  <c:v>0.13838862559241707</c:v>
                </c:pt>
                <c:pt idx="88">
                  <c:v>0.12777777777777777</c:v>
                </c:pt>
                <c:pt idx="89">
                  <c:v>0.09336609336609336</c:v>
                </c:pt>
                <c:pt idx="90">
                  <c:v>0.08080808080808081</c:v>
                </c:pt>
                <c:pt idx="91">
                  <c:v>0.09739524348810873</c:v>
                </c:pt>
                <c:pt idx="92">
                  <c:v>0.08775313404050145</c:v>
                </c:pt>
                <c:pt idx="93">
                  <c:v>0.07912457912457913</c:v>
                </c:pt>
                <c:pt idx="94">
                  <c:v>0.08449197860962566</c:v>
                </c:pt>
                <c:pt idx="95">
                  <c:v>0.09365781710914454</c:v>
                </c:pt>
                <c:pt idx="96">
                  <c:v>0.08994708994708994</c:v>
                </c:pt>
                <c:pt idx="97">
                  <c:v>0.09814722083124687</c:v>
                </c:pt>
                <c:pt idx="98">
                  <c:v>0.11115702479338843</c:v>
                </c:pt>
                <c:pt idx="99">
                  <c:v>0.10626702997275204</c:v>
                </c:pt>
                <c:pt idx="100">
                  <c:v>0.1114792899408284</c:v>
                </c:pt>
                <c:pt idx="101">
                  <c:v>0.09066967644845748</c:v>
                </c:pt>
                <c:pt idx="102">
                  <c:v>0.0970464135021097</c:v>
                </c:pt>
                <c:pt idx="103">
                  <c:v>0.08458114123836503</c:v>
                </c:pt>
                <c:pt idx="104">
                  <c:v>0.0985849056603773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386800878417638</c:v>
                </c:pt>
                <c:pt idx="1">
                  <c:v>0.3622203065961695</c:v>
                </c:pt>
                <c:pt idx="2">
                  <c:v>0.3731939114406237</c:v>
                </c:pt>
                <c:pt idx="3">
                  <c:v>0.3950306424962836</c:v>
                </c:pt>
                <c:pt idx="4">
                  <c:v>0.36400748736171235</c:v>
                </c:pt>
                <c:pt idx="5">
                  <c:v>0.3454081399448034</c:v>
                </c:pt>
                <c:pt idx="6">
                  <c:v>0.362532766458375</c:v>
                </c:pt>
                <c:pt idx="7">
                  <c:v>0.33388615575439634</c:v>
                </c:pt>
                <c:pt idx="8">
                  <c:v>0.3438572859427463</c:v>
                </c:pt>
                <c:pt idx="9">
                  <c:v>0.3601477098992541</c:v>
                </c:pt>
                <c:pt idx="10">
                  <c:v>0.3593526194047421</c:v>
                </c:pt>
                <c:pt idx="11">
                  <c:v>0.40705350994520534</c:v>
                </c:pt>
                <c:pt idx="12">
                  <c:v>0.37501217664218073</c:v>
                </c:pt>
                <c:pt idx="13">
                  <c:v>0.3833583597470367</c:v>
                </c:pt>
                <c:pt idx="14">
                  <c:v>0.38865401076709</c:v>
                </c:pt>
                <c:pt idx="15">
                  <c:v>0.3886718769793444</c:v>
                </c:pt>
                <c:pt idx="16">
                  <c:v>0.37138767119006283</c:v>
                </c:pt>
                <c:pt idx="17">
                  <c:v>0.3550577808812574</c:v>
                </c:pt>
                <c:pt idx="18">
                  <c:v>0.32511897113159394</c:v>
                </c:pt>
                <c:pt idx="19">
                  <c:v>0.3691734601979587</c:v>
                </c:pt>
                <c:pt idx="20">
                  <c:v>0.36405813995604897</c:v>
                </c:pt>
                <c:pt idx="21">
                  <c:v>0.36151247517979773</c:v>
                </c:pt>
                <c:pt idx="22">
                  <c:v>0.34985560464740173</c:v>
                </c:pt>
                <c:pt idx="23">
                  <c:v>0.30272088168203937</c:v>
                </c:pt>
                <c:pt idx="24">
                  <c:v>0.38039105686607194</c:v>
                </c:pt>
                <c:pt idx="25">
                  <c:v>0.3597248497381284</c:v>
                </c:pt>
                <c:pt idx="26">
                  <c:v>0.3614735287226856</c:v>
                </c:pt>
                <c:pt idx="27">
                  <c:v>0.3867755013978618</c:v>
                </c:pt>
                <c:pt idx="28">
                  <c:v>0.3807051980063042</c:v>
                </c:pt>
                <c:pt idx="29">
                  <c:v>0.38749095352527085</c:v>
                </c:pt>
                <c:pt idx="30">
                  <c:v>0.3637347979379255</c:v>
                </c:pt>
                <c:pt idx="31">
                  <c:v>0.34206091594390803</c:v>
                </c:pt>
                <c:pt idx="32">
                  <c:v>0.3634489482536146</c:v>
                </c:pt>
                <c:pt idx="33">
                  <c:v>0.361497517457749</c:v>
                </c:pt>
                <c:pt idx="34">
                  <c:v>0.37601042730167544</c:v>
                </c:pt>
                <c:pt idx="35">
                  <c:v>0.3759781069956868</c:v>
                </c:pt>
                <c:pt idx="36">
                  <c:v>0.3513647006478364</c:v>
                </c:pt>
                <c:pt idx="37">
                  <c:v>0.34213219704941167</c:v>
                </c:pt>
                <c:pt idx="38">
                  <c:v>0.35913540557802853</c:v>
                </c:pt>
                <c:pt idx="39">
                  <c:v>0.35518584849471474</c:v>
                </c:pt>
                <c:pt idx="40">
                  <c:v>0.35107667793675384</c:v>
                </c:pt>
                <c:pt idx="41">
                  <c:v>0.3567381807192097</c:v>
                </c:pt>
                <c:pt idx="42">
                  <c:v>0.3492214753375004</c:v>
                </c:pt>
                <c:pt idx="43">
                  <c:v>0.36552469428093964</c:v>
                </c:pt>
                <c:pt idx="44">
                  <c:v>0.43591511251907594</c:v>
                </c:pt>
                <c:pt idx="45">
                  <c:v>0.4613356714808521</c:v>
                </c:pt>
                <c:pt idx="46">
                  <c:v>0.39772132976002617</c:v>
                </c:pt>
                <c:pt idx="47">
                  <c:v>0.4096251525943829</c:v>
                </c:pt>
                <c:pt idx="48">
                  <c:v>0.47246904735950856</c:v>
                </c:pt>
                <c:pt idx="49">
                  <c:v>0.47574135013927826</c:v>
                </c:pt>
                <c:pt idx="50">
                  <c:v>0.4976026325758723</c:v>
                </c:pt>
                <c:pt idx="51">
                  <c:v>0.4845127324832111</c:v>
                </c:pt>
              </c:numCache>
            </c:numRef>
          </c:xVal>
          <c:yVal>
            <c:numRef>
              <c:f>Sheet1!$B$109:$B$160</c:f>
              <c:numCache>
                <c:formatCode>General</c:formatCode>
                <c:ptCount val="52"/>
                <c:pt idx="0">
                  <c:v>0.0881578947368421</c:v>
                </c:pt>
                <c:pt idx="1">
                  <c:v>0.08296164139161463</c:v>
                </c:pt>
                <c:pt idx="2">
                  <c:v>0.07723743359215365</c:v>
                </c:pt>
                <c:pt idx="3">
                  <c:v>0.07948243992606285</c:v>
                </c:pt>
                <c:pt idx="4">
                  <c:v>0.08111480865224625</c:v>
                </c:pt>
                <c:pt idx="5">
                  <c:v>0.0782051282051282</c:v>
                </c:pt>
                <c:pt idx="6">
                  <c:v>0.06901475487862922</c:v>
                </c:pt>
                <c:pt idx="7">
                  <c:v>0.07491408934707904</c:v>
                </c:pt>
                <c:pt idx="8">
                  <c:v>0.08801624915368991</c:v>
                </c:pt>
                <c:pt idx="9">
                  <c:v>0.07922077922077922</c:v>
                </c:pt>
                <c:pt idx="10">
                  <c:v>0.09314903846153846</c:v>
                </c:pt>
                <c:pt idx="11">
                  <c:v>0.10969637610186092</c:v>
                </c:pt>
                <c:pt idx="12">
                  <c:v>0.10726474890297416</c:v>
                </c:pt>
                <c:pt idx="13">
                  <c:v>0.08725490196078431</c:v>
                </c:pt>
                <c:pt idx="14">
                  <c:v>0.09056806002143623</c:v>
                </c:pt>
                <c:pt idx="15">
                  <c:v>0.08123249299719888</c:v>
                </c:pt>
                <c:pt idx="16">
                  <c:v>0.07754342431761786</c:v>
                </c:pt>
                <c:pt idx="17">
                  <c:v>0.08170155300472653</c:v>
                </c:pt>
                <c:pt idx="18">
                  <c:v>0.06474258970358815</c:v>
                </c:pt>
                <c:pt idx="19">
                  <c:v>0.06457800511508952</c:v>
                </c:pt>
                <c:pt idx="20">
                  <c:v>0.05667144906743185</c:v>
                </c:pt>
                <c:pt idx="21">
                  <c:v>0.06382978723404255</c:v>
                </c:pt>
                <c:pt idx="22">
                  <c:v>0.07536231884057971</c:v>
                </c:pt>
                <c:pt idx="23">
                  <c:v>0.06673511293634497</c:v>
                </c:pt>
                <c:pt idx="24">
                  <c:v>0.06084396467124632</c:v>
                </c:pt>
                <c:pt idx="25">
                  <c:v>0.06907545164718384</c:v>
                </c:pt>
                <c:pt idx="26">
                  <c:v>0.05894736842105263</c:v>
                </c:pt>
                <c:pt idx="27">
                  <c:v>0.055705300988319856</c:v>
                </c:pt>
                <c:pt idx="28">
                  <c:v>0.05745212323064113</c:v>
                </c:pt>
                <c:pt idx="29">
                  <c:v>0.04926108374384237</c:v>
                </c:pt>
                <c:pt idx="30">
                  <c:v>0.0560081466395112</c:v>
                </c:pt>
                <c:pt idx="31">
                  <c:v>0.05610972568578554</c:v>
                </c:pt>
                <c:pt idx="32">
                  <c:v>0.05511811023622047</c:v>
                </c:pt>
                <c:pt idx="33">
                  <c:v>0.06555671175858481</c:v>
                </c:pt>
                <c:pt idx="34">
                  <c:v>0.08052708638360176</c:v>
                </c:pt>
                <c:pt idx="35">
                  <c:v>0.07393577296489919</c:v>
                </c:pt>
                <c:pt idx="36">
                  <c:v>0.05589307411907655</c:v>
                </c:pt>
                <c:pt idx="37">
                  <c:v>0.05301455301455302</c:v>
                </c:pt>
                <c:pt idx="38">
                  <c:v>0.043721973094170405</c:v>
                </c:pt>
                <c:pt idx="39">
                  <c:v>0.06037151702786378</c:v>
                </c:pt>
                <c:pt idx="40">
                  <c:v>0.045323741007194246</c:v>
                </c:pt>
                <c:pt idx="41">
                  <c:v>0.04330708661417323</c:v>
                </c:pt>
                <c:pt idx="42">
                  <c:v>0.04447739065974796</c:v>
                </c:pt>
                <c:pt idx="43">
                  <c:v>0.0456989247311828</c:v>
                </c:pt>
                <c:pt idx="44">
                  <c:v>0.04948162111215834</c:v>
                </c:pt>
                <c:pt idx="45">
                  <c:v>0.05600617999227501</c:v>
                </c:pt>
                <c:pt idx="46">
                  <c:v>0.05517909002904162</c:v>
                </c:pt>
                <c:pt idx="47">
                  <c:v>0.05315145813734713</c:v>
                </c:pt>
                <c:pt idx="48">
                  <c:v>0.04713804713804714</c:v>
                </c:pt>
                <c:pt idx="49">
                  <c:v>0.05741785595751742</c:v>
                </c:pt>
                <c:pt idx="50">
                  <c:v>0.06280763929907462</c:v>
                </c:pt>
                <c:pt idx="51">
                  <c:v>0.0535714285714285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414588770705176</c:v>
                </c:pt>
              </c:numCache>
            </c:numRef>
          </c:xVal>
          <c:yVal>
            <c:numRef>
              <c:f>Sheet1!$B$163:$B$164</c:f>
              <c:numCache>
                <c:formatCode>General</c:formatCode>
                <c:ptCount val="2"/>
                <c:pt idx="0">
                  <c:v>0.2724439240703625</c:v>
                </c:pt>
                <c:pt idx="1">
                  <c:v>0.272443924070362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414588770705176</c:v>
                </c:pt>
                <c:pt idx="1">
                  <c:v>-3.414588770705176</c:v>
                </c:pt>
              </c:numCache>
            </c:numRef>
          </c:xVal>
          <c:yVal>
            <c:numRef>
              <c:f>Sheet1!$B$167:$B$168</c:f>
              <c:numCache>
                <c:formatCode>General</c:formatCode>
                <c:ptCount val="2"/>
                <c:pt idx="0">
                  <c:v>0.27244392407036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1273243416073166</c:v>
                </c:pt>
              </c:numCache>
            </c:numRef>
          </c:xVal>
          <c:yVal>
            <c:numRef>
              <c:f>Sheet1!$B$171:$B$172</c:f>
              <c:numCache>
                <c:formatCode>General</c:formatCode>
                <c:ptCount val="2"/>
                <c:pt idx="0">
                  <c:v>0.0813425543160822</c:v>
                </c:pt>
                <c:pt idx="1">
                  <c:v>0.081342554316082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1273243416073166</c:v>
                </c:pt>
                <c:pt idx="1">
                  <c:v>0.11273243416073166</c:v>
                </c:pt>
              </c:numCache>
            </c:numRef>
          </c:xVal>
          <c:yVal>
            <c:numRef>
              <c:f>Sheet1!$B$175:$B$176</c:f>
              <c:numCache>
                <c:formatCode>General</c:formatCode>
                <c:ptCount val="2"/>
                <c:pt idx="0">
                  <c:v>0.08134255431608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572692678490444</c:v>
                </c:pt>
              </c:numCache>
            </c:numRef>
          </c:xVal>
          <c:yVal>
            <c:numRef>
              <c:f>Sheet1!$B$179:$B$180</c:f>
              <c:numCache>
                <c:formatCode>General</c:formatCode>
                <c:ptCount val="2"/>
                <c:pt idx="0">
                  <c:v>0.051840921559773226</c:v>
                </c:pt>
                <c:pt idx="1">
                  <c:v>0.05184092155977322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572692678490444</c:v>
                </c:pt>
                <c:pt idx="1">
                  <c:v>0.6572692678490444</c:v>
                </c:pt>
              </c:numCache>
            </c:numRef>
          </c:xVal>
          <c:yVal>
            <c:numRef>
              <c:f>Sheet1!$B$183:$B$184</c:f>
              <c:numCache>
                <c:formatCode>General</c:formatCode>
                <c:ptCount val="2"/>
                <c:pt idx="0">
                  <c:v>0.05184092155977322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386800878417638</c:v>
                </c:pt>
                <c:pt idx="1">
                  <c:v>0.3622203065961695</c:v>
                </c:pt>
                <c:pt idx="2">
                  <c:v>0.3731939114406237</c:v>
                </c:pt>
                <c:pt idx="3">
                  <c:v>0.3950306424962836</c:v>
                </c:pt>
                <c:pt idx="4">
                  <c:v>0.36400748736171235</c:v>
                </c:pt>
                <c:pt idx="5">
                  <c:v>0.3454081399448034</c:v>
                </c:pt>
                <c:pt idx="6">
                  <c:v>0.362532766458375</c:v>
                </c:pt>
                <c:pt idx="7">
                  <c:v>0.33388615575439634</c:v>
                </c:pt>
                <c:pt idx="8">
                  <c:v>0.3438572859427463</c:v>
                </c:pt>
                <c:pt idx="9">
                  <c:v>0.3601477098992541</c:v>
                </c:pt>
                <c:pt idx="10">
                  <c:v>0.3593526194047421</c:v>
                </c:pt>
                <c:pt idx="11">
                  <c:v>0.40705350994520534</c:v>
                </c:pt>
                <c:pt idx="12">
                  <c:v>0.37501217664218073</c:v>
                </c:pt>
                <c:pt idx="13">
                  <c:v>0.3833583597470367</c:v>
                </c:pt>
                <c:pt idx="14">
                  <c:v>0.38865401076709</c:v>
                </c:pt>
                <c:pt idx="15">
                  <c:v>0.3886718769793444</c:v>
                </c:pt>
                <c:pt idx="16">
                  <c:v>0.37138767119006283</c:v>
                </c:pt>
                <c:pt idx="17">
                  <c:v>0.3550577808812574</c:v>
                </c:pt>
                <c:pt idx="18">
                  <c:v>0.32511897113159394</c:v>
                </c:pt>
                <c:pt idx="19">
                  <c:v>0.3691734601979587</c:v>
                </c:pt>
                <c:pt idx="20">
                  <c:v>0.36405813995604897</c:v>
                </c:pt>
                <c:pt idx="21">
                  <c:v>0.36151247517979773</c:v>
                </c:pt>
                <c:pt idx="22">
                  <c:v>0.34985560464740173</c:v>
                </c:pt>
                <c:pt idx="23">
                  <c:v>0.30272088168203937</c:v>
                </c:pt>
                <c:pt idx="24">
                  <c:v>0.38039105686607194</c:v>
                </c:pt>
                <c:pt idx="25">
                  <c:v>0.3597248497381284</c:v>
                </c:pt>
                <c:pt idx="26">
                  <c:v>0.3614735287226856</c:v>
                </c:pt>
                <c:pt idx="27">
                  <c:v>0.3867755013978618</c:v>
                </c:pt>
                <c:pt idx="28">
                  <c:v>0.3807051980063042</c:v>
                </c:pt>
                <c:pt idx="29">
                  <c:v>0.38749095352527085</c:v>
                </c:pt>
                <c:pt idx="30">
                  <c:v>0.3637347979379255</c:v>
                </c:pt>
                <c:pt idx="31">
                  <c:v>0.34206091594390803</c:v>
                </c:pt>
                <c:pt idx="32">
                  <c:v>0.3634489482536146</c:v>
                </c:pt>
                <c:pt idx="33">
                  <c:v>0.361497517457749</c:v>
                </c:pt>
                <c:pt idx="34">
                  <c:v>0.37601042730167544</c:v>
                </c:pt>
                <c:pt idx="35">
                  <c:v>0.3759781069956868</c:v>
                </c:pt>
                <c:pt idx="36">
                  <c:v>0.3513647006478364</c:v>
                </c:pt>
                <c:pt idx="37">
                  <c:v>0.34213219704941167</c:v>
                </c:pt>
                <c:pt idx="38">
                  <c:v>0.35913540557802853</c:v>
                </c:pt>
                <c:pt idx="39">
                  <c:v>0.35518584849471474</c:v>
                </c:pt>
                <c:pt idx="40">
                  <c:v>0.35107667793675384</c:v>
                </c:pt>
                <c:pt idx="41">
                  <c:v>0.3567381807192097</c:v>
                </c:pt>
                <c:pt idx="42">
                  <c:v>0.3492214753375004</c:v>
                </c:pt>
                <c:pt idx="43">
                  <c:v>0.36552469428093964</c:v>
                </c:pt>
                <c:pt idx="44">
                  <c:v>0.43591511251907594</c:v>
                </c:pt>
                <c:pt idx="45">
                  <c:v>0.4613356714808521</c:v>
                </c:pt>
                <c:pt idx="46">
                  <c:v>0.39772132976002617</c:v>
                </c:pt>
                <c:pt idx="47">
                  <c:v>0.4096251525943829</c:v>
                </c:pt>
                <c:pt idx="48">
                  <c:v>0.47246904735950856</c:v>
                </c:pt>
                <c:pt idx="49">
                  <c:v>0.47574135013927826</c:v>
                </c:pt>
                <c:pt idx="50">
                  <c:v>0.4976026325758723</c:v>
                </c:pt>
                <c:pt idx="51">
                  <c:v>0.4845127324832111</c:v>
                </c:pt>
                <c:pt idx="52">
                  <c:v>0.11273243416073166</c:v>
                </c:pt>
                <c:pt idx="53">
                  <c:v>-3.414588770705176</c:v>
                </c:pt>
                <c:pt idx="54">
                  <c:v>0.6572692678490444</c:v>
                </c:pt>
              </c:numCache>
            </c:numRef>
          </c:xVal>
          <c:yVal>
            <c:numRef>
              <c:f>Sheet1!$B$187:$B$241</c:f>
              <c:numCache>
                <c:formatCode>General</c:formatCode>
                <c:ptCount val="55"/>
                <c:pt idx="0">
                  <c:v>0.06649421699095605</c:v>
                </c:pt>
                <c:pt idx="1">
                  <c:v>0.06782593039940496</c:v>
                </c:pt>
                <c:pt idx="2">
                  <c:v>0.06723140815571915</c:v>
                </c:pt>
                <c:pt idx="3">
                  <c:v>0.06604834912215685</c:v>
                </c:pt>
                <c:pt idx="4">
                  <c:v>0.06772910545138984</c:v>
                </c:pt>
                <c:pt idx="5">
                  <c:v>0.06873677120153582</c:v>
                </c:pt>
                <c:pt idx="6">
                  <c:v>0.06780900211184829</c:v>
                </c:pt>
                <c:pt idx="7">
                  <c:v>0.06936100325560465</c:v>
                </c:pt>
                <c:pt idx="8">
                  <c:v>0.0688207925613352</c:v>
                </c:pt>
                <c:pt idx="9">
                  <c:v>0.0679382184629877</c:v>
                </c:pt>
                <c:pt idx="10">
                  <c:v>0.06798129446138848</c:v>
                </c:pt>
                <c:pt idx="11">
                  <c:v>0.0653969804759747</c:v>
                </c:pt>
                <c:pt idx="12">
                  <c:v>0.06713289913133125</c:v>
                </c:pt>
                <c:pt idx="13">
                  <c:v>0.06668072397320905</c:v>
                </c:pt>
                <c:pt idx="14">
                  <c:v>0.06639381895240268</c:v>
                </c:pt>
                <c:pt idx="15">
                  <c:v>0.06639285100606725</c:v>
                </c:pt>
                <c:pt idx="16">
                  <c:v>0.06732926569857953</c:v>
                </c:pt>
                <c:pt idx="17">
                  <c:v>0.06821397798439147</c:v>
                </c:pt>
                <c:pt idx="18">
                  <c:v>0.069835987214535</c:v>
                </c:pt>
                <c:pt idx="19">
                  <c:v>0.0674492260676359</c:v>
                </c:pt>
                <c:pt idx="20">
                  <c:v>0.06772636122153462</c:v>
                </c:pt>
                <c:pt idx="21">
                  <c:v>0.06786427892095076</c:v>
                </c:pt>
                <c:pt idx="22">
                  <c:v>0.06849581877695143</c:v>
                </c:pt>
                <c:pt idx="23">
                  <c:v>0.07104945923057486</c:v>
                </c:pt>
                <c:pt idx="24">
                  <c:v>0.06684148496209942</c:v>
                </c:pt>
                <c:pt idx="25">
                  <c:v>0.06796112796039727</c:v>
                </c:pt>
                <c:pt idx="26">
                  <c:v>0.0678663889418048</c:v>
                </c:pt>
                <c:pt idx="27">
                  <c:v>0.06649559185390666</c:v>
                </c:pt>
                <c:pt idx="28">
                  <c:v>0.06682446558713812</c:v>
                </c:pt>
                <c:pt idx="29">
                  <c:v>0.06645683046145029</c:v>
                </c:pt>
                <c:pt idx="30">
                  <c:v>0.0677438790768627</c:v>
                </c:pt>
                <c:pt idx="31">
                  <c:v>0.06891811535884225</c:v>
                </c:pt>
                <c:pt idx="32">
                  <c:v>0.06775936569207094</c:v>
                </c:pt>
                <c:pt idx="33">
                  <c:v>0.06786508929261977</c:v>
                </c:pt>
                <c:pt idx="34">
                  <c:v>0.0670788164274016</c:v>
                </c:pt>
                <c:pt idx="35">
                  <c:v>0.0670805674600937</c:v>
                </c:pt>
                <c:pt idx="36">
                  <c:v>0.06841405976039917</c:v>
                </c:pt>
                <c:pt idx="37">
                  <c:v>0.06891425352826086</c:v>
                </c:pt>
                <c:pt idx="38">
                  <c:v>0.06799306255887766</c:v>
                </c:pt>
                <c:pt idx="39">
                  <c:v>0.06820703960397999</c:v>
                </c:pt>
                <c:pt idx="40">
                  <c:v>0.06842966410471925</c:v>
                </c:pt>
                <c:pt idx="41">
                  <c:v>0.06812293815781584</c:v>
                </c:pt>
                <c:pt idx="42">
                  <c:v>0.06853017430418733</c:v>
                </c:pt>
                <c:pt idx="43">
                  <c:v>0.06764690700570675</c:v>
                </c:pt>
                <c:pt idx="44">
                  <c:v>0.06383333161474773</c:v>
                </c:pt>
                <c:pt idx="45">
                  <c:v>0.06245610982082281</c:v>
                </c:pt>
                <c:pt idx="46">
                  <c:v>0.06590257447000092</c:v>
                </c:pt>
                <c:pt idx="47">
                  <c:v>0.06525765536089916</c:v>
                </c:pt>
                <c:pt idx="48">
                  <c:v>0.0618529315853206</c:v>
                </c:pt>
                <c:pt idx="49">
                  <c:v>0.06167564647088246</c:v>
                </c:pt>
                <c:pt idx="50">
                  <c:v>0.060491257305400406</c:v>
                </c:pt>
                <c:pt idx="51">
                  <c:v>0.061200435090004605</c:v>
                </c:pt>
                <c:pt idx="52">
                  <c:v>0.0813425543160822</c:v>
                </c:pt>
                <c:pt idx="53">
                  <c:v>0.2724439240703625</c:v>
                </c:pt>
                <c:pt idx="54">
                  <c:v>0.05184092155977322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42194092827"/>
          <c:min val="0.0346456692913385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24.6868</c:v>
                </c:pt>
                <c:pt idx="1">
                  <c:v>990.9089</c:v>
                </c:pt>
                <c:pt idx="2">
                  <c:v>1005.1685</c:v>
                </c:pt>
                <c:pt idx="3">
                  <c:v>1012.7227</c:v>
                </c:pt>
                <c:pt idx="4">
                  <c:v>1025.9138</c:v>
                </c:pt>
                <c:pt idx="5">
                  <c:v>1022.7133</c:v>
                </c:pt>
                <c:pt idx="6">
                  <c:v>1041.8697</c:v>
                </c:pt>
                <c:pt idx="7">
                  <c:v>1031.1073</c:v>
                </c:pt>
                <c:pt idx="8">
                  <c:v>1052.0886</c:v>
                </c:pt>
                <c:pt idx="9">
                  <c:v>1034.996</c:v>
                </c:pt>
                <c:pt idx="10">
                  <c:v>1016.1037</c:v>
                </c:pt>
                <c:pt idx="11">
                  <c:v>1024.3746</c:v>
                </c:pt>
                <c:pt idx="12">
                  <c:v>1039.495</c:v>
                </c:pt>
                <c:pt idx="13">
                  <c:v>1035.4808</c:v>
                </c:pt>
                <c:pt idx="14">
                  <c:v>1041.3727</c:v>
                </c:pt>
                <c:pt idx="15">
                  <c:v>1033.7857</c:v>
                </c:pt>
                <c:pt idx="16">
                  <c:v>1073.373</c:v>
                </c:pt>
                <c:pt idx="17">
                  <c:v>1079.5753</c:v>
                </c:pt>
                <c:pt idx="18">
                  <c:v>1088.0714</c:v>
                </c:pt>
                <c:pt idx="19">
                  <c:v>1109.2581</c:v>
                </c:pt>
                <c:pt idx="20">
                  <c:v>1096.4973</c:v>
                </c:pt>
                <c:pt idx="21">
                  <c:v>1062.7651</c:v>
                </c:pt>
                <c:pt idx="22">
                  <c:v>1060.6719</c:v>
                </c:pt>
                <c:pt idx="23">
                  <c:v>1055.2804</c:v>
                </c:pt>
                <c:pt idx="24">
                  <c:v>1069.1473</c:v>
                </c:pt>
                <c:pt idx="25">
                  <c:v>1093.3704</c:v>
                </c:pt>
                <c:pt idx="26">
                  <c:v>1075.7133</c:v>
                </c:pt>
                <c:pt idx="27">
                  <c:v>1072.2953</c:v>
                </c:pt>
                <c:pt idx="28">
                  <c:v>1045.5436</c:v>
                </c:pt>
                <c:pt idx="29">
                  <c:v>1109.3492</c:v>
                </c:pt>
                <c:pt idx="30">
                  <c:v>1123.76</c:v>
                </c:pt>
                <c:pt idx="31">
                  <c:v>1113.12</c:v>
                </c:pt>
                <c:pt idx="32">
                  <c:v>1100.1894</c:v>
                </c:pt>
                <c:pt idx="33">
                  <c:v>1092.9322</c:v>
                </c:pt>
                <c:pt idx="34">
                  <c:v>1119.9551</c:v>
                </c:pt>
                <c:pt idx="35">
                  <c:v>1149.2093</c:v>
                </c:pt>
                <c:pt idx="36">
                  <c:v>1155.2512</c:v>
                </c:pt>
                <c:pt idx="37">
                  <c:v>1180.8176</c:v>
                </c:pt>
                <c:pt idx="38">
                  <c:v>1181.025</c:v>
                </c:pt>
                <c:pt idx="39">
                  <c:v>1321.6583</c:v>
                </c:pt>
                <c:pt idx="40">
                  <c:v>1347.7941</c:v>
                </c:pt>
                <c:pt idx="41">
                  <c:v>1360.1869</c:v>
                </c:pt>
                <c:pt idx="42">
                  <c:v>1341.7483</c:v>
                </c:pt>
                <c:pt idx="43">
                  <c:v>1301.6687</c:v>
                </c:pt>
                <c:pt idx="44">
                  <c:v>1237.9139</c:v>
                </c:pt>
                <c:pt idx="45">
                  <c:v>1180.1405</c:v>
                </c:pt>
                <c:pt idx="46">
                  <c:v>1202.9713</c:v>
                </c:pt>
                <c:pt idx="47">
                  <c:v>1193.6517</c:v>
                </c:pt>
                <c:pt idx="48">
                  <c:v>1219.3121</c:v>
                </c:pt>
                <c:pt idx="49">
                  <c:v>1128.2021</c:v>
                </c:pt>
                <c:pt idx="50">
                  <c:v>1142.5515</c:v>
                </c:pt>
                <c:pt idx="51">
                  <c:v>1134.8384</c:v>
                </c:pt>
                <c:pt idx="52">
                  <c:v>1186.3403</c:v>
                </c:pt>
                <c:pt idx="53">
                  <c:v>1133.6701</c:v>
                </c:pt>
                <c:pt idx="54">
                  <c:v>1154.8889</c:v>
                </c:pt>
                <c:pt idx="55">
                  <c:v>1126.7205</c:v>
                </c:pt>
                <c:pt idx="56">
                  <c:v>1092.7782</c:v>
                </c:pt>
                <c:pt idx="57">
                  <c:v>1169.3083</c:v>
                </c:pt>
                <c:pt idx="58">
                  <c:v>1166.8654</c:v>
                </c:pt>
                <c:pt idx="59">
                  <c:v>1169.2489</c:v>
                </c:pt>
                <c:pt idx="60">
                  <c:v>1190.8416</c:v>
                </c:pt>
                <c:pt idx="61">
                  <c:v>1169.5831</c:v>
                </c:pt>
                <c:pt idx="62">
                  <c:v>1165.7885</c:v>
                </c:pt>
                <c:pt idx="63">
                  <c:v>1136.7847</c:v>
                </c:pt>
                <c:pt idx="64">
                  <c:v>1130.0872</c:v>
                </c:pt>
                <c:pt idx="65">
                  <c:v>1106.6434</c:v>
                </c:pt>
                <c:pt idx="66">
                  <c:v>1123.1915</c:v>
                </c:pt>
                <c:pt idx="67">
                  <c:v>1113.9233</c:v>
                </c:pt>
                <c:pt idx="68">
                  <c:v>1099.7302</c:v>
                </c:pt>
                <c:pt idx="69">
                  <c:v>1132.9392</c:v>
                </c:pt>
                <c:pt idx="70">
                  <c:v>1132.6065</c:v>
                </c:pt>
                <c:pt idx="71">
                  <c:v>1092.184</c:v>
                </c:pt>
                <c:pt idx="72">
                  <c:v>1104.6995</c:v>
                </c:pt>
                <c:pt idx="73">
                  <c:v>1162.3171</c:v>
                </c:pt>
                <c:pt idx="74">
                  <c:v>1182.7832</c:v>
                </c:pt>
                <c:pt idx="75">
                  <c:v>1156.178</c:v>
                </c:pt>
                <c:pt idx="76">
                  <c:v>1170.0741</c:v>
                </c:pt>
                <c:pt idx="77">
                  <c:v>1163.4732</c:v>
                </c:pt>
                <c:pt idx="78">
                  <c:v>1137.7521</c:v>
                </c:pt>
                <c:pt idx="79">
                  <c:v>1181.1837</c:v>
                </c:pt>
                <c:pt idx="80">
                  <c:v>1179.6292</c:v>
                </c:pt>
                <c:pt idx="81">
                  <c:v>1251.4425</c:v>
                </c:pt>
                <c:pt idx="82">
                  <c:v>1191.3053</c:v>
                </c:pt>
                <c:pt idx="83">
                  <c:v>1154.589</c:v>
                </c:pt>
                <c:pt idx="84">
                  <c:v>1162.4225</c:v>
                </c:pt>
                <c:pt idx="85">
                  <c:v>1185.0541</c:v>
                </c:pt>
                <c:pt idx="86">
                  <c:v>1221.4747</c:v>
                </c:pt>
                <c:pt idx="87">
                  <c:v>1241.2603</c:v>
                </c:pt>
                <c:pt idx="88">
                  <c:v>1215.6087</c:v>
                </c:pt>
                <c:pt idx="89">
                  <c:v>1228.6579</c:v>
                </c:pt>
                <c:pt idx="90">
                  <c:v>1225.0</c:v>
                </c:pt>
                <c:pt idx="91">
                  <c:v>1239.6977</c:v>
                </c:pt>
                <c:pt idx="92">
                  <c:v>1265.7253</c:v>
                </c:pt>
                <c:pt idx="93">
                  <c:v>1262.6277</c:v>
                </c:pt>
                <c:pt idx="94">
                  <c:v>1340.1013</c:v>
                </c:pt>
                <c:pt idx="95">
                  <c:v>1306.0079</c:v>
                </c:pt>
                <c:pt idx="96">
                  <c:v>1226.7059</c:v>
                </c:pt>
                <c:pt idx="97">
                  <c:v>1209.7551</c:v>
                </c:pt>
                <c:pt idx="98">
                  <c:v>1122.9071</c:v>
                </c:pt>
                <c:pt idx="99">
                  <c:v>1175.1099</c:v>
                </c:pt>
                <c:pt idx="100">
                  <c:v>1206.7856</c:v>
                </c:pt>
                <c:pt idx="101">
                  <c:v>1276.7427</c:v>
                </c:pt>
                <c:pt idx="102">
                  <c:v>1330.0304</c:v>
                </c:pt>
                <c:pt idx="103">
                  <c:v>1256.6842</c:v>
                </c:pt>
                <c:pt idx="104">
                  <c:v>1272.6651</c:v>
                </c:pt>
              </c:numCache>
            </c:numRef>
          </c:xVal>
          <c:yVal>
            <c:numRef>
              <c:f>Sheet1!$B$2:$B$106</c:f>
              <c:numCache>
                <c:formatCode>General</c:formatCode>
                <c:ptCount val="105"/>
                <c:pt idx="0">
                  <c:v>0.4159103043246129</c:v>
                </c:pt>
                <c:pt idx="1">
                  <c:v>0.4170182841068917</c:v>
                </c:pt>
                <c:pt idx="2">
                  <c:v>0.3423076923076923</c:v>
                </c:pt>
                <c:pt idx="3">
                  <c:v>0.3123359580052493</c:v>
                </c:pt>
                <c:pt idx="4">
                  <c:v>0.2618510158013544</c:v>
                </c:pt>
                <c:pt idx="5">
                  <c:v>0.20043103448275862</c:v>
                </c:pt>
                <c:pt idx="6">
                  <c:v>0.18662613981762918</c:v>
                </c:pt>
                <c:pt idx="7">
                  <c:v>0.16191799861014594</c:v>
                </c:pt>
                <c:pt idx="8">
                  <c:v>0.15359688917692807</c:v>
                </c:pt>
                <c:pt idx="9">
                  <c:v>0.1367335865436788</c:v>
                </c:pt>
                <c:pt idx="10">
                  <c:v>0.14606741573033707</c:v>
                </c:pt>
                <c:pt idx="11">
                  <c:v>0.14337733272644515</c:v>
                </c:pt>
                <c:pt idx="12">
                  <c:v>0.17135549872122763</c:v>
                </c:pt>
                <c:pt idx="13">
                  <c:v>0.16840536512667661</c:v>
                </c:pt>
                <c:pt idx="14">
                  <c:v>0.22965641952983726</c:v>
                </c:pt>
                <c:pt idx="15">
                  <c:v>0.2309899569583931</c:v>
                </c:pt>
                <c:pt idx="16">
                  <c:v>0.2247992863514719</c:v>
                </c:pt>
                <c:pt idx="17">
                  <c:v>0.2255406797116375</c:v>
                </c:pt>
                <c:pt idx="18">
                  <c:v>0.19134396355353075</c:v>
                </c:pt>
                <c:pt idx="19">
                  <c:v>0.2180028129395218</c:v>
                </c:pt>
                <c:pt idx="20">
                  <c:v>0.21298405466970388</c:v>
                </c:pt>
                <c:pt idx="21">
                  <c:v>0.18695106649937265</c:v>
                </c:pt>
                <c:pt idx="22">
                  <c:v>0.1871345029239766</c:v>
                </c:pt>
                <c:pt idx="23">
                  <c:v>0.1562043795620438</c:v>
                </c:pt>
                <c:pt idx="24">
                  <c:v>0.17479674796747968</c:v>
                </c:pt>
                <c:pt idx="25">
                  <c:v>0.16047548291233285</c:v>
                </c:pt>
                <c:pt idx="26">
                  <c:v>0.17044100119189512</c:v>
                </c:pt>
                <c:pt idx="27">
                  <c:v>0.1728538283062645</c:v>
                </c:pt>
                <c:pt idx="28">
                  <c:v>0.17386231038506417</c:v>
                </c:pt>
                <c:pt idx="29">
                  <c:v>0.19728601252609604</c:v>
                </c:pt>
                <c:pt idx="30">
                  <c:v>0.19230769230769232</c:v>
                </c:pt>
                <c:pt idx="31">
                  <c:v>0.17385257301808066</c:v>
                </c:pt>
                <c:pt idx="32">
                  <c:v>0.1716514954486346</c:v>
                </c:pt>
                <c:pt idx="33">
                  <c:v>0.19536423841059603</c:v>
                </c:pt>
                <c:pt idx="34">
                  <c:v>0.19821826280623608</c:v>
                </c:pt>
                <c:pt idx="35">
                  <c:v>0.21199671322925226</c:v>
                </c:pt>
                <c:pt idx="36">
                  <c:v>0.19616788321167883</c:v>
                </c:pt>
                <c:pt idx="37">
                  <c:v>0.16517857142857142</c:v>
                </c:pt>
                <c:pt idx="38">
                  <c:v>0.17167381974248927</c:v>
                </c:pt>
                <c:pt idx="39">
                  <c:v>0.14925373134328357</c:v>
                </c:pt>
                <c:pt idx="40">
                  <c:v>0.13821138211382114</c:v>
                </c:pt>
                <c:pt idx="41">
                  <c:v>0.11771177117711772</c:v>
                </c:pt>
                <c:pt idx="42">
                  <c:v>0.1311329170383586</c:v>
                </c:pt>
                <c:pt idx="43">
                  <c:v>0.13452188006482982</c:v>
                </c:pt>
                <c:pt idx="44">
                  <c:v>0.1653250773993808</c:v>
                </c:pt>
                <c:pt idx="45">
                  <c:v>0.1727325245522819</c:v>
                </c:pt>
                <c:pt idx="46">
                  <c:v>0.16136495083863506</c:v>
                </c:pt>
                <c:pt idx="47">
                  <c:v>0.16250760803408398</c:v>
                </c:pt>
                <c:pt idx="48">
                  <c:v>0.15188762071992976</c:v>
                </c:pt>
                <c:pt idx="49">
                  <c:v>0.1820123398196488</c:v>
                </c:pt>
                <c:pt idx="50">
                  <c:v>0.17026055705300988</c:v>
                </c:pt>
                <c:pt idx="51">
                  <c:v>0.1703011422637591</c:v>
                </c:pt>
                <c:pt idx="52">
                  <c:v>0.17587939698492464</c:v>
                </c:pt>
                <c:pt idx="53">
                  <c:v>0.163943661971831</c:v>
                </c:pt>
                <c:pt idx="54">
                  <c:v>0.13448894202032277</c:v>
                </c:pt>
                <c:pt idx="55">
                  <c:v>0.14567430025445294</c:v>
                </c:pt>
                <c:pt idx="56">
                  <c:v>0.1460880195599022</c:v>
                </c:pt>
                <c:pt idx="57">
                  <c:v>0.13729977116704806</c:v>
                </c:pt>
                <c:pt idx="58">
                  <c:v>0.1330603889457523</c:v>
                </c:pt>
                <c:pt idx="59">
                  <c:v>0.14317817014446227</c:v>
                </c:pt>
                <c:pt idx="60">
                  <c:v>0.13189448441247004</c:v>
                </c:pt>
                <c:pt idx="61">
                  <c:v>0.15085995085995085</c:v>
                </c:pt>
                <c:pt idx="62">
                  <c:v>0.14637985309548793</c:v>
                </c:pt>
                <c:pt idx="63">
                  <c:v>0.15098374679213003</c:v>
                </c:pt>
                <c:pt idx="64">
                  <c:v>0.16324822101297615</c:v>
                </c:pt>
                <c:pt idx="65">
                  <c:v>0.18778280542986425</c:v>
                </c:pt>
                <c:pt idx="66">
                  <c:v>0.19336219336219337</c:v>
                </c:pt>
                <c:pt idx="67">
                  <c:v>0.16715976331360946</c:v>
                </c:pt>
                <c:pt idx="68">
                  <c:v>0.16890080428954424</c:v>
                </c:pt>
                <c:pt idx="69">
                  <c:v>0.14823914823914824</c:v>
                </c:pt>
                <c:pt idx="70">
                  <c:v>0.11272727272727273</c:v>
                </c:pt>
                <c:pt idx="71">
                  <c:v>0.1572700296735905</c:v>
                </c:pt>
                <c:pt idx="72">
                  <c:v>0.14336158192090395</c:v>
                </c:pt>
                <c:pt idx="73">
                  <c:v>0.11970802919708029</c:v>
                </c:pt>
                <c:pt idx="74">
                  <c:v>0.10655737704918032</c:v>
                </c:pt>
                <c:pt idx="75">
                  <c:v>0.1028770706190061</c:v>
                </c:pt>
                <c:pt idx="76">
                  <c:v>0.1027592768791627</c:v>
                </c:pt>
                <c:pt idx="77">
                  <c:v>0.11012782694198624</c:v>
                </c:pt>
                <c:pt idx="78">
                  <c:v>0.12174817898022892</c:v>
                </c:pt>
                <c:pt idx="79">
                  <c:v>0.10392364793213149</c:v>
                </c:pt>
                <c:pt idx="80">
                  <c:v>0.09378292939936776</c:v>
                </c:pt>
                <c:pt idx="81">
                  <c:v>0.10044444444444445</c:v>
                </c:pt>
                <c:pt idx="82">
                  <c:v>0.11255924170616113</c:v>
                </c:pt>
                <c:pt idx="83">
                  <c:v>0.10879284649776454</c:v>
                </c:pt>
                <c:pt idx="84">
                  <c:v>0.1056547619047619</c:v>
                </c:pt>
                <c:pt idx="85">
                  <c:v>0.10787172011661808</c:v>
                </c:pt>
                <c:pt idx="86">
                  <c:v>0.1056563500533618</c:v>
                </c:pt>
                <c:pt idx="87">
                  <c:v>0.13838862559241707</c:v>
                </c:pt>
                <c:pt idx="88">
                  <c:v>0.12777777777777777</c:v>
                </c:pt>
                <c:pt idx="89">
                  <c:v>0.09336609336609336</c:v>
                </c:pt>
                <c:pt idx="90">
                  <c:v>0.08080808080808081</c:v>
                </c:pt>
                <c:pt idx="91">
                  <c:v>0.09739524348810873</c:v>
                </c:pt>
                <c:pt idx="92">
                  <c:v>0.08775313404050145</c:v>
                </c:pt>
                <c:pt idx="93">
                  <c:v>0.07912457912457913</c:v>
                </c:pt>
                <c:pt idx="94">
                  <c:v>0.08449197860962566</c:v>
                </c:pt>
                <c:pt idx="95">
                  <c:v>0.09365781710914454</c:v>
                </c:pt>
                <c:pt idx="96">
                  <c:v>0.08994708994708994</c:v>
                </c:pt>
                <c:pt idx="97">
                  <c:v>0.09814722083124687</c:v>
                </c:pt>
                <c:pt idx="98">
                  <c:v>0.11115702479338843</c:v>
                </c:pt>
                <c:pt idx="99">
                  <c:v>0.10626702997275204</c:v>
                </c:pt>
                <c:pt idx="100">
                  <c:v>0.1114792899408284</c:v>
                </c:pt>
                <c:pt idx="101">
                  <c:v>0.09066967644845748</c:v>
                </c:pt>
                <c:pt idx="102">
                  <c:v>0.0970464135021097</c:v>
                </c:pt>
                <c:pt idx="103">
                  <c:v>0.08458114123836503</c:v>
                </c:pt>
                <c:pt idx="104">
                  <c:v>0.0985849056603773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19.2886</c:v>
                </c:pt>
                <c:pt idx="1">
                  <c:v>1263.5645</c:v>
                </c:pt>
                <c:pt idx="2">
                  <c:v>1281.9259</c:v>
                </c:pt>
                <c:pt idx="3">
                  <c:v>1309.0512</c:v>
                </c:pt>
                <c:pt idx="4">
                  <c:v>1290.0615</c:v>
                </c:pt>
                <c:pt idx="5">
                  <c:v>1314.8852</c:v>
                </c:pt>
                <c:pt idx="6">
                  <c:v>1291.4897</c:v>
                </c:pt>
                <c:pt idx="7">
                  <c:v>1326.3303</c:v>
                </c:pt>
                <c:pt idx="8">
                  <c:v>1276.5231</c:v>
                </c:pt>
                <c:pt idx="9">
                  <c:v>1313.2295</c:v>
                </c:pt>
                <c:pt idx="10">
                  <c:v>1276.5871</c:v>
                </c:pt>
                <c:pt idx="11">
                  <c:v>1342.375</c:v>
                </c:pt>
                <c:pt idx="12">
                  <c:v>1296.5818</c:v>
                </c:pt>
                <c:pt idx="13">
                  <c:v>1273.2191</c:v>
                </c:pt>
                <c:pt idx="14">
                  <c:v>1313.4497</c:v>
                </c:pt>
                <c:pt idx="15">
                  <c:v>1303.9793</c:v>
                </c:pt>
                <c:pt idx="16">
                  <c:v>1291.664</c:v>
                </c:pt>
                <c:pt idx="17">
                  <c:v>1311.8595</c:v>
                </c:pt>
                <c:pt idx="18">
                  <c:v>1281.1566</c:v>
                </c:pt>
                <c:pt idx="19">
                  <c:v>1346.2574</c:v>
                </c:pt>
                <c:pt idx="20">
                  <c:v>1335.8101</c:v>
                </c:pt>
                <c:pt idx="21">
                  <c:v>1356.1159</c:v>
                </c:pt>
                <c:pt idx="22">
                  <c:v>1338.1923</c:v>
                </c:pt>
                <c:pt idx="23">
                  <c:v>1146.4308</c:v>
                </c:pt>
                <c:pt idx="24">
                  <c:v>1401.1452</c:v>
                </c:pt>
                <c:pt idx="25">
                  <c:v>1383.5385</c:v>
                </c:pt>
                <c:pt idx="26">
                  <c:v>1318.0714</c:v>
                </c:pt>
                <c:pt idx="27">
                  <c:v>1426.2581</c:v>
                </c:pt>
                <c:pt idx="28">
                  <c:v>1348.1159</c:v>
                </c:pt>
                <c:pt idx="29">
                  <c:v>1411.52</c:v>
                </c:pt>
                <c:pt idx="30">
                  <c:v>1397.2909</c:v>
                </c:pt>
                <c:pt idx="31">
                  <c:v>1351.1778</c:v>
                </c:pt>
                <c:pt idx="32">
                  <c:v>1387.2653</c:v>
                </c:pt>
                <c:pt idx="33">
                  <c:v>1349.1746</c:v>
                </c:pt>
                <c:pt idx="34">
                  <c:v>1327.9091</c:v>
                </c:pt>
                <c:pt idx="35">
                  <c:v>1344.1717</c:v>
                </c:pt>
                <c:pt idx="36">
                  <c:v>1336.1739</c:v>
                </c:pt>
                <c:pt idx="37">
                  <c:v>1275.8824</c:v>
                </c:pt>
                <c:pt idx="38">
                  <c:v>1349.4872</c:v>
                </c:pt>
                <c:pt idx="39">
                  <c:v>1290.4359</c:v>
                </c:pt>
                <c:pt idx="40">
                  <c:v>1353.8413</c:v>
                </c:pt>
                <c:pt idx="41">
                  <c:v>1331.8485</c:v>
                </c:pt>
                <c:pt idx="42">
                  <c:v>1344.8167</c:v>
                </c:pt>
                <c:pt idx="43">
                  <c:v>1299.9529</c:v>
                </c:pt>
                <c:pt idx="44">
                  <c:v>1401.8571</c:v>
                </c:pt>
                <c:pt idx="45">
                  <c:v>1371.0552</c:v>
                </c:pt>
                <c:pt idx="46">
                  <c:v>1351.9211</c:v>
                </c:pt>
                <c:pt idx="47">
                  <c:v>1328.0088</c:v>
                </c:pt>
                <c:pt idx="48">
                  <c:v>1348.8413</c:v>
                </c:pt>
                <c:pt idx="49">
                  <c:v>1298.0578</c:v>
                </c:pt>
                <c:pt idx="50">
                  <c:v>1249.4201</c:v>
                </c:pt>
                <c:pt idx="51">
                  <c:v>1304.4702</c:v>
                </c:pt>
              </c:numCache>
            </c:numRef>
          </c:xVal>
          <c:yVal>
            <c:numRef>
              <c:f>Sheet1!$B$109:$B$160</c:f>
              <c:numCache>
                <c:formatCode>General</c:formatCode>
                <c:ptCount val="52"/>
                <c:pt idx="0">
                  <c:v>0.0881578947368421</c:v>
                </c:pt>
                <c:pt idx="1">
                  <c:v>0.08296164139161463</c:v>
                </c:pt>
                <c:pt idx="2">
                  <c:v>0.07723743359215365</c:v>
                </c:pt>
                <c:pt idx="3">
                  <c:v>0.07948243992606285</c:v>
                </c:pt>
                <c:pt idx="4">
                  <c:v>0.08111480865224625</c:v>
                </c:pt>
                <c:pt idx="5">
                  <c:v>0.0782051282051282</c:v>
                </c:pt>
                <c:pt idx="6">
                  <c:v>0.06901475487862922</c:v>
                </c:pt>
                <c:pt idx="7">
                  <c:v>0.07491408934707904</c:v>
                </c:pt>
                <c:pt idx="8">
                  <c:v>0.08801624915368991</c:v>
                </c:pt>
                <c:pt idx="9">
                  <c:v>0.07922077922077922</c:v>
                </c:pt>
                <c:pt idx="10">
                  <c:v>0.09314903846153846</c:v>
                </c:pt>
                <c:pt idx="11">
                  <c:v>0.10969637610186092</c:v>
                </c:pt>
                <c:pt idx="12">
                  <c:v>0.10726474890297416</c:v>
                </c:pt>
                <c:pt idx="13">
                  <c:v>0.08725490196078431</c:v>
                </c:pt>
                <c:pt idx="14">
                  <c:v>0.09056806002143623</c:v>
                </c:pt>
                <c:pt idx="15">
                  <c:v>0.08123249299719888</c:v>
                </c:pt>
                <c:pt idx="16">
                  <c:v>0.07754342431761786</c:v>
                </c:pt>
                <c:pt idx="17">
                  <c:v>0.08170155300472653</c:v>
                </c:pt>
                <c:pt idx="18">
                  <c:v>0.06474258970358815</c:v>
                </c:pt>
                <c:pt idx="19">
                  <c:v>0.06457800511508952</c:v>
                </c:pt>
                <c:pt idx="20">
                  <c:v>0.05667144906743185</c:v>
                </c:pt>
                <c:pt idx="21">
                  <c:v>0.06382978723404255</c:v>
                </c:pt>
                <c:pt idx="22">
                  <c:v>0.07536231884057971</c:v>
                </c:pt>
                <c:pt idx="23">
                  <c:v>0.06673511293634497</c:v>
                </c:pt>
                <c:pt idx="24">
                  <c:v>0.06084396467124632</c:v>
                </c:pt>
                <c:pt idx="25">
                  <c:v>0.06907545164718384</c:v>
                </c:pt>
                <c:pt idx="26">
                  <c:v>0.05894736842105263</c:v>
                </c:pt>
                <c:pt idx="27">
                  <c:v>0.055705300988319856</c:v>
                </c:pt>
                <c:pt idx="28">
                  <c:v>0.05745212323064113</c:v>
                </c:pt>
                <c:pt idx="29">
                  <c:v>0.04926108374384237</c:v>
                </c:pt>
                <c:pt idx="30">
                  <c:v>0.0560081466395112</c:v>
                </c:pt>
                <c:pt idx="31">
                  <c:v>0.05610972568578554</c:v>
                </c:pt>
                <c:pt idx="32">
                  <c:v>0.05511811023622047</c:v>
                </c:pt>
                <c:pt idx="33">
                  <c:v>0.06555671175858481</c:v>
                </c:pt>
                <c:pt idx="34">
                  <c:v>0.08052708638360176</c:v>
                </c:pt>
                <c:pt idx="35">
                  <c:v>0.07393577296489919</c:v>
                </c:pt>
                <c:pt idx="36">
                  <c:v>0.05589307411907655</c:v>
                </c:pt>
                <c:pt idx="37">
                  <c:v>0.05301455301455302</c:v>
                </c:pt>
                <c:pt idx="38">
                  <c:v>0.043721973094170405</c:v>
                </c:pt>
                <c:pt idx="39">
                  <c:v>0.06037151702786378</c:v>
                </c:pt>
                <c:pt idx="40">
                  <c:v>0.045323741007194246</c:v>
                </c:pt>
                <c:pt idx="41">
                  <c:v>0.04330708661417323</c:v>
                </c:pt>
                <c:pt idx="42">
                  <c:v>0.04447739065974796</c:v>
                </c:pt>
                <c:pt idx="43">
                  <c:v>0.0456989247311828</c:v>
                </c:pt>
                <c:pt idx="44">
                  <c:v>0.04948162111215834</c:v>
                </c:pt>
                <c:pt idx="45">
                  <c:v>0.05600617999227501</c:v>
                </c:pt>
                <c:pt idx="46">
                  <c:v>0.05517909002904162</c:v>
                </c:pt>
                <c:pt idx="47">
                  <c:v>0.05315145813734713</c:v>
                </c:pt>
                <c:pt idx="48">
                  <c:v>0.04713804713804714</c:v>
                </c:pt>
                <c:pt idx="49">
                  <c:v>0.05741785595751742</c:v>
                </c:pt>
                <c:pt idx="50">
                  <c:v>0.06280763929907462</c:v>
                </c:pt>
                <c:pt idx="51">
                  <c:v>0.0535714285714285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95.49624262831964</c:v>
                </c:pt>
              </c:numCache>
            </c:numRef>
          </c:xVal>
          <c:yVal>
            <c:numRef>
              <c:f>Sheet1!$B$163:$B$164</c:f>
              <c:numCache>
                <c:formatCode>General</c:formatCode>
                <c:ptCount val="2"/>
                <c:pt idx="0">
                  <c:v>0.2724439240703625</c:v>
                </c:pt>
                <c:pt idx="1">
                  <c:v>0.272443924070362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95.49624262831964</c:v>
                </c:pt>
                <c:pt idx="1">
                  <c:v>-295.49624262831964</c:v>
                </c:pt>
              </c:numCache>
            </c:numRef>
          </c:xVal>
          <c:yVal>
            <c:numRef>
              <c:f>Sheet1!$B$167:$B$168</c:f>
              <c:numCache>
                <c:formatCode>General</c:formatCode>
                <c:ptCount val="2"/>
                <c:pt idx="0">
                  <c:v>0.27244392407036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11.5082030868853</c:v>
                </c:pt>
              </c:numCache>
            </c:numRef>
          </c:xVal>
          <c:yVal>
            <c:numRef>
              <c:f>Sheet1!$B$171:$B$172</c:f>
              <c:numCache>
                <c:formatCode>General</c:formatCode>
                <c:ptCount val="2"/>
                <c:pt idx="0">
                  <c:v>0.0813425543160822</c:v>
                </c:pt>
                <c:pt idx="1">
                  <c:v>0.081342554316082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11.5082030868853</c:v>
                </c:pt>
                <c:pt idx="1">
                  <c:v>1211.5082030868853</c:v>
                </c:pt>
              </c:numCache>
            </c:numRef>
          </c:xVal>
          <c:yVal>
            <c:numRef>
              <c:f>Sheet1!$B$175:$B$176</c:f>
              <c:numCache>
                <c:formatCode>General</c:formatCode>
                <c:ptCount val="2"/>
                <c:pt idx="0">
                  <c:v>0.08134255431608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44.1548438555035</c:v>
                </c:pt>
              </c:numCache>
            </c:numRef>
          </c:xVal>
          <c:yVal>
            <c:numRef>
              <c:f>Sheet1!$B$179:$B$180</c:f>
              <c:numCache>
                <c:formatCode>General</c:formatCode>
                <c:ptCount val="2"/>
                <c:pt idx="0">
                  <c:v>0.051840921559773226</c:v>
                </c:pt>
                <c:pt idx="1">
                  <c:v>0.05184092155977322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44.1548438555035</c:v>
                </c:pt>
                <c:pt idx="1">
                  <c:v>1444.1548438555035</c:v>
                </c:pt>
              </c:numCache>
            </c:numRef>
          </c:xVal>
          <c:yVal>
            <c:numRef>
              <c:f>Sheet1!$B$183:$B$184</c:f>
              <c:numCache>
                <c:formatCode>General</c:formatCode>
                <c:ptCount val="2"/>
                <c:pt idx="0">
                  <c:v>0.05184092155977322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19.2886</c:v>
                </c:pt>
                <c:pt idx="1">
                  <c:v>1263.5645</c:v>
                </c:pt>
                <c:pt idx="2">
                  <c:v>1281.9259</c:v>
                </c:pt>
                <c:pt idx="3">
                  <c:v>1309.0512</c:v>
                </c:pt>
                <c:pt idx="4">
                  <c:v>1290.0615</c:v>
                </c:pt>
                <c:pt idx="5">
                  <c:v>1314.8852</c:v>
                </c:pt>
                <c:pt idx="6">
                  <c:v>1291.4897</c:v>
                </c:pt>
                <c:pt idx="7">
                  <c:v>1326.3303</c:v>
                </c:pt>
                <c:pt idx="8">
                  <c:v>1276.5231</c:v>
                </c:pt>
                <c:pt idx="9">
                  <c:v>1313.2295</c:v>
                </c:pt>
                <c:pt idx="10">
                  <c:v>1276.5871</c:v>
                </c:pt>
                <c:pt idx="11">
                  <c:v>1342.375</c:v>
                </c:pt>
                <c:pt idx="12">
                  <c:v>1296.5818</c:v>
                </c:pt>
                <c:pt idx="13">
                  <c:v>1273.2191</c:v>
                </c:pt>
                <c:pt idx="14">
                  <c:v>1313.4497</c:v>
                </c:pt>
                <c:pt idx="15">
                  <c:v>1303.9793</c:v>
                </c:pt>
                <c:pt idx="16">
                  <c:v>1291.664</c:v>
                </c:pt>
                <c:pt idx="17">
                  <c:v>1311.8595</c:v>
                </c:pt>
                <c:pt idx="18">
                  <c:v>1281.1566</c:v>
                </c:pt>
                <c:pt idx="19">
                  <c:v>1346.2574</c:v>
                </c:pt>
                <c:pt idx="20">
                  <c:v>1335.8101</c:v>
                </c:pt>
                <c:pt idx="21">
                  <c:v>1356.1159</c:v>
                </c:pt>
                <c:pt idx="22">
                  <c:v>1338.1923</c:v>
                </c:pt>
                <c:pt idx="23">
                  <c:v>1146.4308</c:v>
                </c:pt>
                <c:pt idx="24">
                  <c:v>1401.1452</c:v>
                </c:pt>
                <c:pt idx="25">
                  <c:v>1383.5385</c:v>
                </c:pt>
                <c:pt idx="26">
                  <c:v>1318.0714</c:v>
                </c:pt>
                <c:pt idx="27">
                  <c:v>1426.2581</c:v>
                </c:pt>
                <c:pt idx="28">
                  <c:v>1348.1159</c:v>
                </c:pt>
                <c:pt idx="29">
                  <c:v>1411.52</c:v>
                </c:pt>
                <c:pt idx="30">
                  <c:v>1397.2909</c:v>
                </c:pt>
                <c:pt idx="31">
                  <c:v>1351.1778</c:v>
                </c:pt>
                <c:pt idx="32">
                  <c:v>1387.2653</c:v>
                </c:pt>
                <c:pt idx="33">
                  <c:v>1349.1746</c:v>
                </c:pt>
                <c:pt idx="34">
                  <c:v>1327.9091</c:v>
                </c:pt>
                <c:pt idx="35">
                  <c:v>1344.1717</c:v>
                </c:pt>
                <c:pt idx="36">
                  <c:v>1336.1739</c:v>
                </c:pt>
                <c:pt idx="37">
                  <c:v>1275.8824</c:v>
                </c:pt>
                <c:pt idx="38">
                  <c:v>1349.4872</c:v>
                </c:pt>
                <c:pt idx="39">
                  <c:v>1290.4359</c:v>
                </c:pt>
                <c:pt idx="40">
                  <c:v>1353.8413</c:v>
                </c:pt>
                <c:pt idx="41">
                  <c:v>1331.8485</c:v>
                </c:pt>
                <c:pt idx="42">
                  <c:v>1344.8167</c:v>
                </c:pt>
                <c:pt idx="43">
                  <c:v>1299.9529</c:v>
                </c:pt>
                <c:pt idx="44">
                  <c:v>1401.8571</c:v>
                </c:pt>
                <c:pt idx="45">
                  <c:v>1371.0552</c:v>
                </c:pt>
                <c:pt idx="46">
                  <c:v>1351.9211</c:v>
                </c:pt>
                <c:pt idx="47">
                  <c:v>1328.0088</c:v>
                </c:pt>
                <c:pt idx="48">
                  <c:v>1348.8413</c:v>
                </c:pt>
                <c:pt idx="49">
                  <c:v>1298.0578</c:v>
                </c:pt>
                <c:pt idx="50">
                  <c:v>1249.4201</c:v>
                </c:pt>
                <c:pt idx="51">
                  <c:v>1304.4702</c:v>
                </c:pt>
                <c:pt idx="52">
                  <c:v>1211.5082030868853</c:v>
                </c:pt>
                <c:pt idx="53">
                  <c:v>-295.49624262831964</c:v>
                </c:pt>
                <c:pt idx="54">
                  <c:v>1444.1548438555035</c:v>
                </c:pt>
              </c:numCache>
            </c:numRef>
          </c:xVal>
          <c:yVal>
            <c:numRef>
              <c:f>Sheet1!$B$187:$B$241</c:f>
              <c:numCache>
                <c:formatCode>General</c:formatCode>
                <c:ptCount val="55"/>
                <c:pt idx="0">
                  <c:v>0.06767505549660713</c:v>
                </c:pt>
                <c:pt idx="1">
                  <c:v>0.07474135969272427</c:v>
                </c:pt>
                <c:pt idx="2">
                  <c:v>0.07241297326985544</c:v>
                </c:pt>
                <c:pt idx="3">
                  <c:v>0.06897324752801418</c:v>
                </c:pt>
                <c:pt idx="4">
                  <c:v>0.07138130789674163</c:v>
                </c:pt>
                <c:pt idx="5">
                  <c:v>0.06823344520406197</c:v>
                </c:pt>
                <c:pt idx="6">
                  <c:v>0.07120019962127563</c:v>
                </c:pt>
                <c:pt idx="7">
                  <c:v>0.06678210622945346</c:v>
                </c:pt>
                <c:pt idx="8">
                  <c:v>0.07309809565515696</c:v>
                </c:pt>
                <c:pt idx="9">
                  <c:v>0.06844340247313424</c:v>
                </c:pt>
                <c:pt idx="10">
                  <c:v>0.07308997989431829</c:v>
                </c:pt>
                <c:pt idx="11">
                  <c:v>0.06474749766806909</c:v>
                </c:pt>
                <c:pt idx="12">
                  <c:v>0.07055447671867071</c:v>
                </c:pt>
                <c:pt idx="13">
                  <c:v>0.07351707180845457</c:v>
                </c:pt>
                <c:pt idx="14">
                  <c:v>0.0684154791834986</c:v>
                </c:pt>
                <c:pt idx="15">
                  <c:v>0.06961640889360443</c:v>
                </c:pt>
                <c:pt idx="16">
                  <c:v>0.07117809685386653</c:v>
                </c:pt>
                <c:pt idx="17">
                  <c:v>0.06861713047858753</c:v>
                </c:pt>
                <c:pt idx="18">
                  <c:v>0.0725105272513118</c:v>
                </c:pt>
                <c:pt idx="19">
                  <c:v>0.0642551753261918</c:v>
                </c:pt>
                <c:pt idx="20">
                  <c:v>0.0655799845169745</c:v>
                </c:pt>
                <c:pt idx="21">
                  <c:v>0.06300503113512507</c:v>
                </c:pt>
                <c:pt idx="22">
                  <c:v>0.06527790068150671</c:v>
                </c:pt>
                <c:pt idx="23">
                  <c:v>0.08959493930758969</c:v>
                </c:pt>
                <c:pt idx="24">
                  <c:v>0.05729492129865907</c:v>
                </c:pt>
                <c:pt idx="25">
                  <c:v>0.05952760514801281</c:v>
                </c:pt>
                <c:pt idx="26">
                  <c:v>0.06782940712305807</c:v>
                </c:pt>
                <c:pt idx="27">
                  <c:v>0.05411038551168951</c:v>
                </c:pt>
                <c:pt idx="28">
                  <c:v>0.06401950123996189</c:v>
                </c:pt>
                <c:pt idx="29">
                  <c:v>0.055979305743201424</c:v>
                </c:pt>
                <c:pt idx="30">
                  <c:v>0.05778368031429312</c:v>
                </c:pt>
                <c:pt idx="31">
                  <c:v>0.0636312254882119</c:v>
                </c:pt>
                <c:pt idx="32">
                  <c:v>0.0590550142496746</c:v>
                </c:pt>
                <c:pt idx="33">
                  <c:v>0.06388524880246302</c:v>
                </c:pt>
                <c:pt idx="34">
                  <c:v>0.06658190055426391</c:v>
                </c:pt>
                <c:pt idx="35">
                  <c:v>0.06451966036339904</c:v>
                </c:pt>
                <c:pt idx="36">
                  <c:v>0.06553385148895702</c:v>
                </c:pt>
                <c:pt idx="37">
                  <c:v>0.0731793420296781</c:v>
                </c:pt>
                <c:pt idx="38">
                  <c:v>0.06384560838311654</c:v>
                </c:pt>
                <c:pt idx="39">
                  <c:v>0.07133383069583529</c:v>
                </c:pt>
                <c:pt idx="40">
                  <c:v>0.06329347034768279</c:v>
                </c:pt>
                <c:pt idx="41">
                  <c:v>0.06608235011288965</c:v>
                </c:pt>
                <c:pt idx="42">
                  <c:v>0.06443786871119658</c:v>
                </c:pt>
                <c:pt idx="43">
                  <c:v>0.0701269916973688</c:v>
                </c:pt>
                <c:pt idx="44">
                  <c:v>0.0572046461402049</c:v>
                </c:pt>
                <c:pt idx="45">
                  <c:v>0.061110596980476495</c:v>
                </c:pt>
                <c:pt idx="46">
                  <c:v>0.06353696853459626</c:v>
                </c:pt>
                <c:pt idx="47">
                  <c:v>0.06656925772058239</c:v>
                </c:pt>
                <c:pt idx="48">
                  <c:v>0.0639275141632058</c:v>
                </c:pt>
                <c:pt idx="49">
                  <c:v>0.0703673069843283</c:v>
                </c:pt>
                <c:pt idx="50">
                  <c:v>0.07653499356158097</c:v>
                </c:pt>
                <c:pt idx="51">
                  <c:v>0.06955415847179638</c:v>
                </c:pt>
                <c:pt idx="52">
                  <c:v>0.0813425543160822</c:v>
                </c:pt>
                <c:pt idx="53">
                  <c:v>0.2724439240703625</c:v>
                </c:pt>
                <c:pt idx="54">
                  <c:v>0.0518409215597732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3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42194092827"/>
          <c:min val="0.0346456692913385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525452841767683</c:v>
                </c:pt>
                <c:pt idx="1">
                  <c:v>1.6590846837169058</c:v>
                </c:pt>
                <c:pt idx="2">
                  <c:v>1.659349145627968</c:v>
                </c:pt>
                <c:pt idx="3">
                  <c:v>1.669849868576676</c:v>
                </c:pt>
                <c:pt idx="4">
                  <c:v>1.6897299597823656</c:v>
                </c:pt>
                <c:pt idx="5">
                  <c:v>1.7829729776847978</c:v>
                </c:pt>
                <c:pt idx="6">
                  <c:v>1.7871954247564386</c:v>
                </c:pt>
                <c:pt idx="7">
                  <c:v>1.6789977931048405</c:v>
                </c:pt>
                <c:pt idx="8">
                  <c:v>1.7276863547754766</c:v>
                </c:pt>
                <c:pt idx="9">
                  <c:v>1.7062861804133416</c:v>
                </c:pt>
                <c:pt idx="10">
                  <c:v>1.7279864074407392</c:v>
                </c:pt>
                <c:pt idx="11">
                  <c:v>1.7235480800066496</c:v>
                </c:pt>
                <c:pt idx="12">
                  <c:v>1.7471382175339565</c:v>
                </c:pt>
                <c:pt idx="13">
                  <c:v>1.6768121485390008</c:v>
                </c:pt>
                <c:pt idx="14">
                  <c:v>1.662930855936814</c:v>
                </c:pt>
                <c:pt idx="15">
                  <c:v>1.6244446633866196</c:v>
                </c:pt>
                <c:pt idx="16">
                  <c:v>1.715221898632534</c:v>
                </c:pt>
                <c:pt idx="17">
                  <c:v>1.693605270188461</c:v>
                </c:pt>
                <c:pt idx="18">
                  <c:v>1.7044881020282234</c:v>
                </c:pt>
                <c:pt idx="19">
                  <c:v>1.759839122449164</c:v>
                </c:pt>
                <c:pt idx="20">
                  <c:v>1.744933394781451</c:v>
                </c:pt>
                <c:pt idx="21">
                  <c:v>1.699226001761638</c:v>
                </c:pt>
                <c:pt idx="22">
                  <c:v>1.6942655411091114</c:v>
                </c:pt>
                <c:pt idx="23">
                  <c:v>1.68689211091142</c:v>
                </c:pt>
                <c:pt idx="24">
                  <c:v>1.6786610809025149</c:v>
                </c:pt>
                <c:pt idx="25">
                  <c:v>1.721439763406622</c:v>
                </c:pt>
                <c:pt idx="26">
                  <c:v>1.699937752421516</c:v>
                </c:pt>
                <c:pt idx="27">
                  <c:v>1.6989353840849792</c:v>
                </c:pt>
                <c:pt idx="28">
                  <c:v>1.647658735961997</c:v>
                </c:pt>
                <c:pt idx="29">
                  <c:v>1.7684998754947134</c:v>
                </c:pt>
                <c:pt idx="30">
                  <c:v>1.788053537864153</c:v>
                </c:pt>
                <c:pt idx="31">
                  <c:v>1.7439480325044387</c:v>
                </c:pt>
                <c:pt idx="32">
                  <c:v>1.7408655105934001</c:v>
                </c:pt>
                <c:pt idx="33">
                  <c:v>1.727459522306474</c:v>
                </c:pt>
                <c:pt idx="34">
                  <c:v>1.7406075305741422</c:v>
                </c:pt>
                <c:pt idx="35">
                  <c:v>1.8096216863106347</c:v>
                </c:pt>
                <c:pt idx="36">
                  <c:v>1.8116946670758687</c:v>
                </c:pt>
                <c:pt idx="37">
                  <c:v>1.819813135963814</c:v>
                </c:pt>
                <c:pt idx="38">
                  <c:v>1.8148596517756053</c:v>
                </c:pt>
                <c:pt idx="39">
                  <c:v>2.0677148300210315</c:v>
                </c:pt>
                <c:pt idx="40">
                  <c:v>2.147490271083992</c:v>
                </c:pt>
                <c:pt idx="41">
                  <c:v>2.1643222003804223</c:v>
                </c:pt>
                <c:pt idx="42">
                  <c:v>2.1462938453156424</c:v>
                </c:pt>
                <c:pt idx="43">
                  <c:v>2.0668940617088385</c:v>
                </c:pt>
                <c:pt idx="44">
                  <c:v>1.983157528128192</c:v>
                </c:pt>
                <c:pt idx="45">
                  <c:v>1.897226456534733</c:v>
                </c:pt>
                <c:pt idx="46">
                  <c:v>1.9404603210756117</c:v>
                </c:pt>
                <c:pt idx="47">
                  <c:v>1.8961100293458606</c:v>
                </c:pt>
                <c:pt idx="48">
                  <c:v>1.9548732262944113</c:v>
                </c:pt>
                <c:pt idx="49">
                  <c:v>1.7987824360589995</c:v>
                </c:pt>
                <c:pt idx="50">
                  <c:v>1.8255940422965882</c:v>
                </c:pt>
                <c:pt idx="51">
                  <c:v>1.8027309146611805</c:v>
                </c:pt>
                <c:pt idx="52">
                  <c:v>1.8982085635211048</c:v>
                </c:pt>
                <c:pt idx="53">
                  <c:v>1.8004886239215763</c:v>
                </c:pt>
                <c:pt idx="54">
                  <c:v>1.8223363558098198</c:v>
                </c:pt>
                <c:pt idx="55">
                  <c:v>1.7748437372012575</c:v>
                </c:pt>
                <c:pt idx="56">
                  <c:v>1.7131211108921591</c:v>
                </c:pt>
                <c:pt idx="57">
                  <c:v>1.839480254948612</c:v>
                </c:pt>
                <c:pt idx="58">
                  <c:v>1.8375375856789704</c:v>
                </c:pt>
                <c:pt idx="59">
                  <c:v>1.8465930976756675</c:v>
                </c:pt>
                <c:pt idx="60">
                  <c:v>1.8760143994986547</c:v>
                </c:pt>
                <c:pt idx="61">
                  <c:v>1.837456437152536</c:v>
                </c:pt>
                <c:pt idx="62">
                  <c:v>1.8554812839331372</c:v>
                </c:pt>
                <c:pt idx="63">
                  <c:v>1.8169681987925503</c:v>
                </c:pt>
                <c:pt idx="64">
                  <c:v>1.804654371477802</c:v>
                </c:pt>
                <c:pt idx="65">
                  <c:v>1.7609024963545368</c:v>
                </c:pt>
                <c:pt idx="66">
                  <c:v>1.7797319448614841</c:v>
                </c:pt>
                <c:pt idx="67">
                  <c:v>1.7828908797251661</c:v>
                </c:pt>
                <c:pt idx="68">
                  <c:v>1.744873414869588</c:v>
                </c:pt>
                <c:pt idx="69">
                  <c:v>1.7849162856120149</c:v>
                </c:pt>
                <c:pt idx="70">
                  <c:v>1.789974713551956</c:v>
                </c:pt>
                <c:pt idx="71">
                  <c:v>1.7298510266330005</c:v>
                </c:pt>
                <c:pt idx="72">
                  <c:v>1.7586944931202009</c:v>
                </c:pt>
                <c:pt idx="73">
                  <c:v>1.8367677471931747</c:v>
                </c:pt>
                <c:pt idx="74">
                  <c:v>1.875109408036927</c:v>
                </c:pt>
                <c:pt idx="75">
                  <c:v>1.8381786898856278</c:v>
                </c:pt>
                <c:pt idx="76">
                  <c:v>1.8493695392721945</c:v>
                </c:pt>
                <c:pt idx="77">
                  <c:v>1.843179587333714</c:v>
                </c:pt>
                <c:pt idx="78">
                  <c:v>1.7993842487626142</c:v>
                </c:pt>
                <c:pt idx="79">
                  <c:v>1.8410673412560175</c:v>
                </c:pt>
                <c:pt idx="80">
                  <c:v>1.8387705046439653</c:v>
                </c:pt>
                <c:pt idx="81">
                  <c:v>1.9886148752366906</c:v>
                </c:pt>
                <c:pt idx="82">
                  <c:v>1.9331833593459176</c:v>
                </c:pt>
                <c:pt idx="83">
                  <c:v>1.8478734049016325</c:v>
                </c:pt>
                <c:pt idx="84">
                  <c:v>1.8396714040770152</c:v>
                </c:pt>
                <c:pt idx="85">
                  <c:v>1.8889062982665255</c:v>
                </c:pt>
                <c:pt idx="86">
                  <c:v>1.9448781611691737</c:v>
                </c:pt>
                <c:pt idx="87">
                  <c:v>2.0293789506141957</c:v>
                </c:pt>
                <c:pt idx="88">
                  <c:v>1.9596844085941767</c:v>
                </c:pt>
                <c:pt idx="89">
                  <c:v>1.8922390897597665</c:v>
                </c:pt>
                <c:pt idx="90">
                  <c:v>1.931548141354004</c:v>
                </c:pt>
                <c:pt idx="91">
                  <c:v>1.9564351876181743</c:v>
                </c:pt>
                <c:pt idx="92">
                  <c:v>2.008461966533285</c:v>
                </c:pt>
                <c:pt idx="93">
                  <c:v>2.0091248803000923</c:v>
                </c:pt>
                <c:pt idx="94">
                  <c:v>2.153723925035502</c:v>
                </c:pt>
                <c:pt idx="95">
                  <c:v>2.1064911956136214</c:v>
                </c:pt>
                <c:pt idx="96">
                  <c:v>1.9913617166893718</c:v>
                </c:pt>
                <c:pt idx="97">
                  <c:v>1.9878413144887264</c:v>
                </c:pt>
                <c:pt idx="98">
                  <c:v>1.8528239422478312</c:v>
                </c:pt>
                <c:pt idx="99">
                  <c:v>1.9218687059575466</c:v>
                </c:pt>
                <c:pt idx="100">
                  <c:v>1.9531968442255137</c:v>
                </c:pt>
                <c:pt idx="101">
                  <c:v>2.0549225554932855</c:v>
                </c:pt>
                <c:pt idx="102">
                  <c:v>2.124865421609196</c:v>
                </c:pt>
                <c:pt idx="103">
                  <c:v>2.0288305171459884</c:v>
                </c:pt>
                <c:pt idx="104">
                  <c:v>2.0680852080321324</c:v>
                </c:pt>
              </c:numCache>
            </c:numRef>
          </c:xVal>
          <c:yVal>
            <c:numRef>
              <c:f>Sheet1!$B$2:$B$106</c:f>
              <c:numCache>
                <c:formatCode>General</c:formatCode>
                <c:ptCount val="105"/>
                <c:pt idx="0">
                  <c:v>0.4159103043246129</c:v>
                </c:pt>
                <c:pt idx="1">
                  <c:v>0.4170182841068917</c:v>
                </c:pt>
                <c:pt idx="2">
                  <c:v>0.3423076923076923</c:v>
                </c:pt>
                <c:pt idx="3">
                  <c:v>0.3123359580052493</c:v>
                </c:pt>
                <c:pt idx="4">
                  <c:v>0.2618510158013544</c:v>
                </c:pt>
                <c:pt idx="5">
                  <c:v>0.20043103448275862</c:v>
                </c:pt>
                <c:pt idx="6">
                  <c:v>0.18662613981762918</c:v>
                </c:pt>
                <c:pt idx="7">
                  <c:v>0.16191799861014594</c:v>
                </c:pt>
                <c:pt idx="8">
                  <c:v>0.15359688917692807</c:v>
                </c:pt>
                <c:pt idx="9">
                  <c:v>0.1367335865436788</c:v>
                </c:pt>
                <c:pt idx="10">
                  <c:v>0.14606741573033707</c:v>
                </c:pt>
                <c:pt idx="11">
                  <c:v>0.14337733272644515</c:v>
                </c:pt>
                <c:pt idx="12">
                  <c:v>0.17135549872122763</c:v>
                </c:pt>
                <c:pt idx="13">
                  <c:v>0.16840536512667661</c:v>
                </c:pt>
                <c:pt idx="14">
                  <c:v>0.22965641952983726</c:v>
                </c:pt>
                <c:pt idx="15">
                  <c:v>0.2309899569583931</c:v>
                </c:pt>
                <c:pt idx="16">
                  <c:v>0.2247992863514719</c:v>
                </c:pt>
                <c:pt idx="17">
                  <c:v>0.2255406797116375</c:v>
                </c:pt>
                <c:pt idx="18">
                  <c:v>0.19134396355353075</c:v>
                </c:pt>
                <c:pt idx="19">
                  <c:v>0.2180028129395218</c:v>
                </c:pt>
                <c:pt idx="20">
                  <c:v>0.21298405466970388</c:v>
                </c:pt>
                <c:pt idx="21">
                  <c:v>0.18695106649937265</c:v>
                </c:pt>
                <c:pt idx="22">
                  <c:v>0.1871345029239766</c:v>
                </c:pt>
                <c:pt idx="23">
                  <c:v>0.1562043795620438</c:v>
                </c:pt>
                <c:pt idx="24">
                  <c:v>0.17479674796747968</c:v>
                </c:pt>
                <c:pt idx="25">
                  <c:v>0.16047548291233285</c:v>
                </c:pt>
                <c:pt idx="26">
                  <c:v>0.17044100119189512</c:v>
                </c:pt>
                <c:pt idx="27">
                  <c:v>0.1728538283062645</c:v>
                </c:pt>
                <c:pt idx="28">
                  <c:v>0.17386231038506417</c:v>
                </c:pt>
                <c:pt idx="29">
                  <c:v>0.19728601252609604</c:v>
                </c:pt>
                <c:pt idx="30">
                  <c:v>0.19230769230769232</c:v>
                </c:pt>
                <c:pt idx="31">
                  <c:v>0.17385257301808066</c:v>
                </c:pt>
                <c:pt idx="32">
                  <c:v>0.1716514954486346</c:v>
                </c:pt>
                <c:pt idx="33">
                  <c:v>0.19536423841059603</c:v>
                </c:pt>
                <c:pt idx="34">
                  <c:v>0.19821826280623608</c:v>
                </c:pt>
                <c:pt idx="35">
                  <c:v>0.21199671322925226</c:v>
                </c:pt>
                <c:pt idx="36">
                  <c:v>0.19616788321167883</c:v>
                </c:pt>
                <c:pt idx="37">
                  <c:v>0.16517857142857142</c:v>
                </c:pt>
                <c:pt idx="38">
                  <c:v>0.17167381974248927</c:v>
                </c:pt>
                <c:pt idx="39">
                  <c:v>0.14925373134328357</c:v>
                </c:pt>
                <c:pt idx="40">
                  <c:v>0.13821138211382114</c:v>
                </c:pt>
                <c:pt idx="41">
                  <c:v>0.11771177117711772</c:v>
                </c:pt>
                <c:pt idx="42">
                  <c:v>0.1311329170383586</c:v>
                </c:pt>
                <c:pt idx="43">
                  <c:v>0.13452188006482982</c:v>
                </c:pt>
                <c:pt idx="44">
                  <c:v>0.1653250773993808</c:v>
                </c:pt>
                <c:pt idx="45">
                  <c:v>0.1727325245522819</c:v>
                </c:pt>
                <c:pt idx="46">
                  <c:v>0.16136495083863506</c:v>
                </c:pt>
                <c:pt idx="47">
                  <c:v>0.16250760803408398</c:v>
                </c:pt>
                <c:pt idx="48">
                  <c:v>0.15188762071992976</c:v>
                </c:pt>
                <c:pt idx="49">
                  <c:v>0.1820123398196488</c:v>
                </c:pt>
                <c:pt idx="50">
                  <c:v>0.17026055705300988</c:v>
                </c:pt>
                <c:pt idx="51">
                  <c:v>0.1703011422637591</c:v>
                </c:pt>
                <c:pt idx="52">
                  <c:v>0.17587939698492464</c:v>
                </c:pt>
                <c:pt idx="53">
                  <c:v>0.163943661971831</c:v>
                </c:pt>
                <c:pt idx="54">
                  <c:v>0.13448894202032277</c:v>
                </c:pt>
                <c:pt idx="55">
                  <c:v>0.14567430025445294</c:v>
                </c:pt>
                <c:pt idx="56">
                  <c:v>0.1460880195599022</c:v>
                </c:pt>
                <c:pt idx="57">
                  <c:v>0.13729977116704806</c:v>
                </c:pt>
                <c:pt idx="58">
                  <c:v>0.1330603889457523</c:v>
                </c:pt>
                <c:pt idx="59">
                  <c:v>0.14317817014446227</c:v>
                </c:pt>
                <c:pt idx="60">
                  <c:v>0.13189448441247004</c:v>
                </c:pt>
                <c:pt idx="61">
                  <c:v>0.15085995085995085</c:v>
                </c:pt>
                <c:pt idx="62">
                  <c:v>0.14637985309548793</c:v>
                </c:pt>
                <c:pt idx="63">
                  <c:v>0.15098374679213003</c:v>
                </c:pt>
                <c:pt idx="64">
                  <c:v>0.16324822101297615</c:v>
                </c:pt>
                <c:pt idx="65">
                  <c:v>0.18778280542986425</c:v>
                </c:pt>
                <c:pt idx="66">
                  <c:v>0.19336219336219337</c:v>
                </c:pt>
                <c:pt idx="67">
                  <c:v>0.16715976331360946</c:v>
                </c:pt>
                <c:pt idx="68">
                  <c:v>0.16890080428954424</c:v>
                </c:pt>
                <c:pt idx="69">
                  <c:v>0.14823914823914824</c:v>
                </c:pt>
                <c:pt idx="70">
                  <c:v>0.11272727272727273</c:v>
                </c:pt>
                <c:pt idx="71">
                  <c:v>0.1572700296735905</c:v>
                </c:pt>
                <c:pt idx="72">
                  <c:v>0.14336158192090395</c:v>
                </c:pt>
                <c:pt idx="73">
                  <c:v>0.11970802919708029</c:v>
                </c:pt>
                <c:pt idx="74">
                  <c:v>0.10655737704918032</c:v>
                </c:pt>
                <c:pt idx="75">
                  <c:v>0.1028770706190061</c:v>
                </c:pt>
                <c:pt idx="76">
                  <c:v>0.1027592768791627</c:v>
                </c:pt>
                <c:pt idx="77">
                  <c:v>0.11012782694198624</c:v>
                </c:pt>
                <c:pt idx="78">
                  <c:v>0.12174817898022892</c:v>
                </c:pt>
                <c:pt idx="79">
                  <c:v>0.10392364793213149</c:v>
                </c:pt>
                <c:pt idx="80">
                  <c:v>0.09378292939936776</c:v>
                </c:pt>
                <c:pt idx="81">
                  <c:v>0.10044444444444445</c:v>
                </c:pt>
                <c:pt idx="82">
                  <c:v>0.11255924170616113</c:v>
                </c:pt>
                <c:pt idx="83">
                  <c:v>0.10879284649776454</c:v>
                </c:pt>
                <c:pt idx="84">
                  <c:v>0.1056547619047619</c:v>
                </c:pt>
                <c:pt idx="85">
                  <c:v>0.10787172011661808</c:v>
                </c:pt>
                <c:pt idx="86">
                  <c:v>0.1056563500533618</c:v>
                </c:pt>
                <c:pt idx="87">
                  <c:v>0.13838862559241707</c:v>
                </c:pt>
                <c:pt idx="88">
                  <c:v>0.12777777777777777</c:v>
                </c:pt>
                <c:pt idx="89">
                  <c:v>0.09336609336609336</c:v>
                </c:pt>
                <c:pt idx="90">
                  <c:v>0.08080808080808081</c:v>
                </c:pt>
                <c:pt idx="91">
                  <c:v>0.09739524348810873</c:v>
                </c:pt>
                <c:pt idx="92">
                  <c:v>0.08775313404050145</c:v>
                </c:pt>
                <c:pt idx="93">
                  <c:v>0.07912457912457913</c:v>
                </c:pt>
                <c:pt idx="94">
                  <c:v>0.08449197860962566</c:v>
                </c:pt>
                <c:pt idx="95">
                  <c:v>0.09365781710914454</c:v>
                </c:pt>
                <c:pt idx="96">
                  <c:v>0.08994708994708994</c:v>
                </c:pt>
                <c:pt idx="97">
                  <c:v>0.09814722083124687</c:v>
                </c:pt>
                <c:pt idx="98">
                  <c:v>0.11115702479338843</c:v>
                </c:pt>
                <c:pt idx="99">
                  <c:v>0.10626702997275204</c:v>
                </c:pt>
                <c:pt idx="100">
                  <c:v>0.1114792899408284</c:v>
                </c:pt>
                <c:pt idx="101">
                  <c:v>0.09066967644845748</c:v>
                </c:pt>
                <c:pt idx="102">
                  <c:v>0.0970464135021097</c:v>
                </c:pt>
                <c:pt idx="103">
                  <c:v>0.08458114123836503</c:v>
                </c:pt>
                <c:pt idx="104">
                  <c:v>0.0985849056603773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2.1139003649405805</c:v>
                </c:pt>
                <c:pt idx="1">
                  <c:v>2.010994733483987</c:v>
                </c:pt>
                <c:pt idx="2">
                  <c:v>2.04477111276432</c:v>
                </c:pt>
                <c:pt idx="3">
                  <c:v>2.114632848510656</c:v>
                </c:pt>
                <c:pt idx="4">
                  <c:v>2.115957644155864</c:v>
                </c:pt>
                <c:pt idx="5">
                  <c:v>2.1560991367471543</c:v>
                </c:pt>
                <c:pt idx="6">
                  <c:v>2.0954461851380004</c:v>
                </c:pt>
                <c:pt idx="7">
                  <c:v>2.1919796827973936</c:v>
                </c:pt>
                <c:pt idx="8">
                  <c:v>2.105231467371729</c:v>
                </c:pt>
                <c:pt idx="9">
                  <c:v>2.2133082704105767</c:v>
                </c:pt>
                <c:pt idx="10">
                  <c:v>2.1175873326987915</c:v>
                </c:pt>
                <c:pt idx="11">
                  <c:v>2.16654284884709</c:v>
                </c:pt>
                <c:pt idx="12">
                  <c:v>2.0589026558565613</c:v>
                </c:pt>
                <c:pt idx="13">
                  <c:v>2.0043948989135467</c:v>
                </c:pt>
                <c:pt idx="14">
                  <c:v>2.1032589993227995</c:v>
                </c:pt>
                <c:pt idx="15">
                  <c:v>2.101144481274139</c:v>
                </c:pt>
                <c:pt idx="16">
                  <c:v>2.072623264508727</c:v>
                </c:pt>
                <c:pt idx="17">
                  <c:v>2.0807679807838264</c:v>
                </c:pt>
                <c:pt idx="18">
                  <c:v>2.052119054487593</c:v>
                </c:pt>
                <c:pt idx="19">
                  <c:v>2.171418276329985</c:v>
                </c:pt>
                <c:pt idx="20">
                  <c:v>2.1243873626784313</c:v>
                </c:pt>
                <c:pt idx="21">
                  <c:v>2.128749284591025</c:v>
                </c:pt>
                <c:pt idx="22">
                  <c:v>2.0916209327101263</c:v>
                </c:pt>
                <c:pt idx="23">
                  <c:v>1.8522642449576274</c:v>
                </c:pt>
                <c:pt idx="24">
                  <c:v>2.19530794894879</c:v>
                </c:pt>
                <c:pt idx="25">
                  <c:v>2.1979639175380568</c:v>
                </c:pt>
                <c:pt idx="26">
                  <c:v>2.0941563017105853</c:v>
                </c:pt>
                <c:pt idx="27">
                  <c:v>2.238990664815935</c:v>
                </c:pt>
                <c:pt idx="28">
                  <c:v>2.1448838338188874</c:v>
                </c:pt>
                <c:pt idx="29">
                  <c:v>2.2947585790483953</c:v>
                </c:pt>
                <c:pt idx="30">
                  <c:v>2.2220140964360082</c:v>
                </c:pt>
                <c:pt idx="31">
                  <c:v>2.1654239954459964</c:v>
                </c:pt>
                <c:pt idx="32">
                  <c:v>2.2261436972946536</c:v>
                </c:pt>
                <c:pt idx="33">
                  <c:v>2.166469290297738</c:v>
                </c:pt>
                <c:pt idx="34">
                  <c:v>2.199924720314598</c:v>
                </c:pt>
                <c:pt idx="35">
                  <c:v>2.2510152557138174</c:v>
                </c:pt>
                <c:pt idx="36">
                  <c:v>2.1393579911353084</c:v>
                </c:pt>
                <c:pt idx="37">
                  <c:v>2.0163765092610153</c:v>
                </c:pt>
                <c:pt idx="38">
                  <c:v>2.1863833765240632</c:v>
                </c:pt>
                <c:pt idx="39">
                  <c:v>2.0560259449744755</c:v>
                </c:pt>
                <c:pt idx="40">
                  <c:v>2.1677970742517503</c:v>
                </c:pt>
                <c:pt idx="41">
                  <c:v>2.0981135624444103</c:v>
                </c:pt>
                <c:pt idx="42">
                  <c:v>2.1356737897257707</c:v>
                </c:pt>
                <c:pt idx="43">
                  <c:v>2.0695177801102265</c:v>
                </c:pt>
                <c:pt idx="44">
                  <c:v>2.2591184543347267</c:v>
                </c:pt>
                <c:pt idx="45">
                  <c:v>2.19658640824358</c:v>
                </c:pt>
                <c:pt idx="46">
                  <c:v>2.1830181632221035</c:v>
                </c:pt>
                <c:pt idx="47">
                  <c:v>2.1256187542356035</c:v>
                </c:pt>
                <c:pt idx="48">
                  <c:v>2.1585197629413604</c:v>
                </c:pt>
                <c:pt idx="49">
                  <c:v>2.0899212160545817</c:v>
                </c:pt>
                <c:pt idx="50">
                  <c:v>2.034494830880249</c:v>
                </c:pt>
                <c:pt idx="51">
                  <c:v>2.126434887304527</c:v>
                </c:pt>
              </c:numCache>
            </c:numRef>
          </c:xVal>
          <c:yVal>
            <c:numRef>
              <c:f>Sheet1!$B$109:$B$160</c:f>
              <c:numCache>
                <c:formatCode>General</c:formatCode>
                <c:ptCount val="52"/>
                <c:pt idx="0">
                  <c:v>0.0881578947368421</c:v>
                </c:pt>
                <c:pt idx="1">
                  <c:v>0.08296164139161463</c:v>
                </c:pt>
                <c:pt idx="2">
                  <c:v>0.07723743359215365</c:v>
                </c:pt>
                <c:pt idx="3">
                  <c:v>0.07948243992606285</c:v>
                </c:pt>
                <c:pt idx="4">
                  <c:v>0.08111480865224625</c:v>
                </c:pt>
                <c:pt idx="5">
                  <c:v>0.0782051282051282</c:v>
                </c:pt>
                <c:pt idx="6">
                  <c:v>0.06901475487862922</c:v>
                </c:pt>
                <c:pt idx="7">
                  <c:v>0.07491408934707904</c:v>
                </c:pt>
                <c:pt idx="8">
                  <c:v>0.08801624915368991</c:v>
                </c:pt>
                <c:pt idx="9">
                  <c:v>0.07922077922077922</c:v>
                </c:pt>
                <c:pt idx="10">
                  <c:v>0.09314903846153846</c:v>
                </c:pt>
                <c:pt idx="11">
                  <c:v>0.10969637610186092</c:v>
                </c:pt>
                <c:pt idx="12">
                  <c:v>0.10726474890297416</c:v>
                </c:pt>
                <c:pt idx="13">
                  <c:v>0.08725490196078431</c:v>
                </c:pt>
                <c:pt idx="14">
                  <c:v>0.09056806002143623</c:v>
                </c:pt>
                <c:pt idx="15">
                  <c:v>0.08123249299719888</c:v>
                </c:pt>
                <c:pt idx="16">
                  <c:v>0.07754342431761786</c:v>
                </c:pt>
                <c:pt idx="17">
                  <c:v>0.08170155300472653</c:v>
                </c:pt>
                <c:pt idx="18">
                  <c:v>0.06474258970358815</c:v>
                </c:pt>
                <c:pt idx="19">
                  <c:v>0.06457800511508952</c:v>
                </c:pt>
                <c:pt idx="20">
                  <c:v>0.05667144906743185</c:v>
                </c:pt>
                <c:pt idx="21">
                  <c:v>0.06382978723404255</c:v>
                </c:pt>
                <c:pt idx="22">
                  <c:v>0.07536231884057971</c:v>
                </c:pt>
                <c:pt idx="23">
                  <c:v>0.06673511293634497</c:v>
                </c:pt>
                <c:pt idx="24">
                  <c:v>0.06084396467124632</c:v>
                </c:pt>
                <c:pt idx="25">
                  <c:v>0.06907545164718384</c:v>
                </c:pt>
                <c:pt idx="26">
                  <c:v>0.05894736842105263</c:v>
                </c:pt>
                <c:pt idx="27">
                  <c:v>0.055705300988319856</c:v>
                </c:pt>
                <c:pt idx="28">
                  <c:v>0.05745212323064113</c:v>
                </c:pt>
                <c:pt idx="29">
                  <c:v>0.04926108374384237</c:v>
                </c:pt>
                <c:pt idx="30">
                  <c:v>0.0560081466395112</c:v>
                </c:pt>
                <c:pt idx="31">
                  <c:v>0.05610972568578554</c:v>
                </c:pt>
                <c:pt idx="32">
                  <c:v>0.05511811023622047</c:v>
                </c:pt>
                <c:pt idx="33">
                  <c:v>0.06555671175858481</c:v>
                </c:pt>
                <c:pt idx="34">
                  <c:v>0.08052708638360176</c:v>
                </c:pt>
                <c:pt idx="35">
                  <c:v>0.07393577296489919</c:v>
                </c:pt>
                <c:pt idx="36">
                  <c:v>0.05589307411907655</c:v>
                </c:pt>
                <c:pt idx="37">
                  <c:v>0.05301455301455302</c:v>
                </c:pt>
                <c:pt idx="38">
                  <c:v>0.043721973094170405</c:v>
                </c:pt>
                <c:pt idx="39">
                  <c:v>0.06037151702786378</c:v>
                </c:pt>
                <c:pt idx="40">
                  <c:v>0.045323741007194246</c:v>
                </c:pt>
                <c:pt idx="41">
                  <c:v>0.04330708661417323</c:v>
                </c:pt>
                <c:pt idx="42">
                  <c:v>0.04447739065974796</c:v>
                </c:pt>
                <c:pt idx="43">
                  <c:v>0.0456989247311828</c:v>
                </c:pt>
                <c:pt idx="44">
                  <c:v>0.04948162111215834</c:v>
                </c:pt>
                <c:pt idx="45">
                  <c:v>0.05600617999227501</c:v>
                </c:pt>
                <c:pt idx="46">
                  <c:v>0.05517909002904162</c:v>
                </c:pt>
                <c:pt idx="47">
                  <c:v>0.05315145813734713</c:v>
                </c:pt>
                <c:pt idx="48">
                  <c:v>0.04713804713804714</c:v>
                </c:pt>
                <c:pt idx="49">
                  <c:v>0.05741785595751742</c:v>
                </c:pt>
                <c:pt idx="50">
                  <c:v>0.06280763929907462</c:v>
                </c:pt>
                <c:pt idx="51">
                  <c:v>0.0535714285714285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8851380100273205</c:v>
                </c:pt>
              </c:numCache>
            </c:numRef>
          </c:xVal>
          <c:yVal>
            <c:numRef>
              <c:f>Sheet1!$B$163:$B$164</c:f>
              <c:numCache>
                <c:formatCode>General</c:formatCode>
                <c:ptCount val="2"/>
                <c:pt idx="0">
                  <c:v>0.2724439240703625</c:v>
                </c:pt>
                <c:pt idx="1">
                  <c:v>0.272443924070362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8851380100273205</c:v>
                </c:pt>
                <c:pt idx="1">
                  <c:v>-1.8851380100273205</c:v>
                </c:pt>
              </c:numCache>
            </c:numRef>
          </c:xVal>
          <c:yVal>
            <c:numRef>
              <c:f>Sheet1!$B$167:$B$168</c:f>
              <c:numCache>
                <c:formatCode>General</c:formatCode>
                <c:ptCount val="2"/>
                <c:pt idx="0">
                  <c:v>0.27244392407036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8490380223110754</c:v>
                </c:pt>
              </c:numCache>
            </c:numRef>
          </c:xVal>
          <c:yVal>
            <c:numRef>
              <c:f>Sheet1!$B$171:$B$172</c:f>
              <c:numCache>
                <c:formatCode>General</c:formatCode>
                <c:ptCount val="2"/>
                <c:pt idx="0">
                  <c:v>0.0813425543160822</c:v>
                </c:pt>
                <c:pt idx="1">
                  <c:v>0.081342554316082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8490380223110754</c:v>
                </c:pt>
                <c:pt idx="1">
                  <c:v>1.8490380223110754</c:v>
                </c:pt>
              </c:numCache>
            </c:numRef>
          </c:xVal>
          <c:yVal>
            <c:numRef>
              <c:f>Sheet1!$B$175:$B$176</c:f>
              <c:numCache>
                <c:formatCode>General</c:formatCode>
                <c:ptCount val="2"/>
                <c:pt idx="0">
                  <c:v>0.08134255431608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4255084583686948</c:v>
                </c:pt>
              </c:numCache>
            </c:numRef>
          </c:xVal>
          <c:yVal>
            <c:numRef>
              <c:f>Sheet1!$B$179:$B$180</c:f>
              <c:numCache>
                <c:formatCode>General</c:formatCode>
                <c:ptCount val="2"/>
                <c:pt idx="0">
                  <c:v>0.051840921559773226</c:v>
                </c:pt>
                <c:pt idx="1">
                  <c:v>0.05184092155977322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4255084583686948</c:v>
                </c:pt>
                <c:pt idx="1">
                  <c:v>2.4255084583686948</c:v>
                </c:pt>
              </c:numCache>
            </c:numRef>
          </c:xVal>
          <c:yVal>
            <c:numRef>
              <c:f>Sheet1!$B$183:$B$184</c:f>
              <c:numCache>
                <c:formatCode>General</c:formatCode>
                <c:ptCount val="2"/>
                <c:pt idx="0">
                  <c:v>0.05184092155977322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2.1139003649405805</c:v>
                </c:pt>
                <c:pt idx="1">
                  <c:v>2.010994733483987</c:v>
                </c:pt>
                <c:pt idx="2">
                  <c:v>2.04477111276432</c:v>
                </c:pt>
                <c:pt idx="3">
                  <c:v>2.114632848510656</c:v>
                </c:pt>
                <c:pt idx="4">
                  <c:v>2.115957644155864</c:v>
                </c:pt>
                <c:pt idx="5">
                  <c:v>2.1560991367471543</c:v>
                </c:pt>
                <c:pt idx="6">
                  <c:v>2.0954461851380004</c:v>
                </c:pt>
                <c:pt idx="7">
                  <c:v>2.1919796827973936</c:v>
                </c:pt>
                <c:pt idx="8">
                  <c:v>2.105231467371729</c:v>
                </c:pt>
                <c:pt idx="9">
                  <c:v>2.2133082704105767</c:v>
                </c:pt>
                <c:pt idx="10">
                  <c:v>2.1175873326987915</c:v>
                </c:pt>
                <c:pt idx="11">
                  <c:v>2.16654284884709</c:v>
                </c:pt>
                <c:pt idx="12">
                  <c:v>2.0589026558565613</c:v>
                </c:pt>
                <c:pt idx="13">
                  <c:v>2.0043948989135467</c:v>
                </c:pt>
                <c:pt idx="14">
                  <c:v>2.1032589993227995</c:v>
                </c:pt>
                <c:pt idx="15">
                  <c:v>2.101144481274139</c:v>
                </c:pt>
                <c:pt idx="16">
                  <c:v>2.072623264508727</c:v>
                </c:pt>
                <c:pt idx="17">
                  <c:v>2.0807679807838264</c:v>
                </c:pt>
                <c:pt idx="18">
                  <c:v>2.052119054487593</c:v>
                </c:pt>
                <c:pt idx="19">
                  <c:v>2.171418276329985</c:v>
                </c:pt>
                <c:pt idx="20">
                  <c:v>2.1243873626784313</c:v>
                </c:pt>
                <c:pt idx="21">
                  <c:v>2.128749284591025</c:v>
                </c:pt>
                <c:pt idx="22">
                  <c:v>2.0916209327101263</c:v>
                </c:pt>
                <c:pt idx="23">
                  <c:v>1.8522642449576274</c:v>
                </c:pt>
                <c:pt idx="24">
                  <c:v>2.19530794894879</c:v>
                </c:pt>
                <c:pt idx="25">
                  <c:v>2.1979639175380568</c:v>
                </c:pt>
                <c:pt idx="26">
                  <c:v>2.0941563017105853</c:v>
                </c:pt>
                <c:pt idx="27">
                  <c:v>2.238990664815935</c:v>
                </c:pt>
                <c:pt idx="28">
                  <c:v>2.1448838338188874</c:v>
                </c:pt>
                <c:pt idx="29">
                  <c:v>2.2947585790483953</c:v>
                </c:pt>
                <c:pt idx="30">
                  <c:v>2.2220140964360082</c:v>
                </c:pt>
                <c:pt idx="31">
                  <c:v>2.1654239954459964</c:v>
                </c:pt>
                <c:pt idx="32">
                  <c:v>2.2261436972946536</c:v>
                </c:pt>
                <c:pt idx="33">
                  <c:v>2.166469290297738</c:v>
                </c:pt>
                <c:pt idx="34">
                  <c:v>2.199924720314598</c:v>
                </c:pt>
                <c:pt idx="35">
                  <c:v>2.2510152557138174</c:v>
                </c:pt>
                <c:pt idx="36">
                  <c:v>2.1393579911353084</c:v>
                </c:pt>
                <c:pt idx="37">
                  <c:v>2.0163765092610153</c:v>
                </c:pt>
                <c:pt idx="38">
                  <c:v>2.1863833765240632</c:v>
                </c:pt>
                <c:pt idx="39">
                  <c:v>2.0560259449744755</c:v>
                </c:pt>
                <c:pt idx="40">
                  <c:v>2.1677970742517503</c:v>
                </c:pt>
                <c:pt idx="41">
                  <c:v>2.0981135624444103</c:v>
                </c:pt>
                <c:pt idx="42">
                  <c:v>2.1356737897257707</c:v>
                </c:pt>
                <c:pt idx="43">
                  <c:v>2.0695177801102265</c:v>
                </c:pt>
                <c:pt idx="44">
                  <c:v>2.2591184543347267</c:v>
                </c:pt>
                <c:pt idx="45">
                  <c:v>2.19658640824358</c:v>
                </c:pt>
                <c:pt idx="46">
                  <c:v>2.1830181632221035</c:v>
                </c:pt>
                <c:pt idx="47">
                  <c:v>2.1256187542356035</c:v>
                </c:pt>
                <c:pt idx="48">
                  <c:v>2.1585197629413604</c:v>
                </c:pt>
                <c:pt idx="49">
                  <c:v>2.0899212160545817</c:v>
                </c:pt>
                <c:pt idx="50">
                  <c:v>2.034494830880249</c:v>
                </c:pt>
                <c:pt idx="51">
                  <c:v>2.126434887304527</c:v>
                </c:pt>
                <c:pt idx="52">
                  <c:v>1.8490380223110754</c:v>
                </c:pt>
                <c:pt idx="53">
                  <c:v>-1.8851380100273205</c:v>
                </c:pt>
                <c:pt idx="54">
                  <c:v>2.4255084583686948</c:v>
                </c:pt>
              </c:numCache>
            </c:numRef>
          </c:xVal>
          <c:yVal>
            <c:numRef>
              <c:f>Sheet1!$B$187:$B$241</c:f>
              <c:numCache>
                <c:formatCode>General</c:formatCode>
                <c:ptCount val="55"/>
                <c:pt idx="0">
                  <c:v>0.06778787557718789</c:v>
                </c:pt>
                <c:pt idx="1">
                  <c:v>0.07305420661152572</c:v>
                </c:pt>
                <c:pt idx="2">
                  <c:v>0.07132565597815622</c:v>
                </c:pt>
                <c:pt idx="3">
                  <c:v>0.06775038976710512</c:v>
                </c:pt>
                <c:pt idx="4">
                  <c:v>0.06768259160755095</c:v>
                </c:pt>
                <c:pt idx="5">
                  <c:v>0.06562829792890691</c:v>
                </c:pt>
                <c:pt idx="6">
                  <c:v>0.06873229250007099</c:v>
                </c:pt>
                <c:pt idx="7">
                  <c:v>0.06379206379362476</c:v>
                </c:pt>
                <c:pt idx="8">
                  <c:v>0.06823151781186573</c:v>
                </c:pt>
                <c:pt idx="9">
                  <c:v>0.06270054527052743</c:v>
                </c:pt>
                <c:pt idx="10">
                  <c:v>0.06759919015295181</c:v>
                </c:pt>
                <c:pt idx="11">
                  <c:v>0.06509382722631198</c:v>
                </c:pt>
                <c:pt idx="12">
                  <c:v>0.07060245567418506</c:v>
                </c:pt>
                <c:pt idx="13">
                  <c:v>0.07339196182596669</c:v>
                </c:pt>
                <c:pt idx="14">
                  <c:v>0.06833246145851835</c:v>
                </c:pt>
                <c:pt idx="15">
                  <c:v>0.06844067470073557</c:v>
                </c:pt>
                <c:pt idx="16">
                  <c:v>0.06990028548065796</c:v>
                </c:pt>
                <c:pt idx="17">
                  <c:v>0.06948346891310671</c:v>
                </c:pt>
                <c:pt idx="18">
                  <c:v>0.07094961539623627</c:v>
                </c:pt>
                <c:pt idx="19">
                  <c:v>0.06484432081256761</c:v>
                </c:pt>
                <c:pt idx="20">
                  <c:v>0.0672511896751421</c:v>
                </c:pt>
                <c:pt idx="21">
                  <c:v>0.0670279625843357</c:v>
                </c:pt>
                <c:pt idx="22">
                  <c:v>0.06892805482415319</c:v>
                </c:pt>
                <c:pt idx="23">
                  <c:v>0.08117744812892093</c:v>
                </c:pt>
                <c:pt idx="24">
                  <c:v>0.06362173539589243</c:v>
                </c:pt>
                <c:pt idx="25">
                  <c:v>0.06348581271012783</c:v>
                </c:pt>
                <c:pt idx="26">
                  <c:v>0.068798303980962</c:v>
                </c:pt>
                <c:pt idx="27">
                  <c:v>0.06138621495858436</c:v>
                </c:pt>
                <c:pt idx="28">
                  <c:v>0.0662022558069609</c:v>
                </c:pt>
                <c:pt idx="29">
                  <c:v>0.05853221860011901</c:v>
                </c:pt>
                <c:pt idx="30">
                  <c:v>0.06225501317351469</c:v>
                </c:pt>
                <c:pt idx="31">
                  <c:v>0.06515108602066222</c:v>
                </c:pt>
                <c:pt idx="32">
                  <c:v>0.06204367541819966</c:v>
                </c:pt>
                <c:pt idx="33">
                  <c:v>0.06509759168182146</c:v>
                </c:pt>
                <c:pt idx="34">
                  <c:v>0.06338546604913221</c:v>
                </c:pt>
                <c:pt idx="35">
                  <c:v>0.06077084070428569</c:v>
                </c:pt>
                <c:pt idx="36">
                  <c:v>0.06648504807404568</c:v>
                </c:pt>
                <c:pt idx="37">
                  <c:v>0.07277878715786476</c:v>
                </c:pt>
                <c:pt idx="38">
                  <c:v>0.06407846212759087</c:v>
                </c:pt>
                <c:pt idx="39">
                  <c:v>0.0707496751371115</c:v>
                </c:pt>
                <c:pt idx="40">
                  <c:v>0.06502964059163394</c:v>
                </c:pt>
                <c:pt idx="41">
                  <c:v>0.06859578595820151</c:v>
                </c:pt>
                <c:pt idx="42">
                  <c:v>0.06667359192675003</c:v>
                </c:pt>
                <c:pt idx="43">
                  <c:v>0.07005921272917666</c:v>
                </c:pt>
                <c:pt idx="44">
                  <c:v>0.060356148857292874</c:v>
                </c:pt>
                <c:pt idx="45">
                  <c:v>0.06355630856001386</c:v>
                </c:pt>
                <c:pt idx="46">
                  <c:v>0.06425068134434726</c:v>
                </c:pt>
                <c:pt idx="47">
                  <c:v>0.06718817159264101</c:v>
                </c:pt>
                <c:pt idx="48">
                  <c:v>0.06550441919973886</c:v>
                </c:pt>
                <c:pt idx="49">
                  <c:v>0.06901504005951858</c:v>
                </c:pt>
                <c:pt idx="50">
                  <c:v>0.07185155821924508</c:v>
                </c:pt>
                <c:pt idx="51">
                  <c:v>0.06714640490943638</c:v>
                </c:pt>
                <c:pt idx="52">
                  <c:v>0.0813425543160822</c:v>
                </c:pt>
                <c:pt idx="53">
                  <c:v>0.2724439240703625</c:v>
                </c:pt>
                <c:pt idx="54">
                  <c:v>0.0518409215597732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42194092827"/>
          <c:min val="0.0346456692913385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82.0378</c:v>
                </c:pt>
                <c:pt idx="1">
                  <c:v>927.6933</c:v>
                </c:pt>
                <c:pt idx="2">
                  <c:v>941.5266</c:v>
                </c:pt>
                <c:pt idx="3">
                  <c:v>948.004</c:v>
                </c:pt>
                <c:pt idx="4">
                  <c:v>913.6714</c:v>
                </c:pt>
                <c:pt idx="5">
                  <c:v>895.0646</c:v>
                </c:pt>
                <c:pt idx="6">
                  <c:v>894.7375</c:v>
                </c:pt>
                <c:pt idx="7">
                  <c:v>888.0266</c:v>
                </c:pt>
                <c:pt idx="8">
                  <c:v>893.3369</c:v>
                </c:pt>
                <c:pt idx="9">
                  <c:v>845.0579</c:v>
                </c:pt>
                <c:pt idx="10">
                  <c:v>807.3767</c:v>
                </c:pt>
                <c:pt idx="11">
                  <c:v>797.7624</c:v>
                </c:pt>
                <c:pt idx="12">
                  <c:v>816.9945</c:v>
                </c:pt>
                <c:pt idx="13">
                  <c:v>805.4152</c:v>
                </c:pt>
                <c:pt idx="14">
                  <c:v>933.3739</c:v>
                </c:pt>
                <c:pt idx="15">
                  <c:v>946.1685</c:v>
                </c:pt>
                <c:pt idx="16">
                  <c:v>944.0241</c:v>
                </c:pt>
                <c:pt idx="17">
                  <c:v>954.6969</c:v>
                </c:pt>
                <c:pt idx="18">
                  <c:v>983.6931</c:v>
                </c:pt>
                <c:pt idx="19">
                  <c:v>987.9647</c:v>
                </c:pt>
                <c:pt idx="20">
                  <c:v>998.0991</c:v>
                </c:pt>
                <c:pt idx="21">
                  <c:v>1004.0141</c:v>
                </c:pt>
                <c:pt idx="22">
                  <c:v>1016.0922</c:v>
                </c:pt>
                <c:pt idx="23">
                  <c:v>1025.019</c:v>
                </c:pt>
                <c:pt idx="24">
                  <c:v>1028.2318</c:v>
                </c:pt>
                <c:pt idx="25">
                  <c:v>1020.0103</c:v>
                </c:pt>
                <c:pt idx="26">
                  <c:v>1024.9627</c:v>
                </c:pt>
                <c:pt idx="27">
                  <c:v>1027.5</c:v>
                </c:pt>
                <c:pt idx="28">
                  <c:v>1031.9043</c:v>
                </c:pt>
                <c:pt idx="29">
                  <c:v>1058.1382</c:v>
                </c:pt>
                <c:pt idx="30">
                  <c:v>1054.2462</c:v>
                </c:pt>
                <c:pt idx="31">
                  <c:v>1054.9671</c:v>
                </c:pt>
                <c:pt idx="32">
                  <c:v>1042.1688</c:v>
                </c:pt>
                <c:pt idx="33">
                  <c:v>1054.2434</c:v>
                </c:pt>
                <c:pt idx="34">
                  <c:v>1019.7664</c:v>
                </c:pt>
                <c:pt idx="35">
                  <c:v>1023.0399</c:v>
                </c:pt>
                <c:pt idx="36">
                  <c:v>1050.6236</c:v>
                </c:pt>
                <c:pt idx="37">
                  <c:v>1066.4357</c:v>
                </c:pt>
                <c:pt idx="38">
                  <c:v>1076.2603</c:v>
                </c:pt>
                <c:pt idx="39">
                  <c:v>1133.355</c:v>
                </c:pt>
                <c:pt idx="40">
                  <c:v>1144.8118</c:v>
                </c:pt>
                <c:pt idx="41">
                  <c:v>1160.1727</c:v>
                </c:pt>
                <c:pt idx="42">
                  <c:v>1169.0579</c:v>
                </c:pt>
                <c:pt idx="43">
                  <c:v>1172.5528</c:v>
                </c:pt>
                <c:pt idx="44">
                  <c:v>1195.1173</c:v>
                </c:pt>
                <c:pt idx="45">
                  <c:v>1188.4443</c:v>
                </c:pt>
                <c:pt idx="46">
                  <c:v>1135.9512</c:v>
                </c:pt>
                <c:pt idx="47">
                  <c:v>1128.4079</c:v>
                </c:pt>
                <c:pt idx="48">
                  <c:v>1083.6215</c:v>
                </c:pt>
                <c:pt idx="49">
                  <c:v>997.1162</c:v>
                </c:pt>
                <c:pt idx="50">
                  <c:v>1023.5524</c:v>
                </c:pt>
                <c:pt idx="51">
                  <c:v>1010.6958</c:v>
                </c:pt>
                <c:pt idx="52">
                  <c:v>991.7953</c:v>
                </c:pt>
                <c:pt idx="53">
                  <c:v>1197.223</c:v>
                </c:pt>
                <c:pt idx="54">
                  <c:v>1193.0427</c:v>
                </c:pt>
                <c:pt idx="55">
                  <c:v>1194.2518</c:v>
                </c:pt>
                <c:pt idx="56">
                  <c:v>1186.2817</c:v>
                </c:pt>
                <c:pt idx="57">
                  <c:v>1193.4468</c:v>
                </c:pt>
                <c:pt idx="58">
                  <c:v>1188.1385</c:v>
                </c:pt>
                <c:pt idx="59">
                  <c:v>1195.9447</c:v>
                </c:pt>
                <c:pt idx="60">
                  <c:v>1208.2215</c:v>
                </c:pt>
                <c:pt idx="61">
                  <c:v>1146.8719</c:v>
                </c:pt>
                <c:pt idx="62">
                  <c:v>1042.9406</c:v>
                </c:pt>
                <c:pt idx="63">
                  <c:v>1048.4032</c:v>
                </c:pt>
                <c:pt idx="64">
                  <c:v>1054.7304</c:v>
                </c:pt>
                <c:pt idx="65">
                  <c:v>1057.4421</c:v>
                </c:pt>
                <c:pt idx="66">
                  <c:v>1167.2609</c:v>
                </c:pt>
                <c:pt idx="67">
                  <c:v>1190.5122</c:v>
                </c:pt>
                <c:pt idx="68">
                  <c:v>1172.8725</c:v>
                </c:pt>
                <c:pt idx="69">
                  <c:v>1209.7051</c:v>
                </c:pt>
                <c:pt idx="70">
                  <c:v>1213.4937</c:v>
                </c:pt>
                <c:pt idx="71">
                  <c:v>1208.903</c:v>
                </c:pt>
                <c:pt idx="72">
                  <c:v>1219.3944</c:v>
                </c:pt>
                <c:pt idx="73">
                  <c:v>1213.5641</c:v>
                </c:pt>
                <c:pt idx="74">
                  <c:v>1231.2269</c:v>
                </c:pt>
                <c:pt idx="75">
                  <c:v>1211.4179</c:v>
                </c:pt>
                <c:pt idx="76">
                  <c:v>1166.9235</c:v>
                </c:pt>
                <c:pt idx="77">
                  <c:v>1161.1444</c:v>
                </c:pt>
                <c:pt idx="78">
                  <c:v>1172.7847</c:v>
                </c:pt>
                <c:pt idx="79">
                  <c:v>1206.1037</c:v>
                </c:pt>
                <c:pt idx="80">
                  <c:v>1222.6691</c:v>
                </c:pt>
                <c:pt idx="81">
                  <c:v>1264.3381</c:v>
                </c:pt>
                <c:pt idx="82">
                  <c:v>1278.2992</c:v>
                </c:pt>
                <c:pt idx="83">
                  <c:v>1271.7508</c:v>
                </c:pt>
                <c:pt idx="84">
                  <c:v>1285.2774</c:v>
                </c:pt>
                <c:pt idx="85">
                  <c:v>1297.5208</c:v>
                </c:pt>
                <c:pt idx="86">
                  <c:v>1295.88</c:v>
                </c:pt>
                <c:pt idx="87">
                  <c:v>1277.3069</c:v>
                </c:pt>
                <c:pt idx="88">
                  <c:v>1283.2065</c:v>
                </c:pt>
                <c:pt idx="89">
                  <c:v>1307.5862</c:v>
                </c:pt>
                <c:pt idx="90">
                  <c:v>1304.2661</c:v>
                </c:pt>
                <c:pt idx="91">
                  <c:v>1295.8556</c:v>
                </c:pt>
                <c:pt idx="92">
                  <c:v>1282.5632</c:v>
                </c:pt>
                <c:pt idx="93">
                  <c:v>1276.3185</c:v>
                </c:pt>
                <c:pt idx="94">
                  <c:v>1282.8516</c:v>
                </c:pt>
                <c:pt idx="95">
                  <c:v>1276.6193</c:v>
                </c:pt>
                <c:pt idx="96">
                  <c:v>1183.1731</c:v>
                </c:pt>
                <c:pt idx="97">
                  <c:v>1214.2338</c:v>
                </c:pt>
                <c:pt idx="98">
                  <c:v>1176.7796</c:v>
                </c:pt>
                <c:pt idx="99">
                  <c:v>1163.592</c:v>
                </c:pt>
                <c:pt idx="100">
                  <c:v>1084.096</c:v>
                </c:pt>
                <c:pt idx="101">
                  <c:v>1237.3957</c:v>
                </c:pt>
                <c:pt idx="102">
                  <c:v>1233.3739</c:v>
                </c:pt>
                <c:pt idx="103">
                  <c:v>1168.2598</c:v>
                </c:pt>
                <c:pt idx="104">
                  <c:v>1158.6334</c:v>
                </c:pt>
              </c:numCache>
            </c:numRef>
          </c:xVal>
          <c:yVal>
            <c:numRef>
              <c:f>Sheet1!$B$2:$B$106</c:f>
              <c:numCache>
                <c:formatCode>General</c:formatCode>
                <c:ptCount val="105"/>
                <c:pt idx="0">
                  <c:v>0.19014989293361884</c:v>
                </c:pt>
                <c:pt idx="1">
                  <c:v>0.1874182090110301</c:v>
                </c:pt>
                <c:pt idx="2">
                  <c:v>0.18448132010753684</c:v>
                </c:pt>
                <c:pt idx="3">
                  <c:v>0.19202967471942173</c:v>
                </c:pt>
                <c:pt idx="4">
                  <c:v>0.21944354227563062</c:v>
                </c:pt>
                <c:pt idx="5">
                  <c:v>0.20855138625988198</c:v>
                </c:pt>
                <c:pt idx="6">
                  <c:v>0.23273385122911566</c:v>
                </c:pt>
                <c:pt idx="7">
                  <c:v>0.22297297297297297</c:v>
                </c:pt>
                <c:pt idx="8">
                  <c:v>0.23093121197941038</c:v>
                </c:pt>
                <c:pt idx="9">
                  <c:v>0.23115327009485773</c:v>
                </c:pt>
                <c:pt idx="10">
                  <c:v>0.22522522522522523</c:v>
                </c:pt>
                <c:pt idx="11">
                  <c:v>0.22725676150333685</c:v>
                </c:pt>
                <c:pt idx="12">
                  <c:v>0.21053849714550224</c:v>
                </c:pt>
                <c:pt idx="13">
                  <c:v>0.20055565202292064</c:v>
                </c:pt>
                <c:pt idx="14">
                  <c:v>0.17704734335605565</c:v>
                </c:pt>
                <c:pt idx="15">
                  <c:v>0.16691908264820424</c:v>
                </c:pt>
                <c:pt idx="16">
                  <c:v>0.16824498831632026</c:v>
                </c:pt>
                <c:pt idx="17">
                  <c:v>0.1657111657111657</c:v>
                </c:pt>
                <c:pt idx="18">
                  <c:v>0.1534027221777422</c:v>
                </c:pt>
                <c:pt idx="19">
                  <c:v>0.1468956879584899</c:v>
                </c:pt>
                <c:pt idx="20">
                  <c:v>0.18550137462017074</c:v>
                </c:pt>
                <c:pt idx="21">
                  <c:v>0.1703767123287671</c:v>
                </c:pt>
                <c:pt idx="22">
                  <c:v>0.14937759336099585</c:v>
                </c:pt>
                <c:pt idx="23">
                  <c:v>0.1632692681032809</c:v>
                </c:pt>
                <c:pt idx="24">
                  <c:v>0.16699981828093768</c:v>
                </c:pt>
                <c:pt idx="25">
                  <c:v>0.16081750619322874</c:v>
                </c:pt>
                <c:pt idx="26">
                  <c:v>0.16816409560942533</c:v>
                </c:pt>
                <c:pt idx="27">
                  <c:v>0.18117854001759015</c:v>
                </c:pt>
                <c:pt idx="28">
                  <c:v>0.18936994016191483</c:v>
                </c:pt>
                <c:pt idx="29">
                  <c:v>0.18606127956818544</c:v>
                </c:pt>
                <c:pt idx="30">
                  <c:v>0.1950787401574803</c:v>
                </c:pt>
                <c:pt idx="31">
                  <c:v>0.17657657657657658</c:v>
                </c:pt>
                <c:pt idx="32">
                  <c:v>0.18993506493506493</c:v>
                </c:pt>
                <c:pt idx="33">
                  <c:v>0.1818020259463302</c:v>
                </c:pt>
                <c:pt idx="34">
                  <c:v>0.20025288446341077</c:v>
                </c:pt>
                <c:pt idx="35">
                  <c:v>0.2567105905319668</c:v>
                </c:pt>
                <c:pt idx="36">
                  <c:v>0.2090291536937447</c:v>
                </c:pt>
                <c:pt idx="37">
                  <c:v>0.19676739283204497</c:v>
                </c:pt>
                <c:pt idx="38">
                  <c:v>0.18666219839142092</c:v>
                </c:pt>
                <c:pt idx="39">
                  <c:v>0.18684603886397608</c:v>
                </c:pt>
                <c:pt idx="40">
                  <c:v>0.1901644336175396</c:v>
                </c:pt>
                <c:pt idx="41">
                  <c:v>0.17954735959765297</c:v>
                </c:pt>
                <c:pt idx="42">
                  <c:v>0.18690275435637999</c:v>
                </c:pt>
                <c:pt idx="43">
                  <c:v>0.18360136452241715</c:v>
                </c:pt>
                <c:pt idx="44">
                  <c:v>0.16826381059751974</c:v>
                </c:pt>
                <c:pt idx="45">
                  <c:v>0.16118853536681568</c:v>
                </c:pt>
                <c:pt idx="46">
                  <c:v>0.16547874624302275</c:v>
                </c:pt>
                <c:pt idx="47">
                  <c:v>0.16660851360781578</c:v>
                </c:pt>
                <c:pt idx="48">
                  <c:v>0.16566534577527803</c:v>
                </c:pt>
                <c:pt idx="49">
                  <c:v>0.18493237800483317</c:v>
                </c:pt>
                <c:pt idx="50">
                  <c:v>0.1706705661165657</c:v>
                </c:pt>
                <c:pt idx="51">
                  <c:v>0.1737982884107814</c:v>
                </c:pt>
                <c:pt idx="52">
                  <c:v>0.17529908028490424</c:v>
                </c:pt>
                <c:pt idx="53">
                  <c:v>0.16356603426045313</c:v>
                </c:pt>
                <c:pt idx="54">
                  <c:v>0.16656510257972781</c:v>
                </c:pt>
                <c:pt idx="55">
                  <c:v>0.16468982890731604</c:v>
                </c:pt>
                <c:pt idx="56">
                  <c:v>0.17314981049271894</c:v>
                </c:pt>
                <c:pt idx="57">
                  <c:v>0.15567353549896518</c:v>
                </c:pt>
                <c:pt idx="58">
                  <c:v>0.1553445337229121</c:v>
                </c:pt>
                <c:pt idx="59">
                  <c:v>0.14042185898473325</c:v>
                </c:pt>
                <c:pt idx="60">
                  <c:v>0.13943281566509116</c:v>
                </c:pt>
                <c:pt idx="61">
                  <c:v>0.1463888266487415</c:v>
                </c:pt>
                <c:pt idx="62">
                  <c:v>0.16681908245694255</c:v>
                </c:pt>
                <c:pt idx="63">
                  <c:v>0.16552175335296043</c:v>
                </c:pt>
                <c:pt idx="64">
                  <c:v>0.16559465254130407</c:v>
                </c:pt>
                <c:pt idx="65">
                  <c:v>0.16908012687905116</c:v>
                </c:pt>
                <c:pt idx="66">
                  <c:v>0.16127120527446479</c:v>
                </c:pt>
                <c:pt idx="67">
                  <c:v>0.1575673807878369</c:v>
                </c:pt>
                <c:pt idx="68">
                  <c:v>0.15084640609766906</c:v>
                </c:pt>
                <c:pt idx="69">
                  <c:v>0.13940273243864104</c:v>
                </c:pt>
                <c:pt idx="70">
                  <c:v>0.1383089168300842</c:v>
                </c:pt>
                <c:pt idx="71">
                  <c:v>0.1375188580712545</c:v>
                </c:pt>
                <c:pt idx="72">
                  <c:v>0.15128576199487923</c:v>
                </c:pt>
                <c:pt idx="73">
                  <c:v>0.14916875427009793</c:v>
                </c:pt>
                <c:pt idx="74">
                  <c:v>0.14144620811287478</c:v>
                </c:pt>
                <c:pt idx="75">
                  <c:v>0.15030504714364948</c:v>
                </c:pt>
                <c:pt idx="76">
                  <c:v>0.15098152424942263</c:v>
                </c:pt>
                <c:pt idx="77">
                  <c:v>0.14893926184248765</c:v>
                </c:pt>
                <c:pt idx="78">
                  <c:v>0.1562448711636304</c:v>
                </c:pt>
                <c:pt idx="79">
                  <c:v>0.1584241408214585</c:v>
                </c:pt>
                <c:pt idx="80">
                  <c:v>0.158530531193116</c:v>
                </c:pt>
                <c:pt idx="81">
                  <c:v>0.15322033898305085</c:v>
                </c:pt>
                <c:pt idx="82">
                  <c:v>0.15401558793629277</c:v>
                </c:pt>
                <c:pt idx="83">
                  <c:v>0.13964346349745332</c:v>
                </c:pt>
                <c:pt idx="84">
                  <c:v>0.14164366107453813</c:v>
                </c:pt>
                <c:pt idx="85">
                  <c:v>0.1314352574102964</c:v>
                </c:pt>
                <c:pt idx="86">
                  <c:v>0.14265335235378032</c:v>
                </c:pt>
                <c:pt idx="87">
                  <c:v>0.17739646497226164</c:v>
                </c:pt>
                <c:pt idx="88">
                  <c:v>0.18386639357176618</c:v>
                </c:pt>
                <c:pt idx="89">
                  <c:v>0.1434290687554395</c:v>
                </c:pt>
                <c:pt idx="90">
                  <c:v>0.14193663862538033</c:v>
                </c:pt>
                <c:pt idx="91">
                  <c:v>0.14365199797673242</c:v>
                </c:pt>
                <c:pt idx="92">
                  <c:v>0.15895232815964525</c:v>
                </c:pt>
                <c:pt idx="93">
                  <c:v>0.13890293225480282</c:v>
                </c:pt>
                <c:pt idx="94">
                  <c:v>0.13735046521931768</c:v>
                </c:pt>
                <c:pt idx="95">
                  <c:v>0.1478503270076123</c:v>
                </c:pt>
                <c:pt idx="96">
                  <c:v>0.14983572540204046</c:v>
                </c:pt>
                <c:pt idx="97">
                  <c:v>0.1448043382676242</c:v>
                </c:pt>
                <c:pt idx="98">
                  <c:v>0.15628408288958748</c:v>
                </c:pt>
                <c:pt idx="99">
                  <c:v>0.1556851648668938</c:v>
                </c:pt>
                <c:pt idx="100">
                  <c:v>0.17040760657781934</c:v>
                </c:pt>
                <c:pt idx="101">
                  <c:v>0.14546495356824832</c:v>
                </c:pt>
                <c:pt idx="102">
                  <c:v>0.13494876586969132</c:v>
                </c:pt>
                <c:pt idx="103">
                  <c:v>0.1509997222993613</c:v>
                </c:pt>
                <c:pt idx="104">
                  <c:v>0.155755176613885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7.5788</c:v>
                </c:pt>
                <c:pt idx="1">
                  <c:v>1241.7033</c:v>
                </c:pt>
                <c:pt idx="2">
                  <c:v>1269.042</c:v>
                </c:pt>
                <c:pt idx="3">
                  <c:v>1287.1211</c:v>
                </c:pt>
                <c:pt idx="4">
                  <c:v>1278.1937</c:v>
                </c:pt>
                <c:pt idx="5">
                  <c:v>1282.0273</c:v>
                </c:pt>
                <c:pt idx="6">
                  <c:v>1274.6663</c:v>
                </c:pt>
                <c:pt idx="7">
                  <c:v>1271.8084</c:v>
                </c:pt>
                <c:pt idx="8">
                  <c:v>1265.9886</c:v>
                </c:pt>
                <c:pt idx="9">
                  <c:v>1123.1292</c:v>
                </c:pt>
                <c:pt idx="10">
                  <c:v>1148.5366</c:v>
                </c:pt>
                <c:pt idx="11">
                  <c:v>1263.3856</c:v>
                </c:pt>
                <c:pt idx="12">
                  <c:v>1238.5731</c:v>
                </c:pt>
                <c:pt idx="13">
                  <c:v>1148.1709</c:v>
                </c:pt>
                <c:pt idx="14">
                  <c:v>1251.5951</c:v>
                </c:pt>
                <c:pt idx="15">
                  <c:v>1186.8718</c:v>
                </c:pt>
                <c:pt idx="16">
                  <c:v>1267.9952</c:v>
                </c:pt>
                <c:pt idx="17">
                  <c:v>1285.5505</c:v>
                </c:pt>
                <c:pt idx="18">
                  <c:v>1321.6302</c:v>
                </c:pt>
                <c:pt idx="19">
                  <c:v>1302.7162</c:v>
                </c:pt>
                <c:pt idx="20">
                  <c:v>1240.0478</c:v>
                </c:pt>
                <c:pt idx="21">
                  <c:v>1251.4536</c:v>
                </c:pt>
                <c:pt idx="22">
                  <c:v>1239.9622</c:v>
                </c:pt>
                <c:pt idx="23">
                  <c:v>1156.3292</c:v>
                </c:pt>
                <c:pt idx="24">
                  <c:v>1141.9894</c:v>
                </c:pt>
                <c:pt idx="25">
                  <c:v>1189.5876</c:v>
                </c:pt>
                <c:pt idx="26">
                  <c:v>1226.3852</c:v>
                </c:pt>
                <c:pt idx="27">
                  <c:v>1275.3042</c:v>
                </c:pt>
                <c:pt idx="28">
                  <c:v>1320.9276</c:v>
                </c:pt>
                <c:pt idx="29">
                  <c:v>1307.5571</c:v>
                </c:pt>
                <c:pt idx="30">
                  <c:v>1305.5342</c:v>
                </c:pt>
                <c:pt idx="31">
                  <c:v>1302.1792</c:v>
                </c:pt>
                <c:pt idx="32">
                  <c:v>1300.668</c:v>
                </c:pt>
                <c:pt idx="33">
                  <c:v>1308.3848</c:v>
                </c:pt>
                <c:pt idx="34">
                  <c:v>1307.6936</c:v>
                </c:pt>
                <c:pt idx="35">
                  <c:v>1297.1465</c:v>
                </c:pt>
                <c:pt idx="36">
                  <c:v>1293.6675</c:v>
                </c:pt>
                <c:pt idx="37">
                  <c:v>1292.8031</c:v>
                </c:pt>
                <c:pt idx="38">
                  <c:v>1290.5053</c:v>
                </c:pt>
                <c:pt idx="39">
                  <c:v>1306.224</c:v>
                </c:pt>
                <c:pt idx="40">
                  <c:v>1307.6326</c:v>
                </c:pt>
                <c:pt idx="41">
                  <c:v>1301.1517</c:v>
                </c:pt>
                <c:pt idx="42">
                  <c:v>1306.3297</c:v>
                </c:pt>
                <c:pt idx="43">
                  <c:v>1288.6247</c:v>
                </c:pt>
                <c:pt idx="44">
                  <c:v>1238.5819</c:v>
                </c:pt>
                <c:pt idx="45">
                  <c:v>1248.5237</c:v>
                </c:pt>
                <c:pt idx="46">
                  <c:v>1248.6564</c:v>
                </c:pt>
                <c:pt idx="47">
                  <c:v>1244.7582</c:v>
                </c:pt>
                <c:pt idx="48">
                  <c:v>1177.1123</c:v>
                </c:pt>
                <c:pt idx="49">
                  <c:v>1149.897</c:v>
                </c:pt>
                <c:pt idx="50">
                  <c:v>1111.9998</c:v>
                </c:pt>
                <c:pt idx="51">
                  <c:v>1135.3556</c:v>
                </c:pt>
              </c:numCache>
            </c:numRef>
          </c:xVal>
          <c:yVal>
            <c:numRef>
              <c:f>Sheet1!$B$109:$B$160</c:f>
              <c:numCache>
                <c:formatCode>General</c:formatCode>
                <c:ptCount val="52"/>
                <c:pt idx="0">
                  <c:v>0.17426059152677859</c:v>
                </c:pt>
                <c:pt idx="1">
                  <c:v>0.16431742076162292</c:v>
                </c:pt>
                <c:pt idx="2">
                  <c:v>0.17060423825887744</c:v>
                </c:pt>
                <c:pt idx="3">
                  <c:v>0.17236204897346702</c:v>
                </c:pt>
                <c:pt idx="4">
                  <c:v>0.16263736263736264</c:v>
                </c:pt>
                <c:pt idx="5">
                  <c:v>0.14956301099520722</c:v>
                </c:pt>
                <c:pt idx="6">
                  <c:v>0.13353554207497279</c:v>
                </c:pt>
                <c:pt idx="7">
                  <c:v>0.12613092070250134</c:v>
                </c:pt>
                <c:pt idx="8">
                  <c:v>0.13820283762480295</c:v>
                </c:pt>
                <c:pt idx="9">
                  <c:v>0.14737147274835716</c:v>
                </c:pt>
                <c:pt idx="10">
                  <c:v>0.1545095220984549</c:v>
                </c:pt>
                <c:pt idx="11">
                  <c:v>0.14495201535508637</c:v>
                </c:pt>
                <c:pt idx="12">
                  <c:v>0.15231272387478587</c:v>
                </c:pt>
                <c:pt idx="13">
                  <c:v>0.1674721902570004</c:v>
                </c:pt>
                <c:pt idx="14">
                  <c:v>0.15209580838323353</c:v>
                </c:pt>
                <c:pt idx="15">
                  <c:v>0.16133059841255684</c:v>
                </c:pt>
                <c:pt idx="16">
                  <c:v>0.14427465767017264</c:v>
                </c:pt>
                <c:pt idx="17">
                  <c:v>0.13034602429315095</c:v>
                </c:pt>
                <c:pt idx="18">
                  <c:v>0.14128664495114007</c:v>
                </c:pt>
                <c:pt idx="19">
                  <c:v>0.1602713824936047</c:v>
                </c:pt>
                <c:pt idx="20">
                  <c:v>0.14584607855132753</c:v>
                </c:pt>
                <c:pt idx="21">
                  <c:v>0.14382130805077936</c:v>
                </c:pt>
                <c:pt idx="22">
                  <c:v>0.14724121481952615</c:v>
                </c:pt>
                <c:pt idx="23">
                  <c:v>0.1690320523042577</c:v>
                </c:pt>
                <c:pt idx="24">
                  <c:v>0.16956521739130434</c:v>
                </c:pt>
                <c:pt idx="25">
                  <c:v>0.15811023622047243</c:v>
                </c:pt>
                <c:pt idx="26">
                  <c:v>0.14969111357516238</c:v>
                </c:pt>
                <c:pt idx="27">
                  <c:v>0.14162224463333814</c:v>
                </c:pt>
                <c:pt idx="28">
                  <c:v>0.13396251146939311</c:v>
                </c:pt>
                <c:pt idx="29">
                  <c:v>0.13297451321829984</c:v>
                </c:pt>
                <c:pt idx="30">
                  <c:v>0.14792115289050853</c:v>
                </c:pt>
                <c:pt idx="31">
                  <c:v>0.13254147812971342</c:v>
                </c:pt>
                <c:pt idx="32">
                  <c:v>0.1279716742539201</c:v>
                </c:pt>
                <c:pt idx="33">
                  <c:v>0.14977383146255654</c:v>
                </c:pt>
                <c:pt idx="34">
                  <c:v>0.17450045413260673</c:v>
                </c:pt>
                <c:pt idx="35">
                  <c:v>0.18845963348192174</c:v>
                </c:pt>
                <c:pt idx="36">
                  <c:v>0.15489660554038237</c:v>
                </c:pt>
                <c:pt idx="37">
                  <c:v>0.15602594742232845</c:v>
                </c:pt>
                <c:pt idx="38">
                  <c:v>0.14591439688715954</c:v>
                </c:pt>
                <c:pt idx="39">
                  <c:v>0.17303051809794182</c:v>
                </c:pt>
                <c:pt idx="40">
                  <c:v>0.16149154421957304</c:v>
                </c:pt>
                <c:pt idx="41">
                  <c:v>0.17019628099173553</c:v>
                </c:pt>
                <c:pt idx="42">
                  <c:v>0.1579172610556348</c:v>
                </c:pt>
                <c:pt idx="43">
                  <c:v>0.16775396085740912</c:v>
                </c:pt>
                <c:pt idx="44">
                  <c:v>0.15995563896945914</c:v>
                </c:pt>
                <c:pt idx="45">
                  <c:v>0.16269083969465647</c:v>
                </c:pt>
                <c:pt idx="46">
                  <c:v>0.1665410069531708</c:v>
                </c:pt>
                <c:pt idx="47">
                  <c:v>0.16591639871382638</c:v>
                </c:pt>
                <c:pt idx="48">
                  <c:v>0.17167352537722907</c:v>
                </c:pt>
                <c:pt idx="49">
                  <c:v>0.18769338548660167</c:v>
                </c:pt>
                <c:pt idx="50">
                  <c:v>0.21326613199911706</c:v>
                </c:pt>
                <c:pt idx="51">
                  <c:v>0.191201050620821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87.964901925245</c:v>
                </c:pt>
              </c:numCache>
            </c:numRef>
          </c:xVal>
          <c:yVal>
            <c:numRef>
              <c:f>Sheet1!$B$163:$B$164</c:f>
              <c:numCache>
                <c:formatCode>General</c:formatCode>
                <c:ptCount val="2"/>
                <c:pt idx="0">
                  <c:v>0.20763467349873543</c:v>
                </c:pt>
                <c:pt idx="1">
                  <c:v>0.2076346734987354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87.964901925245</c:v>
                </c:pt>
                <c:pt idx="1">
                  <c:v>887.964901925245</c:v>
                </c:pt>
              </c:numCache>
            </c:numRef>
          </c:xVal>
          <c:yVal>
            <c:numRef>
              <c:f>Sheet1!$B$167:$B$168</c:f>
              <c:numCache>
                <c:formatCode>General</c:formatCode>
                <c:ptCount val="2"/>
                <c:pt idx="0">
                  <c:v>0.207634673498735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07.7118410253604</c:v>
                </c:pt>
              </c:numCache>
            </c:numRef>
          </c:xVal>
          <c:yVal>
            <c:numRef>
              <c:f>Sheet1!$B$171:$B$172</c:f>
              <c:numCache>
                <c:formatCode>General</c:formatCode>
                <c:ptCount val="2"/>
                <c:pt idx="0">
                  <c:v>0.1909585233709423</c:v>
                </c:pt>
                <c:pt idx="1">
                  <c:v>0.190958523370942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07.7118410253604</c:v>
                </c:pt>
                <c:pt idx="1">
                  <c:v>1007.7118410253604</c:v>
                </c:pt>
              </c:numCache>
            </c:numRef>
          </c:xVal>
          <c:yVal>
            <c:numRef>
              <c:f>Sheet1!$B$175:$B$176</c:f>
              <c:numCache>
                <c:formatCode>General</c:formatCode>
                <c:ptCount val="2"/>
                <c:pt idx="0">
                  <c:v>0.190958523370942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36.4862337843756</c:v>
                </c:pt>
              </c:numCache>
            </c:numRef>
          </c:xVal>
          <c:yVal>
            <c:numRef>
              <c:f>Sheet1!$B$179:$B$180</c:f>
              <c:numCache>
                <c:formatCode>General</c:formatCode>
                <c:ptCount val="2"/>
                <c:pt idx="0">
                  <c:v>0.1730251956182443</c:v>
                </c:pt>
                <c:pt idx="1">
                  <c:v>0.173025195618244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36.4862337843756</c:v>
                </c:pt>
                <c:pt idx="1">
                  <c:v>1136.4862337843756</c:v>
                </c:pt>
              </c:numCache>
            </c:numRef>
          </c:xVal>
          <c:yVal>
            <c:numRef>
              <c:f>Sheet1!$B$183:$B$184</c:f>
              <c:numCache>
                <c:formatCode>General</c:formatCode>
                <c:ptCount val="2"/>
                <c:pt idx="0">
                  <c:v>0.173025195618244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7.5788</c:v>
                </c:pt>
                <c:pt idx="1">
                  <c:v>1241.7033</c:v>
                </c:pt>
                <c:pt idx="2">
                  <c:v>1269.042</c:v>
                </c:pt>
                <c:pt idx="3">
                  <c:v>1287.1211</c:v>
                </c:pt>
                <c:pt idx="4">
                  <c:v>1278.1937</c:v>
                </c:pt>
                <c:pt idx="5">
                  <c:v>1282.0273</c:v>
                </c:pt>
                <c:pt idx="6">
                  <c:v>1274.6663</c:v>
                </c:pt>
                <c:pt idx="7">
                  <c:v>1271.8084</c:v>
                </c:pt>
                <c:pt idx="8">
                  <c:v>1265.9886</c:v>
                </c:pt>
                <c:pt idx="9">
                  <c:v>1123.1292</c:v>
                </c:pt>
                <c:pt idx="10">
                  <c:v>1148.5366</c:v>
                </c:pt>
                <c:pt idx="11">
                  <c:v>1263.3856</c:v>
                </c:pt>
                <c:pt idx="12">
                  <c:v>1238.5731</c:v>
                </c:pt>
                <c:pt idx="13">
                  <c:v>1148.1709</c:v>
                </c:pt>
                <c:pt idx="14">
                  <c:v>1251.5951</c:v>
                </c:pt>
                <c:pt idx="15">
                  <c:v>1186.8718</c:v>
                </c:pt>
                <c:pt idx="16">
                  <c:v>1267.9952</c:v>
                </c:pt>
                <c:pt idx="17">
                  <c:v>1285.5505</c:v>
                </c:pt>
                <c:pt idx="18">
                  <c:v>1321.6302</c:v>
                </c:pt>
                <c:pt idx="19">
                  <c:v>1302.7162</c:v>
                </c:pt>
                <c:pt idx="20">
                  <c:v>1240.0478</c:v>
                </c:pt>
                <c:pt idx="21">
                  <c:v>1251.4536</c:v>
                </c:pt>
                <c:pt idx="22">
                  <c:v>1239.9622</c:v>
                </c:pt>
                <c:pt idx="23">
                  <c:v>1156.3292</c:v>
                </c:pt>
                <c:pt idx="24">
                  <c:v>1141.9894</c:v>
                </c:pt>
                <c:pt idx="25">
                  <c:v>1189.5876</c:v>
                </c:pt>
                <c:pt idx="26">
                  <c:v>1226.3852</c:v>
                </c:pt>
                <c:pt idx="27">
                  <c:v>1275.3042</c:v>
                </c:pt>
                <c:pt idx="28">
                  <c:v>1320.9276</c:v>
                </c:pt>
                <c:pt idx="29">
                  <c:v>1307.5571</c:v>
                </c:pt>
                <c:pt idx="30">
                  <c:v>1305.5342</c:v>
                </c:pt>
                <c:pt idx="31">
                  <c:v>1302.1792</c:v>
                </c:pt>
                <c:pt idx="32">
                  <c:v>1300.668</c:v>
                </c:pt>
                <c:pt idx="33">
                  <c:v>1308.3848</c:v>
                </c:pt>
                <c:pt idx="34">
                  <c:v>1307.6936</c:v>
                </c:pt>
                <c:pt idx="35">
                  <c:v>1297.1465</c:v>
                </c:pt>
                <c:pt idx="36">
                  <c:v>1293.6675</c:v>
                </c:pt>
                <c:pt idx="37">
                  <c:v>1292.8031</c:v>
                </c:pt>
                <c:pt idx="38">
                  <c:v>1290.5053</c:v>
                </c:pt>
                <c:pt idx="39">
                  <c:v>1306.224</c:v>
                </c:pt>
                <c:pt idx="40">
                  <c:v>1307.6326</c:v>
                </c:pt>
                <c:pt idx="41">
                  <c:v>1301.1517</c:v>
                </c:pt>
                <c:pt idx="42">
                  <c:v>1306.3297</c:v>
                </c:pt>
                <c:pt idx="43">
                  <c:v>1288.6247</c:v>
                </c:pt>
                <c:pt idx="44">
                  <c:v>1238.5819</c:v>
                </c:pt>
                <c:pt idx="45">
                  <c:v>1248.5237</c:v>
                </c:pt>
                <c:pt idx="46">
                  <c:v>1248.6564</c:v>
                </c:pt>
                <c:pt idx="47">
                  <c:v>1244.7582</c:v>
                </c:pt>
                <c:pt idx="48">
                  <c:v>1177.1123</c:v>
                </c:pt>
                <c:pt idx="49">
                  <c:v>1149.897</c:v>
                </c:pt>
                <c:pt idx="50">
                  <c:v>1111.9998</c:v>
                </c:pt>
                <c:pt idx="51">
                  <c:v>1135.3556</c:v>
                </c:pt>
                <c:pt idx="52">
                  <c:v>1007.7118410253604</c:v>
                </c:pt>
                <c:pt idx="53">
                  <c:v>887.964901925245</c:v>
                </c:pt>
                <c:pt idx="54">
                  <c:v>1136.4862337843756</c:v>
                </c:pt>
              </c:numCache>
            </c:numRef>
          </c:xVal>
          <c:yVal>
            <c:numRef>
              <c:f>Sheet1!$B$187:$B$241</c:f>
              <c:numCache>
                <c:formatCode>General</c:formatCode>
                <c:ptCount val="55"/>
                <c:pt idx="0">
                  <c:v>0.15894688327319</c:v>
                </c:pt>
                <c:pt idx="1">
                  <c:v>0.15837249881109886</c:v>
                </c:pt>
                <c:pt idx="2">
                  <c:v>0.15456526775429885</c:v>
                </c:pt>
                <c:pt idx="3">
                  <c:v>0.1520475433928993</c:v>
                </c:pt>
                <c:pt idx="4">
                  <c:v>0.15329078738535237</c:v>
                </c:pt>
                <c:pt idx="5">
                  <c:v>0.15275691412219983</c:v>
                </c:pt>
                <c:pt idx="6">
                  <c:v>0.15378201874711267</c:v>
                </c:pt>
                <c:pt idx="7">
                  <c:v>0.15418001446882693</c:v>
                </c:pt>
                <c:pt idx="8">
                  <c:v>0.15499048911847613</c:v>
                </c:pt>
                <c:pt idx="9">
                  <c:v>0.1748853174912888</c:v>
                </c:pt>
                <c:pt idx="10">
                  <c:v>0.17134704235924011</c:v>
                </c:pt>
                <c:pt idx="11">
                  <c:v>0.15535298705878967</c:v>
                </c:pt>
                <c:pt idx="12">
                  <c:v>0.15880841546602373</c:v>
                </c:pt>
                <c:pt idx="13">
                  <c:v>0.17139797032572976</c:v>
                </c:pt>
                <c:pt idx="14">
                  <c:v>0.15699495093326798</c:v>
                </c:pt>
                <c:pt idx="15">
                  <c:v>0.16600842113699327</c:v>
                </c:pt>
                <c:pt idx="16">
                  <c:v>0.1547110467953746</c:v>
                </c:pt>
                <c:pt idx="17">
                  <c:v>0.15226626765915227</c:v>
                </c:pt>
                <c:pt idx="18">
                  <c:v>0.14724175097181794</c:v>
                </c:pt>
                <c:pt idx="19">
                  <c:v>0.14987574484161845</c:v>
                </c:pt>
                <c:pt idx="20">
                  <c:v>0.15860304638704548</c:v>
                </c:pt>
                <c:pt idx="21">
                  <c:v>0.1570146564494241</c:v>
                </c:pt>
                <c:pt idx="22">
                  <c:v>0.15861496717985796</c:v>
                </c:pt>
                <c:pt idx="23">
                  <c:v>0.17026183242851115</c:v>
                </c:pt>
                <c:pt idx="24">
                  <c:v>0.1722588158954756</c:v>
                </c:pt>
                <c:pt idx="25">
                  <c:v>0.1656302144883941</c:v>
                </c:pt>
                <c:pt idx="26">
                  <c:v>0.16050572189965712</c:v>
                </c:pt>
                <c:pt idx="27">
                  <c:v>0.15369318377357213</c:v>
                </c:pt>
                <c:pt idx="28">
                  <c:v>0.14733959617076697</c:v>
                </c:pt>
                <c:pt idx="29">
                  <c:v>0.14920159337052208</c:v>
                </c:pt>
                <c:pt idx="30">
                  <c:v>0.14948330565767545</c:v>
                </c:pt>
                <c:pt idx="31">
                  <c:v>0.14995052831989292</c:v>
                </c:pt>
                <c:pt idx="32">
                  <c:v>0.15016098044720827</c:v>
                </c:pt>
                <c:pt idx="33">
                  <c:v>0.14908632654562864</c:v>
                </c:pt>
                <c:pt idx="34">
                  <c:v>0.14918258416235733</c:v>
                </c:pt>
                <c:pt idx="35">
                  <c:v>0.15065139016553872</c:v>
                </c:pt>
                <c:pt idx="36">
                  <c:v>0.15113588126594246</c:v>
                </c:pt>
                <c:pt idx="37">
                  <c:v>0.1512562589914926</c:v>
                </c:pt>
                <c:pt idx="38">
                  <c:v>0.1515762542920122</c:v>
                </c:pt>
                <c:pt idx="39">
                  <c:v>0.1493872430071844</c:v>
                </c:pt>
                <c:pt idx="40">
                  <c:v>0.14919107911985222</c:v>
                </c:pt>
                <c:pt idx="41">
                  <c:v>0.15009361961212198</c:v>
                </c:pt>
                <c:pt idx="42">
                  <c:v>0.14937252305624657</c:v>
                </c:pt>
                <c:pt idx="43">
                  <c:v>0.15183814965373085</c:v>
                </c:pt>
                <c:pt idx="44">
                  <c:v>0.15880718996395893</c:v>
                </c:pt>
                <c:pt idx="45">
                  <c:v>0.15742267900621423</c:v>
                </c:pt>
                <c:pt idx="46">
                  <c:v>0.15740419899212293</c:v>
                </c:pt>
                <c:pt idx="47">
                  <c:v>0.15794706855452417</c:v>
                </c:pt>
                <c:pt idx="48">
                  <c:v>0.16736754470537213</c:v>
                </c:pt>
                <c:pt idx="49">
                  <c:v>0.17115759088094484</c:v>
                </c:pt>
                <c:pt idx="50">
                  <c:v>0.1764352155231466</c:v>
                </c:pt>
                <c:pt idx="51">
                  <c:v>0.17318264948612178</c:v>
                </c:pt>
                <c:pt idx="52">
                  <c:v>0.1909585233709423</c:v>
                </c:pt>
                <c:pt idx="53">
                  <c:v>0.20763467349873543</c:v>
                </c:pt>
                <c:pt idx="54">
                  <c:v>0.173025195618244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86.0"/>
          <c:min val="63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805270863836015"/>
          <c:min val="0.1009047365620010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24.6868</c:v>
                </c:pt>
                <c:pt idx="1">
                  <c:v>990.9089</c:v>
                </c:pt>
                <c:pt idx="2">
                  <c:v>1005.1685</c:v>
                </c:pt>
                <c:pt idx="3">
                  <c:v>1012.7227</c:v>
                </c:pt>
                <c:pt idx="4">
                  <c:v>1025.9138</c:v>
                </c:pt>
                <c:pt idx="5">
                  <c:v>1022.7133</c:v>
                </c:pt>
                <c:pt idx="6">
                  <c:v>1041.8697</c:v>
                </c:pt>
                <c:pt idx="7">
                  <c:v>1031.1073</c:v>
                </c:pt>
                <c:pt idx="8">
                  <c:v>1052.0886</c:v>
                </c:pt>
                <c:pt idx="9">
                  <c:v>1034.996</c:v>
                </c:pt>
                <c:pt idx="10">
                  <c:v>1016.1037</c:v>
                </c:pt>
                <c:pt idx="11">
                  <c:v>1024.3746</c:v>
                </c:pt>
                <c:pt idx="12">
                  <c:v>1039.495</c:v>
                </c:pt>
                <c:pt idx="13">
                  <c:v>1035.4808</c:v>
                </c:pt>
                <c:pt idx="14">
                  <c:v>1041.3727</c:v>
                </c:pt>
                <c:pt idx="15">
                  <c:v>1033.7857</c:v>
                </c:pt>
                <c:pt idx="16">
                  <c:v>1073.373</c:v>
                </c:pt>
                <c:pt idx="17">
                  <c:v>1079.5753</c:v>
                </c:pt>
                <c:pt idx="18">
                  <c:v>1088.0714</c:v>
                </c:pt>
                <c:pt idx="19">
                  <c:v>1109.2581</c:v>
                </c:pt>
                <c:pt idx="20">
                  <c:v>1096.4973</c:v>
                </c:pt>
                <c:pt idx="21">
                  <c:v>1062.7651</c:v>
                </c:pt>
                <c:pt idx="22">
                  <c:v>1060.6719</c:v>
                </c:pt>
                <c:pt idx="23">
                  <c:v>1055.2804</c:v>
                </c:pt>
                <c:pt idx="24">
                  <c:v>1069.1473</c:v>
                </c:pt>
                <c:pt idx="25">
                  <c:v>1093.3704</c:v>
                </c:pt>
                <c:pt idx="26">
                  <c:v>1075.7133</c:v>
                </c:pt>
                <c:pt idx="27">
                  <c:v>1072.2953</c:v>
                </c:pt>
                <c:pt idx="28">
                  <c:v>1045.5436</c:v>
                </c:pt>
                <c:pt idx="29">
                  <c:v>1109.3492</c:v>
                </c:pt>
                <c:pt idx="30">
                  <c:v>1123.76</c:v>
                </c:pt>
                <c:pt idx="31">
                  <c:v>1113.12</c:v>
                </c:pt>
                <c:pt idx="32">
                  <c:v>1100.1894</c:v>
                </c:pt>
                <c:pt idx="33">
                  <c:v>1092.9322</c:v>
                </c:pt>
                <c:pt idx="34">
                  <c:v>1119.9551</c:v>
                </c:pt>
                <c:pt idx="35">
                  <c:v>1149.2093</c:v>
                </c:pt>
                <c:pt idx="36">
                  <c:v>1155.2512</c:v>
                </c:pt>
                <c:pt idx="37">
                  <c:v>1180.8176</c:v>
                </c:pt>
                <c:pt idx="38">
                  <c:v>1181.025</c:v>
                </c:pt>
                <c:pt idx="39">
                  <c:v>1321.6583</c:v>
                </c:pt>
                <c:pt idx="40">
                  <c:v>1347.7941</c:v>
                </c:pt>
                <c:pt idx="41">
                  <c:v>1360.1869</c:v>
                </c:pt>
                <c:pt idx="42">
                  <c:v>1341.7483</c:v>
                </c:pt>
                <c:pt idx="43">
                  <c:v>1301.6687</c:v>
                </c:pt>
                <c:pt idx="44">
                  <c:v>1237.9139</c:v>
                </c:pt>
                <c:pt idx="45">
                  <c:v>1180.1405</c:v>
                </c:pt>
                <c:pt idx="46">
                  <c:v>1202.9713</c:v>
                </c:pt>
                <c:pt idx="47">
                  <c:v>1193.6517</c:v>
                </c:pt>
                <c:pt idx="48">
                  <c:v>1219.3121</c:v>
                </c:pt>
                <c:pt idx="49">
                  <c:v>1128.2021</c:v>
                </c:pt>
                <c:pt idx="50">
                  <c:v>1142.5515</c:v>
                </c:pt>
                <c:pt idx="51">
                  <c:v>1134.8384</c:v>
                </c:pt>
                <c:pt idx="52">
                  <c:v>1186.3403</c:v>
                </c:pt>
                <c:pt idx="53">
                  <c:v>1133.6701</c:v>
                </c:pt>
                <c:pt idx="54">
                  <c:v>1154.8889</c:v>
                </c:pt>
                <c:pt idx="55">
                  <c:v>1126.7205</c:v>
                </c:pt>
                <c:pt idx="56">
                  <c:v>1092.7782</c:v>
                </c:pt>
                <c:pt idx="57">
                  <c:v>1169.3083</c:v>
                </c:pt>
                <c:pt idx="58">
                  <c:v>1166.8654</c:v>
                </c:pt>
                <c:pt idx="59">
                  <c:v>1169.2489</c:v>
                </c:pt>
                <c:pt idx="60">
                  <c:v>1190.8416</c:v>
                </c:pt>
                <c:pt idx="61">
                  <c:v>1169.5831</c:v>
                </c:pt>
                <c:pt idx="62">
                  <c:v>1165.7885</c:v>
                </c:pt>
                <c:pt idx="63">
                  <c:v>1136.7847</c:v>
                </c:pt>
                <c:pt idx="64">
                  <c:v>1130.0872</c:v>
                </c:pt>
                <c:pt idx="65">
                  <c:v>1106.6434</c:v>
                </c:pt>
                <c:pt idx="66">
                  <c:v>1123.1915</c:v>
                </c:pt>
                <c:pt idx="67">
                  <c:v>1113.9233</c:v>
                </c:pt>
                <c:pt idx="68">
                  <c:v>1099.7302</c:v>
                </c:pt>
                <c:pt idx="69">
                  <c:v>1132.9392</c:v>
                </c:pt>
                <c:pt idx="70">
                  <c:v>1132.6065</c:v>
                </c:pt>
                <c:pt idx="71">
                  <c:v>1092.184</c:v>
                </c:pt>
                <c:pt idx="72">
                  <c:v>1104.6995</c:v>
                </c:pt>
                <c:pt idx="73">
                  <c:v>1162.3171</c:v>
                </c:pt>
                <c:pt idx="74">
                  <c:v>1182.7832</c:v>
                </c:pt>
                <c:pt idx="75">
                  <c:v>1156.178</c:v>
                </c:pt>
                <c:pt idx="76">
                  <c:v>1170.0741</c:v>
                </c:pt>
                <c:pt idx="77">
                  <c:v>1163.4732</c:v>
                </c:pt>
                <c:pt idx="78">
                  <c:v>1137.7521</c:v>
                </c:pt>
                <c:pt idx="79">
                  <c:v>1181.1837</c:v>
                </c:pt>
                <c:pt idx="80">
                  <c:v>1179.6292</c:v>
                </c:pt>
                <c:pt idx="81">
                  <c:v>1251.4425</c:v>
                </c:pt>
                <c:pt idx="82">
                  <c:v>1191.3053</c:v>
                </c:pt>
                <c:pt idx="83">
                  <c:v>1154.589</c:v>
                </c:pt>
                <c:pt idx="84">
                  <c:v>1162.4225</c:v>
                </c:pt>
                <c:pt idx="85">
                  <c:v>1185.0541</c:v>
                </c:pt>
                <c:pt idx="86">
                  <c:v>1221.4747</c:v>
                </c:pt>
                <c:pt idx="87">
                  <c:v>1241.2603</c:v>
                </c:pt>
                <c:pt idx="88">
                  <c:v>1215.6087</c:v>
                </c:pt>
                <c:pt idx="89">
                  <c:v>1228.6579</c:v>
                </c:pt>
                <c:pt idx="90">
                  <c:v>1225.0</c:v>
                </c:pt>
                <c:pt idx="91">
                  <c:v>1239.6977</c:v>
                </c:pt>
                <c:pt idx="92">
                  <c:v>1265.7253</c:v>
                </c:pt>
                <c:pt idx="93">
                  <c:v>1262.6277</c:v>
                </c:pt>
                <c:pt idx="94">
                  <c:v>1340.1013</c:v>
                </c:pt>
                <c:pt idx="95">
                  <c:v>1306.0079</c:v>
                </c:pt>
                <c:pt idx="96">
                  <c:v>1226.7059</c:v>
                </c:pt>
                <c:pt idx="97">
                  <c:v>1209.7551</c:v>
                </c:pt>
                <c:pt idx="98">
                  <c:v>1122.9071</c:v>
                </c:pt>
                <c:pt idx="99">
                  <c:v>1175.1099</c:v>
                </c:pt>
                <c:pt idx="100">
                  <c:v>1206.7856</c:v>
                </c:pt>
                <c:pt idx="101">
                  <c:v>1276.7427</c:v>
                </c:pt>
                <c:pt idx="102">
                  <c:v>1330.0304</c:v>
                </c:pt>
                <c:pt idx="103">
                  <c:v>1256.6842</c:v>
                </c:pt>
                <c:pt idx="104">
                  <c:v>1272.6651</c:v>
                </c:pt>
              </c:numCache>
            </c:numRef>
          </c:xVal>
          <c:yVal>
            <c:numRef>
              <c:f>Sheet1!$B$2:$B$106</c:f>
              <c:numCache>
                <c:formatCode>General</c:formatCode>
                <c:ptCount val="105"/>
                <c:pt idx="0">
                  <c:v>0.4159103043246129</c:v>
                </c:pt>
                <c:pt idx="1">
                  <c:v>0.4170182841068917</c:v>
                </c:pt>
                <c:pt idx="2">
                  <c:v>0.3423076923076923</c:v>
                </c:pt>
                <c:pt idx="3">
                  <c:v>0.3123359580052493</c:v>
                </c:pt>
                <c:pt idx="4">
                  <c:v>0.2618510158013544</c:v>
                </c:pt>
                <c:pt idx="5">
                  <c:v>0.20043103448275862</c:v>
                </c:pt>
                <c:pt idx="6">
                  <c:v>0.18662613981762918</c:v>
                </c:pt>
                <c:pt idx="7">
                  <c:v>0.16191799861014594</c:v>
                </c:pt>
                <c:pt idx="8">
                  <c:v>0.15359688917692807</c:v>
                </c:pt>
                <c:pt idx="9">
                  <c:v>0.1367335865436788</c:v>
                </c:pt>
                <c:pt idx="10">
                  <c:v>0.14606741573033707</c:v>
                </c:pt>
                <c:pt idx="11">
                  <c:v>0.14337733272644515</c:v>
                </c:pt>
                <c:pt idx="12">
                  <c:v>0.17135549872122763</c:v>
                </c:pt>
                <c:pt idx="13">
                  <c:v>0.16840536512667661</c:v>
                </c:pt>
                <c:pt idx="14">
                  <c:v>0.22965641952983726</c:v>
                </c:pt>
                <c:pt idx="15">
                  <c:v>0.2309899569583931</c:v>
                </c:pt>
                <c:pt idx="16">
                  <c:v>0.2247992863514719</c:v>
                </c:pt>
                <c:pt idx="17">
                  <c:v>0.2255406797116375</c:v>
                </c:pt>
                <c:pt idx="18">
                  <c:v>0.19134396355353075</c:v>
                </c:pt>
                <c:pt idx="19">
                  <c:v>0.2180028129395218</c:v>
                </c:pt>
                <c:pt idx="20">
                  <c:v>0.21298405466970388</c:v>
                </c:pt>
                <c:pt idx="21">
                  <c:v>0.18695106649937265</c:v>
                </c:pt>
                <c:pt idx="22">
                  <c:v>0.1871345029239766</c:v>
                </c:pt>
                <c:pt idx="23">
                  <c:v>0.1562043795620438</c:v>
                </c:pt>
                <c:pt idx="24">
                  <c:v>0.17479674796747968</c:v>
                </c:pt>
                <c:pt idx="25">
                  <c:v>0.16047548291233285</c:v>
                </c:pt>
                <c:pt idx="26">
                  <c:v>0.17044100119189512</c:v>
                </c:pt>
                <c:pt idx="27">
                  <c:v>0.1728538283062645</c:v>
                </c:pt>
                <c:pt idx="28">
                  <c:v>0.17386231038506417</c:v>
                </c:pt>
                <c:pt idx="29">
                  <c:v>0.19728601252609604</c:v>
                </c:pt>
                <c:pt idx="30">
                  <c:v>0.19230769230769232</c:v>
                </c:pt>
                <c:pt idx="31">
                  <c:v>0.17385257301808066</c:v>
                </c:pt>
                <c:pt idx="32">
                  <c:v>0.1716514954486346</c:v>
                </c:pt>
                <c:pt idx="33">
                  <c:v>0.19536423841059603</c:v>
                </c:pt>
                <c:pt idx="34">
                  <c:v>0.19821826280623608</c:v>
                </c:pt>
                <c:pt idx="35">
                  <c:v>0.21199671322925226</c:v>
                </c:pt>
                <c:pt idx="36">
                  <c:v>0.19616788321167883</c:v>
                </c:pt>
                <c:pt idx="37">
                  <c:v>0.16517857142857142</c:v>
                </c:pt>
                <c:pt idx="38">
                  <c:v>0.17167381974248927</c:v>
                </c:pt>
                <c:pt idx="39">
                  <c:v>0.14925373134328357</c:v>
                </c:pt>
                <c:pt idx="40">
                  <c:v>0.13821138211382114</c:v>
                </c:pt>
                <c:pt idx="41">
                  <c:v>0.11771177117711772</c:v>
                </c:pt>
                <c:pt idx="42">
                  <c:v>0.1311329170383586</c:v>
                </c:pt>
                <c:pt idx="43">
                  <c:v>0.13452188006482982</c:v>
                </c:pt>
                <c:pt idx="44">
                  <c:v>0.1653250773993808</c:v>
                </c:pt>
                <c:pt idx="45">
                  <c:v>0.1727325245522819</c:v>
                </c:pt>
                <c:pt idx="46">
                  <c:v>0.16136495083863506</c:v>
                </c:pt>
                <c:pt idx="47">
                  <c:v>0.16250760803408398</c:v>
                </c:pt>
                <c:pt idx="48">
                  <c:v>0.15188762071992976</c:v>
                </c:pt>
                <c:pt idx="49">
                  <c:v>0.1820123398196488</c:v>
                </c:pt>
                <c:pt idx="50">
                  <c:v>0.17026055705300988</c:v>
                </c:pt>
                <c:pt idx="51">
                  <c:v>0.1703011422637591</c:v>
                </c:pt>
                <c:pt idx="52">
                  <c:v>0.17587939698492464</c:v>
                </c:pt>
                <c:pt idx="53">
                  <c:v>0.163943661971831</c:v>
                </c:pt>
                <c:pt idx="54">
                  <c:v>0.13448894202032277</c:v>
                </c:pt>
                <c:pt idx="55">
                  <c:v>0.14567430025445294</c:v>
                </c:pt>
                <c:pt idx="56">
                  <c:v>0.1460880195599022</c:v>
                </c:pt>
                <c:pt idx="57">
                  <c:v>0.13729977116704806</c:v>
                </c:pt>
                <c:pt idx="58">
                  <c:v>0.1330603889457523</c:v>
                </c:pt>
                <c:pt idx="59">
                  <c:v>0.14317817014446227</c:v>
                </c:pt>
                <c:pt idx="60">
                  <c:v>0.13189448441247004</c:v>
                </c:pt>
                <c:pt idx="61">
                  <c:v>0.15085995085995085</c:v>
                </c:pt>
                <c:pt idx="62">
                  <c:v>0.14637985309548793</c:v>
                </c:pt>
                <c:pt idx="63">
                  <c:v>0.15098374679213003</c:v>
                </c:pt>
                <c:pt idx="64">
                  <c:v>0.16324822101297615</c:v>
                </c:pt>
                <c:pt idx="65">
                  <c:v>0.18778280542986425</c:v>
                </c:pt>
                <c:pt idx="66">
                  <c:v>0.19336219336219337</c:v>
                </c:pt>
                <c:pt idx="67">
                  <c:v>0.16715976331360946</c:v>
                </c:pt>
                <c:pt idx="68">
                  <c:v>0.16890080428954424</c:v>
                </c:pt>
                <c:pt idx="69">
                  <c:v>0.14823914823914824</c:v>
                </c:pt>
                <c:pt idx="70">
                  <c:v>0.11272727272727273</c:v>
                </c:pt>
                <c:pt idx="71">
                  <c:v>0.1572700296735905</c:v>
                </c:pt>
                <c:pt idx="72">
                  <c:v>0.14336158192090395</c:v>
                </c:pt>
                <c:pt idx="73">
                  <c:v>0.11970802919708029</c:v>
                </c:pt>
                <c:pt idx="74">
                  <c:v>0.10655737704918032</c:v>
                </c:pt>
                <c:pt idx="75">
                  <c:v>0.1028770706190061</c:v>
                </c:pt>
                <c:pt idx="76">
                  <c:v>0.1027592768791627</c:v>
                </c:pt>
                <c:pt idx="77">
                  <c:v>0.11012782694198624</c:v>
                </c:pt>
                <c:pt idx="78">
                  <c:v>0.12174817898022892</c:v>
                </c:pt>
                <c:pt idx="79">
                  <c:v>0.10392364793213149</c:v>
                </c:pt>
                <c:pt idx="80">
                  <c:v>0.09378292939936776</c:v>
                </c:pt>
                <c:pt idx="81">
                  <c:v>0.10044444444444445</c:v>
                </c:pt>
                <c:pt idx="82">
                  <c:v>0.11255924170616113</c:v>
                </c:pt>
                <c:pt idx="83">
                  <c:v>0.10879284649776454</c:v>
                </c:pt>
                <c:pt idx="84">
                  <c:v>0.1056547619047619</c:v>
                </c:pt>
                <c:pt idx="85">
                  <c:v>0.10787172011661808</c:v>
                </c:pt>
                <c:pt idx="86">
                  <c:v>0.1056563500533618</c:v>
                </c:pt>
                <c:pt idx="87">
                  <c:v>0.13838862559241707</c:v>
                </c:pt>
                <c:pt idx="88">
                  <c:v>0.12777777777777777</c:v>
                </c:pt>
                <c:pt idx="89">
                  <c:v>0.09336609336609336</c:v>
                </c:pt>
                <c:pt idx="90">
                  <c:v>0.08080808080808081</c:v>
                </c:pt>
                <c:pt idx="91">
                  <c:v>0.09739524348810873</c:v>
                </c:pt>
                <c:pt idx="92">
                  <c:v>0.08775313404050145</c:v>
                </c:pt>
                <c:pt idx="93">
                  <c:v>0.07912457912457913</c:v>
                </c:pt>
                <c:pt idx="94">
                  <c:v>0.08449197860962566</c:v>
                </c:pt>
                <c:pt idx="95">
                  <c:v>0.09365781710914454</c:v>
                </c:pt>
                <c:pt idx="96">
                  <c:v>0.08994708994708994</c:v>
                </c:pt>
                <c:pt idx="97">
                  <c:v>0.09814722083124687</c:v>
                </c:pt>
                <c:pt idx="98">
                  <c:v>0.11115702479338843</c:v>
                </c:pt>
                <c:pt idx="99">
                  <c:v>0.10626702997275204</c:v>
                </c:pt>
                <c:pt idx="100">
                  <c:v>0.1114792899408284</c:v>
                </c:pt>
                <c:pt idx="101">
                  <c:v>0.09066967644845748</c:v>
                </c:pt>
                <c:pt idx="102">
                  <c:v>0.0970464135021097</c:v>
                </c:pt>
                <c:pt idx="103">
                  <c:v>0.08458114123836503</c:v>
                </c:pt>
                <c:pt idx="104">
                  <c:v>0.0985849056603773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19.2886</c:v>
                </c:pt>
                <c:pt idx="1">
                  <c:v>1263.5645</c:v>
                </c:pt>
                <c:pt idx="2">
                  <c:v>1281.9259</c:v>
                </c:pt>
                <c:pt idx="3">
                  <c:v>1309.0512</c:v>
                </c:pt>
                <c:pt idx="4">
                  <c:v>1290.0615</c:v>
                </c:pt>
                <c:pt idx="5">
                  <c:v>1314.8852</c:v>
                </c:pt>
                <c:pt idx="6">
                  <c:v>1291.4897</c:v>
                </c:pt>
                <c:pt idx="7">
                  <c:v>1326.3303</c:v>
                </c:pt>
                <c:pt idx="8">
                  <c:v>1276.5231</c:v>
                </c:pt>
                <c:pt idx="9">
                  <c:v>1313.2295</c:v>
                </c:pt>
                <c:pt idx="10">
                  <c:v>1276.5871</c:v>
                </c:pt>
                <c:pt idx="11">
                  <c:v>1342.375</c:v>
                </c:pt>
                <c:pt idx="12">
                  <c:v>1296.5818</c:v>
                </c:pt>
                <c:pt idx="13">
                  <c:v>1273.2191</c:v>
                </c:pt>
                <c:pt idx="14">
                  <c:v>1313.4497</c:v>
                </c:pt>
                <c:pt idx="15">
                  <c:v>1303.9793</c:v>
                </c:pt>
                <c:pt idx="16">
                  <c:v>1291.664</c:v>
                </c:pt>
                <c:pt idx="17">
                  <c:v>1311.8595</c:v>
                </c:pt>
                <c:pt idx="18">
                  <c:v>1281.1566</c:v>
                </c:pt>
                <c:pt idx="19">
                  <c:v>1346.2574</c:v>
                </c:pt>
                <c:pt idx="20">
                  <c:v>1335.8101</c:v>
                </c:pt>
                <c:pt idx="21">
                  <c:v>1356.1159</c:v>
                </c:pt>
                <c:pt idx="22">
                  <c:v>1338.1923</c:v>
                </c:pt>
                <c:pt idx="23">
                  <c:v>1146.4308</c:v>
                </c:pt>
                <c:pt idx="24">
                  <c:v>1401.1452</c:v>
                </c:pt>
                <c:pt idx="25">
                  <c:v>1383.5385</c:v>
                </c:pt>
                <c:pt idx="26">
                  <c:v>1318.0714</c:v>
                </c:pt>
                <c:pt idx="27">
                  <c:v>1426.2581</c:v>
                </c:pt>
                <c:pt idx="28">
                  <c:v>1348.1159</c:v>
                </c:pt>
                <c:pt idx="29">
                  <c:v>1411.52</c:v>
                </c:pt>
                <c:pt idx="30">
                  <c:v>1397.2909</c:v>
                </c:pt>
                <c:pt idx="31">
                  <c:v>1351.1778</c:v>
                </c:pt>
                <c:pt idx="32">
                  <c:v>1387.2653</c:v>
                </c:pt>
                <c:pt idx="33">
                  <c:v>1349.1746</c:v>
                </c:pt>
                <c:pt idx="34">
                  <c:v>1327.9091</c:v>
                </c:pt>
                <c:pt idx="35">
                  <c:v>1344.1717</c:v>
                </c:pt>
                <c:pt idx="36">
                  <c:v>1336.1739</c:v>
                </c:pt>
                <c:pt idx="37">
                  <c:v>1275.8824</c:v>
                </c:pt>
                <c:pt idx="38">
                  <c:v>1349.4872</c:v>
                </c:pt>
                <c:pt idx="39">
                  <c:v>1290.4359</c:v>
                </c:pt>
                <c:pt idx="40">
                  <c:v>1353.8413</c:v>
                </c:pt>
                <c:pt idx="41">
                  <c:v>1331.8485</c:v>
                </c:pt>
                <c:pt idx="42">
                  <c:v>1344.8167</c:v>
                </c:pt>
                <c:pt idx="43">
                  <c:v>1299.9529</c:v>
                </c:pt>
                <c:pt idx="44">
                  <c:v>1401.8571</c:v>
                </c:pt>
                <c:pt idx="45">
                  <c:v>1371.0552</c:v>
                </c:pt>
                <c:pt idx="46">
                  <c:v>1351.9211</c:v>
                </c:pt>
                <c:pt idx="47">
                  <c:v>1328.0088</c:v>
                </c:pt>
                <c:pt idx="48">
                  <c:v>1348.8413</c:v>
                </c:pt>
                <c:pt idx="49">
                  <c:v>1298.0578</c:v>
                </c:pt>
                <c:pt idx="50">
                  <c:v>1249.4201</c:v>
                </c:pt>
                <c:pt idx="51">
                  <c:v>1304.4702</c:v>
                </c:pt>
              </c:numCache>
            </c:numRef>
          </c:xVal>
          <c:yVal>
            <c:numRef>
              <c:f>Sheet1!$B$109:$B$160</c:f>
              <c:numCache>
                <c:formatCode>General</c:formatCode>
                <c:ptCount val="52"/>
                <c:pt idx="0">
                  <c:v>0.0881578947368421</c:v>
                </c:pt>
                <c:pt idx="1">
                  <c:v>0.08296164139161463</c:v>
                </c:pt>
                <c:pt idx="2">
                  <c:v>0.07723743359215365</c:v>
                </c:pt>
                <c:pt idx="3">
                  <c:v>0.07948243992606285</c:v>
                </c:pt>
                <c:pt idx="4">
                  <c:v>0.08111480865224625</c:v>
                </c:pt>
                <c:pt idx="5">
                  <c:v>0.0782051282051282</c:v>
                </c:pt>
                <c:pt idx="6">
                  <c:v>0.06901475487862922</c:v>
                </c:pt>
                <c:pt idx="7">
                  <c:v>0.07491408934707904</c:v>
                </c:pt>
                <c:pt idx="8">
                  <c:v>0.08801624915368991</c:v>
                </c:pt>
                <c:pt idx="9">
                  <c:v>0.07922077922077922</c:v>
                </c:pt>
                <c:pt idx="10">
                  <c:v>0.09314903846153846</c:v>
                </c:pt>
                <c:pt idx="11">
                  <c:v>0.10969637610186092</c:v>
                </c:pt>
                <c:pt idx="12">
                  <c:v>0.10726474890297416</c:v>
                </c:pt>
                <c:pt idx="13">
                  <c:v>0.08725490196078431</c:v>
                </c:pt>
                <c:pt idx="14">
                  <c:v>0.09056806002143623</c:v>
                </c:pt>
                <c:pt idx="15">
                  <c:v>0.08123249299719888</c:v>
                </c:pt>
                <c:pt idx="16">
                  <c:v>0.07754342431761786</c:v>
                </c:pt>
                <c:pt idx="17">
                  <c:v>0.08170155300472653</c:v>
                </c:pt>
                <c:pt idx="18">
                  <c:v>0.06474258970358815</c:v>
                </c:pt>
                <c:pt idx="19">
                  <c:v>0.06457800511508952</c:v>
                </c:pt>
                <c:pt idx="20">
                  <c:v>0.05667144906743185</c:v>
                </c:pt>
                <c:pt idx="21">
                  <c:v>0.06382978723404255</c:v>
                </c:pt>
                <c:pt idx="22">
                  <c:v>0.07536231884057971</c:v>
                </c:pt>
                <c:pt idx="23">
                  <c:v>0.06673511293634497</c:v>
                </c:pt>
                <c:pt idx="24">
                  <c:v>0.06084396467124632</c:v>
                </c:pt>
                <c:pt idx="25">
                  <c:v>0.06907545164718384</c:v>
                </c:pt>
                <c:pt idx="26">
                  <c:v>0.05894736842105263</c:v>
                </c:pt>
                <c:pt idx="27">
                  <c:v>0.055705300988319856</c:v>
                </c:pt>
                <c:pt idx="28">
                  <c:v>0.05745212323064113</c:v>
                </c:pt>
                <c:pt idx="29">
                  <c:v>0.04926108374384237</c:v>
                </c:pt>
                <c:pt idx="30">
                  <c:v>0.0560081466395112</c:v>
                </c:pt>
                <c:pt idx="31">
                  <c:v>0.05610972568578554</c:v>
                </c:pt>
                <c:pt idx="32">
                  <c:v>0.05511811023622047</c:v>
                </c:pt>
                <c:pt idx="33">
                  <c:v>0.06555671175858481</c:v>
                </c:pt>
                <c:pt idx="34">
                  <c:v>0.08052708638360176</c:v>
                </c:pt>
                <c:pt idx="35">
                  <c:v>0.07393577296489919</c:v>
                </c:pt>
                <c:pt idx="36">
                  <c:v>0.05589307411907655</c:v>
                </c:pt>
                <c:pt idx="37">
                  <c:v>0.05301455301455302</c:v>
                </c:pt>
                <c:pt idx="38">
                  <c:v>0.043721973094170405</c:v>
                </c:pt>
                <c:pt idx="39">
                  <c:v>0.06037151702786378</c:v>
                </c:pt>
                <c:pt idx="40">
                  <c:v>0.045323741007194246</c:v>
                </c:pt>
                <c:pt idx="41">
                  <c:v>0.04330708661417323</c:v>
                </c:pt>
                <c:pt idx="42">
                  <c:v>0.04447739065974796</c:v>
                </c:pt>
                <c:pt idx="43">
                  <c:v>0.0456989247311828</c:v>
                </c:pt>
                <c:pt idx="44">
                  <c:v>0.04948162111215834</c:v>
                </c:pt>
                <c:pt idx="45">
                  <c:v>0.05600617999227501</c:v>
                </c:pt>
                <c:pt idx="46">
                  <c:v>0.05517909002904162</c:v>
                </c:pt>
                <c:pt idx="47">
                  <c:v>0.05315145813734713</c:v>
                </c:pt>
                <c:pt idx="48">
                  <c:v>0.04713804713804714</c:v>
                </c:pt>
                <c:pt idx="49">
                  <c:v>0.05741785595751742</c:v>
                </c:pt>
                <c:pt idx="50">
                  <c:v>0.06280763929907462</c:v>
                </c:pt>
                <c:pt idx="51">
                  <c:v>0.0535714285714285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95.49624262831964</c:v>
                </c:pt>
              </c:numCache>
            </c:numRef>
          </c:xVal>
          <c:yVal>
            <c:numRef>
              <c:f>Sheet1!$B$163:$B$164</c:f>
              <c:numCache>
                <c:formatCode>General</c:formatCode>
                <c:ptCount val="2"/>
                <c:pt idx="0">
                  <c:v>0.2724439240703625</c:v>
                </c:pt>
                <c:pt idx="1">
                  <c:v>0.272443924070362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95.49624262831964</c:v>
                </c:pt>
                <c:pt idx="1">
                  <c:v>-295.49624262831964</c:v>
                </c:pt>
              </c:numCache>
            </c:numRef>
          </c:xVal>
          <c:yVal>
            <c:numRef>
              <c:f>Sheet1!$B$167:$B$168</c:f>
              <c:numCache>
                <c:formatCode>General</c:formatCode>
                <c:ptCount val="2"/>
                <c:pt idx="0">
                  <c:v>0.27244392407036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11.5082030868853</c:v>
                </c:pt>
              </c:numCache>
            </c:numRef>
          </c:xVal>
          <c:yVal>
            <c:numRef>
              <c:f>Sheet1!$B$171:$B$172</c:f>
              <c:numCache>
                <c:formatCode>General</c:formatCode>
                <c:ptCount val="2"/>
                <c:pt idx="0">
                  <c:v>0.0813425543160822</c:v>
                </c:pt>
                <c:pt idx="1">
                  <c:v>0.081342554316082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11.5082030868853</c:v>
                </c:pt>
                <c:pt idx="1">
                  <c:v>1211.5082030868853</c:v>
                </c:pt>
              </c:numCache>
            </c:numRef>
          </c:xVal>
          <c:yVal>
            <c:numRef>
              <c:f>Sheet1!$B$175:$B$176</c:f>
              <c:numCache>
                <c:formatCode>General</c:formatCode>
                <c:ptCount val="2"/>
                <c:pt idx="0">
                  <c:v>0.08134255431608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44.1548438555035</c:v>
                </c:pt>
              </c:numCache>
            </c:numRef>
          </c:xVal>
          <c:yVal>
            <c:numRef>
              <c:f>Sheet1!$B$179:$B$180</c:f>
              <c:numCache>
                <c:formatCode>General</c:formatCode>
                <c:ptCount val="2"/>
                <c:pt idx="0">
                  <c:v>0.051840921559773226</c:v>
                </c:pt>
                <c:pt idx="1">
                  <c:v>0.05184092155977322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44.1548438555035</c:v>
                </c:pt>
                <c:pt idx="1">
                  <c:v>1444.1548438555035</c:v>
                </c:pt>
              </c:numCache>
            </c:numRef>
          </c:xVal>
          <c:yVal>
            <c:numRef>
              <c:f>Sheet1!$B$183:$B$184</c:f>
              <c:numCache>
                <c:formatCode>General</c:formatCode>
                <c:ptCount val="2"/>
                <c:pt idx="0">
                  <c:v>0.05184092155977322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19.2886</c:v>
                </c:pt>
                <c:pt idx="1">
                  <c:v>1263.5645</c:v>
                </c:pt>
                <c:pt idx="2">
                  <c:v>1281.9259</c:v>
                </c:pt>
                <c:pt idx="3">
                  <c:v>1309.0512</c:v>
                </c:pt>
                <c:pt idx="4">
                  <c:v>1290.0615</c:v>
                </c:pt>
                <c:pt idx="5">
                  <c:v>1314.8852</c:v>
                </c:pt>
                <c:pt idx="6">
                  <c:v>1291.4897</c:v>
                </c:pt>
                <c:pt idx="7">
                  <c:v>1326.3303</c:v>
                </c:pt>
                <c:pt idx="8">
                  <c:v>1276.5231</c:v>
                </c:pt>
                <c:pt idx="9">
                  <c:v>1313.2295</c:v>
                </c:pt>
                <c:pt idx="10">
                  <c:v>1276.5871</c:v>
                </c:pt>
                <c:pt idx="11">
                  <c:v>1342.375</c:v>
                </c:pt>
                <c:pt idx="12">
                  <c:v>1296.5818</c:v>
                </c:pt>
                <c:pt idx="13">
                  <c:v>1273.2191</c:v>
                </c:pt>
                <c:pt idx="14">
                  <c:v>1313.4497</c:v>
                </c:pt>
                <c:pt idx="15">
                  <c:v>1303.9793</c:v>
                </c:pt>
                <c:pt idx="16">
                  <c:v>1291.664</c:v>
                </c:pt>
                <c:pt idx="17">
                  <c:v>1311.8595</c:v>
                </c:pt>
                <c:pt idx="18">
                  <c:v>1281.1566</c:v>
                </c:pt>
                <c:pt idx="19">
                  <c:v>1346.2574</c:v>
                </c:pt>
                <c:pt idx="20">
                  <c:v>1335.8101</c:v>
                </c:pt>
                <c:pt idx="21">
                  <c:v>1356.1159</c:v>
                </c:pt>
                <c:pt idx="22">
                  <c:v>1338.1923</c:v>
                </c:pt>
                <c:pt idx="23">
                  <c:v>1146.4308</c:v>
                </c:pt>
                <c:pt idx="24">
                  <c:v>1401.1452</c:v>
                </c:pt>
                <c:pt idx="25">
                  <c:v>1383.5385</c:v>
                </c:pt>
                <c:pt idx="26">
                  <c:v>1318.0714</c:v>
                </c:pt>
                <c:pt idx="27">
                  <c:v>1426.2581</c:v>
                </c:pt>
                <c:pt idx="28">
                  <c:v>1348.1159</c:v>
                </c:pt>
                <c:pt idx="29">
                  <c:v>1411.52</c:v>
                </c:pt>
                <c:pt idx="30">
                  <c:v>1397.2909</c:v>
                </c:pt>
                <c:pt idx="31">
                  <c:v>1351.1778</c:v>
                </c:pt>
                <c:pt idx="32">
                  <c:v>1387.2653</c:v>
                </c:pt>
                <c:pt idx="33">
                  <c:v>1349.1746</c:v>
                </c:pt>
                <c:pt idx="34">
                  <c:v>1327.9091</c:v>
                </c:pt>
                <c:pt idx="35">
                  <c:v>1344.1717</c:v>
                </c:pt>
                <c:pt idx="36">
                  <c:v>1336.1739</c:v>
                </c:pt>
                <c:pt idx="37">
                  <c:v>1275.8824</c:v>
                </c:pt>
                <c:pt idx="38">
                  <c:v>1349.4872</c:v>
                </c:pt>
                <c:pt idx="39">
                  <c:v>1290.4359</c:v>
                </c:pt>
                <c:pt idx="40">
                  <c:v>1353.8413</c:v>
                </c:pt>
                <c:pt idx="41">
                  <c:v>1331.8485</c:v>
                </c:pt>
                <c:pt idx="42">
                  <c:v>1344.8167</c:v>
                </c:pt>
                <c:pt idx="43">
                  <c:v>1299.9529</c:v>
                </c:pt>
                <c:pt idx="44">
                  <c:v>1401.8571</c:v>
                </c:pt>
                <c:pt idx="45">
                  <c:v>1371.0552</c:v>
                </c:pt>
                <c:pt idx="46">
                  <c:v>1351.9211</c:v>
                </c:pt>
                <c:pt idx="47">
                  <c:v>1328.0088</c:v>
                </c:pt>
                <c:pt idx="48">
                  <c:v>1348.8413</c:v>
                </c:pt>
                <c:pt idx="49">
                  <c:v>1298.0578</c:v>
                </c:pt>
                <c:pt idx="50">
                  <c:v>1249.4201</c:v>
                </c:pt>
                <c:pt idx="51">
                  <c:v>1304.4702</c:v>
                </c:pt>
                <c:pt idx="52">
                  <c:v>1211.5082030868853</c:v>
                </c:pt>
                <c:pt idx="53">
                  <c:v>-295.49624262831964</c:v>
                </c:pt>
                <c:pt idx="54">
                  <c:v>1444.1548438555035</c:v>
                </c:pt>
              </c:numCache>
            </c:numRef>
          </c:xVal>
          <c:yVal>
            <c:numRef>
              <c:f>Sheet1!$B$187:$B$241</c:f>
              <c:numCache>
                <c:formatCode>General</c:formatCode>
                <c:ptCount val="55"/>
                <c:pt idx="0">
                  <c:v>0.06767505549660713</c:v>
                </c:pt>
                <c:pt idx="1">
                  <c:v>0.07474135969272427</c:v>
                </c:pt>
                <c:pt idx="2">
                  <c:v>0.07241297326985544</c:v>
                </c:pt>
                <c:pt idx="3">
                  <c:v>0.06897324752801418</c:v>
                </c:pt>
                <c:pt idx="4">
                  <c:v>0.07138130789674163</c:v>
                </c:pt>
                <c:pt idx="5">
                  <c:v>0.06823344520406197</c:v>
                </c:pt>
                <c:pt idx="6">
                  <c:v>0.07120019962127563</c:v>
                </c:pt>
                <c:pt idx="7">
                  <c:v>0.06678210622945346</c:v>
                </c:pt>
                <c:pt idx="8">
                  <c:v>0.07309809565515696</c:v>
                </c:pt>
                <c:pt idx="9">
                  <c:v>0.06844340247313424</c:v>
                </c:pt>
                <c:pt idx="10">
                  <c:v>0.07308997989431829</c:v>
                </c:pt>
                <c:pt idx="11">
                  <c:v>0.06474749766806909</c:v>
                </c:pt>
                <c:pt idx="12">
                  <c:v>0.07055447671867071</c:v>
                </c:pt>
                <c:pt idx="13">
                  <c:v>0.07351707180845457</c:v>
                </c:pt>
                <c:pt idx="14">
                  <c:v>0.0684154791834986</c:v>
                </c:pt>
                <c:pt idx="15">
                  <c:v>0.06961640889360443</c:v>
                </c:pt>
                <c:pt idx="16">
                  <c:v>0.07117809685386653</c:v>
                </c:pt>
                <c:pt idx="17">
                  <c:v>0.06861713047858753</c:v>
                </c:pt>
                <c:pt idx="18">
                  <c:v>0.0725105272513118</c:v>
                </c:pt>
                <c:pt idx="19">
                  <c:v>0.0642551753261918</c:v>
                </c:pt>
                <c:pt idx="20">
                  <c:v>0.0655799845169745</c:v>
                </c:pt>
                <c:pt idx="21">
                  <c:v>0.06300503113512507</c:v>
                </c:pt>
                <c:pt idx="22">
                  <c:v>0.06527790068150671</c:v>
                </c:pt>
                <c:pt idx="23">
                  <c:v>0.08959493930758969</c:v>
                </c:pt>
                <c:pt idx="24">
                  <c:v>0.05729492129865907</c:v>
                </c:pt>
                <c:pt idx="25">
                  <c:v>0.05952760514801281</c:v>
                </c:pt>
                <c:pt idx="26">
                  <c:v>0.06782940712305807</c:v>
                </c:pt>
                <c:pt idx="27">
                  <c:v>0.05411038551168951</c:v>
                </c:pt>
                <c:pt idx="28">
                  <c:v>0.06401950123996189</c:v>
                </c:pt>
                <c:pt idx="29">
                  <c:v>0.055979305743201424</c:v>
                </c:pt>
                <c:pt idx="30">
                  <c:v>0.05778368031429312</c:v>
                </c:pt>
                <c:pt idx="31">
                  <c:v>0.0636312254882119</c:v>
                </c:pt>
                <c:pt idx="32">
                  <c:v>0.0590550142496746</c:v>
                </c:pt>
                <c:pt idx="33">
                  <c:v>0.06388524880246302</c:v>
                </c:pt>
                <c:pt idx="34">
                  <c:v>0.06658190055426391</c:v>
                </c:pt>
                <c:pt idx="35">
                  <c:v>0.06451966036339904</c:v>
                </c:pt>
                <c:pt idx="36">
                  <c:v>0.06553385148895702</c:v>
                </c:pt>
                <c:pt idx="37">
                  <c:v>0.0731793420296781</c:v>
                </c:pt>
                <c:pt idx="38">
                  <c:v>0.06384560838311654</c:v>
                </c:pt>
                <c:pt idx="39">
                  <c:v>0.07133383069583529</c:v>
                </c:pt>
                <c:pt idx="40">
                  <c:v>0.06329347034768279</c:v>
                </c:pt>
                <c:pt idx="41">
                  <c:v>0.06608235011288965</c:v>
                </c:pt>
                <c:pt idx="42">
                  <c:v>0.06443786871119658</c:v>
                </c:pt>
                <c:pt idx="43">
                  <c:v>0.0701269916973688</c:v>
                </c:pt>
                <c:pt idx="44">
                  <c:v>0.0572046461402049</c:v>
                </c:pt>
                <c:pt idx="45">
                  <c:v>0.061110596980476495</c:v>
                </c:pt>
                <c:pt idx="46">
                  <c:v>0.06353696853459626</c:v>
                </c:pt>
                <c:pt idx="47">
                  <c:v>0.06656925772058239</c:v>
                </c:pt>
                <c:pt idx="48">
                  <c:v>0.0639275141632058</c:v>
                </c:pt>
                <c:pt idx="49">
                  <c:v>0.0703673069843283</c:v>
                </c:pt>
                <c:pt idx="50">
                  <c:v>0.07653499356158097</c:v>
                </c:pt>
                <c:pt idx="51">
                  <c:v>0.06955415847179638</c:v>
                </c:pt>
                <c:pt idx="52">
                  <c:v>0.0813425543160822</c:v>
                </c:pt>
                <c:pt idx="53">
                  <c:v>0.2724439240703625</c:v>
                </c:pt>
                <c:pt idx="54">
                  <c:v>0.0518409215597732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3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42194092827"/>
          <c:min val="0.0346456692913385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499107199564404</c:v>
                </c:pt>
                <c:pt idx="1">
                  <c:v>0.884845401689326</c:v>
                </c:pt>
                <c:pt idx="2">
                  <c:v>0.8661215984252844</c:v>
                </c:pt>
                <c:pt idx="3">
                  <c:v>0.9216145575252688</c:v>
                </c:pt>
                <c:pt idx="4">
                  <c:v>0.9514335812492855</c:v>
                </c:pt>
                <c:pt idx="5">
                  <c:v>0.9017575799952263</c:v>
                </c:pt>
                <c:pt idx="6">
                  <c:v>0.9154376053445045</c:v>
                </c:pt>
                <c:pt idx="7">
                  <c:v>0.9240476891622724</c:v>
                </c:pt>
                <c:pt idx="8">
                  <c:v>0.9813692660843558</c:v>
                </c:pt>
                <c:pt idx="9">
                  <c:v>0.9756981406421044</c:v>
                </c:pt>
                <c:pt idx="10">
                  <c:v>0.9868087047068497</c:v>
                </c:pt>
                <c:pt idx="11">
                  <c:v>0.9972186411303312</c:v>
                </c:pt>
                <c:pt idx="12">
                  <c:v>0.9788489453193232</c:v>
                </c:pt>
                <c:pt idx="13">
                  <c:v>0.9054757596015659</c:v>
                </c:pt>
                <c:pt idx="14">
                  <c:v>0.9140406254048513</c:v>
                </c:pt>
                <c:pt idx="15">
                  <c:v>0.9625387725626658</c:v>
                </c:pt>
                <c:pt idx="16">
                  <c:v>1.0379779518421817</c:v>
                </c:pt>
                <c:pt idx="17">
                  <c:v>1.002829370010703</c:v>
                </c:pt>
                <c:pt idx="18">
                  <c:v>0.9987051645915065</c:v>
                </c:pt>
                <c:pt idx="19">
                  <c:v>0.979587289664032</c:v>
                </c:pt>
                <c:pt idx="20">
                  <c:v>0.9246580211561265</c:v>
                </c:pt>
                <c:pt idx="21">
                  <c:v>0.9779501260343787</c:v>
                </c:pt>
                <c:pt idx="22">
                  <c:v>0.9586485002768379</c:v>
                </c:pt>
                <c:pt idx="23">
                  <c:v>0.8439411608617078</c:v>
                </c:pt>
                <c:pt idx="24">
                  <c:v>0.8478567010309279</c:v>
                </c:pt>
                <c:pt idx="25">
                  <c:v>0.8989516906858142</c:v>
                </c:pt>
                <c:pt idx="26">
                  <c:v>0.7681314848896973</c:v>
                </c:pt>
                <c:pt idx="27">
                  <c:v>0.6899705015888116</c:v>
                </c:pt>
                <c:pt idx="28">
                  <c:v>0.8243445157514984</c:v>
                </c:pt>
                <c:pt idx="29">
                  <c:v>0.7546593197278912</c:v>
                </c:pt>
                <c:pt idx="30">
                  <c:v>0.6229002765902052</c:v>
                </c:pt>
                <c:pt idx="31">
                  <c:v>0.7499889838293394</c:v>
                </c:pt>
                <c:pt idx="32">
                  <c:v>0.6915391426114283</c:v>
                </c:pt>
                <c:pt idx="33">
                  <c:v>0.6799827113158693</c:v>
                </c:pt>
                <c:pt idx="34">
                  <c:v>0.7226951440618243</c:v>
                </c:pt>
                <c:pt idx="35">
                  <c:v>0.784884404305082</c:v>
                </c:pt>
                <c:pt idx="36">
                  <c:v>0.634029880956177</c:v>
                </c:pt>
                <c:pt idx="37">
                  <c:v>0.6997916183423744</c:v>
                </c:pt>
                <c:pt idx="38">
                  <c:v>0.6913148459793664</c:v>
                </c:pt>
                <c:pt idx="39">
                  <c:v>1.0150985407066053</c:v>
                </c:pt>
                <c:pt idx="40">
                  <c:v>0.9857099947759629</c:v>
                </c:pt>
                <c:pt idx="41">
                  <c:v>0.9101960674359934</c:v>
                </c:pt>
                <c:pt idx="42">
                  <c:v>0.8065176809577312</c:v>
                </c:pt>
                <c:pt idx="43">
                  <c:v>0.8465887350975955</c:v>
                </c:pt>
                <c:pt idx="44">
                  <c:v>0.8862419974048056</c:v>
                </c:pt>
                <c:pt idx="45">
                  <c:v>0.9413896000320354</c:v>
                </c:pt>
                <c:pt idx="46">
                  <c:v>1.0313448878152052</c:v>
                </c:pt>
                <c:pt idx="47">
                  <c:v>1.1497185401711267</c:v>
                </c:pt>
                <c:pt idx="48">
                  <c:v>0.9587506218685915</c:v>
                </c:pt>
                <c:pt idx="49">
                  <c:v>1.062564915042056</c:v>
                </c:pt>
                <c:pt idx="50">
                  <c:v>0.9883129156079364</c:v>
                </c:pt>
                <c:pt idx="51">
                  <c:v>1.017739802655917</c:v>
                </c:pt>
                <c:pt idx="52">
                  <c:v>1.063600771023848</c:v>
                </c:pt>
                <c:pt idx="53">
                  <c:v>0.976374507073756</c:v>
                </c:pt>
                <c:pt idx="54">
                  <c:v>1.0232161279336347</c:v>
                </c:pt>
                <c:pt idx="55">
                  <c:v>1.0189052452544494</c:v>
                </c:pt>
                <c:pt idx="56">
                  <c:v>0.9571314282931522</c:v>
                </c:pt>
                <c:pt idx="57">
                  <c:v>1.0517766741282044</c:v>
                </c:pt>
                <c:pt idx="58">
                  <c:v>1.0246093544541357</c:v>
                </c:pt>
                <c:pt idx="59">
                  <c:v>1.1570023769407949</c:v>
                </c:pt>
                <c:pt idx="60">
                  <c:v>1.0986529700881236</c:v>
                </c:pt>
                <c:pt idx="61">
                  <c:v>1.0363227695878112</c:v>
                </c:pt>
                <c:pt idx="62">
                  <c:v>0.9986249711643981</c:v>
                </c:pt>
                <c:pt idx="63">
                  <c:v>0.9966532585424187</c:v>
                </c:pt>
                <c:pt idx="64">
                  <c:v>0.9700854733870719</c:v>
                </c:pt>
                <c:pt idx="65">
                  <c:v>0.8956909775258854</c:v>
                </c:pt>
                <c:pt idx="66">
                  <c:v>0.9092424727275789</c:v>
                </c:pt>
                <c:pt idx="67">
                  <c:v>0.8920183842112445</c:v>
                </c:pt>
                <c:pt idx="68">
                  <c:v>0.8497218834734676</c:v>
                </c:pt>
                <c:pt idx="69">
                  <c:v>0.8938242345874106</c:v>
                </c:pt>
                <c:pt idx="70">
                  <c:v>0.9016985447834539</c:v>
                </c:pt>
                <c:pt idx="71">
                  <c:v>0.834679396490902</c:v>
                </c:pt>
                <c:pt idx="72">
                  <c:v>0.8406020804663604</c:v>
                </c:pt>
                <c:pt idx="73">
                  <c:v>0.9318901955577641</c:v>
                </c:pt>
                <c:pt idx="74">
                  <c:v>0.8422253407757071</c:v>
                </c:pt>
                <c:pt idx="75">
                  <c:v>0.836107152185968</c:v>
                </c:pt>
                <c:pt idx="76">
                  <c:v>0.83242982474051</c:v>
                </c:pt>
                <c:pt idx="77">
                  <c:v>0.8089378321649294</c:v>
                </c:pt>
                <c:pt idx="78">
                  <c:v>0.8755787736240375</c:v>
                </c:pt>
                <c:pt idx="79">
                  <c:v>0.9080620602714906</c:v>
                </c:pt>
                <c:pt idx="80">
                  <c:v>0.9454507799495341</c:v>
                </c:pt>
                <c:pt idx="81">
                  <c:v>0.8604845943833732</c:v>
                </c:pt>
                <c:pt idx="82">
                  <c:v>0.9614192787071312</c:v>
                </c:pt>
                <c:pt idx="83">
                  <c:v>0.9256046770978963</c:v>
                </c:pt>
                <c:pt idx="84">
                  <c:v>0.9421100620010536</c:v>
                </c:pt>
                <c:pt idx="85">
                  <c:v>1.0006367474457487</c:v>
                </c:pt>
                <c:pt idx="86">
                  <c:v>0.9724729907248916</c:v>
                </c:pt>
                <c:pt idx="87">
                  <c:v>1.047075446590316</c:v>
                </c:pt>
                <c:pt idx="88">
                  <c:v>1.0621913105054128</c:v>
                </c:pt>
                <c:pt idx="89">
                  <c:v>0.9643255599923741</c:v>
                </c:pt>
                <c:pt idx="90">
                  <c:v>0.7625747011952191</c:v>
                </c:pt>
                <c:pt idx="91">
                  <c:v>0.6269411214362475</c:v>
                </c:pt>
                <c:pt idx="92">
                  <c:v>0.7309570917070918</c:v>
                </c:pt>
                <c:pt idx="93">
                  <c:v>0.66701502900971</c:v>
                </c:pt>
                <c:pt idx="94">
                  <c:v>0.5580015178992315</c:v>
                </c:pt>
                <c:pt idx="95">
                  <c:v>0.7409223099435144</c:v>
                </c:pt>
                <c:pt idx="96">
                  <c:v>0.8305084424463531</c:v>
                </c:pt>
                <c:pt idx="97">
                  <c:v>0.9983724060685932</c:v>
                </c:pt>
                <c:pt idx="98">
                  <c:v>0.9202169793833035</c:v>
                </c:pt>
                <c:pt idx="99">
                  <c:v>0.9526716454440732</c:v>
                </c:pt>
                <c:pt idx="100">
                  <c:v>1.0158865917616742</c:v>
                </c:pt>
                <c:pt idx="101">
                  <c:v>1.0788338641274178</c:v>
                </c:pt>
                <c:pt idx="102">
                  <c:v>1.1279013432828353</c:v>
                </c:pt>
                <c:pt idx="103">
                  <c:v>1.0832393772764948</c:v>
                </c:pt>
                <c:pt idx="104">
                  <c:v>1.1004482501900132</c:v>
                </c:pt>
              </c:numCache>
            </c:numRef>
          </c:xVal>
          <c:yVal>
            <c:numRef>
              <c:f>Sheet1!$B$2:$B$106</c:f>
              <c:numCache>
                <c:formatCode>General</c:formatCode>
                <c:ptCount val="105"/>
                <c:pt idx="0">
                  <c:v>0.4159103043246129</c:v>
                </c:pt>
                <c:pt idx="1">
                  <c:v>0.4170182841068917</c:v>
                </c:pt>
                <c:pt idx="2">
                  <c:v>0.3423076923076923</c:v>
                </c:pt>
                <c:pt idx="3">
                  <c:v>0.3123359580052493</c:v>
                </c:pt>
                <c:pt idx="4">
                  <c:v>0.2618510158013544</c:v>
                </c:pt>
                <c:pt idx="5">
                  <c:v>0.20043103448275862</c:v>
                </c:pt>
                <c:pt idx="6">
                  <c:v>0.18662613981762918</c:v>
                </c:pt>
                <c:pt idx="7">
                  <c:v>0.16191799861014594</c:v>
                </c:pt>
                <c:pt idx="8">
                  <c:v>0.15359688917692807</c:v>
                </c:pt>
                <c:pt idx="9">
                  <c:v>0.1367335865436788</c:v>
                </c:pt>
                <c:pt idx="10">
                  <c:v>0.14606741573033707</c:v>
                </c:pt>
                <c:pt idx="11">
                  <c:v>0.14337733272644515</c:v>
                </c:pt>
                <c:pt idx="12">
                  <c:v>0.17135549872122763</c:v>
                </c:pt>
                <c:pt idx="13">
                  <c:v>0.16840536512667661</c:v>
                </c:pt>
                <c:pt idx="14">
                  <c:v>0.22965641952983726</c:v>
                </c:pt>
                <c:pt idx="15">
                  <c:v>0.2309899569583931</c:v>
                </c:pt>
                <c:pt idx="16">
                  <c:v>0.2247992863514719</c:v>
                </c:pt>
                <c:pt idx="17">
                  <c:v>0.2255406797116375</c:v>
                </c:pt>
                <c:pt idx="18">
                  <c:v>0.19134396355353075</c:v>
                </c:pt>
                <c:pt idx="19">
                  <c:v>0.2180028129395218</c:v>
                </c:pt>
                <c:pt idx="20">
                  <c:v>0.21298405466970388</c:v>
                </c:pt>
                <c:pt idx="21">
                  <c:v>0.18695106649937265</c:v>
                </c:pt>
                <c:pt idx="22">
                  <c:v>0.1871345029239766</c:v>
                </c:pt>
                <c:pt idx="23">
                  <c:v>0.1562043795620438</c:v>
                </c:pt>
                <c:pt idx="24">
                  <c:v>0.17479674796747968</c:v>
                </c:pt>
                <c:pt idx="25">
                  <c:v>0.16047548291233285</c:v>
                </c:pt>
                <c:pt idx="26">
                  <c:v>0.17044100119189512</c:v>
                </c:pt>
                <c:pt idx="27">
                  <c:v>0.1728538283062645</c:v>
                </c:pt>
                <c:pt idx="28">
                  <c:v>0.17386231038506417</c:v>
                </c:pt>
                <c:pt idx="29">
                  <c:v>0.19728601252609604</c:v>
                </c:pt>
                <c:pt idx="30">
                  <c:v>0.19230769230769232</c:v>
                </c:pt>
                <c:pt idx="31">
                  <c:v>0.17385257301808066</c:v>
                </c:pt>
                <c:pt idx="32">
                  <c:v>0.1716514954486346</c:v>
                </c:pt>
                <c:pt idx="33">
                  <c:v>0.19536423841059603</c:v>
                </c:pt>
                <c:pt idx="34">
                  <c:v>0.19821826280623608</c:v>
                </c:pt>
                <c:pt idx="35">
                  <c:v>0.21199671322925226</c:v>
                </c:pt>
                <c:pt idx="36">
                  <c:v>0.19616788321167883</c:v>
                </c:pt>
                <c:pt idx="37">
                  <c:v>0.16517857142857142</c:v>
                </c:pt>
                <c:pt idx="38">
                  <c:v>0.17167381974248927</c:v>
                </c:pt>
                <c:pt idx="39">
                  <c:v>0.14925373134328357</c:v>
                </c:pt>
                <c:pt idx="40">
                  <c:v>0.13821138211382114</c:v>
                </c:pt>
                <c:pt idx="41">
                  <c:v>0.11771177117711772</c:v>
                </c:pt>
                <c:pt idx="42">
                  <c:v>0.1311329170383586</c:v>
                </c:pt>
                <c:pt idx="43">
                  <c:v>0.13452188006482982</c:v>
                </c:pt>
                <c:pt idx="44">
                  <c:v>0.1653250773993808</c:v>
                </c:pt>
                <c:pt idx="45">
                  <c:v>0.1727325245522819</c:v>
                </c:pt>
                <c:pt idx="46">
                  <c:v>0.16136495083863506</c:v>
                </c:pt>
                <c:pt idx="47">
                  <c:v>0.16250760803408398</c:v>
                </c:pt>
                <c:pt idx="48">
                  <c:v>0.15188762071992976</c:v>
                </c:pt>
                <c:pt idx="49">
                  <c:v>0.1820123398196488</c:v>
                </c:pt>
                <c:pt idx="50">
                  <c:v>0.17026055705300988</c:v>
                </c:pt>
                <c:pt idx="51">
                  <c:v>0.1703011422637591</c:v>
                </c:pt>
                <c:pt idx="52">
                  <c:v>0.17587939698492464</c:v>
                </c:pt>
                <c:pt idx="53">
                  <c:v>0.163943661971831</c:v>
                </c:pt>
                <c:pt idx="54">
                  <c:v>0.13448894202032277</c:v>
                </c:pt>
                <c:pt idx="55">
                  <c:v>0.14567430025445294</c:v>
                </c:pt>
                <c:pt idx="56">
                  <c:v>0.1460880195599022</c:v>
                </c:pt>
                <c:pt idx="57">
                  <c:v>0.13729977116704806</c:v>
                </c:pt>
                <c:pt idx="58">
                  <c:v>0.1330603889457523</c:v>
                </c:pt>
                <c:pt idx="59">
                  <c:v>0.14317817014446227</c:v>
                </c:pt>
                <c:pt idx="60">
                  <c:v>0.13189448441247004</c:v>
                </c:pt>
                <c:pt idx="61">
                  <c:v>0.15085995085995085</c:v>
                </c:pt>
                <c:pt idx="62">
                  <c:v>0.14637985309548793</c:v>
                </c:pt>
                <c:pt idx="63">
                  <c:v>0.15098374679213003</c:v>
                </c:pt>
                <c:pt idx="64">
                  <c:v>0.16324822101297615</c:v>
                </c:pt>
                <c:pt idx="65">
                  <c:v>0.18778280542986425</c:v>
                </c:pt>
                <c:pt idx="66">
                  <c:v>0.19336219336219337</c:v>
                </c:pt>
                <c:pt idx="67">
                  <c:v>0.16715976331360946</c:v>
                </c:pt>
                <c:pt idx="68">
                  <c:v>0.16890080428954424</c:v>
                </c:pt>
                <c:pt idx="69">
                  <c:v>0.14823914823914824</c:v>
                </c:pt>
                <c:pt idx="70">
                  <c:v>0.11272727272727273</c:v>
                </c:pt>
                <c:pt idx="71">
                  <c:v>0.1572700296735905</c:v>
                </c:pt>
                <c:pt idx="72">
                  <c:v>0.14336158192090395</c:v>
                </c:pt>
                <c:pt idx="73">
                  <c:v>0.11970802919708029</c:v>
                </c:pt>
                <c:pt idx="74">
                  <c:v>0.10655737704918032</c:v>
                </c:pt>
                <c:pt idx="75">
                  <c:v>0.1028770706190061</c:v>
                </c:pt>
                <c:pt idx="76">
                  <c:v>0.1027592768791627</c:v>
                </c:pt>
                <c:pt idx="77">
                  <c:v>0.11012782694198624</c:v>
                </c:pt>
                <c:pt idx="78">
                  <c:v>0.12174817898022892</c:v>
                </c:pt>
                <c:pt idx="79">
                  <c:v>0.10392364793213149</c:v>
                </c:pt>
                <c:pt idx="80">
                  <c:v>0.09378292939936776</c:v>
                </c:pt>
                <c:pt idx="81">
                  <c:v>0.10044444444444445</c:v>
                </c:pt>
                <c:pt idx="82">
                  <c:v>0.11255924170616113</c:v>
                </c:pt>
                <c:pt idx="83">
                  <c:v>0.10879284649776454</c:v>
                </c:pt>
                <c:pt idx="84">
                  <c:v>0.1056547619047619</c:v>
                </c:pt>
                <c:pt idx="85">
                  <c:v>0.10787172011661808</c:v>
                </c:pt>
                <c:pt idx="86">
                  <c:v>0.1056563500533618</c:v>
                </c:pt>
                <c:pt idx="87">
                  <c:v>0.13838862559241707</c:v>
                </c:pt>
                <c:pt idx="88">
                  <c:v>0.12777777777777777</c:v>
                </c:pt>
                <c:pt idx="89">
                  <c:v>0.09336609336609336</c:v>
                </c:pt>
                <c:pt idx="90">
                  <c:v>0.08080808080808081</c:v>
                </c:pt>
                <c:pt idx="91">
                  <c:v>0.09739524348810873</c:v>
                </c:pt>
                <c:pt idx="92">
                  <c:v>0.08775313404050145</c:v>
                </c:pt>
                <c:pt idx="93">
                  <c:v>0.07912457912457913</c:v>
                </c:pt>
                <c:pt idx="94">
                  <c:v>0.08449197860962566</c:v>
                </c:pt>
                <c:pt idx="95">
                  <c:v>0.09365781710914454</c:v>
                </c:pt>
                <c:pt idx="96">
                  <c:v>0.08994708994708994</c:v>
                </c:pt>
                <c:pt idx="97">
                  <c:v>0.09814722083124687</c:v>
                </c:pt>
                <c:pt idx="98">
                  <c:v>0.11115702479338843</c:v>
                </c:pt>
                <c:pt idx="99">
                  <c:v>0.10626702997275204</c:v>
                </c:pt>
                <c:pt idx="100">
                  <c:v>0.1114792899408284</c:v>
                </c:pt>
                <c:pt idx="101">
                  <c:v>0.09066967644845748</c:v>
                </c:pt>
                <c:pt idx="102">
                  <c:v>0.0970464135021097</c:v>
                </c:pt>
                <c:pt idx="103">
                  <c:v>0.08458114123836503</c:v>
                </c:pt>
                <c:pt idx="104">
                  <c:v>0.0985849056603773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31568221467818</c:v>
                </c:pt>
                <c:pt idx="1">
                  <c:v>1.0768169773027771</c:v>
                </c:pt>
                <c:pt idx="2">
                  <c:v>1.0741284477159123</c:v>
                </c:pt>
                <c:pt idx="3">
                  <c:v>1.1253087600957912</c:v>
                </c:pt>
                <c:pt idx="4">
                  <c:v>1.1625007569411505</c:v>
                </c:pt>
                <c:pt idx="5">
                  <c:v>1.2644646712345233</c:v>
                </c:pt>
                <c:pt idx="6">
                  <c:v>1.2032146537155082</c:v>
                </c:pt>
                <c:pt idx="7">
                  <c:v>1.177267094969191</c:v>
                </c:pt>
                <c:pt idx="8">
                  <c:v>1.1094398981263192</c:v>
                </c:pt>
                <c:pt idx="9">
                  <c:v>1.11078654219122</c:v>
                </c:pt>
                <c:pt idx="10">
                  <c:v>1.0916854901508724</c:v>
                </c:pt>
                <c:pt idx="11">
                  <c:v>1.1772024329537227</c:v>
                </c:pt>
                <c:pt idx="12">
                  <c:v>1.1550960486626007</c:v>
                </c:pt>
                <c:pt idx="13">
                  <c:v>1.1468947246246368</c:v>
                </c:pt>
                <c:pt idx="14">
                  <c:v>1.1885123327694131</c:v>
                </c:pt>
                <c:pt idx="15">
                  <c:v>1.1161909925552131</c:v>
                </c:pt>
                <c:pt idx="16">
                  <c:v>1.0496681511307469</c:v>
                </c:pt>
                <c:pt idx="17">
                  <c:v>1.055660596450959</c:v>
                </c:pt>
                <c:pt idx="18">
                  <c:v>1.0552623851533425</c:v>
                </c:pt>
                <c:pt idx="19">
                  <c:v>1.103911601622817</c:v>
                </c:pt>
                <c:pt idx="20">
                  <c:v>1.1235418164164384</c:v>
                </c:pt>
                <c:pt idx="21">
                  <c:v>1.108193960842747</c:v>
                </c:pt>
                <c:pt idx="22">
                  <c:v>1.092277848286778</c:v>
                </c:pt>
                <c:pt idx="23">
                  <c:v>0.8838682041736209</c:v>
                </c:pt>
                <c:pt idx="24">
                  <c:v>1.0676620319747263</c:v>
                </c:pt>
                <c:pt idx="25">
                  <c:v>1.0759312592765868</c:v>
                </c:pt>
                <c:pt idx="26">
                  <c:v>0.9994749628401993</c:v>
                </c:pt>
                <c:pt idx="27">
                  <c:v>1.1070248897366781</c:v>
                </c:pt>
                <c:pt idx="28">
                  <c:v>1.104158576956963</c:v>
                </c:pt>
                <c:pt idx="29">
                  <c:v>1.1335971261732343</c:v>
                </c:pt>
                <c:pt idx="30">
                  <c:v>1.1154488719068705</c:v>
                </c:pt>
                <c:pt idx="31">
                  <c:v>1.16350452079566</c:v>
                </c:pt>
                <c:pt idx="32">
                  <c:v>1.1789762698001665</c:v>
                </c:pt>
                <c:pt idx="33">
                  <c:v>1.1112821061515137</c:v>
                </c:pt>
                <c:pt idx="34">
                  <c:v>1.1767909072500333</c:v>
                </c:pt>
                <c:pt idx="35">
                  <c:v>1.0680130970624413</c:v>
                </c:pt>
                <c:pt idx="36">
                  <c:v>0.9736769081328605</c:v>
                </c:pt>
                <c:pt idx="37">
                  <c:v>0.8725355608110076</c:v>
                </c:pt>
                <c:pt idx="38">
                  <c:v>1.0525789833667543</c:v>
                </c:pt>
                <c:pt idx="39">
                  <c:v>0.9746831876812657</c:v>
                </c:pt>
                <c:pt idx="40">
                  <c:v>1.0021714285629688</c:v>
                </c:pt>
                <c:pt idx="41">
                  <c:v>0.9849929752101871</c:v>
                </c:pt>
                <c:pt idx="42">
                  <c:v>1.0259306707426714</c:v>
                </c:pt>
                <c:pt idx="43">
                  <c:v>1.0324976100785586</c:v>
                </c:pt>
                <c:pt idx="44">
                  <c:v>1.1112640950514614</c:v>
                </c:pt>
                <c:pt idx="45">
                  <c:v>1.104210391691389</c:v>
                </c:pt>
                <c:pt idx="46">
                  <c:v>1.1158917960905685</c:v>
                </c:pt>
                <c:pt idx="47">
                  <c:v>1.0548691140897728</c:v>
                </c:pt>
                <c:pt idx="48">
                  <c:v>1.0902293129502474</c:v>
                </c:pt>
                <c:pt idx="49">
                  <c:v>1.095437377359516</c:v>
                </c:pt>
                <c:pt idx="50">
                  <c:v>1.0979177683892996</c:v>
                </c:pt>
                <c:pt idx="51">
                  <c:v>0.9952509917069169</c:v>
                </c:pt>
              </c:numCache>
            </c:numRef>
          </c:xVal>
          <c:yVal>
            <c:numRef>
              <c:f>Sheet1!$B$109:$B$160</c:f>
              <c:numCache>
                <c:formatCode>General</c:formatCode>
                <c:ptCount val="52"/>
                <c:pt idx="0">
                  <c:v>0.0881578947368421</c:v>
                </c:pt>
                <c:pt idx="1">
                  <c:v>0.08296164139161463</c:v>
                </c:pt>
                <c:pt idx="2">
                  <c:v>0.07723743359215365</c:v>
                </c:pt>
                <c:pt idx="3">
                  <c:v>0.07948243992606285</c:v>
                </c:pt>
                <c:pt idx="4">
                  <c:v>0.08111480865224625</c:v>
                </c:pt>
                <c:pt idx="5">
                  <c:v>0.0782051282051282</c:v>
                </c:pt>
                <c:pt idx="6">
                  <c:v>0.06901475487862922</c:v>
                </c:pt>
                <c:pt idx="7">
                  <c:v>0.07491408934707904</c:v>
                </c:pt>
                <c:pt idx="8">
                  <c:v>0.08801624915368991</c:v>
                </c:pt>
                <c:pt idx="9">
                  <c:v>0.07922077922077922</c:v>
                </c:pt>
                <c:pt idx="10">
                  <c:v>0.09314903846153846</c:v>
                </c:pt>
                <c:pt idx="11">
                  <c:v>0.10969637610186092</c:v>
                </c:pt>
                <c:pt idx="12">
                  <c:v>0.10726474890297416</c:v>
                </c:pt>
                <c:pt idx="13">
                  <c:v>0.08725490196078431</c:v>
                </c:pt>
                <c:pt idx="14">
                  <c:v>0.09056806002143623</c:v>
                </c:pt>
                <c:pt idx="15">
                  <c:v>0.08123249299719888</c:v>
                </c:pt>
                <c:pt idx="16">
                  <c:v>0.07754342431761786</c:v>
                </c:pt>
                <c:pt idx="17">
                  <c:v>0.08170155300472653</c:v>
                </c:pt>
                <c:pt idx="18">
                  <c:v>0.06474258970358815</c:v>
                </c:pt>
                <c:pt idx="19">
                  <c:v>0.06457800511508952</c:v>
                </c:pt>
                <c:pt idx="20">
                  <c:v>0.05667144906743185</c:v>
                </c:pt>
                <c:pt idx="21">
                  <c:v>0.06382978723404255</c:v>
                </c:pt>
                <c:pt idx="22">
                  <c:v>0.07536231884057971</c:v>
                </c:pt>
                <c:pt idx="23">
                  <c:v>0.06673511293634497</c:v>
                </c:pt>
                <c:pt idx="24">
                  <c:v>0.06084396467124632</c:v>
                </c:pt>
                <c:pt idx="25">
                  <c:v>0.06907545164718384</c:v>
                </c:pt>
                <c:pt idx="26">
                  <c:v>0.05894736842105263</c:v>
                </c:pt>
                <c:pt idx="27">
                  <c:v>0.055705300988319856</c:v>
                </c:pt>
                <c:pt idx="28">
                  <c:v>0.05745212323064113</c:v>
                </c:pt>
                <c:pt idx="29">
                  <c:v>0.04926108374384237</c:v>
                </c:pt>
                <c:pt idx="30">
                  <c:v>0.0560081466395112</c:v>
                </c:pt>
                <c:pt idx="31">
                  <c:v>0.05610972568578554</c:v>
                </c:pt>
                <c:pt idx="32">
                  <c:v>0.05511811023622047</c:v>
                </c:pt>
                <c:pt idx="33">
                  <c:v>0.06555671175858481</c:v>
                </c:pt>
                <c:pt idx="34">
                  <c:v>0.08052708638360176</c:v>
                </c:pt>
                <c:pt idx="35">
                  <c:v>0.07393577296489919</c:v>
                </c:pt>
                <c:pt idx="36">
                  <c:v>0.05589307411907655</c:v>
                </c:pt>
                <c:pt idx="37">
                  <c:v>0.05301455301455302</c:v>
                </c:pt>
                <c:pt idx="38">
                  <c:v>0.043721973094170405</c:v>
                </c:pt>
                <c:pt idx="39">
                  <c:v>0.06037151702786378</c:v>
                </c:pt>
                <c:pt idx="40">
                  <c:v>0.045323741007194246</c:v>
                </c:pt>
                <c:pt idx="41">
                  <c:v>0.04330708661417323</c:v>
                </c:pt>
                <c:pt idx="42">
                  <c:v>0.04447739065974796</c:v>
                </c:pt>
                <c:pt idx="43">
                  <c:v>0.0456989247311828</c:v>
                </c:pt>
                <c:pt idx="44">
                  <c:v>0.04948162111215834</c:v>
                </c:pt>
                <c:pt idx="45">
                  <c:v>0.05600617999227501</c:v>
                </c:pt>
                <c:pt idx="46">
                  <c:v>0.05517909002904162</c:v>
                </c:pt>
                <c:pt idx="47">
                  <c:v>0.05315145813734713</c:v>
                </c:pt>
                <c:pt idx="48">
                  <c:v>0.04713804713804714</c:v>
                </c:pt>
                <c:pt idx="49">
                  <c:v>0.05741785595751742</c:v>
                </c:pt>
                <c:pt idx="50">
                  <c:v>0.06280763929907462</c:v>
                </c:pt>
                <c:pt idx="51">
                  <c:v>0.0535714285714285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2295560940158117</c:v>
                </c:pt>
              </c:numCache>
            </c:numRef>
          </c:xVal>
          <c:yVal>
            <c:numRef>
              <c:f>Sheet1!$B$163:$B$164</c:f>
              <c:numCache>
                <c:formatCode>General</c:formatCode>
                <c:ptCount val="2"/>
                <c:pt idx="0">
                  <c:v>0.2724439240703625</c:v>
                </c:pt>
                <c:pt idx="1">
                  <c:v>0.272443924070362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2295560940158117</c:v>
                </c:pt>
                <c:pt idx="1">
                  <c:v>3.2295560940158117</c:v>
                </c:pt>
              </c:numCache>
            </c:numRef>
          </c:xVal>
          <c:yVal>
            <c:numRef>
              <c:f>Sheet1!$B$167:$B$168</c:f>
              <c:numCache>
                <c:formatCode>General</c:formatCode>
                <c:ptCount val="2"/>
                <c:pt idx="0">
                  <c:v>0.27244392407036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239224496947937</c:v>
                </c:pt>
              </c:numCache>
            </c:numRef>
          </c:xVal>
          <c:yVal>
            <c:numRef>
              <c:f>Sheet1!$B$171:$B$172</c:f>
              <c:numCache>
                <c:formatCode>General</c:formatCode>
                <c:ptCount val="2"/>
                <c:pt idx="0">
                  <c:v>0.0813425543160822</c:v>
                </c:pt>
                <c:pt idx="1">
                  <c:v>0.081342554316082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239224496947937</c:v>
                </c:pt>
                <c:pt idx="1">
                  <c:v>1.239224496947937</c:v>
                </c:pt>
              </c:numCache>
            </c:numRef>
          </c:xVal>
          <c:yVal>
            <c:numRef>
              <c:f>Sheet1!$B$175:$B$176</c:f>
              <c:numCache>
                <c:formatCode>General</c:formatCode>
                <c:ptCount val="2"/>
                <c:pt idx="0">
                  <c:v>0.08134255431608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319633197231243</c:v>
                </c:pt>
              </c:numCache>
            </c:numRef>
          </c:xVal>
          <c:yVal>
            <c:numRef>
              <c:f>Sheet1!$B$179:$B$180</c:f>
              <c:numCache>
                <c:formatCode>General</c:formatCode>
                <c:ptCount val="2"/>
                <c:pt idx="0">
                  <c:v>0.051840921559773226</c:v>
                </c:pt>
                <c:pt idx="1">
                  <c:v>0.05184092155977322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319633197231243</c:v>
                </c:pt>
                <c:pt idx="1">
                  <c:v>0.9319633197231243</c:v>
                </c:pt>
              </c:numCache>
            </c:numRef>
          </c:xVal>
          <c:yVal>
            <c:numRef>
              <c:f>Sheet1!$B$183:$B$184</c:f>
              <c:numCache>
                <c:formatCode>General</c:formatCode>
                <c:ptCount val="2"/>
                <c:pt idx="0">
                  <c:v>0.05184092155977322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31568221467818</c:v>
                </c:pt>
                <c:pt idx="1">
                  <c:v>1.0768169773027771</c:v>
                </c:pt>
                <c:pt idx="2">
                  <c:v>1.0741284477159123</c:v>
                </c:pt>
                <c:pt idx="3">
                  <c:v>1.1253087600957912</c:v>
                </c:pt>
                <c:pt idx="4">
                  <c:v>1.1625007569411505</c:v>
                </c:pt>
                <c:pt idx="5">
                  <c:v>1.2644646712345233</c:v>
                </c:pt>
                <c:pt idx="6">
                  <c:v>1.2032146537155082</c:v>
                </c:pt>
                <c:pt idx="7">
                  <c:v>1.177267094969191</c:v>
                </c:pt>
                <c:pt idx="8">
                  <c:v>1.1094398981263192</c:v>
                </c:pt>
                <c:pt idx="9">
                  <c:v>1.11078654219122</c:v>
                </c:pt>
                <c:pt idx="10">
                  <c:v>1.0916854901508724</c:v>
                </c:pt>
                <c:pt idx="11">
                  <c:v>1.1772024329537227</c:v>
                </c:pt>
                <c:pt idx="12">
                  <c:v>1.1550960486626007</c:v>
                </c:pt>
                <c:pt idx="13">
                  <c:v>1.1468947246246368</c:v>
                </c:pt>
                <c:pt idx="14">
                  <c:v>1.1885123327694131</c:v>
                </c:pt>
                <c:pt idx="15">
                  <c:v>1.1161909925552131</c:v>
                </c:pt>
                <c:pt idx="16">
                  <c:v>1.0496681511307469</c:v>
                </c:pt>
                <c:pt idx="17">
                  <c:v>1.055660596450959</c:v>
                </c:pt>
                <c:pt idx="18">
                  <c:v>1.0552623851533425</c:v>
                </c:pt>
                <c:pt idx="19">
                  <c:v>1.103911601622817</c:v>
                </c:pt>
                <c:pt idx="20">
                  <c:v>1.1235418164164384</c:v>
                </c:pt>
                <c:pt idx="21">
                  <c:v>1.108193960842747</c:v>
                </c:pt>
                <c:pt idx="22">
                  <c:v>1.092277848286778</c:v>
                </c:pt>
                <c:pt idx="23">
                  <c:v>0.8838682041736209</c:v>
                </c:pt>
                <c:pt idx="24">
                  <c:v>1.0676620319747263</c:v>
                </c:pt>
                <c:pt idx="25">
                  <c:v>1.0759312592765868</c:v>
                </c:pt>
                <c:pt idx="26">
                  <c:v>0.9994749628401993</c:v>
                </c:pt>
                <c:pt idx="27">
                  <c:v>1.1070248897366781</c:v>
                </c:pt>
                <c:pt idx="28">
                  <c:v>1.104158576956963</c:v>
                </c:pt>
                <c:pt idx="29">
                  <c:v>1.1335971261732343</c:v>
                </c:pt>
                <c:pt idx="30">
                  <c:v>1.1154488719068705</c:v>
                </c:pt>
                <c:pt idx="31">
                  <c:v>1.16350452079566</c:v>
                </c:pt>
                <c:pt idx="32">
                  <c:v>1.1789762698001665</c:v>
                </c:pt>
                <c:pt idx="33">
                  <c:v>1.1112821061515137</c:v>
                </c:pt>
                <c:pt idx="34">
                  <c:v>1.1767909072500333</c:v>
                </c:pt>
                <c:pt idx="35">
                  <c:v>1.0680130970624413</c:v>
                </c:pt>
                <c:pt idx="36">
                  <c:v>0.9736769081328605</c:v>
                </c:pt>
                <c:pt idx="37">
                  <c:v>0.8725355608110076</c:v>
                </c:pt>
                <c:pt idx="38">
                  <c:v>1.0525789833667543</c:v>
                </c:pt>
                <c:pt idx="39">
                  <c:v>0.9746831876812657</c:v>
                </c:pt>
                <c:pt idx="40">
                  <c:v>1.0021714285629688</c:v>
                </c:pt>
                <c:pt idx="41">
                  <c:v>0.9849929752101871</c:v>
                </c:pt>
                <c:pt idx="42">
                  <c:v>1.0259306707426714</c:v>
                </c:pt>
                <c:pt idx="43">
                  <c:v>1.0324976100785586</c:v>
                </c:pt>
                <c:pt idx="44">
                  <c:v>1.1112640950514614</c:v>
                </c:pt>
                <c:pt idx="45">
                  <c:v>1.104210391691389</c:v>
                </c:pt>
                <c:pt idx="46">
                  <c:v>1.1158917960905685</c:v>
                </c:pt>
                <c:pt idx="47">
                  <c:v>1.0548691140897728</c:v>
                </c:pt>
                <c:pt idx="48">
                  <c:v>1.0902293129502474</c:v>
                </c:pt>
                <c:pt idx="49">
                  <c:v>1.095437377359516</c:v>
                </c:pt>
                <c:pt idx="50">
                  <c:v>1.0979177683892996</c:v>
                </c:pt>
                <c:pt idx="51">
                  <c:v>0.9952509917069169</c:v>
                </c:pt>
                <c:pt idx="52">
                  <c:v>1.239224496947937</c:v>
                </c:pt>
                <c:pt idx="53">
                  <c:v>3.2295560940158117</c:v>
                </c:pt>
                <c:pt idx="54">
                  <c:v>0.9319633197231243</c:v>
                </c:pt>
              </c:numCache>
            </c:numRef>
          </c:xVal>
          <c:yVal>
            <c:numRef>
              <c:f>Sheet1!$B$187:$B$241</c:f>
              <c:numCache>
                <c:formatCode>General</c:formatCode>
                <c:ptCount val="55"/>
                <c:pt idx="0">
                  <c:v>0.07100595425546766</c:v>
                </c:pt>
                <c:pt idx="1">
                  <c:v>0.0657490223095023</c:v>
                </c:pt>
                <c:pt idx="2">
                  <c:v>0.06549088357149921</c:v>
                </c:pt>
                <c:pt idx="3">
                  <c:v>0.07040495307361405</c:v>
                </c:pt>
                <c:pt idx="4">
                  <c:v>0.07397593669841085</c:v>
                </c:pt>
                <c:pt idx="5">
                  <c:v>0.08376598561070125</c:v>
                </c:pt>
                <c:pt idx="6">
                  <c:v>0.07788507498123579</c:v>
                </c:pt>
                <c:pt idx="7">
                  <c:v>0.07539372428092744</c:v>
                </c:pt>
                <c:pt idx="8">
                  <c:v>0.06888130683131191</c:v>
                </c:pt>
                <c:pt idx="9">
                  <c:v>0.0690106046456827</c:v>
                </c:pt>
                <c:pt idx="10">
                  <c:v>0.06717662019101409</c:v>
                </c:pt>
                <c:pt idx="11">
                  <c:v>0.07538751576786096</c:v>
                </c:pt>
                <c:pt idx="12">
                  <c:v>0.07326497481811595</c:v>
                </c:pt>
                <c:pt idx="13">
                  <c:v>0.0724775260031735</c:v>
                </c:pt>
                <c:pt idx="14">
                  <c:v>0.07647343398859671</c:v>
                </c:pt>
                <c:pt idx="15">
                  <c:v>0.06952951208243827</c:v>
                </c:pt>
                <c:pt idx="16">
                  <c:v>0.06314233210956827</c:v>
                </c:pt>
                <c:pt idx="17">
                  <c:v>0.06371769578794087</c:v>
                </c:pt>
                <c:pt idx="18">
                  <c:v>0.06367946159393106</c:v>
                </c:pt>
                <c:pt idx="19">
                  <c:v>0.06835050832729206</c:v>
                </c:pt>
                <c:pt idx="20">
                  <c:v>0.07023530025902758</c:v>
                </c:pt>
                <c:pt idx="21">
                  <c:v>0.06876167836243297</c:v>
                </c:pt>
                <c:pt idx="22">
                  <c:v>0.06723349536263046</c:v>
                </c:pt>
                <c:pt idx="23">
                  <c:v>0.04722307673756341</c:v>
                </c:pt>
                <c:pt idx="24">
                  <c:v>0.06487001169901235</c:v>
                </c:pt>
                <c:pt idx="25">
                  <c:v>0.06566398023497039</c:v>
                </c:pt>
                <c:pt idx="26">
                  <c:v>0.058323041168908484</c:v>
                </c:pt>
                <c:pt idx="27">
                  <c:v>0.06864943018728517</c:v>
                </c:pt>
                <c:pt idx="28">
                  <c:v>0.06837422162447349</c:v>
                </c:pt>
                <c:pt idx="29">
                  <c:v>0.07120075921604666</c:v>
                </c:pt>
                <c:pt idx="30">
                  <c:v>0.0694582574871587</c:v>
                </c:pt>
                <c:pt idx="31">
                  <c:v>0.07407231292425642</c:v>
                </c:pt>
                <c:pt idx="32">
                  <c:v>0.07555783042878247</c:v>
                </c:pt>
                <c:pt idx="33">
                  <c:v>0.06905818614001888</c:v>
                </c:pt>
                <c:pt idx="34">
                  <c:v>0.07534800319328294</c:v>
                </c:pt>
                <c:pt idx="35">
                  <c:v>0.06490371915722387</c:v>
                </c:pt>
                <c:pt idx="36">
                  <c:v>0.05584604507497561</c:v>
                </c:pt>
                <c:pt idx="37">
                  <c:v>0.046134974798809784</c:v>
                </c:pt>
                <c:pt idx="38">
                  <c:v>0.06342181520085086</c:v>
                </c:pt>
                <c:pt idx="39">
                  <c:v>0.055942662844767975</c:v>
                </c:pt>
                <c:pt idx="40">
                  <c:v>0.058581941893730345</c:v>
                </c:pt>
                <c:pt idx="41">
                  <c:v>0.05693255544435035</c:v>
                </c:pt>
                <c:pt idx="42">
                  <c:v>0.06086318172911944</c:v>
                </c:pt>
                <c:pt idx="43">
                  <c:v>0.061493705358463456</c:v>
                </c:pt>
                <c:pt idx="44">
                  <c:v>0.0690564568071299</c:v>
                </c:pt>
                <c:pt idx="45">
                  <c:v>0.06837919660790681</c:v>
                </c:pt>
                <c:pt idx="46">
                  <c:v>0.06950078478176966</c:v>
                </c:pt>
                <c:pt idx="47">
                  <c:v>0.0636417017357026</c:v>
                </c:pt>
                <c:pt idx="48">
                  <c:v>0.06703680557014674</c:v>
                </c:pt>
                <c:pt idx="49">
                  <c:v>0.06753685704088958</c:v>
                </c:pt>
                <c:pt idx="50">
                  <c:v>0.06777501138864558</c:v>
                </c:pt>
                <c:pt idx="51">
                  <c:v>0.05791747725656244</c:v>
                </c:pt>
                <c:pt idx="52">
                  <c:v>0.0813425543160822</c:v>
                </c:pt>
                <c:pt idx="53">
                  <c:v>0.2724439240703625</c:v>
                </c:pt>
                <c:pt idx="54">
                  <c:v>0.0518409215597732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42194092827"/>
          <c:min val="0.0346456692913385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24.6868</c:v>
                </c:pt>
                <c:pt idx="1">
                  <c:v>990.9089</c:v>
                </c:pt>
                <c:pt idx="2">
                  <c:v>1005.1685</c:v>
                </c:pt>
                <c:pt idx="3">
                  <c:v>1012.7227</c:v>
                </c:pt>
                <c:pt idx="4">
                  <c:v>1025.9138</c:v>
                </c:pt>
                <c:pt idx="5">
                  <c:v>1022.7133</c:v>
                </c:pt>
                <c:pt idx="6">
                  <c:v>1041.8697</c:v>
                </c:pt>
                <c:pt idx="7">
                  <c:v>1031.1073</c:v>
                </c:pt>
                <c:pt idx="8">
                  <c:v>1052.0886</c:v>
                </c:pt>
                <c:pt idx="9">
                  <c:v>1034.996</c:v>
                </c:pt>
                <c:pt idx="10">
                  <c:v>1016.1037</c:v>
                </c:pt>
                <c:pt idx="11">
                  <c:v>1024.3746</c:v>
                </c:pt>
                <c:pt idx="12">
                  <c:v>1039.495</c:v>
                </c:pt>
                <c:pt idx="13">
                  <c:v>1035.4808</c:v>
                </c:pt>
                <c:pt idx="14">
                  <c:v>1041.3727</c:v>
                </c:pt>
                <c:pt idx="15">
                  <c:v>1033.7857</c:v>
                </c:pt>
                <c:pt idx="16">
                  <c:v>1073.373</c:v>
                </c:pt>
                <c:pt idx="17">
                  <c:v>1079.5753</c:v>
                </c:pt>
                <c:pt idx="18">
                  <c:v>1088.0714</c:v>
                </c:pt>
                <c:pt idx="19">
                  <c:v>1109.2581</c:v>
                </c:pt>
                <c:pt idx="20">
                  <c:v>1096.4973</c:v>
                </c:pt>
                <c:pt idx="21">
                  <c:v>1062.7651</c:v>
                </c:pt>
                <c:pt idx="22">
                  <c:v>1060.6719</c:v>
                </c:pt>
                <c:pt idx="23">
                  <c:v>1055.2804</c:v>
                </c:pt>
                <c:pt idx="24">
                  <c:v>1069.1473</c:v>
                </c:pt>
                <c:pt idx="25">
                  <c:v>1093.3704</c:v>
                </c:pt>
                <c:pt idx="26">
                  <c:v>1075.7133</c:v>
                </c:pt>
                <c:pt idx="27">
                  <c:v>1072.2953</c:v>
                </c:pt>
                <c:pt idx="28">
                  <c:v>1045.5436</c:v>
                </c:pt>
                <c:pt idx="29">
                  <c:v>1109.3492</c:v>
                </c:pt>
                <c:pt idx="30">
                  <c:v>1123.76</c:v>
                </c:pt>
                <c:pt idx="31">
                  <c:v>1113.12</c:v>
                </c:pt>
                <c:pt idx="32">
                  <c:v>1100.1894</c:v>
                </c:pt>
                <c:pt idx="33">
                  <c:v>1092.9322</c:v>
                </c:pt>
                <c:pt idx="34">
                  <c:v>1119.9551</c:v>
                </c:pt>
                <c:pt idx="35">
                  <c:v>1149.2093</c:v>
                </c:pt>
                <c:pt idx="36">
                  <c:v>1155.2512</c:v>
                </c:pt>
                <c:pt idx="37">
                  <c:v>1180.8176</c:v>
                </c:pt>
                <c:pt idx="38">
                  <c:v>1181.025</c:v>
                </c:pt>
                <c:pt idx="39">
                  <c:v>1321.6583</c:v>
                </c:pt>
                <c:pt idx="40">
                  <c:v>1347.7941</c:v>
                </c:pt>
                <c:pt idx="41">
                  <c:v>1360.1869</c:v>
                </c:pt>
                <c:pt idx="42">
                  <c:v>1341.7483</c:v>
                </c:pt>
                <c:pt idx="43">
                  <c:v>1301.6687</c:v>
                </c:pt>
                <c:pt idx="44">
                  <c:v>1237.9139</c:v>
                </c:pt>
                <c:pt idx="45">
                  <c:v>1180.1405</c:v>
                </c:pt>
                <c:pt idx="46">
                  <c:v>1202.9713</c:v>
                </c:pt>
                <c:pt idx="47">
                  <c:v>1193.6517</c:v>
                </c:pt>
                <c:pt idx="48">
                  <c:v>1219.3121</c:v>
                </c:pt>
                <c:pt idx="49">
                  <c:v>1128.2021</c:v>
                </c:pt>
                <c:pt idx="50">
                  <c:v>1142.5515</c:v>
                </c:pt>
                <c:pt idx="51">
                  <c:v>1134.8384</c:v>
                </c:pt>
                <c:pt idx="52">
                  <c:v>1186.3403</c:v>
                </c:pt>
                <c:pt idx="53">
                  <c:v>1133.6701</c:v>
                </c:pt>
                <c:pt idx="54">
                  <c:v>1154.8889</c:v>
                </c:pt>
                <c:pt idx="55">
                  <c:v>1126.7205</c:v>
                </c:pt>
                <c:pt idx="56">
                  <c:v>1092.7782</c:v>
                </c:pt>
                <c:pt idx="57">
                  <c:v>1169.3083</c:v>
                </c:pt>
                <c:pt idx="58">
                  <c:v>1166.8654</c:v>
                </c:pt>
                <c:pt idx="59">
                  <c:v>1169.2489</c:v>
                </c:pt>
                <c:pt idx="60">
                  <c:v>1190.8416</c:v>
                </c:pt>
                <c:pt idx="61">
                  <c:v>1169.5831</c:v>
                </c:pt>
                <c:pt idx="62">
                  <c:v>1165.7885</c:v>
                </c:pt>
                <c:pt idx="63">
                  <c:v>1136.7847</c:v>
                </c:pt>
                <c:pt idx="64">
                  <c:v>1130.0872</c:v>
                </c:pt>
                <c:pt idx="65">
                  <c:v>1106.6434</c:v>
                </c:pt>
                <c:pt idx="66">
                  <c:v>1123.1915</c:v>
                </c:pt>
                <c:pt idx="67">
                  <c:v>1113.9233</c:v>
                </c:pt>
                <c:pt idx="68">
                  <c:v>1099.7302</c:v>
                </c:pt>
                <c:pt idx="69">
                  <c:v>1132.9392</c:v>
                </c:pt>
                <c:pt idx="70">
                  <c:v>1132.6065</c:v>
                </c:pt>
                <c:pt idx="71">
                  <c:v>1092.184</c:v>
                </c:pt>
                <c:pt idx="72">
                  <c:v>1104.6995</c:v>
                </c:pt>
                <c:pt idx="73">
                  <c:v>1162.3171</c:v>
                </c:pt>
                <c:pt idx="74">
                  <c:v>1182.7832</c:v>
                </c:pt>
                <c:pt idx="75">
                  <c:v>1156.178</c:v>
                </c:pt>
                <c:pt idx="76">
                  <c:v>1170.0741</c:v>
                </c:pt>
                <c:pt idx="77">
                  <c:v>1163.4732</c:v>
                </c:pt>
                <c:pt idx="78">
                  <c:v>1137.7521</c:v>
                </c:pt>
                <c:pt idx="79">
                  <c:v>1181.1837</c:v>
                </c:pt>
                <c:pt idx="80">
                  <c:v>1179.6292</c:v>
                </c:pt>
                <c:pt idx="81">
                  <c:v>1251.4425</c:v>
                </c:pt>
                <c:pt idx="82">
                  <c:v>1191.3053</c:v>
                </c:pt>
                <c:pt idx="83">
                  <c:v>1154.589</c:v>
                </c:pt>
                <c:pt idx="84">
                  <c:v>1162.4225</c:v>
                </c:pt>
                <c:pt idx="85">
                  <c:v>1185.0541</c:v>
                </c:pt>
                <c:pt idx="86">
                  <c:v>1221.4747</c:v>
                </c:pt>
                <c:pt idx="87">
                  <c:v>1241.2603</c:v>
                </c:pt>
                <c:pt idx="88">
                  <c:v>1215.6087</c:v>
                </c:pt>
                <c:pt idx="89">
                  <c:v>1228.6579</c:v>
                </c:pt>
                <c:pt idx="90">
                  <c:v>1225.0</c:v>
                </c:pt>
                <c:pt idx="91">
                  <c:v>1239.6977</c:v>
                </c:pt>
                <c:pt idx="92">
                  <c:v>1265.7253</c:v>
                </c:pt>
                <c:pt idx="93">
                  <c:v>1262.6277</c:v>
                </c:pt>
                <c:pt idx="94">
                  <c:v>1340.1013</c:v>
                </c:pt>
                <c:pt idx="95">
                  <c:v>1306.0079</c:v>
                </c:pt>
                <c:pt idx="96">
                  <c:v>1226.7059</c:v>
                </c:pt>
                <c:pt idx="97">
                  <c:v>1209.7551</c:v>
                </c:pt>
                <c:pt idx="98">
                  <c:v>1122.9071</c:v>
                </c:pt>
                <c:pt idx="99">
                  <c:v>1175.1099</c:v>
                </c:pt>
                <c:pt idx="100">
                  <c:v>1206.7856</c:v>
                </c:pt>
                <c:pt idx="101">
                  <c:v>1276.7427</c:v>
                </c:pt>
                <c:pt idx="102">
                  <c:v>1330.0304</c:v>
                </c:pt>
                <c:pt idx="103">
                  <c:v>1256.6842</c:v>
                </c:pt>
                <c:pt idx="104">
                  <c:v>1272.6651</c:v>
                </c:pt>
              </c:numCache>
            </c:numRef>
          </c:xVal>
          <c:yVal>
            <c:numRef>
              <c:f>Sheet1!$B$2:$B$106</c:f>
              <c:numCache>
                <c:formatCode>General</c:formatCode>
                <c:ptCount val="105"/>
                <c:pt idx="0">
                  <c:v>0.4159103043246129</c:v>
                </c:pt>
                <c:pt idx="1">
                  <c:v>0.4170182841068917</c:v>
                </c:pt>
                <c:pt idx="2">
                  <c:v>0.3423076923076923</c:v>
                </c:pt>
                <c:pt idx="3">
                  <c:v>0.3123359580052493</c:v>
                </c:pt>
                <c:pt idx="4">
                  <c:v>0.2618510158013544</c:v>
                </c:pt>
                <c:pt idx="5">
                  <c:v>0.20043103448275862</c:v>
                </c:pt>
                <c:pt idx="6">
                  <c:v>0.18662613981762918</c:v>
                </c:pt>
                <c:pt idx="7">
                  <c:v>0.16191799861014594</c:v>
                </c:pt>
                <c:pt idx="8">
                  <c:v>0.15359688917692807</c:v>
                </c:pt>
                <c:pt idx="9">
                  <c:v>0.1367335865436788</c:v>
                </c:pt>
                <c:pt idx="10">
                  <c:v>0.14606741573033707</c:v>
                </c:pt>
                <c:pt idx="11">
                  <c:v>0.14337733272644515</c:v>
                </c:pt>
                <c:pt idx="12">
                  <c:v>0.17135549872122763</c:v>
                </c:pt>
                <c:pt idx="13">
                  <c:v>0.16840536512667661</c:v>
                </c:pt>
                <c:pt idx="14">
                  <c:v>0.22965641952983726</c:v>
                </c:pt>
                <c:pt idx="15">
                  <c:v>0.2309899569583931</c:v>
                </c:pt>
                <c:pt idx="16">
                  <c:v>0.2247992863514719</c:v>
                </c:pt>
                <c:pt idx="17">
                  <c:v>0.2255406797116375</c:v>
                </c:pt>
                <c:pt idx="18">
                  <c:v>0.19134396355353075</c:v>
                </c:pt>
                <c:pt idx="19">
                  <c:v>0.2180028129395218</c:v>
                </c:pt>
                <c:pt idx="20">
                  <c:v>0.21298405466970388</c:v>
                </c:pt>
                <c:pt idx="21">
                  <c:v>0.18695106649937265</c:v>
                </c:pt>
                <c:pt idx="22">
                  <c:v>0.1871345029239766</c:v>
                </c:pt>
                <c:pt idx="23">
                  <c:v>0.1562043795620438</c:v>
                </c:pt>
                <c:pt idx="24">
                  <c:v>0.17479674796747968</c:v>
                </c:pt>
                <c:pt idx="25">
                  <c:v>0.16047548291233285</c:v>
                </c:pt>
                <c:pt idx="26">
                  <c:v>0.17044100119189512</c:v>
                </c:pt>
                <c:pt idx="27">
                  <c:v>0.1728538283062645</c:v>
                </c:pt>
                <c:pt idx="28">
                  <c:v>0.17386231038506417</c:v>
                </c:pt>
                <c:pt idx="29">
                  <c:v>0.19728601252609604</c:v>
                </c:pt>
                <c:pt idx="30">
                  <c:v>0.19230769230769232</c:v>
                </c:pt>
                <c:pt idx="31">
                  <c:v>0.17385257301808066</c:v>
                </c:pt>
                <c:pt idx="32">
                  <c:v>0.1716514954486346</c:v>
                </c:pt>
                <c:pt idx="33">
                  <c:v>0.19536423841059603</c:v>
                </c:pt>
                <c:pt idx="34">
                  <c:v>0.19821826280623608</c:v>
                </c:pt>
                <c:pt idx="35">
                  <c:v>0.21199671322925226</c:v>
                </c:pt>
                <c:pt idx="36">
                  <c:v>0.19616788321167883</c:v>
                </c:pt>
                <c:pt idx="37">
                  <c:v>0.16517857142857142</c:v>
                </c:pt>
                <c:pt idx="38">
                  <c:v>0.17167381974248927</c:v>
                </c:pt>
                <c:pt idx="39">
                  <c:v>0.14925373134328357</c:v>
                </c:pt>
                <c:pt idx="40">
                  <c:v>0.13821138211382114</c:v>
                </c:pt>
                <c:pt idx="41">
                  <c:v>0.11771177117711772</c:v>
                </c:pt>
                <c:pt idx="42">
                  <c:v>0.1311329170383586</c:v>
                </c:pt>
                <c:pt idx="43">
                  <c:v>0.13452188006482982</c:v>
                </c:pt>
                <c:pt idx="44">
                  <c:v>0.1653250773993808</c:v>
                </c:pt>
                <c:pt idx="45">
                  <c:v>0.1727325245522819</c:v>
                </c:pt>
                <c:pt idx="46">
                  <c:v>0.16136495083863506</c:v>
                </c:pt>
                <c:pt idx="47">
                  <c:v>0.16250760803408398</c:v>
                </c:pt>
                <c:pt idx="48">
                  <c:v>0.15188762071992976</c:v>
                </c:pt>
                <c:pt idx="49">
                  <c:v>0.1820123398196488</c:v>
                </c:pt>
                <c:pt idx="50">
                  <c:v>0.17026055705300988</c:v>
                </c:pt>
                <c:pt idx="51">
                  <c:v>0.1703011422637591</c:v>
                </c:pt>
                <c:pt idx="52">
                  <c:v>0.17587939698492464</c:v>
                </c:pt>
                <c:pt idx="53">
                  <c:v>0.163943661971831</c:v>
                </c:pt>
                <c:pt idx="54">
                  <c:v>0.13448894202032277</c:v>
                </c:pt>
                <c:pt idx="55">
                  <c:v>0.14567430025445294</c:v>
                </c:pt>
                <c:pt idx="56">
                  <c:v>0.1460880195599022</c:v>
                </c:pt>
                <c:pt idx="57">
                  <c:v>0.13729977116704806</c:v>
                </c:pt>
                <c:pt idx="58">
                  <c:v>0.1330603889457523</c:v>
                </c:pt>
                <c:pt idx="59">
                  <c:v>0.14317817014446227</c:v>
                </c:pt>
                <c:pt idx="60">
                  <c:v>0.13189448441247004</c:v>
                </c:pt>
                <c:pt idx="61">
                  <c:v>0.15085995085995085</c:v>
                </c:pt>
                <c:pt idx="62">
                  <c:v>0.14637985309548793</c:v>
                </c:pt>
                <c:pt idx="63">
                  <c:v>0.15098374679213003</c:v>
                </c:pt>
                <c:pt idx="64">
                  <c:v>0.16324822101297615</c:v>
                </c:pt>
                <c:pt idx="65">
                  <c:v>0.18778280542986425</c:v>
                </c:pt>
                <c:pt idx="66">
                  <c:v>0.19336219336219337</c:v>
                </c:pt>
                <c:pt idx="67">
                  <c:v>0.16715976331360946</c:v>
                </c:pt>
                <c:pt idx="68">
                  <c:v>0.16890080428954424</c:v>
                </c:pt>
                <c:pt idx="69">
                  <c:v>0.14823914823914824</c:v>
                </c:pt>
                <c:pt idx="70">
                  <c:v>0.11272727272727273</c:v>
                </c:pt>
                <c:pt idx="71">
                  <c:v>0.1572700296735905</c:v>
                </c:pt>
                <c:pt idx="72">
                  <c:v>0.14336158192090395</c:v>
                </c:pt>
                <c:pt idx="73">
                  <c:v>0.11970802919708029</c:v>
                </c:pt>
                <c:pt idx="74">
                  <c:v>0.10655737704918032</c:v>
                </c:pt>
                <c:pt idx="75">
                  <c:v>0.1028770706190061</c:v>
                </c:pt>
                <c:pt idx="76">
                  <c:v>0.1027592768791627</c:v>
                </c:pt>
                <c:pt idx="77">
                  <c:v>0.11012782694198624</c:v>
                </c:pt>
                <c:pt idx="78">
                  <c:v>0.12174817898022892</c:v>
                </c:pt>
                <c:pt idx="79">
                  <c:v>0.10392364793213149</c:v>
                </c:pt>
                <c:pt idx="80">
                  <c:v>0.09378292939936776</c:v>
                </c:pt>
                <c:pt idx="81">
                  <c:v>0.10044444444444445</c:v>
                </c:pt>
                <c:pt idx="82">
                  <c:v>0.11255924170616113</c:v>
                </c:pt>
                <c:pt idx="83">
                  <c:v>0.10879284649776454</c:v>
                </c:pt>
                <c:pt idx="84">
                  <c:v>0.1056547619047619</c:v>
                </c:pt>
                <c:pt idx="85">
                  <c:v>0.10787172011661808</c:v>
                </c:pt>
                <c:pt idx="86">
                  <c:v>0.1056563500533618</c:v>
                </c:pt>
                <c:pt idx="87">
                  <c:v>0.13838862559241707</c:v>
                </c:pt>
                <c:pt idx="88">
                  <c:v>0.12777777777777777</c:v>
                </c:pt>
                <c:pt idx="89">
                  <c:v>0.09336609336609336</c:v>
                </c:pt>
                <c:pt idx="90">
                  <c:v>0.08080808080808081</c:v>
                </c:pt>
                <c:pt idx="91">
                  <c:v>0.09739524348810873</c:v>
                </c:pt>
                <c:pt idx="92">
                  <c:v>0.08775313404050145</c:v>
                </c:pt>
                <c:pt idx="93">
                  <c:v>0.07912457912457913</c:v>
                </c:pt>
                <c:pt idx="94">
                  <c:v>0.08449197860962566</c:v>
                </c:pt>
                <c:pt idx="95">
                  <c:v>0.09365781710914454</c:v>
                </c:pt>
                <c:pt idx="96">
                  <c:v>0.08994708994708994</c:v>
                </c:pt>
                <c:pt idx="97">
                  <c:v>0.09814722083124687</c:v>
                </c:pt>
                <c:pt idx="98">
                  <c:v>0.11115702479338843</c:v>
                </c:pt>
                <c:pt idx="99">
                  <c:v>0.10626702997275204</c:v>
                </c:pt>
                <c:pt idx="100">
                  <c:v>0.1114792899408284</c:v>
                </c:pt>
                <c:pt idx="101">
                  <c:v>0.09066967644845748</c:v>
                </c:pt>
                <c:pt idx="102">
                  <c:v>0.0970464135021097</c:v>
                </c:pt>
                <c:pt idx="103">
                  <c:v>0.08458114123836503</c:v>
                </c:pt>
                <c:pt idx="104">
                  <c:v>0.0985849056603773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19.2886</c:v>
                </c:pt>
                <c:pt idx="1">
                  <c:v>1263.5645</c:v>
                </c:pt>
                <c:pt idx="2">
                  <c:v>1281.9259</c:v>
                </c:pt>
                <c:pt idx="3">
                  <c:v>1309.0512</c:v>
                </c:pt>
                <c:pt idx="4">
                  <c:v>1290.0615</c:v>
                </c:pt>
                <c:pt idx="5">
                  <c:v>1314.8852</c:v>
                </c:pt>
                <c:pt idx="6">
                  <c:v>1291.4897</c:v>
                </c:pt>
                <c:pt idx="7">
                  <c:v>1326.3303</c:v>
                </c:pt>
                <c:pt idx="8">
                  <c:v>1276.5231</c:v>
                </c:pt>
                <c:pt idx="9">
                  <c:v>1313.2295</c:v>
                </c:pt>
                <c:pt idx="10">
                  <c:v>1276.5871</c:v>
                </c:pt>
                <c:pt idx="11">
                  <c:v>1342.375</c:v>
                </c:pt>
                <c:pt idx="12">
                  <c:v>1296.5818</c:v>
                </c:pt>
                <c:pt idx="13">
                  <c:v>1273.2191</c:v>
                </c:pt>
                <c:pt idx="14">
                  <c:v>1313.4497</c:v>
                </c:pt>
                <c:pt idx="15">
                  <c:v>1303.9793</c:v>
                </c:pt>
                <c:pt idx="16">
                  <c:v>1291.664</c:v>
                </c:pt>
                <c:pt idx="17">
                  <c:v>1311.8595</c:v>
                </c:pt>
                <c:pt idx="18">
                  <c:v>1281.1566</c:v>
                </c:pt>
                <c:pt idx="19">
                  <c:v>1346.2574</c:v>
                </c:pt>
                <c:pt idx="20">
                  <c:v>1335.8101</c:v>
                </c:pt>
                <c:pt idx="21">
                  <c:v>1356.1159</c:v>
                </c:pt>
                <c:pt idx="22">
                  <c:v>1338.1923</c:v>
                </c:pt>
                <c:pt idx="23">
                  <c:v>1146.4308</c:v>
                </c:pt>
                <c:pt idx="24">
                  <c:v>1401.1452</c:v>
                </c:pt>
                <c:pt idx="25">
                  <c:v>1383.5385</c:v>
                </c:pt>
                <c:pt idx="26">
                  <c:v>1318.0714</c:v>
                </c:pt>
                <c:pt idx="27">
                  <c:v>1426.2581</c:v>
                </c:pt>
                <c:pt idx="28">
                  <c:v>1348.1159</c:v>
                </c:pt>
                <c:pt idx="29">
                  <c:v>1411.52</c:v>
                </c:pt>
                <c:pt idx="30">
                  <c:v>1397.2909</c:v>
                </c:pt>
                <c:pt idx="31">
                  <c:v>1351.1778</c:v>
                </c:pt>
                <c:pt idx="32">
                  <c:v>1387.2653</c:v>
                </c:pt>
                <c:pt idx="33">
                  <c:v>1349.1746</c:v>
                </c:pt>
                <c:pt idx="34">
                  <c:v>1327.9091</c:v>
                </c:pt>
                <c:pt idx="35">
                  <c:v>1344.1717</c:v>
                </c:pt>
                <c:pt idx="36">
                  <c:v>1336.1739</c:v>
                </c:pt>
                <c:pt idx="37">
                  <c:v>1275.8824</c:v>
                </c:pt>
                <c:pt idx="38">
                  <c:v>1349.4872</c:v>
                </c:pt>
                <c:pt idx="39">
                  <c:v>1290.4359</c:v>
                </c:pt>
                <c:pt idx="40">
                  <c:v>1353.8413</c:v>
                </c:pt>
                <c:pt idx="41">
                  <c:v>1331.8485</c:v>
                </c:pt>
                <c:pt idx="42">
                  <c:v>1344.8167</c:v>
                </c:pt>
                <c:pt idx="43">
                  <c:v>1299.9529</c:v>
                </c:pt>
                <c:pt idx="44">
                  <c:v>1401.8571</c:v>
                </c:pt>
                <c:pt idx="45">
                  <c:v>1371.0552</c:v>
                </c:pt>
                <c:pt idx="46">
                  <c:v>1351.9211</c:v>
                </c:pt>
                <c:pt idx="47">
                  <c:v>1328.0088</c:v>
                </c:pt>
                <c:pt idx="48">
                  <c:v>1348.8413</c:v>
                </c:pt>
                <c:pt idx="49">
                  <c:v>1298.0578</c:v>
                </c:pt>
                <c:pt idx="50">
                  <c:v>1249.4201</c:v>
                </c:pt>
                <c:pt idx="51">
                  <c:v>1304.4702</c:v>
                </c:pt>
              </c:numCache>
            </c:numRef>
          </c:xVal>
          <c:yVal>
            <c:numRef>
              <c:f>Sheet1!$B$109:$B$160</c:f>
              <c:numCache>
                <c:formatCode>General</c:formatCode>
                <c:ptCount val="52"/>
                <c:pt idx="0">
                  <c:v>0.0881578947368421</c:v>
                </c:pt>
                <c:pt idx="1">
                  <c:v>0.08296164139161463</c:v>
                </c:pt>
                <c:pt idx="2">
                  <c:v>0.07723743359215365</c:v>
                </c:pt>
                <c:pt idx="3">
                  <c:v>0.07948243992606285</c:v>
                </c:pt>
                <c:pt idx="4">
                  <c:v>0.08111480865224625</c:v>
                </c:pt>
                <c:pt idx="5">
                  <c:v>0.0782051282051282</c:v>
                </c:pt>
                <c:pt idx="6">
                  <c:v>0.06901475487862922</c:v>
                </c:pt>
                <c:pt idx="7">
                  <c:v>0.07491408934707904</c:v>
                </c:pt>
                <c:pt idx="8">
                  <c:v>0.08801624915368991</c:v>
                </c:pt>
                <c:pt idx="9">
                  <c:v>0.07922077922077922</c:v>
                </c:pt>
                <c:pt idx="10">
                  <c:v>0.09314903846153846</c:v>
                </c:pt>
                <c:pt idx="11">
                  <c:v>0.10969637610186092</c:v>
                </c:pt>
                <c:pt idx="12">
                  <c:v>0.10726474890297416</c:v>
                </c:pt>
                <c:pt idx="13">
                  <c:v>0.08725490196078431</c:v>
                </c:pt>
                <c:pt idx="14">
                  <c:v>0.09056806002143623</c:v>
                </c:pt>
                <c:pt idx="15">
                  <c:v>0.08123249299719888</c:v>
                </c:pt>
                <c:pt idx="16">
                  <c:v>0.07754342431761786</c:v>
                </c:pt>
                <c:pt idx="17">
                  <c:v>0.08170155300472653</c:v>
                </c:pt>
                <c:pt idx="18">
                  <c:v>0.06474258970358815</c:v>
                </c:pt>
                <c:pt idx="19">
                  <c:v>0.06457800511508952</c:v>
                </c:pt>
                <c:pt idx="20">
                  <c:v>0.05667144906743185</c:v>
                </c:pt>
                <c:pt idx="21">
                  <c:v>0.06382978723404255</c:v>
                </c:pt>
                <c:pt idx="22">
                  <c:v>0.07536231884057971</c:v>
                </c:pt>
                <c:pt idx="23">
                  <c:v>0.06673511293634497</c:v>
                </c:pt>
                <c:pt idx="24">
                  <c:v>0.06084396467124632</c:v>
                </c:pt>
                <c:pt idx="25">
                  <c:v>0.06907545164718384</c:v>
                </c:pt>
                <c:pt idx="26">
                  <c:v>0.05894736842105263</c:v>
                </c:pt>
                <c:pt idx="27">
                  <c:v>0.055705300988319856</c:v>
                </c:pt>
                <c:pt idx="28">
                  <c:v>0.05745212323064113</c:v>
                </c:pt>
                <c:pt idx="29">
                  <c:v>0.04926108374384237</c:v>
                </c:pt>
                <c:pt idx="30">
                  <c:v>0.0560081466395112</c:v>
                </c:pt>
                <c:pt idx="31">
                  <c:v>0.05610972568578554</c:v>
                </c:pt>
                <c:pt idx="32">
                  <c:v>0.05511811023622047</c:v>
                </c:pt>
                <c:pt idx="33">
                  <c:v>0.06555671175858481</c:v>
                </c:pt>
                <c:pt idx="34">
                  <c:v>0.08052708638360176</c:v>
                </c:pt>
                <c:pt idx="35">
                  <c:v>0.07393577296489919</c:v>
                </c:pt>
                <c:pt idx="36">
                  <c:v>0.05589307411907655</c:v>
                </c:pt>
                <c:pt idx="37">
                  <c:v>0.05301455301455302</c:v>
                </c:pt>
                <c:pt idx="38">
                  <c:v>0.043721973094170405</c:v>
                </c:pt>
                <c:pt idx="39">
                  <c:v>0.06037151702786378</c:v>
                </c:pt>
                <c:pt idx="40">
                  <c:v>0.045323741007194246</c:v>
                </c:pt>
                <c:pt idx="41">
                  <c:v>0.04330708661417323</c:v>
                </c:pt>
                <c:pt idx="42">
                  <c:v>0.04447739065974796</c:v>
                </c:pt>
                <c:pt idx="43">
                  <c:v>0.0456989247311828</c:v>
                </c:pt>
                <c:pt idx="44">
                  <c:v>0.04948162111215834</c:v>
                </c:pt>
                <c:pt idx="45">
                  <c:v>0.05600617999227501</c:v>
                </c:pt>
                <c:pt idx="46">
                  <c:v>0.05517909002904162</c:v>
                </c:pt>
                <c:pt idx="47">
                  <c:v>0.05315145813734713</c:v>
                </c:pt>
                <c:pt idx="48">
                  <c:v>0.04713804713804714</c:v>
                </c:pt>
                <c:pt idx="49">
                  <c:v>0.05741785595751742</c:v>
                </c:pt>
                <c:pt idx="50">
                  <c:v>0.06280763929907462</c:v>
                </c:pt>
                <c:pt idx="51">
                  <c:v>0.0535714285714285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295.49624262831964</c:v>
                </c:pt>
              </c:numCache>
            </c:numRef>
          </c:xVal>
          <c:yVal>
            <c:numRef>
              <c:f>Sheet1!$B$163:$B$164</c:f>
              <c:numCache>
                <c:formatCode>General</c:formatCode>
                <c:ptCount val="2"/>
                <c:pt idx="0">
                  <c:v>0.2724439240703625</c:v>
                </c:pt>
                <c:pt idx="1">
                  <c:v>0.272443924070362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95.49624262831964</c:v>
                </c:pt>
                <c:pt idx="1">
                  <c:v>-295.49624262831964</c:v>
                </c:pt>
              </c:numCache>
            </c:numRef>
          </c:xVal>
          <c:yVal>
            <c:numRef>
              <c:f>Sheet1!$B$167:$B$168</c:f>
              <c:numCache>
                <c:formatCode>General</c:formatCode>
                <c:ptCount val="2"/>
                <c:pt idx="0">
                  <c:v>0.27244392407036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11.5082030868853</c:v>
                </c:pt>
              </c:numCache>
            </c:numRef>
          </c:xVal>
          <c:yVal>
            <c:numRef>
              <c:f>Sheet1!$B$171:$B$172</c:f>
              <c:numCache>
                <c:formatCode>General</c:formatCode>
                <c:ptCount val="2"/>
                <c:pt idx="0">
                  <c:v>0.0813425543160822</c:v>
                </c:pt>
                <c:pt idx="1">
                  <c:v>0.081342554316082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11.5082030868853</c:v>
                </c:pt>
                <c:pt idx="1">
                  <c:v>1211.5082030868853</c:v>
                </c:pt>
              </c:numCache>
            </c:numRef>
          </c:xVal>
          <c:yVal>
            <c:numRef>
              <c:f>Sheet1!$B$175:$B$176</c:f>
              <c:numCache>
                <c:formatCode>General</c:formatCode>
                <c:ptCount val="2"/>
                <c:pt idx="0">
                  <c:v>0.08134255431608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44.1548438555035</c:v>
                </c:pt>
              </c:numCache>
            </c:numRef>
          </c:xVal>
          <c:yVal>
            <c:numRef>
              <c:f>Sheet1!$B$179:$B$180</c:f>
              <c:numCache>
                <c:formatCode>General</c:formatCode>
                <c:ptCount val="2"/>
                <c:pt idx="0">
                  <c:v>0.051840921559773226</c:v>
                </c:pt>
                <c:pt idx="1">
                  <c:v>0.05184092155977322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44.1548438555035</c:v>
                </c:pt>
                <c:pt idx="1">
                  <c:v>1444.1548438555035</c:v>
                </c:pt>
              </c:numCache>
            </c:numRef>
          </c:xVal>
          <c:yVal>
            <c:numRef>
              <c:f>Sheet1!$B$183:$B$184</c:f>
              <c:numCache>
                <c:formatCode>General</c:formatCode>
                <c:ptCount val="2"/>
                <c:pt idx="0">
                  <c:v>0.05184092155977322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19.2886</c:v>
                </c:pt>
                <c:pt idx="1">
                  <c:v>1263.5645</c:v>
                </c:pt>
                <c:pt idx="2">
                  <c:v>1281.9259</c:v>
                </c:pt>
                <c:pt idx="3">
                  <c:v>1309.0512</c:v>
                </c:pt>
                <c:pt idx="4">
                  <c:v>1290.0615</c:v>
                </c:pt>
                <c:pt idx="5">
                  <c:v>1314.8852</c:v>
                </c:pt>
                <c:pt idx="6">
                  <c:v>1291.4897</c:v>
                </c:pt>
                <c:pt idx="7">
                  <c:v>1326.3303</c:v>
                </c:pt>
                <c:pt idx="8">
                  <c:v>1276.5231</c:v>
                </c:pt>
                <c:pt idx="9">
                  <c:v>1313.2295</c:v>
                </c:pt>
                <c:pt idx="10">
                  <c:v>1276.5871</c:v>
                </c:pt>
                <c:pt idx="11">
                  <c:v>1342.375</c:v>
                </c:pt>
                <c:pt idx="12">
                  <c:v>1296.5818</c:v>
                </c:pt>
                <c:pt idx="13">
                  <c:v>1273.2191</c:v>
                </c:pt>
                <c:pt idx="14">
                  <c:v>1313.4497</c:v>
                </c:pt>
                <c:pt idx="15">
                  <c:v>1303.9793</c:v>
                </c:pt>
                <c:pt idx="16">
                  <c:v>1291.664</c:v>
                </c:pt>
                <c:pt idx="17">
                  <c:v>1311.8595</c:v>
                </c:pt>
                <c:pt idx="18">
                  <c:v>1281.1566</c:v>
                </c:pt>
                <c:pt idx="19">
                  <c:v>1346.2574</c:v>
                </c:pt>
                <c:pt idx="20">
                  <c:v>1335.8101</c:v>
                </c:pt>
                <c:pt idx="21">
                  <c:v>1356.1159</c:v>
                </c:pt>
                <c:pt idx="22">
                  <c:v>1338.1923</c:v>
                </c:pt>
                <c:pt idx="23">
                  <c:v>1146.4308</c:v>
                </c:pt>
                <c:pt idx="24">
                  <c:v>1401.1452</c:v>
                </c:pt>
                <c:pt idx="25">
                  <c:v>1383.5385</c:v>
                </c:pt>
                <c:pt idx="26">
                  <c:v>1318.0714</c:v>
                </c:pt>
                <c:pt idx="27">
                  <c:v>1426.2581</c:v>
                </c:pt>
                <c:pt idx="28">
                  <c:v>1348.1159</c:v>
                </c:pt>
                <c:pt idx="29">
                  <c:v>1411.52</c:v>
                </c:pt>
                <c:pt idx="30">
                  <c:v>1397.2909</c:v>
                </c:pt>
                <c:pt idx="31">
                  <c:v>1351.1778</c:v>
                </c:pt>
                <c:pt idx="32">
                  <c:v>1387.2653</c:v>
                </c:pt>
                <c:pt idx="33">
                  <c:v>1349.1746</c:v>
                </c:pt>
                <c:pt idx="34">
                  <c:v>1327.9091</c:v>
                </c:pt>
                <c:pt idx="35">
                  <c:v>1344.1717</c:v>
                </c:pt>
                <c:pt idx="36">
                  <c:v>1336.1739</c:v>
                </c:pt>
                <c:pt idx="37">
                  <c:v>1275.8824</c:v>
                </c:pt>
                <c:pt idx="38">
                  <c:v>1349.4872</c:v>
                </c:pt>
                <c:pt idx="39">
                  <c:v>1290.4359</c:v>
                </c:pt>
                <c:pt idx="40">
                  <c:v>1353.8413</c:v>
                </c:pt>
                <c:pt idx="41">
                  <c:v>1331.8485</c:v>
                </c:pt>
                <c:pt idx="42">
                  <c:v>1344.8167</c:v>
                </c:pt>
                <c:pt idx="43">
                  <c:v>1299.9529</c:v>
                </c:pt>
                <c:pt idx="44">
                  <c:v>1401.8571</c:v>
                </c:pt>
                <c:pt idx="45">
                  <c:v>1371.0552</c:v>
                </c:pt>
                <c:pt idx="46">
                  <c:v>1351.9211</c:v>
                </c:pt>
                <c:pt idx="47">
                  <c:v>1328.0088</c:v>
                </c:pt>
                <c:pt idx="48">
                  <c:v>1348.8413</c:v>
                </c:pt>
                <c:pt idx="49">
                  <c:v>1298.0578</c:v>
                </c:pt>
                <c:pt idx="50">
                  <c:v>1249.4201</c:v>
                </c:pt>
                <c:pt idx="51">
                  <c:v>1304.4702</c:v>
                </c:pt>
                <c:pt idx="52">
                  <c:v>1211.5082030868853</c:v>
                </c:pt>
                <c:pt idx="53">
                  <c:v>-295.49624262831964</c:v>
                </c:pt>
                <c:pt idx="54">
                  <c:v>1444.1548438555035</c:v>
                </c:pt>
              </c:numCache>
            </c:numRef>
          </c:xVal>
          <c:yVal>
            <c:numRef>
              <c:f>Sheet1!$B$187:$B$241</c:f>
              <c:numCache>
                <c:formatCode>General</c:formatCode>
                <c:ptCount val="55"/>
                <c:pt idx="0">
                  <c:v>0.06767505549660713</c:v>
                </c:pt>
                <c:pt idx="1">
                  <c:v>0.07474135969272427</c:v>
                </c:pt>
                <c:pt idx="2">
                  <c:v>0.07241297326985544</c:v>
                </c:pt>
                <c:pt idx="3">
                  <c:v>0.06897324752801418</c:v>
                </c:pt>
                <c:pt idx="4">
                  <c:v>0.07138130789674163</c:v>
                </c:pt>
                <c:pt idx="5">
                  <c:v>0.06823344520406197</c:v>
                </c:pt>
                <c:pt idx="6">
                  <c:v>0.07120019962127563</c:v>
                </c:pt>
                <c:pt idx="7">
                  <c:v>0.06678210622945346</c:v>
                </c:pt>
                <c:pt idx="8">
                  <c:v>0.07309809565515696</c:v>
                </c:pt>
                <c:pt idx="9">
                  <c:v>0.06844340247313424</c:v>
                </c:pt>
                <c:pt idx="10">
                  <c:v>0.07308997989431829</c:v>
                </c:pt>
                <c:pt idx="11">
                  <c:v>0.06474749766806909</c:v>
                </c:pt>
                <c:pt idx="12">
                  <c:v>0.07055447671867071</c:v>
                </c:pt>
                <c:pt idx="13">
                  <c:v>0.07351707180845457</c:v>
                </c:pt>
                <c:pt idx="14">
                  <c:v>0.0684154791834986</c:v>
                </c:pt>
                <c:pt idx="15">
                  <c:v>0.06961640889360443</c:v>
                </c:pt>
                <c:pt idx="16">
                  <c:v>0.07117809685386653</c:v>
                </c:pt>
                <c:pt idx="17">
                  <c:v>0.06861713047858753</c:v>
                </c:pt>
                <c:pt idx="18">
                  <c:v>0.0725105272513118</c:v>
                </c:pt>
                <c:pt idx="19">
                  <c:v>0.0642551753261918</c:v>
                </c:pt>
                <c:pt idx="20">
                  <c:v>0.0655799845169745</c:v>
                </c:pt>
                <c:pt idx="21">
                  <c:v>0.06300503113512507</c:v>
                </c:pt>
                <c:pt idx="22">
                  <c:v>0.06527790068150671</c:v>
                </c:pt>
                <c:pt idx="23">
                  <c:v>0.08959493930758969</c:v>
                </c:pt>
                <c:pt idx="24">
                  <c:v>0.05729492129865907</c:v>
                </c:pt>
                <c:pt idx="25">
                  <c:v>0.05952760514801281</c:v>
                </c:pt>
                <c:pt idx="26">
                  <c:v>0.06782940712305807</c:v>
                </c:pt>
                <c:pt idx="27">
                  <c:v>0.05411038551168951</c:v>
                </c:pt>
                <c:pt idx="28">
                  <c:v>0.06401950123996189</c:v>
                </c:pt>
                <c:pt idx="29">
                  <c:v>0.055979305743201424</c:v>
                </c:pt>
                <c:pt idx="30">
                  <c:v>0.05778368031429312</c:v>
                </c:pt>
                <c:pt idx="31">
                  <c:v>0.0636312254882119</c:v>
                </c:pt>
                <c:pt idx="32">
                  <c:v>0.0590550142496746</c:v>
                </c:pt>
                <c:pt idx="33">
                  <c:v>0.06388524880246302</c:v>
                </c:pt>
                <c:pt idx="34">
                  <c:v>0.06658190055426391</c:v>
                </c:pt>
                <c:pt idx="35">
                  <c:v>0.06451966036339904</c:v>
                </c:pt>
                <c:pt idx="36">
                  <c:v>0.06553385148895702</c:v>
                </c:pt>
                <c:pt idx="37">
                  <c:v>0.0731793420296781</c:v>
                </c:pt>
                <c:pt idx="38">
                  <c:v>0.06384560838311654</c:v>
                </c:pt>
                <c:pt idx="39">
                  <c:v>0.07133383069583529</c:v>
                </c:pt>
                <c:pt idx="40">
                  <c:v>0.06329347034768279</c:v>
                </c:pt>
                <c:pt idx="41">
                  <c:v>0.06608235011288965</c:v>
                </c:pt>
                <c:pt idx="42">
                  <c:v>0.06443786871119658</c:v>
                </c:pt>
                <c:pt idx="43">
                  <c:v>0.0701269916973688</c:v>
                </c:pt>
                <c:pt idx="44">
                  <c:v>0.0572046461402049</c:v>
                </c:pt>
                <c:pt idx="45">
                  <c:v>0.061110596980476495</c:v>
                </c:pt>
                <c:pt idx="46">
                  <c:v>0.06353696853459626</c:v>
                </c:pt>
                <c:pt idx="47">
                  <c:v>0.06656925772058239</c:v>
                </c:pt>
                <c:pt idx="48">
                  <c:v>0.0639275141632058</c:v>
                </c:pt>
                <c:pt idx="49">
                  <c:v>0.0703673069843283</c:v>
                </c:pt>
                <c:pt idx="50">
                  <c:v>0.07653499356158097</c:v>
                </c:pt>
                <c:pt idx="51">
                  <c:v>0.06955415847179638</c:v>
                </c:pt>
                <c:pt idx="52">
                  <c:v>0.0813425543160822</c:v>
                </c:pt>
                <c:pt idx="53">
                  <c:v>0.2724439240703625</c:v>
                </c:pt>
                <c:pt idx="54">
                  <c:v>0.0518409215597732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3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42194092827"/>
          <c:min val="0.0346456692913385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10</c:f>
              <c:numCache>
                <c:formatCode>General</c:formatCode>
                <c:ptCount val="7"/>
                <c:pt idx="0">
                  <c:v>0.0</c:v>
                </c:pt>
                <c:pt idx="1">
                  <c:v>0.0</c:v>
                </c:pt>
                <c:pt idx="2">
                  <c:v>0.0</c:v>
                </c:pt>
                <c:pt idx="3">
                  <c:v>0.0</c:v>
                </c:pt>
                <c:pt idx="4">
                  <c:v>0.0</c:v>
                </c:pt>
                <c:pt idx="5">
                  <c:v>0.0</c:v>
                </c:pt>
                <c:pt idx="6">
                  <c:v>0.0</c:v>
                </c:pt>
              </c:numCache>
            </c:numRef>
          </c:xVal>
          <c:yVal>
            <c:numRef>
              <c:f>Sheet1!$B$4:$B$10</c:f>
              <c:numCache>
                <c:formatCode>General</c:formatCode>
                <c:ptCount val="7"/>
                <c:pt idx="0">
                  <c:v>0</c:v>
                </c:pt>
                <c:pt idx="1">
                  <c:v>0</c:v>
                </c:pt>
                <c:pt idx="2">
                  <c:v>0</c:v>
                </c:pt>
                <c:pt idx="3">
                  <c:v>0</c:v>
                </c:pt>
                <c:pt idx="4">
                  <c:v>0</c:v>
                </c:pt>
                <c:pt idx="5">
                  <c:v>0</c:v>
                </c:pt>
                <c:pt idx="6">
                  <c:v>0</c:v>
                </c:pt>
              </c:numCache>
            </c:numRef>
          </c:yVal>
          <c:smooth val="0"/>
          <c:extLst>
            <c:ext xmlns:c16="http://schemas.microsoft.com/office/drawing/2014/chart" uri="{C3380CC4-5D6E-409C-BE32-E72D297353CC}">
              <c16:uniqueId val="{00000002-096C-4121-9522-6AB7243CCAAE}"/>
            </c:ext>
          </c:extLst>
        </c:ser>
        <c:ser>
          <c:idx val="2"/>
          <c:order val="2"/>
          <c:tx>
            <c:strRef>
              <c:f>Sheet1!$B$1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A$14</c:f>
              <c:numCache>
                <c:formatCode>General</c:formatCode>
                <c:ptCount val="2"/>
                <c:pt idx="0">
                  <c:v>0</c:v>
                </c:pt>
                <c:pt idx="1">
                  <c:v>0.0</c:v>
                </c:pt>
              </c:numCache>
            </c:numRef>
          </c:xVal>
          <c:yVal>
            <c:numRef>
              <c:f>Sheet1!$B$13:$B$14</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A$18</c:f>
              <c:numCache>
                <c:formatCode>General</c:formatCode>
                <c:ptCount val="2"/>
                <c:pt idx="0">
                  <c:v>0.0</c:v>
                </c:pt>
                <c:pt idx="1">
                  <c:v>0.0</c:v>
                </c:pt>
              </c:numCache>
            </c:numRef>
          </c:xVal>
          <c:yVal>
            <c:numRef>
              <c:f>Sheet1!$B$17:$B$18</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1:$A$22</c:f>
              <c:numCache>
                <c:formatCode>General</c:formatCode>
                <c:ptCount val="2"/>
                <c:pt idx="0">
                  <c:v>0</c:v>
                </c:pt>
                <c:pt idx="1">
                  <c:v>0.0</c:v>
                </c:pt>
              </c:numCache>
            </c:numRef>
          </c:xVal>
          <c:yVal>
            <c:numRef>
              <c:f>Sheet1!$B$21:$B$22</c:f>
              <c:numCache>
                <c:formatCode>General</c:formatCode>
                <c:ptCount val="2"/>
                <c:pt idx="0">
                  <c:v>0.0</c:v>
                </c:pt>
                <c:pt idx="1">
                  <c:v>0.0</c:v>
                </c:pt>
              </c:numCache>
            </c:numRef>
          </c:yVal>
          <c:smooth val="0"/>
          <c:extLst>
            <c:ext xmlns:c16="http://schemas.microsoft.com/office/drawing/2014/chart" uri="{C3380CC4-5D6E-409C-BE32-E72D297353CC}">
              <c16:uniqueId val="{0000000D-096C-4121-9522-6AB7243CCAAE}"/>
            </c:ext>
          </c:extLst>
        </c:ser>
        <c:ser>
          <c:idx val="5"/>
          <c:order val="5"/>
          <c:tx>
            <c:strRef>
              <c:f>Sheet1!$B$2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5:$A$26</c:f>
              <c:numCache>
                <c:formatCode>General</c:formatCode>
                <c:ptCount val="2"/>
                <c:pt idx="0">
                  <c:v>0.0</c:v>
                </c:pt>
                <c:pt idx="1">
                  <c:v>0.0</c:v>
                </c:pt>
              </c:numCache>
            </c:numRef>
          </c:xVal>
          <c:yVal>
            <c:numRef>
              <c:f>Sheet1!$B$25:$B$26</c:f>
              <c:numCache>
                <c:formatCode>General</c:formatCode>
                <c:ptCount val="2"/>
                <c:pt idx="0">
                  <c:v>0.0</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9:$A$30</c:f>
              <c:numCache>
                <c:formatCode>General</c:formatCode>
                <c:ptCount val="2"/>
                <c:pt idx="0">
                  <c:v>0</c:v>
                </c:pt>
                <c:pt idx="1">
                  <c:v>0.0</c:v>
                </c:pt>
              </c:numCache>
            </c:numRef>
          </c:xVal>
          <c:yVal>
            <c:numRef>
              <c:f>Sheet1!$B$29:$B$30</c:f>
              <c:numCache>
                <c:formatCode>General</c:formatCode>
                <c:ptCount val="2"/>
                <c:pt idx="0">
                  <c:v>0.0</c:v>
                </c:pt>
                <c:pt idx="1">
                  <c:v>0.0</c:v>
                </c:pt>
              </c:numCache>
            </c:numRef>
          </c:yVal>
          <c:smooth val="0"/>
          <c:extLst>
            <c:ext xmlns:c16="http://schemas.microsoft.com/office/drawing/2014/chart" uri="{C3380CC4-5D6E-409C-BE32-E72D297353CC}">
              <c16:uniqueId val="{00000015-096C-4121-9522-6AB7243CCAAE}"/>
            </c:ext>
          </c:extLst>
        </c:ser>
        <c:ser>
          <c:idx val="7"/>
          <c:order val="7"/>
          <c:tx>
            <c:strRef>
              <c:f>Sheet1!$B$3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3:$A$34</c:f>
              <c:numCache>
                <c:formatCode>General</c:formatCode>
                <c:ptCount val="2"/>
                <c:pt idx="0">
                  <c:v>0.0</c:v>
                </c:pt>
                <c:pt idx="1">
                  <c:v>0.0</c:v>
                </c:pt>
              </c:numCache>
            </c:numRef>
          </c:xVal>
          <c:yVal>
            <c:numRef>
              <c:f>Sheet1!$B$33:$B$34</c:f>
              <c:numCache>
                <c:formatCode>General</c:formatCode>
                <c:ptCount val="2"/>
                <c:pt idx="0">
                  <c:v>0.0</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7:$A$46</c:f>
              <c:numCache>
                <c:formatCode>General</c:formatCode>
                <c:ptCount val="10"/>
                <c:pt idx="0">
                  <c:v>0.0</c:v>
                </c:pt>
                <c:pt idx="1">
                  <c:v>0.0</c:v>
                </c:pt>
                <c:pt idx="2">
                  <c:v>0.0</c:v>
                </c:pt>
                <c:pt idx="3">
                  <c:v>0.0</c:v>
                </c:pt>
                <c:pt idx="4">
                  <c:v>0.0</c:v>
                </c:pt>
                <c:pt idx="5">
                  <c:v>0.0</c:v>
                </c:pt>
                <c:pt idx="6">
                  <c:v>0.0</c:v>
                </c:pt>
                <c:pt idx="7">
                  <c:v>0.0</c:v>
                </c:pt>
                <c:pt idx="8">
                  <c:v>0.0</c:v>
                </c:pt>
                <c:pt idx="9">
                  <c:v>0.0</c:v>
                </c:pt>
              </c:numCache>
            </c:numRef>
          </c:xVal>
          <c:yVal>
            <c:numRef>
              <c:f>Sheet1!$B$37:$B$46</c:f>
              <c:numCache>
                <c:formatCode>General</c:formatCode>
                <c:ptCount val="10"/>
                <c:pt idx="0">
                  <c:v>0.0</c:v>
                </c:pt>
                <c:pt idx="1">
                  <c:v>0.0</c:v>
                </c:pt>
                <c:pt idx="2">
                  <c:v>0.0</c:v>
                </c:pt>
                <c:pt idx="3">
                  <c:v>0.0</c:v>
                </c:pt>
                <c:pt idx="4">
                  <c:v>0.0</c:v>
                </c:pt>
                <c:pt idx="5">
                  <c:v>0.0</c:v>
                </c:pt>
                <c:pt idx="6">
                  <c:v>0.0</c:v>
                </c:pt>
                <c:pt idx="7">
                  <c:v>0.0</c:v>
                </c:pt>
                <c:pt idx="8">
                  <c:v>0.0</c:v>
                </c:pt>
                <c:pt idx="9">
                  <c:v>0.0</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10</c:f>
              <c:numCache>
                <c:formatCode>General</c:formatCode>
                <c:ptCount val="7"/>
                <c:pt idx="0">
                  <c:v>0.0</c:v>
                </c:pt>
                <c:pt idx="1">
                  <c:v>0.0</c:v>
                </c:pt>
                <c:pt idx="2">
                  <c:v>0.0</c:v>
                </c:pt>
                <c:pt idx="3">
                  <c:v>0.0</c:v>
                </c:pt>
                <c:pt idx="4">
                  <c:v>0.0</c:v>
                </c:pt>
                <c:pt idx="5">
                  <c:v>0.0</c:v>
                </c:pt>
                <c:pt idx="6">
                  <c:v>0.0</c:v>
                </c:pt>
              </c:numCache>
            </c:numRef>
          </c:xVal>
          <c:yVal>
            <c:numRef>
              <c:f>Sheet1!$B$4:$B$10</c:f>
              <c:numCache>
                <c:formatCode>General</c:formatCode>
                <c:ptCount val="7"/>
                <c:pt idx="0">
                  <c:v>0</c:v>
                </c:pt>
                <c:pt idx="1">
                  <c:v>0</c:v>
                </c:pt>
                <c:pt idx="2">
                  <c:v>0</c:v>
                </c:pt>
                <c:pt idx="3">
                  <c:v>0</c:v>
                </c:pt>
                <c:pt idx="4">
                  <c:v>0</c:v>
                </c:pt>
                <c:pt idx="5">
                  <c:v>0</c:v>
                </c:pt>
                <c:pt idx="6">
                  <c:v>0</c:v>
                </c:pt>
              </c:numCache>
            </c:numRef>
          </c:yVal>
          <c:smooth val="0"/>
          <c:extLst>
            <c:ext xmlns:c16="http://schemas.microsoft.com/office/drawing/2014/chart" uri="{C3380CC4-5D6E-409C-BE32-E72D297353CC}">
              <c16:uniqueId val="{00000002-F32D-48B7-BC20-E66FC6253BAD}"/>
            </c:ext>
          </c:extLst>
        </c:ser>
        <c:ser>
          <c:idx val="2"/>
          <c:order val="2"/>
          <c:tx>
            <c:strRef>
              <c:f>Sheet1!$B$12</c:f>
              <c:strCache>
                <c:ptCount val="1"/>
                <c:pt idx="0">
                  <c:v>Custom Linep3yQ</c:v>
                </c:pt>
              </c:strCache>
            </c:strRef>
          </c:tx>
          <c:spPr>
            <a:ln w="19050" cap="rnd">
              <a:solidFill>
                <a:srgbClr val="C00000"/>
              </a:solidFill>
              <a:prstDash val="sysDot"/>
              <a:round/>
            </a:ln>
            <a:effectLst/>
          </c:spPr>
          <c:marker>
            <c:symbol val="none"/>
          </c:marker>
          <c:xVal>
            <c:numRef>
              <c:f>Sheet1!$A$13:$A$14</c:f>
              <c:numCache>
                <c:formatCode>General</c:formatCode>
                <c:ptCount val="2"/>
                <c:pt idx="0">
                  <c:v>0</c:v>
                </c:pt>
                <c:pt idx="1">
                  <c:v>0.0</c:v>
                </c:pt>
              </c:numCache>
            </c:numRef>
          </c:xVal>
          <c:yVal>
            <c:numRef>
              <c:f>Sheet1!$B$13:$B$14</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A$18</c:f>
              <c:numCache>
                <c:formatCode>General</c:formatCode>
                <c:ptCount val="2"/>
                <c:pt idx="0">
                  <c:v>0.0</c:v>
                </c:pt>
                <c:pt idx="1">
                  <c:v>0.0</c:v>
                </c:pt>
              </c:numCache>
            </c:numRef>
          </c:xVal>
          <c:yVal>
            <c:numRef>
              <c:f>Sheet1!$B$17:$B$18</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1:$A$22</c:f>
              <c:numCache>
                <c:formatCode>General</c:formatCode>
                <c:ptCount val="2"/>
                <c:pt idx="0">
                  <c:v>0</c:v>
                </c:pt>
                <c:pt idx="1">
                  <c:v>0.0</c:v>
                </c:pt>
              </c:numCache>
            </c:numRef>
          </c:xVal>
          <c:yVal>
            <c:numRef>
              <c:f>Sheet1!$B$21:$B$22</c:f>
              <c:numCache>
                <c:formatCode>General</c:formatCode>
                <c:ptCount val="2"/>
                <c:pt idx="0">
                  <c:v>0.0</c:v>
                </c:pt>
                <c:pt idx="1">
                  <c:v>0.0</c:v>
                </c:pt>
              </c:numCache>
            </c:numRef>
          </c:yVal>
          <c:smooth val="0"/>
          <c:extLst>
            <c:ext xmlns:c16="http://schemas.microsoft.com/office/drawing/2014/chart" uri="{C3380CC4-5D6E-409C-BE32-E72D297353CC}">
              <c16:uniqueId val="{0000000A-F32D-48B7-BC20-E66FC6253BAD}"/>
            </c:ext>
          </c:extLst>
        </c:ser>
        <c:ser>
          <c:idx val="5"/>
          <c:order val="5"/>
          <c:tx>
            <c:strRef>
              <c:f>Sheet1!$B$2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5:$A$26</c:f>
              <c:numCache>
                <c:formatCode>General</c:formatCode>
                <c:ptCount val="2"/>
                <c:pt idx="0">
                  <c:v>0.0</c:v>
                </c:pt>
                <c:pt idx="1">
                  <c:v>0.0</c:v>
                </c:pt>
              </c:numCache>
            </c:numRef>
          </c:xVal>
          <c:yVal>
            <c:numRef>
              <c:f>Sheet1!$B$25:$B$26</c:f>
              <c:numCache>
                <c:formatCode>General</c:formatCode>
                <c:ptCount val="2"/>
                <c:pt idx="0">
                  <c:v>0.0</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9:$A$30</c:f>
              <c:numCache>
                <c:formatCode>General</c:formatCode>
                <c:ptCount val="2"/>
                <c:pt idx="0">
                  <c:v>0</c:v>
                </c:pt>
                <c:pt idx="1">
                  <c:v>0.0</c:v>
                </c:pt>
              </c:numCache>
            </c:numRef>
          </c:xVal>
          <c:yVal>
            <c:numRef>
              <c:f>Sheet1!$B$29:$B$30</c:f>
              <c:numCache>
                <c:formatCode>General</c:formatCode>
                <c:ptCount val="2"/>
                <c:pt idx="0">
                  <c:v>0.0</c:v>
                </c:pt>
                <c:pt idx="1">
                  <c:v>0.0</c:v>
                </c:pt>
              </c:numCache>
            </c:numRef>
          </c:yVal>
          <c:smooth val="0"/>
          <c:extLst>
            <c:ext xmlns:c16="http://schemas.microsoft.com/office/drawing/2014/chart" uri="{C3380CC4-5D6E-409C-BE32-E72D297353CC}">
              <c16:uniqueId val="{00000011-F32D-48B7-BC20-E66FC6253BAD}"/>
            </c:ext>
          </c:extLst>
        </c:ser>
        <c:ser>
          <c:idx val="7"/>
          <c:order val="7"/>
          <c:tx>
            <c:strRef>
              <c:f>Sheet1!$B$3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3:$A$34</c:f>
              <c:numCache>
                <c:formatCode>General</c:formatCode>
                <c:ptCount val="2"/>
                <c:pt idx="0">
                  <c:v>0.0</c:v>
                </c:pt>
                <c:pt idx="1">
                  <c:v>0.0</c:v>
                </c:pt>
              </c:numCache>
            </c:numRef>
          </c:xVal>
          <c:yVal>
            <c:numRef>
              <c:f>Sheet1!$B$33:$B$34</c:f>
              <c:numCache>
                <c:formatCode>General</c:formatCode>
                <c:ptCount val="2"/>
                <c:pt idx="0">
                  <c:v>0.0</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7:$A$46</c:f>
              <c:numCache>
                <c:formatCode>General</c:formatCode>
                <c:ptCount val="10"/>
                <c:pt idx="0">
                  <c:v>0.0</c:v>
                </c:pt>
                <c:pt idx="1">
                  <c:v>0.0</c:v>
                </c:pt>
                <c:pt idx="2">
                  <c:v>0.0</c:v>
                </c:pt>
                <c:pt idx="3">
                  <c:v>0.0</c:v>
                </c:pt>
                <c:pt idx="4">
                  <c:v>0.0</c:v>
                </c:pt>
                <c:pt idx="5">
                  <c:v>0.0</c:v>
                </c:pt>
                <c:pt idx="6">
                  <c:v>0.0</c:v>
                </c:pt>
                <c:pt idx="7">
                  <c:v>0.0</c:v>
                </c:pt>
                <c:pt idx="8">
                  <c:v>0.0</c:v>
                </c:pt>
                <c:pt idx="9">
                  <c:v>0.0</c:v>
                </c:pt>
              </c:numCache>
            </c:numRef>
          </c:xVal>
          <c:yVal>
            <c:numRef>
              <c:f>Sheet1!$B$37:$B$46</c:f>
              <c:numCache>
                <c:formatCode>General</c:formatCode>
                <c:ptCount val="10"/>
                <c:pt idx="0">
                  <c:v>0.0</c:v>
                </c:pt>
                <c:pt idx="1">
                  <c:v>0.0</c:v>
                </c:pt>
                <c:pt idx="2">
                  <c:v>0.0</c:v>
                </c:pt>
                <c:pt idx="3">
                  <c:v>0.0</c:v>
                </c:pt>
                <c:pt idx="4">
                  <c:v>0.0</c:v>
                </c:pt>
                <c:pt idx="5">
                  <c:v>0.0</c:v>
                </c:pt>
                <c:pt idx="6">
                  <c:v>0.0</c:v>
                </c:pt>
                <c:pt idx="7">
                  <c:v>0.0</c:v>
                </c:pt>
                <c:pt idx="8">
                  <c:v>0.0</c:v>
                </c:pt>
                <c:pt idx="9">
                  <c:v>0.0</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502914969000603</c:v>
                </c:pt>
                <c:pt idx="1">
                  <c:v>0.7969499850331684</c:v>
                </c:pt>
                <c:pt idx="2">
                  <c:v>0.7936734178184832</c:v>
                </c:pt>
                <c:pt idx="3">
                  <c:v>0.8323695321502423</c:v>
                </c:pt>
                <c:pt idx="4">
                  <c:v>0.6925620361872667</c:v>
                </c:pt>
                <c:pt idx="5">
                  <c:v>0.660947240793577</c:v>
                </c:pt>
                <c:pt idx="6">
                  <c:v>0.6844969233248451</c:v>
                </c:pt>
                <c:pt idx="7">
                  <c:v>0.6896750301912259</c:v>
                </c:pt>
                <c:pt idx="8">
                  <c:v>0.7001687283226083</c:v>
                </c:pt>
                <c:pt idx="9">
                  <c:v>0.6914326796612423</c:v>
                </c:pt>
                <c:pt idx="10">
                  <c:v>0.7146626381312241</c:v>
                </c:pt>
                <c:pt idx="11">
                  <c:v>0.6971667912685114</c:v>
                </c:pt>
                <c:pt idx="12">
                  <c:v>0.7439645401964223</c:v>
                </c:pt>
                <c:pt idx="13">
                  <c:v>0.7427036464199045</c:v>
                </c:pt>
                <c:pt idx="14">
                  <c:v>0.7771191153749748</c:v>
                </c:pt>
                <c:pt idx="15">
                  <c:v>0.8109519911844155</c:v>
                </c:pt>
                <c:pt idx="16">
                  <c:v>0.7604151865864609</c:v>
                </c:pt>
                <c:pt idx="17">
                  <c:v>0.732018801605348</c:v>
                </c:pt>
                <c:pt idx="18">
                  <c:v>0.7794872977983469</c:v>
                </c:pt>
                <c:pt idx="19">
                  <c:v>0.7891507529650138</c:v>
                </c:pt>
                <c:pt idx="20">
                  <c:v>0.7727599882617224</c:v>
                </c:pt>
                <c:pt idx="21">
                  <c:v>0.7575376556109605</c:v>
                </c:pt>
                <c:pt idx="22">
                  <c:v>0.7728106561679474</c:v>
                </c:pt>
                <c:pt idx="23">
                  <c:v>0.7642651045052985</c:v>
                </c:pt>
                <c:pt idx="24">
                  <c:v>0.7990579020347686</c:v>
                </c:pt>
                <c:pt idx="25">
                  <c:v>0.8288505617463064</c:v>
                </c:pt>
                <c:pt idx="26">
                  <c:v>0.8402496942142855</c:v>
                </c:pt>
                <c:pt idx="27">
                  <c:v>0.8239380962232473</c:v>
                </c:pt>
                <c:pt idx="28">
                  <c:v>0.7963724069485453</c:v>
                </c:pt>
                <c:pt idx="29">
                  <c:v>0.7994466999945534</c:v>
                </c:pt>
                <c:pt idx="30">
                  <c:v>0.8018867555640891</c:v>
                </c:pt>
                <c:pt idx="31">
                  <c:v>0.8035376468948106</c:v>
                </c:pt>
                <c:pt idx="32">
                  <c:v>0.7965667743740771</c:v>
                </c:pt>
                <c:pt idx="33">
                  <c:v>0.7891899781904744</c:v>
                </c:pt>
                <c:pt idx="34">
                  <c:v>0.7772540356059026</c:v>
                </c:pt>
                <c:pt idx="35">
                  <c:v>0.7680011048193355</c:v>
                </c:pt>
                <c:pt idx="36">
                  <c:v>0.7808315023490786</c:v>
                </c:pt>
                <c:pt idx="37">
                  <c:v>0.7879117130851419</c:v>
                </c:pt>
                <c:pt idx="38">
                  <c:v>0.7868601649916285</c:v>
                </c:pt>
                <c:pt idx="39">
                  <c:v>0.8297339657328437</c:v>
                </c:pt>
                <c:pt idx="40">
                  <c:v>0.8126358264522591</c:v>
                </c:pt>
                <c:pt idx="41">
                  <c:v>0.8324719955681168</c:v>
                </c:pt>
                <c:pt idx="42">
                  <c:v>0.8443666315938293</c:v>
                </c:pt>
                <c:pt idx="43">
                  <c:v>0.8418785239018006</c:v>
                </c:pt>
                <c:pt idx="44">
                  <c:v>0.8898368932460172</c:v>
                </c:pt>
                <c:pt idx="45">
                  <c:v>0.8729306926232301</c:v>
                </c:pt>
                <c:pt idx="46">
                  <c:v>0.8564901944455261</c:v>
                </c:pt>
                <c:pt idx="47">
                  <c:v>0.8766759868065773</c:v>
                </c:pt>
                <c:pt idx="48">
                  <c:v>0.8171345404685064</c:v>
                </c:pt>
                <c:pt idx="49">
                  <c:v>0.7583968530158853</c:v>
                </c:pt>
                <c:pt idx="50">
                  <c:v>0.7597092505474322</c:v>
                </c:pt>
                <c:pt idx="51">
                  <c:v>0.7368649659550179</c:v>
                </c:pt>
                <c:pt idx="52">
                  <c:v>0.7094602324124624</c:v>
                </c:pt>
                <c:pt idx="53">
                  <c:v>0.8230343643632448</c:v>
                </c:pt>
                <c:pt idx="54">
                  <c:v>0.8228545001542701</c:v>
                </c:pt>
                <c:pt idx="55">
                  <c:v>0.7973829900731549</c:v>
                </c:pt>
                <c:pt idx="56">
                  <c:v>0.7998970389416156</c:v>
                </c:pt>
                <c:pt idx="57">
                  <c:v>0.8092474167711545</c:v>
                </c:pt>
                <c:pt idx="58">
                  <c:v>0.8078351330766879</c:v>
                </c:pt>
                <c:pt idx="59">
                  <c:v>0.8208255910846767</c:v>
                </c:pt>
                <c:pt idx="60">
                  <c:v>0.8358814012227908</c:v>
                </c:pt>
                <c:pt idx="61">
                  <c:v>0.7869260863620132</c:v>
                </c:pt>
                <c:pt idx="62">
                  <c:v>0.6881027261121055</c:v>
                </c:pt>
                <c:pt idx="63">
                  <c:v>0.6791048881955942</c:v>
                </c:pt>
                <c:pt idx="64">
                  <c:v>0.6808663854028355</c:v>
                </c:pt>
                <c:pt idx="65">
                  <c:v>0.6890068895188936</c:v>
                </c:pt>
                <c:pt idx="66">
                  <c:v>0.7713028969737111</c:v>
                </c:pt>
                <c:pt idx="67">
                  <c:v>0.7945766078764182</c:v>
                </c:pt>
                <c:pt idx="68">
                  <c:v>0.8269565046864846</c:v>
                </c:pt>
                <c:pt idx="69">
                  <c:v>0.8675361467888925</c:v>
                </c:pt>
                <c:pt idx="70">
                  <c:v>0.8432351111775951</c:v>
                </c:pt>
                <c:pt idx="71">
                  <c:v>0.8193794770106071</c:v>
                </c:pt>
                <c:pt idx="72">
                  <c:v>0.8288069721868522</c:v>
                </c:pt>
                <c:pt idx="73">
                  <c:v>0.8181248409904751</c:v>
                </c:pt>
                <c:pt idx="74">
                  <c:v>0.8404255092089035</c:v>
                </c:pt>
                <c:pt idx="75">
                  <c:v>0.828926723188725</c:v>
                </c:pt>
                <c:pt idx="76">
                  <c:v>0.802370139391988</c:v>
                </c:pt>
                <c:pt idx="77">
                  <c:v>0.7888148956790542</c:v>
                </c:pt>
                <c:pt idx="78">
                  <c:v>0.819691792481747</c:v>
                </c:pt>
                <c:pt idx="79">
                  <c:v>0.8517367921914957</c:v>
                </c:pt>
                <c:pt idx="80">
                  <c:v>0.8782616668009315</c:v>
                </c:pt>
                <c:pt idx="81">
                  <c:v>0.8630743749523424</c:v>
                </c:pt>
                <c:pt idx="82">
                  <c:v>0.8881610713354462</c:v>
                </c:pt>
                <c:pt idx="83">
                  <c:v>0.9174919195447974</c:v>
                </c:pt>
                <c:pt idx="84">
                  <c:v>0.9473380053296317</c:v>
                </c:pt>
                <c:pt idx="85">
                  <c:v>0.9156303707920646</c:v>
                </c:pt>
                <c:pt idx="86">
                  <c:v>0.9226562442835474</c:v>
                </c:pt>
                <c:pt idx="87">
                  <c:v>0.9156438861903372</c:v>
                </c:pt>
                <c:pt idx="88">
                  <c:v>0.8932445863391665</c:v>
                </c:pt>
                <c:pt idx="89">
                  <c:v>0.9118126702574187</c:v>
                </c:pt>
                <c:pt idx="90">
                  <c:v>0.9129148062944152</c:v>
                </c:pt>
                <c:pt idx="91">
                  <c:v>0.9031573221977559</c:v>
                </c:pt>
                <c:pt idx="92">
                  <c:v>0.8878305195181719</c:v>
                </c:pt>
                <c:pt idx="93">
                  <c:v>0.8852260014368625</c:v>
                </c:pt>
                <c:pt idx="94">
                  <c:v>1.0561901048822313</c:v>
                </c:pt>
                <c:pt idx="95">
                  <c:v>1.0440190574432344</c:v>
                </c:pt>
                <c:pt idx="96">
                  <c:v>0.8871341214212937</c:v>
                </c:pt>
                <c:pt idx="97">
                  <c:v>0.9308114565869003</c:v>
                </c:pt>
                <c:pt idx="98">
                  <c:v>0.8720777610194181</c:v>
                </c:pt>
                <c:pt idx="99">
                  <c:v>0.8562629839627969</c:v>
                </c:pt>
                <c:pt idx="100">
                  <c:v>0.7822703427829104</c:v>
                </c:pt>
                <c:pt idx="101">
                  <c:v>0.905207533809788</c:v>
                </c:pt>
                <c:pt idx="102">
                  <c:v>0.8564316478291446</c:v>
                </c:pt>
                <c:pt idx="103">
                  <c:v>0.8210652148341551</c:v>
                </c:pt>
                <c:pt idx="104">
                  <c:v>0.8018592675118376</c:v>
                </c:pt>
              </c:numCache>
            </c:numRef>
          </c:xVal>
          <c:yVal>
            <c:numRef>
              <c:f>Sheet1!$B$2:$B$106</c:f>
              <c:numCache>
                <c:formatCode>General</c:formatCode>
                <c:ptCount val="105"/>
                <c:pt idx="0">
                  <c:v>0.2609105180533752</c:v>
                </c:pt>
                <c:pt idx="1">
                  <c:v>0.27915321133835663</c:v>
                </c:pt>
                <c:pt idx="2">
                  <c:v>0.2679640718562874</c:v>
                </c:pt>
                <c:pt idx="3">
                  <c:v>0.2760968229954614</c:v>
                </c:pt>
                <c:pt idx="4">
                  <c:v>0.3285654185948675</c:v>
                </c:pt>
                <c:pt idx="5">
                  <c:v>0.3129285014691479</c:v>
                </c:pt>
                <c:pt idx="6">
                  <c:v>0.3269678621332091</c:v>
                </c:pt>
                <c:pt idx="7">
                  <c:v>0.32083792723263505</c:v>
                </c:pt>
                <c:pt idx="8">
                  <c:v>0.289516567083107</c:v>
                </c:pt>
                <c:pt idx="9">
                  <c:v>0.30207351555136663</c:v>
                </c:pt>
                <c:pt idx="10">
                  <c:v>0.2813774354327141</c:v>
                </c:pt>
                <c:pt idx="11">
                  <c:v>0.28620247757368644</c:v>
                </c:pt>
                <c:pt idx="12">
                  <c:v>0.25807622504537203</c:v>
                </c:pt>
                <c:pt idx="13">
                  <c:v>0.26287816843826656</c:v>
                </c:pt>
                <c:pt idx="14">
                  <c:v>0.22412420382165604</c:v>
                </c:pt>
                <c:pt idx="15">
                  <c:v>0.2147099132023755</c:v>
                </c:pt>
                <c:pt idx="16">
                  <c:v>0.25792584631918325</c:v>
                </c:pt>
                <c:pt idx="17">
                  <c:v>0.267027027027027</c:v>
                </c:pt>
                <c:pt idx="18">
                  <c:v>0.2579310344827586</c:v>
                </c:pt>
                <c:pt idx="19">
                  <c:v>0.2645324347093513</c:v>
                </c:pt>
                <c:pt idx="20">
                  <c:v>0.28422982885085574</c:v>
                </c:pt>
                <c:pt idx="21">
                  <c:v>0.2559171597633136</c:v>
                </c:pt>
                <c:pt idx="22">
                  <c:v>0.22753988245172124</c:v>
                </c:pt>
                <c:pt idx="23">
                  <c:v>0.27929515418502204</c:v>
                </c:pt>
                <c:pt idx="24">
                  <c:v>0.27684964200477324</c:v>
                </c:pt>
                <c:pt idx="25">
                  <c:v>0.26090993500464255</c:v>
                </c:pt>
                <c:pt idx="26">
                  <c:v>0.25055432372505543</c:v>
                </c:pt>
                <c:pt idx="27">
                  <c:v>0.25845229151014276</c:v>
                </c:pt>
                <c:pt idx="28">
                  <c:v>0.29703703703703704</c:v>
                </c:pt>
                <c:pt idx="29">
                  <c:v>0.27801418439716313</c:v>
                </c:pt>
                <c:pt idx="30">
                  <c:v>0.2832764505119454</c:v>
                </c:pt>
                <c:pt idx="31">
                  <c:v>0.27495621716287216</c:v>
                </c:pt>
                <c:pt idx="32">
                  <c:v>0.2798507462686567</c:v>
                </c:pt>
                <c:pt idx="33">
                  <c:v>0.2996918335901387</c:v>
                </c:pt>
                <c:pt idx="34">
                  <c:v>0.31805929919137466</c:v>
                </c:pt>
                <c:pt idx="35">
                  <c:v>0.339906103286385</c:v>
                </c:pt>
                <c:pt idx="36">
                  <c:v>0.3118872549019608</c:v>
                </c:pt>
                <c:pt idx="37">
                  <c:v>0.3139083139083139</c:v>
                </c:pt>
                <c:pt idx="38">
                  <c:v>0.29867256637168144</c:v>
                </c:pt>
                <c:pt idx="39">
                  <c:v>0.3004807692307692</c:v>
                </c:pt>
                <c:pt idx="40">
                  <c:v>0.3053435114503817</c:v>
                </c:pt>
                <c:pt idx="41">
                  <c:v>0.29723837209302323</c:v>
                </c:pt>
                <c:pt idx="42">
                  <c:v>0.2935153583617747</c:v>
                </c:pt>
                <c:pt idx="43">
                  <c:v>0.27174975562072334</c:v>
                </c:pt>
                <c:pt idx="44">
                  <c:v>0.2607385079125848</c:v>
                </c:pt>
                <c:pt idx="45">
                  <c:v>0.2666908563134978</c:v>
                </c:pt>
                <c:pt idx="46">
                  <c:v>0.2680788897005113</c:v>
                </c:pt>
                <c:pt idx="47">
                  <c:v>0.27405247813411077</c:v>
                </c:pt>
                <c:pt idx="48">
                  <c:v>0.27739905610907184</c:v>
                </c:pt>
                <c:pt idx="49">
                  <c:v>0.2865863718858274</c:v>
                </c:pt>
                <c:pt idx="50">
                  <c:v>0.28391074574280684</c:v>
                </c:pt>
                <c:pt idx="51">
                  <c:v>0.30678670360110805</c:v>
                </c:pt>
                <c:pt idx="52">
                  <c:v>0.2966532797858099</c:v>
                </c:pt>
                <c:pt idx="53">
                  <c:v>0.28872958980485863</c:v>
                </c:pt>
                <c:pt idx="54">
                  <c:v>0.30368098159509205</c:v>
                </c:pt>
                <c:pt idx="55">
                  <c:v>0.2999031007751938</c:v>
                </c:pt>
                <c:pt idx="56">
                  <c:v>0.29494505494505496</c:v>
                </c:pt>
                <c:pt idx="57">
                  <c:v>0.27602389078498296</c:v>
                </c:pt>
                <c:pt idx="58">
                  <c:v>0.2797281993204983</c:v>
                </c:pt>
                <c:pt idx="59">
                  <c:v>0.24461610486891386</c:v>
                </c:pt>
                <c:pt idx="60">
                  <c:v>0.2469044081228331</c:v>
                </c:pt>
                <c:pt idx="61">
                  <c:v>0.27841540170307294</c:v>
                </c:pt>
                <c:pt idx="62">
                  <c:v>0.3247831007167107</c:v>
                </c:pt>
                <c:pt idx="63">
                  <c:v>0.33075684380032205</c:v>
                </c:pt>
                <c:pt idx="64">
                  <c:v>0.34081820978160565</c:v>
                </c:pt>
                <c:pt idx="65">
                  <c:v>0.3312438139227978</c:v>
                </c:pt>
                <c:pt idx="66">
                  <c:v>0.32558139534883723</c:v>
                </c:pt>
                <c:pt idx="67">
                  <c:v>0.3160377358490566</c:v>
                </c:pt>
                <c:pt idx="68">
                  <c:v>0.31949032562529495</c:v>
                </c:pt>
                <c:pt idx="69">
                  <c:v>0.27590591226954864</c:v>
                </c:pt>
                <c:pt idx="70">
                  <c:v>0.2703030303030303</c:v>
                </c:pt>
                <c:pt idx="71">
                  <c:v>0.2875226039783002</c:v>
                </c:pt>
                <c:pt idx="72">
                  <c:v>0.28712328767123285</c:v>
                </c:pt>
                <c:pt idx="73">
                  <c:v>0.2909494725152693</c:v>
                </c:pt>
                <c:pt idx="74">
                  <c:v>0.277623542476402</c:v>
                </c:pt>
                <c:pt idx="75">
                  <c:v>0.3013040494166095</c:v>
                </c:pt>
                <c:pt idx="76">
                  <c:v>0.281922525107604</c:v>
                </c:pt>
                <c:pt idx="77">
                  <c:v>0.2853127196064652</c:v>
                </c:pt>
                <c:pt idx="78">
                  <c:v>0.292817679558011</c:v>
                </c:pt>
                <c:pt idx="79">
                  <c:v>0.31274742676167855</c:v>
                </c:pt>
                <c:pt idx="80">
                  <c:v>0.3094098883572568</c:v>
                </c:pt>
                <c:pt idx="81">
                  <c:v>0.31984074319840744</c:v>
                </c:pt>
                <c:pt idx="82">
                  <c:v>0.32091447925486877</c:v>
                </c:pt>
                <c:pt idx="83">
                  <c:v>0.2879914984059511</c:v>
                </c:pt>
                <c:pt idx="84">
                  <c:v>0.2887700534759358</c:v>
                </c:pt>
                <c:pt idx="85">
                  <c:v>0.3024193548387097</c:v>
                </c:pt>
                <c:pt idx="86">
                  <c:v>0.29689703808180534</c:v>
                </c:pt>
                <c:pt idx="87">
                  <c:v>0.3316151202749141</c:v>
                </c:pt>
                <c:pt idx="88">
                  <c:v>0.339568345323741</c:v>
                </c:pt>
                <c:pt idx="89">
                  <c:v>0.3095667870036101</c:v>
                </c:pt>
                <c:pt idx="90">
                  <c:v>0.3198458574181118</c:v>
                </c:pt>
                <c:pt idx="91">
                  <c:v>0.29900332225913623</c:v>
                </c:pt>
                <c:pt idx="92">
                  <c:v>0.31779382797110967</c:v>
                </c:pt>
                <c:pt idx="93">
                  <c:v>0.26814268142681424</c:v>
                </c:pt>
                <c:pt idx="94">
                  <c:v>0.2645390070921986</c:v>
                </c:pt>
                <c:pt idx="95">
                  <c:v>0.2535599448782728</c:v>
                </c:pt>
                <c:pt idx="96">
                  <c:v>0.26875455207574656</c:v>
                </c:pt>
                <c:pt idx="97">
                  <c:v>0.2593346911065852</c:v>
                </c:pt>
                <c:pt idx="98">
                  <c:v>0.28374497415278577</c:v>
                </c:pt>
                <c:pt idx="99">
                  <c:v>0.2955756929637527</c:v>
                </c:pt>
                <c:pt idx="100">
                  <c:v>0.29260450160771706</c:v>
                </c:pt>
                <c:pt idx="101">
                  <c:v>0.2431791221826809</c:v>
                </c:pt>
                <c:pt idx="102">
                  <c:v>0.2484809721778062</c:v>
                </c:pt>
                <c:pt idx="103">
                  <c:v>0.26871961102106967</c:v>
                </c:pt>
                <c:pt idx="104">
                  <c:v>0.2983899821109123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259181392882171</c:v>
                </c:pt>
                <c:pt idx="1">
                  <c:v>0.8227856796615951</c:v>
                </c:pt>
                <c:pt idx="2">
                  <c:v>0.8412362064946883</c:v>
                </c:pt>
                <c:pt idx="3">
                  <c:v>0.8613402293982775</c:v>
                </c:pt>
                <c:pt idx="4">
                  <c:v>0.8701458391723054</c:v>
                </c:pt>
                <c:pt idx="5">
                  <c:v>0.874974509421259</c:v>
                </c:pt>
                <c:pt idx="6">
                  <c:v>0.8782498078865185</c:v>
                </c:pt>
                <c:pt idx="7">
                  <c:v>0.8658614294257536</c:v>
                </c:pt>
                <c:pt idx="8">
                  <c:v>0.833955491775552</c:v>
                </c:pt>
                <c:pt idx="9">
                  <c:v>0.7486908987676731</c:v>
                </c:pt>
                <c:pt idx="10">
                  <c:v>0.7853825354442303</c:v>
                </c:pt>
                <c:pt idx="11">
                  <c:v>0.8677661563961084</c:v>
                </c:pt>
                <c:pt idx="12">
                  <c:v>0.8641140081101718</c:v>
                </c:pt>
                <c:pt idx="13">
                  <c:v>0.7755513530585362</c:v>
                </c:pt>
                <c:pt idx="14">
                  <c:v>0.859081975378014</c:v>
                </c:pt>
                <c:pt idx="15">
                  <c:v>0.805128118157876</c:v>
                </c:pt>
                <c:pt idx="16">
                  <c:v>0.8969838439580413</c:v>
                </c:pt>
                <c:pt idx="17">
                  <c:v>0.8976831875155136</c:v>
                </c:pt>
                <c:pt idx="18">
                  <c:v>0.9329459756502861</c:v>
                </c:pt>
                <c:pt idx="19">
                  <c:v>0.9203030327641182</c:v>
                </c:pt>
                <c:pt idx="20">
                  <c:v>0.8600121356045808</c:v>
                </c:pt>
                <c:pt idx="21">
                  <c:v>0.8677942753878978</c:v>
                </c:pt>
                <c:pt idx="22">
                  <c:v>0.8418376848845742</c:v>
                </c:pt>
                <c:pt idx="23">
                  <c:v>0.8491653626125468</c:v>
                </c:pt>
                <c:pt idx="24">
                  <c:v>0.8968459966645665</c:v>
                </c:pt>
                <c:pt idx="25">
                  <c:v>0.9152307653194562</c:v>
                </c:pt>
                <c:pt idx="26">
                  <c:v>1.0299445379135526</c:v>
                </c:pt>
                <c:pt idx="27">
                  <c:v>1.0810797246955397</c:v>
                </c:pt>
                <c:pt idx="28">
                  <c:v>1.0415363168722844</c:v>
                </c:pt>
                <c:pt idx="29">
                  <c:v>1.0575480382135738</c:v>
                </c:pt>
                <c:pt idx="30">
                  <c:v>0.9814098225153021</c:v>
                </c:pt>
                <c:pt idx="31">
                  <c:v>0.9786513489889092</c:v>
                </c:pt>
                <c:pt idx="32">
                  <c:v>0.9297751316322074</c:v>
                </c:pt>
                <c:pt idx="33">
                  <c:v>0.9291486573451198</c:v>
                </c:pt>
                <c:pt idx="34">
                  <c:v>0.8971745592077393</c:v>
                </c:pt>
                <c:pt idx="35">
                  <c:v>0.901296931506998</c:v>
                </c:pt>
                <c:pt idx="36">
                  <c:v>0.9261795397651514</c:v>
                </c:pt>
                <c:pt idx="37">
                  <c:v>0.8966847831700886</c:v>
                </c:pt>
                <c:pt idx="38">
                  <c:v>0.9391808165795661</c:v>
                </c:pt>
                <c:pt idx="39">
                  <c:v>0.958519139785171</c:v>
                </c:pt>
                <c:pt idx="40">
                  <c:v>0.9506773645719537</c:v>
                </c:pt>
                <c:pt idx="41">
                  <c:v>0.935882719478447</c:v>
                </c:pt>
                <c:pt idx="42">
                  <c:v>0.907939513129988</c:v>
                </c:pt>
                <c:pt idx="43">
                  <c:v>0.8911465597407503</c:v>
                </c:pt>
                <c:pt idx="44">
                  <c:v>0.8480015818458311</c:v>
                </c:pt>
                <c:pt idx="45">
                  <c:v>0.8530122980855459</c:v>
                </c:pt>
                <c:pt idx="46">
                  <c:v>0.8526972747137083</c:v>
                </c:pt>
                <c:pt idx="47">
                  <c:v>0.8339019282584464</c:v>
                </c:pt>
                <c:pt idx="48">
                  <c:v>0.7995892106961284</c:v>
                </c:pt>
                <c:pt idx="49">
                  <c:v>0.7929939461664766</c:v>
                </c:pt>
                <c:pt idx="50">
                  <c:v>0.7483710737537068</c:v>
                </c:pt>
                <c:pt idx="51">
                  <c:v>0.7801117457091538</c:v>
                </c:pt>
              </c:numCache>
            </c:numRef>
          </c:xVal>
          <c:yVal>
            <c:numRef>
              <c:f>Sheet1!$B$109:$B$160</c:f>
              <c:numCache>
                <c:formatCode>General</c:formatCode>
                <c:ptCount val="52"/>
                <c:pt idx="0">
                  <c:v>0.3017518770110833</c:v>
                </c:pt>
                <c:pt idx="1">
                  <c:v>0.29754601226993865</c:v>
                </c:pt>
                <c:pt idx="2">
                  <c:v>0.31233333333333335</c:v>
                </c:pt>
                <c:pt idx="3">
                  <c:v>0.3032134902958956</c:v>
                </c:pt>
                <c:pt idx="4">
                  <c:v>0.3021918792669781</c:v>
                </c:pt>
                <c:pt idx="5">
                  <c:v>0.2958152958152958</c:v>
                </c:pt>
                <c:pt idx="6">
                  <c:v>0.27743012098456404</c:v>
                </c:pt>
                <c:pt idx="7">
                  <c:v>0.27460510328068044</c:v>
                </c:pt>
                <c:pt idx="8">
                  <c:v>0.315921963499056</c:v>
                </c:pt>
                <c:pt idx="9">
                  <c:v>0.29426686960933535</c:v>
                </c:pt>
                <c:pt idx="10">
                  <c:v>0.3102776424744277</c:v>
                </c:pt>
                <c:pt idx="11">
                  <c:v>0.29178947368421054</c:v>
                </c:pt>
                <c:pt idx="12">
                  <c:v>0.31046312178387653</c:v>
                </c:pt>
                <c:pt idx="13">
                  <c:v>0.3231083844580777</c:v>
                </c:pt>
                <c:pt idx="14">
                  <c:v>0.2981042654028436</c:v>
                </c:pt>
                <c:pt idx="15">
                  <c:v>0.3179876601803512</c:v>
                </c:pt>
                <c:pt idx="16">
                  <c:v>0.2865819988956378</c:v>
                </c:pt>
                <c:pt idx="17">
                  <c:v>0.2662076878944349</c:v>
                </c:pt>
                <c:pt idx="18">
                  <c:v>0.27652982184353214</c:v>
                </c:pt>
                <c:pt idx="19">
                  <c:v>0.2808413871517908</c:v>
                </c:pt>
                <c:pt idx="20">
                  <c:v>0.28157894736842104</c:v>
                </c:pt>
                <c:pt idx="21">
                  <c:v>0.28451492537313433</c:v>
                </c:pt>
                <c:pt idx="22">
                  <c:v>0.3138888888888889</c:v>
                </c:pt>
                <c:pt idx="23">
                  <c:v>0.2909556313993174</c:v>
                </c:pt>
                <c:pt idx="24">
                  <c:v>0.2737104825291181</c:v>
                </c:pt>
                <c:pt idx="25">
                  <c:v>0.24417670682730924</c:v>
                </c:pt>
                <c:pt idx="26">
                  <c:v>0.24111866969009826</c:v>
                </c:pt>
                <c:pt idx="27">
                  <c:v>0.23351648351648352</c:v>
                </c:pt>
                <c:pt idx="28">
                  <c:v>0.2540237928621414</c:v>
                </c:pt>
                <c:pt idx="29">
                  <c:v>0.24631751227495907</c:v>
                </c:pt>
                <c:pt idx="30">
                  <c:v>0.2592905405405405</c:v>
                </c:pt>
                <c:pt idx="31">
                  <c:v>0.2773109243697479</c:v>
                </c:pt>
                <c:pt idx="32">
                  <c:v>0.2955715756951596</c:v>
                </c:pt>
                <c:pt idx="33">
                  <c:v>0.3174311926605505</c:v>
                </c:pt>
                <c:pt idx="34">
                  <c:v>0.33740546829552065</c:v>
                </c:pt>
                <c:pt idx="35">
                  <c:v>0.33134684147794996</c:v>
                </c:pt>
                <c:pt idx="36">
                  <c:v>0.2979452054794521</c:v>
                </c:pt>
                <c:pt idx="37">
                  <c:v>0.31499051233396586</c:v>
                </c:pt>
                <c:pt idx="38">
                  <c:v>0.27666666666666667</c:v>
                </c:pt>
                <c:pt idx="39">
                  <c:v>0.31273549359457425</c:v>
                </c:pt>
                <c:pt idx="40">
                  <c:v>0.2871212121212121</c:v>
                </c:pt>
                <c:pt idx="41">
                  <c:v>0.3152889539136796</c:v>
                </c:pt>
                <c:pt idx="42">
                  <c:v>0.2959268495428096</c:v>
                </c:pt>
                <c:pt idx="43">
                  <c:v>0.29243119266055045</c:v>
                </c:pt>
                <c:pt idx="44">
                  <c:v>0.2822695035460993</c:v>
                </c:pt>
                <c:pt idx="45">
                  <c:v>0.2840751043115438</c:v>
                </c:pt>
                <c:pt idx="46">
                  <c:v>0.2966139954853273</c:v>
                </c:pt>
                <c:pt idx="47">
                  <c:v>0.30088105726872244</c:v>
                </c:pt>
                <c:pt idx="48">
                  <c:v>0.3120950323974082</c:v>
                </c:pt>
                <c:pt idx="49">
                  <c:v>0.3425714285714286</c:v>
                </c:pt>
                <c:pt idx="50">
                  <c:v>0.3499585749792875</c:v>
                </c:pt>
                <c:pt idx="51">
                  <c:v>0.335011848341232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165320425238503</c:v>
                </c:pt>
              </c:numCache>
            </c:numRef>
          </c:xVal>
          <c:yVal>
            <c:numRef>
              <c:f>Sheet1!$B$163:$B$164</c:f>
              <c:numCache>
                <c:formatCode>General</c:formatCode>
                <c:ptCount val="2"/>
                <c:pt idx="0">
                  <c:v>0.3349092210723391</c:v>
                </c:pt>
                <c:pt idx="1">
                  <c:v>0.3349092210723391</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165320425238503</c:v>
                </c:pt>
                <c:pt idx="1">
                  <c:v>0.7165320425238503</c:v>
                </c:pt>
              </c:numCache>
            </c:numRef>
          </c:xVal>
          <c:yVal>
            <c:numRef>
              <c:f>Sheet1!$B$167:$B$168</c:f>
              <c:numCache>
                <c:formatCode>General</c:formatCode>
                <c:ptCount val="2"/>
                <c:pt idx="0">
                  <c:v>0.334909221072339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165320425238503</c:v>
                </c:pt>
              </c:numCache>
            </c:numRef>
          </c:xVal>
          <c:yVal>
            <c:numRef>
              <c:f>Sheet1!$B$171:$B$172</c:f>
              <c:numCache>
                <c:formatCode>General</c:formatCode>
                <c:ptCount val="2"/>
                <c:pt idx="0">
                  <c:v>0.3349092210723391</c:v>
                </c:pt>
                <c:pt idx="1">
                  <c:v>0.334909221072339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165320425238503</c:v>
                </c:pt>
                <c:pt idx="1">
                  <c:v>0.7165320425238503</c:v>
                </c:pt>
              </c:numCache>
            </c:numRef>
          </c:xVal>
          <c:yVal>
            <c:numRef>
              <c:f>Sheet1!$B$175:$B$176</c:f>
              <c:numCache>
                <c:formatCode>General</c:formatCode>
                <c:ptCount val="2"/>
                <c:pt idx="0">
                  <c:v>0.334909221072339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8276167663850205</c:v>
                </c:pt>
              </c:numCache>
            </c:numRef>
          </c:xVal>
          <c:yVal>
            <c:numRef>
              <c:f>Sheet1!$B$179:$B$180</c:f>
              <c:numCache>
                <c:formatCode>General</c:formatCode>
                <c:ptCount val="2"/>
                <c:pt idx="0">
                  <c:v>0.30822924974875965</c:v>
                </c:pt>
                <c:pt idx="1">
                  <c:v>0.3082292497487596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8276167663850205</c:v>
                </c:pt>
                <c:pt idx="1">
                  <c:v>0.8276167663850205</c:v>
                </c:pt>
              </c:numCache>
            </c:numRef>
          </c:xVal>
          <c:yVal>
            <c:numRef>
              <c:f>Sheet1!$B$183:$B$184</c:f>
              <c:numCache>
                <c:formatCode>General</c:formatCode>
                <c:ptCount val="2"/>
                <c:pt idx="0">
                  <c:v>0.3082292497487596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259181392882171</c:v>
                </c:pt>
                <c:pt idx="1">
                  <c:v>0.8227856796615951</c:v>
                </c:pt>
                <c:pt idx="2">
                  <c:v>0.8412362064946883</c:v>
                </c:pt>
                <c:pt idx="3">
                  <c:v>0.8613402293982775</c:v>
                </c:pt>
                <c:pt idx="4">
                  <c:v>0.8701458391723054</c:v>
                </c:pt>
                <c:pt idx="5">
                  <c:v>0.874974509421259</c:v>
                </c:pt>
                <c:pt idx="6">
                  <c:v>0.8782498078865185</c:v>
                </c:pt>
                <c:pt idx="7">
                  <c:v>0.8658614294257536</c:v>
                </c:pt>
                <c:pt idx="8">
                  <c:v>0.833955491775552</c:v>
                </c:pt>
                <c:pt idx="9">
                  <c:v>0.7486908987676731</c:v>
                </c:pt>
                <c:pt idx="10">
                  <c:v>0.7853825354442303</c:v>
                </c:pt>
                <c:pt idx="11">
                  <c:v>0.8677661563961084</c:v>
                </c:pt>
                <c:pt idx="12">
                  <c:v>0.8641140081101718</c:v>
                </c:pt>
                <c:pt idx="13">
                  <c:v>0.7755513530585362</c:v>
                </c:pt>
                <c:pt idx="14">
                  <c:v>0.859081975378014</c:v>
                </c:pt>
                <c:pt idx="15">
                  <c:v>0.805128118157876</c:v>
                </c:pt>
                <c:pt idx="16">
                  <c:v>0.8969838439580413</c:v>
                </c:pt>
                <c:pt idx="17">
                  <c:v>0.8976831875155136</c:v>
                </c:pt>
                <c:pt idx="18">
                  <c:v>0.9329459756502861</c:v>
                </c:pt>
                <c:pt idx="19">
                  <c:v>0.9203030327641182</c:v>
                </c:pt>
                <c:pt idx="20">
                  <c:v>0.8600121356045808</c:v>
                </c:pt>
                <c:pt idx="21">
                  <c:v>0.8677942753878978</c:v>
                </c:pt>
                <c:pt idx="22">
                  <c:v>0.8418376848845742</c:v>
                </c:pt>
                <c:pt idx="23">
                  <c:v>0.8491653626125468</c:v>
                </c:pt>
                <c:pt idx="24">
                  <c:v>0.8968459966645665</c:v>
                </c:pt>
                <c:pt idx="25">
                  <c:v>0.9152307653194562</c:v>
                </c:pt>
                <c:pt idx="26">
                  <c:v>1.0299445379135526</c:v>
                </c:pt>
                <c:pt idx="27">
                  <c:v>1.0810797246955397</c:v>
                </c:pt>
                <c:pt idx="28">
                  <c:v>1.0415363168722844</c:v>
                </c:pt>
                <c:pt idx="29">
                  <c:v>1.0575480382135738</c:v>
                </c:pt>
                <c:pt idx="30">
                  <c:v>0.9814098225153021</c:v>
                </c:pt>
                <c:pt idx="31">
                  <c:v>0.9786513489889092</c:v>
                </c:pt>
                <c:pt idx="32">
                  <c:v>0.9297751316322074</c:v>
                </c:pt>
                <c:pt idx="33">
                  <c:v>0.9291486573451198</c:v>
                </c:pt>
                <c:pt idx="34">
                  <c:v>0.8971745592077393</c:v>
                </c:pt>
                <c:pt idx="35">
                  <c:v>0.901296931506998</c:v>
                </c:pt>
                <c:pt idx="36">
                  <c:v>0.9261795397651514</c:v>
                </c:pt>
                <c:pt idx="37">
                  <c:v>0.8966847831700886</c:v>
                </c:pt>
                <c:pt idx="38">
                  <c:v>0.9391808165795661</c:v>
                </c:pt>
                <c:pt idx="39">
                  <c:v>0.958519139785171</c:v>
                </c:pt>
                <c:pt idx="40">
                  <c:v>0.9506773645719537</c:v>
                </c:pt>
                <c:pt idx="41">
                  <c:v>0.935882719478447</c:v>
                </c:pt>
                <c:pt idx="42">
                  <c:v>0.907939513129988</c:v>
                </c:pt>
                <c:pt idx="43">
                  <c:v>0.8911465597407503</c:v>
                </c:pt>
                <c:pt idx="44">
                  <c:v>0.8480015818458311</c:v>
                </c:pt>
                <c:pt idx="45">
                  <c:v>0.8530122980855459</c:v>
                </c:pt>
                <c:pt idx="46">
                  <c:v>0.8526972747137083</c:v>
                </c:pt>
                <c:pt idx="47">
                  <c:v>0.8339019282584464</c:v>
                </c:pt>
                <c:pt idx="48">
                  <c:v>0.7995892106961284</c:v>
                </c:pt>
                <c:pt idx="49">
                  <c:v>0.7929939461664766</c:v>
                </c:pt>
                <c:pt idx="50">
                  <c:v>0.7483710737537068</c:v>
                </c:pt>
                <c:pt idx="51">
                  <c:v>0.7801117457091538</c:v>
                </c:pt>
                <c:pt idx="52">
                  <c:v>0.7165320425238503</c:v>
                </c:pt>
                <c:pt idx="53">
                  <c:v>0.7165320425238503</c:v>
                </c:pt>
                <c:pt idx="54">
                  <c:v>0.8276167663850205</c:v>
                </c:pt>
              </c:numCache>
            </c:numRef>
          </c:xVal>
          <c:yVal>
            <c:numRef>
              <c:f>Sheet1!$B$187:$B$241</c:f>
              <c:numCache>
                <c:formatCode>General</c:formatCode>
                <c:ptCount val="55"/>
                <c:pt idx="0">
                  <c:v>0.3086372205358934</c:v>
                </c:pt>
                <c:pt idx="1">
                  <c:v>0.3093895646036069</c:v>
                </c:pt>
                <c:pt idx="2">
                  <c:v>0.3049581764729844</c:v>
                </c:pt>
                <c:pt idx="3">
                  <c:v>0.30012965697982097</c:v>
                </c:pt>
                <c:pt idx="4">
                  <c:v>0.298014753975234</c:v>
                </c:pt>
                <c:pt idx="5">
                  <c:v>0.29685501950144527</c:v>
                </c:pt>
                <c:pt idx="6">
                  <c:v>0.2960683688613582</c:v>
                </c:pt>
                <c:pt idx="7">
                  <c:v>0.2990437697138816</c:v>
                </c:pt>
                <c:pt idx="8">
                  <c:v>0.3067068350929085</c:v>
                </c:pt>
                <c:pt idx="9">
                  <c:v>0.32718541051980443</c:v>
                </c:pt>
                <c:pt idx="10">
                  <c:v>0.3183729313568803</c:v>
                </c:pt>
                <c:pt idx="11">
                  <c:v>0.2985862985226868</c:v>
                </c:pt>
                <c:pt idx="12">
                  <c:v>0.29946345973938143</c:v>
                </c:pt>
                <c:pt idx="13">
                  <c:v>0.32073415308935727</c:v>
                </c:pt>
                <c:pt idx="14">
                  <c:v>0.3006720371596311</c:v>
                </c:pt>
                <c:pt idx="15">
                  <c:v>0.3136305008744872</c:v>
                </c:pt>
                <c:pt idx="16">
                  <c:v>0.2915688883946489</c:v>
                </c:pt>
                <c:pt idx="17">
                  <c:v>0.2914009223106533</c:v>
                </c:pt>
                <c:pt idx="18">
                  <c:v>0.2829316193901097</c:v>
                </c:pt>
                <c:pt idx="19">
                  <c:v>0.2859681607067193</c:v>
                </c:pt>
                <c:pt idx="20">
                  <c:v>0.3004486342712002</c:v>
                </c:pt>
                <c:pt idx="21">
                  <c:v>0.29857954499377204</c:v>
                </c:pt>
                <c:pt idx="22">
                  <c:v>0.30481371532984863</c:v>
                </c:pt>
                <c:pt idx="23">
                  <c:v>0.3030537772856665</c:v>
                </c:pt>
                <c:pt idx="24">
                  <c:v>0.29160199611377624</c:v>
                </c:pt>
                <c:pt idx="25">
                  <c:v>0.28718640157067676</c:v>
                </c:pt>
                <c:pt idx="26">
                  <c:v>0.25963481700667235</c:v>
                </c:pt>
                <c:pt idx="27">
                  <c:v>0.24735333248253266</c:v>
                </c:pt>
                <c:pt idx="28">
                  <c:v>0.2568507408577795</c:v>
                </c:pt>
                <c:pt idx="29">
                  <c:v>0.25300509717809017</c:v>
                </c:pt>
                <c:pt idx="30">
                  <c:v>0.2712917286864614</c:v>
                </c:pt>
                <c:pt idx="31">
                  <c:v>0.27195424997672446</c:v>
                </c:pt>
                <c:pt idx="32">
                  <c:v>0.2836931824973792</c:v>
                </c:pt>
                <c:pt idx="33">
                  <c:v>0.28384364707462695</c:v>
                </c:pt>
                <c:pt idx="34">
                  <c:v>0.29152308302001184</c:v>
                </c:pt>
                <c:pt idx="35">
                  <c:v>0.290532984913752</c:v>
                </c:pt>
                <c:pt idx="36">
                  <c:v>0.2845567601754786</c:v>
                </c:pt>
                <c:pt idx="37">
                  <c:v>0.2916407158518297</c:v>
                </c:pt>
                <c:pt idx="38">
                  <c:v>0.28143415536969085</c:v>
                </c:pt>
                <c:pt idx="39">
                  <c:v>0.27678953916470783</c:v>
                </c:pt>
                <c:pt idx="40">
                  <c:v>0.27867295148768456</c:v>
                </c:pt>
                <c:pt idx="41">
                  <c:v>0.2822262817127351</c:v>
                </c:pt>
                <c:pt idx="42">
                  <c:v>0.28893759104629824</c:v>
                </c:pt>
                <c:pt idx="43">
                  <c:v>0.2929708685239738</c:v>
                </c:pt>
                <c:pt idx="44">
                  <c:v>0.30333329040325513</c:v>
                </c:pt>
                <c:pt idx="45">
                  <c:v>0.30212983270952887</c:v>
                </c:pt>
                <c:pt idx="46">
                  <c:v>0.3022054940087133</c:v>
                </c:pt>
                <c:pt idx="47">
                  <c:v>0.30671969980599134</c:v>
                </c:pt>
                <c:pt idx="48">
                  <c:v>0.31496081783533303</c:v>
                </c:pt>
                <c:pt idx="49">
                  <c:v>0.3165448472356531</c:v>
                </c:pt>
                <c:pt idx="50">
                  <c:v>0.3272622250619358</c:v>
                </c:pt>
                <c:pt idx="51">
                  <c:v>0.31963885266537817</c:v>
                </c:pt>
                <c:pt idx="52">
                  <c:v>0.3349092210723391</c:v>
                </c:pt>
                <c:pt idx="53">
                  <c:v>0.3349092210723391</c:v>
                </c:pt>
                <c:pt idx="54">
                  <c:v>0.3082292497487596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19950289975145"/>
          <c:min val="0.1717679305619004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60.7521</c:v>
                </c:pt>
                <c:pt idx="1">
                  <c:v>965.6478</c:v>
                </c:pt>
                <c:pt idx="2">
                  <c:v>988.4427</c:v>
                </c:pt>
                <c:pt idx="3">
                  <c:v>1010.2767</c:v>
                </c:pt>
                <c:pt idx="4">
                  <c:v>929.4008</c:v>
                </c:pt>
                <c:pt idx="5">
                  <c:v>940.2379</c:v>
                </c:pt>
                <c:pt idx="6">
                  <c:v>975.6724</c:v>
                </c:pt>
                <c:pt idx="7">
                  <c:v>979.646</c:v>
                </c:pt>
                <c:pt idx="8">
                  <c:v>994.0976</c:v>
                </c:pt>
                <c:pt idx="9">
                  <c:v>937.5023</c:v>
                </c:pt>
                <c:pt idx="10">
                  <c:v>940.9775</c:v>
                </c:pt>
                <c:pt idx="11">
                  <c:v>934.5776</c:v>
                </c:pt>
                <c:pt idx="12">
                  <c:v>977.339</c:v>
                </c:pt>
                <c:pt idx="13">
                  <c:v>984.9813</c:v>
                </c:pt>
                <c:pt idx="14">
                  <c:v>1073.016</c:v>
                </c:pt>
                <c:pt idx="15">
                  <c:v>1109.5553</c:v>
                </c:pt>
                <c:pt idx="16">
                  <c:v>1057.5021</c:v>
                </c:pt>
                <c:pt idx="17">
                  <c:v>1037.9919</c:v>
                </c:pt>
                <c:pt idx="18">
                  <c:v>1108.2112</c:v>
                </c:pt>
                <c:pt idx="19">
                  <c:v>1118.8854</c:v>
                </c:pt>
                <c:pt idx="20">
                  <c:v>1125.7355</c:v>
                </c:pt>
                <c:pt idx="21">
                  <c:v>1130.4942</c:v>
                </c:pt>
                <c:pt idx="22">
                  <c:v>1159.1513</c:v>
                </c:pt>
                <c:pt idx="23">
                  <c:v>1144.2114</c:v>
                </c:pt>
                <c:pt idx="24">
                  <c:v>1147.0632</c:v>
                </c:pt>
                <c:pt idx="25">
                  <c:v>1147.6797</c:v>
                </c:pt>
                <c:pt idx="26">
                  <c:v>1169.0678</c:v>
                </c:pt>
                <c:pt idx="27">
                  <c:v>1149.7907</c:v>
                </c:pt>
                <c:pt idx="28">
                  <c:v>1159.3392</c:v>
                </c:pt>
                <c:pt idx="29">
                  <c:v>1180.1122</c:v>
                </c:pt>
                <c:pt idx="30">
                  <c:v>1189.4367</c:v>
                </c:pt>
                <c:pt idx="31">
                  <c:v>1189.6497</c:v>
                </c:pt>
                <c:pt idx="32">
                  <c:v>1189.0733</c:v>
                </c:pt>
                <c:pt idx="33">
                  <c:v>1157.0334</c:v>
                </c:pt>
                <c:pt idx="34">
                  <c:v>1147.4428</c:v>
                </c:pt>
                <c:pt idx="35">
                  <c:v>1155.0401</c:v>
                </c:pt>
                <c:pt idx="36">
                  <c:v>1167.668</c:v>
                </c:pt>
                <c:pt idx="37">
                  <c:v>1180.854</c:v>
                </c:pt>
                <c:pt idx="38">
                  <c:v>1176.0198</c:v>
                </c:pt>
                <c:pt idx="39">
                  <c:v>1233.4933</c:v>
                </c:pt>
                <c:pt idx="40">
                  <c:v>1220.0625</c:v>
                </c:pt>
                <c:pt idx="41">
                  <c:v>1241.2274</c:v>
                </c:pt>
                <c:pt idx="42">
                  <c:v>1253.0058</c:v>
                </c:pt>
                <c:pt idx="43">
                  <c:v>1249.3399</c:v>
                </c:pt>
                <c:pt idx="44">
                  <c:v>1263.0578</c:v>
                </c:pt>
                <c:pt idx="45">
                  <c:v>1247.7701</c:v>
                </c:pt>
                <c:pt idx="46">
                  <c:v>1189.9387</c:v>
                </c:pt>
                <c:pt idx="47">
                  <c:v>1197.2593</c:v>
                </c:pt>
                <c:pt idx="48">
                  <c:v>1134.6767</c:v>
                </c:pt>
                <c:pt idx="49">
                  <c:v>1035.6471</c:v>
                </c:pt>
                <c:pt idx="50">
                  <c:v>1061.0186</c:v>
                </c:pt>
                <c:pt idx="51">
                  <c:v>1016.8612</c:v>
                </c:pt>
                <c:pt idx="52">
                  <c:v>985.4558</c:v>
                </c:pt>
                <c:pt idx="53">
                  <c:v>1238.531</c:v>
                </c:pt>
                <c:pt idx="54">
                  <c:v>1220.3867</c:v>
                </c:pt>
                <c:pt idx="55">
                  <c:v>1225.4362</c:v>
                </c:pt>
                <c:pt idx="56">
                  <c:v>1236.9687</c:v>
                </c:pt>
                <c:pt idx="57">
                  <c:v>1244.0881</c:v>
                </c:pt>
                <c:pt idx="58">
                  <c:v>1244.1687</c:v>
                </c:pt>
                <c:pt idx="59">
                  <c:v>1226.6842</c:v>
                </c:pt>
                <c:pt idx="60">
                  <c:v>1233.7342</c:v>
                </c:pt>
                <c:pt idx="61">
                  <c:v>1185.5372</c:v>
                </c:pt>
                <c:pt idx="62">
                  <c:v>1069.4913</c:v>
                </c:pt>
                <c:pt idx="63">
                  <c:v>1063.9903</c:v>
                </c:pt>
                <c:pt idx="64">
                  <c:v>1068.2238</c:v>
                </c:pt>
                <c:pt idx="65">
                  <c:v>1083.6165</c:v>
                </c:pt>
                <c:pt idx="66">
                  <c:v>1222.7272</c:v>
                </c:pt>
                <c:pt idx="67">
                  <c:v>1245.4216</c:v>
                </c:pt>
                <c:pt idx="68">
                  <c:v>1235.551</c:v>
                </c:pt>
                <c:pt idx="69">
                  <c:v>1293.4217</c:v>
                </c:pt>
                <c:pt idx="70">
                  <c:v>1273.4013</c:v>
                </c:pt>
                <c:pt idx="71">
                  <c:v>1277.086</c:v>
                </c:pt>
                <c:pt idx="72">
                  <c:v>1284.8779</c:v>
                </c:pt>
                <c:pt idx="73">
                  <c:v>1268.2748</c:v>
                </c:pt>
                <c:pt idx="74">
                  <c:v>1299.406</c:v>
                </c:pt>
                <c:pt idx="75">
                  <c:v>1276.8018</c:v>
                </c:pt>
                <c:pt idx="76">
                  <c:v>1246.7557</c:v>
                </c:pt>
                <c:pt idx="77">
                  <c:v>1225.9261</c:v>
                </c:pt>
                <c:pt idx="78">
                  <c:v>1260.3531</c:v>
                </c:pt>
                <c:pt idx="79">
                  <c:v>1292.2962</c:v>
                </c:pt>
                <c:pt idx="80">
                  <c:v>1302.8015</c:v>
                </c:pt>
                <c:pt idx="81">
                  <c:v>1331.0768</c:v>
                </c:pt>
                <c:pt idx="82">
                  <c:v>1369.2797</c:v>
                </c:pt>
                <c:pt idx="83">
                  <c:v>1375.6494</c:v>
                </c:pt>
                <c:pt idx="84">
                  <c:v>1388.4704</c:v>
                </c:pt>
                <c:pt idx="85">
                  <c:v>1357.4733</c:v>
                </c:pt>
                <c:pt idx="86">
                  <c:v>1361.8432</c:v>
                </c:pt>
                <c:pt idx="87">
                  <c:v>1354.2591</c:v>
                </c:pt>
                <c:pt idx="88">
                  <c:v>1384.5911</c:v>
                </c:pt>
                <c:pt idx="89">
                  <c:v>1406.4198</c:v>
                </c:pt>
                <c:pt idx="90">
                  <c:v>1398.991</c:v>
                </c:pt>
                <c:pt idx="91">
                  <c:v>1389.825</c:v>
                </c:pt>
                <c:pt idx="92">
                  <c:v>1376.4959</c:v>
                </c:pt>
                <c:pt idx="93">
                  <c:v>1355.1353</c:v>
                </c:pt>
                <c:pt idx="94">
                  <c:v>1392.9973</c:v>
                </c:pt>
                <c:pt idx="95">
                  <c:v>1371.1902</c:v>
                </c:pt>
                <c:pt idx="96">
                  <c:v>1224.6938</c:v>
                </c:pt>
                <c:pt idx="97">
                  <c:v>1279.4817</c:v>
                </c:pt>
                <c:pt idx="98">
                  <c:v>1216.5415</c:v>
                </c:pt>
                <c:pt idx="99">
                  <c:v>1212.037</c:v>
                </c:pt>
                <c:pt idx="100">
                  <c:v>1088.1357</c:v>
                </c:pt>
                <c:pt idx="101">
                  <c:v>1327.4854</c:v>
                </c:pt>
                <c:pt idx="102">
                  <c:v>1297.5843</c:v>
                </c:pt>
                <c:pt idx="103">
                  <c:v>1215.2413</c:v>
                </c:pt>
                <c:pt idx="104">
                  <c:v>1184.3297</c:v>
                </c:pt>
              </c:numCache>
            </c:numRef>
          </c:xVal>
          <c:yVal>
            <c:numRef>
              <c:f>Sheet1!$B$2:$B$106</c:f>
              <c:numCache>
                <c:formatCode>General</c:formatCode>
                <c:ptCount val="105"/>
                <c:pt idx="0">
                  <c:v>0.2609105180533752</c:v>
                </c:pt>
                <c:pt idx="1">
                  <c:v>0.27915321133835663</c:v>
                </c:pt>
                <c:pt idx="2">
                  <c:v>0.2679640718562874</c:v>
                </c:pt>
                <c:pt idx="3">
                  <c:v>0.2760968229954614</c:v>
                </c:pt>
                <c:pt idx="4">
                  <c:v>0.3285654185948675</c:v>
                </c:pt>
                <c:pt idx="5">
                  <c:v>0.3129285014691479</c:v>
                </c:pt>
                <c:pt idx="6">
                  <c:v>0.3269678621332091</c:v>
                </c:pt>
                <c:pt idx="7">
                  <c:v>0.32083792723263505</c:v>
                </c:pt>
                <c:pt idx="8">
                  <c:v>0.289516567083107</c:v>
                </c:pt>
                <c:pt idx="9">
                  <c:v>0.30207351555136663</c:v>
                </c:pt>
                <c:pt idx="10">
                  <c:v>0.2813774354327141</c:v>
                </c:pt>
                <c:pt idx="11">
                  <c:v>0.28620247757368644</c:v>
                </c:pt>
                <c:pt idx="12">
                  <c:v>0.25807622504537203</c:v>
                </c:pt>
                <c:pt idx="13">
                  <c:v>0.26287816843826656</c:v>
                </c:pt>
                <c:pt idx="14">
                  <c:v>0.22412420382165604</c:v>
                </c:pt>
                <c:pt idx="15">
                  <c:v>0.2147099132023755</c:v>
                </c:pt>
                <c:pt idx="16">
                  <c:v>0.25792584631918325</c:v>
                </c:pt>
                <c:pt idx="17">
                  <c:v>0.267027027027027</c:v>
                </c:pt>
                <c:pt idx="18">
                  <c:v>0.2579310344827586</c:v>
                </c:pt>
                <c:pt idx="19">
                  <c:v>0.2645324347093513</c:v>
                </c:pt>
                <c:pt idx="20">
                  <c:v>0.28422982885085574</c:v>
                </c:pt>
                <c:pt idx="21">
                  <c:v>0.2559171597633136</c:v>
                </c:pt>
                <c:pt idx="22">
                  <c:v>0.22753988245172124</c:v>
                </c:pt>
                <c:pt idx="23">
                  <c:v>0.27929515418502204</c:v>
                </c:pt>
                <c:pt idx="24">
                  <c:v>0.27684964200477324</c:v>
                </c:pt>
                <c:pt idx="25">
                  <c:v>0.26090993500464255</c:v>
                </c:pt>
                <c:pt idx="26">
                  <c:v>0.25055432372505543</c:v>
                </c:pt>
                <c:pt idx="27">
                  <c:v>0.25845229151014276</c:v>
                </c:pt>
                <c:pt idx="28">
                  <c:v>0.29703703703703704</c:v>
                </c:pt>
                <c:pt idx="29">
                  <c:v>0.27801418439716313</c:v>
                </c:pt>
                <c:pt idx="30">
                  <c:v>0.2832764505119454</c:v>
                </c:pt>
                <c:pt idx="31">
                  <c:v>0.27495621716287216</c:v>
                </c:pt>
                <c:pt idx="32">
                  <c:v>0.2798507462686567</c:v>
                </c:pt>
                <c:pt idx="33">
                  <c:v>0.2996918335901387</c:v>
                </c:pt>
                <c:pt idx="34">
                  <c:v>0.31805929919137466</c:v>
                </c:pt>
                <c:pt idx="35">
                  <c:v>0.339906103286385</c:v>
                </c:pt>
                <c:pt idx="36">
                  <c:v>0.3118872549019608</c:v>
                </c:pt>
                <c:pt idx="37">
                  <c:v>0.3139083139083139</c:v>
                </c:pt>
                <c:pt idx="38">
                  <c:v>0.29867256637168144</c:v>
                </c:pt>
                <c:pt idx="39">
                  <c:v>0.3004807692307692</c:v>
                </c:pt>
                <c:pt idx="40">
                  <c:v>0.3053435114503817</c:v>
                </c:pt>
                <c:pt idx="41">
                  <c:v>0.29723837209302323</c:v>
                </c:pt>
                <c:pt idx="42">
                  <c:v>0.2935153583617747</c:v>
                </c:pt>
                <c:pt idx="43">
                  <c:v>0.27174975562072334</c:v>
                </c:pt>
                <c:pt idx="44">
                  <c:v>0.2607385079125848</c:v>
                </c:pt>
                <c:pt idx="45">
                  <c:v>0.2666908563134978</c:v>
                </c:pt>
                <c:pt idx="46">
                  <c:v>0.2680788897005113</c:v>
                </c:pt>
                <c:pt idx="47">
                  <c:v>0.27405247813411077</c:v>
                </c:pt>
                <c:pt idx="48">
                  <c:v>0.27739905610907184</c:v>
                </c:pt>
                <c:pt idx="49">
                  <c:v>0.2865863718858274</c:v>
                </c:pt>
                <c:pt idx="50">
                  <c:v>0.28391074574280684</c:v>
                </c:pt>
                <c:pt idx="51">
                  <c:v>0.30678670360110805</c:v>
                </c:pt>
                <c:pt idx="52">
                  <c:v>0.2966532797858099</c:v>
                </c:pt>
                <c:pt idx="53">
                  <c:v>0.28872958980485863</c:v>
                </c:pt>
                <c:pt idx="54">
                  <c:v>0.30368098159509205</c:v>
                </c:pt>
                <c:pt idx="55">
                  <c:v>0.2999031007751938</c:v>
                </c:pt>
                <c:pt idx="56">
                  <c:v>0.29494505494505496</c:v>
                </c:pt>
                <c:pt idx="57">
                  <c:v>0.27602389078498296</c:v>
                </c:pt>
                <c:pt idx="58">
                  <c:v>0.2797281993204983</c:v>
                </c:pt>
                <c:pt idx="59">
                  <c:v>0.24461610486891386</c:v>
                </c:pt>
                <c:pt idx="60">
                  <c:v>0.2469044081228331</c:v>
                </c:pt>
                <c:pt idx="61">
                  <c:v>0.27841540170307294</c:v>
                </c:pt>
                <c:pt idx="62">
                  <c:v>0.3247831007167107</c:v>
                </c:pt>
                <c:pt idx="63">
                  <c:v>0.33075684380032205</c:v>
                </c:pt>
                <c:pt idx="64">
                  <c:v>0.34081820978160565</c:v>
                </c:pt>
                <c:pt idx="65">
                  <c:v>0.3312438139227978</c:v>
                </c:pt>
                <c:pt idx="66">
                  <c:v>0.32558139534883723</c:v>
                </c:pt>
                <c:pt idx="67">
                  <c:v>0.3160377358490566</c:v>
                </c:pt>
                <c:pt idx="68">
                  <c:v>0.31949032562529495</c:v>
                </c:pt>
                <c:pt idx="69">
                  <c:v>0.27590591226954864</c:v>
                </c:pt>
                <c:pt idx="70">
                  <c:v>0.2703030303030303</c:v>
                </c:pt>
                <c:pt idx="71">
                  <c:v>0.2875226039783002</c:v>
                </c:pt>
                <c:pt idx="72">
                  <c:v>0.28712328767123285</c:v>
                </c:pt>
                <c:pt idx="73">
                  <c:v>0.2909494725152693</c:v>
                </c:pt>
                <c:pt idx="74">
                  <c:v>0.277623542476402</c:v>
                </c:pt>
                <c:pt idx="75">
                  <c:v>0.3013040494166095</c:v>
                </c:pt>
                <c:pt idx="76">
                  <c:v>0.281922525107604</c:v>
                </c:pt>
                <c:pt idx="77">
                  <c:v>0.2853127196064652</c:v>
                </c:pt>
                <c:pt idx="78">
                  <c:v>0.292817679558011</c:v>
                </c:pt>
                <c:pt idx="79">
                  <c:v>0.31274742676167855</c:v>
                </c:pt>
                <c:pt idx="80">
                  <c:v>0.3094098883572568</c:v>
                </c:pt>
                <c:pt idx="81">
                  <c:v>0.31984074319840744</c:v>
                </c:pt>
                <c:pt idx="82">
                  <c:v>0.32091447925486877</c:v>
                </c:pt>
                <c:pt idx="83">
                  <c:v>0.2879914984059511</c:v>
                </c:pt>
                <c:pt idx="84">
                  <c:v>0.2887700534759358</c:v>
                </c:pt>
                <c:pt idx="85">
                  <c:v>0.3024193548387097</c:v>
                </c:pt>
                <c:pt idx="86">
                  <c:v>0.29689703808180534</c:v>
                </c:pt>
                <c:pt idx="87">
                  <c:v>0.3316151202749141</c:v>
                </c:pt>
                <c:pt idx="88">
                  <c:v>0.339568345323741</c:v>
                </c:pt>
                <c:pt idx="89">
                  <c:v>0.3095667870036101</c:v>
                </c:pt>
                <c:pt idx="90">
                  <c:v>0.3198458574181118</c:v>
                </c:pt>
                <c:pt idx="91">
                  <c:v>0.29900332225913623</c:v>
                </c:pt>
                <c:pt idx="92">
                  <c:v>0.31779382797110967</c:v>
                </c:pt>
                <c:pt idx="93">
                  <c:v>0.26814268142681424</c:v>
                </c:pt>
                <c:pt idx="94">
                  <c:v>0.2645390070921986</c:v>
                </c:pt>
                <c:pt idx="95">
                  <c:v>0.2535599448782728</c:v>
                </c:pt>
                <c:pt idx="96">
                  <c:v>0.26875455207574656</c:v>
                </c:pt>
                <c:pt idx="97">
                  <c:v>0.2593346911065852</c:v>
                </c:pt>
                <c:pt idx="98">
                  <c:v>0.28374497415278577</c:v>
                </c:pt>
                <c:pt idx="99">
                  <c:v>0.2955756929637527</c:v>
                </c:pt>
                <c:pt idx="100">
                  <c:v>0.29260450160771706</c:v>
                </c:pt>
                <c:pt idx="101">
                  <c:v>0.2431791221826809</c:v>
                </c:pt>
                <c:pt idx="102">
                  <c:v>0.2484809721778062</c:v>
                </c:pt>
                <c:pt idx="103">
                  <c:v>0.26871961102106967</c:v>
                </c:pt>
                <c:pt idx="104">
                  <c:v>0.2983899821109123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21.2618</c:v>
                </c:pt>
                <c:pt idx="1">
                  <c:v>1334.3131</c:v>
                </c:pt>
                <c:pt idx="2">
                  <c:v>1333.2401</c:v>
                </c:pt>
                <c:pt idx="3">
                  <c:v>1348.4544</c:v>
                </c:pt>
                <c:pt idx="4">
                  <c:v>1343.698</c:v>
                </c:pt>
                <c:pt idx="5">
                  <c:v>1337.4037</c:v>
                </c:pt>
                <c:pt idx="6">
                  <c:v>1341.5113</c:v>
                </c:pt>
                <c:pt idx="7">
                  <c:v>1343.4712</c:v>
                </c:pt>
                <c:pt idx="8">
                  <c:v>1346.8347</c:v>
                </c:pt>
                <c:pt idx="9">
                  <c:v>1156.1776</c:v>
                </c:pt>
                <c:pt idx="10">
                  <c:v>1208.7221</c:v>
                </c:pt>
                <c:pt idx="11">
                  <c:v>1348.6609</c:v>
                </c:pt>
                <c:pt idx="12">
                  <c:v>1325.5718</c:v>
                </c:pt>
                <c:pt idx="13">
                  <c:v>1208.157</c:v>
                </c:pt>
                <c:pt idx="14">
                  <c:v>1345.3911</c:v>
                </c:pt>
                <c:pt idx="15">
                  <c:v>1248.5761</c:v>
                </c:pt>
                <c:pt idx="16">
                  <c:v>1364.5434</c:v>
                </c:pt>
                <c:pt idx="17">
                  <c:v>1381.153</c:v>
                </c:pt>
                <c:pt idx="18">
                  <c:v>1441.1905</c:v>
                </c:pt>
                <c:pt idx="19">
                  <c:v>1416.4453</c:v>
                </c:pt>
                <c:pt idx="20">
                  <c:v>1313.8715</c:v>
                </c:pt>
                <c:pt idx="21">
                  <c:v>1345.7377</c:v>
                </c:pt>
                <c:pt idx="22">
                  <c:v>1320.8142</c:v>
                </c:pt>
                <c:pt idx="23">
                  <c:v>1357.3167</c:v>
                </c:pt>
                <c:pt idx="24">
                  <c:v>1435.3587</c:v>
                </c:pt>
                <c:pt idx="25">
                  <c:v>1429.1743</c:v>
                </c:pt>
                <c:pt idx="26">
                  <c:v>1424.5235</c:v>
                </c:pt>
                <c:pt idx="27">
                  <c:v>1417.4206</c:v>
                </c:pt>
                <c:pt idx="28">
                  <c:v>1416.6501</c:v>
                </c:pt>
                <c:pt idx="29">
                  <c:v>1435.7508</c:v>
                </c:pt>
                <c:pt idx="30">
                  <c:v>1425.987</c:v>
                </c:pt>
                <c:pt idx="31">
                  <c:v>1413.3902</c:v>
                </c:pt>
                <c:pt idx="32">
                  <c:v>1394.5157</c:v>
                </c:pt>
                <c:pt idx="33">
                  <c:v>1393.711</c:v>
                </c:pt>
                <c:pt idx="34">
                  <c:v>1406.6328</c:v>
                </c:pt>
                <c:pt idx="35">
                  <c:v>1428.0647</c:v>
                </c:pt>
                <c:pt idx="36">
                  <c:v>1481.9119</c:v>
                </c:pt>
                <c:pt idx="37">
                  <c:v>1432.3163</c:v>
                </c:pt>
                <c:pt idx="38">
                  <c:v>1419.6707</c:v>
                </c:pt>
                <c:pt idx="39">
                  <c:v>1466.9614</c:v>
                </c:pt>
                <c:pt idx="40">
                  <c:v>1472.5884</c:v>
                </c:pt>
                <c:pt idx="41">
                  <c:v>1467.4014</c:v>
                </c:pt>
                <c:pt idx="42">
                  <c:v>1447.7949</c:v>
                </c:pt>
                <c:pt idx="43">
                  <c:v>1419.6216</c:v>
                </c:pt>
                <c:pt idx="44">
                  <c:v>1356.5059</c:v>
                </c:pt>
                <c:pt idx="45">
                  <c:v>1353.0673</c:v>
                </c:pt>
                <c:pt idx="46">
                  <c:v>1355.8371</c:v>
                </c:pt>
                <c:pt idx="47">
                  <c:v>1323.6808</c:v>
                </c:pt>
                <c:pt idx="48">
                  <c:v>1239.8627</c:v>
                </c:pt>
                <c:pt idx="49">
                  <c:v>1203.5396</c:v>
                </c:pt>
                <c:pt idx="50">
                  <c:v>1152.2519</c:v>
                </c:pt>
                <c:pt idx="51">
                  <c:v>1200.6852</c:v>
                </c:pt>
              </c:numCache>
            </c:numRef>
          </c:xVal>
          <c:yVal>
            <c:numRef>
              <c:f>Sheet1!$B$109:$B$160</c:f>
              <c:numCache>
                <c:formatCode>General</c:formatCode>
                <c:ptCount val="52"/>
                <c:pt idx="0">
                  <c:v>0.3017518770110833</c:v>
                </c:pt>
                <c:pt idx="1">
                  <c:v>0.29754601226993865</c:v>
                </c:pt>
                <c:pt idx="2">
                  <c:v>0.31233333333333335</c:v>
                </c:pt>
                <c:pt idx="3">
                  <c:v>0.3032134902958956</c:v>
                </c:pt>
                <c:pt idx="4">
                  <c:v>0.3021918792669781</c:v>
                </c:pt>
                <c:pt idx="5">
                  <c:v>0.2958152958152958</c:v>
                </c:pt>
                <c:pt idx="6">
                  <c:v>0.27743012098456404</c:v>
                </c:pt>
                <c:pt idx="7">
                  <c:v>0.27460510328068044</c:v>
                </c:pt>
                <c:pt idx="8">
                  <c:v>0.315921963499056</c:v>
                </c:pt>
                <c:pt idx="9">
                  <c:v>0.29426686960933535</c:v>
                </c:pt>
                <c:pt idx="10">
                  <c:v>0.3102776424744277</c:v>
                </c:pt>
                <c:pt idx="11">
                  <c:v>0.29178947368421054</c:v>
                </c:pt>
                <c:pt idx="12">
                  <c:v>0.31046312178387653</c:v>
                </c:pt>
                <c:pt idx="13">
                  <c:v>0.3231083844580777</c:v>
                </c:pt>
                <c:pt idx="14">
                  <c:v>0.2981042654028436</c:v>
                </c:pt>
                <c:pt idx="15">
                  <c:v>0.3179876601803512</c:v>
                </c:pt>
                <c:pt idx="16">
                  <c:v>0.2865819988956378</c:v>
                </c:pt>
                <c:pt idx="17">
                  <c:v>0.2662076878944349</c:v>
                </c:pt>
                <c:pt idx="18">
                  <c:v>0.27652982184353214</c:v>
                </c:pt>
                <c:pt idx="19">
                  <c:v>0.2808413871517908</c:v>
                </c:pt>
                <c:pt idx="20">
                  <c:v>0.28157894736842104</c:v>
                </c:pt>
                <c:pt idx="21">
                  <c:v>0.28451492537313433</c:v>
                </c:pt>
                <c:pt idx="22">
                  <c:v>0.3138888888888889</c:v>
                </c:pt>
                <c:pt idx="23">
                  <c:v>0.2909556313993174</c:v>
                </c:pt>
                <c:pt idx="24">
                  <c:v>0.2737104825291181</c:v>
                </c:pt>
                <c:pt idx="25">
                  <c:v>0.24417670682730924</c:v>
                </c:pt>
                <c:pt idx="26">
                  <c:v>0.24111866969009826</c:v>
                </c:pt>
                <c:pt idx="27">
                  <c:v>0.23351648351648352</c:v>
                </c:pt>
                <c:pt idx="28">
                  <c:v>0.2540237928621414</c:v>
                </c:pt>
                <c:pt idx="29">
                  <c:v>0.24631751227495907</c:v>
                </c:pt>
                <c:pt idx="30">
                  <c:v>0.2592905405405405</c:v>
                </c:pt>
                <c:pt idx="31">
                  <c:v>0.2773109243697479</c:v>
                </c:pt>
                <c:pt idx="32">
                  <c:v>0.2955715756951596</c:v>
                </c:pt>
                <c:pt idx="33">
                  <c:v>0.3174311926605505</c:v>
                </c:pt>
                <c:pt idx="34">
                  <c:v>0.33740546829552065</c:v>
                </c:pt>
                <c:pt idx="35">
                  <c:v>0.33134684147794996</c:v>
                </c:pt>
                <c:pt idx="36">
                  <c:v>0.2979452054794521</c:v>
                </c:pt>
                <c:pt idx="37">
                  <c:v>0.31499051233396586</c:v>
                </c:pt>
                <c:pt idx="38">
                  <c:v>0.27666666666666667</c:v>
                </c:pt>
                <c:pt idx="39">
                  <c:v>0.31273549359457425</c:v>
                </c:pt>
                <c:pt idx="40">
                  <c:v>0.2871212121212121</c:v>
                </c:pt>
                <c:pt idx="41">
                  <c:v>0.3152889539136796</c:v>
                </c:pt>
                <c:pt idx="42">
                  <c:v>0.2959268495428096</c:v>
                </c:pt>
                <c:pt idx="43">
                  <c:v>0.29243119266055045</c:v>
                </c:pt>
                <c:pt idx="44">
                  <c:v>0.2822695035460993</c:v>
                </c:pt>
                <c:pt idx="45">
                  <c:v>0.2840751043115438</c:v>
                </c:pt>
                <c:pt idx="46">
                  <c:v>0.2966139954853273</c:v>
                </c:pt>
                <c:pt idx="47">
                  <c:v>0.30088105726872244</c:v>
                </c:pt>
                <c:pt idx="48">
                  <c:v>0.3120950323974082</c:v>
                </c:pt>
                <c:pt idx="49">
                  <c:v>0.3425714285714286</c:v>
                </c:pt>
                <c:pt idx="50">
                  <c:v>0.3499585749792875</c:v>
                </c:pt>
                <c:pt idx="51">
                  <c:v>0.335011848341232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96.9667977513175</c:v>
                </c:pt>
              </c:numCache>
            </c:numRef>
          </c:xVal>
          <c:yVal>
            <c:numRef>
              <c:f>Sheet1!$B$163:$B$164</c:f>
              <c:numCache>
                <c:formatCode>General</c:formatCode>
                <c:ptCount val="2"/>
                <c:pt idx="0">
                  <c:v>0.3349092210723391</c:v>
                </c:pt>
                <c:pt idx="1">
                  <c:v>0.3349092210723391</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96.9667977513175</c:v>
                </c:pt>
                <c:pt idx="1">
                  <c:v>1096.9667977513175</c:v>
                </c:pt>
              </c:numCache>
            </c:numRef>
          </c:xVal>
          <c:yVal>
            <c:numRef>
              <c:f>Sheet1!$B$167:$B$168</c:f>
              <c:numCache>
                <c:formatCode>General</c:formatCode>
                <c:ptCount val="2"/>
                <c:pt idx="0">
                  <c:v>0.334909221072339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6.9667977513175</c:v>
                </c:pt>
              </c:numCache>
            </c:numRef>
          </c:xVal>
          <c:yVal>
            <c:numRef>
              <c:f>Sheet1!$B$171:$B$172</c:f>
              <c:numCache>
                <c:formatCode>General</c:formatCode>
                <c:ptCount val="2"/>
                <c:pt idx="0">
                  <c:v>0.3349092210723391</c:v>
                </c:pt>
                <c:pt idx="1">
                  <c:v>0.334909221072339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6.9667977513175</c:v>
                </c:pt>
                <c:pt idx="1">
                  <c:v>1096.9667977513175</c:v>
                </c:pt>
              </c:numCache>
            </c:numRef>
          </c:xVal>
          <c:yVal>
            <c:numRef>
              <c:f>Sheet1!$B$175:$B$176</c:f>
              <c:numCache>
                <c:formatCode>General</c:formatCode>
                <c:ptCount val="2"/>
                <c:pt idx="0">
                  <c:v>0.334909221072339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69.8517518561714</c:v>
                </c:pt>
              </c:numCache>
            </c:numRef>
          </c:xVal>
          <c:yVal>
            <c:numRef>
              <c:f>Sheet1!$B$179:$B$180</c:f>
              <c:numCache>
                <c:formatCode>General</c:formatCode>
                <c:ptCount val="2"/>
                <c:pt idx="0">
                  <c:v>0.30822924974875965</c:v>
                </c:pt>
                <c:pt idx="1">
                  <c:v>0.3082292497487596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69.8517518561714</c:v>
                </c:pt>
                <c:pt idx="1">
                  <c:v>1269.8517518561714</c:v>
                </c:pt>
              </c:numCache>
            </c:numRef>
          </c:xVal>
          <c:yVal>
            <c:numRef>
              <c:f>Sheet1!$B$183:$B$184</c:f>
              <c:numCache>
                <c:formatCode>General</c:formatCode>
                <c:ptCount val="2"/>
                <c:pt idx="0">
                  <c:v>0.3082292497487596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21.2618</c:v>
                </c:pt>
                <c:pt idx="1">
                  <c:v>1334.3131</c:v>
                </c:pt>
                <c:pt idx="2">
                  <c:v>1333.2401</c:v>
                </c:pt>
                <c:pt idx="3">
                  <c:v>1348.4544</c:v>
                </c:pt>
                <c:pt idx="4">
                  <c:v>1343.698</c:v>
                </c:pt>
                <c:pt idx="5">
                  <c:v>1337.4037</c:v>
                </c:pt>
                <c:pt idx="6">
                  <c:v>1341.5113</c:v>
                </c:pt>
                <c:pt idx="7">
                  <c:v>1343.4712</c:v>
                </c:pt>
                <c:pt idx="8">
                  <c:v>1346.8347</c:v>
                </c:pt>
                <c:pt idx="9">
                  <c:v>1156.1776</c:v>
                </c:pt>
                <c:pt idx="10">
                  <c:v>1208.7221</c:v>
                </c:pt>
                <c:pt idx="11">
                  <c:v>1348.6609</c:v>
                </c:pt>
                <c:pt idx="12">
                  <c:v>1325.5718</c:v>
                </c:pt>
                <c:pt idx="13">
                  <c:v>1208.157</c:v>
                </c:pt>
                <c:pt idx="14">
                  <c:v>1345.3911</c:v>
                </c:pt>
                <c:pt idx="15">
                  <c:v>1248.5761</c:v>
                </c:pt>
                <c:pt idx="16">
                  <c:v>1364.5434</c:v>
                </c:pt>
                <c:pt idx="17">
                  <c:v>1381.153</c:v>
                </c:pt>
                <c:pt idx="18">
                  <c:v>1441.1905</c:v>
                </c:pt>
                <c:pt idx="19">
                  <c:v>1416.4453</c:v>
                </c:pt>
                <c:pt idx="20">
                  <c:v>1313.8715</c:v>
                </c:pt>
                <c:pt idx="21">
                  <c:v>1345.7377</c:v>
                </c:pt>
                <c:pt idx="22">
                  <c:v>1320.8142</c:v>
                </c:pt>
                <c:pt idx="23">
                  <c:v>1357.3167</c:v>
                </c:pt>
                <c:pt idx="24">
                  <c:v>1435.3587</c:v>
                </c:pt>
                <c:pt idx="25">
                  <c:v>1429.1743</c:v>
                </c:pt>
                <c:pt idx="26">
                  <c:v>1424.5235</c:v>
                </c:pt>
                <c:pt idx="27">
                  <c:v>1417.4206</c:v>
                </c:pt>
                <c:pt idx="28">
                  <c:v>1416.6501</c:v>
                </c:pt>
                <c:pt idx="29">
                  <c:v>1435.7508</c:v>
                </c:pt>
                <c:pt idx="30">
                  <c:v>1425.987</c:v>
                </c:pt>
                <c:pt idx="31">
                  <c:v>1413.3902</c:v>
                </c:pt>
                <c:pt idx="32">
                  <c:v>1394.5157</c:v>
                </c:pt>
                <c:pt idx="33">
                  <c:v>1393.711</c:v>
                </c:pt>
                <c:pt idx="34">
                  <c:v>1406.6328</c:v>
                </c:pt>
                <c:pt idx="35">
                  <c:v>1428.0647</c:v>
                </c:pt>
                <c:pt idx="36">
                  <c:v>1481.9119</c:v>
                </c:pt>
                <c:pt idx="37">
                  <c:v>1432.3163</c:v>
                </c:pt>
                <c:pt idx="38">
                  <c:v>1419.6707</c:v>
                </c:pt>
                <c:pt idx="39">
                  <c:v>1466.9614</c:v>
                </c:pt>
                <c:pt idx="40">
                  <c:v>1472.5884</c:v>
                </c:pt>
                <c:pt idx="41">
                  <c:v>1467.4014</c:v>
                </c:pt>
                <c:pt idx="42">
                  <c:v>1447.7949</c:v>
                </c:pt>
                <c:pt idx="43">
                  <c:v>1419.6216</c:v>
                </c:pt>
                <c:pt idx="44">
                  <c:v>1356.5059</c:v>
                </c:pt>
                <c:pt idx="45">
                  <c:v>1353.0673</c:v>
                </c:pt>
                <c:pt idx="46">
                  <c:v>1355.8371</c:v>
                </c:pt>
                <c:pt idx="47">
                  <c:v>1323.6808</c:v>
                </c:pt>
                <c:pt idx="48">
                  <c:v>1239.8627</c:v>
                </c:pt>
                <c:pt idx="49">
                  <c:v>1203.5396</c:v>
                </c:pt>
                <c:pt idx="50">
                  <c:v>1152.2519</c:v>
                </c:pt>
                <c:pt idx="51">
                  <c:v>1200.6852</c:v>
                </c:pt>
                <c:pt idx="52">
                  <c:v>1096.9667977513175</c:v>
                </c:pt>
                <c:pt idx="53">
                  <c:v>1096.9667977513175</c:v>
                </c:pt>
                <c:pt idx="54">
                  <c:v>1269.8517518561714</c:v>
                </c:pt>
              </c:numCache>
            </c:numRef>
          </c:xVal>
          <c:yVal>
            <c:numRef>
              <c:f>Sheet1!$B$187:$B$241</c:f>
              <c:numCache>
                <c:formatCode>General</c:formatCode>
                <c:ptCount val="55"/>
                <c:pt idx="0">
                  <c:v>0.3002955425194463</c:v>
                </c:pt>
                <c:pt idx="1">
                  <c:v>0.2982814383335826</c:v>
                </c:pt>
                <c:pt idx="2">
                  <c:v>0.2984470259602123</c:v>
                </c:pt>
                <c:pt idx="3">
                  <c:v>0.2960991230451781</c:v>
                </c:pt>
                <c:pt idx="4">
                  <c:v>0.2968331407407059</c:v>
                </c:pt>
                <c:pt idx="5">
                  <c:v>0.2978044904129287</c:v>
                </c:pt>
                <c:pt idx="6">
                  <c:v>0.2971705969039409</c:v>
                </c:pt>
                <c:pt idx="7">
                  <c:v>0.2968681409958034</c:v>
                </c:pt>
                <c:pt idx="8">
                  <c:v>0.2963490785706693</c:v>
                </c:pt>
                <c:pt idx="9">
                  <c:v>0.3257716849910739</c:v>
                </c:pt>
                <c:pt idx="10">
                  <c:v>0.3176629067548742</c:v>
                </c:pt>
                <c:pt idx="11">
                  <c:v>0.2960672555289628</c:v>
                </c:pt>
                <c:pt idx="12">
                  <c:v>0.299630414214904</c:v>
                </c:pt>
                <c:pt idx="13">
                  <c:v>0.31775011418060434</c:v>
                </c:pt>
                <c:pt idx="14">
                  <c:v>0.2965718579721629</c:v>
                </c:pt>
                <c:pt idx="15">
                  <c:v>0.31151255328637606</c:v>
                </c:pt>
                <c:pt idx="16">
                  <c:v>0.2936162345784077</c:v>
                </c:pt>
                <c:pt idx="17">
                  <c:v>0.29105300601991</c:v>
                </c:pt>
                <c:pt idx="18">
                  <c:v>0.2817878921953263</c:v>
                </c:pt>
                <c:pt idx="19">
                  <c:v>0.2856066237316509</c:v>
                </c:pt>
                <c:pt idx="20">
                  <c:v>0.3014360292268845</c:v>
                </c:pt>
                <c:pt idx="21">
                  <c:v>0.2965183699279971</c:v>
                </c:pt>
                <c:pt idx="22">
                  <c:v>0.3003646170969667</c:v>
                </c:pt>
                <c:pt idx="23">
                  <c:v>0.2947314741882535</c:v>
                </c:pt>
                <c:pt idx="24">
                  <c:v>0.28268786789055356</c:v>
                </c:pt>
                <c:pt idx="25">
                  <c:v>0.2836422575626212</c:v>
                </c:pt>
                <c:pt idx="26">
                  <c:v>0.28435997884307707</c:v>
                </c:pt>
                <c:pt idx="27">
                  <c:v>0.285456113375405</c:v>
                </c:pt>
                <c:pt idx="28">
                  <c:v>0.2855750185630267</c:v>
                </c:pt>
                <c:pt idx="29">
                  <c:v>0.2826273581902726</c:v>
                </c:pt>
                <c:pt idx="30">
                  <c:v>0.2841341284315463</c:v>
                </c:pt>
                <c:pt idx="31">
                  <c:v>0.2860780932173138</c:v>
                </c:pt>
                <c:pt idx="32">
                  <c:v>0.28899084592823787</c:v>
                </c:pt>
                <c:pt idx="33">
                  <c:v>0.2891150289321045</c:v>
                </c:pt>
                <c:pt idx="34">
                  <c:v>0.2871209094597996</c:v>
                </c:pt>
                <c:pt idx="35">
                  <c:v>0.2838134933785655</c:v>
                </c:pt>
                <c:pt idx="36">
                  <c:v>0.2755036797265126</c:v>
                </c:pt>
                <c:pt idx="37">
                  <c:v>0.2831573774853887</c:v>
                </c:pt>
                <c:pt idx="38">
                  <c:v>0.2851088731902425</c:v>
                </c:pt>
                <c:pt idx="39">
                  <c:v>0.2778108724682896</c:v>
                </c:pt>
                <c:pt idx="40">
                  <c:v>0.27694250194168657</c:v>
                </c:pt>
                <c:pt idx="41">
                  <c:v>0.2777429707388236</c:v>
                </c:pt>
                <c:pt idx="42">
                  <c:v>0.2807686872360412</c:v>
                </c:pt>
                <c:pt idx="43">
                  <c:v>0.2851164504059624</c:v>
                </c:pt>
                <c:pt idx="44">
                  <c:v>0.29485659855700597</c:v>
                </c:pt>
                <c:pt idx="45">
                  <c:v>0.29538725057278303</c:v>
                </c:pt>
                <c:pt idx="46">
                  <c:v>0.29495980918579434</c:v>
                </c:pt>
                <c:pt idx="47">
                  <c:v>0.2999222373294955</c:v>
                </c:pt>
                <c:pt idx="48">
                  <c:v>0.31285722358076085</c:v>
                </c:pt>
                <c:pt idx="49">
                  <c:v>0.3184626811025053</c:v>
                </c:pt>
                <c:pt idx="50">
                  <c:v>0.32637750730781206</c:v>
                </c:pt>
                <c:pt idx="51">
                  <c:v>0.31890317814020497</c:v>
                </c:pt>
                <c:pt idx="52">
                  <c:v>0.3349092210723391</c:v>
                </c:pt>
                <c:pt idx="53">
                  <c:v>0.3349092210723391</c:v>
                </c:pt>
                <c:pt idx="54">
                  <c:v>0.3082292497487596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78.0"/>
          <c:min val="74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19950289975145"/>
          <c:min val="0.1717679305619004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24724374332514124</c:v>
                </c:pt>
                <c:pt idx="1">
                  <c:v>0.04590235299710035</c:v>
                </c:pt>
                <c:pt idx="2">
                  <c:v>0.057704840546853625</c:v>
                </c:pt>
                <c:pt idx="3">
                  <c:v>0.03639948117923636</c:v>
                </c:pt>
                <c:pt idx="4">
                  <c:v>0.04581217713632241</c:v>
                </c:pt>
                <c:pt idx="5">
                  <c:v>0.02329628097125867</c:v>
                </c:pt>
                <c:pt idx="6">
                  <c:v>0.039431993965428846</c:v>
                </c:pt>
                <c:pt idx="7">
                  <c:v>0.04928505092147826</c:v>
                </c:pt>
                <c:pt idx="8">
                  <c:v>0.04444185349934059</c:v>
                </c:pt>
                <c:pt idx="9">
                  <c:v>0.03958712524280044</c:v>
                </c:pt>
                <c:pt idx="10">
                  <c:v>0.045233020496494594</c:v>
                </c:pt>
                <c:pt idx="11">
                  <c:v>0.04536145882375781</c:v>
                </c:pt>
                <c:pt idx="12">
                  <c:v>0.0420216269670651</c:v>
                </c:pt>
                <c:pt idx="13">
                  <c:v>0.03848614075452218</c:v>
                </c:pt>
                <c:pt idx="14">
                  <c:v>0.04344093837440538</c:v>
                </c:pt>
                <c:pt idx="15">
                  <c:v>0.04368843957947789</c:v>
                </c:pt>
                <c:pt idx="16">
                  <c:v>0.053542038010974194</c:v>
                </c:pt>
                <c:pt idx="17">
                  <c:v>0.03985562398728296</c:v>
                </c:pt>
                <c:pt idx="18">
                  <c:v>0.03375656650268813</c:v>
                </c:pt>
                <c:pt idx="19">
                  <c:v>0.04739547957374739</c:v>
                </c:pt>
                <c:pt idx="20">
                  <c:v>0.03617123036783795</c:v>
                </c:pt>
                <c:pt idx="21">
                  <c:v>0.03210135618632228</c:v>
                </c:pt>
                <c:pt idx="22">
                  <c:v>0.04506608841242432</c:v>
                </c:pt>
                <c:pt idx="23">
                  <c:v>0.040888057461406516</c:v>
                </c:pt>
                <c:pt idx="24">
                  <c:v>0.03746124101894187</c:v>
                </c:pt>
                <c:pt idx="25">
                  <c:v>0.049891060418882006</c:v>
                </c:pt>
                <c:pt idx="26">
                  <c:v>0.036738645934157106</c:v>
                </c:pt>
                <c:pt idx="27">
                  <c:v>0.04331221093206786</c:v>
                </c:pt>
                <c:pt idx="28">
                  <c:v>0.04012942886812045</c:v>
                </c:pt>
                <c:pt idx="29">
                  <c:v>0.05625499635709643</c:v>
                </c:pt>
                <c:pt idx="30">
                  <c:v>0.046344699006428985</c:v>
                </c:pt>
                <c:pt idx="31">
                  <c:v>0.04433587288586564</c:v>
                </c:pt>
                <c:pt idx="32">
                  <c:v>0.05181316600760374</c:v>
                </c:pt>
                <c:pt idx="33">
                  <c:v>0.04178641753252282</c:v>
                </c:pt>
                <c:pt idx="34">
                  <c:v>0.045913781823638276</c:v>
                </c:pt>
                <c:pt idx="35">
                  <c:v>0.04396163858665962</c:v>
                </c:pt>
                <c:pt idx="36">
                  <c:v>0.04202341996230132</c:v>
                </c:pt>
                <c:pt idx="37">
                  <c:v>0.04980519480108663</c:v>
                </c:pt>
                <c:pt idx="38">
                  <c:v>0.046719775192040666</c:v>
                </c:pt>
                <c:pt idx="39">
                  <c:v>0.042182067821678486</c:v>
                </c:pt>
                <c:pt idx="40">
                  <c:v>0.05611108045088922</c:v>
                </c:pt>
                <c:pt idx="41">
                  <c:v>0.050446145092460884</c:v>
                </c:pt>
                <c:pt idx="42">
                  <c:v>0.04754438306428497</c:v>
                </c:pt>
                <c:pt idx="43">
                  <c:v>0.0411233111784195</c:v>
                </c:pt>
                <c:pt idx="44">
                  <c:v>0.055877468928428244</c:v>
                </c:pt>
                <c:pt idx="45">
                  <c:v>0.05134398571959429</c:v>
                </c:pt>
                <c:pt idx="46">
                  <c:v>0.046571242076703316</c:v>
                </c:pt>
                <c:pt idx="47">
                  <c:v>0.05138231406377408</c:v>
                </c:pt>
                <c:pt idx="48">
                  <c:v>0.053095581097725365</c:v>
                </c:pt>
                <c:pt idx="49">
                  <c:v>0.045206062503304036</c:v>
                </c:pt>
                <c:pt idx="50">
                  <c:v>0.04997429807088885</c:v>
                </c:pt>
                <c:pt idx="51">
                  <c:v>0.04241011220774219</c:v>
                </c:pt>
                <c:pt idx="52">
                  <c:v>0.04517962859808499</c:v>
                </c:pt>
                <c:pt idx="53">
                  <c:v>0.05439660884963547</c:v>
                </c:pt>
                <c:pt idx="54">
                  <c:v>0.03948819774082595</c:v>
                </c:pt>
                <c:pt idx="55">
                  <c:v>0.04593793581340402</c:v>
                </c:pt>
                <c:pt idx="56">
                  <c:v>0.048497323760176785</c:v>
                </c:pt>
                <c:pt idx="57">
                  <c:v>0.05267542128884749</c:v>
                </c:pt>
                <c:pt idx="58">
                  <c:v>0.05920544991644455</c:v>
                </c:pt>
                <c:pt idx="59">
                  <c:v>0.05229919687061996</c:v>
                </c:pt>
                <c:pt idx="60">
                  <c:v>0.05146742398650125</c:v>
                </c:pt>
                <c:pt idx="61">
                  <c:v>0.05653094374574163</c:v>
                </c:pt>
                <c:pt idx="62">
                  <c:v>0.04304448318278206</c:v>
                </c:pt>
                <c:pt idx="63">
                  <c:v>0.047800201208335405</c:v>
                </c:pt>
                <c:pt idx="64">
                  <c:v>0.05002811243772418</c:v>
                </c:pt>
                <c:pt idx="65">
                  <c:v>0.0470803696291489</c:v>
                </c:pt>
                <c:pt idx="66">
                  <c:v>0.049874661445586554</c:v>
                </c:pt>
                <c:pt idx="67">
                  <c:v>0.049420791739494825</c:v>
                </c:pt>
                <c:pt idx="68">
                  <c:v>0.05526741667322609</c:v>
                </c:pt>
                <c:pt idx="69">
                  <c:v>0.05922510854842954</c:v>
                </c:pt>
                <c:pt idx="70">
                  <c:v>0.05710648976743919</c:v>
                </c:pt>
                <c:pt idx="71">
                  <c:v>0.05395974340147411</c:v>
                </c:pt>
                <c:pt idx="72">
                  <c:v>0.05665013352867626</c:v>
                </c:pt>
                <c:pt idx="73">
                  <c:v>0.055287612831223486</c:v>
                </c:pt>
                <c:pt idx="74">
                  <c:v>0.05674807186716628</c:v>
                </c:pt>
                <c:pt idx="75">
                  <c:v>0.054391959434731504</c:v>
                </c:pt>
                <c:pt idx="76">
                  <c:v>0.05470778920741779</c:v>
                </c:pt>
                <c:pt idx="77">
                  <c:v>0.05326176738932093</c:v>
                </c:pt>
                <c:pt idx="78">
                  <c:v>0.05377934178907128</c:v>
                </c:pt>
                <c:pt idx="79">
                  <c:v>0.05367347260871371</c:v>
                </c:pt>
                <c:pt idx="80">
                  <c:v>0.0495184486549259</c:v>
                </c:pt>
                <c:pt idx="81">
                  <c:v>0.05378051857727487</c:v>
                </c:pt>
                <c:pt idx="82">
                  <c:v>0.05046919391102429</c:v>
                </c:pt>
                <c:pt idx="83">
                  <c:v>0.054410249807843515</c:v>
                </c:pt>
                <c:pt idx="84">
                  <c:v>0.0549137970465002</c:v>
                </c:pt>
                <c:pt idx="85">
                  <c:v>0.05415005551955831</c:v>
                </c:pt>
                <c:pt idx="86">
                  <c:v>0.056664254760532676</c:v>
                </c:pt>
                <c:pt idx="87">
                  <c:v>0.04941574561061135</c:v>
                </c:pt>
                <c:pt idx="88">
                  <c:v>0.055383644</c:v>
                </c:pt>
                <c:pt idx="89">
                  <c:v>0.058944315878342875</c:v>
                </c:pt>
                <c:pt idx="90">
                  <c:v>0.055782067160581573</c:v>
                </c:pt>
                <c:pt idx="91">
                  <c:v>0.054688990979115226</c:v>
                </c:pt>
                <c:pt idx="92">
                  <c:v>0.05321751646568975</c:v>
                </c:pt>
                <c:pt idx="93">
                  <c:v>0.05720994368452363</c:v>
                </c:pt>
                <c:pt idx="94">
                  <c:v>0.05928846468967132</c:v>
                </c:pt>
                <c:pt idx="95">
                  <c:v>0.06390692601853556</c:v>
                </c:pt>
                <c:pt idx="96">
                  <c:v>0.05179573512764446</c:v>
                </c:pt>
                <c:pt idx="97">
                  <c:v>0.055142802982510224</c:v>
                </c:pt>
                <c:pt idx="98">
                  <c:v>0.053185323663252494</c:v>
                </c:pt>
                <c:pt idx="99">
                  <c:v>0.05561855408609632</c:v>
                </c:pt>
                <c:pt idx="100">
                  <c:v>0.04783621512271948</c:v>
                </c:pt>
                <c:pt idx="101">
                  <c:v>0.0557754568266032</c:v>
                </c:pt>
                <c:pt idx="102">
                  <c:v>0.06707470421847926</c:v>
                </c:pt>
                <c:pt idx="103">
                  <c:v>0.04775490284854169</c:v>
                </c:pt>
                <c:pt idx="104">
                  <c:v>0.05030439127633889</c:v>
                </c:pt>
              </c:numCache>
            </c:numRef>
          </c:xVal>
          <c:yVal>
            <c:numRef>
              <c:f>Sheet1!$B$2:$B$106</c:f>
              <c:numCache>
                <c:formatCode>General</c:formatCode>
                <c:ptCount val="105"/>
                <c:pt idx="0">
                  <c:v>0.2609105180533752</c:v>
                </c:pt>
                <c:pt idx="1">
                  <c:v>0.27915321133835663</c:v>
                </c:pt>
                <c:pt idx="2">
                  <c:v>0.2679640718562874</c:v>
                </c:pt>
                <c:pt idx="3">
                  <c:v>0.2760968229954614</c:v>
                </c:pt>
                <c:pt idx="4">
                  <c:v>0.3285654185948675</c:v>
                </c:pt>
                <c:pt idx="5">
                  <c:v>0.3129285014691479</c:v>
                </c:pt>
                <c:pt idx="6">
                  <c:v>0.3269678621332091</c:v>
                </c:pt>
                <c:pt idx="7">
                  <c:v>0.32083792723263505</c:v>
                </c:pt>
                <c:pt idx="8">
                  <c:v>0.289516567083107</c:v>
                </c:pt>
                <c:pt idx="9">
                  <c:v>0.30207351555136663</c:v>
                </c:pt>
                <c:pt idx="10">
                  <c:v>0.2813774354327141</c:v>
                </c:pt>
                <c:pt idx="11">
                  <c:v>0.28620247757368644</c:v>
                </c:pt>
                <c:pt idx="12">
                  <c:v>0.25807622504537203</c:v>
                </c:pt>
                <c:pt idx="13">
                  <c:v>0.26287816843826656</c:v>
                </c:pt>
                <c:pt idx="14">
                  <c:v>0.22412420382165604</c:v>
                </c:pt>
                <c:pt idx="15">
                  <c:v>0.2147099132023755</c:v>
                </c:pt>
                <c:pt idx="16">
                  <c:v>0.25792584631918325</c:v>
                </c:pt>
                <c:pt idx="17">
                  <c:v>0.267027027027027</c:v>
                </c:pt>
                <c:pt idx="18">
                  <c:v>0.2579310344827586</c:v>
                </c:pt>
                <c:pt idx="19">
                  <c:v>0.2645324347093513</c:v>
                </c:pt>
                <c:pt idx="20">
                  <c:v>0.28422982885085574</c:v>
                </c:pt>
                <c:pt idx="21">
                  <c:v>0.2559171597633136</c:v>
                </c:pt>
                <c:pt idx="22">
                  <c:v>0.22753988245172124</c:v>
                </c:pt>
                <c:pt idx="23">
                  <c:v>0.27929515418502204</c:v>
                </c:pt>
                <c:pt idx="24">
                  <c:v>0.27684964200477324</c:v>
                </c:pt>
                <c:pt idx="25">
                  <c:v>0.26090993500464255</c:v>
                </c:pt>
                <c:pt idx="26">
                  <c:v>0.25055432372505543</c:v>
                </c:pt>
                <c:pt idx="27">
                  <c:v>0.25845229151014276</c:v>
                </c:pt>
                <c:pt idx="28">
                  <c:v>0.29703703703703704</c:v>
                </c:pt>
                <c:pt idx="29">
                  <c:v>0.27801418439716313</c:v>
                </c:pt>
                <c:pt idx="30">
                  <c:v>0.2832764505119454</c:v>
                </c:pt>
                <c:pt idx="31">
                  <c:v>0.27495621716287216</c:v>
                </c:pt>
                <c:pt idx="32">
                  <c:v>0.2798507462686567</c:v>
                </c:pt>
                <c:pt idx="33">
                  <c:v>0.2996918335901387</c:v>
                </c:pt>
                <c:pt idx="34">
                  <c:v>0.31805929919137466</c:v>
                </c:pt>
                <c:pt idx="35">
                  <c:v>0.339906103286385</c:v>
                </c:pt>
                <c:pt idx="36">
                  <c:v>0.3118872549019608</c:v>
                </c:pt>
                <c:pt idx="37">
                  <c:v>0.3139083139083139</c:v>
                </c:pt>
                <c:pt idx="38">
                  <c:v>0.29867256637168144</c:v>
                </c:pt>
                <c:pt idx="39">
                  <c:v>0.3004807692307692</c:v>
                </c:pt>
                <c:pt idx="40">
                  <c:v>0.3053435114503817</c:v>
                </c:pt>
                <c:pt idx="41">
                  <c:v>0.29723837209302323</c:v>
                </c:pt>
                <c:pt idx="42">
                  <c:v>0.2935153583617747</c:v>
                </c:pt>
                <c:pt idx="43">
                  <c:v>0.27174975562072334</c:v>
                </c:pt>
                <c:pt idx="44">
                  <c:v>0.2607385079125848</c:v>
                </c:pt>
                <c:pt idx="45">
                  <c:v>0.2666908563134978</c:v>
                </c:pt>
                <c:pt idx="46">
                  <c:v>0.2680788897005113</c:v>
                </c:pt>
                <c:pt idx="47">
                  <c:v>0.27405247813411077</c:v>
                </c:pt>
                <c:pt idx="48">
                  <c:v>0.27739905610907184</c:v>
                </c:pt>
                <c:pt idx="49">
                  <c:v>0.2865863718858274</c:v>
                </c:pt>
                <c:pt idx="50">
                  <c:v>0.28391074574280684</c:v>
                </c:pt>
                <c:pt idx="51">
                  <c:v>0.30678670360110805</c:v>
                </c:pt>
                <c:pt idx="52">
                  <c:v>0.2966532797858099</c:v>
                </c:pt>
                <c:pt idx="53">
                  <c:v>0.28872958980485863</c:v>
                </c:pt>
                <c:pt idx="54">
                  <c:v>0.30368098159509205</c:v>
                </c:pt>
                <c:pt idx="55">
                  <c:v>0.2999031007751938</c:v>
                </c:pt>
                <c:pt idx="56">
                  <c:v>0.29494505494505496</c:v>
                </c:pt>
                <c:pt idx="57">
                  <c:v>0.27602389078498296</c:v>
                </c:pt>
                <c:pt idx="58">
                  <c:v>0.2797281993204983</c:v>
                </c:pt>
                <c:pt idx="59">
                  <c:v>0.24461610486891386</c:v>
                </c:pt>
                <c:pt idx="60">
                  <c:v>0.2469044081228331</c:v>
                </c:pt>
                <c:pt idx="61">
                  <c:v>0.27841540170307294</c:v>
                </c:pt>
                <c:pt idx="62">
                  <c:v>0.3247831007167107</c:v>
                </c:pt>
                <c:pt idx="63">
                  <c:v>0.33075684380032205</c:v>
                </c:pt>
                <c:pt idx="64">
                  <c:v>0.34081820978160565</c:v>
                </c:pt>
                <c:pt idx="65">
                  <c:v>0.3312438139227978</c:v>
                </c:pt>
                <c:pt idx="66">
                  <c:v>0.32558139534883723</c:v>
                </c:pt>
                <c:pt idx="67">
                  <c:v>0.3160377358490566</c:v>
                </c:pt>
                <c:pt idx="68">
                  <c:v>0.31949032562529495</c:v>
                </c:pt>
                <c:pt idx="69">
                  <c:v>0.27590591226954864</c:v>
                </c:pt>
                <c:pt idx="70">
                  <c:v>0.2703030303030303</c:v>
                </c:pt>
                <c:pt idx="71">
                  <c:v>0.2875226039783002</c:v>
                </c:pt>
                <c:pt idx="72">
                  <c:v>0.28712328767123285</c:v>
                </c:pt>
                <c:pt idx="73">
                  <c:v>0.2909494725152693</c:v>
                </c:pt>
                <c:pt idx="74">
                  <c:v>0.277623542476402</c:v>
                </c:pt>
                <c:pt idx="75">
                  <c:v>0.3013040494166095</c:v>
                </c:pt>
                <c:pt idx="76">
                  <c:v>0.281922525107604</c:v>
                </c:pt>
                <c:pt idx="77">
                  <c:v>0.2853127196064652</c:v>
                </c:pt>
                <c:pt idx="78">
                  <c:v>0.292817679558011</c:v>
                </c:pt>
                <c:pt idx="79">
                  <c:v>0.31274742676167855</c:v>
                </c:pt>
                <c:pt idx="80">
                  <c:v>0.3094098883572568</c:v>
                </c:pt>
                <c:pt idx="81">
                  <c:v>0.31984074319840744</c:v>
                </c:pt>
                <c:pt idx="82">
                  <c:v>0.32091447925486877</c:v>
                </c:pt>
                <c:pt idx="83">
                  <c:v>0.2879914984059511</c:v>
                </c:pt>
                <c:pt idx="84">
                  <c:v>0.2887700534759358</c:v>
                </c:pt>
                <c:pt idx="85">
                  <c:v>0.3024193548387097</c:v>
                </c:pt>
                <c:pt idx="86">
                  <c:v>0.29689703808180534</c:v>
                </c:pt>
                <c:pt idx="87">
                  <c:v>0.3316151202749141</c:v>
                </c:pt>
                <c:pt idx="88">
                  <c:v>0.339568345323741</c:v>
                </c:pt>
                <c:pt idx="89">
                  <c:v>0.3095667870036101</c:v>
                </c:pt>
                <c:pt idx="90">
                  <c:v>0.3198458574181118</c:v>
                </c:pt>
                <c:pt idx="91">
                  <c:v>0.29900332225913623</c:v>
                </c:pt>
                <c:pt idx="92">
                  <c:v>0.31779382797110967</c:v>
                </c:pt>
                <c:pt idx="93">
                  <c:v>0.26814268142681424</c:v>
                </c:pt>
                <c:pt idx="94">
                  <c:v>0.2645390070921986</c:v>
                </c:pt>
                <c:pt idx="95">
                  <c:v>0.2535599448782728</c:v>
                </c:pt>
                <c:pt idx="96">
                  <c:v>0.26875455207574656</c:v>
                </c:pt>
                <c:pt idx="97">
                  <c:v>0.2593346911065852</c:v>
                </c:pt>
                <c:pt idx="98">
                  <c:v>0.28374497415278577</c:v>
                </c:pt>
                <c:pt idx="99">
                  <c:v>0.2955756929637527</c:v>
                </c:pt>
                <c:pt idx="100">
                  <c:v>0.29260450160771706</c:v>
                </c:pt>
                <c:pt idx="101">
                  <c:v>0.2431791221826809</c:v>
                </c:pt>
                <c:pt idx="102">
                  <c:v>0.2484809721778062</c:v>
                </c:pt>
                <c:pt idx="103">
                  <c:v>0.26871961102106967</c:v>
                </c:pt>
                <c:pt idx="104">
                  <c:v>0.2983899821109123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05118430117801869</c:v>
                </c:pt>
                <c:pt idx="1">
                  <c:v>0.0623372988180725</c:v>
                </c:pt>
                <c:pt idx="2">
                  <c:v>0.08458571881740896</c:v>
                </c:pt>
                <c:pt idx="3">
                  <c:v>0.10988057366362451</c:v>
                </c:pt>
                <c:pt idx="4">
                  <c:v>0.09872035976847165</c:v>
                </c:pt>
                <c:pt idx="5">
                  <c:v>0.10260162997435957</c:v>
                </c:pt>
                <c:pt idx="6">
                  <c:v>0.09765793493666049</c:v>
                </c:pt>
                <c:pt idx="7">
                  <c:v>0.09329314047671157</c:v>
                </c:pt>
                <c:pt idx="8">
                  <c:v>0.12858258385563331</c:v>
                </c:pt>
                <c:pt idx="9">
                  <c:v>0.08659229341518533</c:v>
                </c:pt>
                <c:pt idx="10">
                  <c:v>0.11256086854911461</c:v>
                </c:pt>
                <c:pt idx="11">
                  <c:v>0.12455168589523886</c:v>
                </c:pt>
                <c:pt idx="12">
                  <c:v>0.15589997580652817</c:v>
                </c:pt>
                <c:pt idx="13">
                  <c:v>0.10513788821808667</c:v>
                </c:pt>
                <c:pt idx="14">
                  <c:v>0.0893916973686057</c:v>
                </c:pt>
                <c:pt idx="15">
                  <c:v>0.08589765489960012</c:v>
                </c:pt>
                <c:pt idx="16">
                  <c:v>0.0716281287045512</c:v>
                </c:pt>
                <c:pt idx="17">
                  <c:v>0.0741393743885018</c:v>
                </c:pt>
                <c:pt idx="18">
                  <c:v>0.09332649452581004</c:v>
                </c:pt>
                <c:pt idx="19">
                  <c:v>0.120125465526417</c:v>
                </c:pt>
                <c:pt idx="20">
                  <c:v>0.09132281601690001</c:v>
                </c:pt>
                <c:pt idx="21">
                  <c:v>0.07559437834451657</c:v>
                </c:pt>
                <c:pt idx="22">
                  <c:v>0.09031482638692967</c:v>
                </c:pt>
                <c:pt idx="23">
                  <c:v>0.08243033909777257</c:v>
                </c:pt>
                <c:pt idx="24">
                  <c:v>0.08575551745151692</c:v>
                </c:pt>
                <c:pt idx="25">
                  <c:v>0.11566454897136659</c:v>
                </c:pt>
                <c:pt idx="26">
                  <c:v>0.09099436329081317</c:v>
                </c:pt>
                <c:pt idx="27">
                  <c:v>0.11089163724835548</c:v>
                </c:pt>
                <c:pt idx="28">
                  <c:v>0.10834042404208782</c:v>
                </c:pt>
                <c:pt idx="29">
                  <c:v>0.11067388537757786</c:v>
                </c:pt>
                <c:pt idx="30">
                  <c:v>0.11954087936732355</c:v>
                </c:pt>
                <c:pt idx="31">
                  <c:v>0.09090119369839023</c:v>
                </c:pt>
                <c:pt idx="32">
                  <c:v>0.09124725545642792</c:v>
                </c:pt>
                <c:pt idx="33">
                  <c:v>0.10840516470267958</c:v>
                </c:pt>
                <c:pt idx="34">
                  <c:v>0.08567843234271881</c:v>
                </c:pt>
                <c:pt idx="35">
                  <c:v>0.08972973133961563</c:v>
                </c:pt>
                <c:pt idx="36">
                  <c:v>0.08910852486336075</c:v>
                </c:pt>
                <c:pt idx="37">
                  <c:v>0.08891786317193333</c:v>
                </c:pt>
                <c:pt idx="38">
                  <c:v>0.0880195646166249</c:v>
                </c:pt>
                <c:pt idx="39">
                  <c:v>0.1027455085706262</c:v>
                </c:pt>
                <c:pt idx="40">
                  <c:v>0.10541328090526313</c:v>
                </c:pt>
                <c:pt idx="41">
                  <c:v>0.10333604766839304</c:v>
                </c:pt>
                <c:pt idx="42">
                  <c:v>0.10026638832984884</c:v>
                </c:pt>
                <c:pt idx="43">
                  <c:v>0.11031817824283534</c:v>
                </c:pt>
                <c:pt idx="44">
                  <c:v>0.10830040557586984</c:v>
                </c:pt>
                <c:pt idx="45">
                  <c:v>0.11403726075289858</c:v>
                </c:pt>
                <c:pt idx="46">
                  <c:v>0.09703280332529289</c:v>
                </c:pt>
                <c:pt idx="47">
                  <c:v>0.08939051250430483</c:v>
                </c:pt>
                <c:pt idx="48">
                  <c:v>0.09835134344528307</c:v>
                </c:pt>
                <c:pt idx="49">
                  <c:v>0.10103374477324976</c:v>
                </c:pt>
                <c:pt idx="50">
                  <c:v>0.11554525034345137</c:v>
                </c:pt>
                <c:pt idx="51">
                  <c:v>0.10650591039246692</c:v>
                </c:pt>
              </c:numCache>
            </c:numRef>
          </c:xVal>
          <c:yVal>
            <c:numRef>
              <c:f>Sheet1!$B$109:$B$160</c:f>
              <c:numCache>
                <c:formatCode>General</c:formatCode>
                <c:ptCount val="52"/>
                <c:pt idx="0">
                  <c:v>0.3017518770110833</c:v>
                </c:pt>
                <c:pt idx="1">
                  <c:v>0.29754601226993865</c:v>
                </c:pt>
                <c:pt idx="2">
                  <c:v>0.31233333333333335</c:v>
                </c:pt>
                <c:pt idx="3">
                  <c:v>0.3032134902958956</c:v>
                </c:pt>
                <c:pt idx="4">
                  <c:v>0.3021918792669781</c:v>
                </c:pt>
                <c:pt idx="5">
                  <c:v>0.2958152958152958</c:v>
                </c:pt>
                <c:pt idx="6">
                  <c:v>0.27743012098456404</c:v>
                </c:pt>
                <c:pt idx="7">
                  <c:v>0.27460510328068044</c:v>
                </c:pt>
                <c:pt idx="8">
                  <c:v>0.315921963499056</c:v>
                </c:pt>
                <c:pt idx="9">
                  <c:v>0.29426686960933535</c:v>
                </c:pt>
                <c:pt idx="10">
                  <c:v>0.3102776424744277</c:v>
                </c:pt>
                <c:pt idx="11">
                  <c:v>0.29178947368421054</c:v>
                </c:pt>
                <c:pt idx="12">
                  <c:v>0.31046312178387653</c:v>
                </c:pt>
                <c:pt idx="13">
                  <c:v>0.3231083844580777</c:v>
                </c:pt>
                <c:pt idx="14">
                  <c:v>0.2981042654028436</c:v>
                </c:pt>
                <c:pt idx="15">
                  <c:v>0.3179876601803512</c:v>
                </c:pt>
                <c:pt idx="16">
                  <c:v>0.2865819988956378</c:v>
                </c:pt>
                <c:pt idx="17">
                  <c:v>0.2662076878944349</c:v>
                </c:pt>
                <c:pt idx="18">
                  <c:v>0.27652982184353214</c:v>
                </c:pt>
                <c:pt idx="19">
                  <c:v>0.2808413871517908</c:v>
                </c:pt>
                <c:pt idx="20">
                  <c:v>0.28157894736842104</c:v>
                </c:pt>
                <c:pt idx="21">
                  <c:v>0.28451492537313433</c:v>
                </c:pt>
                <c:pt idx="22">
                  <c:v>0.3138888888888889</c:v>
                </c:pt>
                <c:pt idx="23">
                  <c:v>0.2909556313993174</c:v>
                </c:pt>
                <c:pt idx="24">
                  <c:v>0.2737104825291181</c:v>
                </c:pt>
                <c:pt idx="25">
                  <c:v>0.24417670682730924</c:v>
                </c:pt>
                <c:pt idx="26">
                  <c:v>0.24111866969009826</c:v>
                </c:pt>
                <c:pt idx="27">
                  <c:v>0.23351648351648352</c:v>
                </c:pt>
                <c:pt idx="28">
                  <c:v>0.2540237928621414</c:v>
                </c:pt>
                <c:pt idx="29">
                  <c:v>0.24631751227495907</c:v>
                </c:pt>
                <c:pt idx="30">
                  <c:v>0.2592905405405405</c:v>
                </c:pt>
                <c:pt idx="31">
                  <c:v>0.2773109243697479</c:v>
                </c:pt>
                <c:pt idx="32">
                  <c:v>0.2955715756951596</c:v>
                </c:pt>
                <c:pt idx="33">
                  <c:v>0.3174311926605505</c:v>
                </c:pt>
                <c:pt idx="34">
                  <c:v>0.33740546829552065</c:v>
                </c:pt>
                <c:pt idx="35">
                  <c:v>0.33134684147794996</c:v>
                </c:pt>
                <c:pt idx="36">
                  <c:v>0.2979452054794521</c:v>
                </c:pt>
                <c:pt idx="37">
                  <c:v>0.31499051233396586</c:v>
                </c:pt>
                <c:pt idx="38">
                  <c:v>0.27666666666666667</c:v>
                </c:pt>
                <c:pt idx="39">
                  <c:v>0.31273549359457425</c:v>
                </c:pt>
                <c:pt idx="40">
                  <c:v>0.2871212121212121</c:v>
                </c:pt>
                <c:pt idx="41">
                  <c:v>0.3152889539136796</c:v>
                </c:pt>
                <c:pt idx="42">
                  <c:v>0.2959268495428096</c:v>
                </c:pt>
                <c:pt idx="43">
                  <c:v>0.29243119266055045</c:v>
                </c:pt>
                <c:pt idx="44">
                  <c:v>0.2822695035460993</c:v>
                </c:pt>
                <c:pt idx="45">
                  <c:v>0.2840751043115438</c:v>
                </c:pt>
                <c:pt idx="46">
                  <c:v>0.2966139954853273</c:v>
                </c:pt>
                <c:pt idx="47">
                  <c:v>0.30088105726872244</c:v>
                </c:pt>
                <c:pt idx="48">
                  <c:v>0.3120950323974082</c:v>
                </c:pt>
                <c:pt idx="49">
                  <c:v>0.3425714285714286</c:v>
                </c:pt>
                <c:pt idx="50">
                  <c:v>0.3499585749792875</c:v>
                </c:pt>
                <c:pt idx="51">
                  <c:v>0.335011848341232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8.026511980358453</c:v>
                </c:pt>
              </c:numCache>
            </c:numRef>
          </c:xVal>
          <c:yVal>
            <c:numRef>
              <c:f>Sheet1!$B$163:$B$164</c:f>
              <c:numCache>
                <c:formatCode>General</c:formatCode>
                <c:ptCount val="2"/>
                <c:pt idx="0">
                  <c:v>0.3349092210723391</c:v>
                </c:pt>
                <c:pt idx="1">
                  <c:v>0.3349092210723391</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8.026511980358453</c:v>
                </c:pt>
                <c:pt idx="1">
                  <c:v>-8.026511980358453</c:v>
                </c:pt>
              </c:numCache>
            </c:numRef>
          </c:xVal>
          <c:yVal>
            <c:numRef>
              <c:f>Sheet1!$B$167:$B$168</c:f>
              <c:numCache>
                <c:formatCode>General</c:formatCode>
                <c:ptCount val="2"/>
                <c:pt idx="0">
                  <c:v>0.334909221072339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8.026511980358453</c:v>
                </c:pt>
              </c:numCache>
            </c:numRef>
          </c:xVal>
          <c:yVal>
            <c:numRef>
              <c:f>Sheet1!$B$171:$B$172</c:f>
              <c:numCache>
                <c:formatCode>General</c:formatCode>
                <c:ptCount val="2"/>
                <c:pt idx="0">
                  <c:v>0.3349092210723391</c:v>
                </c:pt>
                <c:pt idx="1">
                  <c:v>0.3349092210723391</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8.026511980358453</c:v>
                </c:pt>
                <c:pt idx="1">
                  <c:v>-8.026511980358453</c:v>
                </c:pt>
              </c:numCache>
            </c:numRef>
          </c:xVal>
          <c:yVal>
            <c:numRef>
              <c:f>Sheet1!$B$175:$B$176</c:f>
              <c:numCache>
                <c:formatCode>General</c:formatCode>
                <c:ptCount val="2"/>
                <c:pt idx="0">
                  <c:v>0.334909221072339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6577537623237113</c:v>
                </c:pt>
              </c:numCache>
            </c:numRef>
          </c:xVal>
          <c:yVal>
            <c:numRef>
              <c:f>Sheet1!$B$179:$B$180</c:f>
              <c:numCache>
                <c:formatCode>General</c:formatCode>
                <c:ptCount val="2"/>
                <c:pt idx="0">
                  <c:v>0.30822924974875965</c:v>
                </c:pt>
                <c:pt idx="1">
                  <c:v>0.3082292497487596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6577537623237113</c:v>
                </c:pt>
                <c:pt idx="1">
                  <c:v>-2.6577537623237113</c:v>
                </c:pt>
              </c:numCache>
            </c:numRef>
          </c:xVal>
          <c:yVal>
            <c:numRef>
              <c:f>Sheet1!$B$183:$B$184</c:f>
              <c:numCache>
                <c:formatCode>General</c:formatCode>
                <c:ptCount val="2"/>
                <c:pt idx="0">
                  <c:v>0.3082292497487596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05118430117801869</c:v>
                </c:pt>
                <c:pt idx="1">
                  <c:v>0.0623372988180725</c:v>
                </c:pt>
                <c:pt idx="2">
                  <c:v>0.08458571881740896</c:v>
                </c:pt>
                <c:pt idx="3">
                  <c:v>0.10988057366362451</c:v>
                </c:pt>
                <c:pt idx="4">
                  <c:v>0.09872035976847165</c:v>
                </c:pt>
                <c:pt idx="5">
                  <c:v>0.10260162997435957</c:v>
                </c:pt>
                <c:pt idx="6">
                  <c:v>0.09765793493666049</c:v>
                </c:pt>
                <c:pt idx="7">
                  <c:v>0.09329314047671157</c:v>
                </c:pt>
                <c:pt idx="8">
                  <c:v>0.12858258385563331</c:v>
                </c:pt>
                <c:pt idx="9">
                  <c:v>0.08659229341518533</c:v>
                </c:pt>
                <c:pt idx="10">
                  <c:v>0.11256086854911461</c:v>
                </c:pt>
                <c:pt idx="11">
                  <c:v>0.12455168589523886</c:v>
                </c:pt>
                <c:pt idx="12">
                  <c:v>0.15589997580652817</c:v>
                </c:pt>
                <c:pt idx="13">
                  <c:v>0.10513788821808667</c:v>
                </c:pt>
                <c:pt idx="14">
                  <c:v>0.0893916973686057</c:v>
                </c:pt>
                <c:pt idx="15">
                  <c:v>0.08589765489960012</c:v>
                </c:pt>
                <c:pt idx="16">
                  <c:v>0.0716281287045512</c:v>
                </c:pt>
                <c:pt idx="17">
                  <c:v>0.0741393743885018</c:v>
                </c:pt>
                <c:pt idx="18">
                  <c:v>0.09332649452581004</c:v>
                </c:pt>
                <c:pt idx="19">
                  <c:v>0.120125465526417</c:v>
                </c:pt>
                <c:pt idx="20">
                  <c:v>0.09132281601690001</c:v>
                </c:pt>
                <c:pt idx="21">
                  <c:v>0.07559437834451657</c:v>
                </c:pt>
                <c:pt idx="22">
                  <c:v>0.09031482638692967</c:v>
                </c:pt>
                <c:pt idx="23">
                  <c:v>0.08243033909777257</c:v>
                </c:pt>
                <c:pt idx="24">
                  <c:v>0.08575551745151692</c:v>
                </c:pt>
                <c:pt idx="25">
                  <c:v>0.11566454897136659</c:v>
                </c:pt>
                <c:pt idx="26">
                  <c:v>0.09099436329081317</c:v>
                </c:pt>
                <c:pt idx="27">
                  <c:v>0.11089163724835548</c:v>
                </c:pt>
                <c:pt idx="28">
                  <c:v>0.10834042404208782</c:v>
                </c:pt>
                <c:pt idx="29">
                  <c:v>0.11067388537757786</c:v>
                </c:pt>
                <c:pt idx="30">
                  <c:v>0.11954087936732355</c:v>
                </c:pt>
                <c:pt idx="31">
                  <c:v>0.09090119369839023</c:v>
                </c:pt>
                <c:pt idx="32">
                  <c:v>0.09124725545642792</c:v>
                </c:pt>
                <c:pt idx="33">
                  <c:v>0.10840516470267958</c:v>
                </c:pt>
                <c:pt idx="34">
                  <c:v>0.08567843234271881</c:v>
                </c:pt>
                <c:pt idx="35">
                  <c:v>0.08972973133961563</c:v>
                </c:pt>
                <c:pt idx="36">
                  <c:v>0.08910852486336075</c:v>
                </c:pt>
                <c:pt idx="37">
                  <c:v>0.08891786317193333</c:v>
                </c:pt>
                <c:pt idx="38">
                  <c:v>0.0880195646166249</c:v>
                </c:pt>
                <c:pt idx="39">
                  <c:v>0.1027455085706262</c:v>
                </c:pt>
                <c:pt idx="40">
                  <c:v>0.10541328090526313</c:v>
                </c:pt>
                <c:pt idx="41">
                  <c:v>0.10333604766839304</c:v>
                </c:pt>
                <c:pt idx="42">
                  <c:v>0.10026638832984884</c:v>
                </c:pt>
                <c:pt idx="43">
                  <c:v>0.11031817824283534</c:v>
                </c:pt>
                <c:pt idx="44">
                  <c:v>0.10830040557586984</c:v>
                </c:pt>
                <c:pt idx="45">
                  <c:v>0.11403726075289858</c:v>
                </c:pt>
                <c:pt idx="46">
                  <c:v>0.09703280332529289</c:v>
                </c:pt>
                <c:pt idx="47">
                  <c:v>0.08939051250430483</c:v>
                </c:pt>
                <c:pt idx="48">
                  <c:v>0.09835134344528307</c:v>
                </c:pt>
                <c:pt idx="49">
                  <c:v>0.10103374477324976</c:v>
                </c:pt>
                <c:pt idx="50">
                  <c:v>0.11554525034345137</c:v>
                </c:pt>
                <c:pt idx="51">
                  <c:v>0.10650591039246692</c:v>
                </c:pt>
                <c:pt idx="52">
                  <c:v>-8.026511980358453</c:v>
                </c:pt>
                <c:pt idx="53">
                  <c:v>-8.026511980358453</c:v>
                </c:pt>
                <c:pt idx="54">
                  <c:v>-2.6577537623237113</c:v>
                </c:pt>
              </c:numCache>
            </c:numRef>
          </c:xVal>
          <c:yVal>
            <c:numRef>
              <c:f>Sheet1!$B$187:$B$241</c:f>
              <c:numCache>
                <c:formatCode>General</c:formatCode>
                <c:ptCount val="55"/>
                <c:pt idx="0">
                  <c:v>0.2947672186949501</c:v>
                </c:pt>
                <c:pt idx="1">
                  <c:v>0.2947117940240813</c:v>
                </c:pt>
                <c:pt idx="2">
                  <c:v>0.2946012308019225</c:v>
                </c:pt>
                <c:pt idx="3">
                  <c:v>0.29447552836301144</c:v>
                </c:pt>
                <c:pt idx="4">
                  <c:v>0.29453098889496226</c:v>
                </c:pt>
                <c:pt idx="5">
                  <c:v>0.29451170097518886</c:v>
                </c:pt>
                <c:pt idx="6">
                  <c:v>0.294536268600789</c:v>
                </c:pt>
                <c:pt idx="7">
                  <c:v>0.2945579593878007</c:v>
                </c:pt>
                <c:pt idx="8">
                  <c:v>0.2943825889764062</c:v>
                </c:pt>
                <c:pt idx="9">
                  <c:v>0.29459125915660844</c:v>
                </c:pt>
                <c:pt idx="10">
                  <c:v>0.2944622086738432</c:v>
                </c:pt>
                <c:pt idx="11">
                  <c:v>0.29440262046928106</c:v>
                </c:pt>
                <c:pt idx="12">
                  <c:v>0.2942468355667189</c:v>
                </c:pt>
                <c:pt idx="13">
                  <c:v>0.29449909707416305</c:v>
                </c:pt>
                <c:pt idx="14">
                  <c:v>0.29457734755653875</c:v>
                </c:pt>
                <c:pt idx="15">
                  <c:v>0.294594711153313</c:v>
                </c:pt>
                <c:pt idx="16">
                  <c:v>0.2946656233706682</c:v>
                </c:pt>
                <c:pt idx="17">
                  <c:v>0.29465314376921975</c:v>
                </c:pt>
                <c:pt idx="18">
                  <c:v>0.29455779363530504</c:v>
                </c:pt>
                <c:pt idx="19">
                  <c:v>0.2944246165115158</c:v>
                </c:pt>
                <c:pt idx="20">
                  <c:v>0.29456775088854464</c:v>
                </c:pt>
                <c:pt idx="21">
                  <c:v>0.294645913146747</c:v>
                </c:pt>
                <c:pt idx="22">
                  <c:v>0.2945727600793724</c:v>
                </c:pt>
                <c:pt idx="23">
                  <c:v>0.29461194193227636</c:v>
                </c:pt>
                <c:pt idx="24">
                  <c:v>0.2945954175034381</c:v>
                </c:pt>
                <c:pt idx="25">
                  <c:v>0.29444678497597854</c:v>
                </c:pt>
                <c:pt idx="26">
                  <c:v>0.29456938312992287</c:v>
                </c:pt>
                <c:pt idx="27">
                  <c:v>0.2944705038962071</c:v>
                </c:pt>
                <c:pt idx="28">
                  <c:v>0.29448318211571695</c:v>
                </c:pt>
                <c:pt idx="29">
                  <c:v>0.2944715860111827</c:v>
                </c:pt>
                <c:pt idx="30">
                  <c:v>0.2944275216045238</c:v>
                </c:pt>
                <c:pt idx="31">
                  <c:v>0.2945698461349518</c:v>
                </c:pt>
                <c:pt idx="32">
                  <c:v>0.29456812638572755</c:v>
                </c:pt>
                <c:pt idx="33">
                  <c:v>0.2944828603878801</c:v>
                </c:pt>
                <c:pt idx="34">
                  <c:v>0.29459580057684326</c:v>
                </c:pt>
                <c:pt idx="35">
                  <c:v>0.2945756677012935</c:v>
                </c:pt>
                <c:pt idx="36">
                  <c:v>0.2945787547784721</c:v>
                </c:pt>
                <c:pt idx="37">
                  <c:v>0.29457970226916796</c:v>
                </c:pt>
                <c:pt idx="38">
                  <c:v>0.29458416635168433</c:v>
                </c:pt>
                <c:pt idx="39">
                  <c:v>0.29451098597245146</c:v>
                </c:pt>
                <c:pt idx="40">
                  <c:v>0.29449772851393025</c:v>
                </c:pt>
                <c:pt idx="41">
                  <c:v>0.2945080512963953</c:v>
                </c:pt>
                <c:pt idx="42">
                  <c:v>0.29452330592694476</c:v>
                </c:pt>
                <c:pt idx="43">
                  <c:v>0.29447335369297595</c:v>
                </c:pt>
                <c:pt idx="44">
                  <c:v>0.2944833809869434</c:v>
                </c:pt>
                <c:pt idx="45">
                  <c:v>0.2944548717627625</c:v>
                </c:pt>
                <c:pt idx="46">
                  <c:v>0.29453937518387346</c:v>
                </c:pt>
                <c:pt idx="47">
                  <c:v>0.29457735344470587</c:v>
                </c:pt>
                <c:pt idx="48">
                  <c:v>0.29453282271658743</c:v>
                </c:pt>
                <c:pt idx="49">
                  <c:v>0.29451949255948184</c:v>
                </c:pt>
                <c:pt idx="50">
                  <c:v>0.29444737782889585</c:v>
                </c:pt>
                <c:pt idx="51">
                  <c:v>0.2944922987064772</c:v>
                </c:pt>
                <c:pt idx="52">
                  <c:v>0.3349092210723391</c:v>
                </c:pt>
                <c:pt idx="53">
                  <c:v>0.3349092210723391</c:v>
                </c:pt>
                <c:pt idx="54">
                  <c:v>0.3082292497487596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19950289975145"/>
          <c:min val="0.1717679305619004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60.7521</c:v>
                </c:pt>
                <c:pt idx="1">
                  <c:v>965.6478</c:v>
                </c:pt>
                <c:pt idx="2">
                  <c:v>988.4427</c:v>
                </c:pt>
                <c:pt idx="3">
                  <c:v>1010.2767</c:v>
                </c:pt>
                <c:pt idx="4">
                  <c:v>929.4008</c:v>
                </c:pt>
                <c:pt idx="5">
                  <c:v>940.2379</c:v>
                </c:pt>
                <c:pt idx="6">
                  <c:v>975.6724</c:v>
                </c:pt>
                <c:pt idx="7">
                  <c:v>979.646</c:v>
                </c:pt>
                <c:pt idx="8">
                  <c:v>994.0976</c:v>
                </c:pt>
                <c:pt idx="9">
                  <c:v>937.5023</c:v>
                </c:pt>
                <c:pt idx="10">
                  <c:v>940.9775</c:v>
                </c:pt>
                <c:pt idx="11">
                  <c:v>934.5776</c:v>
                </c:pt>
                <c:pt idx="12">
                  <c:v>977.339</c:v>
                </c:pt>
                <c:pt idx="13">
                  <c:v>984.9813</c:v>
                </c:pt>
                <c:pt idx="14">
                  <c:v>1073.016</c:v>
                </c:pt>
                <c:pt idx="15">
                  <c:v>1109.5553</c:v>
                </c:pt>
                <c:pt idx="16">
                  <c:v>1057.5021</c:v>
                </c:pt>
                <c:pt idx="17">
                  <c:v>1037.9919</c:v>
                </c:pt>
                <c:pt idx="18">
                  <c:v>1108.2112</c:v>
                </c:pt>
                <c:pt idx="19">
                  <c:v>1118.8854</c:v>
                </c:pt>
                <c:pt idx="20">
                  <c:v>1125.7355</c:v>
                </c:pt>
                <c:pt idx="21">
                  <c:v>1130.4942</c:v>
                </c:pt>
                <c:pt idx="22">
                  <c:v>1159.1513</c:v>
                </c:pt>
                <c:pt idx="23">
                  <c:v>1144.2114</c:v>
                </c:pt>
                <c:pt idx="24">
                  <c:v>1147.0632</c:v>
                </c:pt>
                <c:pt idx="25">
                  <c:v>1147.6797</c:v>
                </c:pt>
                <c:pt idx="26">
                  <c:v>1169.0678</c:v>
                </c:pt>
                <c:pt idx="27">
                  <c:v>1149.7907</c:v>
                </c:pt>
                <c:pt idx="28">
                  <c:v>1159.3392</c:v>
                </c:pt>
                <c:pt idx="29">
                  <c:v>1180.1122</c:v>
                </c:pt>
                <c:pt idx="30">
                  <c:v>1189.4367</c:v>
                </c:pt>
                <c:pt idx="31">
                  <c:v>1189.6497</c:v>
                </c:pt>
                <c:pt idx="32">
                  <c:v>1189.0733</c:v>
                </c:pt>
                <c:pt idx="33">
                  <c:v>1157.0334</c:v>
                </c:pt>
                <c:pt idx="34">
                  <c:v>1147.4428</c:v>
                </c:pt>
                <c:pt idx="35">
                  <c:v>1155.0401</c:v>
                </c:pt>
                <c:pt idx="36">
                  <c:v>1167.668</c:v>
                </c:pt>
                <c:pt idx="37">
                  <c:v>1180.854</c:v>
                </c:pt>
                <c:pt idx="38">
                  <c:v>1176.0198</c:v>
                </c:pt>
                <c:pt idx="39">
                  <c:v>1233.4933</c:v>
                </c:pt>
                <c:pt idx="40">
                  <c:v>1220.0625</c:v>
                </c:pt>
                <c:pt idx="41">
                  <c:v>1241.2274</c:v>
                </c:pt>
                <c:pt idx="42">
                  <c:v>1253.0058</c:v>
                </c:pt>
                <c:pt idx="43">
                  <c:v>1249.3399</c:v>
                </c:pt>
                <c:pt idx="44">
                  <c:v>1263.0578</c:v>
                </c:pt>
                <c:pt idx="45">
                  <c:v>1247.7701</c:v>
                </c:pt>
                <c:pt idx="46">
                  <c:v>1189.9387</c:v>
                </c:pt>
                <c:pt idx="47">
                  <c:v>1197.2593</c:v>
                </c:pt>
                <c:pt idx="48">
                  <c:v>1134.6767</c:v>
                </c:pt>
                <c:pt idx="49">
                  <c:v>1035.6471</c:v>
                </c:pt>
                <c:pt idx="50">
                  <c:v>1061.0186</c:v>
                </c:pt>
                <c:pt idx="51">
                  <c:v>1016.8612</c:v>
                </c:pt>
                <c:pt idx="52">
                  <c:v>985.4558</c:v>
                </c:pt>
                <c:pt idx="53">
                  <c:v>1238.531</c:v>
                </c:pt>
                <c:pt idx="54">
                  <c:v>1220.3867</c:v>
                </c:pt>
                <c:pt idx="55">
                  <c:v>1225.4362</c:v>
                </c:pt>
                <c:pt idx="56">
                  <c:v>1236.9687</c:v>
                </c:pt>
                <c:pt idx="57">
                  <c:v>1244.0881</c:v>
                </c:pt>
                <c:pt idx="58">
                  <c:v>1244.1687</c:v>
                </c:pt>
                <c:pt idx="59">
                  <c:v>1226.6842</c:v>
                </c:pt>
                <c:pt idx="60">
                  <c:v>1233.7342</c:v>
                </c:pt>
                <c:pt idx="61">
                  <c:v>1185.5372</c:v>
                </c:pt>
                <c:pt idx="62">
                  <c:v>1069.4913</c:v>
                </c:pt>
                <c:pt idx="63">
                  <c:v>1063.9903</c:v>
                </c:pt>
                <c:pt idx="64">
                  <c:v>1068.2238</c:v>
                </c:pt>
                <c:pt idx="65">
                  <c:v>1083.6165</c:v>
                </c:pt>
                <c:pt idx="66">
                  <c:v>1222.7272</c:v>
                </c:pt>
                <c:pt idx="67">
                  <c:v>1245.4216</c:v>
                </c:pt>
                <c:pt idx="68">
                  <c:v>1235.551</c:v>
                </c:pt>
                <c:pt idx="69">
                  <c:v>1293.4217</c:v>
                </c:pt>
                <c:pt idx="70">
                  <c:v>1273.4013</c:v>
                </c:pt>
                <c:pt idx="71">
                  <c:v>1277.086</c:v>
                </c:pt>
                <c:pt idx="72">
                  <c:v>1284.8779</c:v>
                </c:pt>
                <c:pt idx="73">
                  <c:v>1268.2748</c:v>
                </c:pt>
                <c:pt idx="74">
                  <c:v>1299.406</c:v>
                </c:pt>
                <c:pt idx="75">
                  <c:v>1276.8018</c:v>
                </c:pt>
                <c:pt idx="76">
                  <c:v>1246.7557</c:v>
                </c:pt>
                <c:pt idx="77">
                  <c:v>1225.9261</c:v>
                </c:pt>
                <c:pt idx="78">
                  <c:v>1260.3531</c:v>
                </c:pt>
                <c:pt idx="79">
                  <c:v>1292.2962</c:v>
                </c:pt>
                <c:pt idx="80">
                  <c:v>1302.8015</c:v>
                </c:pt>
                <c:pt idx="81">
                  <c:v>1331.0768</c:v>
                </c:pt>
                <c:pt idx="82">
                  <c:v>1369.2797</c:v>
                </c:pt>
                <c:pt idx="83">
                  <c:v>1375.6494</c:v>
                </c:pt>
                <c:pt idx="84">
                  <c:v>1388.4704</c:v>
                </c:pt>
                <c:pt idx="85">
                  <c:v>1357.4733</c:v>
                </c:pt>
                <c:pt idx="86">
                  <c:v>1361.8432</c:v>
                </c:pt>
                <c:pt idx="87">
                  <c:v>1354.2591</c:v>
                </c:pt>
                <c:pt idx="88">
                  <c:v>1384.5911</c:v>
                </c:pt>
                <c:pt idx="89">
                  <c:v>1406.4198</c:v>
                </c:pt>
                <c:pt idx="90">
                  <c:v>1398.991</c:v>
                </c:pt>
                <c:pt idx="91">
                  <c:v>1389.825</c:v>
                </c:pt>
                <c:pt idx="92">
                  <c:v>1376.4959</c:v>
                </c:pt>
                <c:pt idx="93">
                  <c:v>1355.1353</c:v>
                </c:pt>
                <c:pt idx="94">
                  <c:v>1392.9973</c:v>
                </c:pt>
                <c:pt idx="95">
                  <c:v>1371.1902</c:v>
                </c:pt>
                <c:pt idx="96">
                  <c:v>1224.6938</c:v>
                </c:pt>
                <c:pt idx="97">
                  <c:v>1279.4817</c:v>
                </c:pt>
                <c:pt idx="98">
                  <c:v>1216.5415</c:v>
                </c:pt>
                <c:pt idx="99">
                  <c:v>1212.037</c:v>
                </c:pt>
                <c:pt idx="100">
                  <c:v>1088.1357</c:v>
                </c:pt>
                <c:pt idx="101">
                  <c:v>1327.4854</c:v>
                </c:pt>
                <c:pt idx="102">
                  <c:v>1297.5843</c:v>
                </c:pt>
                <c:pt idx="103">
                  <c:v>1215.2413</c:v>
                </c:pt>
                <c:pt idx="104">
                  <c:v>1184.3297</c:v>
                </c:pt>
              </c:numCache>
            </c:numRef>
          </c:xVal>
          <c:yVal>
            <c:numRef>
              <c:f>Sheet1!$B$2:$B$106</c:f>
              <c:numCache>
                <c:formatCode>General</c:formatCode>
                <c:ptCount val="105"/>
                <c:pt idx="0">
                  <c:v>0.2609105180533752</c:v>
                </c:pt>
                <c:pt idx="1">
                  <c:v>0.27915321133835663</c:v>
                </c:pt>
                <c:pt idx="2">
                  <c:v>0.2679640718562874</c:v>
                </c:pt>
                <c:pt idx="3">
                  <c:v>0.2760968229954614</c:v>
                </c:pt>
                <c:pt idx="4">
                  <c:v>0.3285654185948675</c:v>
                </c:pt>
                <c:pt idx="5">
                  <c:v>0.3129285014691479</c:v>
                </c:pt>
                <c:pt idx="6">
                  <c:v>0.3269678621332091</c:v>
                </c:pt>
                <c:pt idx="7">
                  <c:v>0.32083792723263505</c:v>
                </c:pt>
                <c:pt idx="8">
                  <c:v>0.289516567083107</c:v>
                </c:pt>
                <c:pt idx="9">
                  <c:v>0.30207351555136663</c:v>
                </c:pt>
                <c:pt idx="10">
                  <c:v>0.2813774354327141</c:v>
                </c:pt>
                <c:pt idx="11">
                  <c:v>0.28620247757368644</c:v>
                </c:pt>
                <c:pt idx="12">
                  <c:v>0.25807622504537203</c:v>
                </c:pt>
                <c:pt idx="13">
                  <c:v>0.26287816843826656</c:v>
                </c:pt>
                <c:pt idx="14">
                  <c:v>0.22412420382165604</c:v>
                </c:pt>
                <c:pt idx="15">
                  <c:v>0.2147099132023755</c:v>
                </c:pt>
                <c:pt idx="16">
                  <c:v>0.25792584631918325</c:v>
                </c:pt>
                <c:pt idx="17">
                  <c:v>0.267027027027027</c:v>
                </c:pt>
                <c:pt idx="18">
                  <c:v>0.2579310344827586</c:v>
                </c:pt>
                <c:pt idx="19">
                  <c:v>0.2645324347093513</c:v>
                </c:pt>
                <c:pt idx="20">
                  <c:v>0.28422982885085574</c:v>
                </c:pt>
                <c:pt idx="21">
                  <c:v>0.2559171597633136</c:v>
                </c:pt>
                <c:pt idx="22">
                  <c:v>0.22753988245172124</c:v>
                </c:pt>
                <c:pt idx="23">
                  <c:v>0.27929515418502204</c:v>
                </c:pt>
                <c:pt idx="24">
                  <c:v>0.27684964200477324</c:v>
                </c:pt>
                <c:pt idx="25">
                  <c:v>0.26090993500464255</c:v>
                </c:pt>
                <c:pt idx="26">
                  <c:v>0.25055432372505543</c:v>
                </c:pt>
                <c:pt idx="27">
                  <c:v>0.25845229151014276</c:v>
                </c:pt>
                <c:pt idx="28">
                  <c:v>0.29703703703703704</c:v>
                </c:pt>
                <c:pt idx="29">
                  <c:v>0.27801418439716313</c:v>
                </c:pt>
                <c:pt idx="30">
                  <c:v>0.2832764505119454</c:v>
                </c:pt>
                <c:pt idx="31">
                  <c:v>0.27495621716287216</c:v>
                </c:pt>
                <c:pt idx="32">
                  <c:v>0.2798507462686567</c:v>
                </c:pt>
                <c:pt idx="33">
                  <c:v>0.2996918335901387</c:v>
                </c:pt>
                <c:pt idx="34">
                  <c:v>0.31805929919137466</c:v>
                </c:pt>
                <c:pt idx="35">
                  <c:v>0.339906103286385</c:v>
                </c:pt>
                <c:pt idx="36">
                  <c:v>0.3118872549019608</c:v>
                </c:pt>
                <c:pt idx="37">
                  <c:v>0.3139083139083139</c:v>
                </c:pt>
                <c:pt idx="38">
                  <c:v>0.29867256637168144</c:v>
                </c:pt>
                <c:pt idx="39">
                  <c:v>0.3004807692307692</c:v>
                </c:pt>
                <c:pt idx="40">
                  <c:v>0.3053435114503817</c:v>
                </c:pt>
                <c:pt idx="41">
                  <c:v>0.29723837209302323</c:v>
                </c:pt>
                <c:pt idx="42">
                  <c:v>0.2935153583617747</c:v>
                </c:pt>
                <c:pt idx="43">
                  <c:v>0.27174975562072334</c:v>
                </c:pt>
                <c:pt idx="44">
                  <c:v>0.2607385079125848</c:v>
                </c:pt>
                <c:pt idx="45">
                  <c:v>0.2666908563134978</c:v>
                </c:pt>
                <c:pt idx="46">
                  <c:v>0.2680788897005113</c:v>
                </c:pt>
                <c:pt idx="47">
                  <c:v>0.27405247813411077</c:v>
                </c:pt>
                <c:pt idx="48">
                  <c:v>0.27739905610907184</c:v>
                </c:pt>
                <c:pt idx="49">
                  <c:v>0.2865863718858274</c:v>
                </c:pt>
                <c:pt idx="50">
                  <c:v>0.28391074574280684</c:v>
                </c:pt>
                <c:pt idx="51">
                  <c:v>0.30678670360110805</c:v>
                </c:pt>
                <c:pt idx="52">
                  <c:v>0.2966532797858099</c:v>
                </c:pt>
                <c:pt idx="53">
                  <c:v>0.28872958980485863</c:v>
                </c:pt>
                <c:pt idx="54">
                  <c:v>0.30368098159509205</c:v>
                </c:pt>
                <c:pt idx="55">
                  <c:v>0.2999031007751938</c:v>
                </c:pt>
                <c:pt idx="56">
                  <c:v>0.29494505494505496</c:v>
                </c:pt>
                <c:pt idx="57">
                  <c:v>0.27602389078498296</c:v>
                </c:pt>
                <c:pt idx="58">
                  <c:v>0.2797281993204983</c:v>
                </c:pt>
                <c:pt idx="59">
                  <c:v>0.24461610486891386</c:v>
                </c:pt>
                <c:pt idx="60">
                  <c:v>0.2469044081228331</c:v>
                </c:pt>
                <c:pt idx="61">
                  <c:v>0.27841540170307294</c:v>
                </c:pt>
                <c:pt idx="62">
                  <c:v>0.3247831007167107</c:v>
                </c:pt>
                <c:pt idx="63">
                  <c:v>0.33075684380032205</c:v>
                </c:pt>
                <c:pt idx="64">
                  <c:v>0.34081820978160565</c:v>
                </c:pt>
                <c:pt idx="65">
                  <c:v>0.3312438139227978</c:v>
                </c:pt>
                <c:pt idx="66">
                  <c:v>0.32558139534883723</c:v>
                </c:pt>
                <c:pt idx="67">
                  <c:v>0.3160377358490566</c:v>
                </c:pt>
                <c:pt idx="68">
                  <c:v>0.31949032562529495</c:v>
                </c:pt>
                <c:pt idx="69">
                  <c:v>0.27590591226954864</c:v>
                </c:pt>
                <c:pt idx="70">
                  <c:v>0.2703030303030303</c:v>
                </c:pt>
                <c:pt idx="71">
                  <c:v>0.2875226039783002</c:v>
                </c:pt>
                <c:pt idx="72">
                  <c:v>0.28712328767123285</c:v>
                </c:pt>
                <c:pt idx="73">
                  <c:v>0.2909494725152693</c:v>
                </c:pt>
                <c:pt idx="74">
                  <c:v>0.277623542476402</c:v>
                </c:pt>
                <c:pt idx="75">
                  <c:v>0.3013040494166095</c:v>
                </c:pt>
                <c:pt idx="76">
                  <c:v>0.281922525107604</c:v>
                </c:pt>
                <c:pt idx="77">
                  <c:v>0.2853127196064652</c:v>
                </c:pt>
                <c:pt idx="78">
                  <c:v>0.292817679558011</c:v>
                </c:pt>
                <c:pt idx="79">
                  <c:v>0.31274742676167855</c:v>
                </c:pt>
                <c:pt idx="80">
                  <c:v>0.3094098883572568</c:v>
                </c:pt>
                <c:pt idx="81">
                  <c:v>0.31984074319840744</c:v>
                </c:pt>
                <c:pt idx="82">
                  <c:v>0.32091447925486877</c:v>
                </c:pt>
                <c:pt idx="83">
                  <c:v>0.2879914984059511</c:v>
                </c:pt>
                <c:pt idx="84">
                  <c:v>0.2887700534759358</c:v>
                </c:pt>
                <c:pt idx="85">
                  <c:v>0.3024193548387097</c:v>
                </c:pt>
                <c:pt idx="86">
                  <c:v>0.29689703808180534</c:v>
                </c:pt>
                <c:pt idx="87">
                  <c:v>0.3316151202749141</c:v>
                </c:pt>
                <c:pt idx="88">
                  <c:v>0.339568345323741</c:v>
                </c:pt>
                <c:pt idx="89">
                  <c:v>0.3095667870036101</c:v>
                </c:pt>
                <c:pt idx="90">
                  <c:v>0.3198458574181118</c:v>
                </c:pt>
                <c:pt idx="91">
                  <c:v>0.29900332225913623</c:v>
                </c:pt>
                <c:pt idx="92">
                  <c:v>0.31779382797110967</c:v>
                </c:pt>
                <c:pt idx="93">
                  <c:v>0.26814268142681424</c:v>
                </c:pt>
                <c:pt idx="94">
                  <c:v>0.2645390070921986</c:v>
                </c:pt>
                <c:pt idx="95">
                  <c:v>0.2535599448782728</c:v>
                </c:pt>
                <c:pt idx="96">
                  <c:v>0.26875455207574656</c:v>
                </c:pt>
                <c:pt idx="97">
                  <c:v>0.2593346911065852</c:v>
                </c:pt>
                <c:pt idx="98">
                  <c:v>0.28374497415278577</c:v>
                </c:pt>
                <c:pt idx="99">
                  <c:v>0.2955756929637527</c:v>
                </c:pt>
                <c:pt idx="100">
                  <c:v>0.29260450160771706</c:v>
                </c:pt>
                <c:pt idx="101">
                  <c:v>0.2431791221826809</c:v>
                </c:pt>
                <c:pt idx="102">
                  <c:v>0.2484809721778062</c:v>
                </c:pt>
                <c:pt idx="103">
                  <c:v>0.26871961102106967</c:v>
                </c:pt>
                <c:pt idx="104">
                  <c:v>0.2983899821109123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21.2618</c:v>
                </c:pt>
                <c:pt idx="1">
                  <c:v>1334.3131</c:v>
                </c:pt>
                <c:pt idx="2">
                  <c:v>1333.2401</c:v>
                </c:pt>
                <c:pt idx="3">
                  <c:v>1348.4544</c:v>
                </c:pt>
                <c:pt idx="4">
                  <c:v>1343.698</c:v>
                </c:pt>
                <c:pt idx="5">
                  <c:v>1337.4037</c:v>
                </c:pt>
                <c:pt idx="6">
                  <c:v>1341.5113</c:v>
                </c:pt>
                <c:pt idx="7">
                  <c:v>1343.4712</c:v>
                </c:pt>
                <c:pt idx="8">
                  <c:v>1346.8347</c:v>
                </c:pt>
                <c:pt idx="9">
                  <c:v>1156.1776</c:v>
                </c:pt>
                <c:pt idx="10">
                  <c:v>1208.7221</c:v>
                </c:pt>
                <c:pt idx="11">
                  <c:v>1348.6609</c:v>
                </c:pt>
                <c:pt idx="12">
                  <c:v>1325.5718</c:v>
                </c:pt>
                <c:pt idx="13">
                  <c:v>1208.157</c:v>
                </c:pt>
                <c:pt idx="14">
                  <c:v>1345.3911</c:v>
                </c:pt>
                <c:pt idx="15">
                  <c:v>1248.5761</c:v>
                </c:pt>
                <c:pt idx="16">
                  <c:v>1364.5434</c:v>
                </c:pt>
                <c:pt idx="17">
                  <c:v>1381.153</c:v>
                </c:pt>
                <c:pt idx="18">
                  <c:v>1441.1905</c:v>
                </c:pt>
                <c:pt idx="19">
                  <c:v>1416.4453</c:v>
                </c:pt>
                <c:pt idx="20">
                  <c:v>1313.8715</c:v>
                </c:pt>
                <c:pt idx="21">
                  <c:v>1345.7377</c:v>
                </c:pt>
                <c:pt idx="22">
                  <c:v>1320.8142</c:v>
                </c:pt>
                <c:pt idx="23">
                  <c:v>1357.3167</c:v>
                </c:pt>
                <c:pt idx="24">
                  <c:v>1435.3587</c:v>
                </c:pt>
                <c:pt idx="25">
                  <c:v>1429.1743</c:v>
                </c:pt>
                <c:pt idx="26">
                  <c:v>1424.5235</c:v>
                </c:pt>
                <c:pt idx="27">
                  <c:v>1417.4206</c:v>
                </c:pt>
                <c:pt idx="28">
                  <c:v>1416.6501</c:v>
                </c:pt>
                <c:pt idx="29">
                  <c:v>1435.7508</c:v>
                </c:pt>
                <c:pt idx="30">
                  <c:v>1425.987</c:v>
                </c:pt>
                <c:pt idx="31">
                  <c:v>1413.3902</c:v>
                </c:pt>
                <c:pt idx="32">
                  <c:v>1394.5157</c:v>
                </c:pt>
                <c:pt idx="33">
                  <c:v>1393.711</c:v>
                </c:pt>
                <c:pt idx="34">
                  <c:v>1406.6328</c:v>
                </c:pt>
                <c:pt idx="35">
                  <c:v>1428.0647</c:v>
                </c:pt>
                <c:pt idx="36">
                  <c:v>1481.9119</c:v>
                </c:pt>
                <c:pt idx="37">
                  <c:v>1432.3163</c:v>
                </c:pt>
                <c:pt idx="38">
                  <c:v>1419.6707</c:v>
                </c:pt>
                <c:pt idx="39">
                  <c:v>1466.9614</c:v>
                </c:pt>
                <c:pt idx="40">
                  <c:v>1472.5884</c:v>
                </c:pt>
                <c:pt idx="41">
                  <c:v>1467.4014</c:v>
                </c:pt>
                <c:pt idx="42">
                  <c:v>1447.7949</c:v>
                </c:pt>
                <c:pt idx="43">
                  <c:v>1419.6216</c:v>
                </c:pt>
                <c:pt idx="44">
                  <c:v>1356.5059</c:v>
                </c:pt>
                <c:pt idx="45">
                  <c:v>1353.0673</c:v>
                </c:pt>
                <c:pt idx="46">
                  <c:v>1355.8371</c:v>
                </c:pt>
                <c:pt idx="47">
                  <c:v>1323.6808</c:v>
                </c:pt>
                <c:pt idx="48">
                  <c:v>1239.8627</c:v>
                </c:pt>
                <c:pt idx="49">
                  <c:v>1203.5396</c:v>
                </c:pt>
                <c:pt idx="50">
                  <c:v>1152.2519</c:v>
                </c:pt>
                <c:pt idx="51">
                  <c:v>1200.6852</c:v>
                </c:pt>
              </c:numCache>
            </c:numRef>
          </c:xVal>
          <c:yVal>
            <c:numRef>
              <c:f>Sheet1!$B$109:$B$160</c:f>
              <c:numCache>
                <c:formatCode>General</c:formatCode>
                <c:ptCount val="52"/>
                <c:pt idx="0">
                  <c:v>0.3017518770110833</c:v>
                </c:pt>
                <c:pt idx="1">
                  <c:v>0.29754601226993865</c:v>
                </c:pt>
                <c:pt idx="2">
                  <c:v>0.31233333333333335</c:v>
                </c:pt>
                <c:pt idx="3">
                  <c:v>0.3032134902958956</c:v>
                </c:pt>
                <c:pt idx="4">
                  <c:v>0.3021918792669781</c:v>
                </c:pt>
                <c:pt idx="5">
                  <c:v>0.2958152958152958</c:v>
                </c:pt>
                <c:pt idx="6">
                  <c:v>0.27743012098456404</c:v>
                </c:pt>
                <c:pt idx="7">
                  <c:v>0.27460510328068044</c:v>
                </c:pt>
                <c:pt idx="8">
                  <c:v>0.315921963499056</c:v>
                </c:pt>
                <c:pt idx="9">
                  <c:v>0.29426686960933535</c:v>
                </c:pt>
                <c:pt idx="10">
                  <c:v>0.3102776424744277</c:v>
                </c:pt>
                <c:pt idx="11">
                  <c:v>0.29178947368421054</c:v>
                </c:pt>
                <c:pt idx="12">
                  <c:v>0.31046312178387653</c:v>
                </c:pt>
                <c:pt idx="13">
                  <c:v>0.3231083844580777</c:v>
                </c:pt>
                <c:pt idx="14">
                  <c:v>0.2981042654028436</c:v>
                </c:pt>
                <c:pt idx="15">
                  <c:v>0.3179876601803512</c:v>
                </c:pt>
                <c:pt idx="16">
                  <c:v>0.2865819988956378</c:v>
                </c:pt>
                <c:pt idx="17">
                  <c:v>0.2662076878944349</c:v>
                </c:pt>
                <c:pt idx="18">
                  <c:v>0.27652982184353214</c:v>
                </c:pt>
                <c:pt idx="19">
                  <c:v>0.2808413871517908</c:v>
                </c:pt>
                <c:pt idx="20">
                  <c:v>0.28157894736842104</c:v>
                </c:pt>
                <c:pt idx="21">
                  <c:v>0.28451492537313433</c:v>
                </c:pt>
                <c:pt idx="22">
                  <c:v>0.3138888888888889</c:v>
                </c:pt>
                <c:pt idx="23">
                  <c:v>0.2909556313993174</c:v>
                </c:pt>
                <c:pt idx="24">
                  <c:v>0.2737104825291181</c:v>
                </c:pt>
                <c:pt idx="25">
                  <c:v>0.24417670682730924</c:v>
                </c:pt>
                <c:pt idx="26">
                  <c:v>0.24111866969009826</c:v>
                </c:pt>
                <c:pt idx="27">
                  <c:v>0.23351648351648352</c:v>
                </c:pt>
                <c:pt idx="28">
                  <c:v>0.2540237928621414</c:v>
                </c:pt>
                <c:pt idx="29">
                  <c:v>0.24631751227495907</c:v>
                </c:pt>
                <c:pt idx="30">
                  <c:v>0.2592905405405405</c:v>
                </c:pt>
                <c:pt idx="31">
                  <c:v>0.2773109243697479</c:v>
                </c:pt>
                <c:pt idx="32">
                  <c:v>0.2955715756951596</c:v>
                </c:pt>
                <c:pt idx="33">
                  <c:v>0.3174311926605505</c:v>
                </c:pt>
                <c:pt idx="34">
                  <c:v>0.33740546829552065</c:v>
                </c:pt>
                <c:pt idx="35">
                  <c:v>0.33134684147794996</c:v>
                </c:pt>
                <c:pt idx="36">
                  <c:v>0.2979452054794521</c:v>
                </c:pt>
                <c:pt idx="37">
                  <c:v>0.31499051233396586</c:v>
                </c:pt>
                <c:pt idx="38">
                  <c:v>0.27666666666666667</c:v>
                </c:pt>
                <c:pt idx="39">
                  <c:v>0.31273549359457425</c:v>
                </c:pt>
                <c:pt idx="40">
                  <c:v>0.2871212121212121</c:v>
                </c:pt>
                <c:pt idx="41">
                  <c:v>0.3152889539136796</c:v>
                </c:pt>
                <c:pt idx="42">
                  <c:v>0.2959268495428096</c:v>
                </c:pt>
                <c:pt idx="43">
                  <c:v>0.29243119266055045</c:v>
                </c:pt>
                <c:pt idx="44">
                  <c:v>0.2822695035460993</c:v>
                </c:pt>
                <c:pt idx="45">
                  <c:v>0.2840751043115438</c:v>
                </c:pt>
                <c:pt idx="46">
                  <c:v>0.2966139954853273</c:v>
                </c:pt>
                <c:pt idx="47">
                  <c:v>0.30088105726872244</c:v>
                </c:pt>
                <c:pt idx="48">
                  <c:v>0.3120950323974082</c:v>
                </c:pt>
                <c:pt idx="49">
                  <c:v>0.3425714285714286</c:v>
                </c:pt>
                <c:pt idx="50">
                  <c:v>0.3499585749792875</c:v>
                </c:pt>
                <c:pt idx="51">
                  <c:v>0.335011848341232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96.9667977513175</c:v>
                </c:pt>
              </c:numCache>
            </c:numRef>
          </c:xVal>
          <c:yVal>
            <c:numRef>
              <c:f>Sheet1!$B$163:$B$164</c:f>
              <c:numCache>
                <c:formatCode>General</c:formatCode>
                <c:ptCount val="2"/>
                <c:pt idx="0">
                  <c:v>0.3349092210723391</c:v>
                </c:pt>
                <c:pt idx="1">
                  <c:v>0.3349092210723391</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96.9667977513175</c:v>
                </c:pt>
                <c:pt idx="1">
                  <c:v>1096.9667977513175</c:v>
                </c:pt>
              </c:numCache>
            </c:numRef>
          </c:xVal>
          <c:yVal>
            <c:numRef>
              <c:f>Sheet1!$B$167:$B$168</c:f>
              <c:numCache>
                <c:formatCode>General</c:formatCode>
                <c:ptCount val="2"/>
                <c:pt idx="0">
                  <c:v>0.334909221072339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6.9667977513175</c:v>
                </c:pt>
              </c:numCache>
            </c:numRef>
          </c:xVal>
          <c:yVal>
            <c:numRef>
              <c:f>Sheet1!$B$171:$B$172</c:f>
              <c:numCache>
                <c:formatCode>General</c:formatCode>
                <c:ptCount val="2"/>
                <c:pt idx="0">
                  <c:v>0.3349092210723391</c:v>
                </c:pt>
                <c:pt idx="1">
                  <c:v>0.3349092210723391</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6.9667977513175</c:v>
                </c:pt>
                <c:pt idx="1">
                  <c:v>1096.9667977513175</c:v>
                </c:pt>
              </c:numCache>
            </c:numRef>
          </c:xVal>
          <c:yVal>
            <c:numRef>
              <c:f>Sheet1!$B$175:$B$176</c:f>
              <c:numCache>
                <c:formatCode>General</c:formatCode>
                <c:ptCount val="2"/>
                <c:pt idx="0">
                  <c:v>0.334909221072339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69.8517518561714</c:v>
                </c:pt>
              </c:numCache>
            </c:numRef>
          </c:xVal>
          <c:yVal>
            <c:numRef>
              <c:f>Sheet1!$B$179:$B$180</c:f>
              <c:numCache>
                <c:formatCode>General</c:formatCode>
                <c:ptCount val="2"/>
                <c:pt idx="0">
                  <c:v>0.30822924974875965</c:v>
                </c:pt>
                <c:pt idx="1">
                  <c:v>0.3082292497487596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69.8517518561714</c:v>
                </c:pt>
                <c:pt idx="1">
                  <c:v>1269.8517518561714</c:v>
                </c:pt>
              </c:numCache>
            </c:numRef>
          </c:xVal>
          <c:yVal>
            <c:numRef>
              <c:f>Sheet1!$B$183:$B$184</c:f>
              <c:numCache>
                <c:formatCode>General</c:formatCode>
                <c:ptCount val="2"/>
                <c:pt idx="0">
                  <c:v>0.3082292497487596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21.2618</c:v>
                </c:pt>
                <c:pt idx="1">
                  <c:v>1334.3131</c:v>
                </c:pt>
                <c:pt idx="2">
                  <c:v>1333.2401</c:v>
                </c:pt>
                <c:pt idx="3">
                  <c:v>1348.4544</c:v>
                </c:pt>
                <c:pt idx="4">
                  <c:v>1343.698</c:v>
                </c:pt>
                <c:pt idx="5">
                  <c:v>1337.4037</c:v>
                </c:pt>
                <c:pt idx="6">
                  <c:v>1341.5113</c:v>
                </c:pt>
                <c:pt idx="7">
                  <c:v>1343.4712</c:v>
                </c:pt>
                <c:pt idx="8">
                  <c:v>1346.8347</c:v>
                </c:pt>
                <c:pt idx="9">
                  <c:v>1156.1776</c:v>
                </c:pt>
                <c:pt idx="10">
                  <c:v>1208.7221</c:v>
                </c:pt>
                <c:pt idx="11">
                  <c:v>1348.6609</c:v>
                </c:pt>
                <c:pt idx="12">
                  <c:v>1325.5718</c:v>
                </c:pt>
                <c:pt idx="13">
                  <c:v>1208.157</c:v>
                </c:pt>
                <c:pt idx="14">
                  <c:v>1345.3911</c:v>
                </c:pt>
                <c:pt idx="15">
                  <c:v>1248.5761</c:v>
                </c:pt>
                <c:pt idx="16">
                  <c:v>1364.5434</c:v>
                </c:pt>
                <c:pt idx="17">
                  <c:v>1381.153</c:v>
                </c:pt>
                <c:pt idx="18">
                  <c:v>1441.1905</c:v>
                </c:pt>
                <c:pt idx="19">
                  <c:v>1416.4453</c:v>
                </c:pt>
                <c:pt idx="20">
                  <c:v>1313.8715</c:v>
                </c:pt>
                <c:pt idx="21">
                  <c:v>1345.7377</c:v>
                </c:pt>
                <c:pt idx="22">
                  <c:v>1320.8142</c:v>
                </c:pt>
                <c:pt idx="23">
                  <c:v>1357.3167</c:v>
                </c:pt>
                <c:pt idx="24">
                  <c:v>1435.3587</c:v>
                </c:pt>
                <c:pt idx="25">
                  <c:v>1429.1743</c:v>
                </c:pt>
                <c:pt idx="26">
                  <c:v>1424.5235</c:v>
                </c:pt>
                <c:pt idx="27">
                  <c:v>1417.4206</c:v>
                </c:pt>
                <c:pt idx="28">
                  <c:v>1416.6501</c:v>
                </c:pt>
                <c:pt idx="29">
                  <c:v>1435.7508</c:v>
                </c:pt>
                <c:pt idx="30">
                  <c:v>1425.987</c:v>
                </c:pt>
                <c:pt idx="31">
                  <c:v>1413.3902</c:v>
                </c:pt>
                <c:pt idx="32">
                  <c:v>1394.5157</c:v>
                </c:pt>
                <c:pt idx="33">
                  <c:v>1393.711</c:v>
                </c:pt>
                <c:pt idx="34">
                  <c:v>1406.6328</c:v>
                </c:pt>
                <c:pt idx="35">
                  <c:v>1428.0647</c:v>
                </c:pt>
                <c:pt idx="36">
                  <c:v>1481.9119</c:v>
                </c:pt>
                <c:pt idx="37">
                  <c:v>1432.3163</c:v>
                </c:pt>
                <c:pt idx="38">
                  <c:v>1419.6707</c:v>
                </c:pt>
                <c:pt idx="39">
                  <c:v>1466.9614</c:v>
                </c:pt>
                <c:pt idx="40">
                  <c:v>1472.5884</c:v>
                </c:pt>
                <c:pt idx="41">
                  <c:v>1467.4014</c:v>
                </c:pt>
                <c:pt idx="42">
                  <c:v>1447.7949</c:v>
                </c:pt>
                <c:pt idx="43">
                  <c:v>1419.6216</c:v>
                </c:pt>
                <c:pt idx="44">
                  <c:v>1356.5059</c:v>
                </c:pt>
                <c:pt idx="45">
                  <c:v>1353.0673</c:v>
                </c:pt>
                <c:pt idx="46">
                  <c:v>1355.8371</c:v>
                </c:pt>
                <c:pt idx="47">
                  <c:v>1323.6808</c:v>
                </c:pt>
                <c:pt idx="48">
                  <c:v>1239.8627</c:v>
                </c:pt>
                <c:pt idx="49">
                  <c:v>1203.5396</c:v>
                </c:pt>
                <c:pt idx="50">
                  <c:v>1152.2519</c:v>
                </c:pt>
                <c:pt idx="51">
                  <c:v>1200.6852</c:v>
                </c:pt>
                <c:pt idx="52">
                  <c:v>1096.9667977513175</c:v>
                </c:pt>
                <c:pt idx="53">
                  <c:v>1096.9667977513175</c:v>
                </c:pt>
                <c:pt idx="54">
                  <c:v>1269.8517518561714</c:v>
                </c:pt>
              </c:numCache>
            </c:numRef>
          </c:xVal>
          <c:yVal>
            <c:numRef>
              <c:f>Sheet1!$B$187:$B$241</c:f>
              <c:numCache>
                <c:formatCode>General</c:formatCode>
                <c:ptCount val="55"/>
                <c:pt idx="0">
                  <c:v>0.3002955425194463</c:v>
                </c:pt>
                <c:pt idx="1">
                  <c:v>0.2982814383335826</c:v>
                </c:pt>
                <c:pt idx="2">
                  <c:v>0.2984470259602123</c:v>
                </c:pt>
                <c:pt idx="3">
                  <c:v>0.2960991230451781</c:v>
                </c:pt>
                <c:pt idx="4">
                  <c:v>0.2968331407407059</c:v>
                </c:pt>
                <c:pt idx="5">
                  <c:v>0.2978044904129287</c:v>
                </c:pt>
                <c:pt idx="6">
                  <c:v>0.2971705969039409</c:v>
                </c:pt>
                <c:pt idx="7">
                  <c:v>0.2968681409958034</c:v>
                </c:pt>
                <c:pt idx="8">
                  <c:v>0.2963490785706693</c:v>
                </c:pt>
                <c:pt idx="9">
                  <c:v>0.3257716849910739</c:v>
                </c:pt>
                <c:pt idx="10">
                  <c:v>0.3176629067548742</c:v>
                </c:pt>
                <c:pt idx="11">
                  <c:v>0.2960672555289628</c:v>
                </c:pt>
                <c:pt idx="12">
                  <c:v>0.299630414214904</c:v>
                </c:pt>
                <c:pt idx="13">
                  <c:v>0.31775011418060434</c:v>
                </c:pt>
                <c:pt idx="14">
                  <c:v>0.2965718579721629</c:v>
                </c:pt>
                <c:pt idx="15">
                  <c:v>0.31151255328637606</c:v>
                </c:pt>
                <c:pt idx="16">
                  <c:v>0.2936162345784077</c:v>
                </c:pt>
                <c:pt idx="17">
                  <c:v>0.29105300601991</c:v>
                </c:pt>
                <c:pt idx="18">
                  <c:v>0.2817878921953263</c:v>
                </c:pt>
                <c:pt idx="19">
                  <c:v>0.2856066237316509</c:v>
                </c:pt>
                <c:pt idx="20">
                  <c:v>0.3014360292268845</c:v>
                </c:pt>
                <c:pt idx="21">
                  <c:v>0.2965183699279971</c:v>
                </c:pt>
                <c:pt idx="22">
                  <c:v>0.3003646170969667</c:v>
                </c:pt>
                <c:pt idx="23">
                  <c:v>0.2947314741882535</c:v>
                </c:pt>
                <c:pt idx="24">
                  <c:v>0.28268786789055356</c:v>
                </c:pt>
                <c:pt idx="25">
                  <c:v>0.2836422575626212</c:v>
                </c:pt>
                <c:pt idx="26">
                  <c:v>0.28435997884307707</c:v>
                </c:pt>
                <c:pt idx="27">
                  <c:v>0.285456113375405</c:v>
                </c:pt>
                <c:pt idx="28">
                  <c:v>0.2855750185630267</c:v>
                </c:pt>
                <c:pt idx="29">
                  <c:v>0.2826273581902726</c:v>
                </c:pt>
                <c:pt idx="30">
                  <c:v>0.2841341284315463</c:v>
                </c:pt>
                <c:pt idx="31">
                  <c:v>0.2860780932173138</c:v>
                </c:pt>
                <c:pt idx="32">
                  <c:v>0.28899084592823787</c:v>
                </c:pt>
                <c:pt idx="33">
                  <c:v>0.2891150289321045</c:v>
                </c:pt>
                <c:pt idx="34">
                  <c:v>0.2871209094597996</c:v>
                </c:pt>
                <c:pt idx="35">
                  <c:v>0.2838134933785655</c:v>
                </c:pt>
                <c:pt idx="36">
                  <c:v>0.2755036797265126</c:v>
                </c:pt>
                <c:pt idx="37">
                  <c:v>0.2831573774853887</c:v>
                </c:pt>
                <c:pt idx="38">
                  <c:v>0.2851088731902425</c:v>
                </c:pt>
                <c:pt idx="39">
                  <c:v>0.2778108724682896</c:v>
                </c:pt>
                <c:pt idx="40">
                  <c:v>0.27694250194168657</c:v>
                </c:pt>
                <c:pt idx="41">
                  <c:v>0.2777429707388236</c:v>
                </c:pt>
                <c:pt idx="42">
                  <c:v>0.2807686872360412</c:v>
                </c:pt>
                <c:pt idx="43">
                  <c:v>0.2851164504059624</c:v>
                </c:pt>
                <c:pt idx="44">
                  <c:v>0.29485659855700597</c:v>
                </c:pt>
                <c:pt idx="45">
                  <c:v>0.29538725057278303</c:v>
                </c:pt>
                <c:pt idx="46">
                  <c:v>0.29495980918579434</c:v>
                </c:pt>
                <c:pt idx="47">
                  <c:v>0.2999222373294955</c:v>
                </c:pt>
                <c:pt idx="48">
                  <c:v>0.31285722358076085</c:v>
                </c:pt>
                <c:pt idx="49">
                  <c:v>0.3184626811025053</c:v>
                </c:pt>
                <c:pt idx="50">
                  <c:v>0.32637750730781206</c:v>
                </c:pt>
                <c:pt idx="51">
                  <c:v>0.31890317814020497</c:v>
                </c:pt>
                <c:pt idx="52">
                  <c:v>0.3349092210723391</c:v>
                </c:pt>
                <c:pt idx="53">
                  <c:v>0.3349092210723391</c:v>
                </c:pt>
                <c:pt idx="54">
                  <c:v>0.3082292497487596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78.0"/>
          <c:min val="74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19950289975145"/>
          <c:min val="0.1717679305619004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9</c:f>
              <c:numCache>
                <c:formatCode>General</c:formatCode>
                <c:ptCount val="28"/>
                <c:pt idx="0">
                  <c:v>0.0</c:v>
                </c:pt>
                <c:pt idx="1">
                  <c:v>0.0</c:v>
                </c:pt>
                <c:pt idx="2">
                  <c:v>0.0</c:v>
                </c:pt>
                <c:pt idx="3">
                  <c:v>0.583300635103926</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numCache>
            </c:numRef>
          </c:xVal>
          <c:yVal>
            <c:numRef>
              <c:f>Sheet1!$B$2:$B$29</c:f>
              <c:numCache>
                <c:formatCode>General</c:formatCode>
                <c:ptCount val="28"/>
                <c:pt idx="0">
                  <c:v>0.2609105180533752</c:v>
                </c:pt>
                <c:pt idx="1">
                  <c:v>0.27915321133835663</c:v>
                </c:pt>
                <c:pt idx="2">
                  <c:v>0.2679640718562874</c:v>
                </c:pt>
                <c:pt idx="3">
                  <c:v>0.2760968229954614</c:v>
                </c:pt>
                <c:pt idx="4">
                  <c:v>0.3285654185948675</c:v>
                </c:pt>
                <c:pt idx="5">
                  <c:v>0.3129285014691479</c:v>
                </c:pt>
                <c:pt idx="6">
                  <c:v>0.3269678621332091</c:v>
                </c:pt>
                <c:pt idx="7">
                  <c:v>0.32083792723263505</c:v>
                </c:pt>
                <c:pt idx="8">
                  <c:v>0.289516567083107</c:v>
                </c:pt>
                <c:pt idx="9">
                  <c:v>0.30207351555136663</c:v>
                </c:pt>
                <c:pt idx="10">
                  <c:v>0.2813774354327141</c:v>
                </c:pt>
                <c:pt idx="11">
                  <c:v>0.28620247757368644</c:v>
                </c:pt>
                <c:pt idx="12">
                  <c:v>0.25807622504537203</c:v>
                </c:pt>
                <c:pt idx="13">
                  <c:v>0.26287816843826656</c:v>
                </c:pt>
                <c:pt idx="14">
                  <c:v>0.22412420382165604</c:v>
                </c:pt>
                <c:pt idx="15">
                  <c:v>0.2147099132023755</c:v>
                </c:pt>
                <c:pt idx="16">
                  <c:v>0.25792584631918325</c:v>
                </c:pt>
                <c:pt idx="17">
                  <c:v>0.2579310344827586</c:v>
                </c:pt>
                <c:pt idx="18">
                  <c:v>0.2645324347093513</c:v>
                </c:pt>
                <c:pt idx="19">
                  <c:v>0.2559171597633136</c:v>
                </c:pt>
                <c:pt idx="20">
                  <c:v>0.22753988245172124</c:v>
                </c:pt>
                <c:pt idx="21">
                  <c:v>0.27929515418502204</c:v>
                </c:pt>
                <c:pt idx="22">
                  <c:v>0.25845229151014276</c:v>
                </c:pt>
                <c:pt idx="23">
                  <c:v>0.27495621716287216</c:v>
                </c:pt>
                <c:pt idx="24">
                  <c:v>0.31805929919137466</c:v>
                </c:pt>
                <c:pt idx="25">
                  <c:v>0.3053435114503817</c:v>
                </c:pt>
                <c:pt idx="26">
                  <c:v>0.27405247813411077</c:v>
                </c:pt>
                <c:pt idx="27">
                  <c:v>0.2999031007751938</c:v>
                </c:pt>
              </c:numCache>
            </c:numRef>
          </c:yVal>
          <c:smooth val="0"/>
          <c:extLst>
            <c:ext xmlns:c16="http://schemas.microsoft.com/office/drawing/2014/chart" uri="{C3380CC4-5D6E-409C-BE32-E72D297353CC}">
              <c16:uniqueId val="{00000000-096C-4121-9522-6AB7243CCAAE}"/>
            </c:ext>
          </c:extLst>
        </c:ser>
        <c:ser>
          <c:idx val="1"/>
          <c:order val="1"/>
          <c:tx>
            <c:strRef>
              <c:f>Sheet1!$B$3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32:$A$31</c:f>
              <c:numCache>
                <c:formatCode>General</c:formatCode>
                <c:ptCount val="0"/>
              </c:numCache>
            </c:numRef>
          </c:xVal>
          <c:yVal>
            <c:numRef>
              <c:f>Sheet1!$B$32:$B$31</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3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34:$A$35</c:f>
              <c:numCache>
                <c:formatCode>General</c:formatCode>
                <c:ptCount val="2"/>
                <c:pt idx="0">
                  <c:v>0</c:v>
                </c:pt>
                <c:pt idx="1">
                  <c:v>0.2999031007751938</c:v>
                </c:pt>
              </c:numCache>
            </c:numRef>
          </c:xVal>
          <c:yVal>
            <c:numRef>
              <c:f>Sheet1!$B$34:$B$35</c:f>
              <c:numCache>
                <c:formatCode>General</c:formatCode>
                <c:ptCount val="2"/>
                <c:pt idx="0">
                  <c:v>0.2999031007751938</c:v>
                </c:pt>
                <c:pt idx="1">
                  <c:v>0.2999031007751938</c:v>
                </c:pt>
              </c:numCache>
            </c:numRef>
          </c:yVal>
          <c:smooth val="0"/>
          <c:extLst>
            <c:ext xmlns:c16="http://schemas.microsoft.com/office/drawing/2014/chart" uri="{C3380CC4-5D6E-409C-BE32-E72D297353CC}">
              <c16:uniqueId val="{00000005-096C-4121-9522-6AB7243CCAAE}"/>
            </c:ext>
          </c:extLst>
        </c:ser>
        <c:ser>
          <c:idx val="3"/>
          <c:order val="3"/>
          <c:tx>
            <c:strRef>
              <c:f>Sheet1!$B$3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8:$A$39</c:f>
              <c:numCache>
                <c:formatCode>General</c:formatCode>
                <c:ptCount val="2"/>
                <c:pt idx="0">
                  <c:v>0.2999031007751938</c:v>
                </c:pt>
                <c:pt idx="1">
                  <c:v>0.2999031007751938</c:v>
                </c:pt>
              </c:numCache>
            </c:numRef>
          </c:xVal>
          <c:yVal>
            <c:numRef>
              <c:f>Sheet1!$B$38:$B$39</c:f>
              <c:numCache>
                <c:formatCode>General</c:formatCode>
                <c:ptCount val="2"/>
                <c:pt idx="0">
                  <c:v>0.299903100775193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41</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42:$A$44</c:f>
              <c:numCache>
                <c:formatCode>General</c:formatCode>
                <c:ptCount val="3"/>
                <c:pt idx="0">
                  <c:v>0</c:v>
                </c:pt>
                <c:pt idx="1">
                  <c:v>0.2999031007751938</c:v>
                </c:pt>
                <c:pt idx="2">
                  <c:v>0</c:v>
                </c:pt>
              </c:numCache>
            </c:numRef>
          </c:xVal>
          <c:yVal>
            <c:numRef>
              <c:f>Sheet1!$B$42:$B$44</c:f>
              <c:numCache>
                <c:formatCode>General</c:formatCode>
                <c:ptCount val="3"/>
                <c:pt idx="0">
                  <c:v>0</c:v>
                </c:pt>
                <c:pt idx="1">
                  <c:v>0.2999031007751938</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Mustel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4278502313841"/>
          <c:min val="0.1717679305619004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995490351098463</c:v>
                </c:pt>
                <c:pt idx="1">
                  <c:v>0.1053770920974039</c:v>
                </c:pt>
                <c:pt idx="2">
                  <c:v>0.10471634195433856</c:v>
                </c:pt>
                <c:pt idx="3">
                  <c:v>0.10622899906091944</c:v>
                </c:pt>
                <c:pt idx="4">
                  <c:v>0.098608929491286</c:v>
                </c:pt>
                <c:pt idx="5">
                  <c:v>0.09511271440564481</c:v>
                </c:pt>
                <c:pt idx="6">
                  <c:v>0.09685993301583327</c:v>
                </c:pt>
                <c:pt idx="7">
                  <c:v>0.09321103781703098</c:v>
                </c:pt>
                <c:pt idx="8">
                  <c:v>0.09431128893175578</c:v>
                </c:pt>
                <c:pt idx="9">
                  <c:v>0.09130415592903421</c:v>
                </c:pt>
                <c:pt idx="10">
                  <c:v>0.0851947374808371</c:v>
                </c:pt>
                <c:pt idx="11">
                  <c:v>0.08608831441409036</c:v>
                </c:pt>
                <c:pt idx="12">
                  <c:v>0.0863508490110679</c:v>
                </c:pt>
                <c:pt idx="13">
                  <c:v>0.08457922211056987</c:v>
                </c:pt>
                <c:pt idx="14">
                  <c:v>0.09347347054789304</c:v>
                </c:pt>
                <c:pt idx="15">
                  <c:v>0.0900855727179585</c:v>
                </c:pt>
                <c:pt idx="16">
                  <c:v>0.08928250898630574</c:v>
                </c:pt>
                <c:pt idx="17">
                  <c:v>0.08675706333102623</c:v>
                </c:pt>
                <c:pt idx="18">
                  <c:v>0.0896699632695143</c:v>
                </c:pt>
                <c:pt idx="19">
                  <c:v>0.09220866955234115</c:v>
                </c:pt>
                <c:pt idx="20">
                  <c:v>0.09349398639036947</c:v>
                </c:pt>
                <c:pt idx="21">
                  <c:v>0.09056697331365243</c:v>
                </c:pt>
                <c:pt idx="22">
                  <c:v>0.08929344719124695</c:v>
                </c:pt>
                <c:pt idx="23">
                  <c:v>0.09246026577945905</c:v>
                </c:pt>
                <c:pt idx="24">
                  <c:v>0.08916671761378442</c:v>
                </c:pt>
                <c:pt idx="25">
                  <c:v>0.0900415239066836</c:v>
                </c:pt>
                <c:pt idx="26">
                  <c:v>0.09856403704369404</c:v>
                </c:pt>
                <c:pt idx="27">
                  <c:v>0.09676463419592106</c:v>
                </c:pt>
                <c:pt idx="28">
                  <c:v>0.09767035915055858</c:v>
                </c:pt>
                <c:pt idx="29">
                  <c:v>0.09963545436886825</c:v>
                </c:pt>
                <c:pt idx="30">
                  <c:v>0.09471519216494778</c:v>
                </c:pt>
                <c:pt idx="31">
                  <c:v>0.09707491462455088</c:v>
                </c:pt>
                <c:pt idx="32">
                  <c:v>0.09324365605417054</c:v>
                </c:pt>
                <c:pt idx="33">
                  <c:v>0.10138718833943383</c:v>
                </c:pt>
                <c:pt idx="34">
                  <c:v>0.09506141362620223</c:v>
                </c:pt>
                <c:pt idx="35">
                  <c:v>0.10059800675036448</c:v>
                </c:pt>
                <c:pt idx="36">
                  <c:v>0.09853824710942677</c:v>
                </c:pt>
                <c:pt idx="37">
                  <c:v>0.10111565308270816</c:v>
                </c:pt>
                <c:pt idx="38">
                  <c:v>0.10322126879664094</c:v>
                </c:pt>
                <c:pt idx="39">
                  <c:v>0.10785162145135735</c:v>
                </c:pt>
                <c:pt idx="40">
                  <c:v>0.11121025183976123</c:v>
                </c:pt>
                <c:pt idx="41">
                  <c:v>0.11297027747494837</c:v>
                </c:pt>
                <c:pt idx="42">
                  <c:v>0.11026255070882954</c:v>
                </c:pt>
                <c:pt idx="43">
                  <c:v>0.1133606863332913</c:v>
                </c:pt>
                <c:pt idx="44">
                  <c:v>0.11364502600389914</c:v>
                </c:pt>
                <c:pt idx="45">
                  <c:v>0.11759664376411283</c:v>
                </c:pt>
                <c:pt idx="46">
                  <c:v>0.11444770389253263</c:v>
                </c:pt>
                <c:pt idx="47">
                  <c:v>0.11146502072060366</c:v>
                </c:pt>
                <c:pt idx="48">
                  <c:v>0.11335589785070456</c:v>
                </c:pt>
                <c:pt idx="49">
                  <c:v>0.11581434993024771</c:v>
                </c:pt>
                <c:pt idx="50">
                  <c:v>0.10566300996051287</c:v>
                </c:pt>
                <c:pt idx="51">
                  <c:v>0.1040438760417736</c:v>
                </c:pt>
                <c:pt idx="52">
                  <c:v>0.10386444592998464</c:v>
                </c:pt>
                <c:pt idx="53">
                  <c:v>0.12276963131445703</c:v>
                </c:pt>
                <c:pt idx="54">
                  <c:v>0.12122056222604358</c:v>
                </c:pt>
                <c:pt idx="55">
                  <c:v>0.11988293019117828</c:v>
                </c:pt>
                <c:pt idx="56">
                  <c:v>0.11868298967292994</c:v>
                </c:pt>
                <c:pt idx="57">
                  <c:v>0.11792541345075032</c:v>
                </c:pt>
                <c:pt idx="58">
                  <c:v>0.11723288714316886</c:v>
                </c:pt>
                <c:pt idx="59">
                  <c:v>0.12023816380756215</c:v>
                </c:pt>
                <c:pt idx="60">
                  <c:v>0.12084237780562089</c:v>
                </c:pt>
                <c:pt idx="61">
                  <c:v>0.11235482297122962</c:v>
                </c:pt>
                <c:pt idx="62">
                  <c:v>0.1007574396120863</c:v>
                </c:pt>
                <c:pt idx="63">
                  <c:v>0.10293710354019295</c:v>
                </c:pt>
                <c:pt idx="64">
                  <c:v>0.1069620262792252</c:v>
                </c:pt>
                <c:pt idx="65">
                  <c:v>0.10642365693841131</c:v>
                </c:pt>
                <c:pt idx="66">
                  <c:v>0.11640419282940115</c:v>
                </c:pt>
                <c:pt idx="67">
                  <c:v>0.11548774402877732</c:v>
                </c:pt>
                <c:pt idx="68">
                  <c:v>0.11411999337506668</c:v>
                </c:pt>
                <c:pt idx="69">
                  <c:v>0.11466913922002356</c:v>
                </c:pt>
                <c:pt idx="70">
                  <c:v>0.1127673401338789</c:v>
                </c:pt>
                <c:pt idx="71">
                  <c:v>0.11170149487349254</c:v>
                </c:pt>
                <c:pt idx="72">
                  <c:v>0.11363653858121714</c:v>
                </c:pt>
                <c:pt idx="73">
                  <c:v>0.11070398542488198</c:v>
                </c:pt>
                <c:pt idx="74">
                  <c:v>0.11255242573242538</c:v>
                </c:pt>
                <c:pt idx="75">
                  <c:v>0.10782332079296801</c:v>
                </c:pt>
                <c:pt idx="76">
                  <c:v>0.10343476271582432</c:v>
                </c:pt>
                <c:pt idx="77">
                  <c:v>0.10376470514220734</c:v>
                </c:pt>
                <c:pt idx="78">
                  <c:v>0.10296301268016401</c:v>
                </c:pt>
                <c:pt idx="79">
                  <c:v>0.10514758854191385</c:v>
                </c:pt>
                <c:pt idx="80">
                  <c:v>0.1064652789943642</c:v>
                </c:pt>
                <c:pt idx="81">
                  <c:v>0.11354735477122059</c:v>
                </c:pt>
                <c:pt idx="82">
                  <c:v>0.11078928108224563</c:v>
                </c:pt>
                <c:pt idx="83">
                  <c:v>0.11144783462492537</c:v>
                </c:pt>
                <c:pt idx="84">
                  <c:v>0.11270427900152934</c:v>
                </c:pt>
                <c:pt idx="85">
                  <c:v>0.1108539928259009</c:v>
                </c:pt>
                <c:pt idx="86">
                  <c:v>0.11184570933248306</c:v>
                </c:pt>
                <c:pt idx="87">
                  <c:v>0.11077292677810337</c:v>
                </c:pt>
                <c:pt idx="88">
                  <c:v>0.11130542236208114</c:v>
                </c:pt>
                <c:pt idx="89">
                  <c:v>0.11180613220867512</c:v>
                </c:pt>
                <c:pt idx="90">
                  <c:v>0.11303190615814837</c:v>
                </c:pt>
                <c:pt idx="91">
                  <c:v>0.11524726512489199</c:v>
                </c:pt>
                <c:pt idx="92">
                  <c:v>0.11090305215322864</c:v>
                </c:pt>
                <c:pt idx="93">
                  <c:v>0.11186428680854678</c:v>
                </c:pt>
                <c:pt idx="94">
                  <c:v>0.11129622044024526</c:v>
                </c:pt>
                <c:pt idx="95">
                  <c:v>0.1108095003778802</c:v>
                </c:pt>
                <c:pt idx="96">
                  <c:v>0.1054842031139873</c:v>
                </c:pt>
                <c:pt idx="97">
                  <c:v>0.10609890878011838</c:v>
                </c:pt>
                <c:pt idx="98">
                  <c:v>0.10447904679364513</c:v>
                </c:pt>
                <c:pt idx="99">
                  <c:v>0.10496325917887281</c:v>
                </c:pt>
                <c:pt idx="100">
                  <c:v>0.10116018214536072</c:v>
                </c:pt>
                <c:pt idx="101">
                  <c:v>0.11049433259168644</c:v>
                </c:pt>
                <c:pt idx="102">
                  <c:v>0.11170814028575048</c:v>
                </c:pt>
                <c:pt idx="103">
                  <c:v>0.1049200201821946</c:v>
                </c:pt>
                <c:pt idx="104">
                  <c:v>0.10442470388347397</c:v>
                </c:pt>
              </c:numCache>
            </c:numRef>
          </c:xVal>
          <c:yVal>
            <c:numRef>
              <c:f>Sheet1!$B$2:$B$106</c:f>
              <c:numCache>
                <c:formatCode>General</c:formatCode>
                <c:ptCount val="105"/>
                <c:pt idx="0">
                  <c:v>0.19014989293361884</c:v>
                </c:pt>
                <c:pt idx="1">
                  <c:v>0.1874182090110301</c:v>
                </c:pt>
                <c:pt idx="2">
                  <c:v>0.18448132010753684</c:v>
                </c:pt>
                <c:pt idx="3">
                  <c:v>0.19202967471942173</c:v>
                </c:pt>
                <c:pt idx="4">
                  <c:v>0.21944354227563062</c:v>
                </c:pt>
                <c:pt idx="5">
                  <c:v>0.20855138625988198</c:v>
                </c:pt>
                <c:pt idx="6">
                  <c:v>0.23273385122911566</c:v>
                </c:pt>
                <c:pt idx="7">
                  <c:v>0.22297297297297297</c:v>
                </c:pt>
                <c:pt idx="8">
                  <c:v>0.23093121197941038</c:v>
                </c:pt>
                <c:pt idx="9">
                  <c:v>0.23115327009485773</c:v>
                </c:pt>
                <c:pt idx="10">
                  <c:v>0.22522522522522523</c:v>
                </c:pt>
                <c:pt idx="11">
                  <c:v>0.22725676150333685</c:v>
                </c:pt>
                <c:pt idx="12">
                  <c:v>0.21053849714550224</c:v>
                </c:pt>
                <c:pt idx="13">
                  <c:v>0.20055565202292064</c:v>
                </c:pt>
                <c:pt idx="14">
                  <c:v>0.17704734335605565</c:v>
                </c:pt>
                <c:pt idx="15">
                  <c:v>0.16691908264820424</c:v>
                </c:pt>
                <c:pt idx="16">
                  <c:v>0.16824498831632026</c:v>
                </c:pt>
                <c:pt idx="17">
                  <c:v>0.1657111657111657</c:v>
                </c:pt>
                <c:pt idx="18">
                  <c:v>0.1534027221777422</c:v>
                </c:pt>
                <c:pt idx="19">
                  <c:v>0.1468956879584899</c:v>
                </c:pt>
                <c:pt idx="20">
                  <c:v>0.18550137462017074</c:v>
                </c:pt>
                <c:pt idx="21">
                  <c:v>0.1703767123287671</c:v>
                </c:pt>
                <c:pt idx="22">
                  <c:v>0.14937759336099585</c:v>
                </c:pt>
                <c:pt idx="23">
                  <c:v>0.1632692681032809</c:v>
                </c:pt>
                <c:pt idx="24">
                  <c:v>0.16699981828093768</c:v>
                </c:pt>
                <c:pt idx="25">
                  <c:v>0.16081750619322874</c:v>
                </c:pt>
                <c:pt idx="26">
                  <c:v>0.16816409560942533</c:v>
                </c:pt>
                <c:pt idx="27">
                  <c:v>0.18117854001759015</c:v>
                </c:pt>
                <c:pt idx="28">
                  <c:v>0.18936994016191483</c:v>
                </c:pt>
                <c:pt idx="29">
                  <c:v>0.18606127956818544</c:v>
                </c:pt>
                <c:pt idx="30">
                  <c:v>0.1950787401574803</c:v>
                </c:pt>
                <c:pt idx="31">
                  <c:v>0.17657657657657658</c:v>
                </c:pt>
                <c:pt idx="32">
                  <c:v>0.18993506493506493</c:v>
                </c:pt>
                <c:pt idx="33">
                  <c:v>0.1818020259463302</c:v>
                </c:pt>
                <c:pt idx="34">
                  <c:v>0.20025288446341077</c:v>
                </c:pt>
                <c:pt idx="35">
                  <c:v>0.2567105905319668</c:v>
                </c:pt>
                <c:pt idx="36">
                  <c:v>0.2090291536937447</c:v>
                </c:pt>
                <c:pt idx="37">
                  <c:v>0.19676739283204497</c:v>
                </c:pt>
                <c:pt idx="38">
                  <c:v>0.18666219839142092</c:v>
                </c:pt>
                <c:pt idx="39">
                  <c:v>0.18684603886397608</c:v>
                </c:pt>
                <c:pt idx="40">
                  <c:v>0.1901644336175396</c:v>
                </c:pt>
                <c:pt idx="41">
                  <c:v>0.17954735959765297</c:v>
                </c:pt>
                <c:pt idx="42">
                  <c:v>0.18690275435637999</c:v>
                </c:pt>
                <c:pt idx="43">
                  <c:v>0.18360136452241715</c:v>
                </c:pt>
                <c:pt idx="44">
                  <c:v>0.16826381059751974</c:v>
                </c:pt>
                <c:pt idx="45">
                  <c:v>0.16118853536681568</c:v>
                </c:pt>
                <c:pt idx="46">
                  <c:v>0.16547874624302275</c:v>
                </c:pt>
                <c:pt idx="47">
                  <c:v>0.16660851360781578</c:v>
                </c:pt>
                <c:pt idx="48">
                  <c:v>0.16566534577527803</c:v>
                </c:pt>
                <c:pt idx="49">
                  <c:v>0.18493237800483317</c:v>
                </c:pt>
                <c:pt idx="50">
                  <c:v>0.1706705661165657</c:v>
                </c:pt>
                <c:pt idx="51">
                  <c:v>0.1737982884107814</c:v>
                </c:pt>
                <c:pt idx="52">
                  <c:v>0.17529908028490424</c:v>
                </c:pt>
                <c:pt idx="53">
                  <c:v>0.16356603426045313</c:v>
                </c:pt>
                <c:pt idx="54">
                  <c:v>0.16656510257972781</c:v>
                </c:pt>
                <c:pt idx="55">
                  <c:v>0.16468982890731604</c:v>
                </c:pt>
                <c:pt idx="56">
                  <c:v>0.17314981049271894</c:v>
                </c:pt>
                <c:pt idx="57">
                  <c:v>0.15567353549896518</c:v>
                </c:pt>
                <c:pt idx="58">
                  <c:v>0.1553445337229121</c:v>
                </c:pt>
                <c:pt idx="59">
                  <c:v>0.14042185898473325</c:v>
                </c:pt>
                <c:pt idx="60">
                  <c:v>0.13943281566509116</c:v>
                </c:pt>
                <c:pt idx="61">
                  <c:v>0.1463888266487415</c:v>
                </c:pt>
                <c:pt idx="62">
                  <c:v>0.16681908245694255</c:v>
                </c:pt>
                <c:pt idx="63">
                  <c:v>0.16552175335296043</c:v>
                </c:pt>
                <c:pt idx="64">
                  <c:v>0.16559465254130407</c:v>
                </c:pt>
                <c:pt idx="65">
                  <c:v>0.16908012687905116</c:v>
                </c:pt>
                <c:pt idx="66">
                  <c:v>0.16127120527446479</c:v>
                </c:pt>
                <c:pt idx="67">
                  <c:v>0.1575673807878369</c:v>
                </c:pt>
                <c:pt idx="68">
                  <c:v>0.15084640609766906</c:v>
                </c:pt>
                <c:pt idx="69">
                  <c:v>0.13940273243864104</c:v>
                </c:pt>
                <c:pt idx="70">
                  <c:v>0.1383089168300842</c:v>
                </c:pt>
                <c:pt idx="71">
                  <c:v>0.1375188580712545</c:v>
                </c:pt>
                <c:pt idx="72">
                  <c:v>0.15128576199487923</c:v>
                </c:pt>
                <c:pt idx="73">
                  <c:v>0.14916875427009793</c:v>
                </c:pt>
                <c:pt idx="74">
                  <c:v>0.14144620811287478</c:v>
                </c:pt>
                <c:pt idx="75">
                  <c:v>0.15030504714364948</c:v>
                </c:pt>
                <c:pt idx="76">
                  <c:v>0.15098152424942263</c:v>
                </c:pt>
                <c:pt idx="77">
                  <c:v>0.14893926184248765</c:v>
                </c:pt>
                <c:pt idx="78">
                  <c:v>0.1562448711636304</c:v>
                </c:pt>
                <c:pt idx="79">
                  <c:v>0.1584241408214585</c:v>
                </c:pt>
                <c:pt idx="80">
                  <c:v>0.158530531193116</c:v>
                </c:pt>
                <c:pt idx="81">
                  <c:v>0.15322033898305085</c:v>
                </c:pt>
                <c:pt idx="82">
                  <c:v>0.15401558793629277</c:v>
                </c:pt>
                <c:pt idx="83">
                  <c:v>0.13964346349745332</c:v>
                </c:pt>
                <c:pt idx="84">
                  <c:v>0.14164366107453813</c:v>
                </c:pt>
                <c:pt idx="85">
                  <c:v>0.1314352574102964</c:v>
                </c:pt>
                <c:pt idx="86">
                  <c:v>0.14265335235378032</c:v>
                </c:pt>
                <c:pt idx="87">
                  <c:v>0.17739646497226164</c:v>
                </c:pt>
                <c:pt idx="88">
                  <c:v>0.18386639357176618</c:v>
                </c:pt>
                <c:pt idx="89">
                  <c:v>0.1434290687554395</c:v>
                </c:pt>
                <c:pt idx="90">
                  <c:v>0.14193663862538033</c:v>
                </c:pt>
                <c:pt idx="91">
                  <c:v>0.14365199797673242</c:v>
                </c:pt>
                <c:pt idx="92">
                  <c:v>0.15895232815964525</c:v>
                </c:pt>
                <c:pt idx="93">
                  <c:v>0.13890293225480282</c:v>
                </c:pt>
                <c:pt idx="94">
                  <c:v>0.13735046521931768</c:v>
                </c:pt>
                <c:pt idx="95">
                  <c:v>0.1478503270076123</c:v>
                </c:pt>
                <c:pt idx="96">
                  <c:v>0.14983572540204046</c:v>
                </c:pt>
                <c:pt idx="97">
                  <c:v>0.1448043382676242</c:v>
                </c:pt>
                <c:pt idx="98">
                  <c:v>0.15628408288958748</c:v>
                </c:pt>
                <c:pt idx="99">
                  <c:v>0.1556851648668938</c:v>
                </c:pt>
                <c:pt idx="100">
                  <c:v>0.17040760657781934</c:v>
                </c:pt>
                <c:pt idx="101">
                  <c:v>0.14546495356824832</c:v>
                </c:pt>
                <c:pt idx="102">
                  <c:v>0.13494876586969132</c:v>
                </c:pt>
                <c:pt idx="103">
                  <c:v>0.1509997222993613</c:v>
                </c:pt>
                <c:pt idx="104">
                  <c:v>0.155755176613885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382075761795671</c:v>
                </c:pt>
                <c:pt idx="1">
                  <c:v>0.11275773921996605</c:v>
                </c:pt>
                <c:pt idx="2">
                  <c:v>0.11782298845213235</c:v>
                </c:pt>
                <c:pt idx="3">
                  <c:v>0.11952204224358447</c:v>
                </c:pt>
                <c:pt idx="4">
                  <c:v>0.11977400402533345</c:v>
                </c:pt>
                <c:pt idx="5">
                  <c:v>0.10986705743541486</c:v>
                </c:pt>
                <c:pt idx="6">
                  <c:v>0.10981898205166461</c:v>
                </c:pt>
                <c:pt idx="7">
                  <c:v>0.11161816091837812</c:v>
                </c:pt>
                <c:pt idx="8">
                  <c:v>0.11291477992412433</c:v>
                </c:pt>
                <c:pt idx="9">
                  <c:v>0.10126180779264864</c:v>
                </c:pt>
                <c:pt idx="10">
                  <c:v>0.10463463551337772</c:v>
                </c:pt>
                <c:pt idx="11">
                  <c:v>0.11714571083207663</c:v>
                </c:pt>
                <c:pt idx="12">
                  <c:v>0.116236355856107</c:v>
                </c:pt>
                <c:pt idx="13">
                  <c:v>0.10570086888371558</c:v>
                </c:pt>
                <c:pt idx="14">
                  <c:v>0.11229765124002897</c:v>
                </c:pt>
                <c:pt idx="15">
                  <c:v>0.10385635354610276</c:v>
                </c:pt>
                <c:pt idx="16">
                  <c:v>0.11117800521774034</c:v>
                </c:pt>
                <c:pt idx="17">
                  <c:v>0.11390046875799205</c:v>
                </c:pt>
                <c:pt idx="18">
                  <c:v>0.11463103933959598</c:v>
                </c:pt>
                <c:pt idx="19">
                  <c:v>0.11555007992787111</c:v>
                </c:pt>
                <c:pt idx="20">
                  <c:v>0.10691369652970398</c:v>
                </c:pt>
                <c:pt idx="21">
                  <c:v>0.10977289641170894</c:v>
                </c:pt>
                <c:pt idx="22">
                  <c:v>0.10971114148924337</c:v>
                </c:pt>
                <c:pt idx="23">
                  <c:v>0.10317336592255234</c:v>
                </c:pt>
                <c:pt idx="24">
                  <c:v>0.09913736840867976</c:v>
                </c:pt>
                <c:pt idx="25">
                  <c:v>0.10096803432955742</c:v>
                </c:pt>
                <c:pt idx="26">
                  <c:v>0.10541274685502379</c:v>
                </c:pt>
                <c:pt idx="27">
                  <c:v>0.11057744185822486</c:v>
                </c:pt>
                <c:pt idx="28">
                  <c:v>0.11286015587704738</c:v>
                </c:pt>
                <c:pt idx="29">
                  <c:v>0.1130576428466763</c:v>
                </c:pt>
                <c:pt idx="30">
                  <c:v>0.11332347912178316</c:v>
                </c:pt>
                <c:pt idx="31">
                  <c:v>0.11104915557417377</c:v>
                </c:pt>
                <c:pt idx="32">
                  <c:v>0.10992572685157145</c:v>
                </c:pt>
                <c:pt idx="33">
                  <c:v>0.11294228772820569</c:v>
                </c:pt>
                <c:pt idx="34">
                  <c:v>0.11432301260245814</c:v>
                </c:pt>
                <c:pt idx="35">
                  <c:v>0.11399816727117541</c:v>
                </c:pt>
                <c:pt idx="36">
                  <c:v>0.11559936708180962</c:v>
                </c:pt>
                <c:pt idx="37">
                  <c:v>0.11210030782247564</c:v>
                </c:pt>
                <c:pt idx="38">
                  <c:v>0.1143055647918836</c:v>
                </c:pt>
                <c:pt idx="39">
                  <c:v>0.11669982913732847</c:v>
                </c:pt>
                <c:pt idx="40">
                  <c:v>0.11704419504937776</c:v>
                </c:pt>
                <c:pt idx="41">
                  <c:v>0.11521009445063765</c:v>
                </c:pt>
                <c:pt idx="42">
                  <c:v>0.11628764267278278</c:v>
                </c:pt>
                <c:pt idx="43">
                  <c:v>0.11568722762884108</c:v>
                </c:pt>
                <c:pt idx="44">
                  <c:v>0.1131191964602106</c:v>
                </c:pt>
                <c:pt idx="45">
                  <c:v>0.11664686276907052</c:v>
                </c:pt>
                <c:pt idx="46">
                  <c:v>0.1167776950798269</c:v>
                </c:pt>
                <c:pt idx="47">
                  <c:v>0.11628638722823181</c:v>
                </c:pt>
                <c:pt idx="48">
                  <c:v>0.1120559734443731</c:v>
                </c:pt>
                <c:pt idx="49">
                  <c:v>0.11150021275661369</c:v>
                </c:pt>
                <c:pt idx="50">
                  <c:v>0.11128863252466915</c:v>
                </c:pt>
                <c:pt idx="51">
                  <c:v>0.10873959577860098</c:v>
                </c:pt>
              </c:numCache>
            </c:numRef>
          </c:xVal>
          <c:yVal>
            <c:numRef>
              <c:f>Sheet1!$B$109:$B$160</c:f>
              <c:numCache>
                <c:formatCode>General</c:formatCode>
                <c:ptCount val="52"/>
                <c:pt idx="0">
                  <c:v>0.17426059152677859</c:v>
                </c:pt>
                <c:pt idx="1">
                  <c:v>0.16431742076162292</c:v>
                </c:pt>
                <c:pt idx="2">
                  <c:v>0.17060423825887744</c:v>
                </c:pt>
                <c:pt idx="3">
                  <c:v>0.17236204897346702</c:v>
                </c:pt>
                <c:pt idx="4">
                  <c:v>0.16263736263736264</c:v>
                </c:pt>
                <c:pt idx="5">
                  <c:v>0.14956301099520722</c:v>
                </c:pt>
                <c:pt idx="6">
                  <c:v>0.13353554207497279</c:v>
                </c:pt>
                <c:pt idx="7">
                  <c:v>0.12613092070250134</c:v>
                </c:pt>
                <c:pt idx="8">
                  <c:v>0.13820283762480295</c:v>
                </c:pt>
                <c:pt idx="9">
                  <c:v>0.14737147274835716</c:v>
                </c:pt>
                <c:pt idx="10">
                  <c:v>0.1545095220984549</c:v>
                </c:pt>
                <c:pt idx="11">
                  <c:v>0.14495201535508637</c:v>
                </c:pt>
                <c:pt idx="12">
                  <c:v>0.15231272387478587</c:v>
                </c:pt>
                <c:pt idx="13">
                  <c:v>0.1674721902570004</c:v>
                </c:pt>
                <c:pt idx="14">
                  <c:v>0.15209580838323353</c:v>
                </c:pt>
                <c:pt idx="15">
                  <c:v>0.16133059841255684</c:v>
                </c:pt>
                <c:pt idx="16">
                  <c:v>0.14427465767017264</c:v>
                </c:pt>
                <c:pt idx="17">
                  <c:v>0.13034602429315095</c:v>
                </c:pt>
                <c:pt idx="18">
                  <c:v>0.14128664495114007</c:v>
                </c:pt>
                <c:pt idx="19">
                  <c:v>0.1602713824936047</c:v>
                </c:pt>
                <c:pt idx="20">
                  <c:v>0.14584607855132753</c:v>
                </c:pt>
                <c:pt idx="21">
                  <c:v>0.14382130805077936</c:v>
                </c:pt>
                <c:pt idx="22">
                  <c:v>0.14724121481952615</c:v>
                </c:pt>
                <c:pt idx="23">
                  <c:v>0.1690320523042577</c:v>
                </c:pt>
                <c:pt idx="24">
                  <c:v>0.16956521739130434</c:v>
                </c:pt>
                <c:pt idx="25">
                  <c:v>0.15811023622047243</c:v>
                </c:pt>
                <c:pt idx="26">
                  <c:v>0.14969111357516238</c:v>
                </c:pt>
                <c:pt idx="27">
                  <c:v>0.14162224463333814</c:v>
                </c:pt>
                <c:pt idx="28">
                  <c:v>0.13396251146939311</c:v>
                </c:pt>
                <c:pt idx="29">
                  <c:v>0.13297451321829984</c:v>
                </c:pt>
                <c:pt idx="30">
                  <c:v>0.14792115289050853</c:v>
                </c:pt>
                <c:pt idx="31">
                  <c:v>0.13254147812971342</c:v>
                </c:pt>
                <c:pt idx="32">
                  <c:v>0.1279716742539201</c:v>
                </c:pt>
                <c:pt idx="33">
                  <c:v>0.14977383146255654</c:v>
                </c:pt>
                <c:pt idx="34">
                  <c:v>0.17450045413260673</c:v>
                </c:pt>
                <c:pt idx="35">
                  <c:v>0.18845963348192174</c:v>
                </c:pt>
                <c:pt idx="36">
                  <c:v>0.15489660554038237</c:v>
                </c:pt>
                <c:pt idx="37">
                  <c:v>0.15602594742232845</c:v>
                </c:pt>
                <c:pt idx="38">
                  <c:v>0.14591439688715954</c:v>
                </c:pt>
                <c:pt idx="39">
                  <c:v>0.17303051809794182</c:v>
                </c:pt>
                <c:pt idx="40">
                  <c:v>0.16149154421957304</c:v>
                </c:pt>
                <c:pt idx="41">
                  <c:v>0.17019628099173553</c:v>
                </c:pt>
                <c:pt idx="42">
                  <c:v>0.1579172610556348</c:v>
                </c:pt>
                <c:pt idx="43">
                  <c:v>0.16775396085740912</c:v>
                </c:pt>
                <c:pt idx="44">
                  <c:v>0.15995563896945914</c:v>
                </c:pt>
                <c:pt idx="45">
                  <c:v>0.16269083969465647</c:v>
                </c:pt>
                <c:pt idx="46">
                  <c:v>0.1665410069531708</c:v>
                </c:pt>
                <c:pt idx="47">
                  <c:v>0.16591639871382638</c:v>
                </c:pt>
                <c:pt idx="48">
                  <c:v>0.17167352537722907</c:v>
                </c:pt>
                <c:pt idx="49">
                  <c:v>0.18769338548660167</c:v>
                </c:pt>
                <c:pt idx="50">
                  <c:v>0.21326613199911706</c:v>
                </c:pt>
                <c:pt idx="51">
                  <c:v>0.191201050620821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9259932956169493</c:v>
                </c:pt>
              </c:numCache>
            </c:numRef>
          </c:xVal>
          <c:yVal>
            <c:numRef>
              <c:f>Sheet1!$B$163:$B$164</c:f>
              <c:numCache>
                <c:formatCode>General</c:formatCode>
                <c:ptCount val="2"/>
                <c:pt idx="0">
                  <c:v>0.20763467349873543</c:v>
                </c:pt>
                <c:pt idx="1">
                  <c:v>0.2076346734987354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9259932956169493</c:v>
                </c:pt>
                <c:pt idx="1">
                  <c:v>0.29259932956169493</c:v>
                </c:pt>
              </c:numCache>
            </c:numRef>
          </c:xVal>
          <c:yVal>
            <c:numRef>
              <c:f>Sheet1!$B$167:$B$168</c:f>
              <c:numCache>
                <c:formatCode>General</c:formatCode>
                <c:ptCount val="2"/>
                <c:pt idx="0">
                  <c:v>0.207634673498735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3303136590323897</c:v>
                </c:pt>
              </c:numCache>
            </c:numRef>
          </c:xVal>
          <c:yVal>
            <c:numRef>
              <c:f>Sheet1!$B$171:$B$172</c:f>
              <c:numCache>
                <c:formatCode>General</c:formatCode>
                <c:ptCount val="2"/>
                <c:pt idx="0">
                  <c:v>0.1909585233709423</c:v>
                </c:pt>
                <c:pt idx="1">
                  <c:v>0.190958523370942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3303136590323897</c:v>
                </c:pt>
                <c:pt idx="1">
                  <c:v>0.23303136590323897</c:v>
                </c:pt>
              </c:numCache>
            </c:numRef>
          </c:xVal>
          <c:yVal>
            <c:numRef>
              <c:f>Sheet1!$B$175:$B$176</c:f>
              <c:numCache>
                <c:formatCode>General</c:formatCode>
                <c:ptCount val="2"/>
                <c:pt idx="0">
                  <c:v>0.190958523370942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6897270682055887</c:v>
                </c:pt>
              </c:numCache>
            </c:numRef>
          </c:xVal>
          <c:yVal>
            <c:numRef>
              <c:f>Sheet1!$B$179:$B$180</c:f>
              <c:numCache>
                <c:formatCode>General</c:formatCode>
                <c:ptCount val="2"/>
                <c:pt idx="0">
                  <c:v>0.1730251956182443</c:v>
                </c:pt>
                <c:pt idx="1">
                  <c:v>0.173025195618244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6897270682055887</c:v>
                </c:pt>
                <c:pt idx="1">
                  <c:v>0.16897270682055887</c:v>
                </c:pt>
              </c:numCache>
            </c:numRef>
          </c:xVal>
          <c:yVal>
            <c:numRef>
              <c:f>Sheet1!$B$183:$B$184</c:f>
              <c:numCache>
                <c:formatCode>General</c:formatCode>
                <c:ptCount val="2"/>
                <c:pt idx="0">
                  <c:v>0.173025195618244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382075761795671</c:v>
                </c:pt>
                <c:pt idx="1">
                  <c:v>0.11275773921996605</c:v>
                </c:pt>
                <c:pt idx="2">
                  <c:v>0.11782298845213235</c:v>
                </c:pt>
                <c:pt idx="3">
                  <c:v>0.11952204224358447</c:v>
                </c:pt>
                <c:pt idx="4">
                  <c:v>0.11977400402533345</c:v>
                </c:pt>
                <c:pt idx="5">
                  <c:v>0.10986705743541486</c:v>
                </c:pt>
                <c:pt idx="6">
                  <c:v>0.10981898205166461</c:v>
                </c:pt>
                <c:pt idx="7">
                  <c:v>0.11161816091837812</c:v>
                </c:pt>
                <c:pt idx="8">
                  <c:v>0.11291477992412433</c:v>
                </c:pt>
                <c:pt idx="9">
                  <c:v>0.10126180779264864</c:v>
                </c:pt>
                <c:pt idx="10">
                  <c:v>0.10463463551337772</c:v>
                </c:pt>
                <c:pt idx="11">
                  <c:v>0.11714571083207663</c:v>
                </c:pt>
                <c:pt idx="12">
                  <c:v>0.116236355856107</c:v>
                </c:pt>
                <c:pt idx="13">
                  <c:v>0.10570086888371558</c:v>
                </c:pt>
                <c:pt idx="14">
                  <c:v>0.11229765124002897</c:v>
                </c:pt>
                <c:pt idx="15">
                  <c:v>0.10385635354610276</c:v>
                </c:pt>
                <c:pt idx="16">
                  <c:v>0.11117800521774034</c:v>
                </c:pt>
                <c:pt idx="17">
                  <c:v>0.11390046875799205</c:v>
                </c:pt>
                <c:pt idx="18">
                  <c:v>0.11463103933959598</c:v>
                </c:pt>
                <c:pt idx="19">
                  <c:v>0.11555007992787111</c:v>
                </c:pt>
                <c:pt idx="20">
                  <c:v>0.10691369652970398</c:v>
                </c:pt>
                <c:pt idx="21">
                  <c:v>0.10977289641170894</c:v>
                </c:pt>
                <c:pt idx="22">
                  <c:v>0.10971114148924337</c:v>
                </c:pt>
                <c:pt idx="23">
                  <c:v>0.10317336592255234</c:v>
                </c:pt>
                <c:pt idx="24">
                  <c:v>0.09913736840867976</c:v>
                </c:pt>
                <c:pt idx="25">
                  <c:v>0.10096803432955742</c:v>
                </c:pt>
                <c:pt idx="26">
                  <c:v>0.10541274685502379</c:v>
                </c:pt>
                <c:pt idx="27">
                  <c:v>0.11057744185822486</c:v>
                </c:pt>
                <c:pt idx="28">
                  <c:v>0.11286015587704738</c:v>
                </c:pt>
                <c:pt idx="29">
                  <c:v>0.1130576428466763</c:v>
                </c:pt>
                <c:pt idx="30">
                  <c:v>0.11332347912178316</c:v>
                </c:pt>
                <c:pt idx="31">
                  <c:v>0.11104915557417377</c:v>
                </c:pt>
                <c:pt idx="32">
                  <c:v>0.10992572685157145</c:v>
                </c:pt>
                <c:pt idx="33">
                  <c:v>0.11294228772820569</c:v>
                </c:pt>
                <c:pt idx="34">
                  <c:v>0.11432301260245814</c:v>
                </c:pt>
                <c:pt idx="35">
                  <c:v>0.11399816727117541</c:v>
                </c:pt>
                <c:pt idx="36">
                  <c:v>0.11559936708180962</c:v>
                </c:pt>
                <c:pt idx="37">
                  <c:v>0.11210030782247564</c:v>
                </c:pt>
                <c:pt idx="38">
                  <c:v>0.1143055647918836</c:v>
                </c:pt>
                <c:pt idx="39">
                  <c:v>0.11669982913732847</c:v>
                </c:pt>
                <c:pt idx="40">
                  <c:v>0.11704419504937776</c:v>
                </c:pt>
                <c:pt idx="41">
                  <c:v>0.11521009445063765</c:v>
                </c:pt>
                <c:pt idx="42">
                  <c:v>0.11628764267278278</c:v>
                </c:pt>
                <c:pt idx="43">
                  <c:v>0.11568722762884108</c:v>
                </c:pt>
                <c:pt idx="44">
                  <c:v>0.1131191964602106</c:v>
                </c:pt>
                <c:pt idx="45">
                  <c:v>0.11664686276907052</c:v>
                </c:pt>
                <c:pt idx="46">
                  <c:v>0.1167776950798269</c:v>
                </c:pt>
                <c:pt idx="47">
                  <c:v>0.11628638722823181</c:v>
                </c:pt>
                <c:pt idx="48">
                  <c:v>0.1120559734443731</c:v>
                </c:pt>
                <c:pt idx="49">
                  <c:v>0.11150021275661369</c:v>
                </c:pt>
                <c:pt idx="50">
                  <c:v>0.11128863252466915</c:v>
                </c:pt>
                <c:pt idx="51">
                  <c:v>0.10873959577860098</c:v>
                </c:pt>
                <c:pt idx="52">
                  <c:v>0.23303136590323897</c:v>
                </c:pt>
                <c:pt idx="53">
                  <c:v>0.29259932956169493</c:v>
                </c:pt>
                <c:pt idx="54">
                  <c:v>0.16897270682055887</c:v>
                </c:pt>
              </c:numCache>
            </c:numRef>
          </c:xVal>
          <c:yVal>
            <c:numRef>
              <c:f>Sheet1!$B$187:$B$241</c:f>
              <c:numCache>
                <c:formatCode>General</c:formatCode>
                <c:ptCount val="55"/>
                <c:pt idx="0">
                  <c:v>0.1575853160545175</c:v>
                </c:pt>
                <c:pt idx="1">
                  <c:v>0.15728772229262328</c:v>
                </c:pt>
                <c:pt idx="2">
                  <c:v>0.158705747208073</c:v>
                </c:pt>
                <c:pt idx="3">
                  <c:v>0.15918140013225063</c:v>
                </c:pt>
                <c:pt idx="4">
                  <c:v>0.15925193725054132</c:v>
                </c:pt>
                <c:pt idx="5">
                  <c:v>0.15647847113730012</c:v>
                </c:pt>
                <c:pt idx="6">
                  <c:v>0.15646501235396038</c:v>
                </c:pt>
                <c:pt idx="7">
                  <c:v>0.15696869545886047</c:v>
                </c:pt>
                <c:pt idx="8">
                  <c:v>0.15733168609796222</c:v>
                </c:pt>
                <c:pt idx="9">
                  <c:v>0.1540694172412713</c:v>
                </c:pt>
                <c:pt idx="10">
                  <c:v>0.15501364595032296</c:v>
                </c:pt>
                <c:pt idx="11">
                  <c:v>0.1585161422161179</c:v>
                </c:pt>
                <c:pt idx="12">
                  <c:v>0.1582615667838323</c:v>
                </c:pt>
                <c:pt idx="13">
                  <c:v>0.15531213974905286</c:v>
                </c:pt>
                <c:pt idx="14">
                  <c:v>0.1571589199002935</c:v>
                </c:pt>
                <c:pt idx="15">
                  <c:v>0.15479576462400388</c:v>
                </c:pt>
                <c:pt idx="16">
                  <c:v>0.15684547314114744</c:v>
                </c:pt>
                <c:pt idx="17">
                  <c:v>0.1576076313202484</c:v>
                </c:pt>
                <c:pt idx="18">
                  <c:v>0.1578121557650931</c:v>
                </c:pt>
                <c:pt idx="19">
                  <c:v>0.1580694427005923</c:v>
                </c:pt>
                <c:pt idx="20">
                  <c:v>0.15565167285815168</c:v>
                </c:pt>
                <c:pt idx="21">
                  <c:v>0.15645211060269282</c:v>
                </c:pt>
                <c:pt idx="22">
                  <c:v>0.15643482220982327</c:v>
                </c:pt>
                <c:pt idx="23">
                  <c:v>0.15460456110710918</c:v>
                </c:pt>
                <c:pt idx="24">
                  <c:v>0.15347467691562255</c:v>
                </c:pt>
                <c:pt idx="25">
                  <c:v>0.15398717487350866</c:v>
                </c:pt>
                <c:pt idx="26">
                  <c:v>0.15523147950971453</c:v>
                </c:pt>
                <c:pt idx="27">
                  <c:v>0.1566773444335429</c:v>
                </c:pt>
                <c:pt idx="28">
                  <c:v>0.1573163940054733</c:v>
                </c:pt>
                <c:pt idx="29">
                  <c:v>0.1573716808098485</c:v>
                </c:pt>
                <c:pt idx="30">
                  <c:v>0.1574461021155442</c:v>
                </c:pt>
                <c:pt idx="31">
                  <c:v>0.15680940146993255</c:v>
                </c:pt>
                <c:pt idx="32">
                  <c:v>0.15649489573756592</c:v>
                </c:pt>
                <c:pt idx="33">
                  <c:v>0.15733938695329408</c:v>
                </c:pt>
                <c:pt idx="34">
                  <c:v>0.15772592316964407</c:v>
                </c:pt>
                <c:pt idx="35">
                  <c:v>0.15763498218089642</c:v>
                </c:pt>
                <c:pt idx="36">
                  <c:v>0.15808324072100416</c:v>
                </c:pt>
                <c:pt idx="37">
                  <c:v>0.15710367328355967</c:v>
                </c:pt>
                <c:pt idx="38">
                  <c:v>0.15772103862616343</c:v>
                </c:pt>
                <c:pt idx="39">
                  <c:v>0.15839131689686595</c:v>
                </c:pt>
                <c:pt idx="40">
                  <c:v>0.15848772270454398</c:v>
                </c:pt>
                <c:pt idx="41">
                  <c:v>0.1579742632028992</c:v>
                </c:pt>
                <c:pt idx="42">
                  <c:v>0.15827592461314077</c:v>
                </c:pt>
                <c:pt idx="43">
                  <c:v>0.15810783742672682</c:v>
                </c:pt>
                <c:pt idx="44">
                  <c:v>0.1573889128459492</c:v>
                </c:pt>
                <c:pt idx="45">
                  <c:v>0.1583764888743091</c:v>
                </c:pt>
                <c:pt idx="46">
                  <c:v>0.15841311559648896</c:v>
                </c:pt>
                <c:pt idx="47">
                  <c:v>0.1582755731493585</c:v>
                </c:pt>
                <c:pt idx="48">
                  <c:v>0.15709126180094968</c:v>
                </c:pt>
                <c:pt idx="49">
                  <c:v>0.15693567567553937</c:v>
                </c:pt>
                <c:pt idx="50">
                  <c:v>0.15687644343902696</c:v>
                </c:pt>
                <c:pt idx="51">
                  <c:v>0.15616283637831857</c:v>
                </c:pt>
                <c:pt idx="52">
                  <c:v>0.1909585233709423</c:v>
                </c:pt>
                <c:pt idx="53">
                  <c:v>0.20763467349873543</c:v>
                </c:pt>
                <c:pt idx="54">
                  <c:v>0.17302519561824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805270863836015"/>
          <c:min val="0.1009047365620010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9</c:f>
              <c:numCache>
                <c:formatCode>General</c:formatCode>
                <c:ptCount val="28"/>
                <c:pt idx="0">
                  <c:v>960.7521</c:v>
                </c:pt>
                <c:pt idx="1">
                  <c:v>965.6478</c:v>
                </c:pt>
                <c:pt idx="2">
                  <c:v>988.4427</c:v>
                </c:pt>
                <c:pt idx="3">
                  <c:v>1010.2767</c:v>
                </c:pt>
                <c:pt idx="4">
                  <c:v>929.4008</c:v>
                </c:pt>
                <c:pt idx="5">
                  <c:v>940.2379</c:v>
                </c:pt>
                <c:pt idx="6">
                  <c:v>975.6724</c:v>
                </c:pt>
                <c:pt idx="7">
                  <c:v>979.646</c:v>
                </c:pt>
                <c:pt idx="8">
                  <c:v>994.0976</c:v>
                </c:pt>
                <c:pt idx="9">
                  <c:v>937.5023</c:v>
                </c:pt>
                <c:pt idx="10">
                  <c:v>940.9775</c:v>
                </c:pt>
                <c:pt idx="11">
                  <c:v>934.5776</c:v>
                </c:pt>
                <c:pt idx="12">
                  <c:v>977.339</c:v>
                </c:pt>
                <c:pt idx="13">
                  <c:v>984.9813</c:v>
                </c:pt>
                <c:pt idx="14">
                  <c:v>1073.016</c:v>
                </c:pt>
                <c:pt idx="15">
                  <c:v>1109.5553</c:v>
                </c:pt>
                <c:pt idx="16">
                  <c:v>1057.5021</c:v>
                </c:pt>
                <c:pt idx="17">
                  <c:v>1108.2112</c:v>
                </c:pt>
                <c:pt idx="18">
                  <c:v>1118.8854</c:v>
                </c:pt>
                <c:pt idx="19">
                  <c:v>1130.4942</c:v>
                </c:pt>
                <c:pt idx="20">
                  <c:v>1159.1513</c:v>
                </c:pt>
                <c:pt idx="21">
                  <c:v>1144.2114</c:v>
                </c:pt>
                <c:pt idx="22">
                  <c:v>1149.7907</c:v>
                </c:pt>
                <c:pt idx="23">
                  <c:v>1189.6497</c:v>
                </c:pt>
                <c:pt idx="24">
                  <c:v>1147.4428</c:v>
                </c:pt>
                <c:pt idx="25">
                  <c:v>1220.0625</c:v>
                </c:pt>
                <c:pt idx="26">
                  <c:v>1197.2593</c:v>
                </c:pt>
                <c:pt idx="27">
                  <c:v>1225.4362</c:v>
                </c:pt>
              </c:numCache>
            </c:numRef>
          </c:xVal>
          <c:yVal>
            <c:numRef>
              <c:f>Sheet1!$B$2:$B$29</c:f>
              <c:numCache>
                <c:formatCode>General</c:formatCode>
                <c:ptCount val="28"/>
                <c:pt idx="0">
                  <c:v>0.2609105180533752</c:v>
                </c:pt>
                <c:pt idx="1">
                  <c:v>0.27915321133835663</c:v>
                </c:pt>
                <c:pt idx="2">
                  <c:v>0.2679640718562874</c:v>
                </c:pt>
                <c:pt idx="3">
                  <c:v>0.2760968229954614</c:v>
                </c:pt>
                <c:pt idx="4">
                  <c:v>0.3285654185948675</c:v>
                </c:pt>
                <c:pt idx="5">
                  <c:v>0.3129285014691479</c:v>
                </c:pt>
                <c:pt idx="6">
                  <c:v>0.3269678621332091</c:v>
                </c:pt>
                <c:pt idx="7">
                  <c:v>0.32083792723263505</c:v>
                </c:pt>
                <c:pt idx="8">
                  <c:v>0.289516567083107</c:v>
                </c:pt>
                <c:pt idx="9">
                  <c:v>0.30207351555136663</c:v>
                </c:pt>
                <c:pt idx="10">
                  <c:v>0.2813774354327141</c:v>
                </c:pt>
                <c:pt idx="11">
                  <c:v>0.28620247757368644</c:v>
                </c:pt>
                <c:pt idx="12">
                  <c:v>0.25807622504537203</c:v>
                </c:pt>
                <c:pt idx="13">
                  <c:v>0.26287816843826656</c:v>
                </c:pt>
                <c:pt idx="14">
                  <c:v>0.22412420382165604</c:v>
                </c:pt>
                <c:pt idx="15">
                  <c:v>0.2147099132023755</c:v>
                </c:pt>
                <c:pt idx="16">
                  <c:v>0.25792584631918325</c:v>
                </c:pt>
                <c:pt idx="17">
                  <c:v>0.2579310344827586</c:v>
                </c:pt>
                <c:pt idx="18">
                  <c:v>0.2645324347093513</c:v>
                </c:pt>
                <c:pt idx="19">
                  <c:v>0.2559171597633136</c:v>
                </c:pt>
                <c:pt idx="20">
                  <c:v>0.22753988245172124</c:v>
                </c:pt>
                <c:pt idx="21">
                  <c:v>0.27929515418502204</c:v>
                </c:pt>
                <c:pt idx="22">
                  <c:v>0.25845229151014276</c:v>
                </c:pt>
                <c:pt idx="23">
                  <c:v>0.27495621716287216</c:v>
                </c:pt>
                <c:pt idx="24">
                  <c:v>0.31805929919137466</c:v>
                </c:pt>
                <c:pt idx="25">
                  <c:v>0.3053435114503817</c:v>
                </c:pt>
                <c:pt idx="26">
                  <c:v>0.27405247813411077</c:v>
                </c:pt>
                <c:pt idx="27">
                  <c:v>0.2999031007751938</c:v>
                </c:pt>
              </c:numCache>
            </c:numRef>
          </c:yVal>
          <c:smooth val="0"/>
          <c:extLst>
            <c:ext xmlns:c16="http://schemas.microsoft.com/office/drawing/2014/chart" uri="{C3380CC4-5D6E-409C-BE32-E72D297353CC}">
              <c16:uniqueId val="{00000000-F32D-48B7-BC20-E66FC6253BAD}"/>
            </c:ext>
          </c:extLst>
        </c:ser>
        <c:ser>
          <c:idx val="1"/>
          <c:order val="1"/>
          <c:tx>
            <c:strRef>
              <c:f>Sheet1!$B$3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32:$A$31</c:f>
              <c:numCache>
                <c:formatCode>General</c:formatCode>
                <c:ptCount val="0"/>
              </c:numCache>
            </c:numRef>
          </c:xVal>
          <c:yVal>
            <c:numRef>
              <c:f>Sheet1!$B$32:$B$31</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33</c:f>
              <c:strCache>
                <c:ptCount val="1"/>
                <c:pt idx="0">
                  <c:v>Custom Linep3yQ</c:v>
                </c:pt>
              </c:strCache>
            </c:strRef>
          </c:tx>
          <c:spPr>
            <a:ln w="19050" cap="rnd">
              <a:solidFill>
                <a:srgbClr val="C00000"/>
              </a:solidFill>
              <a:prstDash val="sysDot"/>
              <a:round/>
            </a:ln>
            <a:effectLst/>
          </c:spPr>
          <c:marker>
            <c:symbol val="none"/>
          </c:marker>
          <c:xVal>
            <c:numRef>
              <c:f>Sheet1!$A$34:$A$35</c:f>
              <c:numCache>
                <c:formatCode>General</c:formatCode>
                <c:ptCount val="2"/>
                <c:pt idx="0">
                  <c:v>0</c:v>
                </c:pt>
                <c:pt idx="1">
                  <c:v>0.2999031007751938</c:v>
                </c:pt>
              </c:numCache>
            </c:numRef>
          </c:xVal>
          <c:yVal>
            <c:numRef>
              <c:f>Sheet1!$B$34:$B$35</c:f>
              <c:numCache>
                <c:formatCode>General</c:formatCode>
                <c:ptCount val="2"/>
                <c:pt idx="0">
                  <c:v>0.2999031007751938</c:v>
                </c:pt>
                <c:pt idx="1">
                  <c:v>0.2999031007751938</c:v>
                </c:pt>
              </c:numCache>
            </c:numRef>
          </c:yVal>
          <c:smooth val="0"/>
          <c:extLst>
            <c:ext xmlns:c16="http://schemas.microsoft.com/office/drawing/2014/chart" uri="{C3380CC4-5D6E-409C-BE32-E72D297353CC}">
              <c16:uniqueId val="{00000003-F32D-48B7-BC20-E66FC6253BAD}"/>
            </c:ext>
          </c:extLst>
        </c:ser>
        <c:ser>
          <c:idx val="3"/>
          <c:order val="3"/>
          <c:tx>
            <c:strRef>
              <c:f>Sheet1!$B$3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8:$A$39</c:f>
              <c:numCache>
                <c:formatCode>General</c:formatCode>
                <c:ptCount val="2"/>
                <c:pt idx="0">
                  <c:v>0.2999031007751938</c:v>
                </c:pt>
                <c:pt idx="1">
                  <c:v>0.2999031007751938</c:v>
                </c:pt>
              </c:numCache>
            </c:numRef>
          </c:xVal>
          <c:yVal>
            <c:numRef>
              <c:f>Sheet1!$B$38:$B$39</c:f>
              <c:numCache>
                <c:formatCode>General</c:formatCode>
                <c:ptCount val="2"/>
                <c:pt idx="0">
                  <c:v>0.299903100775193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41</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42:$A$44</c:f>
              <c:numCache>
                <c:formatCode>General</c:formatCode>
                <c:ptCount val="3"/>
                <c:pt idx="0">
                  <c:v>0</c:v>
                </c:pt>
                <c:pt idx="1">
                  <c:v>0.2999031007751938</c:v>
                </c:pt>
                <c:pt idx="2">
                  <c:v>0</c:v>
                </c:pt>
              </c:numCache>
            </c:numRef>
          </c:xVal>
          <c:yVal>
            <c:numRef>
              <c:f>Sheet1!$B$42:$B$44</c:f>
              <c:numCache>
                <c:formatCode>General</c:formatCode>
                <c:ptCount val="3"/>
                <c:pt idx="0">
                  <c:v>0</c:v>
                </c:pt>
                <c:pt idx="1">
                  <c:v>0.2999031007751938</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7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4278502313841"/>
          <c:min val="0.1717679305619004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9865276773149273</c:v>
                </c:pt>
                <c:pt idx="1">
                  <c:v>1.0339144194342513</c:v>
                </c:pt>
                <c:pt idx="2">
                  <c:v>0.9967303737916656</c:v>
                </c:pt>
                <c:pt idx="3">
                  <c:v>1.0296072670839898</c:v>
                </c:pt>
                <c:pt idx="4">
                  <c:v>0.9318129520762983</c:v>
                </c:pt>
                <c:pt idx="5">
                  <c:v>0.8574456410030021</c:v>
                </c:pt>
                <c:pt idx="6">
                  <c:v>0.872101881728747</c:v>
                </c:pt>
                <c:pt idx="7">
                  <c:v>0.8663932126097315</c:v>
                </c:pt>
                <c:pt idx="8">
                  <c:v>0.8248989362706167</c:v>
                </c:pt>
                <c:pt idx="9">
                  <c:v>0.8470803211219369</c:v>
                </c:pt>
                <c:pt idx="10">
                  <c:v>0.8058967836905985</c:v>
                </c:pt>
                <c:pt idx="11">
                  <c:v>0.7218716743727848</c:v>
                </c:pt>
                <c:pt idx="12">
                  <c:v>0.7577867477593464</c:v>
                </c:pt>
                <c:pt idx="13">
                  <c:v>0.7621913536494662</c:v>
                </c:pt>
                <c:pt idx="14">
                  <c:v>0.8458825576875598</c:v>
                </c:pt>
                <c:pt idx="15">
                  <c:v>0.8412819843221815</c:v>
                </c:pt>
                <c:pt idx="16">
                  <c:v>0.8681687886822258</c:v>
                </c:pt>
                <c:pt idx="17">
                  <c:v>0.8770231962207224</c:v>
                </c:pt>
                <c:pt idx="18">
                  <c:v>0.8779172186103559</c:v>
                </c:pt>
                <c:pt idx="19">
                  <c:v>0.9338712803494454</c:v>
                </c:pt>
                <c:pt idx="20">
                  <c:v>0.9158079247102756</c:v>
                </c:pt>
                <c:pt idx="21">
                  <c:v>0.8868830660081696</c:v>
                </c:pt>
                <c:pt idx="22">
                  <c:v>0.876242827683118</c:v>
                </c:pt>
                <c:pt idx="23">
                  <c:v>0.8927651626829138</c:v>
                </c:pt>
                <c:pt idx="24">
                  <c:v>0.9348586348008509</c:v>
                </c:pt>
                <c:pt idx="25">
                  <c:v>0.9718423427138508</c:v>
                </c:pt>
                <c:pt idx="26">
                  <c:v>0.9471361940606919</c:v>
                </c:pt>
                <c:pt idx="27">
                  <c:v>0.9544939278682153</c:v>
                </c:pt>
                <c:pt idx="28">
                  <c:v>0.9374348457096948</c:v>
                </c:pt>
                <c:pt idx="29">
                  <c:v>0.9359113354286781</c:v>
                </c:pt>
                <c:pt idx="30">
                  <c:v>0.9372467129994682</c:v>
                </c:pt>
                <c:pt idx="31">
                  <c:v>0.8854261678637274</c:v>
                </c:pt>
                <c:pt idx="32">
                  <c:v>0.9450313710058725</c:v>
                </c:pt>
                <c:pt idx="33">
                  <c:v>0.9425976014637449</c:v>
                </c:pt>
                <c:pt idx="34">
                  <c:v>0.9304359200169452</c:v>
                </c:pt>
                <c:pt idx="35">
                  <c:v>0.9260435958145858</c:v>
                </c:pt>
                <c:pt idx="36">
                  <c:v>0.9766490410261064</c:v>
                </c:pt>
                <c:pt idx="37">
                  <c:v>0.9810242597384851</c:v>
                </c:pt>
                <c:pt idx="38">
                  <c:v>1.0082384745661102</c:v>
                </c:pt>
                <c:pt idx="39">
                  <c:v>1.0022193402048818</c:v>
                </c:pt>
                <c:pt idx="40">
                  <c:v>1.0484306141800086</c:v>
                </c:pt>
                <c:pt idx="41">
                  <c:v>1.0297307738223787</c:v>
                </c:pt>
                <c:pt idx="42">
                  <c:v>1.057476572472266</c:v>
                </c:pt>
                <c:pt idx="43">
                  <c:v>1.0574366133157034</c:v>
                </c:pt>
                <c:pt idx="44">
                  <c:v>1.095257224362915</c:v>
                </c:pt>
                <c:pt idx="45">
                  <c:v>1.0820710234773472</c:v>
                </c:pt>
                <c:pt idx="46">
                  <c:v>1.0746476854823264</c:v>
                </c:pt>
                <c:pt idx="47">
                  <c:v>1.115572712651312</c:v>
                </c:pt>
                <c:pt idx="48">
                  <c:v>1.0116018635975903</c:v>
                </c:pt>
                <c:pt idx="49">
                  <c:v>0.9762080285500435</c:v>
                </c:pt>
                <c:pt idx="50">
                  <c:v>0.9841398974689738</c:v>
                </c:pt>
                <c:pt idx="51">
                  <c:v>0.9834395798035499</c:v>
                </c:pt>
                <c:pt idx="52">
                  <c:v>0.9181690367876849</c:v>
                </c:pt>
                <c:pt idx="53">
                  <c:v>1.0419403428322478</c:v>
                </c:pt>
                <c:pt idx="54">
                  <c:v>1.0309804319776987</c:v>
                </c:pt>
                <c:pt idx="55">
                  <c:v>1.00347457149576</c:v>
                </c:pt>
                <c:pt idx="56">
                  <c:v>0.990257628329979</c:v>
                </c:pt>
                <c:pt idx="57">
                  <c:v>1.0097240713762918</c:v>
                </c:pt>
                <c:pt idx="58">
                  <c:v>1.0167082974326143</c:v>
                </c:pt>
                <c:pt idx="59">
                  <c:v>1.0420722195304137</c:v>
                </c:pt>
                <c:pt idx="60">
                  <c:v>1.035469332668459</c:v>
                </c:pt>
                <c:pt idx="61">
                  <c:v>0.9954840953654129</c:v>
                </c:pt>
                <c:pt idx="62">
                  <c:v>0.8810822068441397</c:v>
                </c:pt>
                <c:pt idx="63">
                  <c:v>0.8763914437110102</c:v>
                </c:pt>
                <c:pt idx="64">
                  <c:v>0.8479286749393722</c:v>
                </c:pt>
                <c:pt idx="65">
                  <c:v>0.8451701867519779</c:v>
                </c:pt>
                <c:pt idx="66">
                  <c:v>0.9676066928450899</c:v>
                </c:pt>
                <c:pt idx="67">
                  <c:v>0.9804883594695633</c:v>
                </c:pt>
                <c:pt idx="68">
                  <c:v>1.001760464516865</c:v>
                </c:pt>
                <c:pt idx="69">
                  <c:v>1.03431559662835</c:v>
                </c:pt>
                <c:pt idx="70">
                  <c:v>1.064350811935784</c:v>
                </c:pt>
                <c:pt idx="71">
                  <c:v>1.042849505973753</c:v>
                </c:pt>
                <c:pt idx="72">
                  <c:v>1.026433520784068</c:v>
                </c:pt>
                <c:pt idx="73">
                  <c:v>1.0162738024034756</c:v>
                </c:pt>
                <c:pt idx="74">
                  <c:v>0.9174766628418449</c:v>
                </c:pt>
                <c:pt idx="75">
                  <c:v>0.9123195035379956</c:v>
                </c:pt>
                <c:pt idx="76">
                  <c:v>0.8731314289472714</c:v>
                </c:pt>
                <c:pt idx="77">
                  <c:v>0.8572340423615273</c:v>
                </c:pt>
                <c:pt idx="78">
                  <c:v>0.9028967271527287</c:v>
                </c:pt>
                <c:pt idx="79">
                  <c:v>0.9258652654282097</c:v>
                </c:pt>
                <c:pt idx="80">
                  <c:v>0.9712050770315085</c:v>
                </c:pt>
                <c:pt idx="81">
                  <c:v>0.9424396972112961</c:v>
                </c:pt>
                <c:pt idx="82">
                  <c:v>0.944377382918359</c:v>
                </c:pt>
                <c:pt idx="83">
                  <c:v>0.9535200585103524</c:v>
                </c:pt>
                <c:pt idx="84">
                  <c:v>0.9987089046280819</c:v>
                </c:pt>
                <c:pt idx="85">
                  <c:v>0.9793969334042019</c:v>
                </c:pt>
                <c:pt idx="86">
                  <c:v>0.964216870049298</c:v>
                </c:pt>
                <c:pt idx="87">
                  <c:v>0.9713591491901618</c:v>
                </c:pt>
                <c:pt idx="88">
                  <c:v>0.9245826025596016</c:v>
                </c:pt>
                <c:pt idx="89">
                  <c:v>0.9665582629331454</c:v>
                </c:pt>
                <c:pt idx="90">
                  <c:v>0.9345084147272704</c:v>
                </c:pt>
                <c:pt idx="91">
                  <c:v>0.9234027454890872</c:v>
                </c:pt>
                <c:pt idx="92">
                  <c:v>0.91842261232702</c:v>
                </c:pt>
                <c:pt idx="93">
                  <c:v>0.9305833272473317</c:v>
                </c:pt>
                <c:pt idx="94">
                  <c:v>1.13281635267507</c:v>
                </c:pt>
                <c:pt idx="95">
                  <c:v>1.1058576039804577</c:v>
                </c:pt>
                <c:pt idx="96">
                  <c:v>0.9704037462211315</c:v>
                </c:pt>
                <c:pt idx="97">
                  <c:v>1.0056962547452422</c:v>
                </c:pt>
                <c:pt idx="98">
                  <c:v>0.9549271250301078</c:v>
                </c:pt>
                <c:pt idx="99">
                  <c:v>0.9291358041088348</c:v>
                </c:pt>
                <c:pt idx="100">
                  <c:v>0.9019842602104821</c:v>
                </c:pt>
                <c:pt idx="101">
                  <c:v>0.9747060753697379</c:v>
                </c:pt>
                <c:pt idx="102">
                  <c:v>0.9588267615687489</c:v>
                </c:pt>
                <c:pt idx="103">
                  <c:v>0.9039841051716905</c:v>
                </c:pt>
                <c:pt idx="104">
                  <c:v>0.9020196285730439</c:v>
                </c:pt>
              </c:numCache>
            </c:numRef>
          </c:xVal>
          <c:yVal>
            <c:numRef>
              <c:f>Sheet1!$B$2:$B$106</c:f>
              <c:numCache>
                <c:formatCode>General</c:formatCode>
                <c:ptCount val="105"/>
                <c:pt idx="0">
                  <c:v>0.24646781789638933</c:v>
                </c:pt>
                <c:pt idx="1">
                  <c:v>0.23681377825618946</c:v>
                </c:pt>
                <c:pt idx="2">
                  <c:v>0.24925149700598803</c:v>
                </c:pt>
                <c:pt idx="3">
                  <c:v>0.2484871406959153</c:v>
                </c:pt>
                <c:pt idx="4">
                  <c:v>0.23474968447623054</c:v>
                </c:pt>
                <c:pt idx="5">
                  <c:v>0.25857002938295787</c:v>
                </c:pt>
                <c:pt idx="6">
                  <c:v>0.2729389846297159</c:v>
                </c:pt>
                <c:pt idx="7">
                  <c:v>0.26460859977949286</c:v>
                </c:pt>
                <c:pt idx="8">
                  <c:v>0.3128734383487235</c:v>
                </c:pt>
                <c:pt idx="9">
                  <c:v>0.2945334590009425</c:v>
                </c:pt>
                <c:pt idx="10">
                  <c:v>0.3076574535568645</c:v>
                </c:pt>
                <c:pt idx="11">
                  <c:v>0.3267834258863733</c:v>
                </c:pt>
                <c:pt idx="12">
                  <c:v>0.31107078039927405</c:v>
                </c:pt>
                <c:pt idx="13">
                  <c:v>0.33156173344235484</c:v>
                </c:pt>
                <c:pt idx="14">
                  <c:v>0.3236464968152866</c:v>
                </c:pt>
                <c:pt idx="15">
                  <c:v>0.33485609867519417</c:v>
                </c:pt>
                <c:pt idx="16">
                  <c:v>0.2686727565824825</c:v>
                </c:pt>
                <c:pt idx="17">
                  <c:v>0.2881081081081081</c:v>
                </c:pt>
                <c:pt idx="18">
                  <c:v>0.27448275862068966</c:v>
                </c:pt>
                <c:pt idx="19">
                  <c:v>0.2577927548441449</c:v>
                </c:pt>
                <c:pt idx="20">
                  <c:v>0.2616136919315403</c:v>
                </c:pt>
                <c:pt idx="21">
                  <c:v>0.24186390532544377</c:v>
                </c:pt>
                <c:pt idx="22">
                  <c:v>0.23089840470193115</c:v>
                </c:pt>
                <c:pt idx="23">
                  <c:v>0.20176211453744494</c:v>
                </c:pt>
                <c:pt idx="24">
                  <c:v>0.2052505966587112</c:v>
                </c:pt>
                <c:pt idx="25">
                  <c:v>0.21448467966573817</c:v>
                </c:pt>
                <c:pt idx="26">
                  <c:v>0.2039911308203991</c:v>
                </c:pt>
                <c:pt idx="27">
                  <c:v>0.21487603305785125</c:v>
                </c:pt>
                <c:pt idx="28">
                  <c:v>0.18666666666666668</c:v>
                </c:pt>
                <c:pt idx="29">
                  <c:v>0.19645390070921986</c:v>
                </c:pt>
                <c:pt idx="30">
                  <c:v>0.20563139931740615</c:v>
                </c:pt>
                <c:pt idx="31">
                  <c:v>0.19352014010507881</c:v>
                </c:pt>
                <c:pt idx="32">
                  <c:v>0.17350746268656717</c:v>
                </c:pt>
                <c:pt idx="33">
                  <c:v>0.16718027734976887</c:v>
                </c:pt>
                <c:pt idx="34">
                  <c:v>0.1853099730458221</c:v>
                </c:pt>
                <c:pt idx="35">
                  <c:v>0.207981220657277</c:v>
                </c:pt>
                <c:pt idx="36">
                  <c:v>0.1875</c:v>
                </c:pt>
                <c:pt idx="37">
                  <c:v>0.16705516705516704</c:v>
                </c:pt>
                <c:pt idx="38">
                  <c:v>0.16150442477876106</c:v>
                </c:pt>
                <c:pt idx="39">
                  <c:v>0.18269230769230768</c:v>
                </c:pt>
                <c:pt idx="40">
                  <c:v>0.17493638676844783</c:v>
                </c:pt>
                <c:pt idx="41">
                  <c:v>0.17587209302325582</c:v>
                </c:pt>
                <c:pt idx="42">
                  <c:v>0.1825938566552901</c:v>
                </c:pt>
                <c:pt idx="43">
                  <c:v>0.19452590420332355</c:v>
                </c:pt>
                <c:pt idx="44">
                  <c:v>0.1639035418236624</c:v>
                </c:pt>
                <c:pt idx="45">
                  <c:v>0.17634252539912917</c:v>
                </c:pt>
                <c:pt idx="46">
                  <c:v>0.1877282688093499</c:v>
                </c:pt>
                <c:pt idx="47">
                  <c:v>0.1716472303206997</c:v>
                </c:pt>
                <c:pt idx="48">
                  <c:v>0.1885159937073938</c:v>
                </c:pt>
                <c:pt idx="49">
                  <c:v>0.21514601550899193</c:v>
                </c:pt>
                <c:pt idx="50">
                  <c:v>0.20317087492660013</c:v>
                </c:pt>
                <c:pt idx="51">
                  <c:v>0.19182825484764543</c:v>
                </c:pt>
                <c:pt idx="52">
                  <c:v>0.20856760374832664</c:v>
                </c:pt>
                <c:pt idx="53">
                  <c:v>0.20828355236957388</c:v>
                </c:pt>
                <c:pt idx="54">
                  <c:v>0.1936897458369851</c:v>
                </c:pt>
                <c:pt idx="55">
                  <c:v>0.20881782945736435</c:v>
                </c:pt>
                <c:pt idx="56">
                  <c:v>0.22857142857142856</c:v>
                </c:pt>
                <c:pt idx="57">
                  <c:v>0.21715017064846417</c:v>
                </c:pt>
                <c:pt idx="58">
                  <c:v>0.21819554548886372</c:v>
                </c:pt>
                <c:pt idx="59">
                  <c:v>0.1956928838951311</c:v>
                </c:pt>
                <c:pt idx="60">
                  <c:v>0.19836552748885586</c:v>
                </c:pt>
                <c:pt idx="61">
                  <c:v>0.2195483154387264</c:v>
                </c:pt>
                <c:pt idx="62">
                  <c:v>0.25160316861561677</c:v>
                </c:pt>
                <c:pt idx="63">
                  <c:v>0.2547504025764895</c:v>
                </c:pt>
                <c:pt idx="64">
                  <c:v>0.2556136573362042</c:v>
                </c:pt>
                <c:pt idx="65">
                  <c:v>0.2603101286704058</c:v>
                </c:pt>
                <c:pt idx="66">
                  <c:v>0.24170796797560046</c:v>
                </c:pt>
                <c:pt idx="67">
                  <c:v>0.2535377358490566</c:v>
                </c:pt>
                <c:pt idx="68">
                  <c:v>0.22793770646531383</c:v>
                </c:pt>
                <c:pt idx="69">
                  <c:v>0.2358550540368722</c:v>
                </c:pt>
                <c:pt idx="70">
                  <c:v>0.22787878787878788</c:v>
                </c:pt>
                <c:pt idx="71">
                  <c:v>0.1995177817962628</c:v>
                </c:pt>
                <c:pt idx="72">
                  <c:v>0.21424657534246574</c:v>
                </c:pt>
                <c:pt idx="73">
                  <c:v>0.22598556357579122</c:v>
                </c:pt>
                <c:pt idx="74">
                  <c:v>0.23986674069961134</c:v>
                </c:pt>
                <c:pt idx="75">
                  <c:v>0.2230610844200412</c:v>
                </c:pt>
                <c:pt idx="76">
                  <c:v>0.22812051649928264</c:v>
                </c:pt>
                <c:pt idx="77">
                  <c:v>0.21995783555867884</c:v>
                </c:pt>
                <c:pt idx="78">
                  <c:v>0.2052091554853986</c:v>
                </c:pt>
                <c:pt idx="79">
                  <c:v>0.21456848772763262</c:v>
                </c:pt>
                <c:pt idx="80">
                  <c:v>0.18261562998405104</c:v>
                </c:pt>
                <c:pt idx="81">
                  <c:v>0.1957531519575315</c:v>
                </c:pt>
                <c:pt idx="82">
                  <c:v>0.19729043183742592</c:v>
                </c:pt>
                <c:pt idx="83">
                  <c:v>0.19553666312433582</c:v>
                </c:pt>
                <c:pt idx="84">
                  <c:v>0.19358288770053475</c:v>
                </c:pt>
                <c:pt idx="85">
                  <c:v>0.1875</c:v>
                </c:pt>
                <c:pt idx="86">
                  <c:v>0.192524682651622</c:v>
                </c:pt>
                <c:pt idx="87">
                  <c:v>0.2279495990836197</c:v>
                </c:pt>
                <c:pt idx="88">
                  <c:v>0.20647482014388488</c:v>
                </c:pt>
                <c:pt idx="89">
                  <c:v>0.19584837545126355</c:v>
                </c:pt>
                <c:pt idx="90">
                  <c:v>0.17630057803468208</c:v>
                </c:pt>
                <c:pt idx="91">
                  <c:v>0.20431893687707642</c:v>
                </c:pt>
                <c:pt idx="92">
                  <c:v>0.20420223243598162</c:v>
                </c:pt>
                <c:pt idx="93">
                  <c:v>0.17589175891758918</c:v>
                </c:pt>
                <c:pt idx="94">
                  <c:v>0.15673758865248227</c:v>
                </c:pt>
                <c:pt idx="95">
                  <c:v>0.17133670188332567</c:v>
                </c:pt>
                <c:pt idx="96">
                  <c:v>0.1562272396212673</c:v>
                </c:pt>
                <c:pt idx="97">
                  <c:v>0.14799728445349628</c:v>
                </c:pt>
                <c:pt idx="98">
                  <c:v>0.17375071797817346</c:v>
                </c:pt>
                <c:pt idx="99">
                  <c:v>0.17137526652452026</c:v>
                </c:pt>
                <c:pt idx="100">
                  <c:v>0.21398713826366558</c:v>
                </c:pt>
                <c:pt idx="101">
                  <c:v>0.18238434163701067</c:v>
                </c:pt>
                <c:pt idx="102">
                  <c:v>0.15510073552926126</c:v>
                </c:pt>
                <c:pt idx="103">
                  <c:v>0.17115072933549433</c:v>
                </c:pt>
                <c:pt idx="104">
                  <c:v>0.1731663685152057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073126529653932</c:v>
                </c:pt>
                <c:pt idx="1">
                  <c:v>0.9123742162477579</c:v>
                </c:pt>
                <c:pt idx="2">
                  <c:v>0.9429353364231576</c:v>
                </c:pt>
                <c:pt idx="3">
                  <c:v>0.9732242840366252</c:v>
                </c:pt>
                <c:pt idx="4">
                  <c:v>0.9822759894046293</c:v>
                </c:pt>
                <c:pt idx="5">
                  <c:v>0.9989536841172807</c:v>
                </c:pt>
                <c:pt idx="6">
                  <c:v>0.9676626103629593</c:v>
                </c:pt>
                <c:pt idx="7">
                  <c:v>0.9282023396870084</c:v>
                </c:pt>
                <c:pt idx="8">
                  <c:v>0.9257352294207064</c:v>
                </c:pt>
                <c:pt idx="9">
                  <c:v>0.8406720968206506</c:v>
                </c:pt>
                <c:pt idx="10">
                  <c:v>0.8819974407146766</c:v>
                </c:pt>
                <c:pt idx="11">
                  <c:v>0.9445211303356668</c:v>
                </c:pt>
                <c:pt idx="12">
                  <c:v>0.9519984756433437</c:v>
                </c:pt>
                <c:pt idx="13">
                  <c:v>0.8547003345735407</c:v>
                </c:pt>
                <c:pt idx="14">
                  <c:v>0.8984096597874949</c:v>
                </c:pt>
                <c:pt idx="15">
                  <c:v>0.8732492835538054</c:v>
                </c:pt>
                <c:pt idx="16">
                  <c:v>0.8858437181082098</c:v>
                </c:pt>
                <c:pt idx="17">
                  <c:v>0.7957057799778509</c:v>
                </c:pt>
                <c:pt idx="18">
                  <c:v>0.8171309611802064</c:v>
                </c:pt>
                <c:pt idx="19">
                  <c:v>0.8636956807760341</c:v>
                </c:pt>
                <c:pt idx="20">
                  <c:v>0.8816017296182063</c:v>
                </c:pt>
                <c:pt idx="21">
                  <c:v>0.8925283954941736</c:v>
                </c:pt>
                <c:pt idx="22">
                  <c:v>0.8795489052849731</c:v>
                </c:pt>
                <c:pt idx="23">
                  <c:v>0.7474664709558426</c:v>
                </c:pt>
                <c:pt idx="24">
                  <c:v>0.7674965761228534</c:v>
                </c:pt>
                <c:pt idx="25">
                  <c:v>0.78099918074743</c:v>
                </c:pt>
                <c:pt idx="26">
                  <c:v>0.8778717770931678</c:v>
                </c:pt>
                <c:pt idx="27">
                  <c:v>1.0247737861731043</c:v>
                </c:pt>
                <c:pt idx="28">
                  <c:v>1.0940061726820258</c:v>
                </c:pt>
                <c:pt idx="29">
                  <c:v>1.1371108149888227</c:v>
                </c:pt>
                <c:pt idx="30">
                  <c:v>1.0277596983066397</c:v>
                </c:pt>
                <c:pt idx="31">
                  <c:v>1.0094511759407692</c:v>
                </c:pt>
                <c:pt idx="32">
                  <c:v>1.0127411429164634</c:v>
                </c:pt>
                <c:pt idx="33">
                  <c:v>1.0234656018041755</c:v>
                </c:pt>
                <c:pt idx="34">
                  <c:v>0.9837487372814471</c:v>
                </c:pt>
                <c:pt idx="35">
                  <c:v>0.9693952868219129</c:v>
                </c:pt>
                <c:pt idx="36">
                  <c:v>0.7850782605739179</c:v>
                </c:pt>
                <c:pt idx="37">
                  <c:v>0.8433134576624419</c:v>
                </c:pt>
                <c:pt idx="38">
                  <c:v>0.8835790665724711</c:v>
                </c:pt>
                <c:pt idx="39">
                  <c:v>0.975606777529368</c:v>
                </c:pt>
                <c:pt idx="40">
                  <c:v>0.9856617408288222</c:v>
                </c:pt>
                <c:pt idx="41">
                  <c:v>1.0083755492103297</c:v>
                </c:pt>
                <c:pt idx="42">
                  <c:v>1.0126419013240988</c:v>
                </c:pt>
                <c:pt idx="43">
                  <c:v>0.9646780264153516</c:v>
                </c:pt>
                <c:pt idx="44">
                  <c:v>0.9073072350442615</c:v>
                </c:pt>
                <c:pt idx="45">
                  <c:v>0.8490340415673086</c:v>
                </c:pt>
                <c:pt idx="46">
                  <c:v>0.8148112067443125</c:v>
                </c:pt>
                <c:pt idx="47">
                  <c:v>0.8647604640712329</c:v>
                </c:pt>
                <c:pt idx="48">
                  <c:v>0.8176923673208847</c:v>
                </c:pt>
                <c:pt idx="49">
                  <c:v>0.7995777866214759</c:v>
                </c:pt>
                <c:pt idx="50">
                  <c:v>0.7713677368912849</c:v>
                </c:pt>
                <c:pt idx="51">
                  <c:v>0.8128974390877383</c:v>
                </c:pt>
              </c:numCache>
            </c:numRef>
          </c:xVal>
          <c:yVal>
            <c:numRef>
              <c:f>Sheet1!$B$109:$B$160</c:f>
              <c:numCache>
                <c:formatCode>General</c:formatCode>
                <c:ptCount val="52"/>
                <c:pt idx="0">
                  <c:v>0.17626027887021808</c:v>
                </c:pt>
                <c:pt idx="1">
                  <c:v>0.15874233128834356</c:v>
                </c:pt>
                <c:pt idx="2">
                  <c:v>0.156</c:v>
                </c:pt>
                <c:pt idx="3">
                  <c:v>0.1501749920458161</c:v>
                </c:pt>
                <c:pt idx="4">
                  <c:v>0.14301113905856988</c:v>
                </c:pt>
                <c:pt idx="5">
                  <c:v>0.14285714285714285</c:v>
                </c:pt>
                <c:pt idx="6">
                  <c:v>0.17104714226115977</c:v>
                </c:pt>
                <c:pt idx="7">
                  <c:v>0.201093560145808</c:v>
                </c:pt>
                <c:pt idx="8">
                  <c:v>0.2039018250471995</c:v>
                </c:pt>
                <c:pt idx="9">
                  <c:v>0.2663622526636225</c:v>
                </c:pt>
                <c:pt idx="10">
                  <c:v>0.23136872868972236</c:v>
                </c:pt>
                <c:pt idx="11">
                  <c:v>0.22610526315789473</c:v>
                </c:pt>
                <c:pt idx="12">
                  <c:v>0.20411663807890223</c:v>
                </c:pt>
                <c:pt idx="13">
                  <c:v>0.22085889570552147</c:v>
                </c:pt>
                <c:pt idx="14">
                  <c:v>0.22938388625592418</c:v>
                </c:pt>
                <c:pt idx="15">
                  <c:v>0.23398196487897485</c:v>
                </c:pt>
                <c:pt idx="16">
                  <c:v>0.21755935946990612</c:v>
                </c:pt>
                <c:pt idx="17">
                  <c:v>0.2289156626506024</c:v>
                </c:pt>
                <c:pt idx="18">
                  <c:v>0.20836560805577073</c:v>
                </c:pt>
                <c:pt idx="19">
                  <c:v>0.20750426378624218</c:v>
                </c:pt>
                <c:pt idx="20">
                  <c:v>0.19473684210526315</c:v>
                </c:pt>
                <c:pt idx="21">
                  <c:v>0.19776119402985073</c:v>
                </c:pt>
                <c:pt idx="22">
                  <c:v>0.2037037037037037</c:v>
                </c:pt>
                <c:pt idx="23">
                  <c:v>0.2593856655290102</c:v>
                </c:pt>
                <c:pt idx="24">
                  <c:v>0.28286189683860236</c:v>
                </c:pt>
                <c:pt idx="25">
                  <c:v>0.31244979919678717</c:v>
                </c:pt>
                <c:pt idx="26">
                  <c:v>0.2894935752078609</c:v>
                </c:pt>
                <c:pt idx="27">
                  <c:v>0.18063186813186813</c:v>
                </c:pt>
                <c:pt idx="28">
                  <c:v>0.16235129461161651</c:v>
                </c:pt>
                <c:pt idx="29">
                  <c:v>0.14402618657937807</c:v>
                </c:pt>
                <c:pt idx="30">
                  <c:v>0.16216216216216217</c:v>
                </c:pt>
                <c:pt idx="31">
                  <c:v>0.13130252100840337</c:v>
                </c:pt>
                <c:pt idx="32">
                  <c:v>0.12770339855818744</c:v>
                </c:pt>
                <c:pt idx="33">
                  <c:v>0.14862385321100918</c:v>
                </c:pt>
                <c:pt idx="34">
                  <c:v>0.1849912739965096</c:v>
                </c:pt>
                <c:pt idx="35">
                  <c:v>0.19606674612634087</c:v>
                </c:pt>
                <c:pt idx="36">
                  <c:v>0.20319634703196346</c:v>
                </c:pt>
                <c:pt idx="37">
                  <c:v>0.17836812144212524</c:v>
                </c:pt>
                <c:pt idx="38">
                  <c:v>0.18555555555555556</c:v>
                </c:pt>
                <c:pt idx="39">
                  <c:v>0.16654107008289373</c:v>
                </c:pt>
                <c:pt idx="40">
                  <c:v>0.15757575757575756</c:v>
                </c:pt>
                <c:pt idx="41">
                  <c:v>0.14557425018288223</c:v>
                </c:pt>
                <c:pt idx="42">
                  <c:v>0.1512884455527847</c:v>
                </c:pt>
                <c:pt idx="43">
                  <c:v>0.15481651376146788</c:v>
                </c:pt>
                <c:pt idx="44">
                  <c:v>0.150354609929078</c:v>
                </c:pt>
                <c:pt idx="45">
                  <c:v>0.1888038942976356</c:v>
                </c:pt>
                <c:pt idx="46">
                  <c:v>0.18329571106094808</c:v>
                </c:pt>
                <c:pt idx="47">
                  <c:v>0.18854625550660792</c:v>
                </c:pt>
                <c:pt idx="48">
                  <c:v>0.16342692584593232</c:v>
                </c:pt>
                <c:pt idx="49">
                  <c:v>0.19657142857142856</c:v>
                </c:pt>
                <c:pt idx="50">
                  <c:v>0.23446561723280862</c:v>
                </c:pt>
                <c:pt idx="51">
                  <c:v>0.2064573459715639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971257783235999</c:v>
                </c:pt>
              </c:numCache>
            </c:numRef>
          </c:xVal>
          <c:yVal>
            <c:numRef>
              <c:f>Sheet1!$B$163:$B$164</c:f>
              <c:numCache>
                <c:formatCode>General</c:formatCode>
                <c:ptCount val="2"/>
                <c:pt idx="0">
                  <c:v>0.29404949409143843</c:v>
                </c:pt>
                <c:pt idx="1">
                  <c:v>0.2940494940914384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971257783235999</c:v>
                </c:pt>
                <c:pt idx="1">
                  <c:v>0.5971257783235999</c:v>
                </c:pt>
              </c:numCache>
            </c:numRef>
          </c:xVal>
          <c:yVal>
            <c:numRef>
              <c:f>Sheet1!$B$167:$B$168</c:f>
              <c:numCache>
                <c:formatCode>General</c:formatCode>
                <c:ptCount val="2"/>
                <c:pt idx="0">
                  <c:v>0.294049494091438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240973643040086</c:v>
                </c:pt>
              </c:numCache>
            </c:numRef>
          </c:xVal>
          <c:yVal>
            <c:numRef>
              <c:f>Sheet1!$B$171:$B$172</c:f>
              <c:numCache>
                <c:formatCode>General</c:formatCode>
                <c:ptCount val="2"/>
                <c:pt idx="0">
                  <c:v>0.2205400430406306</c:v>
                </c:pt>
                <c:pt idx="1">
                  <c:v>0.220540043040630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240973643040086</c:v>
                </c:pt>
                <c:pt idx="1">
                  <c:v>0.8240973643040086</c:v>
                </c:pt>
              </c:numCache>
            </c:numRef>
          </c:xVal>
          <c:yVal>
            <c:numRef>
              <c:f>Sheet1!$B$175:$B$176</c:f>
              <c:numCache>
                <c:formatCode>General</c:formatCode>
                <c:ptCount val="2"/>
                <c:pt idx="0">
                  <c:v>0.22054004304063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616885263501115</c:v>
                </c:pt>
              </c:numCache>
            </c:numRef>
          </c:xVal>
          <c:yVal>
            <c:numRef>
              <c:f>Sheet1!$B$179:$B$180</c:f>
              <c:numCache>
                <c:formatCode>General</c:formatCode>
                <c:ptCount val="2"/>
                <c:pt idx="0">
                  <c:v>0.17597829427475303</c:v>
                </c:pt>
                <c:pt idx="1">
                  <c:v>0.1759782942747530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616885263501115</c:v>
                </c:pt>
                <c:pt idx="1">
                  <c:v>0.9616885263501115</c:v>
                </c:pt>
              </c:numCache>
            </c:numRef>
          </c:xVal>
          <c:yVal>
            <c:numRef>
              <c:f>Sheet1!$B$183:$B$184</c:f>
              <c:numCache>
                <c:formatCode>General</c:formatCode>
                <c:ptCount val="2"/>
                <c:pt idx="0">
                  <c:v>0.1759782942747530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073126529653932</c:v>
                </c:pt>
                <c:pt idx="1">
                  <c:v>0.9123742162477579</c:v>
                </c:pt>
                <c:pt idx="2">
                  <c:v>0.9429353364231576</c:v>
                </c:pt>
                <c:pt idx="3">
                  <c:v>0.9732242840366252</c:v>
                </c:pt>
                <c:pt idx="4">
                  <c:v>0.9822759894046293</c:v>
                </c:pt>
                <c:pt idx="5">
                  <c:v>0.9989536841172807</c:v>
                </c:pt>
                <c:pt idx="6">
                  <c:v>0.9676626103629593</c:v>
                </c:pt>
                <c:pt idx="7">
                  <c:v>0.9282023396870084</c:v>
                </c:pt>
                <c:pt idx="8">
                  <c:v>0.9257352294207064</c:v>
                </c:pt>
                <c:pt idx="9">
                  <c:v>0.8406720968206506</c:v>
                </c:pt>
                <c:pt idx="10">
                  <c:v>0.8819974407146766</c:v>
                </c:pt>
                <c:pt idx="11">
                  <c:v>0.9445211303356668</c:v>
                </c:pt>
                <c:pt idx="12">
                  <c:v>0.9519984756433437</c:v>
                </c:pt>
                <c:pt idx="13">
                  <c:v>0.8547003345735407</c:v>
                </c:pt>
                <c:pt idx="14">
                  <c:v>0.8984096597874949</c:v>
                </c:pt>
                <c:pt idx="15">
                  <c:v>0.8732492835538054</c:v>
                </c:pt>
                <c:pt idx="16">
                  <c:v>0.8858437181082098</c:v>
                </c:pt>
                <c:pt idx="17">
                  <c:v>0.7957057799778509</c:v>
                </c:pt>
                <c:pt idx="18">
                  <c:v>0.8171309611802064</c:v>
                </c:pt>
                <c:pt idx="19">
                  <c:v>0.8636956807760341</c:v>
                </c:pt>
                <c:pt idx="20">
                  <c:v>0.8816017296182063</c:v>
                </c:pt>
                <c:pt idx="21">
                  <c:v>0.8925283954941736</c:v>
                </c:pt>
                <c:pt idx="22">
                  <c:v>0.8795489052849731</c:v>
                </c:pt>
                <c:pt idx="23">
                  <c:v>0.7474664709558426</c:v>
                </c:pt>
                <c:pt idx="24">
                  <c:v>0.7674965761228534</c:v>
                </c:pt>
                <c:pt idx="25">
                  <c:v>0.78099918074743</c:v>
                </c:pt>
                <c:pt idx="26">
                  <c:v>0.8778717770931678</c:v>
                </c:pt>
                <c:pt idx="27">
                  <c:v>1.0247737861731043</c:v>
                </c:pt>
                <c:pt idx="28">
                  <c:v>1.0940061726820258</c:v>
                </c:pt>
                <c:pt idx="29">
                  <c:v>1.1371108149888227</c:v>
                </c:pt>
                <c:pt idx="30">
                  <c:v>1.0277596983066397</c:v>
                </c:pt>
                <c:pt idx="31">
                  <c:v>1.0094511759407692</c:v>
                </c:pt>
                <c:pt idx="32">
                  <c:v>1.0127411429164634</c:v>
                </c:pt>
                <c:pt idx="33">
                  <c:v>1.0234656018041755</c:v>
                </c:pt>
                <c:pt idx="34">
                  <c:v>0.9837487372814471</c:v>
                </c:pt>
                <c:pt idx="35">
                  <c:v>0.9693952868219129</c:v>
                </c:pt>
                <c:pt idx="36">
                  <c:v>0.7850782605739179</c:v>
                </c:pt>
                <c:pt idx="37">
                  <c:v>0.8433134576624419</c:v>
                </c:pt>
                <c:pt idx="38">
                  <c:v>0.8835790665724711</c:v>
                </c:pt>
                <c:pt idx="39">
                  <c:v>0.975606777529368</c:v>
                </c:pt>
                <c:pt idx="40">
                  <c:v>0.9856617408288222</c:v>
                </c:pt>
                <c:pt idx="41">
                  <c:v>1.0083755492103297</c:v>
                </c:pt>
                <c:pt idx="42">
                  <c:v>1.0126419013240988</c:v>
                </c:pt>
                <c:pt idx="43">
                  <c:v>0.9646780264153516</c:v>
                </c:pt>
                <c:pt idx="44">
                  <c:v>0.9073072350442615</c:v>
                </c:pt>
                <c:pt idx="45">
                  <c:v>0.8490340415673086</c:v>
                </c:pt>
                <c:pt idx="46">
                  <c:v>0.8148112067443125</c:v>
                </c:pt>
                <c:pt idx="47">
                  <c:v>0.8647604640712329</c:v>
                </c:pt>
                <c:pt idx="48">
                  <c:v>0.8176923673208847</c:v>
                </c:pt>
                <c:pt idx="49">
                  <c:v>0.7995777866214759</c:v>
                </c:pt>
                <c:pt idx="50">
                  <c:v>0.7713677368912849</c:v>
                </c:pt>
                <c:pt idx="51">
                  <c:v>0.8128974390877383</c:v>
                </c:pt>
                <c:pt idx="52">
                  <c:v>0.8240973643040086</c:v>
                </c:pt>
                <c:pt idx="53">
                  <c:v>0.5971257783235999</c:v>
                </c:pt>
                <c:pt idx="54">
                  <c:v>0.9616885263501115</c:v>
                </c:pt>
              </c:numCache>
            </c:numRef>
          </c:xVal>
          <c:yVal>
            <c:numRef>
              <c:f>Sheet1!$B$187:$B$241</c:f>
              <c:numCache>
                <c:formatCode>General</c:formatCode>
                <c:ptCount val="55"/>
                <c:pt idx="0">
                  <c:v>0.1935890475576062</c:v>
                </c:pt>
                <c:pt idx="1">
                  <c:v>0.19194975541124176</c:v>
                </c:pt>
                <c:pt idx="2">
                  <c:v>0.18205190340528493</c:v>
                </c:pt>
                <c:pt idx="3">
                  <c:v>0.17224220012302094</c:v>
                </c:pt>
                <c:pt idx="4">
                  <c:v>0.1693106177850755</c:v>
                </c:pt>
                <c:pt idx="5">
                  <c:v>0.1639092007846859</c:v>
                </c:pt>
                <c:pt idx="6">
                  <c:v>0.17404346338207133</c:v>
                </c:pt>
                <c:pt idx="7">
                  <c:v>0.18682348967115853</c:v>
                </c:pt>
                <c:pt idx="8">
                  <c:v>0.1876225144502925</c:v>
                </c:pt>
                <c:pt idx="9">
                  <c:v>0.21517197248083159</c:v>
                </c:pt>
                <c:pt idx="10">
                  <c:v>0.20178790358509807</c:v>
                </c:pt>
                <c:pt idx="11">
                  <c:v>0.1815383111885115</c:v>
                </c:pt>
                <c:pt idx="12">
                  <c:v>0.17911661797739692</c:v>
                </c:pt>
                <c:pt idx="13">
                  <c:v>0.21062863701454038</c:v>
                </c:pt>
                <c:pt idx="14">
                  <c:v>0.19647246637141702</c:v>
                </c:pt>
                <c:pt idx="15">
                  <c:v>0.20462117554653797</c:v>
                </c:pt>
                <c:pt idx="16">
                  <c:v>0.2005422069549826</c:v>
                </c:pt>
                <c:pt idx="17">
                  <c:v>0.229735245908265</c:v>
                </c:pt>
                <c:pt idx="18">
                  <c:v>0.22279625703859568</c:v>
                </c:pt>
                <c:pt idx="19">
                  <c:v>0.20771530776012725</c:v>
                </c:pt>
                <c:pt idx="20">
                  <c:v>0.20191606282296298</c:v>
                </c:pt>
                <c:pt idx="21">
                  <c:v>0.1983772356746728</c:v>
                </c:pt>
                <c:pt idx="22">
                  <c:v>0.2025809125185224</c:v>
                </c:pt>
                <c:pt idx="23">
                  <c:v>0.24535854567048365</c:v>
                </c:pt>
                <c:pt idx="24">
                  <c:v>0.23887138108132666</c:v>
                </c:pt>
                <c:pt idx="25">
                  <c:v>0.2344982827949429</c:v>
                </c:pt>
                <c:pt idx="26">
                  <c:v>0.20312408523412429</c:v>
                </c:pt>
                <c:pt idx="27">
                  <c:v>0.15554682573231587</c:v>
                </c:pt>
                <c:pt idx="28">
                  <c:v>0.13312448284201484</c:v>
                </c:pt>
                <c:pt idx="29">
                  <c:v>0.11916415128761682</c:v>
                </c:pt>
                <c:pt idx="30">
                  <c:v>0.15457977621872138</c:v>
                </c:pt>
                <c:pt idx="31">
                  <c:v>0.16050937054592823</c:v>
                </c:pt>
                <c:pt idx="32">
                  <c:v>0.15944384657157734</c:v>
                </c:pt>
                <c:pt idx="33">
                  <c:v>0.1559705083462335</c:v>
                </c:pt>
                <c:pt idx="34">
                  <c:v>0.16883363786931432</c:v>
                </c:pt>
                <c:pt idx="35">
                  <c:v>0.17348230020917388</c:v>
                </c:pt>
                <c:pt idx="36">
                  <c:v>0.2331771882731668</c:v>
                </c:pt>
                <c:pt idx="37">
                  <c:v>0.21431651304229227</c:v>
                </c:pt>
                <c:pt idx="38">
                  <c:v>0.20127566127920754</c:v>
                </c:pt>
                <c:pt idx="39">
                  <c:v>0.17147058023929346</c:v>
                </c:pt>
                <c:pt idx="40">
                  <c:v>0.16821407203239086</c:v>
                </c:pt>
                <c:pt idx="41">
                  <c:v>0.16085773454994506</c:v>
                </c:pt>
                <c:pt idx="42">
                  <c:v>0.15947598801758534</c:v>
                </c:pt>
                <c:pt idx="43">
                  <c:v>0.1750100827351327</c:v>
                </c:pt>
                <c:pt idx="44">
                  <c:v>0.1935908022636259</c:v>
                </c:pt>
                <c:pt idx="45">
                  <c:v>0.2124637834121917</c:v>
                </c:pt>
                <c:pt idx="46">
                  <c:v>0.22354755757878736</c:v>
                </c:pt>
                <c:pt idx="47">
                  <c:v>0.20737045562729295</c:v>
                </c:pt>
                <c:pt idx="48">
                  <c:v>0.22261443402740444</c:v>
                </c:pt>
                <c:pt idx="49">
                  <c:v>0.22848121632738816</c:v>
                </c:pt>
                <c:pt idx="50">
                  <c:v>0.2376176254546581</c:v>
                </c:pt>
                <c:pt idx="51">
                  <c:v>0.22416737088830757</c:v>
                </c:pt>
                <c:pt idx="52">
                  <c:v>0.22054004304063063</c:v>
                </c:pt>
                <c:pt idx="53">
                  <c:v>0.29404949409143843</c:v>
                </c:pt>
                <c:pt idx="54">
                  <c:v>0.1759782942747530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1827318410233"/>
          <c:min val="0.102162718846549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114.6866</c:v>
                </c:pt>
                <c:pt idx="1">
                  <c:v>1252.7727</c:v>
                </c:pt>
                <c:pt idx="2">
                  <c:v>1241.3303</c:v>
                </c:pt>
                <c:pt idx="3">
                  <c:v>1249.6712</c:v>
                </c:pt>
                <c:pt idx="4">
                  <c:v>1250.4695</c:v>
                </c:pt>
                <c:pt idx="5">
                  <c:v>1219.7689</c:v>
                </c:pt>
                <c:pt idx="6">
                  <c:v>1243.0819</c:v>
                </c:pt>
                <c:pt idx="7">
                  <c:v>1230.6646</c:v>
                </c:pt>
                <c:pt idx="8">
                  <c:v>1171.1892</c:v>
                </c:pt>
                <c:pt idx="9">
                  <c:v>1148.5424</c:v>
                </c:pt>
                <c:pt idx="10">
                  <c:v>1061.1031</c:v>
                </c:pt>
                <c:pt idx="11">
                  <c:v>967.6954</c:v>
                </c:pt>
                <c:pt idx="12">
                  <c:v>995.4971</c:v>
                </c:pt>
                <c:pt idx="13">
                  <c:v>1010.8261</c:v>
                </c:pt>
                <c:pt idx="14">
                  <c:v>1167.9619</c:v>
                </c:pt>
                <c:pt idx="15">
                  <c:v>1151.0532</c:v>
                </c:pt>
                <c:pt idx="16">
                  <c:v>1207.354</c:v>
                </c:pt>
                <c:pt idx="17">
                  <c:v>1243.606</c:v>
                </c:pt>
                <c:pt idx="18">
                  <c:v>1248.1508</c:v>
                </c:pt>
                <c:pt idx="19">
                  <c:v>1324.0752</c:v>
                </c:pt>
                <c:pt idx="20">
                  <c:v>1334.1238</c:v>
                </c:pt>
                <c:pt idx="21">
                  <c:v>1323.5199</c:v>
                </c:pt>
                <c:pt idx="22">
                  <c:v>1314.2909</c:v>
                </c:pt>
                <c:pt idx="23">
                  <c:v>1336.5939</c:v>
                </c:pt>
                <c:pt idx="24">
                  <c:v>1342.0078</c:v>
                </c:pt>
                <c:pt idx="25">
                  <c:v>1345.6753</c:v>
                </c:pt>
                <c:pt idx="26">
                  <c:v>1317.7826</c:v>
                </c:pt>
                <c:pt idx="27">
                  <c:v>1331.979</c:v>
                </c:pt>
                <c:pt idx="28">
                  <c:v>1364.6944</c:v>
                </c:pt>
                <c:pt idx="29">
                  <c:v>1381.556</c:v>
                </c:pt>
                <c:pt idx="30">
                  <c:v>1390.2158</c:v>
                </c:pt>
                <c:pt idx="31">
                  <c:v>1310.8869</c:v>
                </c:pt>
                <c:pt idx="32">
                  <c:v>1410.6935</c:v>
                </c:pt>
                <c:pt idx="33">
                  <c:v>1381.9447</c:v>
                </c:pt>
                <c:pt idx="34">
                  <c:v>1373.5818</c:v>
                </c:pt>
                <c:pt idx="35">
                  <c:v>1392.7291</c:v>
                </c:pt>
                <c:pt idx="36">
                  <c:v>1460.4967</c:v>
                </c:pt>
                <c:pt idx="37">
                  <c:v>1470.2744</c:v>
                </c:pt>
                <c:pt idx="38">
                  <c:v>1506.8858</c:v>
                </c:pt>
                <c:pt idx="39">
                  <c:v>1489.9123</c:v>
                </c:pt>
                <c:pt idx="40">
                  <c:v>1574.0764</c:v>
                </c:pt>
                <c:pt idx="41">
                  <c:v>1535.343</c:v>
                </c:pt>
                <c:pt idx="42">
                  <c:v>1569.2523</c:v>
                </c:pt>
                <c:pt idx="43">
                  <c:v>1569.2261</c:v>
                </c:pt>
                <c:pt idx="44">
                  <c:v>1554.6368</c:v>
                </c:pt>
                <c:pt idx="45">
                  <c:v>1546.716</c:v>
                </c:pt>
                <c:pt idx="46">
                  <c:v>1493.0292</c:v>
                </c:pt>
                <c:pt idx="47">
                  <c:v>1523.5159</c:v>
                </c:pt>
                <c:pt idx="48">
                  <c:v>1404.7149</c:v>
                </c:pt>
                <c:pt idx="49">
                  <c:v>1333.0844</c:v>
                </c:pt>
                <c:pt idx="50">
                  <c:v>1374.461</c:v>
                </c:pt>
                <c:pt idx="51">
                  <c:v>1357.13</c:v>
                </c:pt>
                <c:pt idx="52">
                  <c:v>1275.3569</c:v>
                </c:pt>
                <c:pt idx="53">
                  <c:v>1567.9484</c:v>
                </c:pt>
                <c:pt idx="54">
                  <c:v>1529.0611</c:v>
                </c:pt>
                <c:pt idx="55">
                  <c:v>1542.1624</c:v>
                </c:pt>
                <c:pt idx="56">
                  <c:v>1531.3442</c:v>
                </c:pt>
                <c:pt idx="57">
                  <c:v>1552.2888</c:v>
                </c:pt>
                <c:pt idx="58">
                  <c:v>1565.8599</c:v>
                </c:pt>
                <c:pt idx="59">
                  <c:v>1557.3266</c:v>
                </c:pt>
                <c:pt idx="60">
                  <c:v>1528.3196</c:v>
                </c:pt>
                <c:pt idx="61">
                  <c:v>1499.7386</c:v>
                </c:pt>
                <c:pt idx="62">
                  <c:v>1369.4318</c:v>
                </c:pt>
                <c:pt idx="63">
                  <c:v>1373.0898</c:v>
                </c:pt>
                <c:pt idx="64">
                  <c:v>1330.3309</c:v>
                </c:pt>
                <c:pt idx="65">
                  <c:v>1329.218</c:v>
                </c:pt>
                <c:pt idx="66">
                  <c:v>1533.9227</c:v>
                </c:pt>
                <c:pt idx="67">
                  <c:v>1536.8202</c:v>
                </c:pt>
                <c:pt idx="68">
                  <c:v>1496.7246</c:v>
                </c:pt>
                <c:pt idx="69">
                  <c:v>1542.0755</c:v>
                </c:pt>
                <c:pt idx="70">
                  <c:v>1607.3165</c:v>
                </c:pt>
                <c:pt idx="71">
                  <c:v>1625.3867</c:v>
                </c:pt>
                <c:pt idx="72">
                  <c:v>1591.2532</c:v>
                </c:pt>
                <c:pt idx="73">
                  <c:v>1575.4496</c:v>
                </c:pt>
                <c:pt idx="74">
                  <c:v>1418.537</c:v>
                </c:pt>
                <c:pt idx="75">
                  <c:v>1405.2523</c:v>
                </c:pt>
                <c:pt idx="76">
                  <c:v>1356.7075</c:v>
                </c:pt>
                <c:pt idx="77">
                  <c:v>1332.2588</c:v>
                </c:pt>
                <c:pt idx="78">
                  <c:v>1388.2885</c:v>
                </c:pt>
                <c:pt idx="79">
                  <c:v>1404.7675</c:v>
                </c:pt>
                <c:pt idx="80">
                  <c:v>1440.6725</c:v>
                </c:pt>
                <c:pt idx="81">
                  <c:v>1453.478</c:v>
                </c:pt>
                <c:pt idx="82">
                  <c:v>1455.9485</c:v>
                </c:pt>
                <c:pt idx="83">
                  <c:v>1429.6685</c:v>
                </c:pt>
                <c:pt idx="84">
                  <c:v>1463.7624</c:v>
                </c:pt>
                <c:pt idx="85">
                  <c:v>1452.0108</c:v>
                </c:pt>
                <c:pt idx="86">
                  <c:v>1423.1868</c:v>
                </c:pt>
                <c:pt idx="87">
                  <c:v>1436.6633</c:v>
                </c:pt>
                <c:pt idx="88">
                  <c:v>1433.1672</c:v>
                </c:pt>
                <c:pt idx="89">
                  <c:v>1490.8618</c:v>
                </c:pt>
                <c:pt idx="90">
                  <c:v>1432.082</c:v>
                </c:pt>
                <c:pt idx="91">
                  <c:v>1420.9797</c:v>
                </c:pt>
                <c:pt idx="92">
                  <c:v>1423.926</c:v>
                </c:pt>
                <c:pt idx="93">
                  <c:v>1424.5699</c:v>
                </c:pt>
                <c:pt idx="94">
                  <c:v>1494.0588</c:v>
                </c:pt>
                <c:pt idx="95">
                  <c:v>1452.4075</c:v>
                </c:pt>
                <c:pt idx="96">
                  <c:v>1339.648</c:v>
                </c:pt>
                <c:pt idx="97">
                  <c:v>1382.4174</c:v>
                </c:pt>
                <c:pt idx="98">
                  <c:v>1332.1157</c:v>
                </c:pt>
                <c:pt idx="99">
                  <c:v>1315.1882</c:v>
                </c:pt>
                <c:pt idx="100">
                  <c:v>1254.6574</c:v>
                </c:pt>
                <c:pt idx="101">
                  <c:v>1429.4049</c:v>
                </c:pt>
                <c:pt idx="102">
                  <c:v>1452.7237</c:v>
                </c:pt>
                <c:pt idx="103">
                  <c:v>1337.9678</c:v>
                </c:pt>
                <c:pt idx="104">
                  <c:v>1332.2645</c:v>
                </c:pt>
              </c:numCache>
            </c:numRef>
          </c:xVal>
          <c:yVal>
            <c:numRef>
              <c:f>Sheet1!$B$2:$B$106</c:f>
              <c:numCache>
                <c:formatCode>General</c:formatCode>
                <c:ptCount val="105"/>
                <c:pt idx="0">
                  <c:v>0.24646781789638933</c:v>
                </c:pt>
                <c:pt idx="1">
                  <c:v>0.23681377825618946</c:v>
                </c:pt>
                <c:pt idx="2">
                  <c:v>0.24925149700598803</c:v>
                </c:pt>
                <c:pt idx="3">
                  <c:v>0.2484871406959153</c:v>
                </c:pt>
                <c:pt idx="4">
                  <c:v>0.23474968447623054</c:v>
                </c:pt>
                <c:pt idx="5">
                  <c:v>0.25857002938295787</c:v>
                </c:pt>
                <c:pt idx="6">
                  <c:v>0.2729389846297159</c:v>
                </c:pt>
                <c:pt idx="7">
                  <c:v>0.26460859977949286</c:v>
                </c:pt>
                <c:pt idx="8">
                  <c:v>0.3128734383487235</c:v>
                </c:pt>
                <c:pt idx="9">
                  <c:v>0.2945334590009425</c:v>
                </c:pt>
                <c:pt idx="10">
                  <c:v>0.3076574535568645</c:v>
                </c:pt>
                <c:pt idx="11">
                  <c:v>0.3267834258863733</c:v>
                </c:pt>
                <c:pt idx="12">
                  <c:v>0.31107078039927405</c:v>
                </c:pt>
                <c:pt idx="13">
                  <c:v>0.33156173344235484</c:v>
                </c:pt>
                <c:pt idx="14">
                  <c:v>0.3236464968152866</c:v>
                </c:pt>
                <c:pt idx="15">
                  <c:v>0.33485609867519417</c:v>
                </c:pt>
                <c:pt idx="16">
                  <c:v>0.2686727565824825</c:v>
                </c:pt>
                <c:pt idx="17">
                  <c:v>0.2881081081081081</c:v>
                </c:pt>
                <c:pt idx="18">
                  <c:v>0.27448275862068966</c:v>
                </c:pt>
                <c:pt idx="19">
                  <c:v>0.2577927548441449</c:v>
                </c:pt>
                <c:pt idx="20">
                  <c:v>0.2616136919315403</c:v>
                </c:pt>
                <c:pt idx="21">
                  <c:v>0.24186390532544377</c:v>
                </c:pt>
                <c:pt idx="22">
                  <c:v>0.23089840470193115</c:v>
                </c:pt>
                <c:pt idx="23">
                  <c:v>0.20176211453744494</c:v>
                </c:pt>
                <c:pt idx="24">
                  <c:v>0.2052505966587112</c:v>
                </c:pt>
                <c:pt idx="25">
                  <c:v>0.21448467966573817</c:v>
                </c:pt>
                <c:pt idx="26">
                  <c:v>0.2039911308203991</c:v>
                </c:pt>
                <c:pt idx="27">
                  <c:v>0.21487603305785125</c:v>
                </c:pt>
                <c:pt idx="28">
                  <c:v>0.18666666666666668</c:v>
                </c:pt>
                <c:pt idx="29">
                  <c:v>0.19645390070921986</c:v>
                </c:pt>
                <c:pt idx="30">
                  <c:v>0.20563139931740615</c:v>
                </c:pt>
                <c:pt idx="31">
                  <c:v>0.19352014010507881</c:v>
                </c:pt>
                <c:pt idx="32">
                  <c:v>0.17350746268656717</c:v>
                </c:pt>
                <c:pt idx="33">
                  <c:v>0.16718027734976887</c:v>
                </c:pt>
                <c:pt idx="34">
                  <c:v>0.1853099730458221</c:v>
                </c:pt>
                <c:pt idx="35">
                  <c:v>0.207981220657277</c:v>
                </c:pt>
                <c:pt idx="36">
                  <c:v>0.1875</c:v>
                </c:pt>
                <c:pt idx="37">
                  <c:v>0.16705516705516704</c:v>
                </c:pt>
                <c:pt idx="38">
                  <c:v>0.16150442477876106</c:v>
                </c:pt>
                <c:pt idx="39">
                  <c:v>0.18269230769230768</c:v>
                </c:pt>
                <c:pt idx="40">
                  <c:v>0.17493638676844783</c:v>
                </c:pt>
                <c:pt idx="41">
                  <c:v>0.17587209302325582</c:v>
                </c:pt>
                <c:pt idx="42">
                  <c:v>0.1825938566552901</c:v>
                </c:pt>
                <c:pt idx="43">
                  <c:v>0.19452590420332355</c:v>
                </c:pt>
                <c:pt idx="44">
                  <c:v>0.1639035418236624</c:v>
                </c:pt>
                <c:pt idx="45">
                  <c:v>0.17634252539912917</c:v>
                </c:pt>
                <c:pt idx="46">
                  <c:v>0.1877282688093499</c:v>
                </c:pt>
                <c:pt idx="47">
                  <c:v>0.1716472303206997</c:v>
                </c:pt>
                <c:pt idx="48">
                  <c:v>0.1885159937073938</c:v>
                </c:pt>
                <c:pt idx="49">
                  <c:v>0.21514601550899193</c:v>
                </c:pt>
                <c:pt idx="50">
                  <c:v>0.20317087492660013</c:v>
                </c:pt>
                <c:pt idx="51">
                  <c:v>0.19182825484764543</c:v>
                </c:pt>
                <c:pt idx="52">
                  <c:v>0.20856760374832664</c:v>
                </c:pt>
                <c:pt idx="53">
                  <c:v>0.20828355236957388</c:v>
                </c:pt>
                <c:pt idx="54">
                  <c:v>0.1936897458369851</c:v>
                </c:pt>
                <c:pt idx="55">
                  <c:v>0.20881782945736435</c:v>
                </c:pt>
                <c:pt idx="56">
                  <c:v>0.22857142857142856</c:v>
                </c:pt>
                <c:pt idx="57">
                  <c:v>0.21715017064846417</c:v>
                </c:pt>
                <c:pt idx="58">
                  <c:v>0.21819554548886372</c:v>
                </c:pt>
                <c:pt idx="59">
                  <c:v>0.1956928838951311</c:v>
                </c:pt>
                <c:pt idx="60">
                  <c:v>0.19836552748885586</c:v>
                </c:pt>
                <c:pt idx="61">
                  <c:v>0.2195483154387264</c:v>
                </c:pt>
                <c:pt idx="62">
                  <c:v>0.25160316861561677</c:v>
                </c:pt>
                <c:pt idx="63">
                  <c:v>0.2547504025764895</c:v>
                </c:pt>
                <c:pt idx="64">
                  <c:v>0.2556136573362042</c:v>
                </c:pt>
                <c:pt idx="65">
                  <c:v>0.2603101286704058</c:v>
                </c:pt>
                <c:pt idx="66">
                  <c:v>0.24170796797560046</c:v>
                </c:pt>
                <c:pt idx="67">
                  <c:v>0.2535377358490566</c:v>
                </c:pt>
                <c:pt idx="68">
                  <c:v>0.22793770646531383</c:v>
                </c:pt>
                <c:pt idx="69">
                  <c:v>0.2358550540368722</c:v>
                </c:pt>
                <c:pt idx="70">
                  <c:v>0.22787878787878788</c:v>
                </c:pt>
                <c:pt idx="71">
                  <c:v>0.1995177817962628</c:v>
                </c:pt>
                <c:pt idx="72">
                  <c:v>0.21424657534246574</c:v>
                </c:pt>
                <c:pt idx="73">
                  <c:v>0.22598556357579122</c:v>
                </c:pt>
                <c:pt idx="74">
                  <c:v>0.23986674069961134</c:v>
                </c:pt>
                <c:pt idx="75">
                  <c:v>0.2230610844200412</c:v>
                </c:pt>
                <c:pt idx="76">
                  <c:v>0.22812051649928264</c:v>
                </c:pt>
                <c:pt idx="77">
                  <c:v>0.21995783555867884</c:v>
                </c:pt>
                <c:pt idx="78">
                  <c:v>0.2052091554853986</c:v>
                </c:pt>
                <c:pt idx="79">
                  <c:v>0.21456848772763262</c:v>
                </c:pt>
                <c:pt idx="80">
                  <c:v>0.18261562998405104</c:v>
                </c:pt>
                <c:pt idx="81">
                  <c:v>0.1957531519575315</c:v>
                </c:pt>
                <c:pt idx="82">
                  <c:v>0.19729043183742592</c:v>
                </c:pt>
                <c:pt idx="83">
                  <c:v>0.19553666312433582</c:v>
                </c:pt>
                <c:pt idx="84">
                  <c:v>0.19358288770053475</c:v>
                </c:pt>
                <c:pt idx="85">
                  <c:v>0.1875</c:v>
                </c:pt>
                <c:pt idx="86">
                  <c:v>0.192524682651622</c:v>
                </c:pt>
                <c:pt idx="87">
                  <c:v>0.2279495990836197</c:v>
                </c:pt>
                <c:pt idx="88">
                  <c:v>0.20647482014388488</c:v>
                </c:pt>
                <c:pt idx="89">
                  <c:v>0.19584837545126355</c:v>
                </c:pt>
                <c:pt idx="90">
                  <c:v>0.17630057803468208</c:v>
                </c:pt>
                <c:pt idx="91">
                  <c:v>0.20431893687707642</c:v>
                </c:pt>
                <c:pt idx="92">
                  <c:v>0.20420223243598162</c:v>
                </c:pt>
                <c:pt idx="93">
                  <c:v>0.17589175891758918</c:v>
                </c:pt>
                <c:pt idx="94">
                  <c:v>0.15673758865248227</c:v>
                </c:pt>
                <c:pt idx="95">
                  <c:v>0.17133670188332567</c:v>
                </c:pt>
                <c:pt idx="96">
                  <c:v>0.1562272396212673</c:v>
                </c:pt>
                <c:pt idx="97">
                  <c:v>0.14799728445349628</c:v>
                </c:pt>
                <c:pt idx="98">
                  <c:v>0.17375071797817346</c:v>
                </c:pt>
                <c:pt idx="99">
                  <c:v>0.17137526652452026</c:v>
                </c:pt>
                <c:pt idx="100">
                  <c:v>0.21398713826366558</c:v>
                </c:pt>
                <c:pt idx="101">
                  <c:v>0.18238434163701067</c:v>
                </c:pt>
                <c:pt idx="102">
                  <c:v>0.15510073552926126</c:v>
                </c:pt>
                <c:pt idx="103">
                  <c:v>0.17115072933549433</c:v>
                </c:pt>
                <c:pt idx="104">
                  <c:v>0.1731663685152057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51.4726</c:v>
                </c:pt>
                <c:pt idx="1">
                  <c:v>1479.599</c:v>
                </c:pt>
                <c:pt idx="2">
                  <c:v>1494.4188</c:v>
                </c:pt>
                <c:pt idx="3">
                  <c:v>1523.6123</c:v>
                </c:pt>
                <c:pt idx="4">
                  <c:v>1516.8518</c:v>
                </c:pt>
                <c:pt idx="5">
                  <c:v>1526.9066</c:v>
                </c:pt>
                <c:pt idx="6">
                  <c:v>1478.0878</c:v>
                </c:pt>
                <c:pt idx="7">
                  <c:v>1440.1994</c:v>
                </c:pt>
                <c:pt idx="8">
                  <c:v>1495.0586</c:v>
                </c:pt>
                <c:pt idx="9">
                  <c:v>1298.221</c:v>
                </c:pt>
                <c:pt idx="10">
                  <c:v>1357.4147</c:v>
                </c:pt>
                <c:pt idx="11">
                  <c:v>1467.9516</c:v>
                </c:pt>
                <c:pt idx="12">
                  <c:v>1460.3887</c:v>
                </c:pt>
                <c:pt idx="13">
                  <c:v>1331.4556</c:v>
                </c:pt>
                <c:pt idx="14">
                  <c:v>1406.9814</c:v>
                </c:pt>
                <c:pt idx="15">
                  <c:v>1354.217</c:v>
                </c:pt>
                <c:pt idx="16">
                  <c:v>1347.5964</c:v>
                </c:pt>
                <c:pt idx="17">
                  <c:v>1224.2531</c:v>
                </c:pt>
                <c:pt idx="18">
                  <c:v>1262.2825</c:v>
                </c:pt>
                <c:pt idx="19">
                  <c:v>1329.3205</c:v>
                </c:pt>
                <c:pt idx="20">
                  <c:v>1346.8547</c:v>
                </c:pt>
                <c:pt idx="21">
                  <c:v>1384.0943</c:v>
                </c:pt>
                <c:pt idx="22">
                  <c:v>1379.9818</c:v>
                </c:pt>
                <c:pt idx="23">
                  <c:v>1194.7599</c:v>
                </c:pt>
                <c:pt idx="24">
                  <c:v>1228.3412</c:v>
                </c:pt>
                <c:pt idx="25">
                  <c:v>1219.5656</c:v>
                </c:pt>
                <c:pt idx="26">
                  <c:v>1214.1906</c:v>
                </c:pt>
                <c:pt idx="27">
                  <c:v>1343.597</c:v>
                </c:pt>
                <c:pt idx="28">
                  <c:v>1488.0172</c:v>
                </c:pt>
                <c:pt idx="29">
                  <c:v>1543.767</c:v>
                </c:pt>
                <c:pt idx="30">
                  <c:v>1493.3333</c:v>
                </c:pt>
                <c:pt idx="31">
                  <c:v>1457.872</c:v>
                </c:pt>
                <c:pt idx="32">
                  <c:v>1518.9516</c:v>
                </c:pt>
                <c:pt idx="33">
                  <c:v>1535.1852</c:v>
                </c:pt>
                <c:pt idx="34">
                  <c:v>1542.3679</c:v>
                </c:pt>
                <c:pt idx="35">
                  <c:v>1535.9635</c:v>
                </c:pt>
                <c:pt idx="36">
                  <c:v>1256.1461</c:v>
                </c:pt>
                <c:pt idx="37">
                  <c:v>1347.0638</c:v>
                </c:pt>
                <c:pt idx="38">
                  <c:v>1335.6228</c:v>
                </c:pt>
                <c:pt idx="39">
                  <c:v>1493.1131</c:v>
                </c:pt>
                <c:pt idx="40">
                  <c:v>1526.7788</c:v>
                </c:pt>
                <c:pt idx="41">
                  <c:v>1581.0653</c:v>
                </c:pt>
                <c:pt idx="42">
                  <c:v>1614.7527</c:v>
                </c:pt>
                <c:pt idx="43">
                  <c:v>1536.7593</c:v>
                </c:pt>
                <c:pt idx="44">
                  <c:v>1451.3742</c:v>
                </c:pt>
                <c:pt idx="45">
                  <c:v>1346.7569</c:v>
                </c:pt>
                <c:pt idx="46">
                  <c:v>1295.5961</c:v>
                </c:pt>
                <c:pt idx="47">
                  <c:v>1372.6636</c:v>
                </c:pt>
                <c:pt idx="48">
                  <c:v>1267.9339</c:v>
                </c:pt>
                <c:pt idx="49">
                  <c:v>1213.532</c:v>
                </c:pt>
                <c:pt idx="50">
                  <c:v>1187.6594</c:v>
                </c:pt>
                <c:pt idx="51">
                  <c:v>1251.1463</c:v>
                </c:pt>
              </c:numCache>
            </c:numRef>
          </c:xVal>
          <c:yVal>
            <c:numRef>
              <c:f>Sheet1!$B$109:$B$160</c:f>
              <c:numCache>
                <c:formatCode>General</c:formatCode>
                <c:ptCount val="52"/>
                <c:pt idx="0">
                  <c:v>0.17626027887021808</c:v>
                </c:pt>
                <c:pt idx="1">
                  <c:v>0.15874233128834356</c:v>
                </c:pt>
                <c:pt idx="2">
                  <c:v>0.156</c:v>
                </c:pt>
                <c:pt idx="3">
                  <c:v>0.1501749920458161</c:v>
                </c:pt>
                <c:pt idx="4">
                  <c:v>0.14301113905856988</c:v>
                </c:pt>
                <c:pt idx="5">
                  <c:v>0.14285714285714285</c:v>
                </c:pt>
                <c:pt idx="6">
                  <c:v>0.17104714226115977</c:v>
                </c:pt>
                <c:pt idx="7">
                  <c:v>0.201093560145808</c:v>
                </c:pt>
                <c:pt idx="8">
                  <c:v>0.2039018250471995</c:v>
                </c:pt>
                <c:pt idx="9">
                  <c:v>0.2663622526636225</c:v>
                </c:pt>
                <c:pt idx="10">
                  <c:v>0.23136872868972236</c:v>
                </c:pt>
                <c:pt idx="11">
                  <c:v>0.22610526315789473</c:v>
                </c:pt>
                <c:pt idx="12">
                  <c:v>0.20411663807890223</c:v>
                </c:pt>
                <c:pt idx="13">
                  <c:v>0.22085889570552147</c:v>
                </c:pt>
                <c:pt idx="14">
                  <c:v>0.22938388625592418</c:v>
                </c:pt>
                <c:pt idx="15">
                  <c:v>0.23398196487897485</c:v>
                </c:pt>
                <c:pt idx="16">
                  <c:v>0.21755935946990612</c:v>
                </c:pt>
                <c:pt idx="17">
                  <c:v>0.2289156626506024</c:v>
                </c:pt>
                <c:pt idx="18">
                  <c:v>0.20836560805577073</c:v>
                </c:pt>
                <c:pt idx="19">
                  <c:v>0.20750426378624218</c:v>
                </c:pt>
                <c:pt idx="20">
                  <c:v>0.19473684210526315</c:v>
                </c:pt>
                <c:pt idx="21">
                  <c:v>0.19776119402985073</c:v>
                </c:pt>
                <c:pt idx="22">
                  <c:v>0.2037037037037037</c:v>
                </c:pt>
                <c:pt idx="23">
                  <c:v>0.2593856655290102</c:v>
                </c:pt>
                <c:pt idx="24">
                  <c:v>0.28286189683860236</c:v>
                </c:pt>
                <c:pt idx="25">
                  <c:v>0.31244979919678717</c:v>
                </c:pt>
                <c:pt idx="26">
                  <c:v>0.2894935752078609</c:v>
                </c:pt>
                <c:pt idx="27">
                  <c:v>0.18063186813186813</c:v>
                </c:pt>
                <c:pt idx="28">
                  <c:v>0.16235129461161651</c:v>
                </c:pt>
                <c:pt idx="29">
                  <c:v>0.14402618657937807</c:v>
                </c:pt>
                <c:pt idx="30">
                  <c:v>0.16216216216216217</c:v>
                </c:pt>
                <c:pt idx="31">
                  <c:v>0.13130252100840337</c:v>
                </c:pt>
                <c:pt idx="32">
                  <c:v>0.12770339855818744</c:v>
                </c:pt>
                <c:pt idx="33">
                  <c:v>0.14862385321100918</c:v>
                </c:pt>
                <c:pt idx="34">
                  <c:v>0.1849912739965096</c:v>
                </c:pt>
                <c:pt idx="35">
                  <c:v>0.19606674612634087</c:v>
                </c:pt>
                <c:pt idx="36">
                  <c:v>0.20319634703196346</c:v>
                </c:pt>
                <c:pt idx="37">
                  <c:v>0.17836812144212524</c:v>
                </c:pt>
                <c:pt idx="38">
                  <c:v>0.18555555555555556</c:v>
                </c:pt>
                <c:pt idx="39">
                  <c:v>0.16654107008289373</c:v>
                </c:pt>
                <c:pt idx="40">
                  <c:v>0.15757575757575756</c:v>
                </c:pt>
                <c:pt idx="41">
                  <c:v>0.14557425018288223</c:v>
                </c:pt>
                <c:pt idx="42">
                  <c:v>0.1512884455527847</c:v>
                </c:pt>
                <c:pt idx="43">
                  <c:v>0.15481651376146788</c:v>
                </c:pt>
                <c:pt idx="44">
                  <c:v>0.150354609929078</c:v>
                </c:pt>
                <c:pt idx="45">
                  <c:v>0.1888038942976356</c:v>
                </c:pt>
                <c:pt idx="46">
                  <c:v>0.18329571106094808</c:v>
                </c:pt>
                <c:pt idx="47">
                  <c:v>0.18854625550660792</c:v>
                </c:pt>
                <c:pt idx="48">
                  <c:v>0.16342692584593232</c:v>
                </c:pt>
                <c:pt idx="49">
                  <c:v>0.19657142857142856</c:v>
                </c:pt>
                <c:pt idx="50">
                  <c:v>0.23446561723280862</c:v>
                </c:pt>
                <c:pt idx="51">
                  <c:v>0.2064573459715639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05.4121712525218</c:v>
                </c:pt>
              </c:numCache>
            </c:numRef>
          </c:xVal>
          <c:yVal>
            <c:numRef>
              <c:f>Sheet1!$B$163:$B$164</c:f>
              <c:numCache>
                <c:formatCode>General</c:formatCode>
                <c:ptCount val="2"/>
                <c:pt idx="0">
                  <c:v>0.29404949409143843</c:v>
                </c:pt>
                <c:pt idx="1">
                  <c:v>0.2940494940914384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05.4121712525218</c:v>
                </c:pt>
                <c:pt idx="1">
                  <c:v>1005.4121712525218</c:v>
                </c:pt>
              </c:numCache>
            </c:numRef>
          </c:xVal>
          <c:yVal>
            <c:numRef>
              <c:f>Sheet1!$B$167:$B$168</c:f>
              <c:numCache>
                <c:formatCode>General</c:formatCode>
                <c:ptCount val="2"/>
                <c:pt idx="0">
                  <c:v>0.294049494091438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90.402691820692</c:v>
                </c:pt>
              </c:numCache>
            </c:numRef>
          </c:xVal>
          <c:yVal>
            <c:numRef>
              <c:f>Sheet1!$B$171:$B$172</c:f>
              <c:numCache>
                <c:formatCode>General</c:formatCode>
                <c:ptCount val="2"/>
                <c:pt idx="0">
                  <c:v>0.2205400430406306</c:v>
                </c:pt>
                <c:pt idx="1">
                  <c:v>0.220540043040630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90.402691820692</c:v>
                </c:pt>
                <c:pt idx="1">
                  <c:v>1290.402691820692</c:v>
                </c:pt>
              </c:numCache>
            </c:numRef>
          </c:xVal>
          <c:yVal>
            <c:numRef>
              <c:f>Sheet1!$B$175:$B$176</c:f>
              <c:numCache>
                <c:formatCode>General</c:formatCode>
                <c:ptCount val="2"/>
                <c:pt idx="0">
                  <c:v>0.22054004304063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63.1651842169115</c:v>
                </c:pt>
              </c:numCache>
            </c:numRef>
          </c:xVal>
          <c:yVal>
            <c:numRef>
              <c:f>Sheet1!$B$179:$B$180</c:f>
              <c:numCache>
                <c:formatCode>General</c:formatCode>
                <c:ptCount val="2"/>
                <c:pt idx="0">
                  <c:v>0.17597829427475303</c:v>
                </c:pt>
                <c:pt idx="1">
                  <c:v>0.1759782942747530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63.1651842169115</c:v>
                </c:pt>
                <c:pt idx="1">
                  <c:v>1463.1651842169115</c:v>
                </c:pt>
              </c:numCache>
            </c:numRef>
          </c:xVal>
          <c:yVal>
            <c:numRef>
              <c:f>Sheet1!$B$183:$B$184</c:f>
              <c:numCache>
                <c:formatCode>General</c:formatCode>
                <c:ptCount val="2"/>
                <c:pt idx="0">
                  <c:v>0.1759782942747530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51.4726</c:v>
                </c:pt>
                <c:pt idx="1">
                  <c:v>1479.599</c:v>
                </c:pt>
                <c:pt idx="2">
                  <c:v>1494.4188</c:v>
                </c:pt>
                <c:pt idx="3">
                  <c:v>1523.6123</c:v>
                </c:pt>
                <c:pt idx="4">
                  <c:v>1516.8518</c:v>
                </c:pt>
                <c:pt idx="5">
                  <c:v>1526.9066</c:v>
                </c:pt>
                <c:pt idx="6">
                  <c:v>1478.0878</c:v>
                </c:pt>
                <c:pt idx="7">
                  <c:v>1440.1994</c:v>
                </c:pt>
                <c:pt idx="8">
                  <c:v>1495.0586</c:v>
                </c:pt>
                <c:pt idx="9">
                  <c:v>1298.221</c:v>
                </c:pt>
                <c:pt idx="10">
                  <c:v>1357.4147</c:v>
                </c:pt>
                <c:pt idx="11">
                  <c:v>1467.9516</c:v>
                </c:pt>
                <c:pt idx="12">
                  <c:v>1460.3887</c:v>
                </c:pt>
                <c:pt idx="13">
                  <c:v>1331.4556</c:v>
                </c:pt>
                <c:pt idx="14">
                  <c:v>1406.9814</c:v>
                </c:pt>
                <c:pt idx="15">
                  <c:v>1354.217</c:v>
                </c:pt>
                <c:pt idx="16">
                  <c:v>1347.5964</c:v>
                </c:pt>
                <c:pt idx="17">
                  <c:v>1224.2531</c:v>
                </c:pt>
                <c:pt idx="18">
                  <c:v>1262.2825</c:v>
                </c:pt>
                <c:pt idx="19">
                  <c:v>1329.3205</c:v>
                </c:pt>
                <c:pt idx="20">
                  <c:v>1346.8547</c:v>
                </c:pt>
                <c:pt idx="21">
                  <c:v>1384.0943</c:v>
                </c:pt>
                <c:pt idx="22">
                  <c:v>1379.9818</c:v>
                </c:pt>
                <c:pt idx="23">
                  <c:v>1194.7599</c:v>
                </c:pt>
                <c:pt idx="24">
                  <c:v>1228.3412</c:v>
                </c:pt>
                <c:pt idx="25">
                  <c:v>1219.5656</c:v>
                </c:pt>
                <c:pt idx="26">
                  <c:v>1214.1906</c:v>
                </c:pt>
                <c:pt idx="27">
                  <c:v>1343.597</c:v>
                </c:pt>
                <c:pt idx="28">
                  <c:v>1488.0172</c:v>
                </c:pt>
                <c:pt idx="29">
                  <c:v>1543.767</c:v>
                </c:pt>
                <c:pt idx="30">
                  <c:v>1493.3333</c:v>
                </c:pt>
                <c:pt idx="31">
                  <c:v>1457.872</c:v>
                </c:pt>
                <c:pt idx="32">
                  <c:v>1518.9516</c:v>
                </c:pt>
                <c:pt idx="33">
                  <c:v>1535.1852</c:v>
                </c:pt>
                <c:pt idx="34">
                  <c:v>1542.3679</c:v>
                </c:pt>
                <c:pt idx="35">
                  <c:v>1535.9635</c:v>
                </c:pt>
                <c:pt idx="36">
                  <c:v>1256.1461</c:v>
                </c:pt>
                <c:pt idx="37">
                  <c:v>1347.0638</c:v>
                </c:pt>
                <c:pt idx="38">
                  <c:v>1335.6228</c:v>
                </c:pt>
                <c:pt idx="39">
                  <c:v>1493.1131</c:v>
                </c:pt>
                <c:pt idx="40">
                  <c:v>1526.7788</c:v>
                </c:pt>
                <c:pt idx="41">
                  <c:v>1581.0653</c:v>
                </c:pt>
                <c:pt idx="42">
                  <c:v>1614.7527</c:v>
                </c:pt>
                <c:pt idx="43">
                  <c:v>1536.7593</c:v>
                </c:pt>
                <c:pt idx="44">
                  <c:v>1451.3742</c:v>
                </c:pt>
                <c:pt idx="45">
                  <c:v>1346.7569</c:v>
                </c:pt>
                <c:pt idx="46">
                  <c:v>1295.5961</c:v>
                </c:pt>
                <c:pt idx="47">
                  <c:v>1372.6636</c:v>
                </c:pt>
                <c:pt idx="48">
                  <c:v>1267.9339</c:v>
                </c:pt>
                <c:pt idx="49">
                  <c:v>1213.532</c:v>
                </c:pt>
                <c:pt idx="50">
                  <c:v>1187.6594</c:v>
                </c:pt>
                <c:pt idx="51">
                  <c:v>1251.1463</c:v>
                </c:pt>
                <c:pt idx="52">
                  <c:v>1290.402691820692</c:v>
                </c:pt>
                <c:pt idx="53">
                  <c:v>1005.4121712525218</c:v>
                </c:pt>
                <c:pt idx="54">
                  <c:v>1463.1651842169115</c:v>
                </c:pt>
              </c:numCache>
            </c:numRef>
          </c:xVal>
          <c:yVal>
            <c:numRef>
              <c:f>Sheet1!$B$187:$B$241</c:f>
              <c:numCache>
                <c:formatCode>General</c:formatCode>
                <c:ptCount val="55"/>
                <c:pt idx="0">
                  <c:v>0.17899423826277383</c:v>
                </c:pt>
                <c:pt idx="1">
                  <c:v>0.17173941371663293</c:v>
                </c:pt>
                <c:pt idx="2">
                  <c:v>0.16791684670454116</c:v>
                </c:pt>
                <c:pt idx="3">
                  <c:v>0.16038677814305563</c:v>
                </c:pt>
                <c:pt idx="4">
                  <c:v>0.16213055770048873</c:v>
                </c:pt>
                <c:pt idx="5">
                  <c:v>0.15953705800459667</c:v>
                </c:pt>
                <c:pt idx="6">
                  <c:v>0.17212920732172027</c:v>
                </c:pt>
                <c:pt idx="7">
                  <c:v>0.18190200776308518</c:v>
                </c:pt>
                <c:pt idx="8">
                  <c:v>0.16775181894611413</c:v>
                </c:pt>
                <c:pt idx="9">
                  <c:v>0.2185234161673536</c:v>
                </c:pt>
                <c:pt idx="10">
                  <c:v>0.2032552016878289</c:v>
                </c:pt>
                <c:pt idx="11">
                  <c:v>0.17474370304689635</c:v>
                </c:pt>
                <c:pt idx="12">
                  <c:v>0.17669445083402907</c:v>
                </c:pt>
                <c:pt idx="13">
                  <c:v>0.20995100050586918</c:v>
                </c:pt>
                <c:pt idx="14">
                  <c:v>0.19047014167903992</c:v>
                </c:pt>
                <c:pt idx="15">
                  <c:v>0.20408000516254288</c:v>
                </c:pt>
                <c:pt idx="16">
                  <c:v>0.20578769940674696</c:v>
                </c:pt>
                <c:pt idx="17">
                  <c:v>0.23760243575558737</c:v>
                </c:pt>
                <c:pt idx="18">
                  <c:v>0.22779326627086793</c:v>
                </c:pt>
                <c:pt idx="19">
                  <c:v>0.21050172067938816</c:v>
                </c:pt>
                <c:pt idx="20">
                  <c:v>0.20597901089225068</c:v>
                </c:pt>
                <c:pt idx="21">
                  <c:v>0.196373559637612</c:v>
                </c:pt>
                <c:pt idx="22">
                  <c:v>0.19743432340211808</c:v>
                </c:pt>
                <c:pt idx="23">
                  <c:v>0.24520980787943691</c:v>
                </c:pt>
                <c:pt idx="24">
                  <c:v>0.2365479656411369</c:v>
                </c:pt>
                <c:pt idx="25">
                  <c:v>0.23881151299476605</c:v>
                </c:pt>
                <c:pt idx="26">
                  <c:v>0.24019792156235764</c:v>
                </c:pt>
                <c:pt idx="27">
                  <c:v>0.20681929055562615</c:v>
                </c:pt>
                <c:pt idx="28">
                  <c:v>0.1695680528601307</c:v>
                </c:pt>
                <c:pt idx="29">
                  <c:v>0.15518814581612767</c:v>
                </c:pt>
                <c:pt idx="30">
                  <c:v>0.16819683675107516</c:v>
                </c:pt>
                <c:pt idx="31">
                  <c:v>0.17734359956743517</c:v>
                </c:pt>
                <c:pt idx="32">
                  <c:v>0.1615889426846322</c:v>
                </c:pt>
                <c:pt idx="33">
                  <c:v>0.1574017050803802</c:v>
                </c:pt>
                <c:pt idx="34">
                  <c:v>0.15554902474206578</c:v>
                </c:pt>
                <c:pt idx="35">
                  <c:v>0.15720095311979293</c:v>
                </c:pt>
                <c:pt idx="36">
                  <c:v>0.2293760676725738</c:v>
                </c:pt>
                <c:pt idx="37">
                  <c:v>0.20592507637476543</c:v>
                </c:pt>
                <c:pt idx="38">
                  <c:v>0.2088761276160333</c:v>
                </c:pt>
                <c:pt idx="39">
                  <c:v>0.16825363436346286</c:v>
                </c:pt>
                <c:pt idx="40">
                  <c:v>0.15957002228644562</c:v>
                </c:pt>
                <c:pt idx="41">
                  <c:v>0.14556755369024849</c:v>
                </c:pt>
                <c:pt idx="42">
                  <c:v>0.1368783443916654</c:v>
                </c:pt>
                <c:pt idx="43">
                  <c:v>0.15699568727084612</c:v>
                </c:pt>
                <c:pt idx="44">
                  <c:v>0.17901961921217868</c:v>
                </c:pt>
                <c:pt idx="45">
                  <c:v>0.2060042370797689</c:v>
                </c:pt>
                <c:pt idx="46">
                  <c:v>0.2192004736276459</c:v>
                </c:pt>
                <c:pt idx="47">
                  <c:v>0.19932195413315967</c:v>
                </c:pt>
                <c:pt idx="48">
                  <c:v>0.22633556406084243</c:v>
                </c:pt>
                <c:pt idx="49">
                  <c:v>0.2403677985265652</c:v>
                </c:pt>
                <c:pt idx="50">
                  <c:v>0.24704128583928509</c:v>
                </c:pt>
                <c:pt idx="51">
                  <c:v>0.23066569847373547</c:v>
                </c:pt>
                <c:pt idx="52">
                  <c:v>0.22054004304063057</c:v>
                </c:pt>
                <c:pt idx="53">
                  <c:v>0.29404949409143843</c:v>
                </c:pt>
                <c:pt idx="54">
                  <c:v>0.1759782942747530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950.0"/>
          <c:min val="77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1827318410233"/>
          <c:min val="0.102162718846549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28685785606752705</c:v>
                </c:pt>
                <c:pt idx="1">
                  <c:v>0.05955091980795741</c:v>
                </c:pt>
                <c:pt idx="2">
                  <c:v>0.07246830496849031</c:v>
                </c:pt>
                <c:pt idx="3">
                  <c:v>0.04502467821403158</c:v>
                </c:pt>
                <c:pt idx="4">
                  <c:v>0.06163834831815134</c:v>
                </c:pt>
                <c:pt idx="5">
                  <c:v>0.0302222224975223</c:v>
                </c:pt>
                <c:pt idx="6">
                  <c:v>0.05023940205681109</c:v>
                </c:pt>
                <c:pt idx="7">
                  <c:v>0.061913555997024104</c:v>
                </c:pt>
                <c:pt idx="8">
                  <c:v>0.0523588617922525</c:v>
                </c:pt>
                <c:pt idx="9">
                  <c:v>0.048498538974748755</c:v>
                </c:pt>
                <c:pt idx="10">
                  <c:v>0.05100748771484329</c:v>
                </c:pt>
                <c:pt idx="11">
                  <c:v>0.04696889272869353</c:v>
                </c:pt>
                <c:pt idx="12">
                  <c:v>0.04280235187892338</c:v>
                </c:pt>
                <c:pt idx="13">
                  <c:v>0.039495973743810885</c:v>
                </c:pt>
                <c:pt idx="14">
                  <c:v>0.047284813014487594</c:v>
                </c:pt>
                <c:pt idx="15">
                  <c:v>0.04532240815844391</c:v>
                </c:pt>
                <c:pt idx="16">
                  <c:v>0.06112913984823457</c:v>
                </c:pt>
                <c:pt idx="17">
                  <c:v>0.04775055867423341</c:v>
                </c:pt>
                <c:pt idx="18">
                  <c:v>0.038019183965640656</c:v>
                </c:pt>
                <c:pt idx="19">
                  <c:v>0.05608722671303557</c:v>
                </c:pt>
                <c:pt idx="20">
                  <c:v>0.04286699611855127</c:v>
                </c:pt>
                <c:pt idx="21">
                  <c:v>0.037582487136674954</c:v>
                </c:pt>
                <c:pt idx="22">
                  <c:v>0.051097686642843546</c:v>
                </c:pt>
                <c:pt idx="23">
                  <c:v>0.04776278945111492</c:v>
                </c:pt>
                <c:pt idx="24">
                  <c:v>0.043827818419333774</c:v>
                </c:pt>
                <c:pt idx="25">
                  <c:v>0.058498174792581216</c:v>
                </c:pt>
                <c:pt idx="26">
                  <c:v>0.0414120963382902</c:v>
                </c:pt>
                <c:pt idx="27">
                  <c:v>0.050175180061105745</c:v>
                </c:pt>
                <c:pt idx="28">
                  <c:v>0.04723760470751125</c:v>
                </c:pt>
                <c:pt idx="29">
                  <c:v>0.06585765976076233</c:v>
                </c:pt>
                <c:pt idx="30">
                  <c:v>0.05416776933567115</c:v>
                </c:pt>
                <c:pt idx="31">
                  <c:v>0.04885414165711677</c:v>
                </c:pt>
                <c:pt idx="32">
                  <c:v>0.06147013518960315</c:v>
                </c:pt>
                <c:pt idx="33">
                  <c:v>0.04990911951293453</c:v>
                </c:pt>
                <c:pt idx="34">
                  <c:v>0.05496250887810734</c:v>
                </c:pt>
                <c:pt idx="35">
                  <c:v>0.05300824910176169</c:v>
                </c:pt>
                <c:pt idx="36">
                  <c:v>0.05256208629306893</c:v>
                </c:pt>
                <c:pt idx="37">
                  <c:v>0.062012156374158675</c:v>
                </c:pt>
                <c:pt idx="38">
                  <c:v>0.05986409907050745</c:v>
                </c:pt>
                <c:pt idx="39">
                  <c:v>0.050950890196933364</c:v>
                </c:pt>
                <c:pt idx="40">
                  <c:v>0.07239229753905728</c:v>
                </c:pt>
                <c:pt idx="41">
                  <c:v>0.06239963422068685</c:v>
                </c:pt>
                <c:pt idx="42">
                  <c:v>0.059544123798716854</c:v>
                </c:pt>
                <c:pt idx="43">
                  <c:v>0.051652695331028516</c:v>
                </c:pt>
                <c:pt idx="44">
                  <c:v>0.0687768758381375</c:v>
                </c:pt>
                <c:pt idx="45">
                  <c:v>0.06364518929910887</c:v>
                </c:pt>
                <c:pt idx="46">
                  <c:v>0.05843345064816086</c:v>
                </c:pt>
                <c:pt idx="47">
                  <c:v>0.06538414231148879</c:v>
                </c:pt>
                <c:pt idx="48">
                  <c:v>0.06573163429912078</c:v>
                </c:pt>
                <c:pt idx="49">
                  <c:v>0.05818921977242978</c:v>
                </c:pt>
                <c:pt idx="50">
                  <c:v>0.06473753023821821</c:v>
                </c:pt>
                <c:pt idx="51">
                  <c:v>0.056601663610031695</c:v>
                </c:pt>
                <c:pt idx="52">
                  <c:v>0.05847055856995821</c:v>
                </c:pt>
                <c:pt idx="53">
                  <c:v>0.06886470811890198</c:v>
                </c:pt>
                <c:pt idx="54">
                  <c:v>0.049476012049791136</c:v>
                </c:pt>
                <c:pt idx="55">
                  <c:v>0.05781105319480939</c:v>
                </c:pt>
                <c:pt idx="56">
                  <c:v>0.060038783079692244</c:v>
                </c:pt>
                <c:pt idx="57">
                  <c:v>0.06572482005250233</c:v>
                </c:pt>
                <c:pt idx="58">
                  <c:v>0.07451356064946729</c:v>
                </c:pt>
                <c:pt idx="59">
                  <c:v>0.06639600513746996</c:v>
                </c:pt>
                <c:pt idx="60">
                  <c:v>0.06375657969121712</c:v>
                </c:pt>
                <c:pt idx="61">
                  <c:v>0.07151326709100086</c:v>
                </c:pt>
                <c:pt idx="62">
                  <c:v>0.05511637550026539</c:v>
                </c:pt>
                <c:pt idx="63">
                  <c:v>0.061686623193005635</c:v>
                </c:pt>
                <c:pt idx="64">
                  <c:v>0.062303371114347764</c:v>
                </c:pt>
                <c:pt idx="65">
                  <c:v>0.05775112759700322</c:v>
                </c:pt>
                <c:pt idx="66">
                  <c:v>0.06256822891173111</c:v>
                </c:pt>
                <c:pt idx="67">
                  <c:v>0.06098406438851615</c:v>
                </c:pt>
                <c:pt idx="68">
                  <c:v>0.06694996978131025</c:v>
                </c:pt>
                <c:pt idx="69">
                  <c:v>0.07061083703588222</c:v>
                </c:pt>
                <c:pt idx="70">
                  <c:v>0.07208112891064755</c:v>
                </c:pt>
                <c:pt idx="71">
                  <c:v>0.0686762279597214</c:v>
                </c:pt>
                <c:pt idx="72">
                  <c:v>0.07015818877259342</c:v>
                </c:pt>
                <c:pt idx="73">
                  <c:v>0.06867821352273648</c:v>
                </c:pt>
                <c:pt idx="74">
                  <c:v>0.061950798766693745</c:v>
                </c:pt>
                <c:pt idx="75">
                  <c:v>0.05986397113253064</c:v>
                </c:pt>
                <c:pt idx="76">
                  <c:v>0.059532487339839534</c:v>
                </c:pt>
                <c:pt idx="77">
                  <c:v>0.05788151366381371</c:v>
                </c:pt>
                <c:pt idx="78">
                  <c:v>0.05923835292136552</c:v>
                </c:pt>
                <c:pt idx="79">
                  <c:v>0.05834478963325995</c:v>
                </c:pt>
                <c:pt idx="80">
                  <c:v>0.05475881569050521</c:v>
                </c:pt>
                <c:pt idx="81">
                  <c:v>0.058725988298090934</c:v>
                </c:pt>
                <c:pt idx="82">
                  <c:v>0.053663650436769746</c:v>
                </c:pt>
                <c:pt idx="83">
                  <c:v>0.05654683542725706</c:v>
                </c:pt>
                <c:pt idx="84">
                  <c:v>0.05789158440676737</c:v>
                </c:pt>
                <c:pt idx="85">
                  <c:v>0.057921187425931886</c:v>
                </c:pt>
                <c:pt idx="86">
                  <c:v>0.059216670030020534</c:v>
                </c:pt>
                <c:pt idx="87">
                  <c:v>0.05242260374023066</c:v>
                </c:pt>
                <c:pt idx="88">
                  <c:v>0.057326688</c:v>
                </c:pt>
                <c:pt idx="89">
                  <c:v>0.06248335587294408</c:v>
                </c:pt>
                <c:pt idx="90">
                  <c:v>0.05710150694569156</c:v>
                </c:pt>
                <c:pt idx="91">
                  <c:v>0.055914914463911544</c:v>
                </c:pt>
                <c:pt idx="92">
                  <c:v>0.05505123941954621</c:v>
                </c:pt>
                <c:pt idx="93">
                  <c:v>0.06014127427251542</c:v>
                </c:pt>
                <c:pt idx="94">
                  <c:v>0.0635898234749577</c:v>
                </c:pt>
                <c:pt idx="95">
                  <c:v>0.06769221268593241</c:v>
                </c:pt>
                <c:pt idx="96">
                  <c:v>0.05665747060390005</c:v>
                </c:pt>
                <c:pt idx="97">
                  <c:v>0.05957910170016033</c:v>
                </c:pt>
                <c:pt idx="98">
                  <c:v>0.058238049964921185</c:v>
                </c:pt>
                <c:pt idx="99">
                  <c:v>0.060352007434670445</c:v>
                </c:pt>
                <c:pt idx="100">
                  <c:v>0.05515677988665559</c:v>
                </c:pt>
                <c:pt idx="101">
                  <c:v>0.060057693506599064</c:v>
                </c:pt>
                <c:pt idx="102">
                  <c:v>0.07509416728352432</c:v>
                </c:pt>
                <c:pt idx="103">
                  <c:v>0.05257764223737052</c:v>
                </c:pt>
                <c:pt idx="104">
                  <c:v>0.056587920316087656</c:v>
                </c:pt>
              </c:numCache>
            </c:numRef>
          </c:xVal>
          <c:yVal>
            <c:numRef>
              <c:f>Sheet1!$B$2:$B$106</c:f>
              <c:numCache>
                <c:formatCode>General</c:formatCode>
                <c:ptCount val="105"/>
                <c:pt idx="0">
                  <c:v>0.24646781789638933</c:v>
                </c:pt>
                <c:pt idx="1">
                  <c:v>0.23681377825618946</c:v>
                </c:pt>
                <c:pt idx="2">
                  <c:v>0.24925149700598803</c:v>
                </c:pt>
                <c:pt idx="3">
                  <c:v>0.2484871406959153</c:v>
                </c:pt>
                <c:pt idx="4">
                  <c:v>0.23474968447623054</c:v>
                </c:pt>
                <c:pt idx="5">
                  <c:v>0.25857002938295787</c:v>
                </c:pt>
                <c:pt idx="6">
                  <c:v>0.2729389846297159</c:v>
                </c:pt>
                <c:pt idx="7">
                  <c:v>0.26460859977949286</c:v>
                </c:pt>
                <c:pt idx="8">
                  <c:v>0.3128734383487235</c:v>
                </c:pt>
                <c:pt idx="9">
                  <c:v>0.2945334590009425</c:v>
                </c:pt>
                <c:pt idx="10">
                  <c:v>0.3076574535568645</c:v>
                </c:pt>
                <c:pt idx="11">
                  <c:v>0.3267834258863733</c:v>
                </c:pt>
                <c:pt idx="12">
                  <c:v>0.31107078039927405</c:v>
                </c:pt>
                <c:pt idx="13">
                  <c:v>0.33156173344235484</c:v>
                </c:pt>
                <c:pt idx="14">
                  <c:v>0.3236464968152866</c:v>
                </c:pt>
                <c:pt idx="15">
                  <c:v>0.33485609867519417</c:v>
                </c:pt>
                <c:pt idx="16">
                  <c:v>0.2686727565824825</c:v>
                </c:pt>
                <c:pt idx="17">
                  <c:v>0.2881081081081081</c:v>
                </c:pt>
                <c:pt idx="18">
                  <c:v>0.27448275862068966</c:v>
                </c:pt>
                <c:pt idx="19">
                  <c:v>0.2577927548441449</c:v>
                </c:pt>
                <c:pt idx="20">
                  <c:v>0.2616136919315403</c:v>
                </c:pt>
                <c:pt idx="21">
                  <c:v>0.24186390532544377</c:v>
                </c:pt>
                <c:pt idx="22">
                  <c:v>0.23089840470193115</c:v>
                </c:pt>
                <c:pt idx="23">
                  <c:v>0.20176211453744494</c:v>
                </c:pt>
                <c:pt idx="24">
                  <c:v>0.2052505966587112</c:v>
                </c:pt>
                <c:pt idx="25">
                  <c:v>0.21448467966573817</c:v>
                </c:pt>
                <c:pt idx="26">
                  <c:v>0.2039911308203991</c:v>
                </c:pt>
                <c:pt idx="27">
                  <c:v>0.21487603305785125</c:v>
                </c:pt>
                <c:pt idx="28">
                  <c:v>0.18666666666666668</c:v>
                </c:pt>
                <c:pt idx="29">
                  <c:v>0.19645390070921986</c:v>
                </c:pt>
                <c:pt idx="30">
                  <c:v>0.20563139931740615</c:v>
                </c:pt>
                <c:pt idx="31">
                  <c:v>0.19352014010507881</c:v>
                </c:pt>
                <c:pt idx="32">
                  <c:v>0.17350746268656717</c:v>
                </c:pt>
                <c:pt idx="33">
                  <c:v>0.16718027734976887</c:v>
                </c:pt>
                <c:pt idx="34">
                  <c:v>0.1853099730458221</c:v>
                </c:pt>
                <c:pt idx="35">
                  <c:v>0.207981220657277</c:v>
                </c:pt>
                <c:pt idx="36">
                  <c:v>0.1875</c:v>
                </c:pt>
                <c:pt idx="37">
                  <c:v>0.16705516705516704</c:v>
                </c:pt>
                <c:pt idx="38">
                  <c:v>0.16150442477876106</c:v>
                </c:pt>
                <c:pt idx="39">
                  <c:v>0.18269230769230768</c:v>
                </c:pt>
                <c:pt idx="40">
                  <c:v>0.17493638676844783</c:v>
                </c:pt>
                <c:pt idx="41">
                  <c:v>0.17587209302325582</c:v>
                </c:pt>
                <c:pt idx="42">
                  <c:v>0.1825938566552901</c:v>
                </c:pt>
                <c:pt idx="43">
                  <c:v>0.19452590420332355</c:v>
                </c:pt>
                <c:pt idx="44">
                  <c:v>0.1639035418236624</c:v>
                </c:pt>
                <c:pt idx="45">
                  <c:v>0.17634252539912917</c:v>
                </c:pt>
                <c:pt idx="46">
                  <c:v>0.1877282688093499</c:v>
                </c:pt>
                <c:pt idx="47">
                  <c:v>0.1716472303206997</c:v>
                </c:pt>
                <c:pt idx="48">
                  <c:v>0.1885159937073938</c:v>
                </c:pt>
                <c:pt idx="49">
                  <c:v>0.21514601550899193</c:v>
                </c:pt>
                <c:pt idx="50">
                  <c:v>0.20317087492660013</c:v>
                </c:pt>
                <c:pt idx="51">
                  <c:v>0.19182825484764543</c:v>
                </c:pt>
                <c:pt idx="52">
                  <c:v>0.20856760374832664</c:v>
                </c:pt>
                <c:pt idx="53">
                  <c:v>0.20828355236957388</c:v>
                </c:pt>
                <c:pt idx="54">
                  <c:v>0.1936897458369851</c:v>
                </c:pt>
                <c:pt idx="55">
                  <c:v>0.20881782945736435</c:v>
                </c:pt>
                <c:pt idx="56">
                  <c:v>0.22857142857142856</c:v>
                </c:pt>
                <c:pt idx="57">
                  <c:v>0.21715017064846417</c:v>
                </c:pt>
                <c:pt idx="58">
                  <c:v>0.21819554548886372</c:v>
                </c:pt>
                <c:pt idx="59">
                  <c:v>0.1956928838951311</c:v>
                </c:pt>
                <c:pt idx="60">
                  <c:v>0.19836552748885586</c:v>
                </c:pt>
                <c:pt idx="61">
                  <c:v>0.2195483154387264</c:v>
                </c:pt>
                <c:pt idx="62">
                  <c:v>0.25160316861561677</c:v>
                </c:pt>
                <c:pt idx="63">
                  <c:v>0.2547504025764895</c:v>
                </c:pt>
                <c:pt idx="64">
                  <c:v>0.2556136573362042</c:v>
                </c:pt>
                <c:pt idx="65">
                  <c:v>0.2603101286704058</c:v>
                </c:pt>
                <c:pt idx="66">
                  <c:v>0.24170796797560046</c:v>
                </c:pt>
                <c:pt idx="67">
                  <c:v>0.2535377358490566</c:v>
                </c:pt>
                <c:pt idx="68">
                  <c:v>0.22793770646531383</c:v>
                </c:pt>
                <c:pt idx="69">
                  <c:v>0.2358550540368722</c:v>
                </c:pt>
                <c:pt idx="70">
                  <c:v>0.22787878787878788</c:v>
                </c:pt>
                <c:pt idx="71">
                  <c:v>0.1995177817962628</c:v>
                </c:pt>
                <c:pt idx="72">
                  <c:v>0.21424657534246574</c:v>
                </c:pt>
                <c:pt idx="73">
                  <c:v>0.22598556357579122</c:v>
                </c:pt>
                <c:pt idx="74">
                  <c:v>0.23986674069961134</c:v>
                </c:pt>
                <c:pt idx="75">
                  <c:v>0.2230610844200412</c:v>
                </c:pt>
                <c:pt idx="76">
                  <c:v>0.22812051649928264</c:v>
                </c:pt>
                <c:pt idx="77">
                  <c:v>0.21995783555867884</c:v>
                </c:pt>
                <c:pt idx="78">
                  <c:v>0.2052091554853986</c:v>
                </c:pt>
                <c:pt idx="79">
                  <c:v>0.21456848772763262</c:v>
                </c:pt>
                <c:pt idx="80">
                  <c:v>0.18261562998405104</c:v>
                </c:pt>
                <c:pt idx="81">
                  <c:v>0.1957531519575315</c:v>
                </c:pt>
                <c:pt idx="82">
                  <c:v>0.19729043183742592</c:v>
                </c:pt>
                <c:pt idx="83">
                  <c:v>0.19553666312433582</c:v>
                </c:pt>
                <c:pt idx="84">
                  <c:v>0.19358288770053475</c:v>
                </c:pt>
                <c:pt idx="85">
                  <c:v>0.1875</c:v>
                </c:pt>
                <c:pt idx="86">
                  <c:v>0.192524682651622</c:v>
                </c:pt>
                <c:pt idx="87">
                  <c:v>0.2279495990836197</c:v>
                </c:pt>
                <c:pt idx="88">
                  <c:v>0.20647482014388488</c:v>
                </c:pt>
                <c:pt idx="89">
                  <c:v>0.19584837545126355</c:v>
                </c:pt>
                <c:pt idx="90">
                  <c:v>0.17630057803468208</c:v>
                </c:pt>
                <c:pt idx="91">
                  <c:v>0.20431893687707642</c:v>
                </c:pt>
                <c:pt idx="92">
                  <c:v>0.20420223243598162</c:v>
                </c:pt>
                <c:pt idx="93">
                  <c:v>0.17589175891758918</c:v>
                </c:pt>
                <c:pt idx="94">
                  <c:v>0.15673758865248227</c:v>
                </c:pt>
                <c:pt idx="95">
                  <c:v>0.17133670188332567</c:v>
                </c:pt>
                <c:pt idx="96">
                  <c:v>0.1562272396212673</c:v>
                </c:pt>
                <c:pt idx="97">
                  <c:v>0.14799728445349628</c:v>
                </c:pt>
                <c:pt idx="98">
                  <c:v>0.17375071797817346</c:v>
                </c:pt>
                <c:pt idx="99">
                  <c:v>0.17137526652452026</c:v>
                </c:pt>
                <c:pt idx="100">
                  <c:v>0.21398713826366558</c:v>
                </c:pt>
                <c:pt idx="101">
                  <c:v>0.18238434163701067</c:v>
                </c:pt>
                <c:pt idx="102">
                  <c:v>0.15510073552926126</c:v>
                </c:pt>
                <c:pt idx="103">
                  <c:v>0.17115072933549433</c:v>
                </c:pt>
                <c:pt idx="104">
                  <c:v>0.17316636851520573</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05622853147653391</c:v>
                </c:pt>
                <c:pt idx="1">
                  <c:v>0.06912485907087418</c:v>
                </c:pt>
                <c:pt idx="2">
                  <c:v>0.0948114960030453</c:v>
                </c:pt>
                <c:pt idx="3">
                  <c:v>0.12415354465449804</c:v>
                </c:pt>
                <c:pt idx="4">
                  <c:v>0.11144182354327668</c:v>
                </c:pt>
                <c:pt idx="5">
                  <c:v>0.11713972825004705</c:v>
                </c:pt>
                <c:pt idx="6">
                  <c:v>0.10760028797601008</c:v>
                </c:pt>
                <c:pt idx="7">
                  <c:v>0.10001012670660578</c:v>
                </c:pt>
                <c:pt idx="8">
                  <c:v>0.14273354985848358</c:v>
                </c:pt>
                <c:pt idx="9">
                  <c:v>0.09723067956839443</c:v>
                </c:pt>
                <c:pt idx="10">
                  <c:v>0.1264076975289323</c:v>
                </c:pt>
                <c:pt idx="11">
                  <c:v>0.13556843428367601</c:v>
                </c:pt>
                <c:pt idx="12">
                  <c:v>0.1717557381638076</c:v>
                </c:pt>
                <c:pt idx="13">
                  <c:v>0.11586774735414812</c:v>
                </c:pt>
                <c:pt idx="14">
                  <c:v>0.09348393601834971</c:v>
                </c:pt>
                <c:pt idx="15">
                  <c:v>0.09316537816571356</c:v>
                </c:pt>
                <c:pt idx="16">
                  <c:v>0.07073854036521655</c:v>
                </c:pt>
                <c:pt idx="17">
                  <c:v>0.06571709211592337</c:v>
                </c:pt>
                <c:pt idx="18">
                  <c:v>0.08174103342082523</c:v>
                </c:pt>
                <c:pt idx="19">
                  <c:v>0.11273661178183823</c:v>
                </c:pt>
                <c:pt idx="20">
                  <c:v>0.09361536799420421</c:v>
                </c:pt>
                <c:pt idx="21">
                  <c:v>0.07774899089078713</c:v>
                </c:pt>
                <c:pt idx="22">
                  <c:v>0.09436059718628305</c:v>
                </c:pt>
                <c:pt idx="23">
                  <c:v>0.07255820524231438</c:v>
                </c:pt>
                <c:pt idx="24">
                  <c:v>0.07338725519482849</c:v>
                </c:pt>
                <c:pt idx="25">
                  <c:v>0.09870070086272477</c:v>
                </c:pt>
                <c:pt idx="26">
                  <c:v>0.07755891746306075</c:v>
                </c:pt>
                <c:pt idx="27">
                  <c:v>0.10511606162064999</c:v>
                </c:pt>
                <c:pt idx="28">
                  <c:v>0.11379832919216976</c:v>
                </c:pt>
                <c:pt idx="29">
                  <c:v>0.11900024155144975</c:v>
                </c:pt>
                <c:pt idx="30">
                  <c:v>0.1251865380753872</c:v>
                </c:pt>
                <c:pt idx="31">
                  <c:v>0.09376200928764014</c:v>
                </c:pt>
                <c:pt idx="32">
                  <c:v>0.09938946163972907</c:v>
                </c:pt>
                <c:pt idx="33">
                  <c:v>0.11940926379652315</c:v>
                </c:pt>
                <c:pt idx="34">
                  <c:v>0.09394609863194665</c:v>
                </c:pt>
                <c:pt idx="35">
                  <c:v>0.09650934737232544</c:v>
                </c:pt>
                <c:pt idx="36">
                  <c:v>0.07553305023319108</c:v>
                </c:pt>
                <c:pt idx="37">
                  <c:v>0.0836254077763861</c:v>
                </c:pt>
                <c:pt idx="38">
                  <c:v>0.08280859592864563</c:v>
                </c:pt>
                <c:pt idx="39">
                  <c:v>0.10457716529757652</c:v>
                </c:pt>
                <c:pt idx="40">
                  <c:v>0.10929242857311693</c:v>
                </c:pt>
                <c:pt idx="41">
                  <c:v>0.111340386623348</c:v>
                </c:pt>
                <c:pt idx="42">
                  <c:v>0.11182897610350187</c:v>
                </c:pt>
                <c:pt idx="43">
                  <c:v>0.11942089805743648</c:v>
                </c:pt>
                <c:pt idx="44">
                  <c:v>0.11587447905855303</c:v>
                </c:pt>
                <c:pt idx="45">
                  <c:v>0.11350541674908955</c:v>
                </c:pt>
                <c:pt idx="46">
                  <c:v>0.09272155302456062</c:v>
                </c:pt>
                <c:pt idx="47">
                  <c:v>0.0926984078790023</c:v>
                </c:pt>
                <c:pt idx="48">
                  <c:v>0.10057807405998842</c:v>
                </c:pt>
                <c:pt idx="49">
                  <c:v>0.10187257848613483</c:v>
                </c:pt>
                <c:pt idx="50">
                  <c:v>0.11909583546423594</c:v>
                </c:pt>
                <c:pt idx="51">
                  <c:v>0.11098202569305139</c:v>
                </c:pt>
              </c:numCache>
            </c:numRef>
          </c:xVal>
          <c:yVal>
            <c:numRef>
              <c:f>Sheet1!$B$109:$B$160</c:f>
              <c:numCache>
                <c:formatCode>General</c:formatCode>
                <c:ptCount val="52"/>
                <c:pt idx="0">
                  <c:v>0.17626027887021808</c:v>
                </c:pt>
                <c:pt idx="1">
                  <c:v>0.15874233128834356</c:v>
                </c:pt>
                <c:pt idx="2">
                  <c:v>0.156</c:v>
                </c:pt>
                <c:pt idx="3">
                  <c:v>0.1501749920458161</c:v>
                </c:pt>
                <c:pt idx="4">
                  <c:v>0.14301113905856988</c:v>
                </c:pt>
                <c:pt idx="5">
                  <c:v>0.14285714285714285</c:v>
                </c:pt>
                <c:pt idx="6">
                  <c:v>0.17104714226115977</c:v>
                </c:pt>
                <c:pt idx="7">
                  <c:v>0.201093560145808</c:v>
                </c:pt>
                <c:pt idx="8">
                  <c:v>0.2039018250471995</c:v>
                </c:pt>
                <c:pt idx="9">
                  <c:v>0.2663622526636225</c:v>
                </c:pt>
                <c:pt idx="10">
                  <c:v>0.23136872868972236</c:v>
                </c:pt>
                <c:pt idx="11">
                  <c:v>0.22610526315789473</c:v>
                </c:pt>
                <c:pt idx="12">
                  <c:v>0.20411663807890223</c:v>
                </c:pt>
                <c:pt idx="13">
                  <c:v>0.22085889570552147</c:v>
                </c:pt>
                <c:pt idx="14">
                  <c:v>0.22938388625592418</c:v>
                </c:pt>
                <c:pt idx="15">
                  <c:v>0.23398196487897485</c:v>
                </c:pt>
                <c:pt idx="16">
                  <c:v>0.21755935946990612</c:v>
                </c:pt>
                <c:pt idx="17">
                  <c:v>0.2289156626506024</c:v>
                </c:pt>
                <c:pt idx="18">
                  <c:v>0.20836560805577073</c:v>
                </c:pt>
                <c:pt idx="19">
                  <c:v>0.20750426378624218</c:v>
                </c:pt>
                <c:pt idx="20">
                  <c:v>0.19473684210526315</c:v>
                </c:pt>
                <c:pt idx="21">
                  <c:v>0.19776119402985073</c:v>
                </c:pt>
                <c:pt idx="22">
                  <c:v>0.2037037037037037</c:v>
                </c:pt>
                <c:pt idx="23">
                  <c:v>0.2593856655290102</c:v>
                </c:pt>
                <c:pt idx="24">
                  <c:v>0.28286189683860236</c:v>
                </c:pt>
                <c:pt idx="25">
                  <c:v>0.31244979919678717</c:v>
                </c:pt>
                <c:pt idx="26">
                  <c:v>0.2894935752078609</c:v>
                </c:pt>
                <c:pt idx="27">
                  <c:v>0.18063186813186813</c:v>
                </c:pt>
                <c:pt idx="28">
                  <c:v>0.16235129461161651</c:v>
                </c:pt>
                <c:pt idx="29">
                  <c:v>0.14402618657937807</c:v>
                </c:pt>
                <c:pt idx="30">
                  <c:v>0.16216216216216217</c:v>
                </c:pt>
                <c:pt idx="31">
                  <c:v>0.13130252100840337</c:v>
                </c:pt>
                <c:pt idx="32">
                  <c:v>0.12770339855818744</c:v>
                </c:pt>
                <c:pt idx="33">
                  <c:v>0.14862385321100918</c:v>
                </c:pt>
                <c:pt idx="34">
                  <c:v>0.1849912739965096</c:v>
                </c:pt>
                <c:pt idx="35">
                  <c:v>0.19606674612634087</c:v>
                </c:pt>
                <c:pt idx="36">
                  <c:v>0.20319634703196346</c:v>
                </c:pt>
                <c:pt idx="37">
                  <c:v>0.17836812144212524</c:v>
                </c:pt>
                <c:pt idx="38">
                  <c:v>0.18555555555555556</c:v>
                </c:pt>
                <c:pt idx="39">
                  <c:v>0.16654107008289373</c:v>
                </c:pt>
                <c:pt idx="40">
                  <c:v>0.15757575757575756</c:v>
                </c:pt>
                <c:pt idx="41">
                  <c:v>0.14557425018288223</c:v>
                </c:pt>
                <c:pt idx="42">
                  <c:v>0.1512884455527847</c:v>
                </c:pt>
                <c:pt idx="43">
                  <c:v>0.15481651376146788</c:v>
                </c:pt>
                <c:pt idx="44">
                  <c:v>0.150354609929078</c:v>
                </c:pt>
                <c:pt idx="45">
                  <c:v>0.1888038942976356</c:v>
                </c:pt>
                <c:pt idx="46">
                  <c:v>0.18329571106094808</c:v>
                </c:pt>
                <c:pt idx="47">
                  <c:v>0.18854625550660792</c:v>
                </c:pt>
                <c:pt idx="48">
                  <c:v>0.16342692584593232</c:v>
                </c:pt>
                <c:pt idx="49">
                  <c:v>0.19657142857142856</c:v>
                </c:pt>
                <c:pt idx="50">
                  <c:v>0.23446561723280862</c:v>
                </c:pt>
                <c:pt idx="51">
                  <c:v>0.20645734597156398</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1683370021071263</c:v>
                </c:pt>
              </c:numCache>
            </c:numRef>
          </c:xVal>
          <c:yVal>
            <c:numRef>
              <c:f>Sheet1!$B$163:$B$164</c:f>
              <c:numCache>
                <c:formatCode>General</c:formatCode>
                <c:ptCount val="2"/>
                <c:pt idx="0">
                  <c:v>0.29404949409143843</c:v>
                </c:pt>
                <c:pt idx="1">
                  <c:v>0.2940494940914384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1683370021071263</c:v>
                </c:pt>
                <c:pt idx="1">
                  <c:v>-0.11683370021071263</c:v>
                </c:pt>
              </c:numCache>
            </c:numRef>
          </c:xVal>
          <c:yVal>
            <c:numRef>
              <c:f>Sheet1!$B$167:$B$168</c:f>
              <c:numCache>
                <c:formatCode>General</c:formatCode>
                <c:ptCount val="2"/>
                <c:pt idx="0">
                  <c:v>0.294049494091438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4136595299749458</c:v>
                </c:pt>
              </c:numCache>
            </c:numRef>
          </c:xVal>
          <c:yVal>
            <c:numRef>
              <c:f>Sheet1!$B$171:$B$172</c:f>
              <c:numCache>
                <c:formatCode>General</c:formatCode>
                <c:ptCount val="2"/>
                <c:pt idx="0">
                  <c:v>0.2205400430406306</c:v>
                </c:pt>
                <c:pt idx="1">
                  <c:v>0.220540043040630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4136595299749458</c:v>
                </c:pt>
                <c:pt idx="1">
                  <c:v>0.04136595299749458</c:v>
                </c:pt>
              </c:numCache>
            </c:numRef>
          </c:xVal>
          <c:yVal>
            <c:numRef>
              <c:f>Sheet1!$B$175:$B$176</c:f>
              <c:numCache>
                <c:formatCode>General</c:formatCode>
                <c:ptCount val="2"/>
                <c:pt idx="0">
                  <c:v>0.22054004304063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3726727045177062</c:v>
                </c:pt>
              </c:numCache>
            </c:numRef>
          </c:xVal>
          <c:yVal>
            <c:numRef>
              <c:f>Sheet1!$B$179:$B$180</c:f>
              <c:numCache>
                <c:formatCode>General</c:formatCode>
                <c:ptCount val="2"/>
                <c:pt idx="0">
                  <c:v>0.17597829427475303</c:v>
                </c:pt>
                <c:pt idx="1">
                  <c:v>0.1759782942747530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3726727045177062</c:v>
                </c:pt>
                <c:pt idx="1">
                  <c:v>0.13726727045177062</c:v>
                </c:pt>
              </c:numCache>
            </c:numRef>
          </c:xVal>
          <c:yVal>
            <c:numRef>
              <c:f>Sheet1!$B$183:$B$184</c:f>
              <c:numCache>
                <c:formatCode>General</c:formatCode>
                <c:ptCount val="2"/>
                <c:pt idx="0">
                  <c:v>0.1759782942747530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05622853147653391</c:v>
                </c:pt>
                <c:pt idx="1">
                  <c:v>0.06912485907087418</c:v>
                </c:pt>
                <c:pt idx="2">
                  <c:v>0.0948114960030453</c:v>
                </c:pt>
                <c:pt idx="3">
                  <c:v>0.12415354465449804</c:v>
                </c:pt>
                <c:pt idx="4">
                  <c:v>0.11144182354327668</c:v>
                </c:pt>
                <c:pt idx="5">
                  <c:v>0.11713972825004705</c:v>
                </c:pt>
                <c:pt idx="6">
                  <c:v>0.10760028797601008</c:v>
                </c:pt>
                <c:pt idx="7">
                  <c:v>0.10001012670660578</c:v>
                </c:pt>
                <c:pt idx="8">
                  <c:v>0.14273354985848358</c:v>
                </c:pt>
                <c:pt idx="9">
                  <c:v>0.09723067956839443</c:v>
                </c:pt>
                <c:pt idx="10">
                  <c:v>0.1264076975289323</c:v>
                </c:pt>
                <c:pt idx="11">
                  <c:v>0.13556843428367601</c:v>
                </c:pt>
                <c:pt idx="12">
                  <c:v>0.1717557381638076</c:v>
                </c:pt>
                <c:pt idx="13">
                  <c:v>0.11586774735414812</c:v>
                </c:pt>
                <c:pt idx="14">
                  <c:v>0.09348393601834971</c:v>
                </c:pt>
                <c:pt idx="15">
                  <c:v>0.09316537816571356</c:v>
                </c:pt>
                <c:pt idx="16">
                  <c:v>0.07073854036521655</c:v>
                </c:pt>
                <c:pt idx="17">
                  <c:v>0.06571709211592337</c:v>
                </c:pt>
                <c:pt idx="18">
                  <c:v>0.08174103342082523</c:v>
                </c:pt>
                <c:pt idx="19">
                  <c:v>0.11273661178183823</c:v>
                </c:pt>
                <c:pt idx="20">
                  <c:v>0.09361536799420421</c:v>
                </c:pt>
                <c:pt idx="21">
                  <c:v>0.07774899089078713</c:v>
                </c:pt>
                <c:pt idx="22">
                  <c:v>0.09436059718628305</c:v>
                </c:pt>
                <c:pt idx="23">
                  <c:v>0.07255820524231438</c:v>
                </c:pt>
                <c:pt idx="24">
                  <c:v>0.07338725519482849</c:v>
                </c:pt>
                <c:pt idx="25">
                  <c:v>0.09870070086272477</c:v>
                </c:pt>
                <c:pt idx="26">
                  <c:v>0.07755891746306075</c:v>
                </c:pt>
                <c:pt idx="27">
                  <c:v>0.10511606162064999</c:v>
                </c:pt>
                <c:pt idx="28">
                  <c:v>0.11379832919216976</c:v>
                </c:pt>
                <c:pt idx="29">
                  <c:v>0.11900024155144975</c:v>
                </c:pt>
                <c:pt idx="30">
                  <c:v>0.1251865380753872</c:v>
                </c:pt>
                <c:pt idx="31">
                  <c:v>0.09376200928764014</c:v>
                </c:pt>
                <c:pt idx="32">
                  <c:v>0.09938946163972907</c:v>
                </c:pt>
                <c:pt idx="33">
                  <c:v>0.11940926379652315</c:v>
                </c:pt>
                <c:pt idx="34">
                  <c:v>0.09394609863194665</c:v>
                </c:pt>
                <c:pt idx="35">
                  <c:v>0.09650934737232544</c:v>
                </c:pt>
                <c:pt idx="36">
                  <c:v>0.07553305023319108</c:v>
                </c:pt>
                <c:pt idx="37">
                  <c:v>0.0836254077763861</c:v>
                </c:pt>
                <c:pt idx="38">
                  <c:v>0.08280859592864563</c:v>
                </c:pt>
                <c:pt idx="39">
                  <c:v>0.10457716529757652</c:v>
                </c:pt>
                <c:pt idx="40">
                  <c:v>0.10929242857311693</c:v>
                </c:pt>
                <c:pt idx="41">
                  <c:v>0.111340386623348</c:v>
                </c:pt>
                <c:pt idx="42">
                  <c:v>0.11182897610350187</c:v>
                </c:pt>
                <c:pt idx="43">
                  <c:v>0.11942089805743648</c:v>
                </c:pt>
                <c:pt idx="44">
                  <c:v>0.11587447905855303</c:v>
                </c:pt>
                <c:pt idx="45">
                  <c:v>0.11350541674908955</c:v>
                </c:pt>
                <c:pt idx="46">
                  <c:v>0.09272155302456062</c:v>
                </c:pt>
                <c:pt idx="47">
                  <c:v>0.0926984078790023</c:v>
                </c:pt>
                <c:pt idx="48">
                  <c:v>0.10057807405998842</c:v>
                </c:pt>
                <c:pt idx="49">
                  <c:v>0.10187257848613483</c:v>
                </c:pt>
                <c:pt idx="50">
                  <c:v>0.11909583546423594</c:v>
                </c:pt>
                <c:pt idx="51">
                  <c:v>0.11098202569305139</c:v>
                </c:pt>
                <c:pt idx="52">
                  <c:v>0.04136595299749458</c:v>
                </c:pt>
                <c:pt idx="53">
                  <c:v>-0.11683370021071263</c:v>
                </c:pt>
                <c:pt idx="54">
                  <c:v>0.13726727045177062</c:v>
                </c:pt>
              </c:numCache>
            </c:numRef>
          </c:xVal>
          <c:yVal>
            <c:numRef>
              <c:f>Sheet1!$B$187:$B$241</c:f>
              <c:numCache>
                <c:formatCode>General</c:formatCode>
                <c:ptCount val="55"/>
                <c:pt idx="0">
                  <c:v>0.21363395972731364</c:v>
                </c:pt>
                <c:pt idx="1">
                  <c:v>0.207641519524024</c:v>
                </c:pt>
                <c:pt idx="2">
                  <c:v>0.19570590182870437</c:v>
                </c:pt>
                <c:pt idx="3">
                  <c:v>0.18207175127696038</c:v>
                </c:pt>
                <c:pt idx="4">
                  <c:v>0.18797841176481264</c:v>
                </c:pt>
                <c:pt idx="5">
                  <c:v>0.1853308089500122</c:v>
                </c:pt>
                <c:pt idx="6">
                  <c:v>0.18976342939927146</c:v>
                </c:pt>
                <c:pt idx="7">
                  <c:v>0.19329029293522812</c:v>
                </c:pt>
                <c:pt idx="8">
                  <c:v>0.17343831905781015</c:v>
                </c:pt>
                <c:pt idx="9">
                  <c:v>0.1945817978735212</c:v>
                </c:pt>
                <c:pt idx="10">
                  <c:v>0.181024330900089</c:v>
                </c:pt>
                <c:pt idx="11">
                  <c:v>0.17676767978609506</c:v>
                </c:pt>
                <c:pt idx="12">
                  <c:v>0.15995279562363574</c:v>
                </c:pt>
                <c:pt idx="13">
                  <c:v>0.18592185081077775</c:v>
                </c:pt>
                <c:pt idx="14">
                  <c:v>0.19632276920946629</c:v>
                </c:pt>
                <c:pt idx="15">
                  <c:v>0.19647079110711477</c:v>
                </c:pt>
                <c:pt idx="16">
                  <c:v>0.20689170229173243</c:v>
                </c:pt>
                <c:pt idx="17">
                  <c:v>0.20922498113779775</c:v>
                </c:pt>
                <c:pt idx="18">
                  <c:v>0.20177925603596428</c:v>
                </c:pt>
                <c:pt idx="19">
                  <c:v>0.18737677218651067</c:v>
                </c:pt>
                <c:pt idx="20">
                  <c:v>0.19626169769508775</c:v>
                </c:pt>
                <c:pt idx="21">
                  <c:v>0.20363420861647571</c:v>
                </c:pt>
                <c:pt idx="22">
                  <c:v>0.1959154176135211</c:v>
                </c:pt>
                <c:pt idx="23">
                  <c:v>0.2060461722068096</c:v>
                </c:pt>
                <c:pt idx="24">
                  <c:v>0.20566094375866123</c:v>
                </c:pt>
                <c:pt idx="25">
                  <c:v>0.19389873406024594</c:v>
                </c:pt>
                <c:pt idx="26">
                  <c:v>0.2037225286162239</c:v>
                </c:pt>
                <c:pt idx="27">
                  <c:v>0.19091775630179716</c:v>
                </c:pt>
                <c:pt idx="28">
                  <c:v>0.18688343188884365</c:v>
                </c:pt>
                <c:pt idx="29">
                  <c:v>0.18446629813291932</c:v>
                </c:pt>
                <c:pt idx="30">
                  <c:v>0.18159175794088953</c:v>
                </c:pt>
                <c:pt idx="31">
                  <c:v>0.19619355898072743</c:v>
                </c:pt>
                <c:pt idx="32">
                  <c:v>0.19357869273527364</c:v>
                </c:pt>
                <c:pt idx="33">
                  <c:v>0.18427624082183694</c:v>
                </c:pt>
                <c:pt idx="34">
                  <c:v>0.1961080195603188</c:v>
                </c:pt>
                <c:pt idx="35">
                  <c:v>0.19491697391647067</c:v>
                </c:pt>
                <c:pt idx="36">
                  <c:v>0.2046638732080072</c:v>
                </c:pt>
                <c:pt idx="37">
                  <c:v>0.20090365788108594</c:v>
                </c:pt>
                <c:pt idx="38">
                  <c:v>0.20128319974051198</c:v>
                </c:pt>
                <c:pt idx="39">
                  <c:v>0.1911681612305001</c:v>
                </c:pt>
                <c:pt idx="40">
                  <c:v>0.18897715506888213</c:v>
                </c:pt>
                <c:pt idx="41">
                  <c:v>0.18802554570062746</c:v>
                </c:pt>
                <c:pt idx="42">
                  <c:v>0.18779851647681467</c:v>
                </c:pt>
                <c:pt idx="43">
                  <c:v>0.18427083481673023</c:v>
                </c:pt>
                <c:pt idx="44">
                  <c:v>0.18591872283998007</c:v>
                </c:pt>
                <c:pt idx="45">
                  <c:v>0.18701953732561372</c:v>
                </c:pt>
                <c:pt idx="46">
                  <c:v>0.19667702001992887</c:v>
                </c:pt>
                <c:pt idx="47">
                  <c:v>0.1966877747018133</c:v>
                </c:pt>
                <c:pt idx="48">
                  <c:v>0.19302638908129255</c:v>
                </c:pt>
                <c:pt idx="49">
                  <c:v>0.19242488137998534</c:v>
                </c:pt>
                <c:pt idx="50">
                  <c:v>0.18442187922358413</c:v>
                </c:pt>
                <c:pt idx="51">
                  <c:v>0.1881920625970298</c:v>
                </c:pt>
                <c:pt idx="52">
                  <c:v>0.2205400430406306</c:v>
                </c:pt>
                <c:pt idx="53">
                  <c:v>0.29404949409143843</c:v>
                </c:pt>
                <c:pt idx="54">
                  <c:v>0.1759782942747530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1827318410233"/>
          <c:min val="0.102162718846549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114.6866</c:v>
                </c:pt>
                <c:pt idx="1">
                  <c:v>1252.7727</c:v>
                </c:pt>
                <c:pt idx="2">
                  <c:v>1241.3303</c:v>
                </c:pt>
                <c:pt idx="3">
                  <c:v>1249.6712</c:v>
                </c:pt>
                <c:pt idx="4">
                  <c:v>1250.4695</c:v>
                </c:pt>
                <c:pt idx="5">
                  <c:v>1219.7689</c:v>
                </c:pt>
                <c:pt idx="6">
                  <c:v>1243.0819</c:v>
                </c:pt>
                <c:pt idx="7">
                  <c:v>1230.6646</c:v>
                </c:pt>
                <c:pt idx="8">
                  <c:v>1171.1892</c:v>
                </c:pt>
                <c:pt idx="9">
                  <c:v>1148.5424</c:v>
                </c:pt>
                <c:pt idx="10">
                  <c:v>1061.1031</c:v>
                </c:pt>
                <c:pt idx="11">
                  <c:v>967.6954</c:v>
                </c:pt>
                <c:pt idx="12">
                  <c:v>995.4971</c:v>
                </c:pt>
                <c:pt idx="13">
                  <c:v>1010.8261</c:v>
                </c:pt>
                <c:pt idx="14">
                  <c:v>1167.9619</c:v>
                </c:pt>
                <c:pt idx="15">
                  <c:v>1151.0532</c:v>
                </c:pt>
                <c:pt idx="16">
                  <c:v>1207.354</c:v>
                </c:pt>
                <c:pt idx="17">
                  <c:v>1243.606</c:v>
                </c:pt>
                <c:pt idx="18">
                  <c:v>1248.1508</c:v>
                </c:pt>
                <c:pt idx="19">
                  <c:v>1324.0752</c:v>
                </c:pt>
                <c:pt idx="20">
                  <c:v>1334.1238</c:v>
                </c:pt>
                <c:pt idx="21">
                  <c:v>1323.5199</c:v>
                </c:pt>
                <c:pt idx="22">
                  <c:v>1314.2909</c:v>
                </c:pt>
                <c:pt idx="23">
                  <c:v>1336.5939</c:v>
                </c:pt>
                <c:pt idx="24">
                  <c:v>1342.0078</c:v>
                </c:pt>
                <c:pt idx="25">
                  <c:v>1345.6753</c:v>
                </c:pt>
                <c:pt idx="26">
                  <c:v>1317.7826</c:v>
                </c:pt>
                <c:pt idx="27">
                  <c:v>1331.979</c:v>
                </c:pt>
                <c:pt idx="28">
                  <c:v>1364.6944</c:v>
                </c:pt>
                <c:pt idx="29">
                  <c:v>1381.556</c:v>
                </c:pt>
                <c:pt idx="30">
                  <c:v>1390.2158</c:v>
                </c:pt>
                <c:pt idx="31">
                  <c:v>1310.8869</c:v>
                </c:pt>
                <c:pt idx="32">
                  <c:v>1410.6935</c:v>
                </c:pt>
                <c:pt idx="33">
                  <c:v>1381.9447</c:v>
                </c:pt>
                <c:pt idx="34">
                  <c:v>1373.5818</c:v>
                </c:pt>
                <c:pt idx="35">
                  <c:v>1392.7291</c:v>
                </c:pt>
                <c:pt idx="36">
                  <c:v>1460.4967</c:v>
                </c:pt>
                <c:pt idx="37">
                  <c:v>1470.2744</c:v>
                </c:pt>
                <c:pt idx="38">
                  <c:v>1506.8858</c:v>
                </c:pt>
                <c:pt idx="39">
                  <c:v>1489.9123</c:v>
                </c:pt>
                <c:pt idx="40">
                  <c:v>1574.0764</c:v>
                </c:pt>
                <c:pt idx="41">
                  <c:v>1535.343</c:v>
                </c:pt>
                <c:pt idx="42">
                  <c:v>1569.2523</c:v>
                </c:pt>
                <c:pt idx="43">
                  <c:v>1569.2261</c:v>
                </c:pt>
                <c:pt idx="44">
                  <c:v>1554.6368</c:v>
                </c:pt>
                <c:pt idx="45">
                  <c:v>1546.716</c:v>
                </c:pt>
                <c:pt idx="46">
                  <c:v>1493.0292</c:v>
                </c:pt>
                <c:pt idx="47">
                  <c:v>1523.5159</c:v>
                </c:pt>
                <c:pt idx="48">
                  <c:v>1404.7149</c:v>
                </c:pt>
                <c:pt idx="49">
                  <c:v>1333.0844</c:v>
                </c:pt>
                <c:pt idx="50">
                  <c:v>1374.461</c:v>
                </c:pt>
                <c:pt idx="51">
                  <c:v>1357.13</c:v>
                </c:pt>
                <c:pt idx="52">
                  <c:v>1275.3569</c:v>
                </c:pt>
                <c:pt idx="53">
                  <c:v>1567.9484</c:v>
                </c:pt>
                <c:pt idx="54">
                  <c:v>1529.0611</c:v>
                </c:pt>
                <c:pt idx="55">
                  <c:v>1542.1624</c:v>
                </c:pt>
                <c:pt idx="56">
                  <c:v>1531.3442</c:v>
                </c:pt>
                <c:pt idx="57">
                  <c:v>1552.2888</c:v>
                </c:pt>
                <c:pt idx="58">
                  <c:v>1565.8599</c:v>
                </c:pt>
                <c:pt idx="59">
                  <c:v>1557.3266</c:v>
                </c:pt>
                <c:pt idx="60">
                  <c:v>1528.3196</c:v>
                </c:pt>
                <c:pt idx="61">
                  <c:v>1499.7386</c:v>
                </c:pt>
                <c:pt idx="62">
                  <c:v>1369.4318</c:v>
                </c:pt>
                <c:pt idx="63">
                  <c:v>1373.0898</c:v>
                </c:pt>
                <c:pt idx="64">
                  <c:v>1330.3309</c:v>
                </c:pt>
                <c:pt idx="65">
                  <c:v>1329.218</c:v>
                </c:pt>
                <c:pt idx="66">
                  <c:v>1533.9227</c:v>
                </c:pt>
                <c:pt idx="67">
                  <c:v>1536.8202</c:v>
                </c:pt>
                <c:pt idx="68">
                  <c:v>1496.7246</c:v>
                </c:pt>
                <c:pt idx="69">
                  <c:v>1542.0755</c:v>
                </c:pt>
                <c:pt idx="70">
                  <c:v>1607.3165</c:v>
                </c:pt>
                <c:pt idx="71">
                  <c:v>1625.3867</c:v>
                </c:pt>
                <c:pt idx="72">
                  <c:v>1591.2532</c:v>
                </c:pt>
                <c:pt idx="73">
                  <c:v>1575.4496</c:v>
                </c:pt>
                <c:pt idx="74">
                  <c:v>1418.537</c:v>
                </c:pt>
                <c:pt idx="75">
                  <c:v>1405.2523</c:v>
                </c:pt>
                <c:pt idx="76">
                  <c:v>1356.7075</c:v>
                </c:pt>
                <c:pt idx="77">
                  <c:v>1332.2588</c:v>
                </c:pt>
                <c:pt idx="78">
                  <c:v>1388.2885</c:v>
                </c:pt>
                <c:pt idx="79">
                  <c:v>1404.7675</c:v>
                </c:pt>
                <c:pt idx="80">
                  <c:v>1440.6725</c:v>
                </c:pt>
                <c:pt idx="81">
                  <c:v>1453.478</c:v>
                </c:pt>
                <c:pt idx="82">
                  <c:v>1455.9485</c:v>
                </c:pt>
                <c:pt idx="83">
                  <c:v>1429.6685</c:v>
                </c:pt>
                <c:pt idx="84">
                  <c:v>1463.7624</c:v>
                </c:pt>
                <c:pt idx="85">
                  <c:v>1452.0108</c:v>
                </c:pt>
                <c:pt idx="86">
                  <c:v>1423.1868</c:v>
                </c:pt>
                <c:pt idx="87">
                  <c:v>1436.6633</c:v>
                </c:pt>
                <c:pt idx="88">
                  <c:v>1433.1672</c:v>
                </c:pt>
                <c:pt idx="89">
                  <c:v>1490.8618</c:v>
                </c:pt>
                <c:pt idx="90">
                  <c:v>1432.082</c:v>
                </c:pt>
                <c:pt idx="91">
                  <c:v>1420.9797</c:v>
                </c:pt>
                <c:pt idx="92">
                  <c:v>1423.926</c:v>
                </c:pt>
                <c:pt idx="93">
                  <c:v>1424.5699</c:v>
                </c:pt>
                <c:pt idx="94">
                  <c:v>1494.0588</c:v>
                </c:pt>
                <c:pt idx="95">
                  <c:v>1452.4075</c:v>
                </c:pt>
                <c:pt idx="96">
                  <c:v>1339.648</c:v>
                </c:pt>
                <c:pt idx="97">
                  <c:v>1382.4174</c:v>
                </c:pt>
                <c:pt idx="98">
                  <c:v>1332.1157</c:v>
                </c:pt>
                <c:pt idx="99">
                  <c:v>1315.1882</c:v>
                </c:pt>
                <c:pt idx="100">
                  <c:v>1254.6574</c:v>
                </c:pt>
                <c:pt idx="101">
                  <c:v>1429.4049</c:v>
                </c:pt>
                <c:pt idx="102">
                  <c:v>1452.7237</c:v>
                </c:pt>
                <c:pt idx="103">
                  <c:v>1337.9678</c:v>
                </c:pt>
                <c:pt idx="104">
                  <c:v>1332.2645</c:v>
                </c:pt>
              </c:numCache>
            </c:numRef>
          </c:xVal>
          <c:yVal>
            <c:numRef>
              <c:f>Sheet1!$B$2:$B$106</c:f>
              <c:numCache>
                <c:formatCode>General</c:formatCode>
                <c:ptCount val="105"/>
                <c:pt idx="0">
                  <c:v>0.24646781789638933</c:v>
                </c:pt>
                <c:pt idx="1">
                  <c:v>0.23681377825618946</c:v>
                </c:pt>
                <c:pt idx="2">
                  <c:v>0.24925149700598803</c:v>
                </c:pt>
                <c:pt idx="3">
                  <c:v>0.2484871406959153</c:v>
                </c:pt>
                <c:pt idx="4">
                  <c:v>0.23474968447623054</c:v>
                </c:pt>
                <c:pt idx="5">
                  <c:v>0.25857002938295787</c:v>
                </c:pt>
                <c:pt idx="6">
                  <c:v>0.2729389846297159</c:v>
                </c:pt>
                <c:pt idx="7">
                  <c:v>0.26460859977949286</c:v>
                </c:pt>
                <c:pt idx="8">
                  <c:v>0.3128734383487235</c:v>
                </c:pt>
                <c:pt idx="9">
                  <c:v>0.2945334590009425</c:v>
                </c:pt>
                <c:pt idx="10">
                  <c:v>0.3076574535568645</c:v>
                </c:pt>
                <c:pt idx="11">
                  <c:v>0.3267834258863733</c:v>
                </c:pt>
                <c:pt idx="12">
                  <c:v>0.31107078039927405</c:v>
                </c:pt>
                <c:pt idx="13">
                  <c:v>0.33156173344235484</c:v>
                </c:pt>
                <c:pt idx="14">
                  <c:v>0.3236464968152866</c:v>
                </c:pt>
                <c:pt idx="15">
                  <c:v>0.33485609867519417</c:v>
                </c:pt>
                <c:pt idx="16">
                  <c:v>0.2686727565824825</c:v>
                </c:pt>
                <c:pt idx="17">
                  <c:v>0.2881081081081081</c:v>
                </c:pt>
                <c:pt idx="18">
                  <c:v>0.27448275862068966</c:v>
                </c:pt>
                <c:pt idx="19">
                  <c:v>0.2577927548441449</c:v>
                </c:pt>
                <c:pt idx="20">
                  <c:v>0.2616136919315403</c:v>
                </c:pt>
                <c:pt idx="21">
                  <c:v>0.24186390532544377</c:v>
                </c:pt>
                <c:pt idx="22">
                  <c:v>0.23089840470193115</c:v>
                </c:pt>
                <c:pt idx="23">
                  <c:v>0.20176211453744494</c:v>
                </c:pt>
                <c:pt idx="24">
                  <c:v>0.2052505966587112</c:v>
                </c:pt>
                <c:pt idx="25">
                  <c:v>0.21448467966573817</c:v>
                </c:pt>
                <c:pt idx="26">
                  <c:v>0.2039911308203991</c:v>
                </c:pt>
                <c:pt idx="27">
                  <c:v>0.21487603305785125</c:v>
                </c:pt>
                <c:pt idx="28">
                  <c:v>0.18666666666666668</c:v>
                </c:pt>
                <c:pt idx="29">
                  <c:v>0.19645390070921986</c:v>
                </c:pt>
                <c:pt idx="30">
                  <c:v>0.20563139931740615</c:v>
                </c:pt>
                <c:pt idx="31">
                  <c:v>0.19352014010507881</c:v>
                </c:pt>
                <c:pt idx="32">
                  <c:v>0.17350746268656717</c:v>
                </c:pt>
                <c:pt idx="33">
                  <c:v>0.16718027734976887</c:v>
                </c:pt>
                <c:pt idx="34">
                  <c:v>0.1853099730458221</c:v>
                </c:pt>
                <c:pt idx="35">
                  <c:v>0.207981220657277</c:v>
                </c:pt>
                <c:pt idx="36">
                  <c:v>0.1875</c:v>
                </c:pt>
                <c:pt idx="37">
                  <c:v>0.16705516705516704</c:v>
                </c:pt>
                <c:pt idx="38">
                  <c:v>0.16150442477876106</c:v>
                </c:pt>
                <c:pt idx="39">
                  <c:v>0.18269230769230768</c:v>
                </c:pt>
                <c:pt idx="40">
                  <c:v>0.17493638676844783</c:v>
                </c:pt>
                <c:pt idx="41">
                  <c:v>0.17587209302325582</c:v>
                </c:pt>
                <c:pt idx="42">
                  <c:v>0.1825938566552901</c:v>
                </c:pt>
                <c:pt idx="43">
                  <c:v>0.19452590420332355</c:v>
                </c:pt>
                <c:pt idx="44">
                  <c:v>0.1639035418236624</c:v>
                </c:pt>
                <c:pt idx="45">
                  <c:v>0.17634252539912917</c:v>
                </c:pt>
                <c:pt idx="46">
                  <c:v>0.1877282688093499</c:v>
                </c:pt>
                <c:pt idx="47">
                  <c:v>0.1716472303206997</c:v>
                </c:pt>
                <c:pt idx="48">
                  <c:v>0.1885159937073938</c:v>
                </c:pt>
                <c:pt idx="49">
                  <c:v>0.21514601550899193</c:v>
                </c:pt>
                <c:pt idx="50">
                  <c:v>0.20317087492660013</c:v>
                </c:pt>
                <c:pt idx="51">
                  <c:v>0.19182825484764543</c:v>
                </c:pt>
                <c:pt idx="52">
                  <c:v>0.20856760374832664</c:v>
                </c:pt>
                <c:pt idx="53">
                  <c:v>0.20828355236957388</c:v>
                </c:pt>
                <c:pt idx="54">
                  <c:v>0.1936897458369851</c:v>
                </c:pt>
                <c:pt idx="55">
                  <c:v>0.20881782945736435</c:v>
                </c:pt>
                <c:pt idx="56">
                  <c:v>0.22857142857142856</c:v>
                </c:pt>
                <c:pt idx="57">
                  <c:v>0.21715017064846417</c:v>
                </c:pt>
                <c:pt idx="58">
                  <c:v>0.21819554548886372</c:v>
                </c:pt>
                <c:pt idx="59">
                  <c:v>0.1956928838951311</c:v>
                </c:pt>
                <c:pt idx="60">
                  <c:v>0.19836552748885586</c:v>
                </c:pt>
                <c:pt idx="61">
                  <c:v>0.2195483154387264</c:v>
                </c:pt>
                <c:pt idx="62">
                  <c:v>0.25160316861561677</c:v>
                </c:pt>
                <c:pt idx="63">
                  <c:v>0.2547504025764895</c:v>
                </c:pt>
                <c:pt idx="64">
                  <c:v>0.2556136573362042</c:v>
                </c:pt>
                <c:pt idx="65">
                  <c:v>0.2603101286704058</c:v>
                </c:pt>
                <c:pt idx="66">
                  <c:v>0.24170796797560046</c:v>
                </c:pt>
                <c:pt idx="67">
                  <c:v>0.2535377358490566</c:v>
                </c:pt>
                <c:pt idx="68">
                  <c:v>0.22793770646531383</c:v>
                </c:pt>
                <c:pt idx="69">
                  <c:v>0.2358550540368722</c:v>
                </c:pt>
                <c:pt idx="70">
                  <c:v>0.22787878787878788</c:v>
                </c:pt>
                <c:pt idx="71">
                  <c:v>0.1995177817962628</c:v>
                </c:pt>
                <c:pt idx="72">
                  <c:v>0.21424657534246574</c:v>
                </c:pt>
                <c:pt idx="73">
                  <c:v>0.22598556357579122</c:v>
                </c:pt>
                <c:pt idx="74">
                  <c:v>0.23986674069961134</c:v>
                </c:pt>
                <c:pt idx="75">
                  <c:v>0.2230610844200412</c:v>
                </c:pt>
                <c:pt idx="76">
                  <c:v>0.22812051649928264</c:v>
                </c:pt>
                <c:pt idx="77">
                  <c:v>0.21995783555867884</c:v>
                </c:pt>
                <c:pt idx="78">
                  <c:v>0.2052091554853986</c:v>
                </c:pt>
                <c:pt idx="79">
                  <c:v>0.21456848772763262</c:v>
                </c:pt>
                <c:pt idx="80">
                  <c:v>0.18261562998405104</c:v>
                </c:pt>
                <c:pt idx="81">
                  <c:v>0.1957531519575315</c:v>
                </c:pt>
                <c:pt idx="82">
                  <c:v>0.19729043183742592</c:v>
                </c:pt>
                <c:pt idx="83">
                  <c:v>0.19553666312433582</c:v>
                </c:pt>
                <c:pt idx="84">
                  <c:v>0.19358288770053475</c:v>
                </c:pt>
                <c:pt idx="85">
                  <c:v>0.1875</c:v>
                </c:pt>
                <c:pt idx="86">
                  <c:v>0.192524682651622</c:v>
                </c:pt>
                <c:pt idx="87">
                  <c:v>0.2279495990836197</c:v>
                </c:pt>
                <c:pt idx="88">
                  <c:v>0.20647482014388488</c:v>
                </c:pt>
                <c:pt idx="89">
                  <c:v>0.19584837545126355</c:v>
                </c:pt>
                <c:pt idx="90">
                  <c:v>0.17630057803468208</c:v>
                </c:pt>
                <c:pt idx="91">
                  <c:v>0.20431893687707642</c:v>
                </c:pt>
                <c:pt idx="92">
                  <c:v>0.20420223243598162</c:v>
                </c:pt>
                <c:pt idx="93">
                  <c:v>0.17589175891758918</c:v>
                </c:pt>
                <c:pt idx="94">
                  <c:v>0.15673758865248227</c:v>
                </c:pt>
                <c:pt idx="95">
                  <c:v>0.17133670188332567</c:v>
                </c:pt>
                <c:pt idx="96">
                  <c:v>0.1562272396212673</c:v>
                </c:pt>
                <c:pt idx="97">
                  <c:v>0.14799728445349628</c:v>
                </c:pt>
                <c:pt idx="98">
                  <c:v>0.17375071797817346</c:v>
                </c:pt>
                <c:pt idx="99">
                  <c:v>0.17137526652452026</c:v>
                </c:pt>
                <c:pt idx="100">
                  <c:v>0.21398713826366558</c:v>
                </c:pt>
                <c:pt idx="101">
                  <c:v>0.18238434163701067</c:v>
                </c:pt>
                <c:pt idx="102">
                  <c:v>0.15510073552926126</c:v>
                </c:pt>
                <c:pt idx="103">
                  <c:v>0.17115072933549433</c:v>
                </c:pt>
                <c:pt idx="104">
                  <c:v>0.17316636851520573</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51.4726</c:v>
                </c:pt>
                <c:pt idx="1">
                  <c:v>1479.599</c:v>
                </c:pt>
                <c:pt idx="2">
                  <c:v>1494.4188</c:v>
                </c:pt>
                <c:pt idx="3">
                  <c:v>1523.6123</c:v>
                </c:pt>
                <c:pt idx="4">
                  <c:v>1516.8518</c:v>
                </c:pt>
                <c:pt idx="5">
                  <c:v>1526.9066</c:v>
                </c:pt>
                <c:pt idx="6">
                  <c:v>1478.0878</c:v>
                </c:pt>
                <c:pt idx="7">
                  <c:v>1440.1994</c:v>
                </c:pt>
                <c:pt idx="8">
                  <c:v>1495.0586</c:v>
                </c:pt>
                <c:pt idx="9">
                  <c:v>1298.221</c:v>
                </c:pt>
                <c:pt idx="10">
                  <c:v>1357.4147</c:v>
                </c:pt>
                <c:pt idx="11">
                  <c:v>1467.9516</c:v>
                </c:pt>
                <c:pt idx="12">
                  <c:v>1460.3887</c:v>
                </c:pt>
                <c:pt idx="13">
                  <c:v>1331.4556</c:v>
                </c:pt>
                <c:pt idx="14">
                  <c:v>1406.9814</c:v>
                </c:pt>
                <c:pt idx="15">
                  <c:v>1354.217</c:v>
                </c:pt>
                <c:pt idx="16">
                  <c:v>1347.5964</c:v>
                </c:pt>
                <c:pt idx="17">
                  <c:v>1224.2531</c:v>
                </c:pt>
                <c:pt idx="18">
                  <c:v>1262.2825</c:v>
                </c:pt>
                <c:pt idx="19">
                  <c:v>1329.3205</c:v>
                </c:pt>
                <c:pt idx="20">
                  <c:v>1346.8547</c:v>
                </c:pt>
                <c:pt idx="21">
                  <c:v>1384.0943</c:v>
                </c:pt>
                <c:pt idx="22">
                  <c:v>1379.9818</c:v>
                </c:pt>
                <c:pt idx="23">
                  <c:v>1194.7599</c:v>
                </c:pt>
                <c:pt idx="24">
                  <c:v>1228.3412</c:v>
                </c:pt>
                <c:pt idx="25">
                  <c:v>1219.5656</c:v>
                </c:pt>
                <c:pt idx="26">
                  <c:v>1214.1906</c:v>
                </c:pt>
                <c:pt idx="27">
                  <c:v>1343.597</c:v>
                </c:pt>
                <c:pt idx="28">
                  <c:v>1488.0172</c:v>
                </c:pt>
                <c:pt idx="29">
                  <c:v>1543.767</c:v>
                </c:pt>
                <c:pt idx="30">
                  <c:v>1493.3333</c:v>
                </c:pt>
                <c:pt idx="31">
                  <c:v>1457.872</c:v>
                </c:pt>
                <c:pt idx="32">
                  <c:v>1518.9516</c:v>
                </c:pt>
                <c:pt idx="33">
                  <c:v>1535.1852</c:v>
                </c:pt>
                <c:pt idx="34">
                  <c:v>1542.3679</c:v>
                </c:pt>
                <c:pt idx="35">
                  <c:v>1535.9635</c:v>
                </c:pt>
                <c:pt idx="36">
                  <c:v>1256.1461</c:v>
                </c:pt>
                <c:pt idx="37">
                  <c:v>1347.0638</c:v>
                </c:pt>
                <c:pt idx="38">
                  <c:v>1335.6228</c:v>
                </c:pt>
                <c:pt idx="39">
                  <c:v>1493.1131</c:v>
                </c:pt>
                <c:pt idx="40">
                  <c:v>1526.7788</c:v>
                </c:pt>
                <c:pt idx="41">
                  <c:v>1581.0653</c:v>
                </c:pt>
                <c:pt idx="42">
                  <c:v>1614.7527</c:v>
                </c:pt>
                <c:pt idx="43">
                  <c:v>1536.7593</c:v>
                </c:pt>
                <c:pt idx="44">
                  <c:v>1451.3742</c:v>
                </c:pt>
                <c:pt idx="45">
                  <c:v>1346.7569</c:v>
                </c:pt>
                <c:pt idx="46">
                  <c:v>1295.5961</c:v>
                </c:pt>
                <c:pt idx="47">
                  <c:v>1372.6636</c:v>
                </c:pt>
                <c:pt idx="48">
                  <c:v>1267.9339</c:v>
                </c:pt>
                <c:pt idx="49">
                  <c:v>1213.532</c:v>
                </c:pt>
                <c:pt idx="50">
                  <c:v>1187.6594</c:v>
                </c:pt>
                <c:pt idx="51">
                  <c:v>1251.1463</c:v>
                </c:pt>
              </c:numCache>
            </c:numRef>
          </c:xVal>
          <c:yVal>
            <c:numRef>
              <c:f>Sheet1!$B$109:$B$160</c:f>
              <c:numCache>
                <c:formatCode>General</c:formatCode>
                <c:ptCount val="52"/>
                <c:pt idx="0">
                  <c:v>0.17626027887021808</c:v>
                </c:pt>
                <c:pt idx="1">
                  <c:v>0.15874233128834356</c:v>
                </c:pt>
                <c:pt idx="2">
                  <c:v>0.156</c:v>
                </c:pt>
                <c:pt idx="3">
                  <c:v>0.1501749920458161</c:v>
                </c:pt>
                <c:pt idx="4">
                  <c:v>0.14301113905856988</c:v>
                </c:pt>
                <c:pt idx="5">
                  <c:v>0.14285714285714285</c:v>
                </c:pt>
                <c:pt idx="6">
                  <c:v>0.17104714226115977</c:v>
                </c:pt>
                <c:pt idx="7">
                  <c:v>0.201093560145808</c:v>
                </c:pt>
                <c:pt idx="8">
                  <c:v>0.2039018250471995</c:v>
                </c:pt>
                <c:pt idx="9">
                  <c:v>0.2663622526636225</c:v>
                </c:pt>
                <c:pt idx="10">
                  <c:v>0.23136872868972236</c:v>
                </c:pt>
                <c:pt idx="11">
                  <c:v>0.22610526315789473</c:v>
                </c:pt>
                <c:pt idx="12">
                  <c:v>0.20411663807890223</c:v>
                </c:pt>
                <c:pt idx="13">
                  <c:v>0.22085889570552147</c:v>
                </c:pt>
                <c:pt idx="14">
                  <c:v>0.22938388625592418</c:v>
                </c:pt>
                <c:pt idx="15">
                  <c:v>0.23398196487897485</c:v>
                </c:pt>
                <c:pt idx="16">
                  <c:v>0.21755935946990612</c:v>
                </c:pt>
                <c:pt idx="17">
                  <c:v>0.2289156626506024</c:v>
                </c:pt>
                <c:pt idx="18">
                  <c:v>0.20836560805577073</c:v>
                </c:pt>
                <c:pt idx="19">
                  <c:v>0.20750426378624218</c:v>
                </c:pt>
                <c:pt idx="20">
                  <c:v>0.19473684210526315</c:v>
                </c:pt>
                <c:pt idx="21">
                  <c:v>0.19776119402985073</c:v>
                </c:pt>
                <c:pt idx="22">
                  <c:v>0.2037037037037037</c:v>
                </c:pt>
                <c:pt idx="23">
                  <c:v>0.2593856655290102</c:v>
                </c:pt>
                <c:pt idx="24">
                  <c:v>0.28286189683860236</c:v>
                </c:pt>
                <c:pt idx="25">
                  <c:v>0.31244979919678717</c:v>
                </c:pt>
                <c:pt idx="26">
                  <c:v>0.2894935752078609</c:v>
                </c:pt>
                <c:pt idx="27">
                  <c:v>0.18063186813186813</c:v>
                </c:pt>
                <c:pt idx="28">
                  <c:v>0.16235129461161651</c:v>
                </c:pt>
                <c:pt idx="29">
                  <c:v>0.14402618657937807</c:v>
                </c:pt>
                <c:pt idx="30">
                  <c:v>0.16216216216216217</c:v>
                </c:pt>
                <c:pt idx="31">
                  <c:v>0.13130252100840337</c:v>
                </c:pt>
                <c:pt idx="32">
                  <c:v>0.12770339855818744</c:v>
                </c:pt>
                <c:pt idx="33">
                  <c:v>0.14862385321100918</c:v>
                </c:pt>
                <c:pt idx="34">
                  <c:v>0.1849912739965096</c:v>
                </c:pt>
                <c:pt idx="35">
                  <c:v>0.19606674612634087</c:v>
                </c:pt>
                <c:pt idx="36">
                  <c:v>0.20319634703196346</c:v>
                </c:pt>
                <c:pt idx="37">
                  <c:v>0.17836812144212524</c:v>
                </c:pt>
                <c:pt idx="38">
                  <c:v>0.18555555555555556</c:v>
                </c:pt>
                <c:pt idx="39">
                  <c:v>0.16654107008289373</c:v>
                </c:pt>
                <c:pt idx="40">
                  <c:v>0.15757575757575756</c:v>
                </c:pt>
                <c:pt idx="41">
                  <c:v>0.14557425018288223</c:v>
                </c:pt>
                <c:pt idx="42">
                  <c:v>0.1512884455527847</c:v>
                </c:pt>
                <c:pt idx="43">
                  <c:v>0.15481651376146788</c:v>
                </c:pt>
                <c:pt idx="44">
                  <c:v>0.150354609929078</c:v>
                </c:pt>
                <c:pt idx="45">
                  <c:v>0.1888038942976356</c:v>
                </c:pt>
                <c:pt idx="46">
                  <c:v>0.18329571106094808</c:v>
                </c:pt>
                <c:pt idx="47">
                  <c:v>0.18854625550660792</c:v>
                </c:pt>
                <c:pt idx="48">
                  <c:v>0.16342692584593232</c:v>
                </c:pt>
                <c:pt idx="49">
                  <c:v>0.19657142857142856</c:v>
                </c:pt>
                <c:pt idx="50">
                  <c:v>0.23446561723280862</c:v>
                </c:pt>
                <c:pt idx="51">
                  <c:v>0.20645734597156398</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05.4121712525218</c:v>
                </c:pt>
              </c:numCache>
            </c:numRef>
          </c:xVal>
          <c:yVal>
            <c:numRef>
              <c:f>Sheet1!$B$163:$B$164</c:f>
              <c:numCache>
                <c:formatCode>General</c:formatCode>
                <c:ptCount val="2"/>
                <c:pt idx="0">
                  <c:v>0.29404949409143843</c:v>
                </c:pt>
                <c:pt idx="1">
                  <c:v>0.2940494940914384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05.4121712525218</c:v>
                </c:pt>
                <c:pt idx="1">
                  <c:v>1005.4121712525218</c:v>
                </c:pt>
              </c:numCache>
            </c:numRef>
          </c:xVal>
          <c:yVal>
            <c:numRef>
              <c:f>Sheet1!$B$167:$B$168</c:f>
              <c:numCache>
                <c:formatCode>General</c:formatCode>
                <c:ptCount val="2"/>
                <c:pt idx="0">
                  <c:v>0.294049494091438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90.402691820692</c:v>
                </c:pt>
              </c:numCache>
            </c:numRef>
          </c:xVal>
          <c:yVal>
            <c:numRef>
              <c:f>Sheet1!$B$171:$B$172</c:f>
              <c:numCache>
                <c:formatCode>General</c:formatCode>
                <c:ptCount val="2"/>
                <c:pt idx="0">
                  <c:v>0.2205400430406306</c:v>
                </c:pt>
                <c:pt idx="1">
                  <c:v>0.220540043040630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90.402691820692</c:v>
                </c:pt>
                <c:pt idx="1">
                  <c:v>1290.402691820692</c:v>
                </c:pt>
              </c:numCache>
            </c:numRef>
          </c:xVal>
          <c:yVal>
            <c:numRef>
              <c:f>Sheet1!$B$175:$B$176</c:f>
              <c:numCache>
                <c:formatCode>General</c:formatCode>
                <c:ptCount val="2"/>
                <c:pt idx="0">
                  <c:v>0.22054004304063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63.1651842169115</c:v>
                </c:pt>
              </c:numCache>
            </c:numRef>
          </c:xVal>
          <c:yVal>
            <c:numRef>
              <c:f>Sheet1!$B$179:$B$180</c:f>
              <c:numCache>
                <c:formatCode>General</c:formatCode>
                <c:ptCount val="2"/>
                <c:pt idx="0">
                  <c:v>0.17597829427475303</c:v>
                </c:pt>
                <c:pt idx="1">
                  <c:v>0.1759782942747530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63.1651842169115</c:v>
                </c:pt>
                <c:pt idx="1">
                  <c:v>1463.1651842169115</c:v>
                </c:pt>
              </c:numCache>
            </c:numRef>
          </c:xVal>
          <c:yVal>
            <c:numRef>
              <c:f>Sheet1!$B$183:$B$184</c:f>
              <c:numCache>
                <c:formatCode>General</c:formatCode>
                <c:ptCount val="2"/>
                <c:pt idx="0">
                  <c:v>0.1759782942747530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51.4726</c:v>
                </c:pt>
                <c:pt idx="1">
                  <c:v>1479.599</c:v>
                </c:pt>
                <c:pt idx="2">
                  <c:v>1494.4188</c:v>
                </c:pt>
                <c:pt idx="3">
                  <c:v>1523.6123</c:v>
                </c:pt>
                <c:pt idx="4">
                  <c:v>1516.8518</c:v>
                </c:pt>
                <c:pt idx="5">
                  <c:v>1526.9066</c:v>
                </c:pt>
                <c:pt idx="6">
                  <c:v>1478.0878</c:v>
                </c:pt>
                <c:pt idx="7">
                  <c:v>1440.1994</c:v>
                </c:pt>
                <c:pt idx="8">
                  <c:v>1495.0586</c:v>
                </c:pt>
                <c:pt idx="9">
                  <c:v>1298.221</c:v>
                </c:pt>
                <c:pt idx="10">
                  <c:v>1357.4147</c:v>
                </c:pt>
                <c:pt idx="11">
                  <c:v>1467.9516</c:v>
                </c:pt>
                <c:pt idx="12">
                  <c:v>1460.3887</c:v>
                </c:pt>
                <c:pt idx="13">
                  <c:v>1331.4556</c:v>
                </c:pt>
                <c:pt idx="14">
                  <c:v>1406.9814</c:v>
                </c:pt>
                <c:pt idx="15">
                  <c:v>1354.217</c:v>
                </c:pt>
                <c:pt idx="16">
                  <c:v>1347.5964</c:v>
                </c:pt>
                <c:pt idx="17">
                  <c:v>1224.2531</c:v>
                </c:pt>
                <c:pt idx="18">
                  <c:v>1262.2825</c:v>
                </c:pt>
                <c:pt idx="19">
                  <c:v>1329.3205</c:v>
                </c:pt>
                <c:pt idx="20">
                  <c:v>1346.8547</c:v>
                </c:pt>
                <c:pt idx="21">
                  <c:v>1384.0943</c:v>
                </c:pt>
                <c:pt idx="22">
                  <c:v>1379.9818</c:v>
                </c:pt>
                <c:pt idx="23">
                  <c:v>1194.7599</c:v>
                </c:pt>
                <c:pt idx="24">
                  <c:v>1228.3412</c:v>
                </c:pt>
                <c:pt idx="25">
                  <c:v>1219.5656</c:v>
                </c:pt>
                <c:pt idx="26">
                  <c:v>1214.1906</c:v>
                </c:pt>
                <c:pt idx="27">
                  <c:v>1343.597</c:v>
                </c:pt>
                <c:pt idx="28">
                  <c:v>1488.0172</c:v>
                </c:pt>
                <c:pt idx="29">
                  <c:v>1543.767</c:v>
                </c:pt>
                <c:pt idx="30">
                  <c:v>1493.3333</c:v>
                </c:pt>
                <c:pt idx="31">
                  <c:v>1457.872</c:v>
                </c:pt>
                <c:pt idx="32">
                  <c:v>1518.9516</c:v>
                </c:pt>
                <c:pt idx="33">
                  <c:v>1535.1852</c:v>
                </c:pt>
                <c:pt idx="34">
                  <c:v>1542.3679</c:v>
                </c:pt>
                <c:pt idx="35">
                  <c:v>1535.9635</c:v>
                </c:pt>
                <c:pt idx="36">
                  <c:v>1256.1461</c:v>
                </c:pt>
                <c:pt idx="37">
                  <c:v>1347.0638</c:v>
                </c:pt>
                <c:pt idx="38">
                  <c:v>1335.6228</c:v>
                </c:pt>
                <c:pt idx="39">
                  <c:v>1493.1131</c:v>
                </c:pt>
                <c:pt idx="40">
                  <c:v>1526.7788</c:v>
                </c:pt>
                <c:pt idx="41">
                  <c:v>1581.0653</c:v>
                </c:pt>
                <c:pt idx="42">
                  <c:v>1614.7527</c:v>
                </c:pt>
                <c:pt idx="43">
                  <c:v>1536.7593</c:v>
                </c:pt>
                <c:pt idx="44">
                  <c:v>1451.3742</c:v>
                </c:pt>
                <c:pt idx="45">
                  <c:v>1346.7569</c:v>
                </c:pt>
                <c:pt idx="46">
                  <c:v>1295.5961</c:v>
                </c:pt>
                <c:pt idx="47">
                  <c:v>1372.6636</c:v>
                </c:pt>
                <c:pt idx="48">
                  <c:v>1267.9339</c:v>
                </c:pt>
                <c:pt idx="49">
                  <c:v>1213.532</c:v>
                </c:pt>
                <c:pt idx="50">
                  <c:v>1187.6594</c:v>
                </c:pt>
                <c:pt idx="51">
                  <c:v>1251.1463</c:v>
                </c:pt>
                <c:pt idx="52">
                  <c:v>1290.402691820692</c:v>
                </c:pt>
                <c:pt idx="53">
                  <c:v>1005.4121712525218</c:v>
                </c:pt>
                <c:pt idx="54">
                  <c:v>1463.1651842169115</c:v>
                </c:pt>
              </c:numCache>
            </c:numRef>
          </c:xVal>
          <c:yVal>
            <c:numRef>
              <c:f>Sheet1!$B$187:$B$241</c:f>
              <c:numCache>
                <c:formatCode>General</c:formatCode>
                <c:ptCount val="55"/>
                <c:pt idx="0">
                  <c:v>0.17899423826277383</c:v>
                </c:pt>
                <c:pt idx="1">
                  <c:v>0.17173941371663293</c:v>
                </c:pt>
                <c:pt idx="2">
                  <c:v>0.16791684670454116</c:v>
                </c:pt>
                <c:pt idx="3">
                  <c:v>0.16038677814305563</c:v>
                </c:pt>
                <c:pt idx="4">
                  <c:v>0.16213055770048873</c:v>
                </c:pt>
                <c:pt idx="5">
                  <c:v>0.15953705800459667</c:v>
                </c:pt>
                <c:pt idx="6">
                  <c:v>0.17212920732172027</c:v>
                </c:pt>
                <c:pt idx="7">
                  <c:v>0.18190200776308518</c:v>
                </c:pt>
                <c:pt idx="8">
                  <c:v>0.16775181894611413</c:v>
                </c:pt>
                <c:pt idx="9">
                  <c:v>0.2185234161673536</c:v>
                </c:pt>
                <c:pt idx="10">
                  <c:v>0.2032552016878289</c:v>
                </c:pt>
                <c:pt idx="11">
                  <c:v>0.17474370304689635</c:v>
                </c:pt>
                <c:pt idx="12">
                  <c:v>0.17669445083402907</c:v>
                </c:pt>
                <c:pt idx="13">
                  <c:v>0.20995100050586918</c:v>
                </c:pt>
                <c:pt idx="14">
                  <c:v>0.19047014167903992</c:v>
                </c:pt>
                <c:pt idx="15">
                  <c:v>0.20408000516254288</c:v>
                </c:pt>
                <c:pt idx="16">
                  <c:v>0.20578769940674696</c:v>
                </c:pt>
                <c:pt idx="17">
                  <c:v>0.23760243575558737</c:v>
                </c:pt>
                <c:pt idx="18">
                  <c:v>0.22779326627086793</c:v>
                </c:pt>
                <c:pt idx="19">
                  <c:v>0.21050172067938816</c:v>
                </c:pt>
                <c:pt idx="20">
                  <c:v>0.20597901089225068</c:v>
                </c:pt>
                <c:pt idx="21">
                  <c:v>0.196373559637612</c:v>
                </c:pt>
                <c:pt idx="22">
                  <c:v>0.19743432340211808</c:v>
                </c:pt>
                <c:pt idx="23">
                  <c:v>0.24520980787943691</c:v>
                </c:pt>
                <c:pt idx="24">
                  <c:v>0.2365479656411369</c:v>
                </c:pt>
                <c:pt idx="25">
                  <c:v>0.23881151299476605</c:v>
                </c:pt>
                <c:pt idx="26">
                  <c:v>0.24019792156235764</c:v>
                </c:pt>
                <c:pt idx="27">
                  <c:v>0.20681929055562615</c:v>
                </c:pt>
                <c:pt idx="28">
                  <c:v>0.1695680528601307</c:v>
                </c:pt>
                <c:pt idx="29">
                  <c:v>0.15518814581612767</c:v>
                </c:pt>
                <c:pt idx="30">
                  <c:v>0.16819683675107516</c:v>
                </c:pt>
                <c:pt idx="31">
                  <c:v>0.17734359956743517</c:v>
                </c:pt>
                <c:pt idx="32">
                  <c:v>0.1615889426846322</c:v>
                </c:pt>
                <c:pt idx="33">
                  <c:v>0.1574017050803802</c:v>
                </c:pt>
                <c:pt idx="34">
                  <c:v>0.15554902474206578</c:v>
                </c:pt>
                <c:pt idx="35">
                  <c:v>0.15720095311979293</c:v>
                </c:pt>
                <c:pt idx="36">
                  <c:v>0.2293760676725738</c:v>
                </c:pt>
                <c:pt idx="37">
                  <c:v>0.20592507637476543</c:v>
                </c:pt>
                <c:pt idx="38">
                  <c:v>0.2088761276160333</c:v>
                </c:pt>
                <c:pt idx="39">
                  <c:v>0.16825363436346286</c:v>
                </c:pt>
                <c:pt idx="40">
                  <c:v>0.15957002228644562</c:v>
                </c:pt>
                <c:pt idx="41">
                  <c:v>0.14556755369024849</c:v>
                </c:pt>
                <c:pt idx="42">
                  <c:v>0.1368783443916654</c:v>
                </c:pt>
                <c:pt idx="43">
                  <c:v>0.15699568727084612</c:v>
                </c:pt>
                <c:pt idx="44">
                  <c:v>0.17901961921217868</c:v>
                </c:pt>
                <c:pt idx="45">
                  <c:v>0.2060042370797689</c:v>
                </c:pt>
                <c:pt idx="46">
                  <c:v>0.2192004736276459</c:v>
                </c:pt>
                <c:pt idx="47">
                  <c:v>0.19932195413315967</c:v>
                </c:pt>
                <c:pt idx="48">
                  <c:v>0.22633556406084243</c:v>
                </c:pt>
                <c:pt idx="49">
                  <c:v>0.2403677985265652</c:v>
                </c:pt>
                <c:pt idx="50">
                  <c:v>0.24704128583928509</c:v>
                </c:pt>
                <c:pt idx="51">
                  <c:v>0.23066569847373547</c:v>
                </c:pt>
                <c:pt idx="52">
                  <c:v>0.22054004304063057</c:v>
                </c:pt>
                <c:pt idx="53">
                  <c:v>0.29404949409143843</c:v>
                </c:pt>
                <c:pt idx="54">
                  <c:v>0.1759782942747530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950.0"/>
          <c:min val="77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1827318410233"/>
          <c:min val="0.102162718846549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9</c:f>
              <c:numCache>
                <c:formatCode>General</c:formatCode>
                <c:ptCount val="28"/>
                <c:pt idx="0">
                  <c:v>0.0</c:v>
                </c:pt>
                <c:pt idx="1">
                  <c:v>0.0</c:v>
                </c:pt>
                <c:pt idx="2">
                  <c:v>0.0</c:v>
                </c:pt>
                <c:pt idx="3">
                  <c:v>0.721519168591224</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numCache>
            </c:numRef>
          </c:xVal>
          <c:yVal>
            <c:numRef>
              <c:f>Sheet1!$B$2:$B$29</c:f>
              <c:numCache>
                <c:formatCode>General</c:formatCode>
                <c:ptCount val="28"/>
                <c:pt idx="0">
                  <c:v>0.24646781789638933</c:v>
                </c:pt>
                <c:pt idx="1">
                  <c:v>0.23681377825618946</c:v>
                </c:pt>
                <c:pt idx="2">
                  <c:v>0.24925149700598803</c:v>
                </c:pt>
                <c:pt idx="3">
                  <c:v>0.2484871406959153</c:v>
                </c:pt>
                <c:pt idx="4">
                  <c:v>0.23474968447623054</c:v>
                </c:pt>
                <c:pt idx="5">
                  <c:v>0.25857002938295787</c:v>
                </c:pt>
                <c:pt idx="6">
                  <c:v>0.2729389846297159</c:v>
                </c:pt>
                <c:pt idx="7">
                  <c:v>0.26460859977949286</c:v>
                </c:pt>
                <c:pt idx="8">
                  <c:v>0.3128734383487235</c:v>
                </c:pt>
                <c:pt idx="9">
                  <c:v>0.2945334590009425</c:v>
                </c:pt>
                <c:pt idx="10">
                  <c:v>0.3076574535568645</c:v>
                </c:pt>
                <c:pt idx="11">
                  <c:v>0.3267834258863733</c:v>
                </c:pt>
                <c:pt idx="12">
                  <c:v>0.31107078039927405</c:v>
                </c:pt>
                <c:pt idx="13">
                  <c:v>0.33156173344235484</c:v>
                </c:pt>
                <c:pt idx="14">
                  <c:v>0.3236464968152866</c:v>
                </c:pt>
                <c:pt idx="15">
                  <c:v>0.33485609867519417</c:v>
                </c:pt>
                <c:pt idx="16">
                  <c:v>0.2686727565824825</c:v>
                </c:pt>
                <c:pt idx="17">
                  <c:v>0.27448275862068966</c:v>
                </c:pt>
                <c:pt idx="18">
                  <c:v>0.2577927548441449</c:v>
                </c:pt>
                <c:pt idx="19">
                  <c:v>0.24186390532544377</c:v>
                </c:pt>
                <c:pt idx="20">
                  <c:v>0.23089840470193115</c:v>
                </c:pt>
                <c:pt idx="21">
                  <c:v>0.20176211453744494</c:v>
                </c:pt>
                <c:pt idx="22">
                  <c:v>0.21487603305785125</c:v>
                </c:pt>
                <c:pt idx="23">
                  <c:v>0.19352014010507881</c:v>
                </c:pt>
                <c:pt idx="24">
                  <c:v>0.1853099730458221</c:v>
                </c:pt>
                <c:pt idx="25">
                  <c:v>0.17493638676844783</c:v>
                </c:pt>
                <c:pt idx="26">
                  <c:v>0.1716472303206997</c:v>
                </c:pt>
                <c:pt idx="27">
                  <c:v>0.20881782945736435</c:v>
                </c:pt>
              </c:numCache>
            </c:numRef>
          </c:yVal>
          <c:smooth val="0"/>
          <c:extLst>
            <c:ext xmlns:c16="http://schemas.microsoft.com/office/drawing/2014/chart" uri="{C3380CC4-5D6E-409C-BE32-E72D297353CC}">
              <c16:uniqueId val="{00000000-096C-4121-9522-6AB7243CCAAE}"/>
            </c:ext>
          </c:extLst>
        </c:ser>
        <c:ser>
          <c:idx val="1"/>
          <c:order val="1"/>
          <c:tx>
            <c:strRef>
              <c:f>Sheet1!$B$3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32:$A$31</c:f>
              <c:numCache>
                <c:formatCode>General</c:formatCode>
                <c:ptCount val="0"/>
              </c:numCache>
            </c:numRef>
          </c:xVal>
          <c:yVal>
            <c:numRef>
              <c:f>Sheet1!$B$32:$B$31</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3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34:$A$35</c:f>
              <c:numCache>
                <c:formatCode>General</c:formatCode>
                <c:ptCount val="2"/>
                <c:pt idx="0">
                  <c:v>0</c:v>
                </c:pt>
                <c:pt idx="1">
                  <c:v>0.29753832937718644</c:v>
                </c:pt>
              </c:numCache>
            </c:numRef>
          </c:xVal>
          <c:yVal>
            <c:numRef>
              <c:f>Sheet1!$B$34:$B$35</c:f>
              <c:numCache>
                <c:formatCode>General</c:formatCode>
                <c:ptCount val="2"/>
                <c:pt idx="0">
                  <c:v>0.29753832937718644</c:v>
                </c:pt>
                <c:pt idx="1">
                  <c:v>0.29753832937718644</c:v>
                </c:pt>
              </c:numCache>
            </c:numRef>
          </c:yVal>
          <c:smooth val="0"/>
          <c:extLst>
            <c:ext xmlns:c16="http://schemas.microsoft.com/office/drawing/2014/chart" uri="{C3380CC4-5D6E-409C-BE32-E72D297353CC}">
              <c16:uniqueId val="{00000005-096C-4121-9522-6AB7243CCAAE}"/>
            </c:ext>
          </c:extLst>
        </c:ser>
        <c:ser>
          <c:idx val="3"/>
          <c:order val="3"/>
          <c:tx>
            <c:strRef>
              <c:f>Sheet1!$B$3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8:$A$39</c:f>
              <c:numCache>
                <c:formatCode>General</c:formatCode>
                <c:ptCount val="2"/>
                <c:pt idx="0">
                  <c:v>0.29753832937718644</c:v>
                </c:pt>
                <c:pt idx="1">
                  <c:v>0.29753832937718644</c:v>
                </c:pt>
              </c:numCache>
            </c:numRef>
          </c:xVal>
          <c:yVal>
            <c:numRef>
              <c:f>Sheet1!$B$38:$B$39</c:f>
              <c:numCache>
                <c:formatCode>General</c:formatCode>
                <c:ptCount val="2"/>
                <c:pt idx="0">
                  <c:v>0.2975383293771864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41</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42:$A$44</c:f>
              <c:numCache>
                <c:formatCode>General</c:formatCode>
                <c:ptCount val="3"/>
                <c:pt idx="0">
                  <c:v>0</c:v>
                </c:pt>
                <c:pt idx="1">
                  <c:v>0.29753832937718644</c:v>
                </c:pt>
                <c:pt idx="2">
                  <c:v>0</c:v>
                </c:pt>
              </c:numCache>
            </c:numRef>
          </c:xVal>
          <c:yVal>
            <c:numRef>
              <c:f>Sheet1!$B$42:$B$44</c:f>
              <c:numCache>
                <c:formatCode>General</c:formatCode>
                <c:ptCount val="3"/>
                <c:pt idx="0">
                  <c:v>0</c:v>
                </c:pt>
                <c:pt idx="1">
                  <c:v>0.29753832937718644</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Mustel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1827318410233"/>
          <c:min val="0.1373177842565597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9</c:f>
              <c:numCache>
                <c:formatCode>General</c:formatCode>
                <c:ptCount val="28"/>
                <c:pt idx="0">
                  <c:v>1114.6866</c:v>
                </c:pt>
                <c:pt idx="1">
                  <c:v>1252.7727</c:v>
                </c:pt>
                <c:pt idx="2">
                  <c:v>1241.3303</c:v>
                </c:pt>
                <c:pt idx="3">
                  <c:v>1249.6712</c:v>
                </c:pt>
                <c:pt idx="4">
                  <c:v>1250.4695</c:v>
                </c:pt>
                <c:pt idx="5">
                  <c:v>1219.7689</c:v>
                </c:pt>
                <c:pt idx="6">
                  <c:v>1243.0819</c:v>
                </c:pt>
                <c:pt idx="7">
                  <c:v>1230.6646</c:v>
                </c:pt>
                <c:pt idx="8">
                  <c:v>1171.1892</c:v>
                </c:pt>
                <c:pt idx="9">
                  <c:v>1148.5424</c:v>
                </c:pt>
                <c:pt idx="10">
                  <c:v>1061.1031</c:v>
                </c:pt>
                <c:pt idx="11">
                  <c:v>967.6954</c:v>
                </c:pt>
                <c:pt idx="12">
                  <c:v>995.4971</c:v>
                </c:pt>
                <c:pt idx="13">
                  <c:v>1010.8261</c:v>
                </c:pt>
                <c:pt idx="14">
                  <c:v>1167.9619</c:v>
                </c:pt>
                <c:pt idx="15">
                  <c:v>1151.0532</c:v>
                </c:pt>
                <c:pt idx="16">
                  <c:v>1207.354</c:v>
                </c:pt>
                <c:pt idx="17">
                  <c:v>1248.1508</c:v>
                </c:pt>
                <c:pt idx="18">
                  <c:v>1324.0752</c:v>
                </c:pt>
                <c:pt idx="19">
                  <c:v>1323.5199</c:v>
                </c:pt>
                <c:pt idx="20">
                  <c:v>1314.2909</c:v>
                </c:pt>
                <c:pt idx="21">
                  <c:v>1336.5939</c:v>
                </c:pt>
                <c:pt idx="22">
                  <c:v>1331.979</c:v>
                </c:pt>
                <c:pt idx="23">
                  <c:v>1310.8869</c:v>
                </c:pt>
                <c:pt idx="24">
                  <c:v>1373.5818</c:v>
                </c:pt>
                <c:pt idx="25">
                  <c:v>1574.0764</c:v>
                </c:pt>
                <c:pt idx="26">
                  <c:v>1523.5159</c:v>
                </c:pt>
                <c:pt idx="27">
                  <c:v>1542.1624</c:v>
                </c:pt>
              </c:numCache>
            </c:numRef>
          </c:xVal>
          <c:yVal>
            <c:numRef>
              <c:f>Sheet1!$B$2:$B$29</c:f>
              <c:numCache>
                <c:formatCode>General</c:formatCode>
                <c:ptCount val="28"/>
                <c:pt idx="0">
                  <c:v>0.24646781789638933</c:v>
                </c:pt>
                <c:pt idx="1">
                  <c:v>0.23681377825618946</c:v>
                </c:pt>
                <c:pt idx="2">
                  <c:v>0.24925149700598803</c:v>
                </c:pt>
                <c:pt idx="3">
                  <c:v>0.2484871406959153</c:v>
                </c:pt>
                <c:pt idx="4">
                  <c:v>0.23474968447623054</c:v>
                </c:pt>
                <c:pt idx="5">
                  <c:v>0.25857002938295787</c:v>
                </c:pt>
                <c:pt idx="6">
                  <c:v>0.2729389846297159</c:v>
                </c:pt>
                <c:pt idx="7">
                  <c:v>0.26460859977949286</c:v>
                </c:pt>
                <c:pt idx="8">
                  <c:v>0.3128734383487235</c:v>
                </c:pt>
                <c:pt idx="9">
                  <c:v>0.2945334590009425</c:v>
                </c:pt>
                <c:pt idx="10">
                  <c:v>0.3076574535568645</c:v>
                </c:pt>
                <c:pt idx="11">
                  <c:v>0.3267834258863733</c:v>
                </c:pt>
                <c:pt idx="12">
                  <c:v>0.31107078039927405</c:v>
                </c:pt>
                <c:pt idx="13">
                  <c:v>0.33156173344235484</c:v>
                </c:pt>
                <c:pt idx="14">
                  <c:v>0.3236464968152866</c:v>
                </c:pt>
                <c:pt idx="15">
                  <c:v>0.33485609867519417</c:v>
                </c:pt>
                <c:pt idx="16">
                  <c:v>0.2686727565824825</c:v>
                </c:pt>
                <c:pt idx="17">
                  <c:v>0.27448275862068966</c:v>
                </c:pt>
                <c:pt idx="18">
                  <c:v>0.2577927548441449</c:v>
                </c:pt>
                <c:pt idx="19">
                  <c:v>0.24186390532544377</c:v>
                </c:pt>
                <c:pt idx="20">
                  <c:v>0.23089840470193115</c:v>
                </c:pt>
                <c:pt idx="21">
                  <c:v>0.20176211453744494</c:v>
                </c:pt>
                <c:pt idx="22">
                  <c:v>0.21487603305785125</c:v>
                </c:pt>
                <c:pt idx="23">
                  <c:v>0.19352014010507881</c:v>
                </c:pt>
                <c:pt idx="24">
                  <c:v>0.1853099730458221</c:v>
                </c:pt>
                <c:pt idx="25">
                  <c:v>0.17493638676844783</c:v>
                </c:pt>
                <c:pt idx="26">
                  <c:v>0.1716472303206997</c:v>
                </c:pt>
                <c:pt idx="27">
                  <c:v>0.20881782945736435</c:v>
                </c:pt>
              </c:numCache>
            </c:numRef>
          </c:yVal>
          <c:smooth val="0"/>
          <c:extLst>
            <c:ext xmlns:c16="http://schemas.microsoft.com/office/drawing/2014/chart" uri="{C3380CC4-5D6E-409C-BE32-E72D297353CC}">
              <c16:uniqueId val="{00000000-F32D-48B7-BC20-E66FC6253BAD}"/>
            </c:ext>
          </c:extLst>
        </c:ser>
        <c:ser>
          <c:idx val="1"/>
          <c:order val="1"/>
          <c:tx>
            <c:strRef>
              <c:f>Sheet1!$B$3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32:$A$31</c:f>
              <c:numCache>
                <c:formatCode>General</c:formatCode>
                <c:ptCount val="0"/>
              </c:numCache>
            </c:numRef>
          </c:xVal>
          <c:yVal>
            <c:numRef>
              <c:f>Sheet1!$B$32:$B$31</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33</c:f>
              <c:strCache>
                <c:ptCount val="1"/>
                <c:pt idx="0">
                  <c:v>Custom Linep3yQ</c:v>
                </c:pt>
              </c:strCache>
            </c:strRef>
          </c:tx>
          <c:spPr>
            <a:ln w="19050" cap="rnd">
              <a:solidFill>
                <a:srgbClr val="C00000"/>
              </a:solidFill>
              <a:prstDash val="sysDot"/>
              <a:round/>
            </a:ln>
            <a:effectLst/>
          </c:spPr>
          <c:marker>
            <c:symbol val="none"/>
          </c:marker>
          <c:xVal>
            <c:numRef>
              <c:f>Sheet1!$A$34:$A$35</c:f>
              <c:numCache>
                <c:formatCode>General</c:formatCode>
                <c:ptCount val="2"/>
                <c:pt idx="0">
                  <c:v>0</c:v>
                </c:pt>
                <c:pt idx="1">
                  <c:v>0.29753832937718644</c:v>
                </c:pt>
              </c:numCache>
            </c:numRef>
          </c:xVal>
          <c:yVal>
            <c:numRef>
              <c:f>Sheet1!$B$34:$B$35</c:f>
              <c:numCache>
                <c:formatCode>General</c:formatCode>
                <c:ptCount val="2"/>
                <c:pt idx="0">
                  <c:v>0.29753832937718644</c:v>
                </c:pt>
                <c:pt idx="1">
                  <c:v>0.29753832937718644</c:v>
                </c:pt>
              </c:numCache>
            </c:numRef>
          </c:yVal>
          <c:smooth val="0"/>
          <c:extLst>
            <c:ext xmlns:c16="http://schemas.microsoft.com/office/drawing/2014/chart" uri="{C3380CC4-5D6E-409C-BE32-E72D297353CC}">
              <c16:uniqueId val="{00000003-F32D-48B7-BC20-E66FC6253BAD}"/>
            </c:ext>
          </c:extLst>
        </c:ser>
        <c:ser>
          <c:idx val="3"/>
          <c:order val="3"/>
          <c:tx>
            <c:strRef>
              <c:f>Sheet1!$B$3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8:$A$39</c:f>
              <c:numCache>
                <c:formatCode>General</c:formatCode>
                <c:ptCount val="2"/>
                <c:pt idx="0">
                  <c:v>0.29753832937718644</c:v>
                </c:pt>
                <c:pt idx="1">
                  <c:v>0.29753832937718644</c:v>
                </c:pt>
              </c:numCache>
            </c:numRef>
          </c:xVal>
          <c:yVal>
            <c:numRef>
              <c:f>Sheet1!$B$38:$B$39</c:f>
              <c:numCache>
                <c:formatCode>General</c:formatCode>
                <c:ptCount val="2"/>
                <c:pt idx="0">
                  <c:v>0.2975383293771864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41</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42:$A$44</c:f>
              <c:numCache>
                <c:formatCode>General</c:formatCode>
                <c:ptCount val="3"/>
                <c:pt idx="0">
                  <c:v>0</c:v>
                </c:pt>
                <c:pt idx="1">
                  <c:v>0.29753832937718644</c:v>
                </c:pt>
                <c:pt idx="2">
                  <c:v>0</c:v>
                </c:pt>
              </c:numCache>
            </c:numRef>
          </c:xVal>
          <c:yVal>
            <c:numRef>
              <c:f>Sheet1!$B$42:$B$44</c:f>
              <c:numCache>
                <c:formatCode>General</c:formatCode>
                <c:ptCount val="3"/>
                <c:pt idx="0">
                  <c:v>0</c:v>
                </c:pt>
                <c:pt idx="1">
                  <c:v>0.29753832937718644</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8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01827318410233"/>
          <c:min val="0.1373177842565597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3.169344684452935</c:v>
                </c:pt>
                <c:pt idx="1">
                  <c:v>5.141624520613664</c:v>
                </c:pt>
                <c:pt idx="2">
                  <c:v>5.098486408769279</c:v>
                </c:pt>
                <c:pt idx="3">
                  <c:v>6.233646564598326</c:v>
                </c:pt>
                <c:pt idx="4">
                  <c:v>4.450158080464701</c:v>
                </c:pt>
                <c:pt idx="5">
                  <c:v>3.2452733843717936</c:v>
                </c:pt>
                <c:pt idx="6">
                  <c:v>4.135838493163361</c:v>
                </c:pt>
                <c:pt idx="7">
                  <c:v>2.580879889961307</c:v>
                </c:pt>
                <c:pt idx="8">
                  <c:v>3.724475580033543</c:v>
                </c:pt>
                <c:pt idx="9">
                  <c:v>3.575527901102432</c:v>
                </c:pt>
                <c:pt idx="10">
                  <c:v>5.357439736207991</c:v>
                </c:pt>
                <c:pt idx="11">
                  <c:v>3.334059361005138</c:v>
                </c:pt>
                <c:pt idx="12">
                  <c:v>4.476194503377243</c:v>
                </c:pt>
                <c:pt idx="13">
                  <c:v>3.961035669754965</c:v>
                </c:pt>
                <c:pt idx="14">
                  <c:v>4.288938283539668</c:v>
                </c:pt>
                <c:pt idx="15">
                  <c:v>2.743139538257668</c:v>
                </c:pt>
                <c:pt idx="16">
                  <c:v>1.5605558217702518</c:v>
                </c:pt>
                <c:pt idx="17">
                  <c:v>3.0938261489734766</c:v>
                </c:pt>
                <c:pt idx="18">
                  <c:v>2.685080095367951</c:v>
                </c:pt>
                <c:pt idx="19">
                  <c:v>2.6114235407381727</c:v>
                </c:pt>
                <c:pt idx="20">
                  <c:v>2.25118161068409</c:v>
                </c:pt>
                <c:pt idx="21">
                  <c:v>2.913362565631162</c:v>
                </c:pt>
                <c:pt idx="22">
                  <c:v>4.3676627573891915</c:v>
                </c:pt>
                <c:pt idx="23">
                  <c:v>3.5202586938038802</c:v>
                </c:pt>
                <c:pt idx="24">
                  <c:v>2.851336013453659</c:v>
                </c:pt>
                <c:pt idx="25">
                  <c:v>4.601483842338912</c:v>
                </c:pt>
                <c:pt idx="26">
                  <c:v>5.563311140044167</c:v>
                </c:pt>
                <c:pt idx="27">
                  <c:v>2.2981570231447823</c:v>
                </c:pt>
                <c:pt idx="28">
                  <c:v>4.753715244649433</c:v>
                </c:pt>
                <c:pt idx="29">
                  <c:v>2.6112426798236577</c:v>
                </c:pt>
                <c:pt idx="30">
                  <c:v>3.384970313036975</c:v>
                </c:pt>
                <c:pt idx="31">
                  <c:v>3.866024789987967</c:v>
                </c:pt>
                <c:pt idx="32">
                  <c:v>2.361021824872408</c:v>
                </c:pt>
                <c:pt idx="33">
                  <c:v>2.3746096686280636</c:v>
                </c:pt>
                <c:pt idx="34">
                  <c:v>2.4652597286237636</c:v>
                </c:pt>
                <c:pt idx="35">
                  <c:v>4.335248229573026</c:v>
                </c:pt>
                <c:pt idx="36">
                  <c:v>3.0522843056872238</c:v>
                </c:pt>
                <c:pt idx="37">
                  <c:v>5.127217623658078</c:v>
                </c:pt>
                <c:pt idx="38">
                  <c:v>3.7676247954242292</c:v>
                </c:pt>
                <c:pt idx="39">
                  <c:v>3.7929943589977224</c:v>
                </c:pt>
                <c:pt idx="40">
                  <c:v>3.57854902770866</c:v>
                </c:pt>
                <c:pt idx="41">
                  <c:v>7.173376845754675</c:v>
                </c:pt>
                <c:pt idx="42">
                  <c:v>3.6593895096512394</c:v>
                </c:pt>
                <c:pt idx="43">
                  <c:v>2.7205157971580345</c:v>
                </c:pt>
                <c:pt idx="44">
                  <c:v>3.073030328597232</c:v>
                </c:pt>
                <c:pt idx="45">
                  <c:v>2.939895331506492</c:v>
                </c:pt>
                <c:pt idx="46">
                  <c:v>2.696542419694797</c:v>
                </c:pt>
                <c:pt idx="47">
                  <c:v>3.170017092699901</c:v>
                </c:pt>
                <c:pt idx="48">
                  <c:v>2.344887472602182</c:v>
                </c:pt>
                <c:pt idx="49">
                  <c:v>2.5882885532797455</c:v>
                </c:pt>
                <c:pt idx="50">
                  <c:v>2.9593840678193817</c:v>
                </c:pt>
                <c:pt idx="51">
                  <c:v>3.0055321661955077</c:v>
                </c:pt>
                <c:pt idx="52">
                  <c:v>2.312014120351127</c:v>
                </c:pt>
                <c:pt idx="53">
                  <c:v>2.3083194706056234</c:v>
                </c:pt>
                <c:pt idx="54">
                  <c:v>2.7344730614971433</c:v>
                </c:pt>
                <c:pt idx="55">
                  <c:v>9.830511302339696</c:v>
                </c:pt>
                <c:pt idx="56">
                  <c:v>4.0345672485116495</c:v>
                </c:pt>
                <c:pt idx="57">
                  <c:v>6.8046336438488515</c:v>
                </c:pt>
                <c:pt idx="58">
                  <c:v>3.1493155650329814</c:v>
                </c:pt>
                <c:pt idx="59">
                  <c:v>2.6594411260948747</c:v>
                </c:pt>
                <c:pt idx="60">
                  <c:v>2.6444665996699728</c:v>
                </c:pt>
                <c:pt idx="61">
                  <c:v>2.505531406531374</c:v>
                </c:pt>
                <c:pt idx="62">
                  <c:v>2.2490235863447614</c:v>
                </c:pt>
                <c:pt idx="63">
                  <c:v>1.8611547930089927</c:v>
                </c:pt>
                <c:pt idx="64">
                  <c:v>1.9568616786320128</c:v>
                </c:pt>
                <c:pt idx="65">
                  <c:v>4.187286117550583</c:v>
                </c:pt>
                <c:pt idx="66">
                  <c:v>6.455902720092117</c:v>
                </c:pt>
                <c:pt idx="67">
                  <c:v>3.7946865647170367</c:v>
                </c:pt>
                <c:pt idx="68">
                  <c:v>11.372183239865986</c:v>
                </c:pt>
                <c:pt idx="69">
                  <c:v>3.6775387467185334</c:v>
                </c:pt>
                <c:pt idx="70">
                  <c:v>3.63506977135862</c:v>
                </c:pt>
                <c:pt idx="71">
                  <c:v>3.916880996206471</c:v>
                </c:pt>
                <c:pt idx="72">
                  <c:v>3.8263886828582407</c:v>
                </c:pt>
                <c:pt idx="73">
                  <c:v>3.7523085165100674</c:v>
                </c:pt>
                <c:pt idx="74">
                  <c:v>3.6486505962335047</c:v>
                </c:pt>
                <c:pt idx="75">
                  <c:v>5.486511337663058</c:v>
                </c:pt>
                <c:pt idx="76">
                  <c:v>5.640134921006764</c:v>
                </c:pt>
                <c:pt idx="77">
                  <c:v>2.7825925673288854</c:v>
                </c:pt>
                <c:pt idx="78">
                  <c:v>14.387994567043437</c:v>
                </c:pt>
                <c:pt idx="79">
                  <c:v>12.117848258582036</c:v>
                </c:pt>
                <c:pt idx="80">
                  <c:v>12.204102371452157</c:v>
                </c:pt>
                <c:pt idx="81">
                  <c:v>8.624406130886985</c:v>
                </c:pt>
                <c:pt idx="82">
                  <c:v>10.208434328541468</c:v>
                </c:pt>
                <c:pt idx="83">
                  <c:v>12.347258836647383</c:v>
                </c:pt>
                <c:pt idx="84">
                  <c:v>4.438804706503601</c:v>
                </c:pt>
                <c:pt idx="85">
                  <c:v>7.701113882828622</c:v>
                </c:pt>
                <c:pt idx="86">
                  <c:v>3.8813246374906094</c:v>
                </c:pt>
                <c:pt idx="87">
                  <c:v>7.056969985026875</c:v>
                </c:pt>
              </c:numCache>
            </c:numRef>
          </c:xVal>
          <c:yVal>
            <c:numRef>
              <c:f>Sheet1!$B$2:$B$89</c:f>
              <c:numCache>
                <c:formatCode>General</c:formatCode>
                <c:ptCount val="88"/>
                <c:pt idx="0">
                  <c:v>0.004395604395604396</c:v>
                </c:pt>
                <c:pt idx="1">
                  <c:v>0.001076426264800861</c:v>
                </c:pt>
                <c:pt idx="2">
                  <c:v>0.001122754491017964</c:v>
                </c:pt>
                <c:pt idx="3">
                  <c:v>0.0007564296520423601</c:v>
                </c:pt>
                <c:pt idx="4">
                  <c:v>0.0008413967185527977</c:v>
                </c:pt>
                <c:pt idx="5">
                  <c:v>0.002448579823702253</c:v>
                </c:pt>
                <c:pt idx="6">
                  <c:v>0.0027945971122496508</c:v>
                </c:pt>
                <c:pt idx="7">
                  <c:v>0.003858875413450937</c:v>
                </c:pt>
                <c:pt idx="8">
                  <c:v>0.0021727322107550242</c:v>
                </c:pt>
                <c:pt idx="9">
                  <c:v>0.002827521206409048</c:v>
                </c:pt>
                <c:pt idx="10">
                  <c:v>0.001359311282283643</c:v>
                </c:pt>
                <c:pt idx="11">
                  <c:v>0.00299017513882956</c:v>
                </c:pt>
                <c:pt idx="12">
                  <c:v>0.002177858439201452</c:v>
                </c:pt>
                <c:pt idx="13">
                  <c:v>0.0024529844644317253</c:v>
                </c:pt>
                <c:pt idx="14">
                  <c:v>0.0007961783439490446</c:v>
                </c:pt>
                <c:pt idx="15">
                  <c:v>0.0022841480127912287</c:v>
                </c:pt>
                <c:pt idx="16">
                  <c:v>0.0021493820526598604</c:v>
                </c:pt>
                <c:pt idx="17">
                  <c:v>0.0016216216216216215</c:v>
                </c:pt>
                <c:pt idx="18">
                  <c:v>0.002527379949452401</c:v>
                </c:pt>
                <c:pt idx="19">
                  <c:v>0.0024449877750611247</c:v>
                </c:pt>
                <c:pt idx="20">
                  <c:v>0.0014792899408284023</c:v>
                </c:pt>
                <c:pt idx="21">
                  <c:v>0.0041981528127623844</c:v>
                </c:pt>
                <c:pt idx="22">
                  <c:v>0.0026431718061674008</c:v>
                </c:pt>
                <c:pt idx="23">
                  <c:v>0.003977724741447892</c:v>
                </c:pt>
                <c:pt idx="24">
                  <c:v>0.0064995357474466105</c:v>
                </c:pt>
                <c:pt idx="25">
                  <c:v>0.003695491500369549</c:v>
                </c:pt>
                <c:pt idx="26">
                  <c:v>0.0015026296018031556</c:v>
                </c:pt>
                <c:pt idx="27">
                  <c:v>0.003703703703703704</c:v>
                </c:pt>
                <c:pt idx="28">
                  <c:v>0.0028368794326241137</c:v>
                </c:pt>
                <c:pt idx="29">
                  <c:v>0.0034129692832764505</c:v>
                </c:pt>
                <c:pt idx="30">
                  <c:v>0.0035026269702276708</c:v>
                </c:pt>
                <c:pt idx="31">
                  <c:v>0.002798507462686567</c:v>
                </c:pt>
                <c:pt idx="32">
                  <c:v>0.007704160246533128</c:v>
                </c:pt>
                <c:pt idx="33">
                  <c:v>0.008086253369272238</c:v>
                </c:pt>
                <c:pt idx="34">
                  <c:v>0.006572769953051643</c:v>
                </c:pt>
                <c:pt idx="35">
                  <c:v>0.0024509803921568627</c:v>
                </c:pt>
                <c:pt idx="36">
                  <c:v>0.003108003108003108</c:v>
                </c:pt>
                <c:pt idx="37">
                  <c:v>0.0014749262536873156</c:v>
                </c:pt>
                <c:pt idx="38">
                  <c:v>0.003205128205128205</c:v>
                </c:pt>
                <c:pt idx="39">
                  <c:v>0.0019083969465648854</c:v>
                </c:pt>
                <c:pt idx="40">
                  <c:v>0.002180232558139535</c:v>
                </c:pt>
                <c:pt idx="41">
                  <c:v>0.0005688282138794084</c:v>
                </c:pt>
                <c:pt idx="42">
                  <c:v>0.0019550342130987292</c:v>
                </c:pt>
                <c:pt idx="43">
                  <c:v>0.0026375282592313487</c:v>
                </c:pt>
                <c:pt idx="44">
                  <c:v>0.00181422351233672</c:v>
                </c:pt>
                <c:pt idx="45">
                  <c:v>0.004017531044558071</c:v>
                </c:pt>
                <c:pt idx="46">
                  <c:v>0.0047376093294460644</c:v>
                </c:pt>
                <c:pt idx="47">
                  <c:v>0.0026219192448872575</c:v>
                </c:pt>
                <c:pt idx="48">
                  <c:v>0.0028048176868503546</c:v>
                </c:pt>
                <c:pt idx="49">
                  <c:v>0.0035231943628890195</c:v>
                </c:pt>
                <c:pt idx="50">
                  <c:v>0.0034626038781163434</c:v>
                </c:pt>
                <c:pt idx="51">
                  <c:v>0.00107095046854083</c:v>
                </c:pt>
                <c:pt idx="52">
                  <c:v>0.001991238550378335</c:v>
                </c:pt>
                <c:pt idx="53">
                  <c:v>0.0043821209465381246</c:v>
                </c:pt>
                <c:pt idx="54">
                  <c:v>0.0024224806201550387</c:v>
                </c:pt>
                <c:pt idx="55">
                  <c:v>0.00043956043956043956</c:v>
                </c:pt>
                <c:pt idx="56">
                  <c:v>0.0008532423208191126</c:v>
                </c:pt>
                <c:pt idx="57">
                  <c:v>0.00037750094375235937</c:v>
                </c:pt>
                <c:pt idx="58">
                  <c:v>0.0009363295880149813</c:v>
                </c:pt>
                <c:pt idx="59">
                  <c:v>0.0009905894006934125</c:v>
                </c:pt>
                <c:pt idx="60">
                  <c:v>0.0018511662347278786</c:v>
                </c:pt>
                <c:pt idx="61">
                  <c:v>0.0015088645794039985</c:v>
                </c:pt>
                <c:pt idx="62">
                  <c:v>0.001932367149758454</c:v>
                </c:pt>
                <c:pt idx="63">
                  <c:v>0.0027683789603199014</c:v>
                </c:pt>
                <c:pt idx="64">
                  <c:v>0.001649620587264929</c:v>
                </c:pt>
                <c:pt idx="65">
                  <c:v>0.0003812428516965307</c:v>
                </c:pt>
                <c:pt idx="66">
                  <c:v>0.00039308176100628933</c:v>
                </c:pt>
                <c:pt idx="67">
                  <c:v>0.0012121212121212121</c:v>
                </c:pt>
                <c:pt idx="68">
                  <c:v>0.000547945205479452</c:v>
                </c:pt>
                <c:pt idx="69">
                  <c:v>0.00277623542476402</c:v>
                </c:pt>
                <c:pt idx="70">
                  <c:v>0.003886729594669628</c:v>
                </c:pt>
                <c:pt idx="71">
                  <c:v>0.0034317089910775567</c:v>
                </c:pt>
                <c:pt idx="72">
                  <c:v>0.003586800573888092</c:v>
                </c:pt>
                <c:pt idx="73">
                  <c:v>0.0035137034434293743</c:v>
                </c:pt>
                <c:pt idx="74">
                  <c:v>0.0055248618784530384</c:v>
                </c:pt>
                <c:pt idx="75">
                  <c:v>0.00395882818685669</c:v>
                </c:pt>
                <c:pt idx="76">
                  <c:v>0.003189792663476874</c:v>
                </c:pt>
                <c:pt idx="77">
                  <c:v>0.0072992700729927005</c:v>
                </c:pt>
                <c:pt idx="78">
                  <c:v>0.000846740050804403</c:v>
                </c:pt>
                <c:pt idx="79">
                  <c:v>0.0010626992561105207</c:v>
                </c:pt>
                <c:pt idx="80">
                  <c:v>0.0010695187165775401</c:v>
                </c:pt>
                <c:pt idx="81">
                  <c:v>0.00033944331296673454</c:v>
                </c:pt>
                <c:pt idx="82">
                  <c:v>0.00026652452025586353</c:v>
                </c:pt>
                <c:pt idx="83">
                  <c:v>0.0001607717041800643</c:v>
                </c:pt>
                <c:pt idx="84">
                  <c:v>0.0005931198102016608</c:v>
                </c:pt>
                <c:pt idx="85">
                  <c:v>0.0003197953309881676</c:v>
                </c:pt>
                <c:pt idx="86">
                  <c:v>0.0009724473257698541</c:v>
                </c:pt>
                <c:pt idx="87">
                  <c:v>0.00035778175313059033</c:v>
                </c:pt>
              </c:numCache>
            </c:numRef>
          </c:yVal>
          <c:smooth val="0"/>
          <c:extLst>
            <c:ext xmlns:c16="http://schemas.microsoft.com/office/drawing/2014/chart" uri="{C3380CC4-5D6E-409C-BE32-E72D297353CC}">
              <c16:uniqueId val="{00000000-096C-4121-9522-6AB7243CCAAE}"/>
            </c:ext>
          </c:extLst>
        </c:ser>
        <c:ser>
          <c:idx val="1"/>
          <c:order val="1"/>
          <c:tx>
            <c:strRef>
              <c:f>Sheet1!$B$9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7.143904254819692</c:v>
                </c:pt>
                <c:pt idx="21">
                  <c:v>4.056088841135236</c:v>
                </c:pt>
                <c:pt idx="22">
                  <c:v>0.0</c:v>
                </c:pt>
                <c:pt idx="23">
                  <c:v>0.0</c:v>
                </c:pt>
                <c:pt idx="24">
                  <c:v>6.114330832668482</c:v>
                </c:pt>
                <c:pt idx="25">
                  <c:v>0.0</c:v>
                </c:pt>
                <c:pt idx="26">
                  <c:v>3.2131778367659036</c:v>
                </c:pt>
                <c:pt idx="27">
                  <c:v>4.715977677792293</c:v>
                </c:pt>
                <c:pt idx="28">
                  <c:v>5.554392023294667</c:v>
                </c:pt>
                <c:pt idx="29">
                  <c:v>0.0</c:v>
                </c:pt>
                <c:pt idx="30">
                  <c:v>0.0</c:v>
                </c:pt>
                <c:pt idx="31">
                  <c:v>8.66941663261136</c:v>
                </c:pt>
                <c:pt idx="32">
                  <c:v>7.580704257484979</c:v>
                </c:pt>
                <c:pt idx="33">
                  <c:v>7.329133956611553</c:v>
                </c:pt>
                <c:pt idx="34">
                  <c:v>0.0</c:v>
                </c:pt>
                <c:pt idx="35">
                  <c:v>0.0</c:v>
                </c:pt>
                <c:pt idx="36">
                  <c:v>7.557626741471924</c:v>
                </c:pt>
                <c:pt idx="37">
                  <c:v>0.0</c:v>
                </c:pt>
                <c:pt idx="38">
                  <c:v>4.383344233389044</c:v>
                </c:pt>
                <c:pt idx="39">
                  <c:v>3.3936376162278656</c:v>
                </c:pt>
                <c:pt idx="40">
                  <c:v>3.990208536255999</c:v>
                </c:pt>
                <c:pt idx="41">
                  <c:v>7.018018725588532</c:v>
                </c:pt>
                <c:pt idx="42">
                  <c:v>3.2151911955420056</c:v>
                </c:pt>
                <c:pt idx="43">
                  <c:v>2.9585563517500817</c:v>
                </c:pt>
                <c:pt idx="44">
                  <c:v>3.4996911409115152</c:v>
                </c:pt>
                <c:pt idx="45">
                  <c:v>5.317779019630347</c:v>
                </c:pt>
                <c:pt idx="46">
                  <c:v>4.0434662866100535</c:v>
                </c:pt>
                <c:pt idx="47">
                  <c:v>4.534072127397241</c:v>
                </c:pt>
                <c:pt idx="48">
                  <c:v>0.0</c:v>
                </c:pt>
                <c:pt idx="49">
                  <c:v>3.908411946619174</c:v>
                </c:pt>
                <c:pt idx="50">
                  <c:v>1.5006795725109903</c:v>
                </c:pt>
                <c:pt idx="51">
                  <c:v>1.282650339567486</c:v>
                </c:pt>
                <c:pt idx="52">
                  <c:v>2.2225934679255386</c:v>
                </c:pt>
                <c:pt idx="53">
                  <c:v>0.0</c:v>
                </c:pt>
                <c:pt idx="54">
                  <c:v>0.0</c:v>
                </c:pt>
                <c:pt idx="55">
                  <c:v>0.0</c:v>
                </c:pt>
                <c:pt idx="56">
                  <c:v>0.0</c:v>
                </c:pt>
                <c:pt idx="57">
                  <c:v>8.138859123947071</c:v>
                </c:pt>
                <c:pt idx="58">
                  <c:v>5.951147147231419</c:v>
                </c:pt>
                <c:pt idx="59">
                  <c:v>7.413799374637055</c:v>
                </c:pt>
                <c:pt idx="60">
                  <c:v>0.0</c:v>
                </c:pt>
                <c:pt idx="61">
                  <c:v>0.0</c:v>
                </c:pt>
                <c:pt idx="62">
                  <c:v>0.0</c:v>
                </c:pt>
                <c:pt idx="63">
                  <c:v>0.0</c:v>
                </c:pt>
                <c:pt idx="64">
                  <c:v>0.0</c:v>
                </c:pt>
                <c:pt idx="65">
                  <c:v>0.0</c:v>
                </c:pt>
                <c:pt idx="66">
                  <c:v>0.0</c:v>
                </c:pt>
                <c:pt idx="67">
                  <c:v>2.990881416325562</c:v>
                </c:pt>
                <c:pt idx="68">
                  <c:v>9.11690092939502</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003181673560292714</c:v>
                </c:pt>
                <c:pt idx="21">
                  <c:v>0.0007186489399928135</c:v>
                </c:pt>
                <c:pt idx="22">
                  <c:v>0.0</c:v>
                </c:pt>
                <c:pt idx="23">
                  <c:v>0.0</c:v>
                </c:pt>
                <c:pt idx="24">
                  <c:v>0.0006075334143377885</c:v>
                </c:pt>
                <c:pt idx="25">
                  <c:v>0.0</c:v>
                </c:pt>
                <c:pt idx="26">
                  <c:v>0.0010147133434804667</c:v>
                </c:pt>
                <c:pt idx="27">
                  <c:v>0.0004870920603994155</c:v>
                </c:pt>
                <c:pt idx="28">
                  <c:v>0.0008421052631578948</c:v>
                </c:pt>
                <c:pt idx="29">
                  <c:v>0.0</c:v>
                </c:pt>
                <c:pt idx="30">
                  <c:v>0.0</c:v>
                </c:pt>
                <c:pt idx="31">
                  <c:v>0.00047393364928909954</c:v>
                </c:pt>
                <c:pt idx="32">
                  <c:v>0.00047460844803037496</c:v>
                </c:pt>
                <c:pt idx="33">
                  <c:v>0.0011043622308117063</c:v>
                </c:pt>
                <c:pt idx="34">
                  <c:v>0.0</c:v>
                </c:pt>
                <c:pt idx="35">
                  <c:v>0.0</c:v>
                </c:pt>
                <c:pt idx="36">
                  <c:v>0.0005685048322910744</c:v>
                </c:pt>
                <c:pt idx="37">
                  <c:v>0.0</c:v>
                </c:pt>
                <c:pt idx="38">
                  <c:v>0.0018656716417910447</c:v>
                </c:pt>
                <c:pt idx="39">
                  <c:v>0.001851851851851852</c:v>
                </c:pt>
                <c:pt idx="40">
                  <c:v>0.0008532423208191126</c:v>
                </c:pt>
                <c:pt idx="41">
                  <c:v>0.0008319467554076539</c:v>
                </c:pt>
                <c:pt idx="42">
                  <c:v>0.0024096385542168677</c:v>
                </c:pt>
                <c:pt idx="43">
                  <c:v>0.003779289493575208</c:v>
                </c:pt>
                <c:pt idx="44">
                  <c:v>0.0013736263736263737</c:v>
                </c:pt>
                <c:pt idx="45">
                  <c:v>0.0013995801259622112</c:v>
                </c:pt>
                <c:pt idx="46">
                  <c:v>0.0016366612111292963</c:v>
                </c:pt>
                <c:pt idx="47">
                  <c:v>0.0008445945945945946</c:v>
                </c:pt>
                <c:pt idx="48">
                  <c:v>0.0</c:v>
                </c:pt>
                <c:pt idx="49">
                  <c:v>0.0010298661174047373</c:v>
                </c:pt>
                <c:pt idx="50">
                  <c:v>0.003669724770642202</c:v>
                </c:pt>
                <c:pt idx="51">
                  <c:v>0.0029086678301337987</c:v>
                </c:pt>
                <c:pt idx="52">
                  <c:v>0.0029797377830750892</c:v>
                </c:pt>
                <c:pt idx="53">
                  <c:v>0.0</c:v>
                </c:pt>
                <c:pt idx="54">
                  <c:v>0.0</c:v>
                </c:pt>
                <c:pt idx="55">
                  <c:v>0.0</c:v>
                </c:pt>
                <c:pt idx="56">
                  <c:v>0.0</c:v>
                </c:pt>
                <c:pt idx="57">
                  <c:v>0.0007575757575757576</c:v>
                </c:pt>
                <c:pt idx="58">
                  <c:v>0.000731528895391368</c:v>
                </c:pt>
                <c:pt idx="59">
                  <c:v>0.0008312551953449709</c:v>
                </c:pt>
                <c:pt idx="60">
                  <c:v>0.0</c:v>
                </c:pt>
                <c:pt idx="61">
                  <c:v>0.0</c:v>
                </c:pt>
                <c:pt idx="62">
                  <c:v>0.0</c:v>
                </c:pt>
                <c:pt idx="63">
                  <c:v>0.0</c:v>
                </c:pt>
                <c:pt idx="64">
                  <c:v>0.0</c:v>
                </c:pt>
                <c:pt idx="65">
                  <c:v>0.0</c:v>
                </c:pt>
                <c:pt idx="66">
                  <c:v>0.0</c:v>
                </c:pt>
                <c:pt idx="67">
                  <c:v>0.0006628003314001657</c:v>
                </c:pt>
                <c:pt idx="68">
                  <c:v>0.000296208530805687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3.214331149276816</c:v>
                </c:pt>
              </c:numCache>
            </c:numRef>
          </c:xVal>
          <c:yVal>
            <c:numRef>
              <c:f>Sheet1!$B$163:$B$164</c:f>
              <c:numCache>
                <c:formatCode>General</c:formatCode>
                <c:ptCount val="2"/>
                <c:pt idx="0">
                  <c:v>0.004197062052178528</c:v>
                </c:pt>
                <c:pt idx="1">
                  <c:v>0.00419706205217852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3.214331149276816</c:v>
                </c:pt>
                <c:pt idx="1">
                  <c:v>33.214331149276816</c:v>
                </c:pt>
              </c:numCache>
            </c:numRef>
          </c:xVal>
          <c:yVal>
            <c:numRef>
              <c:f>Sheet1!$B$167:$B$168</c:f>
              <c:numCache>
                <c:formatCode>General</c:formatCode>
                <c:ptCount val="2"/>
                <c:pt idx="0">
                  <c:v>0.00419706205217852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2.302553451905544</c:v>
                </c:pt>
              </c:numCache>
            </c:numRef>
          </c:xVal>
          <c:yVal>
            <c:numRef>
              <c:f>Sheet1!$B$171:$B$172</c:f>
              <c:numCache>
                <c:formatCode>General</c:formatCode>
                <c:ptCount val="2"/>
                <c:pt idx="0">
                  <c:v>0.0017375915384126085</c:v>
                </c:pt>
                <c:pt idx="1">
                  <c:v>0.001737591538412608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2.302553451905544</c:v>
                </c:pt>
                <c:pt idx="1">
                  <c:v>12.302553451905544</c:v>
                </c:pt>
              </c:numCache>
            </c:numRef>
          </c:xVal>
          <c:yVal>
            <c:numRef>
              <c:f>Sheet1!$B$175:$B$176</c:f>
              <c:numCache>
                <c:formatCode>General</c:formatCode>
                <c:ptCount val="2"/>
                <c:pt idx="0">
                  <c:v>0.001737591538412608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265636383661252</c:v>
                </c:pt>
              </c:numCache>
            </c:numRef>
          </c:xVal>
          <c:yVal>
            <c:numRef>
              <c:f>Sheet1!$B$179:$B$180</c:f>
              <c:numCache>
                <c:formatCode>General</c:formatCode>
                <c:ptCount val="2"/>
                <c:pt idx="0">
                  <c:v>0.0002522591315783038</c:v>
                </c:pt>
                <c:pt idx="1">
                  <c:v>0.000252259131578303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265636383661252</c:v>
                </c:pt>
                <c:pt idx="1">
                  <c:v>-0.3265636383661252</c:v>
                </c:pt>
              </c:numCache>
            </c:numRef>
          </c:xVal>
          <c:yVal>
            <c:numRef>
              <c:f>Sheet1!$B$183:$B$184</c:f>
              <c:numCache>
                <c:formatCode>General</c:formatCode>
                <c:ptCount val="2"/>
                <c:pt idx="0">
                  <c:v>0.000252259131578303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7.143904254819692</c:v>
                </c:pt>
                <c:pt idx="21">
                  <c:v>4.056088841135236</c:v>
                </c:pt>
                <c:pt idx="22">
                  <c:v>0.0</c:v>
                </c:pt>
                <c:pt idx="23">
                  <c:v>0.0</c:v>
                </c:pt>
                <c:pt idx="24">
                  <c:v>6.114330832668482</c:v>
                </c:pt>
                <c:pt idx="25">
                  <c:v>0.0</c:v>
                </c:pt>
                <c:pt idx="26">
                  <c:v>3.2131778367659036</c:v>
                </c:pt>
                <c:pt idx="27">
                  <c:v>4.715977677792293</c:v>
                </c:pt>
                <c:pt idx="28">
                  <c:v>5.554392023294667</c:v>
                </c:pt>
                <c:pt idx="29">
                  <c:v>0.0</c:v>
                </c:pt>
                <c:pt idx="30">
                  <c:v>0.0</c:v>
                </c:pt>
                <c:pt idx="31">
                  <c:v>8.66941663261136</c:v>
                </c:pt>
                <c:pt idx="32">
                  <c:v>7.580704257484979</c:v>
                </c:pt>
                <c:pt idx="33">
                  <c:v>7.329133956611553</c:v>
                </c:pt>
                <c:pt idx="34">
                  <c:v>0.0</c:v>
                </c:pt>
                <c:pt idx="35">
                  <c:v>0.0</c:v>
                </c:pt>
                <c:pt idx="36">
                  <c:v>7.557626741471924</c:v>
                </c:pt>
                <c:pt idx="37">
                  <c:v>0.0</c:v>
                </c:pt>
                <c:pt idx="38">
                  <c:v>4.383344233389044</c:v>
                </c:pt>
                <c:pt idx="39">
                  <c:v>3.3936376162278656</c:v>
                </c:pt>
                <c:pt idx="40">
                  <c:v>3.990208536255999</c:v>
                </c:pt>
                <c:pt idx="41">
                  <c:v>7.018018725588532</c:v>
                </c:pt>
                <c:pt idx="42">
                  <c:v>3.2151911955420056</c:v>
                </c:pt>
                <c:pt idx="43">
                  <c:v>2.9585563517500817</c:v>
                </c:pt>
                <c:pt idx="44">
                  <c:v>3.4996911409115152</c:v>
                </c:pt>
                <c:pt idx="45">
                  <c:v>5.317779019630347</c:v>
                </c:pt>
                <c:pt idx="46">
                  <c:v>4.0434662866100535</c:v>
                </c:pt>
                <c:pt idx="47">
                  <c:v>4.534072127397241</c:v>
                </c:pt>
                <c:pt idx="48">
                  <c:v>0.0</c:v>
                </c:pt>
                <c:pt idx="49">
                  <c:v>3.908411946619174</c:v>
                </c:pt>
                <c:pt idx="50">
                  <c:v>1.5006795725109903</c:v>
                </c:pt>
                <c:pt idx="51">
                  <c:v>1.282650339567486</c:v>
                </c:pt>
                <c:pt idx="52">
                  <c:v>2.2225934679255386</c:v>
                </c:pt>
                <c:pt idx="53">
                  <c:v>0.0</c:v>
                </c:pt>
                <c:pt idx="54">
                  <c:v>0.0</c:v>
                </c:pt>
                <c:pt idx="55">
                  <c:v>0.0</c:v>
                </c:pt>
                <c:pt idx="56">
                  <c:v>0.0</c:v>
                </c:pt>
                <c:pt idx="57">
                  <c:v>8.138859123947071</c:v>
                </c:pt>
                <c:pt idx="58">
                  <c:v>5.951147147231419</c:v>
                </c:pt>
                <c:pt idx="59">
                  <c:v>7.413799374637055</c:v>
                </c:pt>
                <c:pt idx="60">
                  <c:v>0.0</c:v>
                </c:pt>
                <c:pt idx="61">
                  <c:v>0.0</c:v>
                </c:pt>
                <c:pt idx="62">
                  <c:v>0.0</c:v>
                </c:pt>
                <c:pt idx="63">
                  <c:v>0.0</c:v>
                </c:pt>
                <c:pt idx="64">
                  <c:v>0.0</c:v>
                </c:pt>
                <c:pt idx="65">
                  <c:v>0.0</c:v>
                </c:pt>
                <c:pt idx="66">
                  <c:v>0.0</c:v>
                </c:pt>
                <c:pt idx="67">
                  <c:v>2.990881416325562</c:v>
                </c:pt>
                <c:pt idx="68">
                  <c:v>9.11690092939502</c:v>
                </c:pt>
                <c:pt idx="69">
                  <c:v>12.302553451905544</c:v>
                </c:pt>
                <c:pt idx="70">
                  <c:v>33.214331149276816</c:v>
                </c:pt>
                <c:pt idx="71">
                  <c:v>-0.3265636383661252</c:v>
                </c:pt>
              </c:numCache>
            </c:numRef>
          </c:xVal>
          <c:yVal>
            <c:numRef>
              <c:f>Sheet1!$B$187:$B$258</c:f>
              <c:numCache>
                <c:formatCode>General</c:formatCode>
                <c:ptCount val="72"/>
                <c:pt idx="0">
                  <c:v>0.00029066684856214327</c:v>
                </c:pt>
                <c:pt idx="1">
                  <c:v>0.00029066684856214327</c:v>
                </c:pt>
                <c:pt idx="2">
                  <c:v>0.00029066684856214327</c:v>
                </c:pt>
                <c:pt idx="3">
                  <c:v>0.00029066684856214327</c:v>
                </c:pt>
                <c:pt idx="4">
                  <c:v>0.00029066684856214327</c:v>
                </c:pt>
                <c:pt idx="5">
                  <c:v>0.00029066684856214327</c:v>
                </c:pt>
                <c:pt idx="6">
                  <c:v>0.00029066684856214327</c:v>
                </c:pt>
                <c:pt idx="7">
                  <c:v>0.00029066684856214327</c:v>
                </c:pt>
                <c:pt idx="8">
                  <c:v>0.00029066684856214327</c:v>
                </c:pt>
                <c:pt idx="9">
                  <c:v>0.00029066684856214327</c:v>
                </c:pt>
                <c:pt idx="10">
                  <c:v>0.00029066684856214327</c:v>
                </c:pt>
                <c:pt idx="11">
                  <c:v>0.00029066684856214327</c:v>
                </c:pt>
                <c:pt idx="12">
                  <c:v>0.00029066684856214327</c:v>
                </c:pt>
                <c:pt idx="13">
                  <c:v>0.00029066684856214327</c:v>
                </c:pt>
                <c:pt idx="14">
                  <c:v>0.00029066684856214327</c:v>
                </c:pt>
                <c:pt idx="15">
                  <c:v>0.00029066684856214327</c:v>
                </c:pt>
                <c:pt idx="16">
                  <c:v>0.00029066684856214327</c:v>
                </c:pt>
                <c:pt idx="17">
                  <c:v>0.00029066684856214327</c:v>
                </c:pt>
                <c:pt idx="18">
                  <c:v>0.00029066684856214327</c:v>
                </c:pt>
                <c:pt idx="19">
                  <c:v>0.00029066684856214327</c:v>
                </c:pt>
                <c:pt idx="20">
                  <c:v>0.0011308738420644027</c:v>
                </c:pt>
                <c:pt idx="21">
                  <c:v>0.0007677105055077268</c:v>
                </c:pt>
                <c:pt idx="22">
                  <c:v>0.00029066684856214327</c:v>
                </c:pt>
                <c:pt idx="23">
                  <c:v>0.00029066684856214327</c:v>
                </c:pt>
                <c:pt idx="24">
                  <c:v>0.001009783922776657</c:v>
                </c:pt>
                <c:pt idx="25">
                  <c:v>0.00029066684856214327</c:v>
                </c:pt>
                <c:pt idx="26">
                  <c:v>0.0006685742775420007</c:v>
                </c:pt>
                <c:pt idx="27">
                  <c:v>0.0008453211782878485</c:v>
                </c:pt>
                <c:pt idx="28">
                  <c:v>0.0009439285463903055</c:v>
                </c:pt>
                <c:pt idx="29">
                  <c:v>0.00029066684856214327</c:v>
                </c:pt>
                <c:pt idx="30">
                  <c:v>0.00029066684856214327</c:v>
                </c:pt>
                <c:pt idx="31">
                  <c:v>0.0013102920037272052</c:v>
                </c:pt>
                <c:pt idx="32">
                  <c:v>0.0011822466494132104</c:v>
                </c:pt>
                <c:pt idx="33">
                  <c:v>0.0011526590291691798</c:v>
                </c:pt>
                <c:pt idx="34">
                  <c:v>0.00029066684856214327</c:v>
                </c:pt>
                <c:pt idx="35">
                  <c:v>0.00029066684856214327</c:v>
                </c:pt>
                <c:pt idx="36">
                  <c:v>0.001179532462652694</c:v>
                </c:pt>
                <c:pt idx="37">
                  <c:v>0.00029066684856214327</c:v>
                </c:pt>
                <c:pt idx="38">
                  <c:v>0.0008061995808683701</c:v>
                </c:pt>
                <c:pt idx="39">
                  <c:v>0.0006897984657927771</c:v>
                </c:pt>
                <c:pt idx="40">
                  <c:v>0.0007599622083694706</c:v>
                </c:pt>
                <c:pt idx="41">
                  <c:v>0.0011160682262179424</c:v>
                </c:pt>
                <c:pt idx="42">
                  <c:v>0.0006688110721663084</c:v>
                </c:pt>
                <c:pt idx="43">
                  <c:v>0.0006386278022288844</c:v>
                </c:pt>
                <c:pt idx="44">
                  <c:v>0.0007022716051219681</c:v>
                </c:pt>
                <c:pt idx="45">
                  <c:v>0.0009161000798626063</c:v>
                </c:pt>
                <c:pt idx="46">
                  <c:v>0.0007662259449355766</c:v>
                </c:pt>
                <c:pt idx="47">
                  <c:v>0.0008239269504052889</c:v>
                </c:pt>
                <c:pt idx="48">
                  <c:v>0.00029066684856214327</c:v>
                </c:pt>
                <c:pt idx="49">
                  <c:v>0.0007503419693228558</c:v>
                </c:pt>
                <c:pt idx="50">
                  <c:v>0.00046716438084346565</c:v>
                </c:pt>
                <c:pt idx="51">
                  <c:v>0.0004415215838835995</c:v>
                </c:pt>
                <c:pt idx="52">
                  <c:v>0.0005520699285661334</c:v>
                </c:pt>
                <c:pt idx="53">
                  <c:v>0.00029066684856214327</c:v>
                </c:pt>
                <c:pt idx="54">
                  <c:v>0.00029066684856214327</c:v>
                </c:pt>
                <c:pt idx="55">
                  <c:v>0.00029066684856214327</c:v>
                </c:pt>
                <c:pt idx="56">
                  <c:v>0.00029066684856214327</c:v>
                </c:pt>
                <c:pt idx="57">
                  <c:v>0.001247892213173724</c:v>
                </c:pt>
                <c:pt idx="58">
                  <c:v>0.000990591605965133</c:v>
                </c:pt>
                <c:pt idx="59">
                  <c:v>0.0011626166761078026</c:v>
                </c:pt>
                <c:pt idx="60">
                  <c:v>0.00029066684856214327</c:v>
                </c:pt>
                <c:pt idx="61">
                  <c:v>0.00029066684856214327</c:v>
                </c:pt>
                <c:pt idx="62">
                  <c:v>0.00029066684856214327</c:v>
                </c:pt>
                <c:pt idx="63">
                  <c:v>0.00029066684856214327</c:v>
                </c:pt>
                <c:pt idx="64">
                  <c:v>0.00029066684856214327</c:v>
                </c:pt>
                <c:pt idx="65">
                  <c:v>0.00029066684856214327</c:v>
                </c:pt>
                <c:pt idx="66">
                  <c:v>0.00029066684856214327</c:v>
                </c:pt>
                <c:pt idx="67">
                  <c:v>0.0006424296092454617</c:v>
                </c:pt>
                <c:pt idx="68">
                  <c:v>0.0013629214094735677</c:v>
                </c:pt>
                <c:pt idx="69">
                  <c:v>0.0017375915384126085</c:v>
                </c:pt>
                <c:pt idx="70">
                  <c:v>0.004197062052178528</c:v>
                </c:pt>
                <c:pt idx="71">
                  <c:v>0.000252259131578303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70350404312668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3581.0714</c:v>
                </c:pt>
                <c:pt idx="1">
                  <c:v>6230.0</c:v>
                </c:pt>
                <c:pt idx="2">
                  <c:v>6349.6667</c:v>
                </c:pt>
                <c:pt idx="3">
                  <c:v>7566.0</c:v>
                </c:pt>
                <c:pt idx="4">
                  <c:v>5972.0</c:v>
                </c:pt>
                <c:pt idx="5">
                  <c:v>4616.6</c:v>
                </c:pt>
                <c:pt idx="6">
                  <c:v>5895.1667</c:v>
                </c:pt>
                <c:pt idx="7">
                  <c:v>3666.0</c:v>
                </c:pt>
                <c:pt idx="8">
                  <c:v>5288.0</c:v>
                </c:pt>
                <c:pt idx="9">
                  <c:v>4848.0</c:v>
                </c:pt>
                <c:pt idx="10">
                  <c:v>7054.0</c:v>
                </c:pt>
                <c:pt idx="11">
                  <c:v>4469.4286</c:v>
                </c:pt>
                <c:pt idx="12">
                  <c:v>5880.3333</c:v>
                </c:pt>
                <c:pt idx="13">
                  <c:v>5253.1667</c:v>
                </c:pt>
                <c:pt idx="14">
                  <c:v>5922.0</c:v>
                </c:pt>
                <c:pt idx="15">
                  <c:v>3753.2</c:v>
                </c:pt>
                <c:pt idx="16">
                  <c:v>2170.25</c:v>
                </c:pt>
                <c:pt idx="17">
                  <c:v>4387.0</c:v>
                </c:pt>
                <c:pt idx="18">
                  <c:v>3807.0</c:v>
                </c:pt>
                <c:pt idx="19">
                  <c:v>3804.25</c:v>
                </c:pt>
                <c:pt idx="20">
                  <c:v>3359.5</c:v>
                </c:pt>
                <c:pt idx="21">
                  <c:v>4369.8</c:v>
                </c:pt>
                <c:pt idx="22">
                  <c:v>6539.0</c:v>
                </c:pt>
                <c:pt idx="23">
                  <c:v>5053.4</c:v>
                </c:pt>
                <c:pt idx="24">
                  <c:v>3948.1429</c:v>
                </c:pt>
                <c:pt idx="25">
                  <c:v>6402.2</c:v>
                </c:pt>
                <c:pt idx="26">
                  <c:v>7763.5</c:v>
                </c:pt>
                <c:pt idx="27">
                  <c:v>3345.6</c:v>
                </c:pt>
                <c:pt idx="28">
                  <c:v>7017.25</c:v>
                </c:pt>
                <c:pt idx="29">
                  <c:v>3873.25</c:v>
                </c:pt>
                <c:pt idx="30">
                  <c:v>5011.5</c:v>
                </c:pt>
                <c:pt idx="31">
                  <c:v>5771.0</c:v>
                </c:pt>
                <c:pt idx="32">
                  <c:v>3461.5</c:v>
                </c:pt>
                <c:pt idx="33">
                  <c:v>3505.5833</c:v>
                </c:pt>
                <c:pt idx="34">
                  <c:v>3707.6429</c:v>
                </c:pt>
                <c:pt idx="35">
                  <c:v>6483.0</c:v>
                </c:pt>
                <c:pt idx="36">
                  <c:v>4574.5</c:v>
                </c:pt>
                <c:pt idx="37">
                  <c:v>7663.0</c:v>
                </c:pt>
                <c:pt idx="38">
                  <c:v>5601.0</c:v>
                </c:pt>
                <c:pt idx="39">
                  <c:v>5694.6667</c:v>
                </c:pt>
                <c:pt idx="40">
                  <c:v>5335.6667</c:v>
                </c:pt>
                <c:pt idx="41">
                  <c:v>10645.0</c:v>
                </c:pt>
                <c:pt idx="42">
                  <c:v>5430.5</c:v>
                </c:pt>
                <c:pt idx="43">
                  <c:v>3861.5714</c:v>
                </c:pt>
                <c:pt idx="44">
                  <c:v>4392.6</c:v>
                </c:pt>
                <c:pt idx="45">
                  <c:v>4084.4545</c:v>
                </c:pt>
                <c:pt idx="46">
                  <c:v>3682.6154</c:v>
                </c:pt>
                <c:pt idx="47">
                  <c:v>4401.9</c:v>
                </c:pt>
                <c:pt idx="48">
                  <c:v>3202.1176</c:v>
                </c:pt>
                <c:pt idx="49">
                  <c:v>3614.8333</c:v>
                </c:pt>
                <c:pt idx="50">
                  <c:v>4083.9</c:v>
                </c:pt>
                <c:pt idx="51">
                  <c:v>4174.75</c:v>
                </c:pt>
                <c:pt idx="52">
                  <c:v>3479.2</c:v>
                </c:pt>
                <c:pt idx="53">
                  <c:v>3423.5</c:v>
                </c:pt>
                <c:pt idx="54">
                  <c:v>4202.4</c:v>
                </c:pt>
                <c:pt idx="55">
                  <c:v>15202.0</c:v>
                </c:pt>
                <c:pt idx="56">
                  <c:v>6202.5</c:v>
                </c:pt>
                <c:pt idx="57">
                  <c:v>10480.0</c:v>
                </c:pt>
                <c:pt idx="58">
                  <c:v>4706.5</c:v>
                </c:pt>
                <c:pt idx="59">
                  <c:v>3925.25</c:v>
                </c:pt>
                <c:pt idx="60">
                  <c:v>3984.0</c:v>
                </c:pt>
                <c:pt idx="61">
                  <c:v>3894.25</c:v>
                </c:pt>
                <c:pt idx="62">
                  <c:v>3523.6667</c:v>
                </c:pt>
                <c:pt idx="63">
                  <c:v>2920.0</c:v>
                </c:pt>
                <c:pt idx="64">
                  <c:v>3077.6</c:v>
                </c:pt>
                <c:pt idx="65">
                  <c:v>6638.0</c:v>
                </c:pt>
                <c:pt idx="66">
                  <c:v>10119.0</c:v>
                </c:pt>
                <c:pt idx="67">
                  <c:v>5730.5</c:v>
                </c:pt>
                <c:pt idx="68">
                  <c:v>17630.0</c:v>
                </c:pt>
                <c:pt idx="69">
                  <c:v>5701.0</c:v>
                </c:pt>
                <c:pt idx="70">
                  <c:v>5620.2857</c:v>
                </c:pt>
                <c:pt idx="71">
                  <c:v>6033.2</c:v>
                </c:pt>
                <c:pt idx="72">
                  <c:v>5945.6</c:v>
                </c:pt>
                <c:pt idx="73">
                  <c:v>5831.6</c:v>
                </c:pt>
                <c:pt idx="74">
                  <c:v>5610.1429</c:v>
                </c:pt>
                <c:pt idx="75">
                  <c:v>8324.4</c:v>
                </c:pt>
                <c:pt idx="76">
                  <c:v>8366.5</c:v>
                </c:pt>
                <c:pt idx="77">
                  <c:v>4291.4545</c:v>
                </c:pt>
                <c:pt idx="78">
                  <c:v>22182.0</c:v>
                </c:pt>
                <c:pt idx="79">
                  <c:v>18169.0</c:v>
                </c:pt>
                <c:pt idx="80">
                  <c:v>17887.0</c:v>
                </c:pt>
                <c:pt idx="81">
                  <c:v>11855.0</c:v>
                </c:pt>
                <c:pt idx="82">
                  <c:v>14450.0</c:v>
                </c:pt>
                <c:pt idx="83">
                  <c:v>17175.0</c:v>
                </c:pt>
                <c:pt idx="84">
                  <c:v>6509.5</c:v>
                </c:pt>
                <c:pt idx="85">
                  <c:v>11668.0</c:v>
                </c:pt>
                <c:pt idx="86">
                  <c:v>5744.6667</c:v>
                </c:pt>
                <c:pt idx="87">
                  <c:v>10423.0</c:v>
                </c:pt>
              </c:numCache>
            </c:numRef>
          </c:xVal>
          <c:yVal>
            <c:numRef>
              <c:f>Sheet1!$B$2:$B$89</c:f>
              <c:numCache>
                <c:formatCode>General</c:formatCode>
                <c:ptCount val="88"/>
                <c:pt idx="0">
                  <c:v>0.004395604395604396</c:v>
                </c:pt>
                <c:pt idx="1">
                  <c:v>0.001076426264800861</c:v>
                </c:pt>
                <c:pt idx="2">
                  <c:v>0.001122754491017964</c:v>
                </c:pt>
                <c:pt idx="3">
                  <c:v>0.0007564296520423601</c:v>
                </c:pt>
                <c:pt idx="4">
                  <c:v>0.0008413967185527977</c:v>
                </c:pt>
                <c:pt idx="5">
                  <c:v>0.002448579823702253</c:v>
                </c:pt>
                <c:pt idx="6">
                  <c:v>0.0027945971122496508</c:v>
                </c:pt>
                <c:pt idx="7">
                  <c:v>0.003858875413450937</c:v>
                </c:pt>
                <c:pt idx="8">
                  <c:v>0.0021727322107550242</c:v>
                </c:pt>
                <c:pt idx="9">
                  <c:v>0.002827521206409048</c:v>
                </c:pt>
                <c:pt idx="10">
                  <c:v>0.001359311282283643</c:v>
                </c:pt>
                <c:pt idx="11">
                  <c:v>0.00299017513882956</c:v>
                </c:pt>
                <c:pt idx="12">
                  <c:v>0.002177858439201452</c:v>
                </c:pt>
                <c:pt idx="13">
                  <c:v>0.0024529844644317253</c:v>
                </c:pt>
                <c:pt idx="14">
                  <c:v>0.0007961783439490446</c:v>
                </c:pt>
                <c:pt idx="15">
                  <c:v>0.0022841480127912287</c:v>
                </c:pt>
                <c:pt idx="16">
                  <c:v>0.0021493820526598604</c:v>
                </c:pt>
                <c:pt idx="17">
                  <c:v>0.0016216216216216215</c:v>
                </c:pt>
                <c:pt idx="18">
                  <c:v>0.002527379949452401</c:v>
                </c:pt>
                <c:pt idx="19">
                  <c:v>0.0024449877750611247</c:v>
                </c:pt>
                <c:pt idx="20">
                  <c:v>0.0014792899408284023</c:v>
                </c:pt>
                <c:pt idx="21">
                  <c:v>0.0041981528127623844</c:v>
                </c:pt>
                <c:pt idx="22">
                  <c:v>0.0026431718061674008</c:v>
                </c:pt>
                <c:pt idx="23">
                  <c:v>0.003977724741447892</c:v>
                </c:pt>
                <c:pt idx="24">
                  <c:v>0.0064995357474466105</c:v>
                </c:pt>
                <c:pt idx="25">
                  <c:v>0.003695491500369549</c:v>
                </c:pt>
                <c:pt idx="26">
                  <c:v>0.0015026296018031556</c:v>
                </c:pt>
                <c:pt idx="27">
                  <c:v>0.003703703703703704</c:v>
                </c:pt>
                <c:pt idx="28">
                  <c:v>0.0028368794326241137</c:v>
                </c:pt>
                <c:pt idx="29">
                  <c:v>0.0034129692832764505</c:v>
                </c:pt>
                <c:pt idx="30">
                  <c:v>0.0035026269702276708</c:v>
                </c:pt>
                <c:pt idx="31">
                  <c:v>0.002798507462686567</c:v>
                </c:pt>
                <c:pt idx="32">
                  <c:v>0.007704160246533128</c:v>
                </c:pt>
                <c:pt idx="33">
                  <c:v>0.008086253369272238</c:v>
                </c:pt>
                <c:pt idx="34">
                  <c:v>0.006572769953051643</c:v>
                </c:pt>
                <c:pt idx="35">
                  <c:v>0.0024509803921568627</c:v>
                </c:pt>
                <c:pt idx="36">
                  <c:v>0.003108003108003108</c:v>
                </c:pt>
                <c:pt idx="37">
                  <c:v>0.0014749262536873156</c:v>
                </c:pt>
                <c:pt idx="38">
                  <c:v>0.003205128205128205</c:v>
                </c:pt>
                <c:pt idx="39">
                  <c:v>0.0019083969465648854</c:v>
                </c:pt>
                <c:pt idx="40">
                  <c:v>0.002180232558139535</c:v>
                </c:pt>
                <c:pt idx="41">
                  <c:v>0.0005688282138794084</c:v>
                </c:pt>
                <c:pt idx="42">
                  <c:v>0.0019550342130987292</c:v>
                </c:pt>
                <c:pt idx="43">
                  <c:v>0.0026375282592313487</c:v>
                </c:pt>
                <c:pt idx="44">
                  <c:v>0.00181422351233672</c:v>
                </c:pt>
                <c:pt idx="45">
                  <c:v>0.004017531044558071</c:v>
                </c:pt>
                <c:pt idx="46">
                  <c:v>0.0047376093294460644</c:v>
                </c:pt>
                <c:pt idx="47">
                  <c:v>0.0026219192448872575</c:v>
                </c:pt>
                <c:pt idx="48">
                  <c:v>0.0028048176868503546</c:v>
                </c:pt>
                <c:pt idx="49">
                  <c:v>0.0035231943628890195</c:v>
                </c:pt>
                <c:pt idx="50">
                  <c:v>0.0034626038781163434</c:v>
                </c:pt>
                <c:pt idx="51">
                  <c:v>0.00107095046854083</c:v>
                </c:pt>
                <c:pt idx="52">
                  <c:v>0.001991238550378335</c:v>
                </c:pt>
                <c:pt idx="53">
                  <c:v>0.0043821209465381246</c:v>
                </c:pt>
                <c:pt idx="54">
                  <c:v>0.0024224806201550387</c:v>
                </c:pt>
                <c:pt idx="55">
                  <c:v>0.00043956043956043956</c:v>
                </c:pt>
                <c:pt idx="56">
                  <c:v>0.0008532423208191126</c:v>
                </c:pt>
                <c:pt idx="57">
                  <c:v>0.00037750094375235937</c:v>
                </c:pt>
                <c:pt idx="58">
                  <c:v>0.0009363295880149813</c:v>
                </c:pt>
                <c:pt idx="59">
                  <c:v>0.0009905894006934125</c:v>
                </c:pt>
                <c:pt idx="60">
                  <c:v>0.0018511662347278786</c:v>
                </c:pt>
                <c:pt idx="61">
                  <c:v>0.0015088645794039985</c:v>
                </c:pt>
                <c:pt idx="62">
                  <c:v>0.001932367149758454</c:v>
                </c:pt>
                <c:pt idx="63">
                  <c:v>0.0027683789603199014</c:v>
                </c:pt>
                <c:pt idx="64">
                  <c:v>0.001649620587264929</c:v>
                </c:pt>
                <c:pt idx="65">
                  <c:v>0.0003812428516965307</c:v>
                </c:pt>
                <c:pt idx="66">
                  <c:v>0.00039308176100628933</c:v>
                </c:pt>
                <c:pt idx="67">
                  <c:v>0.0012121212121212121</c:v>
                </c:pt>
                <c:pt idx="68">
                  <c:v>0.000547945205479452</c:v>
                </c:pt>
                <c:pt idx="69">
                  <c:v>0.00277623542476402</c:v>
                </c:pt>
                <c:pt idx="70">
                  <c:v>0.003886729594669628</c:v>
                </c:pt>
                <c:pt idx="71">
                  <c:v>0.0034317089910775567</c:v>
                </c:pt>
                <c:pt idx="72">
                  <c:v>0.003586800573888092</c:v>
                </c:pt>
                <c:pt idx="73">
                  <c:v>0.0035137034434293743</c:v>
                </c:pt>
                <c:pt idx="74">
                  <c:v>0.0055248618784530384</c:v>
                </c:pt>
                <c:pt idx="75">
                  <c:v>0.00395882818685669</c:v>
                </c:pt>
                <c:pt idx="76">
                  <c:v>0.003189792663476874</c:v>
                </c:pt>
                <c:pt idx="77">
                  <c:v>0.0072992700729927005</c:v>
                </c:pt>
                <c:pt idx="78">
                  <c:v>0.000846740050804403</c:v>
                </c:pt>
                <c:pt idx="79">
                  <c:v>0.0010626992561105207</c:v>
                </c:pt>
                <c:pt idx="80">
                  <c:v>0.0010695187165775401</c:v>
                </c:pt>
                <c:pt idx="81">
                  <c:v>0.00033944331296673454</c:v>
                </c:pt>
                <c:pt idx="82">
                  <c:v>0.00026652452025586353</c:v>
                </c:pt>
                <c:pt idx="83">
                  <c:v>0.0001607717041800643</c:v>
                </c:pt>
                <c:pt idx="84">
                  <c:v>0.0005931198102016608</c:v>
                </c:pt>
                <c:pt idx="85">
                  <c:v>0.0003197953309881676</c:v>
                </c:pt>
                <c:pt idx="86">
                  <c:v>0.0009724473257698541</c:v>
                </c:pt>
                <c:pt idx="87">
                  <c:v>0.00035778175313059033</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003181673560292714</c:v>
                </c:pt>
                <c:pt idx="21">
                  <c:v>0.0007186489399928135</c:v>
                </c:pt>
                <c:pt idx="22">
                  <c:v>0.0</c:v>
                </c:pt>
                <c:pt idx="23">
                  <c:v>0.0</c:v>
                </c:pt>
                <c:pt idx="24">
                  <c:v>0.0006075334143377885</c:v>
                </c:pt>
                <c:pt idx="25">
                  <c:v>0.0</c:v>
                </c:pt>
                <c:pt idx="26">
                  <c:v>0.0010147133434804667</c:v>
                </c:pt>
                <c:pt idx="27">
                  <c:v>0.0004870920603994155</c:v>
                </c:pt>
                <c:pt idx="28">
                  <c:v>0.0008421052631578948</c:v>
                </c:pt>
                <c:pt idx="29">
                  <c:v>0.0</c:v>
                </c:pt>
                <c:pt idx="30">
                  <c:v>0.0</c:v>
                </c:pt>
                <c:pt idx="31">
                  <c:v>0.00047393364928909954</c:v>
                </c:pt>
                <c:pt idx="32">
                  <c:v>0.00047460844803037496</c:v>
                </c:pt>
                <c:pt idx="33">
                  <c:v>0.0011043622308117063</c:v>
                </c:pt>
                <c:pt idx="34">
                  <c:v>0.0</c:v>
                </c:pt>
                <c:pt idx="35">
                  <c:v>0.0</c:v>
                </c:pt>
                <c:pt idx="36">
                  <c:v>0.0005685048322910744</c:v>
                </c:pt>
                <c:pt idx="37">
                  <c:v>0.0</c:v>
                </c:pt>
                <c:pt idx="38">
                  <c:v>0.0018656716417910447</c:v>
                </c:pt>
                <c:pt idx="39">
                  <c:v>0.001851851851851852</c:v>
                </c:pt>
                <c:pt idx="40">
                  <c:v>0.0008532423208191126</c:v>
                </c:pt>
                <c:pt idx="41">
                  <c:v>0.0008319467554076539</c:v>
                </c:pt>
                <c:pt idx="42">
                  <c:v>0.0024096385542168677</c:v>
                </c:pt>
                <c:pt idx="43">
                  <c:v>0.003779289493575208</c:v>
                </c:pt>
                <c:pt idx="44">
                  <c:v>0.0013736263736263737</c:v>
                </c:pt>
                <c:pt idx="45">
                  <c:v>0.0013995801259622112</c:v>
                </c:pt>
                <c:pt idx="46">
                  <c:v>0.0016366612111292963</c:v>
                </c:pt>
                <c:pt idx="47">
                  <c:v>0.0008445945945945946</c:v>
                </c:pt>
                <c:pt idx="48">
                  <c:v>0.0</c:v>
                </c:pt>
                <c:pt idx="49">
                  <c:v>0.0010298661174047373</c:v>
                </c:pt>
                <c:pt idx="50">
                  <c:v>0.003669724770642202</c:v>
                </c:pt>
                <c:pt idx="51">
                  <c:v>0.0029086678301337987</c:v>
                </c:pt>
                <c:pt idx="52">
                  <c:v>0.0029797377830750892</c:v>
                </c:pt>
                <c:pt idx="53">
                  <c:v>0.0</c:v>
                </c:pt>
                <c:pt idx="54">
                  <c:v>0.0</c:v>
                </c:pt>
                <c:pt idx="55">
                  <c:v>0.0</c:v>
                </c:pt>
                <c:pt idx="56">
                  <c:v>0.0</c:v>
                </c:pt>
                <c:pt idx="57">
                  <c:v>0.0007575757575757576</c:v>
                </c:pt>
                <c:pt idx="58">
                  <c:v>0.000731528895391368</c:v>
                </c:pt>
                <c:pt idx="59">
                  <c:v>0.0008312551953449709</c:v>
                </c:pt>
                <c:pt idx="60">
                  <c:v>0.0</c:v>
                </c:pt>
                <c:pt idx="61">
                  <c:v>0.0</c:v>
                </c:pt>
                <c:pt idx="62">
                  <c:v>0.0</c:v>
                </c:pt>
                <c:pt idx="63">
                  <c:v>0.0</c:v>
                </c:pt>
                <c:pt idx="64">
                  <c:v>0.0</c:v>
                </c:pt>
                <c:pt idx="65">
                  <c:v>0.0</c:v>
                </c:pt>
                <c:pt idx="66">
                  <c:v>0.0</c:v>
                </c:pt>
                <c:pt idx="67">
                  <c:v>0.0006628003314001657</c:v>
                </c:pt>
                <c:pt idx="68">
                  <c:v>0.000296208530805687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2995.76162034374</c:v>
                </c:pt>
              </c:numCache>
            </c:numRef>
          </c:xVal>
          <c:yVal>
            <c:numRef>
              <c:f>Sheet1!$B$163:$B$164</c:f>
              <c:numCache>
                <c:formatCode>General</c:formatCode>
                <c:ptCount val="2"/>
                <c:pt idx="0">
                  <c:v>0.004197062052178528</c:v>
                </c:pt>
                <c:pt idx="1">
                  <c:v>0.00419706205217852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2995.76162034374</c:v>
                </c:pt>
                <c:pt idx="1">
                  <c:v>52995.76162034374</c:v>
                </c:pt>
              </c:numCache>
            </c:numRef>
          </c:xVal>
          <c:yVal>
            <c:numRef>
              <c:f>Sheet1!$B$167:$B$168</c:f>
              <c:numCache>
                <c:formatCode>General</c:formatCode>
                <c:ptCount val="2"/>
                <c:pt idx="0">
                  <c:v>0.00419706205217852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9536.322088794805</c:v>
                </c:pt>
              </c:numCache>
            </c:numRef>
          </c:xVal>
          <c:yVal>
            <c:numRef>
              <c:f>Sheet1!$B$171:$B$172</c:f>
              <c:numCache>
                <c:formatCode>General</c:formatCode>
                <c:ptCount val="2"/>
                <c:pt idx="0">
                  <c:v>0.0017375915384126085</c:v>
                </c:pt>
                <c:pt idx="1">
                  <c:v>0.001737591538412608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9536.322088794805</c:v>
                </c:pt>
                <c:pt idx="1">
                  <c:v>19536.322088794805</c:v>
                </c:pt>
              </c:numCache>
            </c:numRef>
          </c:xVal>
          <c:yVal>
            <c:numRef>
              <c:f>Sheet1!$B$175:$B$176</c:f>
              <c:numCache>
                <c:formatCode>General</c:formatCode>
                <c:ptCount val="2"/>
                <c:pt idx="0">
                  <c:v>0.001737591538412608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670.6247205103949</c:v>
                </c:pt>
              </c:numCache>
            </c:numRef>
          </c:xVal>
          <c:yVal>
            <c:numRef>
              <c:f>Sheet1!$B$179:$B$180</c:f>
              <c:numCache>
                <c:formatCode>General</c:formatCode>
                <c:ptCount val="2"/>
                <c:pt idx="0">
                  <c:v>0.0002522591315783038</c:v>
                </c:pt>
                <c:pt idx="1">
                  <c:v>0.000252259131578303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670.6247205103949</c:v>
                </c:pt>
                <c:pt idx="1">
                  <c:v>-670.6247205103949</c:v>
                </c:pt>
              </c:numCache>
            </c:numRef>
          </c:xVal>
          <c:yVal>
            <c:numRef>
              <c:f>Sheet1!$B$183:$B$184</c:f>
              <c:numCache>
                <c:formatCode>General</c:formatCode>
                <c:ptCount val="2"/>
                <c:pt idx="0">
                  <c:v>0.000252259131578303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pt idx="69">
                  <c:v>19536.322088794805</c:v>
                </c:pt>
                <c:pt idx="70">
                  <c:v>52995.76162034374</c:v>
                </c:pt>
                <c:pt idx="71">
                  <c:v>-670.6247205103949</c:v>
                </c:pt>
              </c:numCache>
            </c:numRef>
          </c:xVal>
          <c:yVal>
            <c:numRef>
              <c:f>Sheet1!$B$187:$B$258</c:f>
              <c:numCache>
                <c:formatCode>General</c:formatCode>
                <c:ptCount val="72"/>
                <c:pt idx="0">
                  <c:v>0.0003015540913561753</c:v>
                </c:pt>
                <c:pt idx="1">
                  <c:v>0.0003015540913561753</c:v>
                </c:pt>
                <c:pt idx="2">
                  <c:v>0.0003015540913561753</c:v>
                </c:pt>
                <c:pt idx="3">
                  <c:v>0.0003015540913561753</c:v>
                </c:pt>
                <c:pt idx="4">
                  <c:v>0.0003015540913561753</c:v>
                </c:pt>
                <c:pt idx="5">
                  <c:v>0.0003015540913561753</c:v>
                </c:pt>
                <c:pt idx="6">
                  <c:v>0.0003015540913561753</c:v>
                </c:pt>
                <c:pt idx="7">
                  <c:v>0.0003015540913561753</c:v>
                </c:pt>
                <c:pt idx="8">
                  <c:v>0.0003015540913561753</c:v>
                </c:pt>
                <c:pt idx="9">
                  <c:v>0.0003015540913561753</c:v>
                </c:pt>
                <c:pt idx="10">
                  <c:v>0.0003015540913561753</c:v>
                </c:pt>
                <c:pt idx="11">
                  <c:v>0.0003015540913561753</c:v>
                </c:pt>
                <c:pt idx="12">
                  <c:v>0.0003015540913561753</c:v>
                </c:pt>
                <c:pt idx="13">
                  <c:v>0.0003015540913561753</c:v>
                </c:pt>
                <c:pt idx="14">
                  <c:v>0.0003015540913561753</c:v>
                </c:pt>
                <c:pt idx="15">
                  <c:v>0.0003015540913561753</c:v>
                </c:pt>
                <c:pt idx="16">
                  <c:v>0.0003015540913561753</c:v>
                </c:pt>
                <c:pt idx="17">
                  <c:v>0.0003015540913561753</c:v>
                </c:pt>
                <c:pt idx="18">
                  <c:v>0.0003015540913561753</c:v>
                </c:pt>
                <c:pt idx="19">
                  <c:v>0.0003015540913561753</c:v>
                </c:pt>
                <c:pt idx="20">
                  <c:v>0.0011236455134202518</c:v>
                </c:pt>
                <c:pt idx="21">
                  <c:v>0.0007619591004851402</c:v>
                </c:pt>
                <c:pt idx="22">
                  <c:v>0.0003015540913561753</c:v>
                </c:pt>
                <c:pt idx="23">
                  <c:v>0.0003015540913561753</c:v>
                </c:pt>
                <c:pt idx="24">
                  <c:v>0.0009989057831589197</c:v>
                </c:pt>
                <c:pt idx="25">
                  <c:v>0.0003015540913561753</c:v>
                </c:pt>
                <c:pt idx="26">
                  <c:v>0.0006662910044715139</c:v>
                </c:pt>
                <c:pt idx="27">
                  <c:v>0.0008350608457679302</c:v>
                </c:pt>
                <c:pt idx="28">
                  <c:v>0.0009360948818576183</c:v>
                </c:pt>
                <c:pt idx="29">
                  <c:v>0.0003015540913561753</c:v>
                </c:pt>
                <c:pt idx="30">
                  <c:v>0.0003015540913561753</c:v>
                </c:pt>
                <c:pt idx="31">
                  <c:v>0.0012995454394752709</c:v>
                </c:pt>
                <c:pt idx="32">
                  <c:v>0.0011656909616874773</c:v>
                </c:pt>
                <c:pt idx="33">
                  <c:v>0.0011211095554390991</c:v>
                </c:pt>
                <c:pt idx="34">
                  <c:v>0.0003015540913561753</c:v>
                </c:pt>
                <c:pt idx="35">
                  <c:v>0.0003015540913561753</c:v>
                </c:pt>
                <c:pt idx="36">
                  <c:v>0.0011565762141610158</c:v>
                </c:pt>
                <c:pt idx="37">
                  <c:v>0.0003015540913561753</c:v>
                </c:pt>
                <c:pt idx="38">
                  <c:v>0.0008012113196716759</c:v>
                </c:pt>
                <c:pt idx="39">
                  <c:v>0.000692936939780726</c:v>
                </c:pt>
                <c:pt idx="40">
                  <c:v>0.0007703755407414291</c:v>
                </c:pt>
                <c:pt idx="41">
                  <c:v>0.0011271738027853336</c:v>
                </c:pt>
                <c:pt idx="42">
                  <c:v>0.0006706033605901482</c:v>
                </c:pt>
                <c:pt idx="43">
                  <c:v>0.000602340759729405</c:v>
                </c:pt>
                <c:pt idx="44">
                  <c:v>0.0006388365028494706</c:v>
                </c:pt>
                <c:pt idx="45">
                  <c:v>0.0008332231950569501</c:v>
                </c:pt>
                <c:pt idx="46">
                  <c:v>0.0007050654344731949</c:v>
                </c:pt>
                <c:pt idx="47">
                  <c:v>0.0007858118067136623</c:v>
                </c:pt>
                <c:pt idx="48">
                  <c:v>0.0003015540913561753</c:v>
                </c:pt>
                <c:pt idx="49">
                  <c:v>0.000732446430066799</c:v>
                </c:pt>
                <c:pt idx="50">
                  <c:v>0.00046701616137282727</c:v>
                </c:pt>
                <c:pt idx="51">
                  <c:v>0.0004493747145474179</c:v>
                </c:pt>
                <c:pt idx="52">
                  <c:v>0.000560412921107682</c:v>
                </c:pt>
                <c:pt idx="53">
                  <c:v>0.0003015540913561753</c:v>
                </c:pt>
                <c:pt idx="54">
                  <c:v>0.0003015540913561753</c:v>
                </c:pt>
                <c:pt idx="55">
                  <c:v>0.0003015540913561753</c:v>
                </c:pt>
                <c:pt idx="56">
                  <c:v>0.0003015540913561753</c:v>
                </c:pt>
                <c:pt idx="57">
                  <c:v>0.0012282445918892415</c:v>
                </c:pt>
                <c:pt idx="58">
                  <c:v>0.0009874388427224036</c:v>
                </c:pt>
                <c:pt idx="59">
                  <c:v>0.001170542359564465</c:v>
                </c:pt>
                <c:pt idx="60">
                  <c:v>0.0003015540913561753</c:v>
                </c:pt>
                <c:pt idx="61">
                  <c:v>0.0003015540913561753</c:v>
                </c:pt>
                <c:pt idx="62">
                  <c:v>0.0003015540913561753</c:v>
                </c:pt>
                <c:pt idx="63">
                  <c:v>0.0003015540913561753</c:v>
                </c:pt>
                <c:pt idx="64">
                  <c:v>0.0003015540913561753</c:v>
                </c:pt>
                <c:pt idx="65">
                  <c:v>0.0003015540913561753</c:v>
                </c:pt>
                <c:pt idx="66">
                  <c:v>0.0003015540913561753</c:v>
                </c:pt>
                <c:pt idx="67">
                  <c:v>0.0006400493523187175</c:v>
                </c:pt>
                <c:pt idx="68">
                  <c:v>0.0013329906824151095</c:v>
                </c:pt>
                <c:pt idx="69">
                  <c:v>0.0017375915384126085</c:v>
                </c:pt>
                <c:pt idx="70">
                  <c:v>0.004197062052178528</c:v>
                </c:pt>
                <c:pt idx="71">
                  <c:v>0.000252259131578303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359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70350404312668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0.09215670702677663</c:v>
                </c:pt>
                <c:pt idx="1">
                  <c:v>0.2961448875790274</c:v>
                </c:pt>
                <c:pt idx="2">
                  <c:v>0.3706906879368589</c:v>
                </c:pt>
                <c:pt idx="3">
                  <c:v>0.27259707622882157</c:v>
                </c:pt>
                <c:pt idx="4">
                  <c:v>0.294372806498679</c:v>
                </c:pt>
                <c:pt idx="5">
                  <c:v>0.11438553022794848</c:v>
                </c:pt>
                <c:pt idx="6">
                  <c:v>0.23825433387230904</c:v>
                </c:pt>
                <c:pt idx="7">
                  <c:v>0.1844329448373589</c:v>
                </c:pt>
                <c:pt idx="8">
                  <c:v>0.2364038715157476</c:v>
                </c:pt>
                <c:pt idx="9">
                  <c:v>0.20471243982771725</c:v>
                </c:pt>
                <c:pt idx="10">
                  <c:v>0.3390875197146296</c:v>
                </c:pt>
                <c:pt idx="11">
                  <c:v>0.21693201442515372</c:v>
                </c:pt>
                <c:pt idx="12">
                  <c:v>0.2528305658268123</c:v>
                </c:pt>
                <c:pt idx="13">
                  <c:v>0.20525680337603242</c:v>
                </c:pt>
                <c:pt idx="14">
                  <c:v>0.23975153870327065</c:v>
                </c:pt>
                <c:pt idx="15">
                  <c:v>0.14778123400401622</c:v>
                </c:pt>
                <c:pt idx="16">
                  <c:v>0.10988120779459137</c:v>
                </c:pt>
                <c:pt idx="17">
                  <c:v>0.1684470008216927</c:v>
                </c:pt>
                <c:pt idx="18">
                  <c:v>0.1612627984396403</c:v>
                </c:pt>
                <c:pt idx="19">
                  <c:v>0.12223511040279669</c:v>
                </c:pt>
                <c:pt idx="20">
                  <c:v>0.09539589509433105</c:v>
                </c:pt>
                <c:pt idx="21">
                  <c:v>0.169891362020309</c:v>
                </c:pt>
                <c:pt idx="22">
                  <c:v>0.23366923956546598</c:v>
                </c:pt>
                <c:pt idx="23">
                  <c:v>0.16503592423252775</c:v>
                </c:pt>
                <c:pt idx="24">
                  <c:v>0.17163067009574187</c:v>
                </c:pt>
                <c:pt idx="25">
                  <c:v>0.20119291541488063</c:v>
                </c:pt>
                <c:pt idx="26">
                  <c:v>0.292448312176389</c:v>
                </c:pt>
                <c:pt idx="27">
                  <c:v>0.11580477673935617</c:v>
                </c:pt>
                <c:pt idx="28">
                  <c:v>0.3345066453739186</c:v>
                </c:pt>
                <c:pt idx="29">
                  <c:v>0.15091564387297876</c:v>
                </c:pt>
                <c:pt idx="30">
                  <c:v>0.18676861513730947</c:v>
                </c:pt>
                <c:pt idx="31">
                  <c:v>0.2514679128947569</c:v>
                </c:pt>
                <c:pt idx="32">
                  <c:v>0.12501254007777798</c:v>
                </c:pt>
                <c:pt idx="33">
                  <c:v>0.14027242734957235</c:v>
                </c:pt>
                <c:pt idx="34">
                  <c:v>0.14111549649072322</c:v>
                </c:pt>
                <c:pt idx="35">
                  <c:v>0.2333178879746636</c:v>
                </c:pt>
                <c:pt idx="36">
                  <c:v>0.19293990926699728</c:v>
                </c:pt>
                <c:pt idx="37">
                  <c:v>0.30442823947063447</c:v>
                </c:pt>
                <c:pt idx="38">
                  <c:v>0.19153874761153644</c:v>
                </c:pt>
                <c:pt idx="39">
                  <c:v>0.2618996169005275</c:v>
                </c:pt>
                <c:pt idx="40">
                  <c:v>0.21685294452347084</c:v>
                </c:pt>
                <c:pt idx="41">
                  <c:v>0.403916691941341</c:v>
                </c:pt>
                <c:pt idx="42">
                  <c:v>0.17875050765160633</c:v>
                </c:pt>
                <c:pt idx="43">
                  <c:v>0.17083528237457316</c:v>
                </c:pt>
                <c:pt idx="44">
                  <c:v>0.18074931565669822</c:v>
                </c:pt>
                <c:pt idx="45">
                  <c:v>0.15985539361883114</c:v>
                </c:pt>
                <c:pt idx="46">
                  <c:v>0.1580453800266083</c:v>
                </c:pt>
                <c:pt idx="47">
                  <c:v>0.20598064491328436</c:v>
                </c:pt>
                <c:pt idx="48">
                  <c:v>0.13977263912439858</c:v>
                </c:pt>
                <c:pt idx="49">
                  <c:v>0.17025974550377793</c:v>
                </c:pt>
                <c:pt idx="50">
                  <c:v>0.17032674395010677</c:v>
                </c:pt>
                <c:pt idx="51">
                  <c:v>0.191397376208913</c:v>
                </c:pt>
                <c:pt idx="52">
                  <c:v>0.15280738351292922</c:v>
                </c:pt>
                <c:pt idx="53">
                  <c:v>0.11077459707297502</c:v>
                </c:pt>
                <c:pt idx="54">
                  <c:v>0.15753539960893026</c:v>
                </c:pt>
                <c:pt idx="55">
                  <c:v>0.5960185700755464</c:v>
                </c:pt>
                <c:pt idx="56">
                  <c:v>0.26261749513083243</c:v>
                </c:pt>
                <c:pt idx="57">
                  <c:v>0.4987049707361541</c:v>
                </c:pt>
                <c:pt idx="58">
                  <c:v>0.2006597705192362</c:v>
                </c:pt>
                <c:pt idx="59">
                  <c:v>0.16374880910573283</c:v>
                </c:pt>
                <c:pt idx="60">
                  <c:v>0.18997234324071371</c:v>
                </c:pt>
                <c:pt idx="61">
                  <c:v>0.15673430782891742</c:v>
                </c:pt>
                <c:pt idx="62">
                  <c:v>0.1583021736674773</c:v>
                </c:pt>
                <c:pt idx="63">
                  <c:v>0.13675232504476553</c:v>
                </c:pt>
                <c:pt idx="64">
                  <c:v>0.13371386054999035</c:v>
                </c:pt>
                <c:pt idx="65">
                  <c:v>0.27076195137869147</c:v>
                </c:pt>
                <c:pt idx="66">
                  <c:v>0.40154192894353863</c:v>
                </c:pt>
                <c:pt idx="67">
                  <c:v>0.25698791073349014</c:v>
                </c:pt>
                <c:pt idx="68">
                  <c:v>0.777304873957722</c:v>
                </c:pt>
                <c:pt idx="69">
                  <c:v>0.2485223870653309</c:v>
                </c:pt>
                <c:pt idx="70">
                  <c:v>0.24545090358025665</c:v>
                </c:pt>
                <c:pt idx="71">
                  <c:v>0.25701527806557145</c:v>
                </c:pt>
                <c:pt idx="72">
                  <c:v>0.2608936389956936</c:v>
                </c:pt>
                <c:pt idx="73">
                  <c:v>0.2533605595863927</c:v>
                </c:pt>
                <c:pt idx="74">
                  <c:v>0.23938513144025395</c:v>
                </c:pt>
                <c:pt idx="75">
                  <c:v>0.3457407484321136</c:v>
                </c:pt>
                <c:pt idx="76">
                  <c:v>0.31800400956817865</c:v>
                </c:pt>
                <c:pt idx="77">
                  <c:v>0.17339093316086632</c:v>
                </c:pt>
                <c:pt idx="78">
                  <c:v>0.8175887361320998</c:v>
                </c:pt>
                <c:pt idx="79">
                  <c:v>0.7186277468363006</c:v>
                </c:pt>
                <c:pt idx="80">
                  <c:v>0.7074281797946497</c:v>
                </c:pt>
                <c:pt idx="81">
                  <c:v>0.5109240166214637</c:v>
                </c:pt>
                <c:pt idx="82">
                  <c:v>0.6630887559901981</c:v>
                </c:pt>
                <c:pt idx="83">
                  <c:v>0.7550409335275986</c:v>
                </c:pt>
                <c:pt idx="84">
                  <c:v>0.27350231965848626</c:v>
                </c:pt>
                <c:pt idx="85">
                  <c:v>0.6031420454310491</c:v>
                </c:pt>
                <c:pt idx="86">
                  <c:v>0.2257461132663551</c:v>
                </c:pt>
                <c:pt idx="87">
                  <c:v>0.4427168129561222</c:v>
                </c:pt>
              </c:numCache>
            </c:numRef>
          </c:xVal>
          <c:yVal>
            <c:numRef>
              <c:f>Sheet1!$B$2:$B$89</c:f>
              <c:numCache>
                <c:formatCode>General</c:formatCode>
                <c:ptCount val="88"/>
                <c:pt idx="0">
                  <c:v>0.004395604395604396</c:v>
                </c:pt>
                <c:pt idx="1">
                  <c:v>0.001076426264800861</c:v>
                </c:pt>
                <c:pt idx="2">
                  <c:v>0.001122754491017964</c:v>
                </c:pt>
                <c:pt idx="3">
                  <c:v>0.0007564296520423601</c:v>
                </c:pt>
                <c:pt idx="4">
                  <c:v>0.0008413967185527977</c:v>
                </c:pt>
                <c:pt idx="5">
                  <c:v>0.002448579823702253</c:v>
                </c:pt>
                <c:pt idx="6">
                  <c:v>0.0027945971122496508</c:v>
                </c:pt>
                <c:pt idx="7">
                  <c:v>0.003858875413450937</c:v>
                </c:pt>
                <c:pt idx="8">
                  <c:v>0.0021727322107550242</c:v>
                </c:pt>
                <c:pt idx="9">
                  <c:v>0.002827521206409048</c:v>
                </c:pt>
                <c:pt idx="10">
                  <c:v>0.001359311282283643</c:v>
                </c:pt>
                <c:pt idx="11">
                  <c:v>0.00299017513882956</c:v>
                </c:pt>
                <c:pt idx="12">
                  <c:v>0.002177858439201452</c:v>
                </c:pt>
                <c:pt idx="13">
                  <c:v>0.0024529844644317253</c:v>
                </c:pt>
                <c:pt idx="14">
                  <c:v>0.0007961783439490446</c:v>
                </c:pt>
                <c:pt idx="15">
                  <c:v>0.0022841480127912287</c:v>
                </c:pt>
                <c:pt idx="16">
                  <c:v>0.0021493820526598604</c:v>
                </c:pt>
                <c:pt idx="17">
                  <c:v>0.0016216216216216215</c:v>
                </c:pt>
                <c:pt idx="18">
                  <c:v>0.002527379949452401</c:v>
                </c:pt>
                <c:pt idx="19">
                  <c:v>0.0024449877750611247</c:v>
                </c:pt>
                <c:pt idx="20">
                  <c:v>0.0014792899408284023</c:v>
                </c:pt>
                <c:pt idx="21">
                  <c:v>0.0041981528127623844</c:v>
                </c:pt>
                <c:pt idx="22">
                  <c:v>0.0026431718061674008</c:v>
                </c:pt>
                <c:pt idx="23">
                  <c:v>0.003977724741447892</c:v>
                </c:pt>
                <c:pt idx="24">
                  <c:v>0.0064995357474466105</c:v>
                </c:pt>
                <c:pt idx="25">
                  <c:v>0.003695491500369549</c:v>
                </c:pt>
                <c:pt idx="26">
                  <c:v>0.0015026296018031556</c:v>
                </c:pt>
                <c:pt idx="27">
                  <c:v>0.003703703703703704</c:v>
                </c:pt>
                <c:pt idx="28">
                  <c:v>0.0028368794326241137</c:v>
                </c:pt>
                <c:pt idx="29">
                  <c:v>0.0034129692832764505</c:v>
                </c:pt>
                <c:pt idx="30">
                  <c:v>0.0035026269702276708</c:v>
                </c:pt>
                <c:pt idx="31">
                  <c:v>0.002798507462686567</c:v>
                </c:pt>
                <c:pt idx="32">
                  <c:v>0.007704160246533128</c:v>
                </c:pt>
                <c:pt idx="33">
                  <c:v>0.008086253369272238</c:v>
                </c:pt>
                <c:pt idx="34">
                  <c:v>0.006572769953051643</c:v>
                </c:pt>
                <c:pt idx="35">
                  <c:v>0.0024509803921568627</c:v>
                </c:pt>
                <c:pt idx="36">
                  <c:v>0.003108003108003108</c:v>
                </c:pt>
                <c:pt idx="37">
                  <c:v>0.0014749262536873156</c:v>
                </c:pt>
                <c:pt idx="38">
                  <c:v>0.003205128205128205</c:v>
                </c:pt>
                <c:pt idx="39">
                  <c:v>0.0019083969465648854</c:v>
                </c:pt>
                <c:pt idx="40">
                  <c:v>0.002180232558139535</c:v>
                </c:pt>
                <c:pt idx="41">
                  <c:v>0.0005688282138794084</c:v>
                </c:pt>
                <c:pt idx="42">
                  <c:v>0.0019550342130987292</c:v>
                </c:pt>
                <c:pt idx="43">
                  <c:v>0.0026375282592313487</c:v>
                </c:pt>
                <c:pt idx="44">
                  <c:v>0.00181422351233672</c:v>
                </c:pt>
                <c:pt idx="45">
                  <c:v>0.004017531044558071</c:v>
                </c:pt>
                <c:pt idx="46">
                  <c:v>0.0047376093294460644</c:v>
                </c:pt>
                <c:pt idx="47">
                  <c:v>0.0026219192448872575</c:v>
                </c:pt>
                <c:pt idx="48">
                  <c:v>0.0028048176868503546</c:v>
                </c:pt>
                <c:pt idx="49">
                  <c:v>0.0035231943628890195</c:v>
                </c:pt>
                <c:pt idx="50">
                  <c:v>0.0034626038781163434</c:v>
                </c:pt>
                <c:pt idx="51">
                  <c:v>0.00107095046854083</c:v>
                </c:pt>
                <c:pt idx="52">
                  <c:v>0.001991238550378335</c:v>
                </c:pt>
                <c:pt idx="53">
                  <c:v>0.0043821209465381246</c:v>
                </c:pt>
                <c:pt idx="54">
                  <c:v>0.0024224806201550387</c:v>
                </c:pt>
                <c:pt idx="55">
                  <c:v>0.00043956043956043956</c:v>
                </c:pt>
                <c:pt idx="56">
                  <c:v>0.0008532423208191126</c:v>
                </c:pt>
                <c:pt idx="57">
                  <c:v>0.00037750094375235937</c:v>
                </c:pt>
                <c:pt idx="58">
                  <c:v>0.0009363295880149813</c:v>
                </c:pt>
                <c:pt idx="59">
                  <c:v>0.0009905894006934125</c:v>
                </c:pt>
                <c:pt idx="60">
                  <c:v>0.0018511662347278786</c:v>
                </c:pt>
                <c:pt idx="61">
                  <c:v>0.0015088645794039985</c:v>
                </c:pt>
                <c:pt idx="62">
                  <c:v>0.001932367149758454</c:v>
                </c:pt>
                <c:pt idx="63">
                  <c:v>0.0027683789603199014</c:v>
                </c:pt>
                <c:pt idx="64">
                  <c:v>0.001649620587264929</c:v>
                </c:pt>
                <c:pt idx="65">
                  <c:v>0.0003812428516965307</c:v>
                </c:pt>
                <c:pt idx="66">
                  <c:v>0.00039308176100628933</c:v>
                </c:pt>
                <c:pt idx="67">
                  <c:v>0.0012121212121212121</c:v>
                </c:pt>
                <c:pt idx="68">
                  <c:v>0.000547945205479452</c:v>
                </c:pt>
                <c:pt idx="69">
                  <c:v>0.00277623542476402</c:v>
                </c:pt>
                <c:pt idx="70">
                  <c:v>0.003886729594669628</c:v>
                </c:pt>
                <c:pt idx="71">
                  <c:v>0.0034317089910775567</c:v>
                </c:pt>
                <c:pt idx="72">
                  <c:v>0.003586800573888092</c:v>
                </c:pt>
                <c:pt idx="73">
                  <c:v>0.0035137034434293743</c:v>
                </c:pt>
                <c:pt idx="74">
                  <c:v>0.0055248618784530384</c:v>
                </c:pt>
                <c:pt idx="75">
                  <c:v>0.00395882818685669</c:v>
                </c:pt>
                <c:pt idx="76">
                  <c:v>0.003189792663476874</c:v>
                </c:pt>
                <c:pt idx="77">
                  <c:v>0.0072992700729927005</c:v>
                </c:pt>
                <c:pt idx="78">
                  <c:v>0.000846740050804403</c:v>
                </c:pt>
                <c:pt idx="79">
                  <c:v>0.0010626992561105207</c:v>
                </c:pt>
                <c:pt idx="80">
                  <c:v>0.0010695187165775401</c:v>
                </c:pt>
                <c:pt idx="81">
                  <c:v>0.00033944331296673454</c:v>
                </c:pt>
                <c:pt idx="82">
                  <c:v>0.00026652452025586353</c:v>
                </c:pt>
                <c:pt idx="83">
                  <c:v>0.0001607717041800643</c:v>
                </c:pt>
                <c:pt idx="84">
                  <c:v>0.0005931198102016608</c:v>
                </c:pt>
                <c:pt idx="85">
                  <c:v>0.0003197953309881676</c:v>
                </c:pt>
                <c:pt idx="86">
                  <c:v>0.0009724473257698541</c:v>
                </c:pt>
                <c:pt idx="87">
                  <c:v>0.00035778175313059033</c:v>
                </c:pt>
              </c:numCache>
            </c:numRef>
          </c:yVal>
          <c:smooth val="0"/>
          <c:extLst>
            <c:ext xmlns:c16="http://schemas.microsoft.com/office/drawing/2014/chart" uri="{C3380CC4-5D6E-409C-BE32-E72D297353CC}">
              <c16:uniqueId val="{00000000-096C-4121-9522-6AB7243CCAAE}"/>
            </c:ext>
          </c:extLst>
        </c:ser>
        <c:ser>
          <c:idx val="1"/>
          <c:order val="1"/>
          <c:tx>
            <c:strRef>
              <c:f>Sheet1!$B$9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9113428943937418</c:v>
                </c:pt>
                <c:pt idx="21">
                  <c:v>0.46017406694794677</c:v>
                </c:pt>
                <c:pt idx="22">
                  <c:v>0.0</c:v>
                </c:pt>
                <c:pt idx="23">
                  <c:v>0.0</c:v>
                </c:pt>
                <c:pt idx="24">
                  <c:v>0.6587949363578189</c:v>
                </c:pt>
                <c:pt idx="25">
                  <c:v>0.0</c:v>
                </c:pt>
                <c:pt idx="26">
                  <c:v>0.3716305867940614</c:v>
                </c:pt>
                <c:pt idx="27">
                  <c:v>0.6758929814632113</c:v>
                </c:pt>
                <c:pt idx="28">
                  <c:v>0.7972296286565804</c:v>
                </c:pt>
                <c:pt idx="29">
                  <c:v>0.0</c:v>
                </c:pt>
                <c:pt idx="30">
                  <c:v>0.0</c:v>
                </c:pt>
                <c:pt idx="31">
                  <c:v>0.9020953648151526</c:v>
                </c:pt>
                <c:pt idx="32">
                  <c:v>0.8087715526508148</c:v>
                </c:pt>
                <c:pt idx="33">
                  <c:v>0.5852637746746593</c:v>
                </c:pt>
                <c:pt idx="34">
                  <c:v>0.0</c:v>
                </c:pt>
                <c:pt idx="35">
                  <c:v>0.0</c:v>
                </c:pt>
                <c:pt idx="36">
                  <c:v>0.9864831455215972</c:v>
                </c:pt>
                <c:pt idx="37">
                  <c:v>0.0</c:v>
                </c:pt>
                <c:pt idx="38">
                  <c:v>0.3818372531265576</c:v>
                </c:pt>
                <c:pt idx="39">
                  <c:v>0.3640794391044607</c:v>
                </c:pt>
                <c:pt idx="40">
                  <c:v>0.3873382702545349</c:v>
                </c:pt>
                <c:pt idx="41">
                  <c:v>0.6710559332767747</c:v>
                </c:pt>
                <c:pt idx="42">
                  <c:v>0.4063277302083164</c:v>
                </c:pt>
                <c:pt idx="43">
                  <c:v>0.2613849013975603</c:v>
                </c:pt>
                <c:pt idx="44">
                  <c:v>0.35898044484049346</c:v>
                </c:pt>
                <c:pt idx="45">
                  <c:v>0.5531544360152314</c:v>
                </c:pt>
                <c:pt idx="46">
                  <c:v>0.42315441773057944</c:v>
                </c:pt>
                <c:pt idx="47">
                  <c:v>0.5522738378904769</c:v>
                </c:pt>
                <c:pt idx="48">
                  <c:v>0.0</c:v>
                </c:pt>
                <c:pt idx="49">
                  <c:v>0.38356786623885303</c:v>
                </c:pt>
                <c:pt idx="50">
                  <c:v>0.175086532104383</c:v>
                </c:pt>
                <c:pt idx="51">
                  <c:v>0.12249062259973428</c:v>
                </c:pt>
                <c:pt idx="52">
                  <c:v>0.22127304308102455</c:v>
                </c:pt>
                <c:pt idx="53">
                  <c:v>0.0</c:v>
                </c:pt>
                <c:pt idx="54">
                  <c:v>0.0</c:v>
                </c:pt>
                <c:pt idx="55">
                  <c:v>0.0</c:v>
                </c:pt>
                <c:pt idx="56">
                  <c:v>0.0</c:v>
                </c:pt>
                <c:pt idx="57">
                  <c:v>0.9024553177063273</c:v>
                </c:pt>
                <c:pt idx="58">
                  <c:v>0.6570994554003938</c:v>
                </c:pt>
                <c:pt idx="59">
                  <c:v>0.8187273230728143</c:v>
                </c:pt>
                <c:pt idx="60">
                  <c:v>0.0</c:v>
                </c:pt>
                <c:pt idx="61">
                  <c:v>0.0</c:v>
                </c:pt>
                <c:pt idx="62">
                  <c:v>0.0</c:v>
                </c:pt>
                <c:pt idx="63">
                  <c:v>0.0</c:v>
                </c:pt>
                <c:pt idx="64">
                  <c:v>0.0</c:v>
                </c:pt>
                <c:pt idx="65">
                  <c:v>0.0</c:v>
                </c:pt>
                <c:pt idx="66">
                  <c:v>0.0</c:v>
                </c:pt>
                <c:pt idx="67">
                  <c:v>0.46177912818507266</c:v>
                </c:pt>
                <c:pt idx="68">
                  <c:v>1.244698389408894</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003181673560292714</c:v>
                </c:pt>
                <c:pt idx="21">
                  <c:v>0.0007186489399928135</c:v>
                </c:pt>
                <c:pt idx="22">
                  <c:v>0.0</c:v>
                </c:pt>
                <c:pt idx="23">
                  <c:v>0.0</c:v>
                </c:pt>
                <c:pt idx="24">
                  <c:v>0.0006075334143377885</c:v>
                </c:pt>
                <c:pt idx="25">
                  <c:v>0.0</c:v>
                </c:pt>
                <c:pt idx="26">
                  <c:v>0.0010147133434804667</c:v>
                </c:pt>
                <c:pt idx="27">
                  <c:v>0.0004870920603994155</c:v>
                </c:pt>
                <c:pt idx="28">
                  <c:v>0.0008421052631578948</c:v>
                </c:pt>
                <c:pt idx="29">
                  <c:v>0.0</c:v>
                </c:pt>
                <c:pt idx="30">
                  <c:v>0.0</c:v>
                </c:pt>
                <c:pt idx="31">
                  <c:v>0.00047393364928909954</c:v>
                </c:pt>
                <c:pt idx="32">
                  <c:v>0.00047460844803037496</c:v>
                </c:pt>
                <c:pt idx="33">
                  <c:v>0.0011043622308117063</c:v>
                </c:pt>
                <c:pt idx="34">
                  <c:v>0.0</c:v>
                </c:pt>
                <c:pt idx="35">
                  <c:v>0.0</c:v>
                </c:pt>
                <c:pt idx="36">
                  <c:v>0.0005685048322910744</c:v>
                </c:pt>
                <c:pt idx="37">
                  <c:v>0.0</c:v>
                </c:pt>
                <c:pt idx="38">
                  <c:v>0.0018656716417910447</c:v>
                </c:pt>
                <c:pt idx="39">
                  <c:v>0.001851851851851852</c:v>
                </c:pt>
                <c:pt idx="40">
                  <c:v>0.0008532423208191126</c:v>
                </c:pt>
                <c:pt idx="41">
                  <c:v>0.0008319467554076539</c:v>
                </c:pt>
                <c:pt idx="42">
                  <c:v>0.0024096385542168677</c:v>
                </c:pt>
                <c:pt idx="43">
                  <c:v>0.003779289493575208</c:v>
                </c:pt>
                <c:pt idx="44">
                  <c:v>0.0013736263736263737</c:v>
                </c:pt>
                <c:pt idx="45">
                  <c:v>0.0013995801259622112</c:v>
                </c:pt>
                <c:pt idx="46">
                  <c:v>0.0016366612111292963</c:v>
                </c:pt>
                <c:pt idx="47">
                  <c:v>0.0008445945945945946</c:v>
                </c:pt>
                <c:pt idx="48">
                  <c:v>0.0</c:v>
                </c:pt>
                <c:pt idx="49">
                  <c:v>0.0010298661174047373</c:v>
                </c:pt>
                <c:pt idx="50">
                  <c:v>0.003669724770642202</c:v>
                </c:pt>
                <c:pt idx="51">
                  <c:v>0.0029086678301337987</c:v>
                </c:pt>
                <c:pt idx="52">
                  <c:v>0.0029797377830750892</c:v>
                </c:pt>
                <c:pt idx="53">
                  <c:v>0.0</c:v>
                </c:pt>
                <c:pt idx="54">
                  <c:v>0.0</c:v>
                </c:pt>
                <c:pt idx="55">
                  <c:v>0.0</c:v>
                </c:pt>
                <c:pt idx="56">
                  <c:v>0.0</c:v>
                </c:pt>
                <c:pt idx="57">
                  <c:v>0.0007575757575757576</c:v>
                </c:pt>
                <c:pt idx="58">
                  <c:v>0.000731528895391368</c:v>
                </c:pt>
                <c:pt idx="59">
                  <c:v>0.0008312551953449709</c:v>
                </c:pt>
                <c:pt idx="60">
                  <c:v>0.0</c:v>
                </c:pt>
                <c:pt idx="61">
                  <c:v>0.0</c:v>
                </c:pt>
                <c:pt idx="62">
                  <c:v>0.0</c:v>
                </c:pt>
                <c:pt idx="63">
                  <c:v>0.0</c:v>
                </c:pt>
                <c:pt idx="64">
                  <c:v>0.0</c:v>
                </c:pt>
                <c:pt idx="65">
                  <c:v>0.0</c:v>
                </c:pt>
                <c:pt idx="66">
                  <c:v>0.0</c:v>
                </c:pt>
                <c:pt idx="67">
                  <c:v>0.0006628003314001657</c:v>
                </c:pt>
                <c:pt idx="68">
                  <c:v>0.000296208530805687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4.3099636528280225</c:v>
                </c:pt>
              </c:numCache>
            </c:numRef>
          </c:xVal>
          <c:yVal>
            <c:numRef>
              <c:f>Sheet1!$B$163:$B$164</c:f>
              <c:numCache>
                <c:formatCode>General</c:formatCode>
                <c:ptCount val="2"/>
                <c:pt idx="0">
                  <c:v>0.004197062052178528</c:v>
                </c:pt>
                <c:pt idx="1">
                  <c:v>0.00419706205217852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4.3099636528280225</c:v>
                </c:pt>
                <c:pt idx="1">
                  <c:v>4.3099636528280225</c:v>
                </c:pt>
              </c:numCache>
            </c:numRef>
          </c:xVal>
          <c:yVal>
            <c:numRef>
              <c:f>Sheet1!$B$167:$B$168</c:f>
              <c:numCache>
                <c:formatCode>General</c:formatCode>
                <c:ptCount val="2"/>
                <c:pt idx="0">
                  <c:v>0.00419706205217852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5715792686268182</c:v>
                </c:pt>
              </c:numCache>
            </c:numRef>
          </c:xVal>
          <c:yVal>
            <c:numRef>
              <c:f>Sheet1!$B$171:$B$172</c:f>
              <c:numCache>
                <c:formatCode>General</c:formatCode>
                <c:ptCount val="2"/>
                <c:pt idx="0">
                  <c:v>0.0017375915384126085</c:v>
                </c:pt>
                <c:pt idx="1">
                  <c:v>0.001737591538412608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5715792686268182</c:v>
                </c:pt>
                <c:pt idx="1">
                  <c:v>1.5715792686268182</c:v>
                </c:pt>
              </c:numCache>
            </c:numRef>
          </c:xVal>
          <c:yVal>
            <c:numRef>
              <c:f>Sheet1!$B$175:$B$176</c:f>
              <c:numCache>
                <c:formatCode>General</c:formatCode>
                <c:ptCount val="2"/>
                <c:pt idx="0">
                  <c:v>0.001737591538412608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8219582054677262</c:v>
                </c:pt>
              </c:numCache>
            </c:numRef>
          </c:xVal>
          <c:yVal>
            <c:numRef>
              <c:f>Sheet1!$B$179:$B$180</c:f>
              <c:numCache>
                <c:formatCode>General</c:formatCode>
                <c:ptCount val="2"/>
                <c:pt idx="0">
                  <c:v>0.0002522591315783038</c:v>
                </c:pt>
                <c:pt idx="1">
                  <c:v>0.000252259131578303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8219582054677262</c:v>
                </c:pt>
                <c:pt idx="1">
                  <c:v>-0.08219582054677262</c:v>
                </c:pt>
              </c:numCache>
            </c:numRef>
          </c:xVal>
          <c:yVal>
            <c:numRef>
              <c:f>Sheet1!$B$183:$B$184</c:f>
              <c:numCache>
                <c:formatCode>General</c:formatCode>
                <c:ptCount val="2"/>
                <c:pt idx="0">
                  <c:v>0.000252259131578303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9113428943937418</c:v>
                </c:pt>
                <c:pt idx="21">
                  <c:v>0.46017406694794677</c:v>
                </c:pt>
                <c:pt idx="22">
                  <c:v>0.0</c:v>
                </c:pt>
                <c:pt idx="23">
                  <c:v>0.0</c:v>
                </c:pt>
                <c:pt idx="24">
                  <c:v>0.6587949363578189</c:v>
                </c:pt>
                <c:pt idx="25">
                  <c:v>0.0</c:v>
                </c:pt>
                <c:pt idx="26">
                  <c:v>0.3716305867940614</c:v>
                </c:pt>
                <c:pt idx="27">
                  <c:v>0.6758929814632113</c:v>
                </c:pt>
                <c:pt idx="28">
                  <c:v>0.7972296286565804</c:v>
                </c:pt>
                <c:pt idx="29">
                  <c:v>0.0</c:v>
                </c:pt>
                <c:pt idx="30">
                  <c:v>0.0</c:v>
                </c:pt>
                <c:pt idx="31">
                  <c:v>0.9020953648151526</c:v>
                </c:pt>
                <c:pt idx="32">
                  <c:v>0.8087715526508148</c:v>
                </c:pt>
                <c:pt idx="33">
                  <c:v>0.5852637746746593</c:v>
                </c:pt>
                <c:pt idx="34">
                  <c:v>0.0</c:v>
                </c:pt>
                <c:pt idx="35">
                  <c:v>0.0</c:v>
                </c:pt>
                <c:pt idx="36">
                  <c:v>0.9864831455215972</c:v>
                </c:pt>
                <c:pt idx="37">
                  <c:v>0.0</c:v>
                </c:pt>
                <c:pt idx="38">
                  <c:v>0.3818372531265576</c:v>
                </c:pt>
                <c:pt idx="39">
                  <c:v>0.3640794391044607</c:v>
                </c:pt>
                <c:pt idx="40">
                  <c:v>0.3873382702545349</c:v>
                </c:pt>
                <c:pt idx="41">
                  <c:v>0.6710559332767747</c:v>
                </c:pt>
                <c:pt idx="42">
                  <c:v>0.4063277302083164</c:v>
                </c:pt>
                <c:pt idx="43">
                  <c:v>0.2613849013975603</c:v>
                </c:pt>
                <c:pt idx="44">
                  <c:v>0.35898044484049346</c:v>
                </c:pt>
                <c:pt idx="45">
                  <c:v>0.5531544360152314</c:v>
                </c:pt>
                <c:pt idx="46">
                  <c:v>0.42315441773057944</c:v>
                </c:pt>
                <c:pt idx="47">
                  <c:v>0.5522738378904769</c:v>
                </c:pt>
                <c:pt idx="48">
                  <c:v>0.0</c:v>
                </c:pt>
                <c:pt idx="49">
                  <c:v>0.38356786623885303</c:v>
                </c:pt>
                <c:pt idx="50">
                  <c:v>0.175086532104383</c:v>
                </c:pt>
                <c:pt idx="51">
                  <c:v>0.12249062259973428</c:v>
                </c:pt>
                <c:pt idx="52">
                  <c:v>0.22127304308102455</c:v>
                </c:pt>
                <c:pt idx="53">
                  <c:v>0.0</c:v>
                </c:pt>
                <c:pt idx="54">
                  <c:v>0.0</c:v>
                </c:pt>
                <c:pt idx="55">
                  <c:v>0.0</c:v>
                </c:pt>
                <c:pt idx="56">
                  <c:v>0.0</c:v>
                </c:pt>
                <c:pt idx="57">
                  <c:v>0.9024553177063273</c:v>
                </c:pt>
                <c:pt idx="58">
                  <c:v>0.6570994554003938</c:v>
                </c:pt>
                <c:pt idx="59">
                  <c:v>0.8187273230728143</c:v>
                </c:pt>
                <c:pt idx="60">
                  <c:v>0.0</c:v>
                </c:pt>
                <c:pt idx="61">
                  <c:v>0.0</c:v>
                </c:pt>
                <c:pt idx="62">
                  <c:v>0.0</c:v>
                </c:pt>
                <c:pt idx="63">
                  <c:v>0.0</c:v>
                </c:pt>
                <c:pt idx="64">
                  <c:v>0.0</c:v>
                </c:pt>
                <c:pt idx="65">
                  <c:v>0.0</c:v>
                </c:pt>
                <c:pt idx="66">
                  <c:v>0.0</c:v>
                </c:pt>
                <c:pt idx="67">
                  <c:v>0.46177912818507266</c:v>
                </c:pt>
                <c:pt idx="68">
                  <c:v>1.244698389408894</c:v>
                </c:pt>
                <c:pt idx="69">
                  <c:v>1.5715792686268182</c:v>
                </c:pt>
                <c:pt idx="70">
                  <c:v>4.3099636528280225</c:v>
                </c:pt>
                <c:pt idx="71">
                  <c:v>-0.08219582054677262</c:v>
                </c:pt>
              </c:numCache>
            </c:numRef>
          </c:xVal>
          <c:yVal>
            <c:numRef>
              <c:f>Sheet1!$B$187:$B$258</c:f>
              <c:numCache>
                <c:formatCode>General</c:formatCode>
                <c:ptCount val="72"/>
                <c:pt idx="0">
                  <c:v>0.0003260830250228877</c:v>
                </c:pt>
                <c:pt idx="1">
                  <c:v>0.0003260830250228877</c:v>
                </c:pt>
                <c:pt idx="2">
                  <c:v>0.0003260830250228877</c:v>
                </c:pt>
                <c:pt idx="3">
                  <c:v>0.0003260830250228877</c:v>
                </c:pt>
                <c:pt idx="4">
                  <c:v>0.0003260830250228877</c:v>
                </c:pt>
                <c:pt idx="5">
                  <c:v>0.0003260830250228877</c:v>
                </c:pt>
                <c:pt idx="6">
                  <c:v>0.0003260830250228877</c:v>
                </c:pt>
                <c:pt idx="7">
                  <c:v>0.0003260830250228877</c:v>
                </c:pt>
                <c:pt idx="8">
                  <c:v>0.0003260830250228877</c:v>
                </c:pt>
                <c:pt idx="9">
                  <c:v>0.0003260830250228877</c:v>
                </c:pt>
                <c:pt idx="10">
                  <c:v>0.0003260830250228877</c:v>
                </c:pt>
                <c:pt idx="11">
                  <c:v>0.0003260830250228877</c:v>
                </c:pt>
                <c:pt idx="12">
                  <c:v>0.0003260830250228877</c:v>
                </c:pt>
                <c:pt idx="13">
                  <c:v>0.0003260830250228877</c:v>
                </c:pt>
                <c:pt idx="14">
                  <c:v>0.0003260830250228877</c:v>
                </c:pt>
                <c:pt idx="15">
                  <c:v>0.0003260830250228877</c:v>
                </c:pt>
                <c:pt idx="16">
                  <c:v>0.0003260830250228877</c:v>
                </c:pt>
                <c:pt idx="17">
                  <c:v>0.0003260830250228877</c:v>
                </c:pt>
                <c:pt idx="18">
                  <c:v>0.0003260830250228877</c:v>
                </c:pt>
                <c:pt idx="19">
                  <c:v>0.0003260830250228877</c:v>
                </c:pt>
                <c:pt idx="20">
                  <c:v>0.001144602510316157</c:v>
                </c:pt>
                <c:pt idx="21">
                  <c:v>0.0007393867801085217</c:v>
                </c:pt>
                <c:pt idx="22">
                  <c:v>0.0003260830250228877</c:v>
                </c:pt>
                <c:pt idx="23">
                  <c:v>0.0003260830250228877</c:v>
                </c:pt>
                <c:pt idx="24">
                  <c:v>0.0009177774306506768</c:v>
                </c:pt>
                <c:pt idx="25">
                  <c:v>0.0003260830250228877</c:v>
                </c:pt>
                <c:pt idx="26">
                  <c:v>0.0006598617580257568</c:v>
                </c:pt>
                <c:pt idx="27">
                  <c:v>0.0009331339810394268</c:v>
                </c:pt>
                <c:pt idx="28">
                  <c:v>0.0010421120732798852</c:v>
                </c:pt>
                <c:pt idx="29">
                  <c:v>0.0003260830250228877</c:v>
                </c:pt>
                <c:pt idx="30">
                  <c:v>0.0003260830250228877</c:v>
                </c:pt>
                <c:pt idx="31">
                  <c:v>0.0011362968734395602</c:v>
                </c:pt>
                <c:pt idx="32">
                  <c:v>0.0010524784126074546</c:v>
                </c:pt>
                <c:pt idx="33">
                  <c:v>0.0008517356707552926</c:v>
                </c:pt>
                <c:pt idx="34">
                  <c:v>0.0003260830250228877</c:v>
                </c:pt>
                <c:pt idx="35">
                  <c:v>0.0003260830250228877</c:v>
                </c:pt>
                <c:pt idx="36">
                  <c:v>0.0012120894683605205</c:v>
                </c:pt>
                <c:pt idx="37">
                  <c:v>0.0003260830250228877</c:v>
                </c:pt>
                <c:pt idx="38">
                  <c:v>0.0006690288402781429</c:v>
                </c:pt>
                <c:pt idx="39">
                  <c:v>0.0006530797207066674</c:v>
                </c:pt>
                <c:pt idx="40">
                  <c:v>0.0006739695598864049</c:v>
                </c:pt>
                <c:pt idx="41">
                  <c:v>0.0009287896028517474</c:v>
                </c:pt>
                <c:pt idx="42">
                  <c:v>0.0006910248780141732</c:v>
                </c:pt>
                <c:pt idx="43">
                  <c:v>0.0005608449749667552</c:v>
                </c:pt>
                <c:pt idx="44">
                  <c:v>0.0006485000765506307</c:v>
                </c:pt>
                <c:pt idx="45">
                  <c:v>0.0008228967787045612</c:v>
                </c:pt>
                <c:pt idx="46">
                  <c:v>0.0007061377095231912</c:v>
                </c:pt>
                <c:pt idx="47">
                  <c:v>0.0008221058725283478</c:v>
                </c:pt>
                <c:pt idx="48">
                  <c:v>0.0003260830250228877</c:v>
                </c:pt>
                <c:pt idx="49">
                  <c:v>0.0006705831844910971</c:v>
                </c:pt>
                <c:pt idx="50">
                  <c:v>0.00048333639147964726</c:v>
                </c:pt>
                <c:pt idx="51">
                  <c:v>0.0004360975563045342</c:v>
                </c:pt>
                <c:pt idx="52">
                  <c:v>0.0005248186474171795</c:v>
                </c:pt>
                <c:pt idx="53">
                  <c:v>0.0003260830250228877</c:v>
                </c:pt>
                <c:pt idx="54">
                  <c:v>0.0003260830250228877</c:v>
                </c:pt>
                <c:pt idx="55">
                  <c:v>0.0003260830250228877</c:v>
                </c:pt>
                <c:pt idx="56">
                  <c:v>0.0003260830250228877</c:v>
                </c:pt>
                <c:pt idx="57">
                  <c:v>0.0011366201638904174</c:v>
                </c:pt>
                <c:pt idx="58">
                  <c:v>0.0009162546402617538</c:v>
                </c:pt>
                <c:pt idx="59">
                  <c:v>0.001061420153560989</c:v>
                </c:pt>
                <c:pt idx="60">
                  <c:v>0.0003260830250228877</c:v>
                </c:pt>
                <c:pt idx="61">
                  <c:v>0.0003260830250228877</c:v>
                </c:pt>
                <c:pt idx="62">
                  <c:v>0.0003260830250228877</c:v>
                </c:pt>
                <c:pt idx="63">
                  <c:v>0.0003260830250228877</c:v>
                </c:pt>
                <c:pt idx="64">
                  <c:v>0.0003260830250228877</c:v>
                </c:pt>
                <c:pt idx="65">
                  <c:v>0.0003260830250228877</c:v>
                </c:pt>
                <c:pt idx="66">
                  <c:v>0.0003260830250228877</c:v>
                </c:pt>
                <c:pt idx="67">
                  <c:v>0.0007408283603367303</c:v>
                </c:pt>
                <c:pt idx="68">
                  <c:v>0.0014440046013161646</c:v>
                </c:pt>
                <c:pt idx="69">
                  <c:v>0.0017375915384126085</c:v>
                </c:pt>
                <c:pt idx="70">
                  <c:v>0.004197062052178528</c:v>
                </c:pt>
                <c:pt idx="71">
                  <c:v>0.000252259131578303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70350404312668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2.5666</c:v>
                </c:pt>
                <c:pt idx="1">
                  <c:v>872.0111</c:v>
                </c:pt>
                <c:pt idx="2">
                  <c:v>900.1709</c:v>
                </c:pt>
                <c:pt idx="3">
                  <c:v>925.0432</c:v>
                </c:pt>
                <c:pt idx="4">
                  <c:v>912.1921</c:v>
                </c:pt>
                <c:pt idx="5">
                  <c:v>901.0272</c:v>
                </c:pt>
                <c:pt idx="6">
                  <c:v>865.8392</c:v>
                </c:pt>
                <c:pt idx="7">
                  <c:v>870.6566</c:v>
                </c:pt>
                <c:pt idx="8">
                  <c:v>877.8398</c:v>
                </c:pt>
                <c:pt idx="9">
                  <c:v>847.7171</c:v>
                </c:pt>
                <c:pt idx="10">
                  <c:v>833.988</c:v>
                </c:pt>
                <c:pt idx="11">
                  <c:v>871.5871</c:v>
                </c:pt>
                <c:pt idx="12">
                  <c:v>871.9647</c:v>
                </c:pt>
                <c:pt idx="13">
                  <c:v>878.4732</c:v>
                </c:pt>
                <c:pt idx="14">
                  <c:v>903.0785</c:v>
                </c:pt>
                <c:pt idx="15">
                  <c:v>917.3083</c:v>
                </c:pt>
                <c:pt idx="16">
                  <c:v>938.2692</c:v>
                </c:pt>
                <c:pt idx="17">
                  <c:v>922.7628</c:v>
                </c:pt>
                <c:pt idx="18">
                  <c:v>979.7761</c:v>
                </c:pt>
                <c:pt idx="19">
                  <c:v>988.3479</c:v>
                </c:pt>
                <c:pt idx="20">
                  <c:v>1012.9016</c:v>
                </c:pt>
                <c:pt idx="21">
                  <c:v>1022.9061</c:v>
                </c:pt>
                <c:pt idx="22">
                  <c:v>998.707</c:v>
                </c:pt>
                <c:pt idx="23">
                  <c:v>1006.9474</c:v>
                </c:pt>
                <c:pt idx="24">
                  <c:v>1019.6003</c:v>
                </c:pt>
                <c:pt idx="25">
                  <c:v>1003.4215</c:v>
                </c:pt>
                <c:pt idx="26">
                  <c:v>986.5536</c:v>
                </c:pt>
                <c:pt idx="27">
                  <c:v>999.7904</c:v>
                </c:pt>
                <c:pt idx="28">
                  <c:v>1006.4917</c:v>
                </c:pt>
                <c:pt idx="29">
                  <c:v>993.4089</c:v>
                </c:pt>
                <c:pt idx="30">
                  <c:v>995.3143</c:v>
                </c:pt>
                <c:pt idx="31">
                  <c:v>981.2178</c:v>
                </c:pt>
                <c:pt idx="32">
                  <c:v>970.219</c:v>
                </c:pt>
                <c:pt idx="33">
                  <c:v>928.2519</c:v>
                </c:pt>
                <c:pt idx="34">
                  <c:v>940.4915</c:v>
                </c:pt>
                <c:pt idx="35">
                  <c:v>981.2692</c:v>
                </c:pt>
                <c:pt idx="36">
                  <c:v>1026.2341</c:v>
                </c:pt>
                <c:pt idx="37">
                  <c:v>1027.2868</c:v>
                </c:pt>
                <c:pt idx="38">
                  <c:v>1059.2012</c:v>
                </c:pt>
                <c:pt idx="39">
                  <c:v>1112.4994</c:v>
                </c:pt>
                <c:pt idx="40">
                  <c:v>1110.5343</c:v>
                </c:pt>
                <c:pt idx="41">
                  <c:v>1130.2013</c:v>
                </c:pt>
                <c:pt idx="42">
                  <c:v>1150.4098</c:v>
                </c:pt>
                <c:pt idx="43">
                  <c:v>1140.076</c:v>
                </c:pt>
                <c:pt idx="44">
                  <c:v>1111.1514</c:v>
                </c:pt>
                <c:pt idx="45">
                  <c:v>1077.0212</c:v>
                </c:pt>
                <c:pt idx="46">
                  <c:v>1061.1769</c:v>
                </c:pt>
                <c:pt idx="47">
                  <c:v>1045.8912</c:v>
                </c:pt>
                <c:pt idx="48">
                  <c:v>1043.8683</c:v>
                </c:pt>
                <c:pt idx="49">
                  <c:v>1001.6732</c:v>
                </c:pt>
                <c:pt idx="50">
                  <c:v>1006.6643</c:v>
                </c:pt>
                <c:pt idx="51">
                  <c:v>1007.4755</c:v>
                </c:pt>
                <c:pt idx="52">
                  <c:v>1022.2327</c:v>
                </c:pt>
                <c:pt idx="53">
                  <c:v>1115.2755</c:v>
                </c:pt>
                <c:pt idx="54">
                  <c:v>1104.3599</c:v>
                </c:pt>
                <c:pt idx="55">
                  <c:v>1123.1172</c:v>
                </c:pt>
                <c:pt idx="56">
                  <c:v>1121.0377</c:v>
                </c:pt>
                <c:pt idx="57">
                  <c:v>1098.7739</c:v>
                </c:pt>
                <c:pt idx="58">
                  <c:v>1083.7183</c:v>
                </c:pt>
                <c:pt idx="59">
                  <c:v>1072.0835</c:v>
                </c:pt>
                <c:pt idx="60">
                  <c:v>1087.6664</c:v>
                </c:pt>
                <c:pt idx="61">
                  <c:v>1099.122</c:v>
                </c:pt>
                <c:pt idx="62">
                  <c:v>1035.1867</c:v>
                </c:pt>
                <c:pt idx="63">
                  <c:v>1056.0471</c:v>
                </c:pt>
                <c:pt idx="64">
                  <c:v>1061.5768</c:v>
                </c:pt>
                <c:pt idx="65">
                  <c:v>1054.6548</c:v>
                </c:pt>
                <c:pt idx="66">
                  <c:v>1084.64</c:v>
                </c:pt>
                <c:pt idx="67">
                  <c:v>1105.461</c:v>
                </c:pt>
                <c:pt idx="68">
                  <c:v>1118.696</c:v>
                </c:pt>
                <c:pt idx="69">
                  <c:v>1149.0121</c:v>
                </c:pt>
                <c:pt idx="70">
                  <c:v>1139.1925</c:v>
                </c:pt>
                <c:pt idx="71">
                  <c:v>1186.6311</c:v>
                </c:pt>
                <c:pt idx="72">
                  <c:v>1254.1648</c:v>
                </c:pt>
                <c:pt idx="73">
                  <c:v>1235.9873</c:v>
                </c:pt>
                <c:pt idx="74">
                  <c:v>1231.8107</c:v>
                </c:pt>
                <c:pt idx="75">
                  <c:v>1199.4123</c:v>
                </c:pt>
                <c:pt idx="76">
                  <c:v>1167.563</c:v>
                </c:pt>
                <c:pt idx="77">
                  <c:v>1171.0387</c:v>
                </c:pt>
                <c:pt idx="78">
                  <c:v>1200.0509</c:v>
                </c:pt>
                <c:pt idx="79">
                  <c:v>1187.2492</c:v>
                </c:pt>
                <c:pt idx="80">
                  <c:v>1206.8508</c:v>
                </c:pt>
                <c:pt idx="81">
                  <c:v>1203.4817</c:v>
                </c:pt>
                <c:pt idx="82">
                  <c:v>1233.5346</c:v>
                </c:pt>
                <c:pt idx="83">
                  <c:v>1180.8858</c:v>
                </c:pt>
                <c:pt idx="84">
                  <c:v>1203.088</c:v>
                </c:pt>
                <c:pt idx="85">
                  <c:v>1186.1807</c:v>
                </c:pt>
                <c:pt idx="86">
                  <c:v>1179.256</c:v>
                </c:pt>
                <c:pt idx="87">
                  <c:v>1185.655</c:v>
                </c:pt>
                <c:pt idx="88">
                  <c:v>1225.303</c:v>
                </c:pt>
                <c:pt idx="89">
                  <c:v>1217.4435</c:v>
                </c:pt>
                <c:pt idx="90">
                  <c:v>1275.8005</c:v>
                </c:pt>
                <c:pt idx="91">
                  <c:v>1262.028</c:v>
                </c:pt>
                <c:pt idx="92">
                  <c:v>1217.7472</c:v>
                </c:pt>
                <c:pt idx="93">
                  <c:v>1247.006</c:v>
                </c:pt>
                <c:pt idx="94">
                  <c:v>1227.8971</c:v>
                </c:pt>
                <c:pt idx="95">
                  <c:v>1181.5481</c:v>
                </c:pt>
                <c:pt idx="96">
                  <c:v>1151.501</c:v>
                </c:pt>
                <c:pt idx="97">
                  <c:v>1146.4279</c:v>
                </c:pt>
                <c:pt idx="98">
                  <c:v>1128.289</c:v>
                </c:pt>
                <c:pt idx="99">
                  <c:v>1098.9471</c:v>
                </c:pt>
                <c:pt idx="100">
                  <c:v>1084.0729</c:v>
                </c:pt>
                <c:pt idx="101">
                  <c:v>1119.4264</c:v>
                </c:pt>
                <c:pt idx="102">
                  <c:v>1135.817</c:v>
                </c:pt>
                <c:pt idx="103">
                  <c:v>1118.4844</c:v>
                </c:pt>
                <c:pt idx="104">
                  <c:v>1151.7239</c:v>
                </c:pt>
              </c:numCache>
            </c:numRef>
          </c:xVal>
          <c:yVal>
            <c:numRef>
              <c:f>Sheet1!$B$2:$B$106</c:f>
              <c:numCache>
                <c:formatCode>General</c:formatCode>
                <c:ptCount val="105"/>
                <c:pt idx="0">
                  <c:v>0.2222146569528608</c:v>
                </c:pt>
                <c:pt idx="1">
                  <c:v>0.21436831795331712</c:v>
                </c:pt>
                <c:pt idx="2">
                  <c:v>0.21788056610286502</c:v>
                </c:pt>
                <c:pt idx="3">
                  <c:v>0.22284236976901517</c:v>
                </c:pt>
                <c:pt idx="4">
                  <c:v>0.23230982175644757</c:v>
                </c:pt>
                <c:pt idx="5">
                  <c:v>0.23291621013782365</c:v>
                </c:pt>
                <c:pt idx="6">
                  <c:v>0.26065601535595323</c:v>
                </c:pt>
                <c:pt idx="7">
                  <c:v>0.26437738022850193</c:v>
                </c:pt>
                <c:pt idx="8">
                  <c:v>0.257263214202133</c:v>
                </c:pt>
                <c:pt idx="9">
                  <c:v>0.25305166789434913</c:v>
                </c:pt>
                <c:pt idx="10">
                  <c:v>0.24550973309251456</c:v>
                </c:pt>
                <c:pt idx="11">
                  <c:v>0.22982810920121335</c:v>
                </c:pt>
                <c:pt idx="12">
                  <c:v>0.22160040869403677</c:v>
                </c:pt>
                <c:pt idx="13">
                  <c:v>0.21053404833614928</c:v>
                </c:pt>
                <c:pt idx="14">
                  <c:v>0.1929620755584598</c:v>
                </c:pt>
                <c:pt idx="15">
                  <c:v>0.19070869326553608</c:v>
                </c:pt>
                <c:pt idx="16">
                  <c:v>0.18037248344153714</c:v>
                </c:pt>
                <c:pt idx="17">
                  <c:v>0.17803368978219664</c:v>
                </c:pt>
                <c:pt idx="18">
                  <c:v>0.16207250612115948</c:v>
                </c:pt>
                <c:pt idx="19">
                  <c:v>0.1645387436742653</c:v>
                </c:pt>
                <c:pt idx="20">
                  <c:v>0.17074384594770492</c:v>
                </c:pt>
                <c:pt idx="21">
                  <c:v>0.1679692794217303</c:v>
                </c:pt>
                <c:pt idx="22">
                  <c:v>0.18874264911789415</c:v>
                </c:pt>
                <c:pt idx="23">
                  <c:v>0.19065880039331368</c:v>
                </c:pt>
                <c:pt idx="24">
                  <c:v>0.19545118343195267</c:v>
                </c:pt>
                <c:pt idx="25">
                  <c:v>0.1965481171548117</c:v>
                </c:pt>
                <c:pt idx="26">
                  <c:v>0.2142291015898177</c:v>
                </c:pt>
                <c:pt idx="27">
                  <c:v>0.2190428532435629</c:v>
                </c:pt>
                <c:pt idx="28">
                  <c:v>0.21610719584569732</c:v>
                </c:pt>
                <c:pt idx="29">
                  <c:v>0.21404179201561102</c:v>
                </c:pt>
                <c:pt idx="30">
                  <c:v>0.21525529915422367</c:v>
                </c:pt>
                <c:pt idx="31">
                  <c:v>0.2158156532331743</c:v>
                </c:pt>
                <c:pt idx="32">
                  <c:v>0.22579515903180636</c:v>
                </c:pt>
                <c:pt idx="33">
                  <c:v>0.2243625609463672</c:v>
                </c:pt>
                <c:pt idx="34">
                  <c:v>0.22853110411464553</c:v>
                </c:pt>
                <c:pt idx="35">
                  <c:v>0.24465431218816822</c:v>
                </c:pt>
                <c:pt idx="36">
                  <c:v>0.21023367645953867</c:v>
                </c:pt>
                <c:pt idx="37">
                  <c:v>0.21509433962264152</c:v>
                </c:pt>
                <c:pt idx="38">
                  <c:v>0.2002953183357943</c:v>
                </c:pt>
                <c:pt idx="39">
                  <c:v>0.18644224973338897</c:v>
                </c:pt>
                <c:pt idx="40">
                  <c:v>0.1933965902954563</c:v>
                </c:pt>
                <c:pt idx="41">
                  <c:v>0.1845035313668467</c:v>
                </c:pt>
                <c:pt idx="42">
                  <c:v>0.1825368689733409</c:v>
                </c:pt>
                <c:pt idx="43">
                  <c:v>0.18491152406925856</c:v>
                </c:pt>
                <c:pt idx="44">
                  <c:v>0.179719027169339</c:v>
                </c:pt>
                <c:pt idx="45">
                  <c:v>0.19425275927214875</c:v>
                </c:pt>
                <c:pt idx="46">
                  <c:v>0.20227789562193046</c:v>
                </c:pt>
                <c:pt idx="47">
                  <c:v>0.19447760619247506</c:v>
                </c:pt>
                <c:pt idx="48">
                  <c:v>0.1946365151844604</c:v>
                </c:pt>
                <c:pt idx="49">
                  <c:v>0.2024177181681814</c:v>
                </c:pt>
                <c:pt idx="50">
                  <c:v>0.19343004525223934</c:v>
                </c:pt>
                <c:pt idx="51">
                  <c:v>0.1905886056027699</c:v>
                </c:pt>
                <c:pt idx="52">
                  <c:v>0.19163722255841645</c:v>
                </c:pt>
                <c:pt idx="53">
                  <c:v>0.1821459475050476</c:v>
                </c:pt>
                <c:pt idx="54">
                  <c:v>0.18893706477466823</c:v>
                </c:pt>
                <c:pt idx="55">
                  <c:v>0.18618821936357483</c:v>
                </c:pt>
                <c:pt idx="56">
                  <c:v>0.1827687615728134</c:v>
                </c:pt>
                <c:pt idx="57">
                  <c:v>0.17984808924756707</c:v>
                </c:pt>
                <c:pt idx="58">
                  <c:v>0.19077375079479927</c:v>
                </c:pt>
                <c:pt idx="59">
                  <c:v>0.18824739239018656</c:v>
                </c:pt>
                <c:pt idx="60">
                  <c:v>0.1917924831352393</c:v>
                </c:pt>
                <c:pt idx="61">
                  <c:v>0.18711292376081656</c:v>
                </c:pt>
                <c:pt idx="62">
                  <c:v>0.19957863689034025</c:v>
                </c:pt>
                <c:pt idx="63">
                  <c:v>0.2039075557604749</c:v>
                </c:pt>
                <c:pt idx="64">
                  <c:v>0.1943246991790681</c:v>
                </c:pt>
                <c:pt idx="65">
                  <c:v>0.19147112834115487</c:v>
                </c:pt>
                <c:pt idx="66">
                  <c:v>0.18685303480699092</c:v>
                </c:pt>
                <c:pt idx="67">
                  <c:v>0.1743600914933014</c:v>
                </c:pt>
                <c:pt idx="68">
                  <c:v>0.16798753104031278</c:v>
                </c:pt>
                <c:pt idx="69">
                  <c:v>0.1637571027589512</c:v>
                </c:pt>
                <c:pt idx="70">
                  <c:v>0.16157501697216564</c:v>
                </c:pt>
                <c:pt idx="71">
                  <c:v>0.15957227341493604</c:v>
                </c:pt>
                <c:pt idx="72">
                  <c:v>0.16045343380263072</c:v>
                </c:pt>
                <c:pt idx="73">
                  <c:v>0.16063700882811147</c:v>
                </c:pt>
                <c:pt idx="74">
                  <c:v>0.16004937942079275</c:v>
                </c:pt>
                <c:pt idx="75">
                  <c:v>0.1704176288700145</c:v>
                </c:pt>
                <c:pt idx="76">
                  <c:v>0.17403464829889376</c:v>
                </c:pt>
                <c:pt idx="77">
                  <c:v>0.16306754103838603</c:v>
                </c:pt>
                <c:pt idx="78">
                  <c:v>0.17122101414413549</c:v>
                </c:pt>
                <c:pt idx="79">
                  <c:v>0.16867216425445977</c:v>
                </c:pt>
                <c:pt idx="80">
                  <c:v>0.15128412624047022</c:v>
                </c:pt>
                <c:pt idx="81">
                  <c:v>0.15918572867213351</c:v>
                </c:pt>
                <c:pt idx="82">
                  <c:v>0.1604518736223365</c:v>
                </c:pt>
                <c:pt idx="83">
                  <c:v>0.15352127547249497</c:v>
                </c:pt>
                <c:pt idx="84">
                  <c:v>0.1606915980776667</c:v>
                </c:pt>
                <c:pt idx="85">
                  <c:v>0.16671613733056298</c:v>
                </c:pt>
                <c:pt idx="86">
                  <c:v>0.1759307231144993</c:v>
                </c:pt>
                <c:pt idx="87">
                  <c:v>0.19704711230134958</c:v>
                </c:pt>
                <c:pt idx="88">
                  <c:v>0.18048567053161235</c:v>
                </c:pt>
                <c:pt idx="89">
                  <c:v>0.17244673736505206</c:v>
                </c:pt>
                <c:pt idx="90">
                  <c:v>0.1624969158647915</c:v>
                </c:pt>
                <c:pt idx="91">
                  <c:v>0.1546732452057345</c:v>
                </c:pt>
                <c:pt idx="92">
                  <c:v>0.17381197362905376</c:v>
                </c:pt>
                <c:pt idx="93">
                  <c:v>0.16256891670391893</c:v>
                </c:pt>
                <c:pt idx="94">
                  <c:v>0.16598507525612377</c:v>
                </c:pt>
                <c:pt idx="95">
                  <c:v>0.17649211625850134</c:v>
                </c:pt>
                <c:pt idx="96">
                  <c:v>0.17222309294046526</c:v>
                </c:pt>
                <c:pt idx="97">
                  <c:v>0.17688563038294014</c:v>
                </c:pt>
                <c:pt idx="98">
                  <c:v>0.184845203101095</c:v>
                </c:pt>
                <c:pt idx="99">
                  <c:v>0.1852970193428802</c:v>
                </c:pt>
                <c:pt idx="100">
                  <c:v>0.18696157822191592</c:v>
                </c:pt>
                <c:pt idx="101">
                  <c:v>0.17836053875657837</c:v>
                </c:pt>
                <c:pt idx="102">
                  <c:v>0.16761097479366496</c:v>
                </c:pt>
                <c:pt idx="103">
                  <c:v>0.16980733033013978</c:v>
                </c:pt>
                <c:pt idx="104">
                  <c:v>0.1651442481502012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87.3113</c:v>
                </c:pt>
                <c:pt idx="1">
                  <c:v>1205.9892</c:v>
                </c:pt>
                <c:pt idx="2">
                  <c:v>1198.2105</c:v>
                </c:pt>
                <c:pt idx="3">
                  <c:v>1171.3652</c:v>
                </c:pt>
                <c:pt idx="4">
                  <c:v>1182.2029</c:v>
                </c:pt>
                <c:pt idx="5">
                  <c:v>1187.2975</c:v>
                </c:pt>
                <c:pt idx="6">
                  <c:v>1118.0794</c:v>
                </c:pt>
                <c:pt idx="7">
                  <c:v>1139.9863</c:v>
                </c:pt>
                <c:pt idx="8">
                  <c:v>1185.7356</c:v>
                </c:pt>
                <c:pt idx="9">
                  <c:v>1126.6432</c:v>
                </c:pt>
                <c:pt idx="10">
                  <c:v>1147.6971</c:v>
                </c:pt>
                <c:pt idx="11">
                  <c:v>1070.2266</c:v>
                </c:pt>
                <c:pt idx="12">
                  <c:v>1103.7668</c:v>
                </c:pt>
                <c:pt idx="13">
                  <c:v>1128.5695</c:v>
                </c:pt>
                <c:pt idx="14">
                  <c:v>1134.3797</c:v>
                </c:pt>
                <c:pt idx="15">
                  <c:v>1149.4107</c:v>
                </c:pt>
                <c:pt idx="16">
                  <c:v>1191.8027</c:v>
                </c:pt>
                <c:pt idx="17">
                  <c:v>1155.8286</c:v>
                </c:pt>
                <c:pt idx="18">
                  <c:v>1166.5389</c:v>
                </c:pt>
                <c:pt idx="19">
                  <c:v>1241.8705</c:v>
                </c:pt>
                <c:pt idx="20">
                  <c:v>1234.2292</c:v>
                </c:pt>
                <c:pt idx="21">
                  <c:v>1089.6954</c:v>
                </c:pt>
                <c:pt idx="22">
                  <c:v>1203.3258</c:v>
                </c:pt>
                <c:pt idx="23">
                  <c:v>1198.4213</c:v>
                </c:pt>
                <c:pt idx="24">
                  <c:v>1176.2103</c:v>
                </c:pt>
                <c:pt idx="25">
                  <c:v>1176.0433</c:v>
                </c:pt>
                <c:pt idx="26">
                  <c:v>1192.2911</c:v>
                </c:pt>
                <c:pt idx="27">
                  <c:v>1191.1064</c:v>
                </c:pt>
                <c:pt idx="28">
                  <c:v>1237.1884</c:v>
                </c:pt>
                <c:pt idx="29">
                  <c:v>1238.2347</c:v>
                </c:pt>
                <c:pt idx="30">
                  <c:v>1235.1392</c:v>
                </c:pt>
                <c:pt idx="31">
                  <c:v>1220.5075</c:v>
                </c:pt>
                <c:pt idx="32">
                  <c:v>1240.6515</c:v>
                </c:pt>
                <c:pt idx="33">
                  <c:v>1237.6143</c:v>
                </c:pt>
                <c:pt idx="34">
                  <c:v>1245.0728</c:v>
                </c:pt>
                <c:pt idx="35">
                  <c:v>1266.4226</c:v>
                </c:pt>
                <c:pt idx="36">
                  <c:v>1274.9988</c:v>
                </c:pt>
                <c:pt idx="37">
                  <c:v>1267.3615</c:v>
                </c:pt>
                <c:pt idx="38">
                  <c:v>1270.0503</c:v>
                </c:pt>
                <c:pt idx="39">
                  <c:v>1238.4698</c:v>
                </c:pt>
                <c:pt idx="40">
                  <c:v>1266.1894</c:v>
                </c:pt>
                <c:pt idx="41">
                  <c:v>1289.9675</c:v>
                </c:pt>
                <c:pt idx="42">
                  <c:v>1282.2537</c:v>
                </c:pt>
                <c:pt idx="43">
                  <c:v>1291.4705</c:v>
                </c:pt>
                <c:pt idx="44">
                  <c:v>1219.8948</c:v>
                </c:pt>
                <c:pt idx="45">
                  <c:v>1184.8793</c:v>
                </c:pt>
                <c:pt idx="46">
                  <c:v>1182.9872</c:v>
                </c:pt>
                <c:pt idx="47">
                  <c:v>1162.7617</c:v>
                </c:pt>
                <c:pt idx="48">
                  <c:v>1147.8243</c:v>
                </c:pt>
                <c:pt idx="49">
                  <c:v>1156.9224</c:v>
                </c:pt>
                <c:pt idx="50">
                  <c:v>1116.4614</c:v>
                </c:pt>
                <c:pt idx="51">
                  <c:v>1094.5253</c:v>
                </c:pt>
              </c:numCache>
            </c:numRef>
          </c:xVal>
          <c:yVal>
            <c:numRef>
              <c:f>Sheet1!$B$109:$B$160</c:f>
              <c:numCache>
                <c:formatCode>General</c:formatCode>
                <c:ptCount val="52"/>
                <c:pt idx="0">
                  <c:v>0.17802485284499672</c:v>
                </c:pt>
                <c:pt idx="1">
                  <c:v>0.17281702961977452</c:v>
                </c:pt>
                <c:pt idx="2">
                  <c:v>0.19121979964643487</c:v>
                </c:pt>
                <c:pt idx="3">
                  <c:v>0.20584655418450432</c:v>
                </c:pt>
                <c:pt idx="4">
                  <c:v>0.1907154821727686</c:v>
                </c:pt>
                <c:pt idx="5">
                  <c:v>0.1865470261731862</c:v>
                </c:pt>
                <c:pt idx="6">
                  <c:v>0.1957534188576993</c:v>
                </c:pt>
                <c:pt idx="7">
                  <c:v>0.19280505867608522</c:v>
                </c:pt>
                <c:pt idx="8">
                  <c:v>0.18257041154062326</c:v>
                </c:pt>
                <c:pt idx="9">
                  <c:v>0.19004784140716763</c:v>
                </c:pt>
                <c:pt idx="10">
                  <c:v>0.19452803622208112</c:v>
                </c:pt>
                <c:pt idx="11">
                  <c:v>0.19565534334451087</c:v>
                </c:pt>
                <c:pt idx="12">
                  <c:v>0.19433398432904303</c:v>
                </c:pt>
                <c:pt idx="13">
                  <c:v>0.19587603827658231</c:v>
                </c:pt>
                <c:pt idx="14">
                  <c:v>0.19433897134967207</c:v>
                </c:pt>
                <c:pt idx="15">
                  <c:v>0.18689389213406682</c:v>
                </c:pt>
                <c:pt idx="16">
                  <c:v>0.1760687035086039</c:v>
                </c:pt>
                <c:pt idx="17">
                  <c:v>0.17739695871575167</c:v>
                </c:pt>
                <c:pt idx="18">
                  <c:v>0.17960259529602596</c:v>
                </c:pt>
                <c:pt idx="19">
                  <c:v>0.1812227074235808</c:v>
                </c:pt>
                <c:pt idx="20">
                  <c:v>0.16823110535685387</c:v>
                </c:pt>
                <c:pt idx="21">
                  <c:v>0.18844209005538165</c:v>
                </c:pt>
                <c:pt idx="22">
                  <c:v>0.16644015144160762</c:v>
                </c:pt>
                <c:pt idx="23">
                  <c:v>0.17566196611545096</c:v>
                </c:pt>
                <c:pt idx="24">
                  <c:v>0.18963132541613012</c:v>
                </c:pt>
                <c:pt idx="25">
                  <c:v>0.17986905892348443</c:v>
                </c:pt>
                <c:pt idx="26">
                  <c:v>0.17374981951196034</c:v>
                </c:pt>
                <c:pt idx="27">
                  <c:v>0.17513859275053306</c:v>
                </c:pt>
                <c:pt idx="28">
                  <c:v>0.16510977099838398</c:v>
                </c:pt>
                <c:pt idx="29">
                  <c:v>0.16586046511627908</c:v>
                </c:pt>
                <c:pt idx="30">
                  <c:v>0.17418667699457785</c:v>
                </c:pt>
                <c:pt idx="31">
                  <c:v>0.1685892228540482</c:v>
                </c:pt>
                <c:pt idx="32">
                  <c:v>0.16543958423559982</c:v>
                </c:pt>
                <c:pt idx="33">
                  <c:v>0.18127976309576213</c:v>
                </c:pt>
                <c:pt idx="34">
                  <c:v>0.20100297758971947</c:v>
                </c:pt>
                <c:pt idx="35">
                  <c:v>0.19222462203023757</c:v>
                </c:pt>
                <c:pt idx="36">
                  <c:v>0.17836587596148673</c:v>
                </c:pt>
                <c:pt idx="37">
                  <c:v>0.16997222357584912</c:v>
                </c:pt>
                <c:pt idx="38">
                  <c:v>0.1698518359458879</c:v>
                </c:pt>
                <c:pt idx="39">
                  <c:v>0.18550688671051</c:v>
                </c:pt>
                <c:pt idx="40">
                  <c:v>0.17479890572046874</c:v>
                </c:pt>
                <c:pt idx="41">
                  <c:v>0.17807064592751512</c:v>
                </c:pt>
                <c:pt idx="42">
                  <c:v>0.17420122365737595</c:v>
                </c:pt>
                <c:pt idx="43">
                  <c:v>0.17370469237448943</c:v>
                </c:pt>
                <c:pt idx="44">
                  <c:v>0.17378871696197118</c:v>
                </c:pt>
                <c:pt idx="45">
                  <c:v>0.19017245932275692</c:v>
                </c:pt>
                <c:pt idx="46">
                  <c:v>0.19968408262454435</c:v>
                </c:pt>
                <c:pt idx="47">
                  <c:v>0.19999542344568774</c:v>
                </c:pt>
                <c:pt idx="48">
                  <c:v>0.19529320987654322</c:v>
                </c:pt>
                <c:pt idx="49">
                  <c:v>0.20265524023602136</c:v>
                </c:pt>
                <c:pt idx="50">
                  <c:v>0.21063819791886876</c:v>
                </c:pt>
                <c:pt idx="51">
                  <c:v>0.1990822240243685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03.3028371059421</c:v>
                </c:pt>
              </c:numCache>
            </c:numRef>
          </c:xVal>
          <c:yVal>
            <c:numRef>
              <c:f>Sheet1!$B$163:$B$164</c:f>
              <c:numCache>
                <c:formatCode>General</c:formatCode>
                <c:ptCount val="2"/>
                <c:pt idx="0">
                  <c:v>0.23609206138432418</c:v>
                </c:pt>
                <c:pt idx="1">
                  <c:v>0.2360920613843241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03.3028371059421</c:v>
                </c:pt>
                <c:pt idx="1">
                  <c:v>803.3028371059421</c:v>
                </c:pt>
              </c:numCache>
            </c:numRef>
          </c:xVal>
          <c:yVal>
            <c:numRef>
              <c:f>Sheet1!$B$167:$B$168</c:f>
              <c:numCache>
                <c:formatCode>General</c:formatCode>
                <c:ptCount val="2"/>
                <c:pt idx="0">
                  <c:v>0.2360920613843241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58.8722094838085</c:v>
                </c:pt>
              </c:numCache>
            </c:numRef>
          </c:xVal>
          <c:yVal>
            <c:numRef>
              <c:f>Sheet1!$B$171:$B$172</c:f>
              <c:numCache>
                <c:formatCode>General</c:formatCode>
                <c:ptCount val="2"/>
                <c:pt idx="0">
                  <c:v>0.20191721801395046</c:v>
                </c:pt>
                <c:pt idx="1">
                  <c:v>0.2019172180139504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58.8722094838085</c:v>
                </c:pt>
                <c:pt idx="1">
                  <c:v>1058.8722094838085</c:v>
                </c:pt>
              </c:numCache>
            </c:numRef>
          </c:xVal>
          <c:yVal>
            <c:numRef>
              <c:f>Sheet1!$B$175:$B$176</c:f>
              <c:numCache>
                <c:formatCode>General</c:formatCode>
                <c:ptCount val="2"/>
                <c:pt idx="0">
                  <c:v>0.2019172180139504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5.1304080043649</c:v>
                </c:pt>
              </c:numCache>
            </c:numRef>
          </c:xVal>
          <c:yVal>
            <c:numRef>
              <c:f>Sheet1!$B$179:$B$180</c:f>
              <c:numCache>
                <c:formatCode>General</c:formatCode>
                <c:ptCount val="2"/>
                <c:pt idx="0">
                  <c:v>0.1890455314462401</c:v>
                </c:pt>
                <c:pt idx="1">
                  <c:v>0.189045531446240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5.1304080043649</c:v>
                </c:pt>
                <c:pt idx="1">
                  <c:v>1155.1304080043649</c:v>
                </c:pt>
              </c:numCache>
            </c:numRef>
          </c:xVal>
          <c:yVal>
            <c:numRef>
              <c:f>Sheet1!$B$183:$B$184</c:f>
              <c:numCache>
                <c:formatCode>General</c:formatCode>
                <c:ptCount val="2"/>
                <c:pt idx="0">
                  <c:v>0.189045531446240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87.3113</c:v>
                </c:pt>
                <c:pt idx="1">
                  <c:v>1205.9892</c:v>
                </c:pt>
                <c:pt idx="2">
                  <c:v>1198.2105</c:v>
                </c:pt>
                <c:pt idx="3">
                  <c:v>1171.3652</c:v>
                </c:pt>
                <c:pt idx="4">
                  <c:v>1182.2029</c:v>
                </c:pt>
                <c:pt idx="5">
                  <c:v>1187.2975</c:v>
                </c:pt>
                <c:pt idx="6">
                  <c:v>1118.0794</c:v>
                </c:pt>
                <c:pt idx="7">
                  <c:v>1139.9863</c:v>
                </c:pt>
                <c:pt idx="8">
                  <c:v>1185.7356</c:v>
                </c:pt>
                <c:pt idx="9">
                  <c:v>1126.6432</c:v>
                </c:pt>
                <c:pt idx="10">
                  <c:v>1147.6971</c:v>
                </c:pt>
                <c:pt idx="11">
                  <c:v>1070.2266</c:v>
                </c:pt>
                <c:pt idx="12">
                  <c:v>1103.7668</c:v>
                </c:pt>
                <c:pt idx="13">
                  <c:v>1128.5695</c:v>
                </c:pt>
                <c:pt idx="14">
                  <c:v>1134.3797</c:v>
                </c:pt>
                <c:pt idx="15">
                  <c:v>1149.4107</c:v>
                </c:pt>
                <c:pt idx="16">
                  <c:v>1191.8027</c:v>
                </c:pt>
                <c:pt idx="17">
                  <c:v>1155.8286</c:v>
                </c:pt>
                <c:pt idx="18">
                  <c:v>1166.5389</c:v>
                </c:pt>
                <c:pt idx="19">
                  <c:v>1241.8705</c:v>
                </c:pt>
                <c:pt idx="20">
                  <c:v>1234.2292</c:v>
                </c:pt>
                <c:pt idx="21">
                  <c:v>1089.6954</c:v>
                </c:pt>
                <c:pt idx="22">
                  <c:v>1203.3258</c:v>
                </c:pt>
                <c:pt idx="23">
                  <c:v>1198.4213</c:v>
                </c:pt>
                <c:pt idx="24">
                  <c:v>1176.2103</c:v>
                </c:pt>
                <c:pt idx="25">
                  <c:v>1176.0433</c:v>
                </c:pt>
                <c:pt idx="26">
                  <c:v>1192.2911</c:v>
                </c:pt>
                <c:pt idx="27">
                  <c:v>1191.1064</c:v>
                </c:pt>
                <c:pt idx="28">
                  <c:v>1237.1884</c:v>
                </c:pt>
                <c:pt idx="29">
                  <c:v>1238.2347</c:v>
                </c:pt>
                <c:pt idx="30">
                  <c:v>1235.1392</c:v>
                </c:pt>
                <c:pt idx="31">
                  <c:v>1220.5075</c:v>
                </c:pt>
                <c:pt idx="32">
                  <c:v>1240.6515</c:v>
                </c:pt>
                <c:pt idx="33">
                  <c:v>1237.6143</c:v>
                </c:pt>
                <c:pt idx="34">
                  <c:v>1245.0728</c:v>
                </c:pt>
                <c:pt idx="35">
                  <c:v>1266.4226</c:v>
                </c:pt>
                <c:pt idx="36">
                  <c:v>1274.9988</c:v>
                </c:pt>
                <c:pt idx="37">
                  <c:v>1267.3615</c:v>
                </c:pt>
                <c:pt idx="38">
                  <c:v>1270.0503</c:v>
                </c:pt>
                <c:pt idx="39">
                  <c:v>1238.4698</c:v>
                </c:pt>
                <c:pt idx="40">
                  <c:v>1266.1894</c:v>
                </c:pt>
                <c:pt idx="41">
                  <c:v>1289.9675</c:v>
                </c:pt>
                <c:pt idx="42">
                  <c:v>1282.2537</c:v>
                </c:pt>
                <c:pt idx="43">
                  <c:v>1291.4705</c:v>
                </c:pt>
                <c:pt idx="44">
                  <c:v>1219.8948</c:v>
                </c:pt>
                <c:pt idx="45">
                  <c:v>1184.8793</c:v>
                </c:pt>
                <c:pt idx="46">
                  <c:v>1182.9872</c:v>
                </c:pt>
                <c:pt idx="47">
                  <c:v>1162.7617</c:v>
                </c:pt>
                <c:pt idx="48">
                  <c:v>1147.8243</c:v>
                </c:pt>
                <c:pt idx="49">
                  <c:v>1156.9224</c:v>
                </c:pt>
                <c:pt idx="50">
                  <c:v>1116.4614</c:v>
                </c:pt>
                <c:pt idx="51">
                  <c:v>1094.5253</c:v>
                </c:pt>
                <c:pt idx="52">
                  <c:v>1058.8722094838085</c:v>
                </c:pt>
                <c:pt idx="53">
                  <c:v>803.3028371059421</c:v>
                </c:pt>
                <c:pt idx="54">
                  <c:v>1155.1304080043649</c:v>
                </c:pt>
              </c:numCache>
            </c:numRef>
          </c:xVal>
          <c:yVal>
            <c:numRef>
              <c:f>Sheet1!$B$187:$B$241</c:f>
              <c:numCache>
                <c:formatCode>General</c:formatCode>
                <c:ptCount val="55"/>
                <c:pt idx="0">
                  <c:v>0.18474228910840748</c:v>
                </c:pt>
                <c:pt idx="1">
                  <c:v>0.18224467250807505</c:v>
                </c:pt>
                <c:pt idx="2">
                  <c:v>0.1832848435256416</c:v>
                </c:pt>
                <c:pt idx="3">
                  <c:v>0.1868746082701206</c:v>
                </c:pt>
                <c:pt idx="4">
                  <c:v>0.18542538649307805</c:v>
                </c:pt>
                <c:pt idx="5">
                  <c:v>0.18474413445017956</c:v>
                </c:pt>
                <c:pt idx="6">
                  <c:v>0.1940000077337645</c:v>
                </c:pt>
                <c:pt idx="7">
                  <c:v>0.1910706079028508</c:v>
                </c:pt>
                <c:pt idx="8">
                  <c:v>0.1849529923714694</c:v>
                </c:pt>
                <c:pt idx="9">
                  <c:v>0.19285485281581724</c:v>
                </c:pt>
                <c:pt idx="10">
                  <c:v>0.19003951650168452</c:v>
                </c:pt>
                <c:pt idx="11">
                  <c:v>0.20039890416496867</c:v>
                </c:pt>
                <c:pt idx="12">
                  <c:v>0.1959138945922399</c:v>
                </c:pt>
                <c:pt idx="13">
                  <c:v>0.19259726717411124</c:v>
                </c:pt>
                <c:pt idx="14">
                  <c:v>0.19182032479990155</c:v>
                </c:pt>
                <c:pt idx="15">
                  <c:v>0.18981037319294375</c:v>
                </c:pt>
                <c:pt idx="16">
                  <c:v>0.18414169722180712</c:v>
                </c:pt>
                <c:pt idx="17">
                  <c:v>0.18895216892055372</c:v>
                </c:pt>
                <c:pt idx="18">
                  <c:v>0.18751998312479828</c:v>
                </c:pt>
                <c:pt idx="19">
                  <c:v>0.17744661006414353</c:v>
                </c:pt>
                <c:pt idx="20">
                  <c:v>0.1784684078962403</c:v>
                </c:pt>
                <c:pt idx="21">
                  <c:v>0.19779552808582956</c:v>
                </c:pt>
                <c:pt idx="22">
                  <c:v>0.18260082347008497</c:v>
                </c:pt>
                <c:pt idx="23">
                  <c:v>0.18325665526147109</c:v>
                </c:pt>
                <c:pt idx="24">
                  <c:v>0.1862267194715795</c:v>
                </c:pt>
                <c:pt idx="25">
                  <c:v>0.18624905078142992</c:v>
                </c:pt>
                <c:pt idx="26">
                  <c:v>0.18407638816952596</c:v>
                </c:pt>
                <c:pt idx="27">
                  <c:v>0.18423480674904583</c:v>
                </c:pt>
                <c:pt idx="28">
                  <c:v>0.17807270243450724</c:v>
                </c:pt>
                <c:pt idx="29">
                  <c:v>0.17793279076087543</c:v>
                </c:pt>
                <c:pt idx="30">
                  <c:v>0.17834672231561813</c:v>
                </c:pt>
                <c:pt idx="31">
                  <c:v>0.18030327935956228</c:v>
                </c:pt>
                <c:pt idx="32">
                  <c:v>0.17760961525400992</c:v>
                </c:pt>
                <c:pt idx="33">
                  <c:v>0.17801575090836771</c:v>
                </c:pt>
                <c:pt idx="34">
                  <c:v>0.17701839716873</c:v>
                </c:pt>
                <c:pt idx="35">
                  <c:v>0.17416349298283232</c:v>
                </c:pt>
                <c:pt idx="36">
                  <c:v>0.17301667993169859</c:v>
                </c:pt>
                <c:pt idx="37">
                  <c:v>0.1740379428821223</c:v>
                </c:pt>
                <c:pt idx="38">
                  <c:v>0.17367839542148839</c:v>
                </c:pt>
                <c:pt idx="39">
                  <c:v>0.17790135309054106</c:v>
                </c:pt>
                <c:pt idx="40">
                  <c:v>0.174194676584372</c:v>
                </c:pt>
                <c:pt idx="41">
                  <c:v>0.1710150591067988</c:v>
                </c:pt>
                <c:pt idx="42">
                  <c:v>0.17204655166921984</c:v>
                </c:pt>
                <c:pt idx="43">
                  <c:v>0.17081407731814482</c:v>
                </c:pt>
                <c:pt idx="44">
                  <c:v>0.18038520985983392</c:v>
                </c:pt>
                <c:pt idx="45">
                  <c:v>0.18506749716563065</c:v>
                </c:pt>
                <c:pt idx="46">
                  <c:v>0.18532050956903193</c:v>
                </c:pt>
                <c:pt idx="47">
                  <c:v>0.188025071888673</c:v>
                </c:pt>
                <c:pt idx="48">
                  <c:v>0.19002250726448108</c:v>
                </c:pt>
                <c:pt idx="49">
                  <c:v>0.18880590552705429</c:v>
                </c:pt>
                <c:pt idx="50">
                  <c:v>0.19421636737051906</c:v>
                </c:pt>
                <c:pt idx="51">
                  <c:v>0.19714967183764612</c:v>
                </c:pt>
                <c:pt idx="52">
                  <c:v>0.20191721801395046</c:v>
                </c:pt>
                <c:pt idx="53">
                  <c:v>0.23609206138432418</c:v>
                </c:pt>
                <c:pt idx="54">
                  <c:v>0.189045531446240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50.0"/>
          <c:min val="64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72528562742023"/>
          <c:min val="0.1210273009923761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82.0378</c:v>
                </c:pt>
                <c:pt idx="1">
                  <c:v>927.6933</c:v>
                </c:pt>
                <c:pt idx="2">
                  <c:v>941.5266</c:v>
                </c:pt>
                <c:pt idx="3">
                  <c:v>948.004</c:v>
                </c:pt>
                <c:pt idx="4">
                  <c:v>913.6714</c:v>
                </c:pt>
                <c:pt idx="5">
                  <c:v>895.0646</c:v>
                </c:pt>
                <c:pt idx="6">
                  <c:v>894.7375</c:v>
                </c:pt>
                <c:pt idx="7">
                  <c:v>888.0266</c:v>
                </c:pt>
                <c:pt idx="8">
                  <c:v>893.3369</c:v>
                </c:pt>
                <c:pt idx="9">
                  <c:v>845.0579</c:v>
                </c:pt>
                <c:pt idx="10">
                  <c:v>807.3767</c:v>
                </c:pt>
                <c:pt idx="11">
                  <c:v>797.7624</c:v>
                </c:pt>
                <c:pt idx="12">
                  <c:v>816.9945</c:v>
                </c:pt>
                <c:pt idx="13">
                  <c:v>805.4152</c:v>
                </c:pt>
                <c:pt idx="14">
                  <c:v>933.3739</c:v>
                </c:pt>
                <c:pt idx="15">
                  <c:v>946.1685</c:v>
                </c:pt>
                <c:pt idx="16">
                  <c:v>944.0241</c:v>
                </c:pt>
                <c:pt idx="17">
                  <c:v>954.6969</c:v>
                </c:pt>
                <c:pt idx="18">
                  <c:v>983.6931</c:v>
                </c:pt>
                <c:pt idx="19">
                  <c:v>987.9647</c:v>
                </c:pt>
                <c:pt idx="20">
                  <c:v>998.0991</c:v>
                </c:pt>
                <c:pt idx="21">
                  <c:v>1004.0141</c:v>
                </c:pt>
                <c:pt idx="22">
                  <c:v>1016.0922</c:v>
                </c:pt>
                <c:pt idx="23">
                  <c:v>1025.019</c:v>
                </c:pt>
                <c:pt idx="24">
                  <c:v>1028.2318</c:v>
                </c:pt>
                <c:pt idx="25">
                  <c:v>1020.0103</c:v>
                </c:pt>
                <c:pt idx="26">
                  <c:v>1024.9627</c:v>
                </c:pt>
                <c:pt idx="27">
                  <c:v>1027.5</c:v>
                </c:pt>
                <c:pt idx="28">
                  <c:v>1031.9043</c:v>
                </c:pt>
                <c:pt idx="29">
                  <c:v>1058.1382</c:v>
                </c:pt>
                <c:pt idx="30">
                  <c:v>1054.2462</c:v>
                </c:pt>
                <c:pt idx="31">
                  <c:v>1054.9671</c:v>
                </c:pt>
                <c:pt idx="32">
                  <c:v>1042.1688</c:v>
                </c:pt>
                <c:pt idx="33">
                  <c:v>1054.2434</c:v>
                </c:pt>
                <c:pt idx="34">
                  <c:v>1019.7664</c:v>
                </c:pt>
                <c:pt idx="35">
                  <c:v>1023.0399</c:v>
                </c:pt>
                <c:pt idx="36">
                  <c:v>1050.6236</c:v>
                </c:pt>
                <c:pt idx="37">
                  <c:v>1066.4357</c:v>
                </c:pt>
                <c:pt idx="38">
                  <c:v>1076.2603</c:v>
                </c:pt>
                <c:pt idx="39">
                  <c:v>1133.355</c:v>
                </c:pt>
                <c:pt idx="40">
                  <c:v>1144.8118</c:v>
                </c:pt>
                <c:pt idx="41">
                  <c:v>1160.1727</c:v>
                </c:pt>
                <c:pt idx="42">
                  <c:v>1169.0579</c:v>
                </c:pt>
                <c:pt idx="43">
                  <c:v>1172.5528</c:v>
                </c:pt>
                <c:pt idx="44">
                  <c:v>1195.1173</c:v>
                </c:pt>
                <c:pt idx="45">
                  <c:v>1188.4443</c:v>
                </c:pt>
                <c:pt idx="46">
                  <c:v>1135.9512</c:v>
                </c:pt>
                <c:pt idx="47">
                  <c:v>1128.4079</c:v>
                </c:pt>
                <c:pt idx="48">
                  <c:v>1083.6215</c:v>
                </c:pt>
                <c:pt idx="49">
                  <c:v>997.1162</c:v>
                </c:pt>
                <c:pt idx="50">
                  <c:v>1023.5524</c:v>
                </c:pt>
                <c:pt idx="51">
                  <c:v>1010.6958</c:v>
                </c:pt>
                <c:pt idx="52">
                  <c:v>991.7953</c:v>
                </c:pt>
                <c:pt idx="53">
                  <c:v>1197.223</c:v>
                </c:pt>
                <c:pt idx="54">
                  <c:v>1193.0427</c:v>
                </c:pt>
                <c:pt idx="55">
                  <c:v>1194.2518</c:v>
                </c:pt>
                <c:pt idx="56">
                  <c:v>1186.2817</c:v>
                </c:pt>
                <c:pt idx="57">
                  <c:v>1193.4468</c:v>
                </c:pt>
                <c:pt idx="58">
                  <c:v>1188.1385</c:v>
                </c:pt>
                <c:pt idx="59">
                  <c:v>1195.9447</c:v>
                </c:pt>
                <c:pt idx="60">
                  <c:v>1208.2215</c:v>
                </c:pt>
                <c:pt idx="61">
                  <c:v>1146.8719</c:v>
                </c:pt>
                <c:pt idx="62">
                  <c:v>1042.9406</c:v>
                </c:pt>
                <c:pt idx="63">
                  <c:v>1048.4032</c:v>
                </c:pt>
                <c:pt idx="64">
                  <c:v>1054.7304</c:v>
                </c:pt>
                <c:pt idx="65">
                  <c:v>1057.4421</c:v>
                </c:pt>
                <c:pt idx="66">
                  <c:v>1167.2609</c:v>
                </c:pt>
                <c:pt idx="67">
                  <c:v>1190.5122</c:v>
                </c:pt>
                <c:pt idx="68">
                  <c:v>1172.8725</c:v>
                </c:pt>
                <c:pt idx="69">
                  <c:v>1209.7051</c:v>
                </c:pt>
                <c:pt idx="70">
                  <c:v>1213.4937</c:v>
                </c:pt>
                <c:pt idx="71">
                  <c:v>1208.903</c:v>
                </c:pt>
                <c:pt idx="72">
                  <c:v>1219.3944</c:v>
                </c:pt>
                <c:pt idx="73">
                  <c:v>1213.5641</c:v>
                </c:pt>
                <c:pt idx="74">
                  <c:v>1231.2269</c:v>
                </c:pt>
                <c:pt idx="75">
                  <c:v>1211.4179</c:v>
                </c:pt>
                <c:pt idx="76">
                  <c:v>1166.9235</c:v>
                </c:pt>
                <c:pt idx="77">
                  <c:v>1161.1444</c:v>
                </c:pt>
                <c:pt idx="78">
                  <c:v>1172.7847</c:v>
                </c:pt>
                <c:pt idx="79">
                  <c:v>1206.1037</c:v>
                </c:pt>
                <c:pt idx="80">
                  <c:v>1222.6691</c:v>
                </c:pt>
                <c:pt idx="81">
                  <c:v>1264.3381</c:v>
                </c:pt>
                <c:pt idx="82">
                  <c:v>1278.2992</c:v>
                </c:pt>
                <c:pt idx="83">
                  <c:v>1271.7508</c:v>
                </c:pt>
                <c:pt idx="84">
                  <c:v>1285.2774</c:v>
                </c:pt>
                <c:pt idx="85">
                  <c:v>1297.5208</c:v>
                </c:pt>
                <c:pt idx="86">
                  <c:v>1295.88</c:v>
                </c:pt>
                <c:pt idx="87">
                  <c:v>1277.3069</c:v>
                </c:pt>
                <c:pt idx="88">
                  <c:v>1283.2065</c:v>
                </c:pt>
                <c:pt idx="89">
                  <c:v>1307.5862</c:v>
                </c:pt>
                <c:pt idx="90">
                  <c:v>1304.2661</c:v>
                </c:pt>
                <c:pt idx="91">
                  <c:v>1295.8556</c:v>
                </c:pt>
                <c:pt idx="92">
                  <c:v>1282.5632</c:v>
                </c:pt>
                <c:pt idx="93">
                  <c:v>1276.3185</c:v>
                </c:pt>
                <c:pt idx="94">
                  <c:v>1282.8516</c:v>
                </c:pt>
                <c:pt idx="95">
                  <c:v>1276.6193</c:v>
                </c:pt>
                <c:pt idx="96">
                  <c:v>1183.1731</c:v>
                </c:pt>
                <c:pt idx="97">
                  <c:v>1214.2338</c:v>
                </c:pt>
                <c:pt idx="98">
                  <c:v>1176.7796</c:v>
                </c:pt>
                <c:pt idx="99">
                  <c:v>1163.592</c:v>
                </c:pt>
                <c:pt idx="100">
                  <c:v>1084.096</c:v>
                </c:pt>
                <c:pt idx="101">
                  <c:v>1237.3957</c:v>
                </c:pt>
                <c:pt idx="102">
                  <c:v>1233.3739</c:v>
                </c:pt>
                <c:pt idx="103">
                  <c:v>1168.2598</c:v>
                </c:pt>
                <c:pt idx="104">
                  <c:v>1158.6334</c:v>
                </c:pt>
              </c:numCache>
            </c:numRef>
          </c:xVal>
          <c:yVal>
            <c:numRef>
              <c:f>Sheet1!$B$2:$B$106</c:f>
              <c:numCache>
                <c:formatCode>General</c:formatCode>
                <c:ptCount val="105"/>
                <c:pt idx="0">
                  <c:v>0.19014989293361884</c:v>
                </c:pt>
                <c:pt idx="1">
                  <c:v>0.1874182090110301</c:v>
                </c:pt>
                <c:pt idx="2">
                  <c:v>0.18448132010753684</c:v>
                </c:pt>
                <c:pt idx="3">
                  <c:v>0.19202967471942173</c:v>
                </c:pt>
                <c:pt idx="4">
                  <c:v>0.21944354227563062</c:v>
                </c:pt>
                <c:pt idx="5">
                  <c:v>0.20855138625988198</c:v>
                </c:pt>
                <c:pt idx="6">
                  <c:v>0.23273385122911566</c:v>
                </c:pt>
                <c:pt idx="7">
                  <c:v>0.22297297297297297</c:v>
                </c:pt>
                <c:pt idx="8">
                  <c:v>0.23093121197941038</c:v>
                </c:pt>
                <c:pt idx="9">
                  <c:v>0.23115327009485773</c:v>
                </c:pt>
                <c:pt idx="10">
                  <c:v>0.22522522522522523</c:v>
                </c:pt>
                <c:pt idx="11">
                  <c:v>0.22725676150333685</c:v>
                </c:pt>
                <c:pt idx="12">
                  <c:v>0.21053849714550224</c:v>
                </c:pt>
                <c:pt idx="13">
                  <c:v>0.20055565202292064</c:v>
                </c:pt>
                <c:pt idx="14">
                  <c:v>0.17704734335605565</c:v>
                </c:pt>
                <c:pt idx="15">
                  <c:v>0.16691908264820424</c:v>
                </c:pt>
                <c:pt idx="16">
                  <c:v>0.16824498831632026</c:v>
                </c:pt>
                <c:pt idx="17">
                  <c:v>0.1657111657111657</c:v>
                </c:pt>
                <c:pt idx="18">
                  <c:v>0.1534027221777422</c:v>
                </c:pt>
                <c:pt idx="19">
                  <c:v>0.1468956879584899</c:v>
                </c:pt>
                <c:pt idx="20">
                  <c:v>0.18550137462017074</c:v>
                </c:pt>
                <c:pt idx="21">
                  <c:v>0.1703767123287671</c:v>
                </c:pt>
                <c:pt idx="22">
                  <c:v>0.14937759336099585</c:v>
                </c:pt>
                <c:pt idx="23">
                  <c:v>0.1632692681032809</c:v>
                </c:pt>
                <c:pt idx="24">
                  <c:v>0.16699981828093768</c:v>
                </c:pt>
                <c:pt idx="25">
                  <c:v>0.16081750619322874</c:v>
                </c:pt>
                <c:pt idx="26">
                  <c:v>0.16816409560942533</c:v>
                </c:pt>
                <c:pt idx="27">
                  <c:v>0.18117854001759015</c:v>
                </c:pt>
                <c:pt idx="28">
                  <c:v>0.18936994016191483</c:v>
                </c:pt>
                <c:pt idx="29">
                  <c:v>0.18606127956818544</c:v>
                </c:pt>
                <c:pt idx="30">
                  <c:v>0.1950787401574803</c:v>
                </c:pt>
                <c:pt idx="31">
                  <c:v>0.17657657657657658</c:v>
                </c:pt>
                <c:pt idx="32">
                  <c:v>0.18993506493506493</c:v>
                </c:pt>
                <c:pt idx="33">
                  <c:v>0.1818020259463302</c:v>
                </c:pt>
                <c:pt idx="34">
                  <c:v>0.20025288446341077</c:v>
                </c:pt>
                <c:pt idx="35">
                  <c:v>0.2567105905319668</c:v>
                </c:pt>
                <c:pt idx="36">
                  <c:v>0.2090291536937447</c:v>
                </c:pt>
                <c:pt idx="37">
                  <c:v>0.19676739283204497</c:v>
                </c:pt>
                <c:pt idx="38">
                  <c:v>0.18666219839142092</c:v>
                </c:pt>
                <c:pt idx="39">
                  <c:v>0.18684603886397608</c:v>
                </c:pt>
                <c:pt idx="40">
                  <c:v>0.1901644336175396</c:v>
                </c:pt>
                <c:pt idx="41">
                  <c:v>0.17954735959765297</c:v>
                </c:pt>
                <c:pt idx="42">
                  <c:v>0.18690275435637999</c:v>
                </c:pt>
                <c:pt idx="43">
                  <c:v>0.18360136452241715</c:v>
                </c:pt>
                <c:pt idx="44">
                  <c:v>0.16826381059751974</c:v>
                </c:pt>
                <c:pt idx="45">
                  <c:v>0.16118853536681568</c:v>
                </c:pt>
                <c:pt idx="46">
                  <c:v>0.16547874624302275</c:v>
                </c:pt>
                <c:pt idx="47">
                  <c:v>0.16660851360781578</c:v>
                </c:pt>
                <c:pt idx="48">
                  <c:v>0.16566534577527803</c:v>
                </c:pt>
                <c:pt idx="49">
                  <c:v>0.18493237800483317</c:v>
                </c:pt>
                <c:pt idx="50">
                  <c:v>0.1706705661165657</c:v>
                </c:pt>
                <c:pt idx="51">
                  <c:v>0.1737982884107814</c:v>
                </c:pt>
                <c:pt idx="52">
                  <c:v>0.17529908028490424</c:v>
                </c:pt>
                <c:pt idx="53">
                  <c:v>0.16356603426045313</c:v>
                </c:pt>
                <c:pt idx="54">
                  <c:v>0.16656510257972781</c:v>
                </c:pt>
                <c:pt idx="55">
                  <c:v>0.16468982890731604</c:v>
                </c:pt>
                <c:pt idx="56">
                  <c:v>0.17314981049271894</c:v>
                </c:pt>
                <c:pt idx="57">
                  <c:v>0.15567353549896518</c:v>
                </c:pt>
                <c:pt idx="58">
                  <c:v>0.1553445337229121</c:v>
                </c:pt>
                <c:pt idx="59">
                  <c:v>0.14042185898473325</c:v>
                </c:pt>
                <c:pt idx="60">
                  <c:v>0.13943281566509116</c:v>
                </c:pt>
                <c:pt idx="61">
                  <c:v>0.1463888266487415</c:v>
                </c:pt>
                <c:pt idx="62">
                  <c:v>0.16681908245694255</c:v>
                </c:pt>
                <c:pt idx="63">
                  <c:v>0.16552175335296043</c:v>
                </c:pt>
                <c:pt idx="64">
                  <c:v>0.16559465254130407</c:v>
                </c:pt>
                <c:pt idx="65">
                  <c:v>0.16908012687905116</c:v>
                </c:pt>
                <c:pt idx="66">
                  <c:v>0.16127120527446479</c:v>
                </c:pt>
                <c:pt idx="67">
                  <c:v>0.1575673807878369</c:v>
                </c:pt>
                <c:pt idx="68">
                  <c:v>0.15084640609766906</c:v>
                </c:pt>
                <c:pt idx="69">
                  <c:v>0.13940273243864104</c:v>
                </c:pt>
                <c:pt idx="70">
                  <c:v>0.1383089168300842</c:v>
                </c:pt>
                <c:pt idx="71">
                  <c:v>0.1375188580712545</c:v>
                </c:pt>
                <c:pt idx="72">
                  <c:v>0.15128576199487923</c:v>
                </c:pt>
                <c:pt idx="73">
                  <c:v>0.14916875427009793</c:v>
                </c:pt>
                <c:pt idx="74">
                  <c:v>0.14144620811287478</c:v>
                </c:pt>
                <c:pt idx="75">
                  <c:v>0.15030504714364948</c:v>
                </c:pt>
                <c:pt idx="76">
                  <c:v>0.15098152424942263</c:v>
                </c:pt>
                <c:pt idx="77">
                  <c:v>0.14893926184248765</c:v>
                </c:pt>
                <c:pt idx="78">
                  <c:v>0.1562448711636304</c:v>
                </c:pt>
                <c:pt idx="79">
                  <c:v>0.1584241408214585</c:v>
                </c:pt>
                <c:pt idx="80">
                  <c:v>0.158530531193116</c:v>
                </c:pt>
                <c:pt idx="81">
                  <c:v>0.15322033898305085</c:v>
                </c:pt>
                <c:pt idx="82">
                  <c:v>0.15401558793629277</c:v>
                </c:pt>
                <c:pt idx="83">
                  <c:v>0.13964346349745332</c:v>
                </c:pt>
                <c:pt idx="84">
                  <c:v>0.14164366107453813</c:v>
                </c:pt>
                <c:pt idx="85">
                  <c:v>0.1314352574102964</c:v>
                </c:pt>
                <c:pt idx="86">
                  <c:v>0.14265335235378032</c:v>
                </c:pt>
                <c:pt idx="87">
                  <c:v>0.17739646497226164</c:v>
                </c:pt>
                <c:pt idx="88">
                  <c:v>0.18386639357176618</c:v>
                </c:pt>
                <c:pt idx="89">
                  <c:v>0.1434290687554395</c:v>
                </c:pt>
                <c:pt idx="90">
                  <c:v>0.14193663862538033</c:v>
                </c:pt>
                <c:pt idx="91">
                  <c:v>0.14365199797673242</c:v>
                </c:pt>
                <c:pt idx="92">
                  <c:v>0.15895232815964525</c:v>
                </c:pt>
                <c:pt idx="93">
                  <c:v>0.13890293225480282</c:v>
                </c:pt>
                <c:pt idx="94">
                  <c:v>0.13735046521931768</c:v>
                </c:pt>
                <c:pt idx="95">
                  <c:v>0.1478503270076123</c:v>
                </c:pt>
                <c:pt idx="96">
                  <c:v>0.14983572540204046</c:v>
                </c:pt>
                <c:pt idx="97">
                  <c:v>0.1448043382676242</c:v>
                </c:pt>
                <c:pt idx="98">
                  <c:v>0.15628408288958748</c:v>
                </c:pt>
                <c:pt idx="99">
                  <c:v>0.1556851648668938</c:v>
                </c:pt>
                <c:pt idx="100">
                  <c:v>0.17040760657781934</c:v>
                </c:pt>
                <c:pt idx="101">
                  <c:v>0.14546495356824832</c:v>
                </c:pt>
                <c:pt idx="102">
                  <c:v>0.13494876586969132</c:v>
                </c:pt>
                <c:pt idx="103">
                  <c:v>0.1509997222993613</c:v>
                </c:pt>
                <c:pt idx="104">
                  <c:v>0.155755176613885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7.5788</c:v>
                </c:pt>
                <c:pt idx="1">
                  <c:v>1241.7033</c:v>
                </c:pt>
                <c:pt idx="2">
                  <c:v>1269.042</c:v>
                </c:pt>
                <c:pt idx="3">
                  <c:v>1287.1211</c:v>
                </c:pt>
                <c:pt idx="4">
                  <c:v>1278.1937</c:v>
                </c:pt>
                <c:pt idx="5">
                  <c:v>1282.0273</c:v>
                </c:pt>
                <c:pt idx="6">
                  <c:v>1274.6663</c:v>
                </c:pt>
                <c:pt idx="7">
                  <c:v>1271.8084</c:v>
                </c:pt>
                <c:pt idx="8">
                  <c:v>1265.9886</c:v>
                </c:pt>
                <c:pt idx="9">
                  <c:v>1123.1292</c:v>
                </c:pt>
                <c:pt idx="10">
                  <c:v>1148.5366</c:v>
                </c:pt>
                <c:pt idx="11">
                  <c:v>1263.3856</c:v>
                </c:pt>
                <c:pt idx="12">
                  <c:v>1238.5731</c:v>
                </c:pt>
                <c:pt idx="13">
                  <c:v>1148.1709</c:v>
                </c:pt>
                <c:pt idx="14">
                  <c:v>1251.5951</c:v>
                </c:pt>
                <c:pt idx="15">
                  <c:v>1186.8718</c:v>
                </c:pt>
                <c:pt idx="16">
                  <c:v>1267.9952</c:v>
                </c:pt>
                <c:pt idx="17">
                  <c:v>1285.5505</c:v>
                </c:pt>
                <c:pt idx="18">
                  <c:v>1321.6302</c:v>
                </c:pt>
                <c:pt idx="19">
                  <c:v>1302.7162</c:v>
                </c:pt>
                <c:pt idx="20">
                  <c:v>1240.0478</c:v>
                </c:pt>
                <c:pt idx="21">
                  <c:v>1251.4536</c:v>
                </c:pt>
                <c:pt idx="22">
                  <c:v>1239.9622</c:v>
                </c:pt>
                <c:pt idx="23">
                  <c:v>1156.3292</c:v>
                </c:pt>
                <c:pt idx="24">
                  <c:v>1141.9894</c:v>
                </c:pt>
                <c:pt idx="25">
                  <c:v>1189.5876</c:v>
                </c:pt>
                <c:pt idx="26">
                  <c:v>1226.3852</c:v>
                </c:pt>
                <c:pt idx="27">
                  <c:v>1275.3042</c:v>
                </c:pt>
                <c:pt idx="28">
                  <c:v>1320.9276</c:v>
                </c:pt>
                <c:pt idx="29">
                  <c:v>1307.5571</c:v>
                </c:pt>
                <c:pt idx="30">
                  <c:v>1305.5342</c:v>
                </c:pt>
                <c:pt idx="31">
                  <c:v>1302.1792</c:v>
                </c:pt>
                <c:pt idx="32">
                  <c:v>1300.668</c:v>
                </c:pt>
                <c:pt idx="33">
                  <c:v>1308.3848</c:v>
                </c:pt>
                <c:pt idx="34">
                  <c:v>1307.6936</c:v>
                </c:pt>
                <c:pt idx="35">
                  <c:v>1297.1465</c:v>
                </c:pt>
                <c:pt idx="36">
                  <c:v>1293.6675</c:v>
                </c:pt>
                <c:pt idx="37">
                  <c:v>1292.8031</c:v>
                </c:pt>
                <c:pt idx="38">
                  <c:v>1290.5053</c:v>
                </c:pt>
                <c:pt idx="39">
                  <c:v>1306.224</c:v>
                </c:pt>
                <c:pt idx="40">
                  <c:v>1307.6326</c:v>
                </c:pt>
                <c:pt idx="41">
                  <c:v>1301.1517</c:v>
                </c:pt>
                <c:pt idx="42">
                  <c:v>1306.3297</c:v>
                </c:pt>
                <c:pt idx="43">
                  <c:v>1288.6247</c:v>
                </c:pt>
                <c:pt idx="44">
                  <c:v>1238.5819</c:v>
                </c:pt>
                <c:pt idx="45">
                  <c:v>1248.5237</c:v>
                </c:pt>
                <c:pt idx="46">
                  <c:v>1248.6564</c:v>
                </c:pt>
                <c:pt idx="47">
                  <c:v>1244.7582</c:v>
                </c:pt>
                <c:pt idx="48">
                  <c:v>1177.1123</c:v>
                </c:pt>
                <c:pt idx="49">
                  <c:v>1149.897</c:v>
                </c:pt>
                <c:pt idx="50">
                  <c:v>1111.9998</c:v>
                </c:pt>
                <c:pt idx="51">
                  <c:v>1135.3556</c:v>
                </c:pt>
              </c:numCache>
            </c:numRef>
          </c:xVal>
          <c:yVal>
            <c:numRef>
              <c:f>Sheet1!$B$109:$B$160</c:f>
              <c:numCache>
                <c:formatCode>General</c:formatCode>
                <c:ptCount val="52"/>
                <c:pt idx="0">
                  <c:v>0.17426059152677859</c:v>
                </c:pt>
                <c:pt idx="1">
                  <c:v>0.16431742076162292</c:v>
                </c:pt>
                <c:pt idx="2">
                  <c:v>0.17060423825887744</c:v>
                </c:pt>
                <c:pt idx="3">
                  <c:v>0.17236204897346702</c:v>
                </c:pt>
                <c:pt idx="4">
                  <c:v>0.16263736263736264</c:v>
                </c:pt>
                <c:pt idx="5">
                  <c:v>0.14956301099520722</c:v>
                </c:pt>
                <c:pt idx="6">
                  <c:v>0.13353554207497279</c:v>
                </c:pt>
                <c:pt idx="7">
                  <c:v>0.12613092070250134</c:v>
                </c:pt>
                <c:pt idx="8">
                  <c:v>0.13820283762480295</c:v>
                </c:pt>
                <c:pt idx="9">
                  <c:v>0.14737147274835716</c:v>
                </c:pt>
                <c:pt idx="10">
                  <c:v>0.1545095220984549</c:v>
                </c:pt>
                <c:pt idx="11">
                  <c:v>0.14495201535508637</c:v>
                </c:pt>
                <c:pt idx="12">
                  <c:v>0.15231272387478587</c:v>
                </c:pt>
                <c:pt idx="13">
                  <c:v>0.1674721902570004</c:v>
                </c:pt>
                <c:pt idx="14">
                  <c:v>0.15209580838323353</c:v>
                </c:pt>
                <c:pt idx="15">
                  <c:v>0.16133059841255684</c:v>
                </c:pt>
                <c:pt idx="16">
                  <c:v>0.14427465767017264</c:v>
                </c:pt>
                <c:pt idx="17">
                  <c:v>0.13034602429315095</c:v>
                </c:pt>
                <c:pt idx="18">
                  <c:v>0.14128664495114007</c:v>
                </c:pt>
                <c:pt idx="19">
                  <c:v>0.1602713824936047</c:v>
                </c:pt>
                <c:pt idx="20">
                  <c:v>0.14584607855132753</c:v>
                </c:pt>
                <c:pt idx="21">
                  <c:v>0.14382130805077936</c:v>
                </c:pt>
                <c:pt idx="22">
                  <c:v>0.14724121481952615</c:v>
                </c:pt>
                <c:pt idx="23">
                  <c:v>0.1690320523042577</c:v>
                </c:pt>
                <c:pt idx="24">
                  <c:v>0.16956521739130434</c:v>
                </c:pt>
                <c:pt idx="25">
                  <c:v>0.15811023622047243</c:v>
                </c:pt>
                <c:pt idx="26">
                  <c:v>0.14969111357516238</c:v>
                </c:pt>
                <c:pt idx="27">
                  <c:v>0.14162224463333814</c:v>
                </c:pt>
                <c:pt idx="28">
                  <c:v>0.13396251146939311</c:v>
                </c:pt>
                <c:pt idx="29">
                  <c:v>0.13297451321829984</c:v>
                </c:pt>
                <c:pt idx="30">
                  <c:v>0.14792115289050853</c:v>
                </c:pt>
                <c:pt idx="31">
                  <c:v>0.13254147812971342</c:v>
                </c:pt>
                <c:pt idx="32">
                  <c:v>0.1279716742539201</c:v>
                </c:pt>
                <c:pt idx="33">
                  <c:v>0.14977383146255654</c:v>
                </c:pt>
                <c:pt idx="34">
                  <c:v>0.17450045413260673</c:v>
                </c:pt>
                <c:pt idx="35">
                  <c:v>0.18845963348192174</c:v>
                </c:pt>
                <c:pt idx="36">
                  <c:v>0.15489660554038237</c:v>
                </c:pt>
                <c:pt idx="37">
                  <c:v>0.15602594742232845</c:v>
                </c:pt>
                <c:pt idx="38">
                  <c:v>0.14591439688715954</c:v>
                </c:pt>
                <c:pt idx="39">
                  <c:v>0.17303051809794182</c:v>
                </c:pt>
                <c:pt idx="40">
                  <c:v>0.16149154421957304</c:v>
                </c:pt>
                <c:pt idx="41">
                  <c:v>0.17019628099173553</c:v>
                </c:pt>
                <c:pt idx="42">
                  <c:v>0.1579172610556348</c:v>
                </c:pt>
                <c:pt idx="43">
                  <c:v>0.16775396085740912</c:v>
                </c:pt>
                <c:pt idx="44">
                  <c:v>0.15995563896945914</c:v>
                </c:pt>
                <c:pt idx="45">
                  <c:v>0.16269083969465647</c:v>
                </c:pt>
                <c:pt idx="46">
                  <c:v>0.1665410069531708</c:v>
                </c:pt>
                <c:pt idx="47">
                  <c:v>0.16591639871382638</c:v>
                </c:pt>
                <c:pt idx="48">
                  <c:v>0.17167352537722907</c:v>
                </c:pt>
                <c:pt idx="49">
                  <c:v>0.18769338548660167</c:v>
                </c:pt>
                <c:pt idx="50">
                  <c:v>0.21326613199911706</c:v>
                </c:pt>
                <c:pt idx="51">
                  <c:v>0.191201050620821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87.964901925245</c:v>
                </c:pt>
              </c:numCache>
            </c:numRef>
          </c:xVal>
          <c:yVal>
            <c:numRef>
              <c:f>Sheet1!$B$163:$B$164</c:f>
              <c:numCache>
                <c:formatCode>General</c:formatCode>
                <c:ptCount val="2"/>
                <c:pt idx="0">
                  <c:v>0.20763467349873543</c:v>
                </c:pt>
                <c:pt idx="1">
                  <c:v>0.2076346734987354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87.964901925245</c:v>
                </c:pt>
                <c:pt idx="1">
                  <c:v>887.964901925245</c:v>
                </c:pt>
              </c:numCache>
            </c:numRef>
          </c:xVal>
          <c:yVal>
            <c:numRef>
              <c:f>Sheet1!$B$167:$B$168</c:f>
              <c:numCache>
                <c:formatCode>General</c:formatCode>
                <c:ptCount val="2"/>
                <c:pt idx="0">
                  <c:v>0.207634673498735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07.7118410253604</c:v>
                </c:pt>
              </c:numCache>
            </c:numRef>
          </c:xVal>
          <c:yVal>
            <c:numRef>
              <c:f>Sheet1!$B$171:$B$172</c:f>
              <c:numCache>
                <c:formatCode>General</c:formatCode>
                <c:ptCount val="2"/>
                <c:pt idx="0">
                  <c:v>0.1909585233709423</c:v>
                </c:pt>
                <c:pt idx="1">
                  <c:v>0.190958523370942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07.7118410253604</c:v>
                </c:pt>
                <c:pt idx="1">
                  <c:v>1007.7118410253604</c:v>
                </c:pt>
              </c:numCache>
            </c:numRef>
          </c:xVal>
          <c:yVal>
            <c:numRef>
              <c:f>Sheet1!$B$175:$B$176</c:f>
              <c:numCache>
                <c:formatCode>General</c:formatCode>
                <c:ptCount val="2"/>
                <c:pt idx="0">
                  <c:v>0.190958523370942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36.4862337843756</c:v>
                </c:pt>
              </c:numCache>
            </c:numRef>
          </c:xVal>
          <c:yVal>
            <c:numRef>
              <c:f>Sheet1!$B$179:$B$180</c:f>
              <c:numCache>
                <c:formatCode>General</c:formatCode>
                <c:ptCount val="2"/>
                <c:pt idx="0">
                  <c:v>0.1730251956182443</c:v>
                </c:pt>
                <c:pt idx="1">
                  <c:v>0.173025195618244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36.4862337843756</c:v>
                </c:pt>
                <c:pt idx="1">
                  <c:v>1136.4862337843756</c:v>
                </c:pt>
              </c:numCache>
            </c:numRef>
          </c:xVal>
          <c:yVal>
            <c:numRef>
              <c:f>Sheet1!$B$183:$B$184</c:f>
              <c:numCache>
                <c:formatCode>General</c:formatCode>
                <c:ptCount val="2"/>
                <c:pt idx="0">
                  <c:v>0.173025195618244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7.5788</c:v>
                </c:pt>
                <c:pt idx="1">
                  <c:v>1241.7033</c:v>
                </c:pt>
                <c:pt idx="2">
                  <c:v>1269.042</c:v>
                </c:pt>
                <c:pt idx="3">
                  <c:v>1287.1211</c:v>
                </c:pt>
                <c:pt idx="4">
                  <c:v>1278.1937</c:v>
                </c:pt>
                <c:pt idx="5">
                  <c:v>1282.0273</c:v>
                </c:pt>
                <c:pt idx="6">
                  <c:v>1274.6663</c:v>
                </c:pt>
                <c:pt idx="7">
                  <c:v>1271.8084</c:v>
                </c:pt>
                <c:pt idx="8">
                  <c:v>1265.9886</c:v>
                </c:pt>
                <c:pt idx="9">
                  <c:v>1123.1292</c:v>
                </c:pt>
                <c:pt idx="10">
                  <c:v>1148.5366</c:v>
                </c:pt>
                <c:pt idx="11">
                  <c:v>1263.3856</c:v>
                </c:pt>
                <c:pt idx="12">
                  <c:v>1238.5731</c:v>
                </c:pt>
                <c:pt idx="13">
                  <c:v>1148.1709</c:v>
                </c:pt>
                <c:pt idx="14">
                  <c:v>1251.5951</c:v>
                </c:pt>
                <c:pt idx="15">
                  <c:v>1186.8718</c:v>
                </c:pt>
                <c:pt idx="16">
                  <c:v>1267.9952</c:v>
                </c:pt>
                <c:pt idx="17">
                  <c:v>1285.5505</c:v>
                </c:pt>
                <c:pt idx="18">
                  <c:v>1321.6302</c:v>
                </c:pt>
                <c:pt idx="19">
                  <c:v>1302.7162</c:v>
                </c:pt>
                <c:pt idx="20">
                  <c:v>1240.0478</c:v>
                </c:pt>
                <c:pt idx="21">
                  <c:v>1251.4536</c:v>
                </c:pt>
                <c:pt idx="22">
                  <c:v>1239.9622</c:v>
                </c:pt>
                <c:pt idx="23">
                  <c:v>1156.3292</c:v>
                </c:pt>
                <c:pt idx="24">
                  <c:v>1141.9894</c:v>
                </c:pt>
                <c:pt idx="25">
                  <c:v>1189.5876</c:v>
                </c:pt>
                <c:pt idx="26">
                  <c:v>1226.3852</c:v>
                </c:pt>
                <c:pt idx="27">
                  <c:v>1275.3042</c:v>
                </c:pt>
                <c:pt idx="28">
                  <c:v>1320.9276</c:v>
                </c:pt>
                <c:pt idx="29">
                  <c:v>1307.5571</c:v>
                </c:pt>
                <c:pt idx="30">
                  <c:v>1305.5342</c:v>
                </c:pt>
                <c:pt idx="31">
                  <c:v>1302.1792</c:v>
                </c:pt>
                <c:pt idx="32">
                  <c:v>1300.668</c:v>
                </c:pt>
                <c:pt idx="33">
                  <c:v>1308.3848</c:v>
                </c:pt>
                <c:pt idx="34">
                  <c:v>1307.6936</c:v>
                </c:pt>
                <c:pt idx="35">
                  <c:v>1297.1465</c:v>
                </c:pt>
                <c:pt idx="36">
                  <c:v>1293.6675</c:v>
                </c:pt>
                <c:pt idx="37">
                  <c:v>1292.8031</c:v>
                </c:pt>
                <c:pt idx="38">
                  <c:v>1290.5053</c:v>
                </c:pt>
                <c:pt idx="39">
                  <c:v>1306.224</c:v>
                </c:pt>
                <c:pt idx="40">
                  <c:v>1307.6326</c:v>
                </c:pt>
                <c:pt idx="41">
                  <c:v>1301.1517</c:v>
                </c:pt>
                <c:pt idx="42">
                  <c:v>1306.3297</c:v>
                </c:pt>
                <c:pt idx="43">
                  <c:v>1288.6247</c:v>
                </c:pt>
                <c:pt idx="44">
                  <c:v>1238.5819</c:v>
                </c:pt>
                <c:pt idx="45">
                  <c:v>1248.5237</c:v>
                </c:pt>
                <c:pt idx="46">
                  <c:v>1248.6564</c:v>
                </c:pt>
                <c:pt idx="47">
                  <c:v>1244.7582</c:v>
                </c:pt>
                <c:pt idx="48">
                  <c:v>1177.1123</c:v>
                </c:pt>
                <c:pt idx="49">
                  <c:v>1149.897</c:v>
                </c:pt>
                <c:pt idx="50">
                  <c:v>1111.9998</c:v>
                </c:pt>
                <c:pt idx="51">
                  <c:v>1135.3556</c:v>
                </c:pt>
                <c:pt idx="52">
                  <c:v>1007.7118410253604</c:v>
                </c:pt>
                <c:pt idx="53">
                  <c:v>887.964901925245</c:v>
                </c:pt>
                <c:pt idx="54">
                  <c:v>1136.4862337843756</c:v>
                </c:pt>
              </c:numCache>
            </c:numRef>
          </c:xVal>
          <c:yVal>
            <c:numRef>
              <c:f>Sheet1!$B$187:$B$241</c:f>
              <c:numCache>
                <c:formatCode>General</c:formatCode>
                <c:ptCount val="55"/>
                <c:pt idx="0">
                  <c:v>0.15894688327319</c:v>
                </c:pt>
                <c:pt idx="1">
                  <c:v>0.15837249881109886</c:v>
                </c:pt>
                <c:pt idx="2">
                  <c:v>0.15456526775429885</c:v>
                </c:pt>
                <c:pt idx="3">
                  <c:v>0.1520475433928993</c:v>
                </c:pt>
                <c:pt idx="4">
                  <c:v>0.15329078738535237</c:v>
                </c:pt>
                <c:pt idx="5">
                  <c:v>0.15275691412219983</c:v>
                </c:pt>
                <c:pt idx="6">
                  <c:v>0.15378201874711267</c:v>
                </c:pt>
                <c:pt idx="7">
                  <c:v>0.15418001446882693</c:v>
                </c:pt>
                <c:pt idx="8">
                  <c:v>0.15499048911847613</c:v>
                </c:pt>
                <c:pt idx="9">
                  <c:v>0.1748853174912888</c:v>
                </c:pt>
                <c:pt idx="10">
                  <c:v>0.17134704235924011</c:v>
                </c:pt>
                <c:pt idx="11">
                  <c:v>0.15535298705878967</c:v>
                </c:pt>
                <c:pt idx="12">
                  <c:v>0.15880841546602373</c:v>
                </c:pt>
                <c:pt idx="13">
                  <c:v>0.17139797032572976</c:v>
                </c:pt>
                <c:pt idx="14">
                  <c:v>0.15699495093326798</c:v>
                </c:pt>
                <c:pt idx="15">
                  <c:v>0.16600842113699327</c:v>
                </c:pt>
                <c:pt idx="16">
                  <c:v>0.1547110467953746</c:v>
                </c:pt>
                <c:pt idx="17">
                  <c:v>0.15226626765915227</c:v>
                </c:pt>
                <c:pt idx="18">
                  <c:v>0.14724175097181794</c:v>
                </c:pt>
                <c:pt idx="19">
                  <c:v>0.14987574484161845</c:v>
                </c:pt>
                <c:pt idx="20">
                  <c:v>0.15860304638704548</c:v>
                </c:pt>
                <c:pt idx="21">
                  <c:v>0.1570146564494241</c:v>
                </c:pt>
                <c:pt idx="22">
                  <c:v>0.15861496717985796</c:v>
                </c:pt>
                <c:pt idx="23">
                  <c:v>0.17026183242851115</c:v>
                </c:pt>
                <c:pt idx="24">
                  <c:v>0.1722588158954756</c:v>
                </c:pt>
                <c:pt idx="25">
                  <c:v>0.1656302144883941</c:v>
                </c:pt>
                <c:pt idx="26">
                  <c:v>0.16050572189965712</c:v>
                </c:pt>
                <c:pt idx="27">
                  <c:v>0.15369318377357213</c:v>
                </c:pt>
                <c:pt idx="28">
                  <c:v>0.14733959617076697</c:v>
                </c:pt>
                <c:pt idx="29">
                  <c:v>0.14920159337052208</c:v>
                </c:pt>
                <c:pt idx="30">
                  <c:v>0.14948330565767545</c:v>
                </c:pt>
                <c:pt idx="31">
                  <c:v>0.14995052831989292</c:v>
                </c:pt>
                <c:pt idx="32">
                  <c:v>0.15016098044720827</c:v>
                </c:pt>
                <c:pt idx="33">
                  <c:v>0.14908632654562864</c:v>
                </c:pt>
                <c:pt idx="34">
                  <c:v>0.14918258416235733</c:v>
                </c:pt>
                <c:pt idx="35">
                  <c:v>0.15065139016553872</c:v>
                </c:pt>
                <c:pt idx="36">
                  <c:v>0.15113588126594246</c:v>
                </c:pt>
                <c:pt idx="37">
                  <c:v>0.1512562589914926</c:v>
                </c:pt>
                <c:pt idx="38">
                  <c:v>0.1515762542920122</c:v>
                </c:pt>
                <c:pt idx="39">
                  <c:v>0.1493872430071844</c:v>
                </c:pt>
                <c:pt idx="40">
                  <c:v>0.14919107911985222</c:v>
                </c:pt>
                <c:pt idx="41">
                  <c:v>0.15009361961212198</c:v>
                </c:pt>
                <c:pt idx="42">
                  <c:v>0.14937252305624657</c:v>
                </c:pt>
                <c:pt idx="43">
                  <c:v>0.15183814965373085</c:v>
                </c:pt>
                <c:pt idx="44">
                  <c:v>0.15880718996395893</c:v>
                </c:pt>
                <c:pt idx="45">
                  <c:v>0.15742267900621423</c:v>
                </c:pt>
                <c:pt idx="46">
                  <c:v>0.15740419899212293</c:v>
                </c:pt>
                <c:pt idx="47">
                  <c:v>0.15794706855452417</c:v>
                </c:pt>
                <c:pt idx="48">
                  <c:v>0.16736754470537213</c:v>
                </c:pt>
                <c:pt idx="49">
                  <c:v>0.17115759088094484</c:v>
                </c:pt>
                <c:pt idx="50">
                  <c:v>0.1764352155231466</c:v>
                </c:pt>
                <c:pt idx="51">
                  <c:v>0.17318264948612178</c:v>
                </c:pt>
                <c:pt idx="52">
                  <c:v>0.1909585233709423</c:v>
                </c:pt>
                <c:pt idx="53">
                  <c:v>0.20763467349873543</c:v>
                </c:pt>
                <c:pt idx="54">
                  <c:v>0.173025195618244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86.0"/>
          <c:min val="63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805270863836015"/>
          <c:min val="0.1009047365620010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3581.0714</c:v>
                </c:pt>
                <c:pt idx="1">
                  <c:v>6230.0</c:v>
                </c:pt>
                <c:pt idx="2">
                  <c:v>6349.6667</c:v>
                </c:pt>
                <c:pt idx="3">
                  <c:v>7566.0</c:v>
                </c:pt>
                <c:pt idx="4">
                  <c:v>5972.0</c:v>
                </c:pt>
                <c:pt idx="5">
                  <c:v>4616.6</c:v>
                </c:pt>
                <c:pt idx="6">
                  <c:v>5895.1667</c:v>
                </c:pt>
                <c:pt idx="7">
                  <c:v>3666.0</c:v>
                </c:pt>
                <c:pt idx="8">
                  <c:v>5288.0</c:v>
                </c:pt>
                <c:pt idx="9">
                  <c:v>4848.0</c:v>
                </c:pt>
                <c:pt idx="10">
                  <c:v>7054.0</c:v>
                </c:pt>
                <c:pt idx="11">
                  <c:v>4469.4286</c:v>
                </c:pt>
                <c:pt idx="12">
                  <c:v>5880.3333</c:v>
                </c:pt>
                <c:pt idx="13">
                  <c:v>5253.1667</c:v>
                </c:pt>
                <c:pt idx="14">
                  <c:v>5922.0</c:v>
                </c:pt>
                <c:pt idx="15">
                  <c:v>3753.2</c:v>
                </c:pt>
                <c:pt idx="16">
                  <c:v>2170.25</c:v>
                </c:pt>
                <c:pt idx="17">
                  <c:v>4387.0</c:v>
                </c:pt>
                <c:pt idx="18">
                  <c:v>3807.0</c:v>
                </c:pt>
                <c:pt idx="19">
                  <c:v>3804.25</c:v>
                </c:pt>
                <c:pt idx="20">
                  <c:v>3359.5</c:v>
                </c:pt>
                <c:pt idx="21">
                  <c:v>4369.8</c:v>
                </c:pt>
                <c:pt idx="22">
                  <c:v>6539.0</c:v>
                </c:pt>
                <c:pt idx="23">
                  <c:v>5053.4</c:v>
                </c:pt>
                <c:pt idx="24">
                  <c:v>3948.1429</c:v>
                </c:pt>
                <c:pt idx="25">
                  <c:v>6402.2</c:v>
                </c:pt>
                <c:pt idx="26">
                  <c:v>7763.5</c:v>
                </c:pt>
                <c:pt idx="27">
                  <c:v>3345.6</c:v>
                </c:pt>
                <c:pt idx="28">
                  <c:v>7017.25</c:v>
                </c:pt>
                <c:pt idx="29">
                  <c:v>3873.25</c:v>
                </c:pt>
                <c:pt idx="30">
                  <c:v>5011.5</c:v>
                </c:pt>
                <c:pt idx="31">
                  <c:v>5771.0</c:v>
                </c:pt>
                <c:pt idx="32">
                  <c:v>3461.5</c:v>
                </c:pt>
                <c:pt idx="33">
                  <c:v>3505.5833</c:v>
                </c:pt>
                <c:pt idx="34">
                  <c:v>3707.6429</c:v>
                </c:pt>
                <c:pt idx="35">
                  <c:v>6483.0</c:v>
                </c:pt>
                <c:pt idx="36">
                  <c:v>4574.5</c:v>
                </c:pt>
                <c:pt idx="37">
                  <c:v>7663.0</c:v>
                </c:pt>
                <c:pt idx="38">
                  <c:v>5601.0</c:v>
                </c:pt>
                <c:pt idx="39">
                  <c:v>5694.6667</c:v>
                </c:pt>
                <c:pt idx="40">
                  <c:v>5335.6667</c:v>
                </c:pt>
                <c:pt idx="41">
                  <c:v>10645.0</c:v>
                </c:pt>
                <c:pt idx="42">
                  <c:v>5430.5</c:v>
                </c:pt>
                <c:pt idx="43">
                  <c:v>3861.5714</c:v>
                </c:pt>
                <c:pt idx="44">
                  <c:v>4392.6</c:v>
                </c:pt>
                <c:pt idx="45">
                  <c:v>4084.4545</c:v>
                </c:pt>
                <c:pt idx="46">
                  <c:v>3682.6154</c:v>
                </c:pt>
                <c:pt idx="47">
                  <c:v>4401.9</c:v>
                </c:pt>
                <c:pt idx="48">
                  <c:v>3202.1176</c:v>
                </c:pt>
                <c:pt idx="49">
                  <c:v>3614.8333</c:v>
                </c:pt>
                <c:pt idx="50">
                  <c:v>4083.9</c:v>
                </c:pt>
                <c:pt idx="51">
                  <c:v>4174.75</c:v>
                </c:pt>
                <c:pt idx="52">
                  <c:v>3479.2</c:v>
                </c:pt>
                <c:pt idx="53">
                  <c:v>3423.5</c:v>
                </c:pt>
                <c:pt idx="54">
                  <c:v>4202.4</c:v>
                </c:pt>
                <c:pt idx="55">
                  <c:v>15202.0</c:v>
                </c:pt>
                <c:pt idx="56">
                  <c:v>6202.5</c:v>
                </c:pt>
                <c:pt idx="57">
                  <c:v>10480.0</c:v>
                </c:pt>
                <c:pt idx="58">
                  <c:v>4706.5</c:v>
                </c:pt>
                <c:pt idx="59">
                  <c:v>3925.25</c:v>
                </c:pt>
                <c:pt idx="60">
                  <c:v>3984.0</c:v>
                </c:pt>
                <c:pt idx="61">
                  <c:v>3894.25</c:v>
                </c:pt>
                <c:pt idx="62">
                  <c:v>3523.6667</c:v>
                </c:pt>
                <c:pt idx="63">
                  <c:v>2920.0</c:v>
                </c:pt>
                <c:pt idx="64">
                  <c:v>3077.6</c:v>
                </c:pt>
                <c:pt idx="65">
                  <c:v>6638.0</c:v>
                </c:pt>
                <c:pt idx="66">
                  <c:v>10119.0</c:v>
                </c:pt>
                <c:pt idx="67">
                  <c:v>5730.5</c:v>
                </c:pt>
                <c:pt idx="68">
                  <c:v>17630.0</c:v>
                </c:pt>
                <c:pt idx="69">
                  <c:v>5701.0</c:v>
                </c:pt>
                <c:pt idx="70">
                  <c:v>5620.2857</c:v>
                </c:pt>
                <c:pt idx="71">
                  <c:v>6033.2</c:v>
                </c:pt>
                <c:pt idx="72">
                  <c:v>5945.6</c:v>
                </c:pt>
                <c:pt idx="73">
                  <c:v>5831.6</c:v>
                </c:pt>
                <c:pt idx="74">
                  <c:v>5610.1429</c:v>
                </c:pt>
                <c:pt idx="75">
                  <c:v>8324.4</c:v>
                </c:pt>
                <c:pt idx="76">
                  <c:v>8366.5</c:v>
                </c:pt>
                <c:pt idx="77">
                  <c:v>4291.4545</c:v>
                </c:pt>
                <c:pt idx="78">
                  <c:v>22182.0</c:v>
                </c:pt>
                <c:pt idx="79">
                  <c:v>18169.0</c:v>
                </c:pt>
                <c:pt idx="80">
                  <c:v>17887.0</c:v>
                </c:pt>
                <c:pt idx="81">
                  <c:v>11855.0</c:v>
                </c:pt>
                <c:pt idx="82">
                  <c:v>14450.0</c:v>
                </c:pt>
                <c:pt idx="83">
                  <c:v>17175.0</c:v>
                </c:pt>
                <c:pt idx="84">
                  <c:v>6509.5</c:v>
                </c:pt>
                <c:pt idx="85">
                  <c:v>11668.0</c:v>
                </c:pt>
                <c:pt idx="86">
                  <c:v>5744.6667</c:v>
                </c:pt>
                <c:pt idx="87">
                  <c:v>10423.0</c:v>
                </c:pt>
              </c:numCache>
            </c:numRef>
          </c:xVal>
          <c:yVal>
            <c:numRef>
              <c:f>Sheet1!$B$2:$B$89</c:f>
              <c:numCache>
                <c:formatCode>General</c:formatCode>
                <c:ptCount val="88"/>
                <c:pt idx="0">
                  <c:v>0.004395604395604396</c:v>
                </c:pt>
                <c:pt idx="1">
                  <c:v>0.001076426264800861</c:v>
                </c:pt>
                <c:pt idx="2">
                  <c:v>0.001122754491017964</c:v>
                </c:pt>
                <c:pt idx="3">
                  <c:v>0.0007564296520423601</c:v>
                </c:pt>
                <c:pt idx="4">
                  <c:v>0.0008413967185527977</c:v>
                </c:pt>
                <c:pt idx="5">
                  <c:v>0.002448579823702253</c:v>
                </c:pt>
                <c:pt idx="6">
                  <c:v>0.0027945971122496508</c:v>
                </c:pt>
                <c:pt idx="7">
                  <c:v>0.003858875413450937</c:v>
                </c:pt>
                <c:pt idx="8">
                  <c:v>0.0021727322107550242</c:v>
                </c:pt>
                <c:pt idx="9">
                  <c:v>0.002827521206409048</c:v>
                </c:pt>
                <c:pt idx="10">
                  <c:v>0.001359311282283643</c:v>
                </c:pt>
                <c:pt idx="11">
                  <c:v>0.00299017513882956</c:v>
                </c:pt>
                <c:pt idx="12">
                  <c:v>0.002177858439201452</c:v>
                </c:pt>
                <c:pt idx="13">
                  <c:v>0.0024529844644317253</c:v>
                </c:pt>
                <c:pt idx="14">
                  <c:v>0.0007961783439490446</c:v>
                </c:pt>
                <c:pt idx="15">
                  <c:v>0.0022841480127912287</c:v>
                </c:pt>
                <c:pt idx="16">
                  <c:v>0.0021493820526598604</c:v>
                </c:pt>
                <c:pt idx="17">
                  <c:v>0.0016216216216216215</c:v>
                </c:pt>
                <c:pt idx="18">
                  <c:v>0.002527379949452401</c:v>
                </c:pt>
                <c:pt idx="19">
                  <c:v>0.0024449877750611247</c:v>
                </c:pt>
                <c:pt idx="20">
                  <c:v>0.0014792899408284023</c:v>
                </c:pt>
                <c:pt idx="21">
                  <c:v>0.0041981528127623844</c:v>
                </c:pt>
                <c:pt idx="22">
                  <c:v>0.0026431718061674008</c:v>
                </c:pt>
                <c:pt idx="23">
                  <c:v>0.003977724741447892</c:v>
                </c:pt>
                <c:pt idx="24">
                  <c:v>0.0064995357474466105</c:v>
                </c:pt>
                <c:pt idx="25">
                  <c:v>0.003695491500369549</c:v>
                </c:pt>
                <c:pt idx="26">
                  <c:v>0.0015026296018031556</c:v>
                </c:pt>
                <c:pt idx="27">
                  <c:v>0.003703703703703704</c:v>
                </c:pt>
                <c:pt idx="28">
                  <c:v>0.0028368794326241137</c:v>
                </c:pt>
                <c:pt idx="29">
                  <c:v>0.0034129692832764505</c:v>
                </c:pt>
                <c:pt idx="30">
                  <c:v>0.0035026269702276708</c:v>
                </c:pt>
                <c:pt idx="31">
                  <c:v>0.002798507462686567</c:v>
                </c:pt>
                <c:pt idx="32">
                  <c:v>0.007704160246533128</c:v>
                </c:pt>
                <c:pt idx="33">
                  <c:v>0.008086253369272238</c:v>
                </c:pt>
                <c:pt idx="34">
                  <c:v>0.006572769953051643</c:v>
                </c:pt>
                <c:pt idx="35">
                  <c:v>0.0024509803921568627</c:v>
                </c:pt>
                <c:pt idx="36">
                  <c:v>0.003108003108003108</c:v>
                </c:pt>
                <c:pt idx="37">
                  <c:v>0.0014749262536873156</c:v>
                </c:pt>
                <c:pt idx="38">
                  <c:v>0.003205128205128205</c:v>
                </c:pt>
                <c:pt idx="39">
                  <c:v>0.0019083969465648854</c:v>
                </c:pt>
                <c:pt idx="40">
                  <c:v>0.002180232558139535</c:v>
                </c:pt>
                <c:pt idx="41">
                  <c:v>0.0005688282138794084</c:v>
                </c:pt>
                <c:pt idx="42">
                  <c:v>0.0019550342130987292</c:v>
                </c:pt>
                <c:pt idx="43">
                  <c:v>0.0026375282592313487</c:v>
                </c:pt>
                <c:pt idx="44">
                  <c:v>0.00181422351233672</c:v>
                </c:pt>
                <c:pt idx="45">
                  <c:v>0.004017531044558071</c:v>
                </c:pt>
                <c:pt idx="46">
                  <c:v>0.0047376093294460644</c:v>
                </c:pt>
                <c:pt idx="47">
                  <c:v>0.0026219192448872575</c:v>
                </c:pt>
                <c:pt idx="48">
                  <c:v>0.0028048176868503546</c:v>
                </c:pt>
                <c:pt idx="49">
                  <c:v>0.0035231943628890195</c:v>
                </c:pt>
                <c:pt idx="50">
                  <c:v>0.0034626038781163434</c:v>
                </c:pt>
                <c:pt idx="51">
                  <c:v>0.00107095046854083</c:v>
                </c:pt>
                <c:pt idx="52">
                  <c:v>0.001991238550378335</c:v>
                </c:pt>
                <c:pt idx="53">
                  <c:v>0.0043821209465381246</c:v>
                </c:pt>
                <c:pt idx="54">
                  <c:v>0.0024224806201550387</c:v>
                </c:pt>
                <c:pt idx="55">
                  <c:v>0.00043956043956043956</c:v>
                </c:pt>
                <c:pt idx="56">
                  <c:v>0.0008532423208191126</c:v>
                </c:pt>
                <c:pt idx="57">
                  <c:v>0.00037750094375235937</c:v>
                </c:pt>
                <c:pt idx="58">
                  <c:v>0.0009363295880149813</c:v>
                </c:pt>
                <c:pt idx="59">
                  <c:v>0.0009905894006934125</c:v>
                </c:pt>
                <c:pt idx="60">
                  <c:v>0.0018511662347278786</c:v>
                </c:pt>
                <c:pt idx="61">
                  <c:v>0.0015088645794039985</c:v>
                </c:pt>
                <c:pt idx="62">
                  <c:v>0.001932367149758454</c:v>
                </c:pt>
                <c:pt idx="63">
                  <c:v>0.0027683789603199014</c:v>
                </c:pt>
                <c:pt idx="64">
                  <c:v>0.001649620587264929</c:v>
                </c:pt>
                <c:pt idx="65">
                  <c:v>0.0003812428516965307</c:v>
                </c:pt>
                <c:pt idx="66">
                  <c:v>0.00039308176100628933</c:v>
                </c:pt>
                <c:pt idx="67">
                  <c:v>0.0012121212121212121</c:v>
                </c:pt>
                <c:pt idx="68">
                  <c:v>0.000547945205479452</c:v>
                </c:pt>
                <c:pt idx="69">
                  <c:v>0.00277623542476402</c:v>
                </c:pt>
                <c:pt idx="70">
                  <c:v>0.003886729594669628</c:v>
                </c:pt>
                <c:pt idx="71">
                  <c:v>0.0034317089910775567</c:v>
                </c:pt>
                <c:pt idx="72">
                  <c:v>0.003586800573888092</c:v>
                </c:pt>
                <c:pt idx="73">
                  <c:v>0.0035137034434293743</c:v>
                </c:pt>
                <c:pt idx="74">
                  <c:v>0.0055248618784530384</c:v>
                </c:pt>
                <c:pt idx="75">
                  <c:v>0.00395882818685669</c:v>
                </c:pt>
                <c:pt idx="76">
                  <c:v>0.003189792663476874</c:v>
                </c:pt>
                <c:pt idx="77">
                  <c:v>0.0072992700729927005</c:v>
                </c:pt>
                <c:pt idx="78">
                  <c:v>0.000846740050804403</c:v>
                </c:pt>
                <c:pt idx="79">
                  <c:v>0.0010626992561105207</c:v>
                </c:pt>
                <c:pt idx="80">
                  <c:v>0.0010695187165775401</c:v>
                </c:pt>
                <c:pt idx="81">
                  <c:v>0.00033944331296673454</c:v>
                </c:pt>
                <c:pt idx="82">
                  <c:v>0.00026652452025586353</c:v>
                </c:pt>
                <c:pt idx="83">
                  <c:v>0.0001607717041800643</c:v>
                </c:pt>
                <c:pt idx="84">
                  <c:v>0.0005931198102016608</c:v>
                </c:pt>
                <c:pt idx="85">
                  <c:v>0.0003197953309881676</c:v>
                </c:pt>
                <c:pt idx="86">
                  <c:v>0.0009724473257698541</c:v>
                </c:pt>
                <c:pt idx="87">
                  <c:v>0.00035778175313059033</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003181673560292714</c:v>
                </c:pt>
                <c:pt idx="21">
                  <c:v>0.0007186489399928135</c:v>
                </c:pt>
                <c:pt idx="22">
                  <c:v>0.0</c:v>
                </c:pt>
                <c:pt idx="23">
                  <c:v>0.0</c:v>
                </c:pt>
                <c:pt idx="24">
                  <c:v>0.0006075334143377885</c:v>
                </c:pt>
                <c:pt idx="25">
                  <c:v>0.0</c:v>
                </c:pt>
                <c:pt idx="26">
                  <c:v>0.0010147133434804667</c:v>
                </c:pt>
                <c:pt idx="27">
                  <c:v>0.0004870920603994155</c:v>
                </c:pt>
                <c:pt idx="28">
                  <c:v>0.0008421052631578948</c:v>
                </c:pt>
                <c:pt idx="29">
                  <c:v>0.0</c:v>
                </c:pt>
                <c:pt idx="30">
                  <c:v>0.0</c:v>
                </c:pt>
                <c:pt idx="31">
                  <c:v>0.00047393364928909954</c:v>
                </c:pt>
                <c:pt idx="32">
                  <c:v>0.00047460844803037496</c:v>
                </c:pt>
                <c:pt idx="33">
                  <c:v>0.0011043622308117063</c:v>
                </c:pt>
                <c:pt idx="34">
                  <c:v>0.0</c:v>
                </c:pt>
                <c:pt idx="35">
                  <c:v>0.0</c:v>
                </c:pt>
                <c:pt idx="36">
                  <c:v>0.0005685048322910744</c:v>
                </c:pt>
                <c:pt idx="37">
                  <c:v>0.0</c:v>
                </c:pt>
                <c:pt idx="38">
                  <c:v>0.0018656716417910447</c:v>
                </c:pt>
                <c:pt idx="39">
                  <c:v>0.001851851851851852</c:v>
                </c:pt>
                <c:pt idx="40">
                  <c:v>0.0008532423208191126</c:v>
                </c:pt>
                <c:pt idx="41">
                  <c:v>0.0008319467554076539</c:v>
                </c:pt>
                <c:pt idx="42">
                  <c:v>0.0024096385542168677</c:v>
                </c:pt>
                <c:pt idx="43">
                  <c:v>0.003779289493575208</c:v>
                </c:pt>
                <c:pt idx="44">
                  <c:v>0.0013736263736263737</c:v>
                </c:pt>
                <c:pt idx="45">
                  <c:v>0.0013995801259622112</c:v>
                </c:pt>
                <c:pt idx="46">
                  <c:v>0.0016366612111292963</c:v>
                </c:pt>
                <c:pt idx="47">
                  <c:v>0.0008445945945945946</c:v>
                </c:pt>
                <c:pt idx="48">
                  <c:v>0.0</c:v>
                </c:pt>
                <c:pt idx="49">
                  <c:v>0.0010298661174047373</c:v>
                </c:pt>
                <c:pt idx="50">
                  <c:v>0.003669724770642202</c:v>
                </c:pt>
                <c:pt idx="51">
                  <c:v>0.0029086678301337987</c:v>
                </c:pt>
                <c:pt idx="52">
                  <c:v>0.0029797377830750892</c:v>
                </c:pt>
                <c:pt idx="53">
                  <c:v>0.0</c:v>
                </c:pt>
                <c:pt idx="54">
                  <c:v>0.0</c:v>
                </c:pt>
                <c:pt idx="55">
                  <c:v>0.0</c:v>
                </c:pt>
                <c:pt idx="56">
                  <c:v>0.0</c:v>
                </c:pt>
                <c:pt idx="57">
                  <c:v>0.0007575757575757576</c:v>
                </c:pt>
                <c:pt idx="58">
                  <c:v>0.000731528895391368</c:v>
                </c:pt>
                <c:pt idx="59">
                  <c:v>0.0008312551953449709</c:v>
                </c:pt>
                <c:pt idx="60">
                  <c:v>0.0</c:v>
                </c:pt>
                <c:pt idx="61">
                  <c:v>0.0</c:v>
                </c:pt>
                <c:pt idx="62">
                  <c:v>0.0</c:v>
                </c:pt>
                <c:pt idx="63">
                  <c:v>0.0</c:v>
                </c:pt>
                <c:pt idx="64">
                  <c:v>0.0</c:v>
                </c:pt>
                <c:pt idx="65">
                  <c:v>0.0</c:v>
                </c:pt>
                <c:pt idx="66">
                  <c:v>0.0</c:v>
                </c:pt>
                <c:pt idx="67">
                  <c:v>0.0006628003314001657</c:v>
                </c:pt>
                <c:pt idx="68">
                  <c:v>0.000296208530805687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2995.76162034374</c:v>
                </c:pt>
              </c:numCache>
            </c:numRef>
          </c:xVal>
          <c:yVal>
            <c:numRef>
              <c:f>Sheet1!$B$163:$B$164</c:f>
              <c:numCache>
                <c:formatCode>General</c:formatCode>
                <c:ptCount val="2"/>
                <c:pt idx="0">
                  <c:v>0.004197062052178528</c:v>
                </c:pt>
                <c:pt idx="1">
                  <c:v>0.00419706205217852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2995.76162034374</c:v>
                </c:pt>
                <c:pt idx="1">
                  <c:v>52995.76162034374</c:v>
                </c:pt>
              </c:numCache>
            </c:numRef>
          </c:xVal>
          <c:yVal>
            <c:numRef>
              <c:f>Sheet1!$B$167:$B$168</c:f>
              <c:numCache>
                <c:formatCode>General</c:formatCode>
                <c:ptCount val="2"/>
                <c:pt idx="0">
                  <c:v>0.00419706205217852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9536.322088794805</c:v>
                </c:pt>
              </c:numCache>
            </c:numRef>
          </c:xVal>
          <c:yVal>
            <c:numRef>
              <c:f>Sheet1!$B$171:$B$172</c:f>
              <c:numCache>
                <c:formatCode>General</c:formatCode>
                <c:ptCount val="2"/>
                <c:pt idx="0">
                  <c:v>0.0017375915384126085</c:v>
                </c:pt>
                <c:pt idx="1">
                  <c:v>0.001737591538412608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9536.322088794805</c:v>
                </c:pt>
                <c:pt idx="1">
                  <c:v>19536.322088794805</c:v>
                </c:pt>
              </c:numCache>
            </c:numRef>
          </c:xVal>
          <c:yVal>
            <c:numRef>
              <c:f>Sheet1!$B$175:$B$176</c:f>
              <c:numCache>
                <c:formatCode>General</c:formatCode>
                <c:ptCount val="2"/>
                <c:pt idx="0">
                  <c:v>0.001737591538412608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670.6247205103949</c:v>
                </c:pt>
              </c:numCache>
            </c:numRef>
          </c:xVal>
          <c:yVal>
            <c:numRef>
              <c:f>Sheet1!$B$179:$B$180</c:f>
              <c:numCache>
                <c:formatCode>General</c:formatCode>
                <c:ptCount val="2"/>
                <c:pt idx="0">
                  <c:v>0.0002522591315783038</c:v>
                </c:pt>
                <c:pt idx="1">
                  <c:v>0.000252259131578303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670.6247205103949</c:v>
                </c:pt>
                <c:pt idx="1">
                  <c:v>-670.6247205103949</c:v>
                </c:pt>
              </c:numCache>
            </c:numRef>
          </c:xVal>
          <c:yVal>
            <c:numRef>
              <c:f>Sheet1!$B$183:$B$184</c:f>
              <c:numCache>
                <c:formatCode>General</c:formatCode>
                <c:ptCount val="2"/>
                <c:pt idx="0">
                  <c:v>0.000252259131578303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pt idx="69">
                  <c:v>19536.322088794805</c:v>
                </c:pt>
                <c:pt idx="70">
                  <c:v>52995.76162034374</c:v>
                </c:pt>
                <c:pt idx="71">
                  <c:v>-670.6247205103949</c:v>
                </c:pt>
              </c:numCache>
            </c:numRef>
          </c:xVal>
          <c:yVal>
            <c:numRef>
              <c:f>Sheet1!$B$187:$B$258</c:f>
              <c:numCache>
                <c:formatCode>General</c:formatCode>
                <c:ptCount val="72"/>
                <c:pt idx="0">
                  <c:v>0.0003015540913561753</c:v>
                </c:pt>
                <c:pt idx="1">
                  <c:v>0.0003015540913561753</c:v>
                </c:pt>
                <c:pt idx="2">
                  <c:v>0.0003015540913561753</c:v>
                </c:pt>
                <c:pt idx="3">
                  <c:v>0.0003015540913561753</c:v>
                </c:pt>
                <c:pt idx="4">
                  <c:v>0.0003015540913561753</c:v>
                </c:pt>
                <c:pt idx="5">
                  <c:v>0.0003015540913561753</c:v>
                </c:pt>
                <c:pt idx="6">
                  <c:v>0.0003015540913561753</c:v>
                </c:pt>
                <c:pt idx="7">
                  <c:v>0.0003015540913561753</c:v>
                </c:pt>
                <c:pt idx="8">
                  <c:v>0.0003015540913561753</c:v>
                </c:pt>
                <c:pt idx="9">
                  <c:v>0.0003015540913561753</c:v>
                </c:pt>
                <c:pt idx="10">
                  <c:v>0.0003015540913561753</c:v>
                </c:pt>
                <c:pt idx="11">
                  <c:v>0.0003015540913561753</c:v>
                </c:pt>
                <c:pt idx="12">
                  <c:v>0.0003015540913561753</c:v>
                </c:pt>
                <c:pt idx="13">
                  <c:v>0.0003015540913561753</c:v>
                </c:pt>
                <c:pt idx="14">
                  <c:v>0.0003015540913561753</c:v>
                </c:pt>
                <c:pt idx="15">
                  <c:v>0.0003015540913561753</c:v>
                </c:pt>
                <c:pt idx="16">
                  <c:v>0.0003015540913561753</c:v>
                </c:pt>
                <c:pt idx="17">
                  <c:v>0.0003015540913561753</c:v>
                </c:pt>
                <c:pt idx="18">
                  <c:v>0.0003015540913561753</c:v>
                </c:pt>
                <c:pt idx="19">
                  <c:v>0.0003015540913561753</c:v>
                </c:pt>
                <c:pt idx="20">
                  <c:v>0.0011236455134202518</c:v>
                </c:pt>
                <c:pt idx="21">
                  <c:v>0.0007619591004851402</c:v>
                </c:pt>
                <c:pt idx="22">
                  <c:v>0.0003015540913561753</c:v>
                </c:pt>
                <c:pt idx="23">
                  <c:v>0.0003015540913561753</c:v>
                </c:pt>
                <c:pt idx="24">
                  <c:v>0.0009989057831589197</c:v>
                </c:pt>
                <c:pt idx="25">
                  <c:v>0.0003015540913561753</c:v>
                </c:pt>
                <c:pt idx="26">
                  <c:v>0.0006662910044715139</c:v>
                </c:pt>
                <c:pt idx="27">
                  <c:v>0.0008350608457679302</c:v>
                </c:pt>
                <c:pt idx="28">
                  <c:v>0.0009360948818576183</c:v>
                </c:pt>
                <c:pt idx="29">
                  <c:v>0.0003015540913561753</c:v>
                </c:pt>
                <c:pt idx="30">
                  <c:v>0.0003015540913561753</c:v>
                </c:pt>
                <c:pt idx="31">
                  <c:v>0.0012995454394752709</c:v>
                </c:pt>
                <c:pt idx="32">
                  <c:v>0.0011656909616874773</c:v>
                </c:pt>
                <c:pt idx="33">
                  <c:v>0.0011211095554390991</c:v>
                </c:pt>
                <c:pt idx="34">
                  <c:v>0.0003015540913561753</c:v>
                </c:pt>
                <c:pt idx="35">
                  <c:v>0.0003015540913561753</c:v>
                </c:pt>
                <c:pt idx="36">
                  <c:v>0.0011565762141610158</c:v>
                </c:pt>
                <c:pt idx="37">
                  <c:v>0.0003015540913561753</c:v>
                </c:pt>
                <c:pt idx="38">
                  <c:v>0.0008012113196716759</c:v>
                </c:pt>
                <c:pt idx="39">
                  <c:v>0.000692936939780726</c:v>
                </c:pt>
                <c:pt idx="40">
                  <c:v>0.0007703755407414291</c:v>
                </c:pt>
                <c:pt idx="41">
                  <c:v>0.0011271738027853336</c:v>
                </c:pt>
                <c:pt idx="42">
                  <c:v>0.0006706033605901482</c:v>
                </c:pt>
                <c:pt idx="43">
                  <c:v>0.000602340759729405</c:v>
                </c:pt>
                <c:pt idx="44">
                  <c:v>0.0006388365028494706</c:v>
                </c:pt>
                <c:pt idx="45">
                  <c:v>0.0008332231950569501</c:v>
                </c:pt>
                <c:pt idx="46">
                  <c:v>0.0007050654344731949</c:v>
                </c:pt>
                <c:pt idx="47">
                  <c:v>0.0007858118067136623</c:v>
                </c:pt>
                <c:pt idx="48">
                  <c:v>0.0003015540913561753</c:v>
                </c:pt>
                <c:pt idx="49">
                  <c:v>0.000732446430066799</c:v>
                </c:pt>
                <c:pt idx="50">
                  <c:v>0.00046701616137282727</c:v>
                </c:pt>
                <c:pt idx="51">
                  <c:v>0.0004493747145474179</c:v>
                </c:pt>
                <c:pt idx="52">
                  <c:v>0.000560412921107682</c:v>
                </c:pt>
                <c:pt idx="53">
                  <c:v>0.0003015540913561753</c:v>
                </c:pt>
                <c:pt idx="54">
                  <c:v>0.0003015540913561753</c:v>
                </c:pt>
                <c:pt idx="55">
                  <c:v>0.0003015540913561753</c:v>
                </c:pt>
                <c:pt idx="56">
                  <c:v>0.0003015540913561753</c:v>
                </c:pt>
                <c:pt idx="57">
                  <c:v>0.0012282445918892415</c:v>
                </c:pt>
                <c:pt idx="58">
                  <c:v>0.0009874388427224036</c:v>
                </c:pt>
                <c:pt idx="59">
                  <c:v>0.001170542359564465</c:v>
                </c:pt>
                <c:pt idx="60">
                  <c:v>0.0003015540913561753</c:v>
                </c:pt>
                <c:pt idx="61">
                  <c:v>0.0003015540913561753</c:v>
                </c:pt>
                <c:pt idx="62">
                  <c:v>0.0003015540913561753</c:v>
                </c:pt>
                <c:pt idx="63">
                  <c:v>0.0003015540913561753</c:v>
                </c:pt>
                <c:pt idx="64">
                  <c:v>0.0003015540913561753</c:v>
                </c:pt>
                <c:pt idx="65">
                  <c:v>0.0003015540913561753</c:v>
                </c:pt>
                <c:pt idx="66">
                  <c:v>0.0003015540913561753</c:v>
                </c:pt>
                <c:pt idx="67">
                  <c:v>0.0006400493523187175</c:v>
                </c:pt>
                <c:pt idx="68">
                  <c:v>0.0013329906824151095</c:v>
                </c:pt>
                <c:pt idx="69">
                  <c:v>0.0017375915384126085</c:v>
                </c:pt>
                <c:pt idx="70">
                  <c:v>0.004197062052178528</c:v>
                </c:pt>
                <c:pt idx="71">
                  <c:v>0.000252259131578303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359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70350404312668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9</c:f>
              <c:numCache>
                <c:formatCode>General</c:formatCode>
                <c:ptCount val="28"/>
                <c:pt idx="0">
                  <c:v>0.0</c:v>
                </c:pt>
                <c:pt idx="1">
                  <c:v>0.0</c:v>
                </c:pt>
                <c:pt idx="2">
                  <c:v>0.0</c:v>
                </c:pt>
                <c:pt idx="3">
                  <c:v>4.368360277136259</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pt idx="27">
                  <c:v>0.0</c:v>
                </c:pt>
              </c:numCache>
            </c:numRef>
          </c:xVal>
          <c:yVal>
            <c:numRef>
              <c:f>Sheet1!$B$2:$B$29</c:f>
              <c:numCache>
                <c:formatCode>General</c:formatCode>
                <c:ptCount val="28"/>
                <c:pt idx="0">
                  <c:v>0.004395604395604396</c:v>
                </c:pt>
                <c:pt idx="1">
                  <c:v>0.001076426264800861</c:v>
                </c:pt>
                <c:pt idx="2">
                  <c:v>0.001122754491017964</c:v>
                </c:pt>
                <c:pt idx="3">
                  <c:v>0.0007564296520423601</c:v>
                </c:pt>
                <c:pt idx="4">
                  <c:v>0.0008413967185527977</c:v>
                </c:pt>
                <c:pt idx="5">
                  <c:v>0.002448579823702253</c:v>
                </c:pt>
                <c:pt idx="6">
                  <c:v>0.0027945971122496508</c:v>
                </c:pt>
                <c:pt idx="7">
                  <c:v>0.003858875413450937</c:v>
                </c:pt>
                <c:pt idx="8">
                  <c:v>0.0021727322107550242</c:v>
                </c:pt>
                <c:pt idx="9">
                  <c:v>0.002827521206409048</c:v>
                </c:pt>
                <c:pt idx="10">
                  <c:v>0.001359311282283643</c:v>
                </c:pt>
                <c:pt idx="11">
                  <c:v>0.00299017513882956</c:v>
                </c:pt>
                <c:pt idx="12">
                  <c:v>0.002177858439201452</c:v>
                </c:pt>
                <c:pt idx="13">
                  <c:v>0.0024529844644317253</c:v>
                </c:pt>
                <c:pt idx="14">
                  <c:v>0.0007961783439490446</c:v>
                </c:pt>
                <c:pt idx="15">
                  <c:v>0.0022841480127912287</c:v>
                </c:pt>
                <c:pt idx="16">
                  <c:v>0.0021493820526598604</c:v>
                </c:pt>
                <c:pt idx="17">
                  <c:v>0.0</c:v>
                </c:pt>
                <c:pt idx="18">
                  <c:v>0.002527379949452401</c:v>
                </c:pt>
                <c:pt idx="19">
                  <c:v>0.0014792899408284023</c:v>
                </c:pt>
                <c:pt idx="20">
                  <c:v>0.0041981528127623844</c:v>
                </c:pt>
                <c:pt idx="21">
                  <c:v>0.0026431718061674008</c:v>
                </c:pt>
                <c:pt idx="22">
                  <c:v>0.0015026296018031556</c:v>
                </c:pt>
                <c:pt idx="23">
                  <c:v>0.0035026269702276708</c:v>
                </c:pt>
                <c:pt idx="24">
                  <c:v>0.008086253369272238</c:v>
                </c:pt>
                <c:pt idx="25">
                  <c:v>0.0019083969465648854</c:v>
                </c:pt>
                <c:pt idx="26">
                  <c:v>0.0047376093294460644</c:v>
                </c:pt>
                <c:pt idx="27">
                  <c:v>0.0024224806201550387</c:v>
                </c:pt>
              </c:numCache>
            </c:numRef>
          </c:yVal>
          <c:smooth val="0"/>
          <c:extLst>
            <c:ext xmlns:c16="http://schemas.microsoft.com/office/drawing/2014/chart" uri="{C3380CC4-5D6E-409C-BE32-E72D297353CC}">
              <c16:uniqueId val="{00000000-096C-4121-9522-6AB7243CCAAE}"/>
            </c:ext>
          </c:extLst>
        </c:ser>
        <c:ser>
          <c:idx val="1"/>
          <c:order val="1"/>
          <c:tx>
            <c:strRef>
              <c:f>Sheet1!$B$3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32:$A$31</c:f>
              <c:numCache>
                <c:formatCode>General</c:formatCode>
                <c:ptCount val="0"/>
              </c:numCache>
            </c:numRef>
          </c:xVal>
          <c:yVal>
            <c:numRef>
              <c:f>Sheet1!$B$32:$B$31</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3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34:$A$35</c:f>
              <c:numCache>
                <c:formatCode>General</c:formatCode>
                <c:ptCount val="2"/>
                <c:pt idx="0">
                  <c:v>0</c:v>
                </c:pt>
                <c:pt idx="1">
                  <c:v>0.00398656691204657</c:v>
                </c:pt>
              </c:numCache>
            </c:numRef>
          </c:xVal>
          <c:yVal>
            <c:numRef>
              <c:f>Sheet1!$B$34:$B$35</c:f>
              <c:numCache>
                <c:formatCode>General</c:formatCode>
                <c:ptCount val="2"/>
                <c:pt idx="0">
                  <c:v>0.00398656691204657</c:v>
                </c:pt>
                <c:pt idx="1">
                  <c:v>0.00398656691204657</c:v>
                </c:pt>
              </c:numCache>
            </c:numRef>
          </c:yVal>
          <c:smooth val="0"/>
          <c:extLst>
            <c:ext xmlns:c16="http://schemas.microsoft.com/office/drawing/2014/chart" uri="{C3380CC4-5D6E-409C-BE32-E72D297353CC}">
              <c16:uniqueId val="{00000005-096C-4121-9522-6AB7243CCAAE}"/>
            </c:ext>
          </c:extLst>
        </c:ser>
        <c:ser>
          <c:idx val="3"/>
          <c:order val="3"/>
          <c:tx>
            <c:strRef>
              <c:f>Sheet1!$B$3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8:$A$39</c:f>
              <c:numCache>
                <c:formatCode>General</c:formatCode>
                <c:ptCount val="2"/>
                <c:pt idx="0">
                  <c:v>0.00398656691204657</c:v>
                </c:pt>
                <c:pt idx="1">
                  <c:v>0.00398656691204657</c:v>
                </c:pt>
              </c:numCache>
            </c:numRef>
          </c:xVal>
          <c:yVal>
            <c:numRef>
              <c:f>Sheet1!$B$38:$B$39</c:f>
              <c:numCache>
                <c:formatCode>General</c:formatCode>
                <c:ptCount val="2"/>
                <c:pt idx="0">
                  <c:v>0.0039865669120465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41</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42:$A$44</c:f>
              <c:numCache>
                <c:formatCode>General</c:formatCode>
                <c:ptCount val="3"/>
                <c:pt idx="0">
                  <c:v>0</c:v>
                </c:pt>
                <c:pt idx="1">
                  <c:v>0.00398656691204657</c:v>
                </c:pt>
                <c:pt idx="2">
                  <c:v>0</c:v>
                </c:pt>
              </c:numCache>
            </c:numRef>
          </c:xVal>
          <c:yVal>
            <c:numRef>
              <c:f>Sheet1!$B$42:$B$44</c:f>
              <c:numCache>
                <c:formatCode>General</c:formatCode>
                <c:ptCount val="3"/>
                <c:pt idx="0">
                  <c:v>0</c:v>
                </c:pt>
                <c:pt idx="1">
                  <c:v>0.00398656691204657</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Mustel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70350404312668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9</c:f>
              <c:numCache>
                <c:formatCode>General</c:formatCode>
                <c:ptCount val="28"/>
                <c:pt idx="0">
                  <c:v>3581.0714</c:v>
                </c:pt>
                <c:pt idx="1">
                  <c:v>6230.0</c:v>
                </c:pt>
                <c:pt idx="2">
                  <c:v>6349.6667</c:v>
                </c:pt>
                <c:pt idx="3">
                  <c:v>7566.0</c:v>
                </c:pt>
                <c:pt idx="4">
                  <c:v>5972.0</c:v>
                </c:pt>
                <c:pt idx="5">
                  <c:v>4616.6</c:v>
                </c:pt>
                <c:pt idx="6">
                  <c:v>5895.1667</c:v>
                </c:pt>
                <c:pt idx="7">
                  <c:v>3666.0</c:v>
                </c:pt>
                <c:pt idx="8">
                  <c:v>5288.0</c:v>
                </c:pt>
                <c:pt idx="9">
                  <c:v>4848.0</c:v>
                </c:pt>
                <c:pt idx="10">
                  <c:v>7054.0</c:v>
                </c:pt>
                <c:pt idx="11">
                  <c:v>4469.4286</c:v>
                </c:pt>
                <c:pt idx="12">
                  <c:v>5880.3333</c:v>
                </c:pt>
                <c:pt idx="13">
                  <c:v>5253.1667</c:v>
                </c:pt>
                <c:pt idx="14">
                  <c:v>5922.0</c:v>
                </c:pt>
                <c:pt idx="15">
                  <c:v>3753.2</c:v>
                </c:pt>
                <c:pt idx="16">
                  <c:v>2170.25</c:v>
                </c:pt>
                <c:pt idx="17">
                  <c:v>0.0</c:v>
                </c:pt>
                <c:pt idx="18">
                  <c:v>3807.0</c:v>
                </c:pt>
                <c:pt idx="19">
                  <c:v>3359.5</c:v>
                </c:pt>
                <c:pt idx="20">
                  <c:v>4369.8</c:v>
                </c:pt>
                <c:pt idx="21">
                  <c:v>6539.0</c:v>
                </c:pt>
                <c:pt idx="22">
                  <c:v>7763.5</c:v>
                </c:pt>
                <c:pt idx="23">
                  <c:v>5011.5</c:v>
                </c:pt>
                <c:pt idx="24">
                  <c:v>3505.5833</c:v>
                </c:pt>
                <c:pt idx="25">
                  <c:v>5694.6667</c:v>
                </c:pt>
                <c:pt idx="26">
                  <c:v>3682.6154</c:v>
                </c:pt>
                <c:pt idx="27">
                  <c:v>4202.4</c:v>
                </c:pt>
              </c:numCache>
            </c:numRef>
          </c:xVal>
          <c:yVal>
            <c:numRef>
              <c:f>Sheet1!$B$2:$B$29</c:f>
              <c:numCache>
                <c:formatCode>General</c:formatCode>
                <c:ptCount val="28"/>
                <c:pt idx="0">
                  <c:v>0.004395604395604396</c:v>
                </c:pt>
                <c:pt idx="1">
                  <c:v>0.001076426264800861</c:v>
                </c:pt>
                <c:pt idx="2">
                  <c:v>0.001122754491017964</c:v>
                </c:pt>
                <c:pt idx="3">
                  <c:v>0.0007564296520423601</c:v>
                </c:pt>
                <c:pt idx="4">
                  <c:v>0.0008413967185527977</c:v>
                </c:pt>
                <c:pt idx="5">
                  <c:v>0.002448579823702253</c:v>
                </c:pt>
                <c:pt idx="6">
                  <c:v>0.0027945971122496508</c:v>
                </c:pt>
                <c:pt idx="7">
                  <c:v>0.003858875413450937</c:v>
                </c:pt>
                <c:pt idx="8">
                  <c:v>0.0021727322107550242</c:v>
                </c:pt>
                <c:pt idx="9">
                  <c:v>0.002827521206409048</c:v>
                </c:pt>
                <c:pt idx="10">
                  <c:v>0.001359311282283643</c:v>
                </c:pt>
                <c:pt idx="11">
                  <c:v>0.00299017513882956</c:v>
                </c:pt>
                <c:pt idx="12">
                  <c:v>0.002177858439201452</c:v>
                </c:pt>
                <c:pt idx="13">
                  <c:v>0.0024529844644317253</c:v>
                </c:pt>
                <c:pt idx="14">
                  <c:v>0.0007961783439490446</c:v>
                </c:pt>
                <c:pt idx="15">
                  <c:v>0.0022841480127912287</c:v>
                </c:pt>
                <c:pt idx="16">
                  <c:v>0.0021493820526598604</c:v>
                </c:pt>
                <c:pt idx="17">
                  <c:v>0.0</c:v>
                </c:pt>
                <c:pt idx="18">
                  <c:v>0.002527379949452401</c:v>
                </c:pt>
                <c:pt idx="19">
                  <c:v>0.0014792899408284023</c:v>
                </c:pt>
                <c:pt idx="20">
                  <c:v>0.0041981528127623844</c:v>
                </c:pt>
                <c:pt idx="21">
                  <c:v>0.0026431718061674008</c:v>
                </c:pt>
                <c:pt idx="22">
                  <c:v>0.0015026296018031556</c:v>
                </c:pt>
                <c:pt idx="23">
                  <c:v>0.0035026269702276708</c:v>
                </c:pt>
                <c:pt idx="24">
                  <c:v>0.008086253369272238</c:v>
                </c:pt>
                <c:pt idx="25">
                  <c:v>0.0019083969465648854</c:v>
                </c:pt>
                <c:pt idx="26">
                  <c:v>0.0047376093294460644</c:v>
                </c:pt>
                <c:pt idx="27">
                  <c:v>0.0024224806201550387</c:v>
                </c:pt>
              </c:numCache>
            </c:numRef>
          </c:yVal>
          <c:smooth val="0"/>
          <c:extLst>
            <c:ext xmlns:c16="http://schemas.microsoft.com/office/drawing/2014/chart" uri="{C3380CC4-5D6E-409C-BE32-E72D297353CC}">
              <c16:uniqueId val="{00000000-F32D-48B7-BC20-E66FC6253BAD}"/>
            </c:ext>
          </c:extLst>
        </c:ser>
        <c:ser>
          <c:idx val="1"/>
          <c:order val="1"/>
          <c:tx>
            <c:strRef>
              <c:f>Sheet1!$B$3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32:$A$31</c:f>
              <c:numCache>
                <c:formatCode>General</c:formatCode>
                <c:ptCount val="0"/>
              </c:numCache>
            </c:numRef>
          </c:xVal>
          <c:yVal>
            <c:numRef>
              <c:f>Sheet1!$B$32:$B$31</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33</c:f>
              <c:strCache>
                <c:ptCount val="1"/>
                <c:pt idx="0">
                  <c:v>Custom Linep3yQ</c:v>
                </c:pt>
              </c:strCache>
            </c:strRef>
          </c:tx>
          <c:spPr>
            <a:ln w="19050" cap="rnd">
              <a:solidFill>
                <a:srgbClr val="C00000"/>
              </a:solidFill>
              <a:prstDash val="sysDot"/>
              <a:round/>
            </a:ln>
            <a:effectLst/>
          </c:spPr>
          <c:marker>
            <c:symbol val="none"/>
          </c:marker>
          <c:xVal>
            <c:numRef>
              <c:f>Sheet1!$A$34:$A$35</c:f>
              <c:numCache>
                <c:formatCode>General</c:formatCode>
                <c:ptCount val="2"/>
                <c:pt idx="0">
                  <c:v>0</c:v>
                </c:pt>
                <c:pt idx="1">
                  <c:v>0.00398656691204657</c:v>
                </c:pt>
              </c:numCache>
            </c:numRef>
          </c:xVal>
          <c:yVal>
            <c:numRef>
              <c:f>Sheet1!$B$34:$B$35</c:f>
              <c:numCache>
                <c:formatCode>General</c:formatCode>
                <c:ptCount val="2"/>
                <c:pt idx="0">
                  <c:v>0.00398656691204657</c:v>
                </c:pt>
                <c:pt idx="1">
                  <c:v>0.00398656691204657</c:v>
                </c:pt>
              </c:numCache>
            </c:numRef>
          </c:yVal>
          <c:smooth val="0"/>
          <c:extLst>
            <c:ext xmlns:c16="http://schemas.microsoft.com/office/drawing/2014/chart" uri="{C3380CC4-5D6E-409C-BE32-E72D297353CC}">
              <c16:uniqueId val="{00000003-F32D-48B7-BC20-E66FC6253BAD}"/>
            </c:ext>
          </c:extLst>
        </c:ser>
        <c:ser>
          <c:idx val="3"/>
          <c:order val="3"/>
          <c:tx>
            <c:strRef>
              <c:f>Sheet1!$B$3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8:$A$39</c:f>
              <c:numCache>
                <c:formatCode>General</c:formatCode>
                <c:ptCount val="2"/>
                <c:pt idx="0">
                  <c:v>0.00398656691204657</c:v>
                </c:pt>
                <c:pt idx="1">
                  <c:v>0.00398656691204657</c:v>
                </c:pt>
              </c:numCache>
            </c:numRef>
          </c:xVal>
          <c:yVal>
            <c:numRef>
              <c:f>Sheet1!$B$38:$B$39</c:f>
              <c:numCache>
                <c:formatCode>General</c:formatCode>
                <c:ptCount val="2"/>
                <c:pt idx="0">
                  <c:v>0.0039865669120465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41</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42:$A$44</c:f>
              <c:numCache>
                <c:formatCode>General</c:formatCode>
                <c:ptCount val="3"/>
                <c:pt idx="0">
                  <c:v>0</c:v>
                </c:pt>
                <c:pt idx="1">
                  <c:v>0.00398656691204657</c:v>
                </c:pt>
                <c:pt idx="2">
                  <c:v>0</c:v>
                </c:pt>
              </c:numCache>
            </c:numRef>
          </c:xVal>
          <c:yVal>
            <c:numRef>
              <c:f>Sheet1!$B$42:$B$44</c:f>
              <c:numCache>
                <c:formatCode>General</c:formatCode>
                <c:ptCount val="3"/>
                <c:pt idx="0">
                  <c:v>0</c:v>
                </c:pt>
                <c:pt idx="1">
                  <c:v>0.00398656691204657</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931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970350404312668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c:f>
              <c:numCache>
                <c:formatCode>General</c:formatCode>
                <c:ptCount val="9"/>
                <c:pt idx="0">
                  <c:v>0.09086419153561648</c:v>
                </c:pt>
                <c:pt idx="1">
                  <c:v>0.06379010414736296</c:v>
                </c:pt>
                <c:pt idx="2">
                  <c:v>0.13654287544863436</c:v>
                </c:pt>
                <c:pt idx="3">
                  <c:v>0.17736785762365043</c:v>
                </c:pt>
                <c:pt idx="4">
                  <c:v>0.15595810269897098</c:v>
                </c:pt>
                <c:pt idx="5">
                  <c:v>0.19445710615242828</c:v>
                </c:pt>
                <c:pt idx="6">
                  <c:v>0.17220570331914475</c:v>
                </c:pt>
                <c:pt idx="7">
                  <c:v>0.10521318783995728</c:v>
                </c:pt>
                <c:pt idx="8">
                  <c:v>0.1134838982433122</c:v>
                </c:pt>
              </c:numCache>
            </c:numRef>
          </c:xVal>
          <c:yVal>
            <c:numRef>
              <c:f>Sheet1!$B$2:$B$10</c:f>
              <c:numCache>
                <c:formatCode>General</c:formatCode>
                <c:ptCount val="9"/>
                <c:pt idx="0">
                  <c:v>0.9241071428571429</c:v>
                </c:pt>
                <c:pt idx="1">
                  <c:v>0.9375</c:v>
                </c:pt>
                <c:pt idx="2">
                  <c:v>0.9308176100628931</c:v>
                </c:pt>
                <c:pt idx="3">
                  <c:v>0.9421965317919075</c:v>
                </c:pt>
                <c:pt idx="4">
                  <c:v>0.9565846599131693</c:v>
                </c:pt>
                <c:pt idx="5">
                  <c:v>0.9363636363636364</c:v>
                </c:pt>
                <c:pt idx="6">
                  <c:v>0.933579335793358</c:v>
                </c:pt>
                <c:pt idx="7">
                  <c:v>0.9458483754512635</c:v>
                </c:pt>
                <c:pt idx="8">
                  <c:v>0.9575971731448764</c:v>
                </c:pt>
              </c:numCache>
            </c:numRef>
          </c:yVal>
          <c:smooth val="0"/>
          <c:extLst>
            <c:ext xmlns:c16="http://schemas.microsoft.com/office/drawing/2014/chart" uri="{C3380CC4-5D6E-409C-BE32-E72D297353CC}">
              <c16:uniqueId val="{00000000-096C-4121-9522-6AB7243CCAAE}"/>
            </c:ext>
          </c:extLst>
        </c:ser>
        <c:ser>
          <c:idx val="1"/>
          <c:order val="1"/>
          <c:tx>
            <c:strRef>
              <c:f>Sheet1!$B$1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3:$A$64</c:f>
              <c:numCache>
                <c:formatCode>General</c:formatCode>
                <c:ptCount val="52"/>
                <c:pt idx="0">
                  <c:v>0.26401418407230975</c:v>
                </c:pt>
                <c:pt idx="1">
                  <c:v>0.2422332001450802</c:v>
                </c:pt>
                <c:pt idx="2">
                  <c:v>0.2855434064324519</c:v>
                </c:pt>
                <c:pt idx="3">
                  <c:v>0.20939556098661222</c:v>
                </c:pt>
                <c:pt idx="4">
                  <c:v>0.25910570552016826</c:v>
                </c:pt>
                <c:pt idx="5">
                  <c:v>0.2598843533941133</c:v>
                </c:pt>
                <c:pt idx="6">
                  <c:v>0.20684440558454378</c:v>
                </c:pt>
                <c:pt idx="7">
                  <c:v>0.13177169763665886</c:v>
                </c:pt>
                <c:pt idx="8">
                  <c:v>0.17373265165757257</c:v>
                </c:pt>
                <c:pt idx="9">
                  <c:v>0.27137293057979095</c:v>
                </c:pt>
                <c:pt idx="10">
                  <c:v>0.1579844706109449</c:v>
                </c:pt>
                <c:pt idx="11">
                  <c:v>0.2078758628318584</c:v>
                </c:pt>
                <c:pt idx="12">
                  <c:v>0.1512430528762494</c:v>
                </c:pt>
                <c:pt idx="13">
                  <c:v>0.17307935165992175</c:v>
                </c:pt>
                <c:pt idx="14">
                  <c:v>0.207660039859128</c:v>
                </c:pt>
                <c:pt idx="15">
                  <c:v>0.14510237231297354</c:v>
                </c:pt>
                <c:pt idx="16">
                  <c:v>0.2548476711614879</c:v>
                </c:pt>
                <c:pt idx="17">
                  <c:v>0.23447369090523637</c:v>
                </c:pt>
                <c:pt idx="18">
                  <c:v>0.29560193976220384</c:v>
                </c:pt>
                <c:pt idx="19">
                  <c:v>0.24684955676988465</c:v>
                </c:pt>
                <c:pt idx="20">
                  <c:v>0.31750258401729675</c:v>
                </c:pt>
                <c:pt idx="21">
                  <c:v>0.25350703851196327</c:v>
                </c:pt>
                <c:pt idx="22">
                  <c:v>0.21837243300924827</c:v>
                </c:pt>
                <c:pt idx="23">
                  <c:v>0.10182141896435777</c:v>
                </c:pt>
                <c:pt idx="24">
                  <c:v>0.2099802850228556</c:v>
                </c:pt>
                <c:pt idx="25">
                  <c:v>0.11862392747849182</c:v>
                </c:pt>
                <c:pt idx="26">
                  <c:v>0.1280571896232242</c:v>
                </c:pt>
                <c:pt idx="27">
                  <c:v>0.22489461902777838</c:v>
                </c:pt>
                <c:pt idx="28">
                  <c:v>0.24935589270542544</c:v>
                </c:pt>
                <c:pt idx="29">
                  <c:v>0.21959166666666668</c:v>
                </c:pt>
                <c:pt idx="30">
                  <c:v>0.0917893666266079</c:v>
                </c:pt>
                <c:pt idx="31">
                  <c:v>0.10705318958245466</c:v>
                </c:pt>
                <c:pt idx="32">
                  <c:v>0.2572468510523955</c:v>
                </c:pt>
                <c:pt idx="33">
                  <c:v>0.36328207840587395</c:v>
                </c:pt>
                <c:pt idx="34">
                  <c:v>0.24328082270970883</c:v>
                </c:pt>
                <c:pt idx="35">
                  <c:v>0.23832470105509965</c:v>
                </c:pt>
                <c:pt idx="36">
                  <c:v>0.207811359143725</c:v>
                </c:pt>
                <c:pt idx="37">
                  <c:v>0.3070201021623298</c:v>
                </c:pt>
                <c:pt idx="38">
                  <c:v>0.0980263742747566</c:v>
                </c:pt>
                <c:pt idx="39">
                  <c:v>0.1524255064737243</c:v>
                </c:pt>
                <c:pt idx="40">
                  <c:v>0.251455386442479</c:v>
                </c:pt>
                <c:pt idx="41">
                  <c:v>0.2955926496223126</c:v>
                </c:pt>
                <c:pt idx="42">
                  <c:v>0.30651989346792646</c:v>
                </c:pt>
                <c:pt idx="43">
                  <c:v>0.2403095576367699</c:v>
                </c:pt>
                <c:pt idx="44">
                  <c:v>0.1772760207797252</c:v>
                </c:pt>
                <c:pt idx="45">
                  <c:v>0.2442422466937141</c:v>
                </c:pt>
                <c:pt idx="46">
                  <c:v>0.263341591258015</c:v>
                </c:pt>
                <c:pt idx="47">
                  <c:v>0.22586243062063002</c:v>
                </c:pt>
                <c:pt idx="48">
                  <c:v>0.19763251296932194</c:v>
                </c:pt>
                <c:pt idx="49">
                  <c:v>0.2096213640982203</c:v>
                </c:pt>
                <c:pt idx="50">
                  <c:v>0.18008489262840638</c:v>
                </c:pt>
                <c:pt idx="51">
                  <c:v>0.16263806583537146</c:v>
                </c:pt>
              </c:numCache>
            </c:numRef>
          </c:xVal>
          <c:yVal>
            <c:numRef>
              <c:f>Sheet1!$B$13:$B$64</c:f>
              <c:numCache>
                <c:formatCode>General</c:formatCode>
                <c:ptCount val="52"/>
                <c:pt idx="0">
                  <c:v>0.9375</c:v>
                </c:pt>
                <c:pt idx="1">
                  <c:v>0.9177489177489178</c:v>
                </c:pt>
                <c:pt idx="2">
                  <c:v>0.9111111111111111</c:v>
                </c:pt>
                <c:pt idx="3">
                  <c:v>0.9166666666666666</c:v>
                </c:pt>
                <c:pt idx="4">
                  <c:v>0.9166666666666666</c:v>
                </c:pt>
                <c:pt idx="5">
                  <c:v>0.8987854251012146</c:v>
                </c:pt>
                <c:pt idx="6">
                  <c:v>0.9257425742574258</c:v>
                </c:pt>
                <c:pt idx="7">
                  <c:v>0.9193548387096774</c:v>
                </c:pt>
                <c:pt idx="8">
                  <c:v>0.8985507246376812</c:v>
                </c:pt>
                <c:pt idx="9">
                  <c:v>0.8736842105263158</c:v>
                </c:pt>
                <c:pt idx="10">
                  <c:v>0.9132653061224489</c:v>
                </c:pt>
                <c:pt idx="11">
                  <c:v>0.883495145631068</c:v>
                </c:pt>
                <c:pt idx="12">
                  <c:v>0.9074889867841409</c:v>
                </c:pt>
                <c:pt idx="13">
                  <c:v>0.9065040650406504</c:v>
                </c:pt>
                <c:pt idx="14">
                  <c:v>0.9069767441860465</c:v>
                </c:pt>
                <c:pt idx="15">
                  <c:v>0.8952380952380953</c:v>
                </c:pt>
                <c:pt idx="16">
                  <c:v>0.9069767441860465</c:v>
                </c:pt>
                <c:pt idx="17">
                  <c:v>0.9078947368421053</c:v>
                </c:pt>
                <c:pt idx="18">
                  <c:v>0.8444444444444444</c:v>
                </c:pt>
                <c:pt idx="19">
                  <c:v>0.8672566371681416</c:v>
                </c:pt>
                <c:pt idx="20">
                  <c:v>0.808695652173913</c:v>
                </c:pt>
                <c:pt idx="21">
                  <c:v>0.8518518518518519</c:v>
                </c:pt>
                <c:pt idx="22">
                  <c:v>0.8526315789473684</c:v>
                </c:pt>
                <c:pt idx="23">
                  <c:v>0.8765432098765432</c:v>
                </c:pt>
                <c:pt idx="24">
                  <c:v>0.8674698795180723</c:v>
                </c:pt>
                <c:pt idx="25">
                  <c:v>0.8375</c:v>
                </c:pt>
                <c:pt idx="26">
                  <c:v>0.8472222222222222</c:v>
                </c:pt>
                <c:pt idx="27">
                  <c:v>0.7906976744186046</c:v>
                </c:pt>
                <c:pt idx="28">
                  <c:v>0.8148148148148148</c:v>
                </c:pt>
                <c:pt idx="29">
                  <c:v>0.8536585365853658</c:v>
                </c:pt>
                <c:pt idx="30">
                  <c:v>0.8817204301075269</c:v>
                </c:pt>
                <c:pt idx="31">
                  <c:v>0.8833333333333333</c:v>
                </c:pt>
                <c:pt idx="32">
                  <c:v>0.8157894736842105</c:v>
                </c:pt>
                <c:pt idx="33">
                  <c:v>0.8282828282828283</c:v>
                </c:pt>
                <c:pt idx="34">
                  <c:v>0.9226804123711341</c:v>
                </c:pt>
                <c:pt idx="35">
                  <c:v>0.8959537572254336</c:v>
                </c:pt>
                <c:pt idx="36">
                  <c:v>0.8666666666666667</c:v>
                </c:pt>
                <c:pt idx="37">
                  <c:v>0.7959183673469388</c:v>
                </c:pt>
                <c:pt idx="38">
                  <c:v>0.8412698412698413</c:v>
                </c:pt>
                <c:pt idx="39">
                  <c:v>0.8305084745762712</c:v>
                </c:pt>
                <c:pt idx="40">
                  <c:v>0.8148148148148148</c:v>
                </c:pt>
                <c:pt idx="41">
                  <c:v>0.816793893129771</c:v>
                </c:pt>
                <c:pt idx="42">
                  <c:v>0.7967479674796748</c:v>
                </c:pt>
                <c:pt idx="43">
                  <c:v>0.8260869565217391</c:v>
                </c:pt>
                <c:pt idx="44">
                  <c:v>0.8847926267281107</c:v>
                </c:pt>
                <c:pt idx="45">
                  <c:v>0.8741935483870967</c:v>
                </c:pt>
                <c:pt idx="46">
                  <c:v>0.8514851485148515</c:v>
                </c:pt>
                <c:pt idx="47">
                  <c:v>0.8768472906403941</c:v>
                </c:pt>
                <c:pt idx="48">
                  <c:v>0.7623762376237624</c:v>
                </c:pt>
                <c:pt idx="49">
                  <c:v>0.7648725212464589</c:v>
                </c:pt>
                <c:pt idx="50">
                  <c:v>0.8571428571428571</c:v>
                </c:pt>
                <c:pt idx="51">
                  <c:v>0.8256410256410256</c:v>
                </c:pt>
              </c:numCache>
            </c:numRef>
          </c:yVal>
          <c:smooth val="0"/>
          <c:extLst>
            <c:ext xmlns:c16="http://schemas.microsoft.com/office/drawing/2014/chart" uri="{C3380CC4-5D6E-409C-BE32-E72D297353CC}">
              <c16:uniqueId val="{00000002-096C-4121-9522-6AB7243CCAAE}"/>
            </c:ext>
          </c:extLst>
        </c:ser>
        <c:ser>
          <c:idx val="2"/>
          <c:order val="2"/>
          <c:tx>
            <c:strRef>
              <c:f>Sheet1!$B$6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67:$A$68</c:f>
              <c:numCache>
                <c:formatCode>General</c:formatCode>
                <c:ptCount val="2"/>
                <c:pt idx="0">
                  <c:v>0</c:v>
                </c:pt>
                <c:pt idx="1">
                  <c:v>-0.27808265540987176</c:v>
                </c:pt>
              </c:numCache>
            </c:numRef>
          </c:xVal>
          <c:yVal>
            <c:numRef>
              <c:f>Sheet1!$B$67:$B$68</c:f>
              <c:numCache>
                <c:formatCode>General</c:formatCode>
                <c:ptCount val="2"/>
                <c:pt idx="0">
                  <c:v>0.9382411889250225</c:v>
                </c:pt>
                <c:pt idx="1">
                  <c:v>0.9382411889250225</c:v>
                </c:pt>
              </c:numCache>
            </c:numRef>
          </c:yVal>
          <c:smooth val="0"/>
          <c:extLst>
            <c:ext xmlns:c16="http://schemas.microsoft.com/office/drawing/2014/chart" uri="{C3380CC4-5D6E-409C-BE32-E72D297353CC}">
              <c16:uniqueId val="{00000005-096C-4121-9522-6AB7243CCAAE}"/>
            </c:ext>
          </c:extLst>
        </c:ser>
        <c:ser>
          <c:idx val="3"/>
          <c:order val="3"/>
          <c:tx>
            <c:strRef>
              <c:f>Sheet1!$B$7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1:$A$72</c:f>
              <c:numCache>
                <c:formatCode>General</c:formatCode>
                <c:ptCount val="2"/>
                <c:pt idx="0">
                  <c:v>-0.27808265540987176</c:v>
                </c:pt>
                <c:pt idx="1">
                  <c:v>-0.27808265540987176</c:v>
                </c:pt>
              </c:numCache>
            </c:numRef>
          </c:xVal>
          <c:yVal>
            <c:numRef>
              <c:f>Sheet1!$B$71:$B$72</c:f>
              <c:numCache>
                <c:formatCode>General</c:formatCode>
                <c:ptCount val="2"/>
                <c:pt idx="0">
                  <c:v>0.93824118892502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7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75:$A$76</c:f>
              <c:numCache>
                <c:formatCode>General</c:formatCode>
                <c:ptCount val="2"/>
                <c:pt idx="0">
                  <c:v>0</c:v>
                </c:pt>
                <c:pt idx="1">
                  <c:v>-0.12696901722995596</c:v>
                </c:pt>
              </c:numCache>
            </c:numRef>
          </c:xVal>
          <c:yVal>
            <c:numRef>
              <c:f>Sheet1!$B$75:$B$76</c:f>
              <c:numCache>
                <c:formatCode>General</c:formatCode>
                <c:ptCount val="2"/>
                <c:pt idx="0">
                  <c:v>0.9157918805443734</c:v>
                </c:pt>
                <c:pt idx="1">
                  <c:v>0.9157918805443734</c:v>
                </c:pt>
              </c:numCache>
            </c:numRef>
          </c:yVal>
          <c:smooth val="0"/>
          <c:extLst>
            <c:ext xmlns:c16="http://schemas.microsoft.com/office/drawing/2014/chart" uri="{C3380CC4-5D6E-409C-BE32-E72D297353CC}">
              <c16:uniqueId val="{0000000D-096C-4121-9522-6AB7243CCAAE}"/>
            </c:ext>
          </c:extLst>
        </c:ser>
        <c:ser>
          <c:idx val="5"/>
          <c:order val="5"/>
          <c:tx>
            <c:strRef>
              <c:f>Sheet1!$B$7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9:$A$80</c:f>
              <c:numCache>
                <c:formatCode>General</c:formatCode>
                <c:ptCount val="2"/>
                <c:pt idx="0">
                  <c:v>-0.12696901722995596</c:v>
                </c:pt>
                <c:pt idx="1">
                  <c:v>-0.12696901722995596</c:v>
                </c:pt>
              </c:numCache>
            </c:numRef>
          </c:xVal>
          <c:yVal>
            <c:numRef>
              <c:f>Sheet1!$B$79:$B$80</c:f>
              <c:numCache>
                <c:formatCode>General</c:formatCode>
                <c:ptCount val="2"/>
                <c:pt idx="0">
                  <c:v>0.91579188054437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82</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83:$A$84</c:f>
              <c:numCache>
                <c:formatCode>General</c:formatCode>
                <c:ptCount val="2"/>
                <c:pt idx="0">
                  <c:v>0</c:v>
                </c:pt>
                <c:pt idx="1">
                  <c:v>0.45450947016122234</c:v>
                </c:pt>
              </c:numCache>
            </c:numRef>
          </c:xVal>
          <c:yVal>
            <c:numRef>
              <c:f>Sheet1!$B$83:$B$84</c:f>
              <c:numCache>
                <c:formatCode>General</c:formatCode>
                <c:ptCount val="2"/>
                <c:pt idx="0">
                  <c:v>0.8294079509574483</c:v>
                </c:pt>
                <c:pt idx="1">
                  <c:v>0.8294079509574483</c:v>
                </c:pt>
              </c:numCache>
            </c:numRef>
          </c:yVal>
          <c:smooth val="0"/>
          <c:extLst>
            <c:ext xmlns:c16="http://schemas.microsoft.com/office/drawing/2014/chart" uri="{C3380CC4-5D6E-409C-BE32-E72D297353CC}">
              <c16:uniqueId val="{00000015-096C-4121-9522-6AB7243CCAAE}"/>
            </c:ext>
          </c:extLst>
        </c:ser>
        <c:ser>
          <c:idx val="7"/>
          <c:order val="7"/>
          <c:tx>
            <c:strRef>
              <c:f>Sheet1!$B$86</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7:$A$88</c:f>
              <c:numCache>
                <c:formatCode>General</c:formatCode>
                <c:ptCount val="2"/>
                <c:pt idx="0">
                  <c:v>0.45450947016122234</c:v>
                </c:pt>
                <c:pt idx="1">
                  <c:v>0.45450947016122234</c:v>
                </c:pt>
              </c:numCache>
            </c:numRef>
          </c:xVal>
          <c:yVal>
            <c:numRef>
              <c:f>Sheet1!$B$87:$B$88</c:f>
              <c:numCache>
                <c:formatCode>General</c:formatCode>
                <c:ptCount val="2"/>
                <c:pt idx="0">
                  <c:v>0.829407950957448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90</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91:$A$145</c:f>
              <c:numCache>
                <c:formatCode>General</c:formatCode>
                <c:ptCount val="55"/>
                <c:pt idx="0">
                  <c:v>0.26401418407230975</c:v>
                </c:pt>
                <c:pt idx="1">
                  <c:v>0.2422332001450802</c:v>
                </c:pt>
                <c:pt idx="2">
                  <c:v>0.2855434064324519</c:v>
                </c:pt>
                <c:pt idx="3">
                  <c:v>0.20939556098661222</c:v>
                </c:pt>
                <c:pt idx="4">
                  <c:v>0.25910570552016826</c:v>
                </c:pt>
                <c:pt idx="5">
                  <c:v>0.2598843533941133</c:v>
                </c:pt>
                <c:pt idx="6">
                  <c:v>0.20684440558454378</c:v>
                </c:pt>
                <c:pt idx="7">
                  <c:v>0.13177169763665886</c:v>
                </c:pt>
                <c:pt idx="8">
                  <c:v>0.17373265165757257</c:v>
                </c:pt>
                <c:pt idx="9">
                  <c:v>0.27137293057979095</c:v>
                </c:pt>
                <c:pt idx="10">
                  <c:v>0.1579844706109449</c:v>
                </c:pt>
                <c:pt idx="11">
                  <c:v>0.2078758628318584</c:v>
                </c:pt>
                <c:pt idx="12">
                  <c:v>0.1512430528762494</c:v>
                </c:pt>
                <c:pt idx="13">
                  <c:v>0.17307935165992175</c:v>
                </c:pt>
                <c:pt idx="14">
                  <c:v>0.207660039859128</c:v>
                </c:pt>
                <c:pt idx="15">
                  <c:v>0.14510237231297354</c:v>
                </c:pt>
                <c:pt idx="16">
                  <c:v>0.2548476711614879</c:v>
                </c:pt>
                <c:pt idx="17">
                  <c:v>0.23447369090523637</c:v>
                </c:pt>
                <c:pt idx="18">
                  <c:v>0.29560193976220384</c:v>
                </c:pt>
                <c:pt idx="19">
                  <c:v>0.24684955676988465</c:v>
                </c:pt>
                <c:pt idx="20">
                  <c:v>0.31750258401729675</c:v>
                </c:pt>
                <c:pt idx="21">
                  <c:v>0.25350703851196327</c:v>
                </c:pt>
                <c:pt idx="22">
                  <c:v>0.21837243300924827</c:v>
                </c:pt>
                <c:pt idx="23">
                  <c:v>0.10182141896435777</c:v>
                </c:pt>
                <c:pt idx="24">
                  <c:v>0.2099802850228556</c:v>
                </c:pt>
                <c:pt idx="25">
                  <c:v>0.11862392747849182</c:v>
                </c:pt>
                <c:pt idx="26">
                  <c:v>0.1280571896232242</c:v>
                </c:pt>
                <c:pt idx="27">
                  <c:v>0.22489461902777838</c:v>
                </c:pt>
                <c:pt idx="28">
                  <c:v>0.24935589270542544</c:v>
                </c:pt>
                <c:pt idx="29">
                  <c:v>0.21959166666666668</c:v>
                </c:pt>
                <c:pt idx="30">
                  <c:v>0.0917893666266079</c:v>
                </c:pt>
                <c:pt idx="31">
                  <c:v>0.10705318958245466</c:v>
                </c:pt>
                <c:pt idx="32">
                  <c:v>0.2572468510523955</c:v>
                </c:pt>
                <c:pt idx="33">
                  <c:v>0.36328207840587395</c:v>
                </c:pt>
                <c:pt idx="34">
                  <c:v>0.24328082270970883</c:v>
                </c:pt>
                <c:pt idx="35">
                  <c:v>0.23832470105509965</c:v>
                </c:pt>
                <c:pt idx="36">
                  <c:v>0.207811359143725</c:v>
                </c:pt>
                <c:pt idx="37">
                  <c:v>0.3070201021623298</c:v>
                </c:pt>
                <c:pt idx="38">
                  <c:v>0.0980263742747566</c:v>
                </c:pt>
                <c:pt idx="39">
                  <c:v>0.1524255064737243</c:v>
                </c:pt>
                <c:pt idx="40">
                  <c:v>0.251455386442479</c:v>
                </c:pt>
                <c:pt idx="41">
                  <c:v>0.2955926496223126</c:v>
                </c:pt>
                <c:pt idx="42">
                  <c:v>0.30651989346792646</c:v>
                </c:pt>
                <c:pt idx="43">
                  <c:v>0.2403095576367699</c:v>
                </c:pt>
                <c:pt idx="44">
                  <c:v>0.1772760207797252</c:v>
                </c:pt>
                <c:pt idx="45">
                  <c:v>0.2442422466937141</c:v>
                </c:pt>
                <c:pt idx="46">
                  <c:v>0.263341591258015</c:v>
                </c:pt>
                <c:pt idx="47">
                  <c:v>0.22586243062063002</c:v>
                </c:pt>
                <c:pt idx="48">
                  <c:v>0.19763251296932194</c:v>
                </c:pt>
                <c:pt idx="49">
                  <c:v>0.2096213640982203</c:v>
                </c:pt>
                <c:pt idx="50">
                  <c:v>0.18008489262840638</c:v>
                </c:pt>
                <c:pt idx="51">
                  <c:v>0.16263806583537146</c:v>
                </c:pt>
                <c:pt idx="52">
                  <c:v>-0.12696901722995596</c:v>
                </c:pt>
                <c:pt idx="53">
                  <c:v>-0.27808265540987176</c:v>
                </c:pt>
                <c:pt idx="54">
                  <c:v>0.45450947016122234</c:v>
                </c:pt>
              </c:numCache>
            </c:numRef>
          </c:xVal>
          <c:yVal>
            <c:numRef>
              <c:f>Sheet1!$B$91:$B$145</c:f>
              <c:numCache>
                <c:formatCode>General</c:formatCode>
                <c:ptCount val="55"/>
                <c:pt idx="0">
                  <c:v>0.8577077621060515</c:v>
                </c:pt>
                <c:pt idx="1">
                  <c:v>0.8609435258061762</c:v>
                </c:pt>
                <c:pt idx="2">
                  <c:v>0.8545093998815714</c:v>
                </c:pt>
                <c:pt idx="3">
                  <c:v>0.8658218564243778</c:v>
                </c:pt>
                <c:pt idx="4">
                  <c:v>0.8584369613366705</c:v>
                </c:pt>
                <c:pt idx="5">
                  <c:v>0.8583212860974752</c:v>
                </c:pt>
                <c:pt idx="6">
                  <c:v>0.8662008538136128</c:v>
                </c:pt>
                <c:pt idx="7">
                  <c:v>0.8773535888810189</c:v>
                </c:pt>
                <c:pt idx="8">
                  <c:v>0.8711199066792829</c:v>
                </c:pt>
                <c:pt idx="9">
                  <c:v>0.856614553236017</c:v>
                </c:pt>
                <c:pt idx="10">
                  <c:v>0.8734594425213695</c:v>
                </c:pt>
                <c:pt idx="11">
                  <c:v>0.8660476214375988</c:v>
                </c:pt>
                <c:pt idx="12">
                  <c:v>0.8744609415751398</c:v>
                </c:pt>
                <c:pt idx="13">
                  <c:v>0.8712169603488853</c:v>
                </c:pt>
                <c:pt idx="14">
                  <c:v>0.8660796839074646</c:v>
                </c:pt>
                <c:pt idx="15">
                  <c:v>0.875373195646264</c:v>
                </c:pt>
                <c:pt idx="16">
                  <c:v>0.8590695311534305</c:v>
                </c:pt>
                <c:pt idx="17">
                  <c:v>0.8620962716331302</c:v>
                </c:pt>
                <c:pt idx="18">
                  <c:v>0.8530151130700276</c:v>
                </c:pt>
                <c:pt idx="19">
                  <c:v>0.860257723950609</c:v>
                </c:pt>
                <c:pt idx="20">
                  <c:v>0.8497615727374728</c:v>
                </c:pt>
                <c:pt idx="21">
                  <c:v>0.8592686943536343</c:v>
                </c:pt>
                <c:pt idx="22">
                  <c:v>0.8644882602595508</c:v>
                </c:pt>
                <c:pt idx="23">
                  <c:v>0.8818029757801706</c:v>
                </c:pt>
                <c:pt idx="24">
                  <c:v>0.8657349903389251</c:v>
                </c:pt>
                <c:pt idx="25">
                  <c:v>0.8793068099823941</c:v>
                </c:pt>
                <c:pt idx="26">
                  <c:v>0.8779054129048486</c:v>
                </c:pt>
                <c:pt idx="27">
                  <c:v>0.863519330075555</c:v>
                </c:pt>
                <c:pt idx="28">
                  <c:v>0.8598853849016644</c:v>
                </c:pt>
                <c:pt idx="29">
                  <c:v>0.8643071319861989</c:v>
                </c:pt>
                <c:pt idx="30">
                  <c:v>0.8832933285989732</c:v>
                </c:pt>
                <c:pt idx="31">
                  <c:v>0.8810257485662865</c:v>
                </c:pt>
                <c:pt idx="32">
                  <c:v>0.8587131111116636</c:v>
                </c:pt>
                <c:pt idx="33">
                  <c:v>0.842960611557412</c:v>
                </c:pt>
                <c:pt idx="34">
                  <c:v>0.8607878919249253</c:v>
                </c:pt>
                <c:pt idx="35">
                  <c:v>0.8615241689726916</c:v>
                </c:pt>
                <c:pt idx="36">
                  <c:v>0.8660572040484342</c:v>
                </c:pt>
                <c:pt idx="37">
                  <c:v>0.8513188409668071</c:v>
                </c:pt>
                <c:pt idx="38">
                  <c:v>0.8823667642613516</c:v>
                </c:pt>
                <c:pt idx="39">
                  <c:v>0.8742852773149495</c:v>
                </c:pt>
                <c:pt idx="40">
                  <c:v>0.8595734859697478</c:v>
                </c:pt>
                <c:pt idx="41">
                  <c:v>0.85301649320499</c:v>
                </c:pt>
                <c:pt idx="42">
                  <c:v>0.8513931515278563</c:v>
                </c:pt>
                <c:pt idx="43">
                  <c:v>0.8612293004351462</c:v>
                </c:pt>
                <c:pt idx="44">
                  <c:v>0.870593506897716</c:v>
                </c:pt>
                <c:pt idx="45">
                  <c:v>0.8606450636285422</c:v>
                </c:pt>
                <c:pt idx="46">
                  <c:v>0.857807681899424</c:v>
                </c:pt>
                <c:pt idx="47">
                  <c:v>0.8633755528416536</c:v>
                </c:pt>
                <c:pt idx="48">
                  <c:v>0.8675693644297249</c:v>
                </c:pt>
                <c:pt idx="49">
                  <c:v>0.8657883113139109</c:v>
                </c:pt>
                <c:pt idx="50">
                  <c:v>0.8701762233812032</c:v>
                </c:pt>
                <c:pt idx="51">
                  <c:v>0.8727681085323917</c:v>
                </c:pt>
                <c:pt idx="52">
                  <c:v>0.9157918805443734</c:v>
                </c:pt>
                <c:pt idx="53">
                  <c:v>0.9382411889250225</c:v>
                </c:pt>
                <c:pt idx="54">
                  <c:v>0.829407950957448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Mustel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491166077738515"/>
          <c:min val="0.6099009900990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c:f>
              <c:numCache>
                <c:formatCode>General</c:formatCode>
                <c:ptCount val="9"/>
                <c:pt idx="0">
                  <c:v>1609.1594</c:v>
                </c:pt>
                <c:pt idx="1">
                  <c:v>1721.1208</c:v>
                </c:pt>
                <c:pt idx="2">
                  <c:v>1670.9662</c:v>
                </c:pt>
                <c:pt idx="3">
                  <c:v>1646.9049</c:v>
                </c:pt>
                <c:pt idx="4">
                  <c:v>1376.1483</c:v>
                </c:pt>
                <c:pt idx="5">
                  <c:v>1740.7314</c:v>
                </c:pt>
                <c:pt idx="6">
                  <c:v>1749.7391</c:v>
                </c:pt>
                <c:pt idx="7">
                  <c:v>1576.4618</c:v>
                </c:pt>
                <c:pt idx="8">
                  <c:v>1556.8856</c:v>
                </c:pt>
              </c:numCache>
            </c:numRef>
          </c:xVal>
          <c:yVal>
            <c:numRef>
              <c:f>Sheet1!$B$2:$B$10</c:f>
              <c:numCache>
                <c:formatCode>General</c:formatCode>
                <c:ptCount val="9"/>
                <c:pt idx="0">
                  <c:v>0.9241071428571429</c:v>
                </c:pt>
                <c:pt idx="1">
                  <c:v>0.9375</c:v>
                </c:pt>
                <c:pt idx="2">
                  <c:v>0.9308176100628931</c:v>
                </c:pt>
                <c:pt idx="3">
                  <c:v>0.9421965317919075</c:v>
                </c:pt>
                <c:pt idx="4">
                  <c:v>0.9565846599131693</c:v>
                </c:pt>
                <c:pt idx="5">
                  <c:v>0.9363636363636364</c:v>
                </c:pt>
                <c:pt idx="6">
                  <c:v>0.933579335793358</c:v>
                </c:pt>
                <c:pt idx="7">
                  <c:v>0.9458483754512635</c:v>
                </c:pt>
                <c:pt idx="8">
                  <c:v>0.9575971731448764</c:v>
                </c:pt>
              </c:numCache>
            </c:numRef>
          </c:yVal>
          <c:smooth val="0"/>
          <c:extLst>
            <c:ext xmlns:c16="http://schemas.microsoft.com/office/drawing/2014/chart" uri="{C3380CC4-5D6E-409C-BE32-E72D297353CC}">
              <c16:uniqueId val="{00000000-F32D-48B7-BC20-E66FC6253BAD}"/>
            </c:ext>
          </c:extLst>
        </c:ser>
        <c:ser>
          <c:idx val="1"/>
          <c:order val="1"/>
          <c:tx>
            <c:strRef>
              <c:f>Sheet1!$B$1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3:$A$64</c:f>
              <c:numCache>
                <c:formatCode>General</c:formatCode>
                <c:ptCount val="52"/>
                <c:pt idx="0">
                  <c:v>1729.1873</c:v>
                </c:pt>
                <c:pt idx="1">
                  <c:v>1793.9387</c:v>
                </c:pt>
                <c:pt idx="2">
                  <c:v>1797.1626</c:v>
                </c:pt>
                <c:pt idx="3">
                  <c:v>1782.7589</c:v>
                </c:pt>
                <c:pt idx="4">
                  <c:v>1788.1255</c:v>
                </c:pt>
                <c:pt idx="5">
                  <c:v>1831.6216</c:v>
                </c:pt>
                <c:pt idx="6">
                  <c:v>1833.4171</c:v>
                </c:pt>
                <c:pt idx="7">
                  <c:v>1826.0263</c:v>
                </c:pt>
                <c:pt idx="8">
                  <c:v>1894.4677</c:v>
                </c:pt>
                <c:pt idx="9">
                  <c:v>1603.0602</c:v>
                </c:pt>
                <c:pt idx="10">
                  <c:v>1636.8771</c:v>
                </c:pt>
                <c:pt idx="11">
                  <c:v>1879.1978</c:v>
                </c:pt>
                <c:pt idx="12">
                  <c:v>1858.3738</c:v>
                </c:pt>
                <c:pt idx="13">
                  <c:v>1699.87</c:v>
                </c:pt>
                <c:pt idx="14">
                  <c:v>1901.5949</c:v>
                </c:pt>
                <c:pt idx="15">
                  <c:v>1667.4681</c:v>
                </c:pt>
                <c:pt idx="16">
                  <c:v>1956.0833</c:v>
                </c:pt>
                <c:pt idx="17">
                  <c:v>1935.5217</c:v>
                </c:pt>
                <c:pt idx="18">
                  <c:v>2023.75</c:v>
                </c:pt>
                <c:pt idx="19">
                  <c:v>2032.8061</c:v>
                </c:pt>
                <c:pt idx="20">
                  <c:v>1890.6882</c:v>
                </c:pt>
                <c:pt idx="21">
                  <c:v>1876.7971</c:v>
                </c:pt>
                <c:pt idx="22">
                  <c:v>1841.7531</c:v>
                </c:pt>
                <c:pt idx="23">
                  <c:v>1816.9014</c:v>
                </c:pt>
                <c:pt idx="24">
                  <c:v>1952.2917</c:v>
                </c:pt>
                <c:pt idx="25">
                  <c:v>2054.4478</c:v>
                </c:pt>
                <c:pt idx="26">
                  <c:v>2073.2459</c:v>
                </c:pt>
                <c:pt idx="27">
                  <c:v>2108.9118</c:v>
                </c:pt>
                <c:pt idx="28">
                  <c:v>2054.4432</c:v>
                </c:pt>
                <c:pt idx="29">
                  <c:v>2052.7429</c:v>
                </c:pt>
                <c:pt idx="30">
                  <c:v>2062.2317</c:v>
                </c:pt>
                <c:pt idx="31">
                  <c:v>2030.5849</c:v>
                </c:pt>
                <c:pt idx="32">
                  <c:v>2083.871</c:v>
                </c:pt>
                <c:pt idx="33">
                  <c:v>2024.2683</c:v>
                </c:pt>
                <c:pt idx="34">
                  <c:v>1998.9777</c:v>
                </c:pt>
                <c:pt idx="35">
                  <c:v>2032.9097</c:v>
                </c:pt>
                <c:pt idx="36">
                  <c:v>2155.1077</c:v>
                </c:pt>
                <c:pt idx="37">
                  <c:v>2072.8974</c:v>
                </c:pt>
                <c:pt idx="38">
                  <c:v>1993.6604</c:v>
                </c:pt>
                <c:pt idx="39">
                  <c:v>2001.3469</c:v>
                </c:pt>
                <c:pt idx="40">
                  <c:v>2011.4545</c:v>
                </c:pt>
                <c:pt idx="41">
                  <c:v>2034.8598</c:v>
                </c:pt>
                <c:pt idx="42">
                  <c:v>2034.898</c:v>
                </c:pt>
                <c:pt idx="43">
                  <c:v>1944.625</c:v>
                </c:pt>
                <c:pt idx="44">
                  <c:v>1825.6771</c:v>
                </c:pt>
                <c:pt idx="45">
                  <c:v>1738.3026</c:v>
                </c:pt>
                <c:pt idx="46">
                  <c:v>1822.4884</c:v>
                </c:pt>
                <c:pt idx="47">
                  <c:v>1880.0337</c:v>
                </c:pt>
                <c:pt idx="48">
                  <c:v>1643.2814</c:v>
                </c:pt>
                <c:pt idx="49">
                  <c:v>1600.7259</c:v>
                </c:pt>
                <c:pt idx="50">
                  <c:v>1434.016</c:v>
                </c:pt>
                <c:pt idx="51">
                  <c:v>1521.1335</c:v>
                </c:pt>
              </c:numCache>
            </c:numRef>
          </c:xVal>
          <c:yVal>
            <c:numRef>
              <c:f>Sheet1!$B$13:$B$64</c:f>
              <c:numCache>
                <c:formatCode>General</c:formatCode>
                <c:ptCount val="52"/>
                <c:pt idx="0">
                  <c:v>0.9375</c:v>
                </c:pt>
                <c:pt idx="1">
                  <c:v>0.9177489177489178</c:v>
                </c:pt>
                <c:pt idx="2">
                  <c:v>0.9111111111111111</c:v>
                </c:pt>
                <c:pt idx="3">
                  <c:v>0.9166666666666666</c:v>
                </c:pt>
                <c:pt idx="4">
                  <c:v>0.9166666666666666</c:v>
                </c:pt>
                <c:pt idx="5">
                  <c:v>0.8987854251012146</c:v>
                </c:pt>
                <c:pt idx="6">
                  <c:v>0.9257425742574258</c:v>
                </c:pt>
                <c:pt idx="7">
                  <c:v>0.9193548387096774</c:v>
                </c:pt>
                <c:pt idx="8">
                  <c:v>0.8985507246376812</c:v>
                </c:pt>
                <c:pt idx="9">
                  <c:v>0.8736842105263158</c:v>
                </c:pt>
                <c:pt idx="10">
                  <c:v>0.9132653061224489</c:v>
                </c:pt>
                <c:pt idx="11">
                  <c:v>0.883495145631068</c:v>
                </c:pt>
                <c:pt idx="12">
                  <c:v>0.9074889867841409</c:v>
                </c:pt>
                <c:pt idx="13">
                  <c:v>0.9065040650406504</c:v>
                </c:pt>
                <c:pt idx="14">
                  <c:v>0.9069767441860465</c:v>
                </c:pt>
                <c:pt idx="15">
                  <c:v>0.8952380952380953</c:v>
                </c:pt>
                <c:pt idx="16">
                  <c:v>0.9069767441860465</c:v>
                </c:pt>
                <c:pt idx="17">
                  <c:v>0.9078947368421053</c:v>
                </c:pt>
                <c:pt idx="18">
                  <c:v>0.8444444444444444</c:v>
                </c:pt>
                <c:pt idx="19">
                  <c:v>0.8672566371681416</c:v>
                </c:pt>
                <c:pt idx="20">
                  <c:v>0.808695652173913</c:v>
                </c:pt>
                <c:pt idx="21">
                  <c:v>0.8518518518518519</c:v>
                </c:pt>
                <c:pt idx="22">
                  <c:v>0.8526315789473684</c:v>
                </c:pt>
                <c:pt idx="23">
                  <c:v>0.8765432098765432</c:v>
                </c:pt>
                <c:pt idx="24">
                  <c:v>0.8674698795180723</c:v>
                </c:pt>
                <c:pt idx="25">
                  <c:v>0.8375</c:v>
                </c:pt>
                <c:pt idx="26">
                  <c:v>0.8472222222222222</c:v>
                </c:pt>
                <c:pt idx="27">
                  <c:v>0.7906976744186046</c:v>
                </c:pt>
                <c:pt idx="28">
                  <c:v>0.8148148148148148</c:v>
                </c:pt>
                <c:pt idx="29">
                  <c:v>0.8536585365853658</c:v>
                </c:pt>
                <c:pt idx="30">
                  <c:v>0.8817204301075269</c:v>
                </c:pt>
                <c:pt idx="31">
                  <c:v>0.8833333333333333</c:v>
                </c:pt>
                <c:pt idx="32">
                  <c:v>0.8157894736842105</c:v>
                </c:pt>
                <c:pt idx="33">
                  <c:v>0.8282828282828283</c:v>
                </c:pt>
                <c:pt idx="34">
                  <c:v>0.9226804123711341</c:v>
                </c:pt>
                <c:pt idx="35">
                  <c:v>0.8959537572254336</c:v>
                </c:pt>
                <c:pt idx="36">
                  <c:v>0.8666666666666667</c:v>
                </c:pt>
                <c:pt idx="37">
                  <c:v>0.7959183673469388</c:v>
                </c:pt>
                <c:pt idx="38">
                  <c:v>0.8412698412698413</c:v>
                </c:pt>
                <c:pt idx="39">
                  <c:v>0.8305084745762712</c:v>
                </c:pt>
                <c:pt idx="40">
                  <c:v>0.8148148148148148</c:v>
                </c:pt>
                <c:pt idx="41">
                  <c:v>0.816793893129771</c:v>
                </c:pt>
                <c:pt idx="42">
                  <c:v>0.7967479674796748</c:v>
                </c:pt>
                <c:pt idx="43">
                  <c:v>0.8260869565217391</c:v>
                </c:pt>
                <c:pt idx="44">
                  <c:v>0.8847926267281107</c:v>
                </c:pt>
                <c:pt idx="45">
                  <c:v>0.8741935483870967</c:v>
                </c:pt>
                <c:pt idx="46">
                  <c:v>0.8514851485148515</c:v>
                </c:pt>
                <c:pt idx="47">
                  <c:v>0.8768472906403941</c:v>
                </c:pt>
                <c:pt idx="48">
                  <c:v>0.7623762376237624</c:v>
                </c:pt>
                <c:pt idx="49">
                  <c:v>0.7648725212464589</c:v>
                </c:pt>
                <c:pt idx="50">
                  <c:v>0.8571428571428571</c:v>
                </c:pt>
                <c:pt idx="51">
                  <c:v>0.8256410256410256</c:v>
                </c:pt>
              </c:numCache>
            </c:numRef>
          </c:yVal>
          <c:smooth val="0"/>
          <c:extLst>
            <c:ext xmlns:c16="http://schemas.microsoft.com/office/drawing/2014/chart" uri="{C3380CC4-5D6E-409C-BE32-E72D297353CC}">
              <c16:uniqueId val="{00000002-F32D-48B7-BC20-E66FC6253BAD}"/>
            </c:ext>
          </c:extLst>
        </c:ser>
        <c:ser>
          <c:idx val="2"/>
          <c:order val="2"/>
          <c:tx>
            <c:strRef>
              <c:f>Sheet1!$B$66</c:f>
              <c:strCache>
                <c:ptCount val="1"/>
                <c:pt idx="0">
                  <c:v>Custom Linep3yQ</c:v>
                </c:pt>
              </c:strCache>
            </c:strRef>
          </c:tx>
          <c:spPr>
            <a:ln w="19050" cap="rnd">
              <a:solidFill>
                <a:srgbClr val="C00000"/>
              </a:solidFill>
              <a:prstDash val="sysDot"/>
              <a:round/>
            </a:ln>
            <a:effectLst/>
          </c:spPr>
          <c:marker>
            <c:symbol val="none"/>
          </c:marker>
          <c:xVal>
            <c:numRef>
              <c:f>Sheet1!$A$67:$A$68</c:f>
              <c:numCache>
                <c:formatCode>General</c:formatCode>
                <c:ptCount val="2"/>
                <c:pt idx="0">
                  <c:v>0</c:v>
                </c:pt>
                <c:pt idx="1">
                  <c:v>528.509354562623</c:v>
                </c:pt>
              </c:numCache>
            </c:numRef>
          </c:xVal>
          <c:yVal>
            <c:numRef>
              <c:f>Sheet1!$B$67:$B$68</c:f>
              <c:numCache>
                <c:formatCode>General</c:formatCode>
                <c:ptCount val="2"/>
                <c:pt idx="0">
                  <c:v>0.9382411889250225</c:v>
                </c:pt>
                <c:pt idx="1">
                  <c:v>0.9382411889250225</c:v>
                </c:pt>
              </c:numCache>
            </c:numRef>
          </c:yVal>
          <c:smooth val="0"/>
          <c:extLst>
            <c:ext xmlns:c16="http://schemas.microsoft.com/office/drawing/2014/chart" uri="{C3380CC4-5D6E-409C-BE32-E72D297353CC}">
              <c16:uniqueId val="{00000003-F32D-48B7-BC20-E66FC6253BAD}"/>
            </c:ext>
          </c:extLst>
        </c:ser>
        <c:ser>
          <c:idx val="3"/>
          <c:order val="3"/>
          <c:tx>
            <c:strRef>
              <c:f>Sheet1!$B$7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1:$A$72</c:f>
              <c:numCache>
                <c:formatCode>General</c:formatCode>
                <c:ptCount val="2"/>
                <c:pt idx="0">
                  <c:v>528.509354562623</c:v>
                </c:pt>
                <c:pt idx="1">
                  <c:v>528.509354562623</c:v>
                </c:pt>
              </c:numCache>
            </c:numRef>
          </c:xVal>
          <c:yVal>
            <c:numRef>
              <c:f>Sheet1!$B$71:$B$72</c:f>
              <c:numCache>
                <c:formatCode>General</c:formatCode>
                <c:ptCount val="2"/>
                <c:pt idx="0">
                  <c:v>0.93824118892502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7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75:$A$76</c:f>
              <c:numCache>
                <c:formatCode>General</c:formatCode>
                <c:ptCount val="2"/>
                <c:pt idx="0">
                  <c:v>0</c:v>
                </c:pt>
                <c:pt idx="1">
                  <c:v>943.950663300248</c:v>
                </c:pt>
              </c:numCache>
            </c:numRef>
          </c:xVal>
          <c:yVal>
            <c:numRef>
              <c:f>Sheet1!$B$75:$B$76</c:f>
              <c:numCache>
                <c:formatCode>General</c:formatCode>
                <c:ptCount val="2"/>
                <c:pt idx="0">
                  <c:v>0.9157918805443734</c:v>
                </c:pt>
                <c:pt idx="1">
                  <c:v>0.9157918805443734</c:v>
                </c:pt>
              </c:numCache>
            </c:numRef>
          </c:yVal>
          <c:smooth val="0"/>
          <c:extLst>
            <c:ext xmlns:c16="http://schemas.microsoft.com/office/drawing/2014/chart" uri="{C3380CC4-5D6E-409C-BE32-E72D297353CC}">
              <c16:uniqueId val="{0000000A-F32D-48B7-BC20-E66FC6253BAD}"/>
            </c:ext>
          </c:extLst>
        </c:ser>
        <c:ser>
          <c:idx val="5"/>
          <c:order val="5"/>
          <c:tx>
            <c:strRef>
              <c:f>Sheet1!$B$7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9:$A$80</c:f>
              <c:numCache>
                <c:formatCode>General</c:formatCode>
                <c:ptCount val="2"/>
                <c:pt idx="0">
                  <c:v>943.950663300248</c:v>
                </c:pt>
                <c:pt idx="1">
                  <c:v>943.950663300248</c:v>
                </c:pt>
              </c:numCache>
            </c:numRef>
          </c:xVal>
          <c:yVal>
            <c:numRef>
              <c:f>Sheet1!$B$79:$B$80</c:f>
              <c:numCache>
                <c:formatCode>General</c:formatCode>
                <c:ptCount val="2"/>
                <c:pt idx="0">
                  <c:v>0.91579188054437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82</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83:$A$84</c:f>
              <c:numCache>
                <c:formatCode>General</c:formatCode>
                <c:ptCount val="2"/>
                <c:pt idx="0">
                  <c:v>0</c:v>
                </c:pt>
                <c:pt idx="1">
                  <c:v>2542.5501458760855</c:v>
                </c:pt>
              </c:numCache>
            </c:numRef>
          </c:xVal>
          <c:yVal>
            <c:numRef>
              <c:f>Sheet1!$B$83:$B$84</c:f>
              <c:numCache>
                <c:formatCode>General</c:formatCode>
                <c:ptCount val="2"/>
                <c:pt idx="0">
                  <c:v>0.8294079509574483</c:v>
                </c:pt>
                <c:pt idx="1">
                  <c:v>0.8294079509574483</c:v>
                </c:pt>
              </c:numCache>
            </c:numRef>
          </c:yVal>
          <c:smooth val="0"/>
          <c:extLst>
            <c:ext xmlns:c16="http://schemas.microsoft.com/office/drawing/2014/chart" uri="{C3380CC4-5D6E-409C-BE32-E72D297353CC}">
              <c16:uniqueId val="{00000011-F32D-48B7-BC20-E66FC6253BAD}"/>
            </c:ext>
          </c:extLst>
        </c:ser>
        <c:ser>
          <c:idx val="7"/>
          <c:order val="7"/>
          <c:tx>
            <c:strRef>
              <c:f>Sheet1!$B$86</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7:$A$88</c:f>
              <c:numCache>
                <c:formatCode>General</c:formatCode>
                <c:ptCount val="2"/>
                <c:pt idx="0">
                  <c:v>2542.5501458760855</c:v>
                </c:pt>
                <c:pt idx="1">
                  <c:v>2542.5501458760855</c:v>
                </c:pt>
              </c:numCache>
            </c:numRef>
          </c:xVal>
          <c:yVal>
            <c:numRef>
              <c:f>Sheet1!$B$87:$B$88</c:f>
              <c:numCache>
                <c:formatCode>General</c:formatCode>
                <c:ptCount val="2"/>
                <c:pt idx="0">
                  <c:v>0.829407950957448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90</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91:$A$145</c:f>
              <c:numCache>
                <c:formatCode>General</c:formatCode>
                <c:ptCount val="55"/>
                <c:pt idx="0">
                  <c:v>1729.1873</c:v>
                </c:pt>
                <c:pt idx="1">
                  <c:v>1793.9387</c:v>
                </c:pt>
                <c:pt idx="2">
                  <c:v>1797.1626</c:v>
                </c:pt>
                <c:pt idx="3">
                  <c:v>1782.7589</c:v>
                </c:pt>
                <c:pt idx="4">
                  <c:v>1788.1255</c:v>
                </c:pt>
                <c:pt idx="5">
                  <c:v>1831.6216</c:v>
                </c:pt>
                <c:pt idx="6">
                  <c:v>1833.4171</c:v>
                </c:pt>
                <c:pt idx="7">
                  <c:v>1826.0263</c:v>
                </c:pt>
                <c:pt idx="8">
                  <c:v>1894.4677</c:v>
                </c:pt>
                <c:pt idx="9">
                  <c:v>1603.0602</c:v>
                </c:pt>
                <c:pt idx="10">
                  <c:v>1636.8771</c:v>
                </c:pt>
                <c:pt idx="11">
                  <c:v>1879.1978</c:v>
                </c:pt>
                <c:pt idx="12">
                  <c:v>1858.3738</c:v>
                </c:pt>
                <c:pt idx="13">
                  <c:v>1699.87</c:v>
                </c:pt>
                <c:pt idx="14">
                  <c:v>1901.5949</c:v>
                </c:pt>
                <c:pt idx="15">
                  <c:v>1667.4681</c:v>
                </c:pt>
                <c:pt idx="16">
                  <c:v>1956.0833</c:v>
                </c:pt>
                <c:pt idx="17">
                  <c:v>1935.5217</c:v>
                </c:pt>
                <c:pt idx="18">
                  <c:v>2023.75</c:v>
                </c:pt>
                <c:pt idx="19">
                  <c:v>2032.8061</c:v>
                </c:pt>
                <c:pt idx="20">
                  <c:v>1890.6882</c:v>
                </c:pt>
                <c:pt idx="21">
                  <c:v>1876.7971</c:v>
                </c:pt>
                <c:pt idx="22">
                  <c:v>1841.7531</c:v>
                </c:pt>
                <c:pt idx="23">
                  <c:v>1816.9014</c:v>
                </c:pt>
                <c:pt idx="24">
                  <c:v>1952.2917</c:v>
                </c:pt>
                <c:pt idx="25">
                  <c:v>2054.4478</c:v>
                </c:pt>
                <c:pt idx="26">
                  <c:v>2073.2459</c:v>
                </c:pt>
                <c:pt idx="27">
                  <c:v>2108.9118</c:v>
                </c:pt>
                <c:pt idx="28">
                  <c:v>2054.4432</c:v>
                </c:pt>
                <c:pt idx="29">
                  <c:v>2052.7429</c:v>
                </c:pt>
                <c:pt idx="30">
                  <c:v>2062.2317</c:v>
                </c:pt>
                <c:pt idx="31">
                  <c:v>2030.5849</c:v>
                </c:pt>
                <c:pt idx="32">
                  <c:v>2083.871</c:v>
                </c:pt>
                <c:pt idx="33">
                  <c:v>2024.2683</c:v>
                </c:pt>
                <c:pt idx="34">
                  <c:v>1998.9777</c:v>
                </c:pt>
                <c:pt idx="35">
                  <c:v>2032.9097</c:v>
                </c:pt>
                <c:pt idx="36">
                  <c:v>2155.1077</c:v>
                </c:pt>
                <c:pt idx="37">
                  <c:v>2072.8974</c:v>
                </c:pt>
                <c:pt idx="38">
                  <c:v>1993.6604</c:v>
                </c:pt>
                <c:pt idx="39">
                  <c:v>2001.3469</c:v>
                </c:pt>
                <c:pt idx="40">
                  <c:v>2011.4545</c:v>
                </c:pt>
                <c:pt idx="41">
                  <c:v>2034.8598</c:v>
                </c:pt>
                <c:pt idx="42">
                  <c:v>2034.898</c:v>
                </c:pt>
                <c:pt idx="43">
                  <c:v>1944.625</c:v>
                </c:pt>
                <c:pt idx="44">
                  <c:v>1825.6771</c:v>
                </c:pt>
                <c:pt idx="45">
                  <c:v>1738.3026</c:v>
                </c:pt>
                <c:pt idx="46">
                  <c:v>1822.4884</c:v>
                </c:pt>
                <c:pt idx="47">
                  <c:v>1880.0337</c:v>
                </c:pt>
                <c:pt idx="48">
                  <c:v>1643.2814</c:v>
                </c:pt>
                <c:pt idx="49">
                  <c:v>1600.7259</c:v>
                </c:pt>
                <c:pt idx="50">
                  <c:v>1434.016</c:v>
                </c:pt>
                <c:pt idx="51">
                  <c:v>1521.1335</c:v>
                </c:pt>
                <c:pt idx="52">
                  <c:v>943.950663300248</c:v>
                </c:pt>
                <c:pt idx="53">
                  <c:v>528.509354562623</c:v>
                </c:pt>
                <c:pt idx="54">
                  <c:v>2542.5501458760855</c:v>
                </c:pt>
              </c:numCache>
            </c:numRef>
          </c:xVal>
          <c:yVal>
            <c:numRef>
              <c:f>Sheet1!$B$91:$B$145</c:f>
              <c:numCache>
                <c:formatCode>General</c:formatCode>
                <c:ptCount val="55"/>
                <c:pt idx="0">
                  <c:v>0.8733598473346246</c:v>
                </c:pt>
                <c:pt idx="1">
                  <c:v>0.8698608593521926</c:v>
                </c:pt>
                <c:pt idx="2">
                  <c:v>0.8696866486423614</c:v>
                </c:pt>
                <c:pt idx="3">
                  <c:v>0.8704649850675593</c:v>
                </c:pt>
                <c:pt idx="4">
                  <c:v>0.8701749887291554</c:v>
                </c:pt>
                <c:pt idx="5">
                  <c:v>0.8678245788355832</c:v>
                </c:pt>
                <c:pt idx="6">
                  <c:v>0.8677275549423167</c:v>
                </c:pt>
                <c:pt idx="7">
                  <c:v>0.8681269334944492</c:v>
                </c:pt>
                <c:pt idx="8">
                  <c:v>0.8644285480371338</c:v>
                </c:pt>
                <c:pt idx="9">
                  <c:v>0.8801754097341865</c:v>
                </c:pt>
                <c:pt idx="10">
                  <c:v>0.8783480372495283</c:v>
                </c:pt>
                <c:pt idx="11">
                  <c:v>0.8652536915335359</c:v>
                </c:pt>
                <c:pt idx="12">
                  <c:v>0.8663789633538543</c:v>
                </c:pt>
                <c:pt idx="13">
                  <c:v>0.8749440737818883</c:v>
                </c:pt>
                <c:pt idx="14">
                  <c:v>0.8640434137057001</c:v>
                </c:pt>
                <c:pt idx="15">
                  <c:v>0.8766949835492133</c:v>
                </c:pt>
                <c:pt idx="16">
                  <c:v>0.8610990100822735</c:v>
                </c:pt>
                <c:pt idx="17">
                  <c:v>0.8622101025266002</c:v>
                </c:pt>
                <c:pt idx="18">
                  <c:v>0.8574424872872324</c:v>
                </c:pt>
                <c:pt idx="19">
                  <c:v>0.8569531204925731</c:v>
                </c:pt>
                <c:pt idx="20">
                  <c:v>0.8646327818464352</c:v>
                </c:pt>
                <c:pt idx="21">
                  <c:v>0.8653834187741736</c:v>
                </c:pt>
                <c:pt idx="22">
                  <c:v>0.8672771003757505</c:v>
                </c:pt>
                <c:pt idx="23">
                  <c:v>0.8686200180523259</c:v>
                </c:pt>
                <c:pt idx="24">
                  <c:v>0.8613038977423734</c:v>
                </c:pt>
                <c:pt idx="25">
                  <c:v>0.8557836624079695</c:v>
                </c:pt>
                <c:pt idx="26">
                  <c:v>0.8547678646647152</c:v>
                </c:pt>
                <c:pt idx="27">
                  <c:v>0.852840577293591</c:v>
                </c:pt>
                <c:pt idx="28">
                  <c:v>0.8557839109793474</c:v>
                </c:pt>
                <c:pt idx="29">
                  <c:v>0.8558757905258364</c:v>
                </c:pt>
                <c:pt idx="30">
                  <c:v>0.8553630418104774</c:v>
                </c:pt>
                <c:pt idx="31">
                  <c:v>0.8570731480457469</c:v>
                </c:pt>
                <c:pt idx="32">
                  <c:v>0.8541937134152884</c:v>
                </c:pt>
                <c:pt idx="33">
                  <c:v>0.8574144797774134</c:v>
                </c:pt>
                <c:pt idx="34">
                  <c:v>0.8587811144056762</c:v>
                </c:pt>
                <c:pt idx="35">
                  <c:v>0.8569475222328446</c:v>
                </c:pt>
                <c:pt idx="36">
                  <c:v>0.8503442776160915</c:v>
                </c:pt>
                <c:pt idx="37">
                  <c:v>0.8547866966484543</c:v>
                </c:pt>
                <c:pt idx="38">
                  <c:v>0.8590684467073558</c:v>
                </c:pt>
                <c:pt idx="39">
                  <c:v>0.8586530893386045</c:v>
                </c:pt>
                <c:pt idx="40">
                  <c:v>0.8581069023691918</c:v>
                </c:pt>
                <c:pt idx="41">
                  <c:v>0.8568421441797903</c:v>
                </c:pt>
                <c:pt idx="42">
                  <c:v>0.8568400799566086</c:v>
                </c:pt>
                <c:pt idx="43">
                  <c:v>0.8617181851734546</c:v>
                </c:pt>
                <c:pt idx="44">
                  <c:v>0.8681458033042675</c:v>
                </c:pt>
                <c:pt idx="45">
                  <c:v>0.8728672815344062</c:v>
                </c:pt>
                <c:pt idx="46">
                  <c:v>0.8683181119026852</c:v>
                </c:pt>
                <c:pt idx="47">
                  <c:v>0.8652085217911903</c:v>
                </c:pt>
                <c:pt idx="48">
                  <c:v>0.8780019664505048</c:v>
                </c:pt>
                <c:pt idx="49">
                  <c:v>0.8803015489010214</c:v>
                </c:pt>
                <c:pt idx="50">
                  <c:v>0.8893100944560586</c:v>
                </c:pt>
                <c:pt idx="51">
                  <c:v>0.8846025038007289</c:v>
                </c:pt>
                <c:pt idx="52">
                  <c:v>0.9157918805443734</c:v>
                </c:pt>
                <c:pt idx="53">
                  <c:v>0.9382411889250225</c:v>
                </c:pt>
                <c:pt idx="54">
                  <c:v>0.829407950957448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51.0"/>
          <c:min val="42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491166077738515"/>
          <c:min val="0.6099009900990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1</c:f>
              <c:numCache>
                <c:formatCode>General</c:formatCode>
                <c:ptCount val="80"/>
                <c:pt idx="0">
                  <c:v>0.2974845556317112</c:v>
                </c:pt>
                <c:pt idx="1">
                  <c:v>0.0</c:v>
                </c:pt>
                <c:pt idx="2">
                  <c:v>0.3138999476302697</c:v>
                </c:pt>
                <c:pt idx="3">
                  <c:v>0.2766365929152815</c:v>
                </c:pt>
                <c:pt idx="4">
                  <c:v>0.0</c:v>
                </c:pt>
                <c:pt idx="5">
                  <c:v>0.7832248057713652</c:v>
                </c:pt>
                <c:pt idx="6">
                  <c:v>0.86697769751693</c:v>
                </c:pt>
                <c:pt idx="7">
                  <c:v>0.8676901649358583</c:v>
                </c:pt>
                <c:pt idx="8">
                  <c:v>0.3541931506849315</c:v>
                </c:pt>
                <c:pt idx="9">
                  <c:v>0.3569884093376764</c:v>
                </c:pt>
                <c:pt idx="10">
                  <c:v>0.34613481756338904</c:v>
                </c:pt>
                <c:pt idx="11">
                  <c:v>0.5600781909547738</c:v>
                </c:pt>
                <c:pt idx="12">
                  <c:v>0.5740683691145534</c:v>
                </c:pt>
                <c:pt idx="13">
                  <c:v>0.44906381306865173</c:v>
                </c:pt>
                <c:pt idx="14">
                  <c:v>0.7956043254933766</c:v>
                </c:pt>
                <c:pt idx="15">
                  <c:v>0.6454048337028825</c:v>
                </c:pt>
                <c:pt idx="16">
                  <c:v>0.6015147535889409</c:v>
                </c:pt>
                <c:pt idx="17">
                  <c:v>0.0</c:v>
                </c:pt>
                <c:pt idx="18">
                  <c:v>0.7304629032258064</c:v>
                </c:pt>
                <c:pt idx="19">
                  <c:v>0.8268474304068522</c:v>
                </c:pt>
                <c:pt idx="20">
                  <c:v>1.0525611587982833</c:v>
                </c:pt>
                <c:pt idx="21">
                  <c:v>0.0</c:v>
                </c:pt>
                <c:pt idx="22">
                  <c:v>0.0</c:v>
                </c:pt>
                <c:pt idx="23">
                  <c:v>0.0</c:v>
                </c:pt>
                <c:pt idx="24">
                  <c:v>0.0</c:v>
                </c:pt>
                <c:pt idx="25">
                  <c:v>0.0</c:v>
                </c:pt>
                <c:pt idx="26">
                  <c:v>0.5026818685376662</c:v>
                </c:pt>
                <c:pt idx="27">
                  <c:v>0.0</c:v>
                </c:pt>
                <c:pt idx="28">
                  <c:v>0.0</c:v>
                </c:pt>
                <c:pt idx="29">
                  <c:v>0.0</c:v>
                </c:pt>
                <c:pt idx="30">
                  <c:v>0.0</c:v>
                </c:pt>
                <c:pt idx="31">
                  <c:v>0.0</c:v>
                </c:pt>
                <c:pt idx="32">
                  <c:v>1.5435802521008404</c:v>
                </c:pt>
                <c:pt idx="33">
                  <c:v>0.0</c:v>
                </c:pt>
                <c:pt idx="34">
                  <c:v>0.0</c:v>
                </c:pt>
                <c:pt idx="35">
                  <c:v>0.0</c:v>
                </c:pt>
                <c:pt idx="36">
                  <c:v>0.0</c:v>
                </c:pt>
                <c:pt idx="37">
                  <c:v>0.46216615142782286</c:v>
                </c:pt>
                <c:pt idx="38">
                  <c:v>0.49653447187141214</c:v>
                </c:pt>
                <c:pt idx="39">
                  <c:v>0.7173439380911436</c:v>
                </c:pt>
                <c:pt idx="40">
                  <c:v>0.0</c:v>
                </c:pt>
                <c:pt idx="41">
                  <c:v>0.43507487392465144</c:v>
                </c:pt>
                <c:pt idx="42">
                  <c:v>0.5062126025791325</c:v>
                </c:pt>
                <c:pt idx="43">
                  <c:v>0.8792652555498193</c:v>
                </c:pt>
                <c:pt idx="44">
                  <c:v>0.8338045368620038</c:v>
                </c:pt>
                <c:pt idx="45">
                  <c:v>0.7767178899578424</c:v>
                </c:pt>
                <c:pt idx="46">
                  <c:v>0.7046368306628172</c:v>
                </c:pt>
                <c:pt idx="47">
                  <c:v>0.7850295103092784</c:v>
                </c:pt>
                <c:pt idx="48">
                  <c:v>0.7273456295108259</c:v>
                </c:pt>
                <c:pt idx="49">
                  <c:v>0.7888313994241606</c:v>
                </c:pt>
                <c:pt idx="50">
                  <c:v>0.8781872674374043</c:v>
                </c:pt>
                <c:pt idx="51">
                  <c:v>0.8712841290164551</c:v>
                </c:pt>
                <c:pt idx="52">
                  <c:v>0.6199678243656649</c:v>
                </c:pt>
                <c:pt idx="53">
                  <c:v>0.39766674127126234</c:v>
                </c:pt>
                <c:pt idx="54">
                  <c:v>0.5744590097780536</c:v>
                </c:pt>
                <c:pt idx="55">
                  <c:v>0.4592224287484511</c:v>
                </c:pt>
                <c:pt idx="56">
                  <c:v>0.9992177132628365</c:v>
                </c:pt>
                <c:pt idx="57">
                  <c:v>0.754179804819757</c:v>
                </c:pt>
                <c:pt idx="58">
                  <c:v>0.8798897249903102</c:v>
                </c:pt>
                <c:pt idx="59">
                  <c:v>0.904281452103816</c:v>
                </c:pt>
                <c:pt idx="60">
                  <c:v>0.7722157917200171</c:v>
                </c:pt>
                <c:pt idx="61">
                  <c:v>0.9397490484648566</c:v>
                </c:pt>
                <c:pt idx="62">
                  <c:v>0.5935968790637192</c:v>
                </c:pt>
                <c:pt idx="63">
                  <c:v>0.8185326267664172</c:v>
                </c:pt>
                <c:pt idx="64">
                  <c:v>0.9479599315905204</c:v>
                </c:pt>
                <c:pt idx="65">
                  <c:v>0.665782380106572</c:v>
                </c:pt>
                <c:pt idx="66">
                  <c:v>1.110519195830231</c:v>
                </c:pt>
                <c:pt idx="67">
                  <c:v>0.863980172572058</c:v>
                </c:pt>
                <c:pt idx="68">
                  <c:v>0.9529811610918878</c:v>
                </c:pt>
                <c:pt idx="69">
                  <c:v>1.0830527153044431</c:v>
                </c:pt>
                <c:pt idx="70">
                  <c:v>0.9171696621227389</c:v>
                </c:pt>
                <c:pt idx="71">
                  <c:v>0.8969673355629877</c:v>
                </c:pt>
                <c:pt idx="72">
                  <c:v>0.9010429533832258</c:v>
                </c:pt>
                <c:pt idx="73">
                  <c:v>0.8550322582923049</c:v>
                </c:pt>
                <c:pt idx="74">
                  <c:v>0.7950301230992035</c:v>
                </c:pt>
                <c:pt idx="75">
                  <c:v>0.6870650232471058</c:v>
                </c:pt>
                <c:pt idx="76">
                  <c:v>0.8898876094319125</c:v>
                </c:pt>
                <c:pt idx="77">
                  <c:v>0.9467715983092142</c:v>
                </c:pt>
                <c:pt idx="78">
                  <c:v>0.7283020555478097</c:v>
                </c:pt>
                <c:pt idx="79">
                  <c:v>0.9016276820616766</c:v>
                </c:pt>
              </c:numCache>
            </c:numRef>
          </c:xVal>
          <c:yVal>
            <c:numRef>
              <c:f>Sheet1!$B$2:$B$81</c:f>
              <c:numCache>
                <c:formatCode>General</c:formatCode>
                <c:ptCount val="80"/>
                <c:pt idx="0">
                  <c:v>0.978021978021978</c:v>
                </c:pt>
                <c:pt idx="1">
                  <c:v>0.9826839826839827</c:v>
                </c:pt>
                <c:pt idx="2">
                  <c:v>0.963265306122449</c:v>
                </c:pt>
                <c:pt idx="3">
                  <c:v>0.9808306709265175</c:v>
                </c:pt>
                <c:pt idx="4">
                  <c:v>0.9812206572769953</c:v>
                </c:pt>
                <c:pt idx="5">
                  <c:v>0.9875776397515528</c:v>
                </c:pt>
                <c:pt idx="6">
                  <c:v>0.9493670886075949</c:v>
                </c:pt>
                <c:pt idx="7">
                  <c:v>0.9695121951219512</c:v>
                </c:pt>
                <c:pt idx="8">
                  <c:v>0.9454545454545454</c:v>
                </c:pt>
                <c:pt idx="9">
                  <c:v>0.9435483870967742</c:v>
                </c:pt>
                <c:pt idx="10">
                  <c:v>0.9451219512195121</c:v>
                </c:pt>
                <c:pt idx="11">
                  <c:v>0.967741935483871</c:v>
                </c:pt>
                <c:pt idx="12">
                  <c:v>0.9469026548672567</c:v>
                </c:pt>
                <c:pt idx="13">
                  <c:v>0.9553072625698324</c:v>
                </c:pt>
                <c:pt idx="14">
                  <c:v>0.94375</c:v>
                </c:pt>
                <c:pt idx="15">
                  <c:v>0.928</c:v>
                </c:pt>
                <c:pt idx="16">
                  <c:v>0.9428571428571428</c:v>
                </c:pt>
                <c:pt idx="17">
                  <c:v>0.9680851063829787</c:v>
                </c:pt>
                <c:pt idx="18">
                  <c:v>0.9436619718309859</c:v>
                </c:pt>
                <c:pt idx="19">
                  <c:v>0.9423076923076923</c:v>
                </c:pt>
                <c:pt idx="20">
                  <c:v>0.9506172839506173</c:v>
                </c:pt>
                <c:pt idx="21">
                  <c:v>0.9433962264150944</c:v>
                </c:pt>
                <c:pt idx="22">
                  <c:v>0.9491525423728814</c:v>
                </c:pt>
                <c:pt idx="23">
                  <c:v>0.8936170212765957</c:v>
                </c:pt>
                <c:pt idx="24">
                  <c:v>0.9302325581395349</c:v>
                </c:pt>
                <c:pt idx="25">
                  <c:v>0.9538461538461539</c:v>
                </c:pt>
                <c:pt idx="26">
                  <c:v>0.9523809523809523</c:v>
                </c:pt>
                <c:pt idx="27">
                  <c:v>0.9387755102040817</c:v>
                </c:pt>
                <c:pt idx="28">
                  <c:v>0.8214285714285714</c:v>
                </c:pt>
                <c:pt idx="29">
                  <c:v>0.9333333333333333</c:v>
                </c:pt>
                <c:pt idx="30">
                  <c:v>0.9534883720930233</c:v>
                </c:pt>
                <c:pt idx="31">
                  <c:v>0.8947368421052632</c:v>
                </c:pt>
                <c:pt idx="32">
                  <c:v>0.8775510204081632</c:v>
                </c:pt>
                <c:pt idx="33">
                  <c:v>0.9540229885057471</c:v>
                </c:pt>
                <c:pt idx="34">
                  <c:v>0.9418604651162791</c:v>
                </c:pt>
                <c:pt idx="35">
                  <c:v>0.9375</c:v>
                </c:pt>
                <c:pt idx="36">
                  <c:v>0.9652173913043478</c:v>
                </c:pt>
                <c:pt idx="37">
                  <c:v>0.9659090909090909</c:v>
                </c:pt>
                <c:pt idx="38">
                  <c:v>0.9565217391304348</c:v>
                </c:pt>
                <c:pt idx="39">
                  <c:v>0.9703703703703703</c:v>
                </c:pt>
                <c:pt idx="40">
                  <c:v>0.96</c:v>
                </c:pt>
                <c:pt idx="41">
                  <c:v>0.9776119402985075</c:v>
                </c:pt>
                <c:pt idx="42">
                  <c:v>0.9743589743589743</c:v>
                </c:pt>
                <c:pt idx="43">
                  <c:v>0.9693877551020408</c:v>
                </c:pt>
                <c:pt idx="44">
                  <c:v>0.9333333333333333</c:v>
                </c:pt>
                <c:pt idx="45">
                  <c:v>0.9338235294117647</c:v>
                </c:pt>
                <c:pt idx="46">
                  <c:v>0.9193548387096774</c:v>
                </c:pt>
                <c:pt idx="47">
                  <c:v>0.904</c:v>
                </c:pt>
                <c:pt idx="48">
                  <c:v>0.936</c:v>
                </c:pt>
                <c:pt idx="49">
                  <c:v>0.9363636363636364</c:v>
                </c:pt>
                <c:pt idx="50">
                  <c:v>0.912621359223301</c:v>
                </c:pt>
                <c:pt idx="51">
                  <c:v>0.90625</c:v>
                </c:pt>
                <c:pt idx="52">
                  <c:v>0.9207920792079208</c:v>
                </c:pt>
                <c:pt idx="53">
                  <c:v>0.9523809523809523</c:v>
                </c:pt>
                <c:pt idx="54">
                  <c:v>0.9342105263157895</c:v>
                </c:pt>
                <c:pt idx="55">
                  <c:v>0.898876404494382</c:v>
                </c:pt>
                <c:pt idx="56">
                  <c:v>0.90625</c:v>
                </c:pt>
                <c:pt idx="57">
                  <c:v>0.926829268292683</c:v>
                </c:pt>
                <c:pt idx="58">
                  <c:v>0.88</c:v>
                </c:pt>
                <c:pt idx="59">
                  <c:v>0.8857142857142857</c:v>
                </c:pt>
                <c:pt idx="60">
                  <c:v>0.8873239436619719</c:v>
                </c:pt>
                <c:pt idx="61">
                  <c:v>0.8990825688073395</c:v>
                </c:pt>
                <c:pt idx="62">
                  <c:v>0.9398496240601504</c:v>
                </c:pt>
                <c:pt idx="63">
                  <c:v>0.8878504672897196</c:v>
                </c:pt>
                <c:pt idx="64">
                  <c:v>0.868421052631579</c:v>
                </c:pt>
                <c:pt idx="65">
                  <c:v>0.9117647058823529</c:v>
                </c:pt>
                <c:pt idx="66">
                  <c:v>0.8979591836734694</c:v>
                </c:pt>
                <c:pt idx="67">
                  <c:v>0.8771929824561403</c:v>
                </c:pt>
                <c:pt idx="68">
                  <c:v>0.9145299145299145</c:v>
                </c:pt>
                <c:pt idx="69">
                  <c:v>0.8977272727272727</c:v>
                </c:pt>
                <c:pt idx="70">
                  <c:v>0.94</c:v>
                </c:pt>
                <c:pt idx="71">
                  <c:v>0.9241071428571429</c:v>
                </c:pt>
                <c:pt idx="72">
                  <c:v>0.9375</c:v>
                </c:pt>
                <c:pt idx="73">
                  <c:v>0.9308176100628931</c:v>
                </c:pt>
                <c:pt idx="74">
                  <c:v>0.9421965317919075</c:v>
                </c:pt>
                <c:pt idx="75">
                  <c:v>0.9565846599131693</c:v>
                </c:pt>
                <c:pt idx="76">
                  <c:v>0.9363636363636364</c:v>
                </c:pt>
                <c:pt idx="77">
                  <c:v>0.933579335793358</c:v>
                </c:pt>
                <c:pt idx="78">
                  <c:v>0.9458483754512635</c:v>
                </c:pt>
                <c:pt idx="79">
                  <c:v>0.9575971731448764</c:v>
                </c:pt>
              </c:numCache>
            </c:numRef>
          </c:yVal>
          <c:smooth val="0"/>
          <c:extLst>
            <c:ext xmlns:c16="http://schemas.microsoft.com/office/drawing/2014/chart" uri="{C3380CC4-5D6E-409C-BE32-E72D297353CC}">
              <c16:uniqueId val="{00000000-096C-4121-9522-6AB7243CCAAE}"/>
            </c:ext>
          </c:extLst>
        </c:ser>
        <c:ser>
          <c:idx val="1"/>
          <c:order val="1"/>
          <c:tx>
            <c:strRef>
              <c:f>Sheet1!$B$8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4:$A$135</c:f>
              <c:numCache>
                <c:formatCode>General</c:formatCode>
                <c:ptCount val="52"/>
                <c:pt idx="0">
                  <c:v>0.8967484953085532</c:v>
                </c:pt>
                <c:pt idx="1">
                  <c:v>0.8846724035900976</c:v>
                </c:pt>
                <c:pt idx="2">
                  <c:v>0.9090770030852708</c:v>
                </c:pt>
                <c:pt idx="3">
                  <c:v>0.9248519699520974</c:v>
                </c:pt>
                <c:pt idx="4">
                  <c:v>0.8670960624575698</c:v>
                </c:pt>
                <c:pt idx="5">
                  <c:v>0.9196811401260494</c:v>
                </c:pt>
                <c:pt idx="6">
                  <c:v>0.7099977744523002</c:v>
                </c:pt>
                <c:pt idx="7">
                  <c:v>0.9357039713041251</c:v>
                </c:pt>
                <c:pt idx="8">
                  <c:v>0.7429285098039216</c:v>
                </c:pt>
                <c:pt idx="9">
                  <c:v>0.7770529326223945</c:v>
                </c:pt>
                <c:pt idx="10">
                  <c:v>0.6857178584893804</c:v>
                </c:pt>
                <c:pt idx="11">
                  <c:v>0.9759848346155094</c:v>
                </c:pt>
                <c:pt idx="12">
                  <c:v>0.8238689696487517</c:v>
                </c:pt>
                <c:pt idx="13">
                  <c:v>0.7644773628586876</c:v>
                </c:pt>
                <c:pt idx="14">
                  <c:v>0.9987368172268908</c:v>
                </c:pt>
                <c:pt idx="15">
                  <c:v>0.9798881384137427</c:v>
                </c:pt>
                <c:pt idx="16">
                  <c:v>0.8380819622964867</c:v>
                </c:pt>
                <c:pt idx="17">
                  <c:v>0.7445746105020197</c:v>
                </c:pt>
                <c:pt idx="18">
                  <c:v>0.7532334605006048</c:v>
                </c:pt>
                <c:pt idx="19">
                  <c:v>0.8276897801302932</c:v>
                </c:pt>
                <c:pt idx="20">
                  <c:v>0.8014220444871487</c:v>
                </c:pt>
                <c:pt idx="21">
                  <c:v>0.6781152875091498</c:v>
                </c:pt>
                <c:pt idx="22">
                  <c:v>0.7706724830529751</c:v>
                </c:pt>
                <c:pt idx="23">
                  <c:v>0.7925991390518997</c:v>
                </c:pt>
                <c:pt idx="24">
                  <c:v>0.7638073943661972</c:v>
                </c:pt>
                <c:pt idx="25">
                  <c:v>0.9634552083943959</c:v>
                </c:pt>
                <c:pt idx="26">
                  <c:v>0.804155099823452</c:v>
                </c:pt>
                <c:pt idx="27">
                  <c:v>0.9176274600428104</c:v>
                </c:pt>
                <c:pt idx="28">
                  <c:v>1.1157734538724222</c:v>
                </c:pt>
                <c:pt idx="29">
                  <c:v>1.075720110048474</c:v>
                </c:pt>
                <c:pt idx="30">
                  <c:v>0.9511511902651804</c:v>
                </c:pt>
                <c:pt idx="31">
                  <c:v>0.7996527671259225</c:v>
                </c:pt>
                <c:pt idx="32">
                  <c:v>0.9589834330418776</c:v>
                </c:pt>
                <c:pt idx="33">
                  <c:v>0.9573594965561854</c:v>
                </c:pt>
                <c:pt idx="34">
                  <c:v>0.71112689434365</c:v>
                </c:pt>
                <c:pt idx="35">
                  <c:v>0.85875131168156</c:v>
                </c:pt>
                <c:pt idx="36">
                  <c:v>0.8896213415892673</c:v>
                </c:pt>
                <c:pt idx="37">
                  <c:v>0.9426974396289053</c:v>
                </c:pt>
                <c:pt idx="38">
                  <c:v>1.008354226697524</c:v>
                </c:pt>
                <c:pt idx="39">
                  <c:v>0.9425361252307424</c:v>
                </c:pt>
                <c:pt idx="40">
                  <c:v>0.9403714352501169</c:v>
                </c:pt>
                <c:pt idx="41">
                  <c:v>0.9595755092478565</c:v>
                </c:pt>
                <c:pt idx="42">
                  <c:v>0.9116555244233108</c:v>
                </c:pt>
                <c:pt idx="43">
                  <c:v>0.8879566210045662</c:v>
                </c:pt>
                <c:pt idx="44">
                  <c:v>0.902528872437262</c:v>
                </c:pt>
                <c:pt idx="45">
                  <c:v>0.8712700545185782</c:v>
                </c:pt>
                <c:pt idx="46">
                  <c:v>0.8631833999089968</c:v>
                </c:pt>
                <c:pt idx="47">
                  <c:v>0.8870873212816502</c:v>
                </c:pt>
                <c:pt idx="48">
                  <c:v>1.054681351119032</c:v>
                </c:pt>
                <c:pt idx="49">
                  <c:v>1.0017619886571862</c:v>
                </c:pt>
                <c:pt idx="50">
                  <c:v>0.8919045513555586</c:v>
                </c:pt>
                <c:pt idx="51">
                  <c:v>0.9448251295216101</c:v>
                </c:pt>
              </c:numCache>
            </c:numRef>
          </c:xVal>
          <c:yVal>
            <c:numRef>
              <c:f>Sheet1!$B$84:$B$135</c:f>
              <c:numCache>
                <c:formatCode>General</c:formatCode>
                <c:ptCount val="52"/>
                <c:pt idx="0">
                  <c:v>0.9375</c:v>
                </c:pt>
                <c:pt idx="1">
                  <c:v>0.9177489177489178</c:v>
                </c:pt>
                <c:pt idx="2">
                  <c:v>0.9111111111111111</c:v>
                </c:pt>
                <c:pt idx="3">
                  <c:v>0.9166666666666666</c:v>
                </c:pt>
                <c:pt idx="4">
                  <c:v>0.9166666666666666</c:v>
                </c:pt>
                <c:pt idx="5">
                  <c:v>0.8987854251012146</c:v>
                </c:pt>
                <c:pt idx="6">
                  <c:v>0.9257425742574258</c:v>
                </c:pt>
                <c:pt idx="7">
                  <c:v>0.9193548387096774</c:v>
                </c:pt>
                <c:pt idx="8">
                  <c:v>0.8985507246376812</c:v>
                </c:pt>
                <c:pt idx="9">
                  <c:v>0.8736842105263158</c:v>
                </c:pt>
                <c:pt idx="10">
                  <c:v>0.9132653061224489</c:v>
                </c:pt>
                <c:pt idx="11">
                  <c:v>0.883495145631068</c:v>
                </c:pt>
                <c:pt idx="12">
                  <c:v>0.9074889867841409</c:v>
                </c:pt>
                <c:pt idx="13">
                  <c:v>0.9065040650406504</c:v>
                </c:pt>
                <c:pt idx="14">
                  <c:v>0.9069767441860465</c:v>
                </c:pt>
                <c:pt idx="15">
                  <c:v>0.8952380952380953</c:v>
                </c:pt>
                <c:pt idx="16">
                  <c:v>0.9069767441860465</c:v>
                </c:pt>
                <c:pt idx="17">
                  <c:v>0.9078947368421053</c:v>
                </c:pt>
                <c:pt idx="18">
                  <c:v>0.8444444444444444</c:v>
                </c:pt>
                <c:pt idx="19">
                  <c:v>0.8672566371681416</c:v>
                </c:pt>
                <c:pt idx="20">
                  <c:v>0.808695652173913</c:v>
                </c:pt>
                <c:pt idx="21">
                  <c:v>0.8518518518518519</c:v>
                </c:pt>
                <c:pt idx="22">
                  <c:v>0.8526315789473684</c:v>
                </c:pt>
                <c:pt idx="23">
                  <c:v>0.8765432098765432</c:v>
                </c:pt>
                <c:pt idx="24">
                  <c:v>0.8674698795180723</c:v>
                </c:pt>
                <c:pt idx="25">
                  <c:v>0.8375</c:v>
                </c:pt>
                <c:pt idx="26">
                  <c:v>0.8472222222222222</c:v>
                </c:pt>
                <c:pt idx="27">
                  <c:v>0.7906976744186046</c:v>
                </c:pt>
                <c:pt idx="28">
                  <c:v>0.8148148148148148</c:v>
                </c:pt>
                <c:pt idx="29">
                  <c:v>0.8536585365853658</c:v>
                </c:pt>
                <c:pt idx="30">
                  <c:v>0.8817204301075269</c:v>
                </c:pt>
                <c:pt idx="31">
                  <c:v>0.8833333333333333</c:v>
                </c:pt>
                <c:pt idx="32">
                  <c:v>0.8157894736842105</c:v>
                </c:pt>
                <c:pt idx="33">
                  <c:v>0.8282828282828283</c:v>
                </c:pt>
                <c:pt idx="34">
                  <c:v>0.9226804123711341</c:v>
                </c:pt>
                <c:pt idx="35">
                  <c:v>0.8959537572254336</c:v>
                </c:pt>
                <c:pt idx="36">
                  <c:v>0.8666666666666667</c:v>
                </c:pt>
                <c:pt idx="37">
                  <c:v>0.7959183673469388</c:v>
                </c:pt>
                <c:pt idx="38">
                  <c:v>0.8412698412698413</c:v>
                </c:pt>
                <c:pt idx="39">
                  <c:v>0.8305084745762712</c:v>
                </c:pt>
                <c:pt idx="40">
                  <c:v>0.8148148148148148</c:v>
                </c:pt>
                <c:pt idx="41">
                  <c:v>0.816793893129771</c:v>
                </c:pt>
                <c:pt idx="42">
                  <c:v>0.7967479674796748</c:v>
                </c:pt>
                <c:pt idx="43">
                  <c:v>0.8260869565217391</c:v>
                </c:pt>
                <c:pt idx="44">
                  <c:v>0.8847926267281107</c:v>
                </c:pt>
                <c:pt idx="45">
                  <c:v>0.8741935483870967</c:v>
                </c:pt>
                <c:pt idx="46">
                  <c:v>0.8514851485148515</c:v>
                </c:pt>
                <c:pt idx="47">
                  <c:v>0.8768472906403941</c:v>
                </c:pt>
                <c:pt idx="48">
                  <c:v>0.7623762376237624</c:v>
                </c:pt>
                <c:pt idx="49">
                  <c:v>0.7648725212464589</c:v>
                </c:pt>
                <c:pt idx="50">
                  <c:v>0.8571428571428571</c:v>
                </c:pt>
                <c:pt idx="51">
                  <c:v>0.8256410256410256</c:v>
                </c:pt>
              </c:numCache>
            </c:numRef>
          </c:yVal>
          <c:smooth val="0"/>
          <c:extLst>
            <c:ext xmlns:c16="http://schemas.microsoft.com/office/drawing/2014/chart" uri="{C3380CC4-5D6E-409C-BE32-E72D297353CC}">
              <c16:uniqueId val="{00000002-096C-4121-9522-6AB7243CCAAE}"/>
            </c:ext>
          </c:extLst>
        </c:ser>
        <c:ser>
          <c:idx val="2"/>
          <c:order val="2"/>
          <c:tx>
            <c:strRef>
              <c:f>Sheet1!$B$13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8:$A$139</c:f>
              <c:numCache>
                <c:formatCode>General</c:formatCode>
                <c:ptCount val="2"/>
                <c:pt idx="0">
                  <c:v>0</c:v>
                </c:pt>
                <c:pt idx="1">
                  <c:v>0.31729843763410376</c:v>
                </c:pt>
              </c:numCache>
            </c:numRef>
          </c:xVal>
          <c:yVal>
            <c:numRef>
              <c:f>Sheet1!$B$138:$B$139</c:f>
              <c:numCache>
                <c:formatCode>General</c:formatCode>
                <c:ptCount val="2"/>
                <c:pt idx="0">
                  <c:v>0.9708815626630629</c:v>
                </c:pt>
                <c:pt idx="1">
                  <c:v>0.9708815626630629</c:v>
                </c:pt>
              </c:numCache>
            </c:numRef>
          </c:yVal>
          <c:smooth val="0"/>
          <c:extLst>
            <c:ext xmlns:c16="http://schemas.microsoft.com/office/drawing/2014/chart" uri="{C3380CC4-5D6E-409C-BE32-E72D297353CC}">
              <c16:uniqueId val="{00000005-096C-4121-9522-6AB7243CCAAE}"/>
            </c:ext>
          </c:extLst>
        </c:ser>
        <c:ser>
          <c:idx val="3"/>
          <c:order val="3"/>
          <c:tx>
            <c:strRef>
              <c:f>Sheet1!$B$14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0.31729843763410376</c:v>
                </c:pt>
                <c:pt idx="1">
                  <c:v>0.31729843763410376</c:v>
                </c:pt>
              </c:numCache>
            </c:numRef>
          </c:xVal>
          <c:yVal>
            <c:numRef>
              <c:f>Sheet1!$B$142:$B$143</c:f>
              <c:numCache>
                <c:formatCode>General</c:formatCode>
                <c:ptCount val="2"/>
                <c:pt idx="0">
                  <c:v>0.970881562663062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6:$A$147</c:f>
              <c:numCache>
                <c:formatCode>General</c:formatCode>
                <c:ptCount val="2"/>
                <c:pt idx="0">
                  <c:v>0</c:v>
                </c:pt>
                <c:pt idx="1">
                  <c:v>0.6097617430438305</c:v>
                </c:pt>
              </c:numCache>
            </c:numRef>
          </c:xVal>
          <c:yVal>
            <c:numRef>
              <c:f>Sheet1!$B$146:$B$147</c:f>
              <c:numCache>
                <c:formatCode>General</c:formatCode>
                <c:ptCount val="2"/>
                <c:pt idx="0">
                  <c:v>0.9157918805443734</c:v>
                </c:pt>
                <c:pt idx="1">
                  <c:v>0.9157918805443734</c:v>
                </c:pt>
              </c:numCache>
            </c:numRef>
          </c:yVal>
          <c:smooth val="0"/>
          <c:extLst>
            <c:ext xmlns:c16="http://schemas.microsoft.com/office/drawing/2014/chart" uri="{C3380CC4-5D6E-409C-BE32-E72D297353CC}">
              <c16:uniqueId val="{0000000D-096C-4121-9522-6AB7243CCAAE}"/>
            </c:ext>
          </c:extLst>
        </c:ser>
        <c:ser>
          <c:idx val="5"/>
          <c:order val="5"/>
          <c:tx>
            <c:strRef>
              <c:f>Sheet1!$B$14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0:$A$151</c:f>
              <c:numCache>
                <c:formatCode>General</c:formatCode>
                <c:ptCount val="2"/>
                <c:pt idx="0">
                  <c:v>0.6097617430438305</c:v>
                </c:pt>
                <c:pt idx="1">
                  <c:v>0.6097617430438305</c:v>
                </c:pt>
              </c:numCache>
            </c:numRef>
          </c:xVal>
          <c:yVal>
            <c:numRef>
              <c:f>Sheet1!$B$150:$B$151</c:f>
              <c:numCache>
                <c:formatCode>General</c:formatCode>
                <c:ptCount val="2"/>
                <c:pt idx="0">
                  <c:v>0.91579188054437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4:$A$155</c:f>
              <c:numCache>
                <c:formatCode>General</c:formatCode>
                <c:ptCount val="2"/>
                <c:pt idx="0">
                  <c:v>0</c:v>
                </c:pt>
                <c:pt idx="1">
                  <c:v>1.0683617677606585</c:v>
                </c:pt>
              </c:numCache>
            </c:numRef>
          </c:xVal>
          <c:yVal>
            <c:numRef>
              <c:f>Sheet1!$B$154:$B$155</c:f>
              <c:numCache>
                <c:formatCode>General</c:formatCode>
                <c:ptCount val="2"/>
                <c:pt idx="0">
                  <c:v>0.8294079509574483</c:v>
                </c:pt>
                <c:pt idx="1">
                  <c:v>0.8294079509574483</c:v>
                </c:pt>
              </c:numCache>
            </c:numRef>
          </c:yVal>
          <c:smooth val="0"/>
          <c:extLst>
            <c:ext xmlns:c16="http://schemas.microsoft.com/office/drawing/2014/chart" uri="{C3380CC4-5D6E-409C-BE32-E72D297353CC}">
              <c16:uniqueId val="{00000015-096C-4121-9522-6AB7243CCAAE}"/>
            </c:ext>
          </c:extLst>
        </c:ser>
        <c:ser>
          <c:idx val="7"/>
          <c:order val="7"/>
          <c:tx>
            <c:strRef>
              <c:f>Sheet1!$B$15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8:$A$159</c:f>
              <c:numCache>
                <c:formatCode>General</c:formatCode>
                <c:ptCount val="2"/>
                <c:pt idx="0">
                  <c:v>1.0683617677606585</c:v>
                </c:pt>
                <c:pt idx="1">
                  <c:v>1.0683617677606585</c:v>
                </c:pt>
              </c:numCache>
            </c:numRef>
          </c:xVal>
          <c:yVal>
            <c:numRef>
              <c:f>Sheet1!$B$158:$B$159</c:f>
              <c:numCache>
                <c:formatCode>General</c:formatCode>
                <c:ptCount val="2"/>
                <c:pt idx="0">
                  <c:v>0.829407950957448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6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2:$A$216</c:f>
              <c:numCache>
                <c:formatCode>General</c:formatCode>
                <c:ptCount val="55"/>
                <c:pt idx="0">
                  <c:v>0.8967484953085532</c:v>
                </c:pt>
                <c:pt idx="1">
                  <c:v>0.8846724035900976</c:v>
                </c:pt>
                <c:pt idx="2">
                  <c:v>0.9090770030852708</c:v>
                </c:pt>
                <c:pt idx="3">
                  <c:v>0.9248519699520974</c:v>
                </c:pt>
                <c:pt idx="4">
                  <c:v>0.8670960624575698</c:v>
                </c:pt>
                <c:pt idx="5">
                  <c:v>0.9196811401260494</c:v>
                </c:pt>
                <c:pt idx="6">
                  <c:v>0.7099977744523002</c:v>
                </c:pt>
                <c:pt idx="7">
                  <c:v>0.9357039713041251</c:v>
                </c:pt>
                <c:pt idx="8">
                  <c:v>0.7429285098039216</c:v>
                </c:pt>
                <c:pt idx="9">
                  <c:v>0.7770529326223945</c:v>
                </c:pt>
                <c:pt idx="10">
                  <c:v>0.6857178584893804</c:v>
                </c:pt>
                <c:pt idx="11">
                  <c:v>0.9759848346155094</c:v>
                </c:pt>
                <c:pt idx="12">
                  <c:v>0.8238689696487517</c:v>
                </c:pt>
                <c:pt idx="13">
                  <c:v>0.7644773628586876</c:v>
                </c:pt>
                <c:pt idx="14">
                  <c:v>0.9987368172268908</c:v>
                </c:pt>
                <c:pt idx="15">
                  <c:v>0.9798881384137427</c:v>
                </c:pt>
                <c:pt idx="16">
                  <c:v>0.8380819622964867</c:v>
                </c:pt>
                <c:pt idx="17">
                  <c:v>0.7445746105020197</c:v>
                </c:pt>
                <c:pt idx="18">
                  <c:v>0.7532334605006048</c:v>
                </c:pt>
                <c:pt idx="19">
                  <c:v>0.8276897801302932</c:v>
                </c:pt>
                <c:pt idx="20">
                  <c:v>0.8014220444871487</c:v>
                </c:pt>
                <c:pt idx="21">
                  <c:v>0.6781152875091498</c:v>
                </c:pt>
                <c:pt idx="22">
                  <c:v>0.7706724830529751</c:v>
                </c:pt>
                <c:pt idx="23">
                  <c:v>0.7925991390518997</c:v>
                </c:pt>
                <c:pt idx="24">
                  <c:v>0.7638073943661972</c:v>
                </c:pt>
                <c:pt idx="25">
                  <c:v>0.9634552083943959</c:v>
                </c:pt>
                <c:pt idx="26">
                  <c:v>0.804155099823452</c:v>
                </c:pt>
                <c:pt idx="27">
                  <c:v>0.9176274600428104</c:v>
                </c:pt>
                <c:pt idx="28">
                  <c:v>1.1157734538724222</c:v>
                </c:pt>
                <c:pt idx="29">
                  <c:v>1.075720110048474</c:v>
                </c:pt>
                <c:pt idx="30">
                  <c:v>0.9511511902651804</c:v>
                </c:pt>
                <c:pt idx="31">
                  <c:v>0.7996527671259225</c:v>
                </c:pt>
                <c:pt idx="32">
                  <c:v>0.9589834330418776</c:v>
                </c:pt>
                <c:pt idx="33">
                  <c:v>0.9573594965561854</c:v>
                </c:pt>
                <c:pt idx="34">
                  <c:v>0.71112689434365</c:v>
                </c:pt>
                <c:pt idx="35">
                  <c:v>0.85875131168156</c:v>
                </c:pt>
                <c:pt idx="36">
                  <c:v>0.8896213415892673</c:v>
                </c:pt>
                <c:pt idx="37">
                  <c:v>0.9426974396289053</c:v>
                </c:pt>
                <c:pt idx="38">
                  <c:v>1.008354226697524</c:v>
                </c:pt>
                <c:pt idx="39">
                  <c:v>0.9425361252307424</c:v>
                </c:pt>
                <c:pt idx="40">
                  <c:v>0.9403714352501169</c:v>
                </c:pt>
                <c:pt idx="41">
                  <c:v>0.9595755092478565</c:v>
                </c:pt>
                <c:pt idx="42">
                  <c:v>0.9116555244233108</c:v>
                </c:pt>
                <c:pt idx="43">
                  <c:v>0.8879566210045662</c:v>
                </c:pt>
                <c:pt idx="44">
                  <c:v>0.902528872437262</c:v>
                </c:pt>
                <c:pt idx="45">
                  <c:v>0.8712700545185782</c:v>
                </c:pt>
                <c:pt idx="46">
                  <c:v>0.8631833999089968</c:v>
                </c:pt>
                <c:pt idx="47">
                  <c:v>0.8870873212816502</c:v>
                </c:pt>
                <c:pt idx="48">
                  <c:v>1.054681351119032</c:v>
                </c:pt>
                <c:pt idx="49">
                  <c:v>1.0017619886571862</c:v>
                </c:pt>
                <c:pt idx="50">
                  <c:v>0.8919045513555586</c:v>
                </c:pt>
                <c:pt idx="51">
                  <c:v>0.9448251295216101</c:v>
                </c:pt>
                <c:pt idx="52">
                  <c:v>0.6097617430438305</c:v>
                </c:pt>
                <c:pt idx="53">
                  <c:v>0.31729843763410376</c:v>
                </c:pt>
                <c:pt idx="54">
                  <c:v>1.0683617677606585</c:v>
                </c:pt>
              </c:numCache>
            </c:numRef>
          </c:xVal>
          <c:yVal>
            <c:numRef>
              <c:f>Sheet1!$B$162:$B$216</c:f>
              <c:numCache>
                <c:formatCode>General</c:formatCode>
                <c:ptCount val="55"/>
                <c:pt idx="0">
                  <c:v>0.8617337862053601</c:v>
                </c:pt>
                <c:pt idx="1">
                  <c:v>0.86400849226831</c:v>
                </c:pt>
                <c:pt idx="2">
                  <c:v>0.8594115339369408</c:v>
                </c:pt>
                <c:pt idx="3">
                  <c:v>0.8564400913865365</c:v>
                </c:pt>
                <c:pt idx="4">
                  <c:v>0.8673192496450144</c:v>
                </c:pt>
                <c:pt idx="5">
                  <c:v>0.8574140917692776</c:v>
                </c:pt>
                <c:pt idx="6">
                  <c:v>0.8969109782055464</c:v>
                </c:pt>
                <c:pt idx="7">
                  <c:v>0.8543959604006091</c:v>
                </c:pt>
                <c:pt idx="8">
                  <c:v>0.890707999203056</c:v>
                </c:pt>
                <c:pt idx="9">
                  <c:v>0.8842801719482153</c:v>
                </c:pt>
                <c:pt idx="10">
                  <c:v>0.9014844505951575</c:v>
                </c:pt>
                <c:pt idx="11">
                  <c:v>0.846808478777293</c:v>
                </c:pt>
                <c:pt idx="12">
                  <c:v>0.8754616960911308</c:v>
                </c:pt>
                <c:pt idx="13">
                  <c:v>0.8866489619055519</c:v>
                </c:pt>
                <c:pt idx="14">
                  <c:v>0.8425228146736374</c:v>
                </c:pt>
                <c:pt idx="15">
                  <c:v>0.8460732352049205</c:v>
                </c:pt>
                <c:pt idx="16">
                  <c:v>0.8727844739150972</c:v>
                </c:pt>
                <c:pt idx="17">
                  <c:v>0.8903979323929085</c:v>
                </c:pt>
                <c:pt idx="18">
                  <c:v>0.8887669130988223</c:v>
                </c:pt>
                <c:pt idx="19">
                  <c:v>0.874741991324856</c:v>
                </c:pt>
                <c:pt idx="20">
                  <c:v>0.8796898982239156</c:v>
                </c:pt>
                <c:pt idx="21">
                  <c:v>0.9029165045001727</c:v>
                </c:pt>
                <c:pt idx="22">
                  <c:v>0.8854820216573992</c:v>
                </c:pt>
                <c:pt idx="23">
                  <c:v>0.8813518197258634</c:v>
                </c:pt>
                <c:pt idx="24">
                  <c:v>0.8867751601348618</c:v>
                </c:pt>
                <c:pt idx="25">
                  <c:v>0.849168614605684</c:v>
                </c:pt>
                <c:pt idx="26">
                  <c:v>0.8791750878292276</c:v>
                </c:pt>
                <c:pt idx="27">
                  <c:v>0.8578009320356168</c:v>
                </c:pt>
                <c:pt idx="28">
                  <c:v>0.8204772760033751</c:v>
                </c:pt>
                <c:pt idx="29">
                  <c:v>0.8280219010494493</c:v>
                </c:pt>
                <c:pt idx="30">
                  <c:v>0.8514862538957532</c:v>
                </c:pt>
                <c:pt idx="31">
                  <c:v>0.8800231671352863</c:v>
                </c:pt>
                <c:pt idx="32">
                  <c:v>0.8500109379950449</c:v>
                </c:pt>
                <c:pt idx="33">
                  <c:v>0.850316829856085</c:v>
                </c:pt>
                <c:pt idx="34">
                  <c:v>0.8966982921873767</c:v>
                </c:pt>
                <c:pt idx="35">
                  <c:v>0.8688911038199032</c:v>
                </c:pt>
                <c:pt idx="36">
                  <c:v>0.8630762884117701</c:v>
                </c:pt>
                <c:pt idx="37">
                  <c:v>0.8530786397665571</c:v>
                </c:pt>
                <c:pt idx="38">
                  <c:v>0.840711236876552</c:v>
                </c:pt>
                <c:pt idx="39">
                  <c:v>0.8531090256602798</c:v>
                </c:pt>
                <c:pt idx="40">
                  <c:v>0.8535167762420189</c:v>
                </c:pt>
                <c:pt idx="41">
                  <c:v>0.8498994119014323</c:v>
                </c:pt>
                <c:pt idx="42">
                  <c:v>0.8589258322498526</c:v>
                </c:pt>
                <c:pt idx="43">
                  <c:v>0.8633898625461359</c:v>
                </c:pt>
                <c:pt idx="44">
                  <c:v>0.8606449687959399</c:v>
                </c:pt>
                <c:pt idx="45">
                  <c:v>0.8665330180338906</c:v>
                </c:pt>
                <c:pt idx="46">
                  <c:v>0.8680562560730058</c:v>
                </c:pt>
                <c:pt idx="47">
                  <c:v>0.8635536076878869</c:v>
                </c:pt>
                <c:pt idx="48">
                  <c:v>0.8319848547607567</c:v>
                </c:pt>
                <c:pt idx="49">
                  <c:v>0.8419529799991095</c:v>
                </c:pt>
                <c:pt idx="50">
                  <c:v>0.8626462129188495</c:v>
                </c:pt>
                <c:pt idx="51">
                  <c:v>0.852677858685074</c:v>
                </c:pt>
                <c:pt idx="52">
                  <c:v>0.9157918805443734</c:v>
                </c:pt>
                <c:pt idx="53">
                  <c:v>0.9708815626630629</c:v>
                </c:pt>
                <c:pt idx="54">
                  <c:v>0.829407950957448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850931677018632"/>
          <c:min val="0.6099009900990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1</c:f>
              <c:numCache>
                <c:formatCode>General</c:formatCode>
                <c:ptCount val="80"/>
                <c:pt idx="0">
                  <c:v>1302.0899</c:v>
                </c:pt>
                <c:pt idx="1">
                  <c:v>1246.6123</c:v>
                </c:pt>
                <c:pt idx="2">
                  <c:v>1198.7839</c:v>
                </c:pt>
                <c:pt idx="3">
                  <c:v>1206.5505</c:v>
                </c:pt>
                <c:pt idx="4">
                  <c:v>1249.5024</c:v>
                </c:pt>
                <c:pt idx="5">
                  <c:v>1411.3711</c:v>
                </c:pt>
                <c:pt idx="6">
                  <c:v>1440.2667</c:v>
                </c:pt>
                <c:pt idx="7">
                  <c:v>1420.4088</c:v>
                </c:pt>
                <c:pt idx="8">
                  <c:v>1499.6538</c:v>
                </c:pt>
                <c:pt idx="9">
                  <c:v>1315.1453</c:v>
                </c:pt>
                <c:pt idx="10">
                  <c:v>1119.4</c:v>
                </c:pt>
                <c:pt idx="11">
                  <c:v>1114.5556</c:v>
                </c:pt>
                <c:pt idx="12">
                  <c:v>1078.0047</c:v>
                </c:pt>
                <c:pt idx="13">
                  <c:v>1085.8363</c:v>
                </c:pt>
                <c:pt idx="14">
                  <c:v>1471.4702</c:v>
                </c:pt>
                <c:pt idx="15">
                  <c:v>1455.3879</c:v>
                </c:pt>
                <c:pt idx="16">
                  <c:v>1488.9495</c:v>
                </c:pt>
                <c:pt idx="17">
                  <c:v>1429.8242</c:v>
                </c:pt>
                <c:pt idx="18">
                  <c:v>1585.1045</c:v>
                </c:pt>
                <c:pt idx="19">
                  <c:v>1544.551</c:v>
                </c:pt>
                <c:pt idx="20">
                  <c:v>1471.4805</c:v>
                </c:pt>
                <c:pt idx="21">
                  <c:v>1504.58</c:v>
                </c:pt>
                <c:pt idx="22">
                  <c:v>1490.875</c:v>
                </c:pt>
                <c:pt idx="23">
                  <c:v>1619.5714</c:v>
                </c:pt>
                <c:pt idx="24">
                  <c:v>1795.375</c:v>
                </c:pt>
                <c:pt idx="25">
                  <c:v>1256.9032</c:v>
                </c:pt>
                <c:pt idx="26">
                  <c:v>1361.2625</c:v>
                </c:pt>
                <c:pt idx="27">
                  <c:v>1604.9565</c:v>
                </c:pt>
                <c:pt idx="28">
                  <c:v>2198.1304</c:v>
                </c:pt>
                <c:pt idx="29">
                  <c:v>1901.0238</c:v>
                </c:pt>
                <c:pt idx="30">
                  <c:v>1911.0488</c:v>
                </c:pt>
                <c:pt idx="31">
                  <c:v>1870.0882</c:v>
                </c:pt>
                <c:pt idx="32">
                  <c:v>1836.8605</c:v>
                </c:pt>
                <c:pt idx="33">
                  <c:v>1677.4578</c:v>
                </c:pt>
                <c:pt idx="34">
                  <c:v>1874.4568</c:v>
                </c:pt>
                <c:pt idx="35">
                  <c:v>1892.6111</c:v>
                </c:pt>
                <c:pt idx="36">
                  <c:v>1847.5766</c:v>
                </c:pt>
                <c:pt idx="37">
                  <c:v>1764.0882</c:v>
                </c:pt>
                <c:pt idx="38">
                  <c:v>1729.9261</c:v>
                </c:pt>
                <c:pt idx="39">
                  <c:v>1668.542</c:v>
                </c:pt>
                <c:pt idx="40">
                  <c:v>1554.4762</c:v>
                </c:pt>
                <c:pt idx="41">
                  <c:v>1466.6374</c:v>
                </c:pt>
                <c:pt idx="42">
                  <c:v>1727.1974</c:v>
                </c:pt>
                <c:pt idx="43">
                  <c:v>1703.1368</c:v>
                </c:pt>
                <c:pt idx="44">
                  <c:v>1764.3304</c:v>
                </c:pt>
                <c:pt idx="45">
                  <c:v>1796.3543</c:v>
                </c:pt>
                <c:pt idx="46">
                  <c:v>1770.5175</c:v>
                </c:pt>
                <c:pt idx="47">
                  <c:v>1827.5487</c:v>
                </c:pt>
                <c:pt idx="48">
                  <c:v>1814.0</c:v>
                </c:pt>
                <c:pt idx="49">
                  <c:v>1788.5437</c:v>
                </c:pt>
                <c:pt idx="50">
                  <c:v>1841.266</c:v>
                </c:pt>
                <c:pt idx="51">
                  <c:v>1789.908</c:v>
                </c:pt>
                <c:pt idx="52">
                  <c:v>1722.5806</c:v>
                </c:pt>
                <c:pt idx="53">
                  <c:v>1776.775</c:v>
                </c:pt>
                <c:pt idx="54">
                  <c:v>1850.6197</c:v>
                </c:pt>
                <c:pt idx="55">
                  <c:v>1852.9625</c:v>
                </c:pt>
                <c:pt idx="56">
                  <c:v>1835.2299</c:v>
                </c:pt>
                <c:pt idx="57">
                  <c:v>1893.3684</c:v>
                </c:pt>
                <c:pt idx="58">
                  <c:v>1847.1818</c:v>
                </c:pt>
                <c:pt idx="59">
                  <c:v>1915.871</c:v>
                </c:pt>
                <c:pt idx="60">
                  <c:v>1809.3016</c:v>
                </c:pt>
                <c:pt idx="61">
                  <c:v>1851.7755</c:v>
                </c:pt>
                <c:pt idx="62">
                  <c:v>1825.904</c:v>
                </c:pt>
                <c:pt idx="63">
                  <c:v>1969.3895</c:v>
                </c:pt>
                <c:pt idx="64">
                  <c:v>1940.0</c:v>
                </c:pt>
                <c:pt idx="65">
                  <c:v>1874.1774</c:v>
                </c:pt>
                <c:pt idx="66">
                  <c:v>1864.2841</c:v>
                </c:pt>
                <c:pt idx="67">
                  <c:v>1882.44</c:v>
                </c:pt>
                <c:pt idx="68">
                  <c:v>1859.028</c:v>
                </c:pt>
                <c:pt idx="69">
                  <c:v>1974.4051</c:v>
                </c:pt>
                <c:pt idx="70">
                  <c:v>1880.5035</c:v>
                </c:pt>
                <c:pt idx="71">
                  <c:v>1609.1594</c:v>
                </c:pt>
                <c:pt idx="72">
                  <c:v>1721.1208</c:v>
                </c:pt>
                <c:pt idx="73">
                  <c:v>1670.9662</c:v>
                </c:pt>
                <c:pt idx="74">
                  <c:v>1646.9049</c:v>
                </c:pt>
                <c:pt idx="75">
                  <c:v>1376.1483</c:v>
                </c:pt>
                <c:pt idx="76">
                  <c:v>1740.7314</c:v>
                </c:pt>
                <c:pt idx="77">
                  <c:v>1749.7391</c:v>
                </c:pt>
                <c:pt idx="78">
                  <c:v>1576.4618</c:v>
                </c:pt>
                <c:pt idx="79">
                  <c:v>1556.8856</c:v>
                </c:pt>
              </c:numCache>
            </c:numRef>
          </c:xVal>
          <c:yVal>
            <c:numRef>
              <c:f>Sheet1!$B$2:$B$81</c:f>
              <c:numCache>
                <c:formatCode>General</c:formatCode>
                <c:ptCount val="80"/>
                <c:pt idx="0">
                  <c:v>0.978021978021978</c:v>
                </c:pt>
                <c:pt idx="1">
                  <c:v>0.9826839826839827</c:v>
                </c:pt>
                <c:pt idx="2">
                  <c:v>0.963265306122449</c:v>
                </c:pt>
                <c:pt idx="3">
                  <c:v>0.9808306709265175</c:v>
                </c:pt>
                <c:pt idx="4">
                  <c:v>0.9812206572769953</c:v>
                </c:pt>
                <c:pt idx="5">
                  <c:v>0.9875776397515528</c:v>
                </c:pt>
                <c:pt idx="6">
                  <c:v>0.9493670886075949</c:v>
                </c:pt>
                <c:pt idx="7">
                  <c:v>0.9695121951219512</c:v>
                </c:pt>
                <c:pt idx="8">
                  <c:v>0.9454545454545454</c:v>
                </c:pt>
                <c:pt idx="9">
                  <c:v>0.9435483870967742</c:v>
                </c:pt>
                <c:pt idx="10">
                  <c:v>0.9451219512195121</c:v>
                </c:pt>
                <c:pt idx="11">
                  <c:v>0.967741935483871</c:v>
                </c:pt>
                <c:pt idx="12">
                  <c:v>0.9469026548672567</c:v>
                </c:pt>
                <c:pt idx="13">
                  <c:v>0.9553072625698324</c:v>
                </c:pt>
                <c:pt idx="14">
                  <c:v>0.94375</c:v>
                </c:pt>
                <c:pt idx="15">
                  <c:v>0.928</c:v>
                </c:pt>
                <c:pt idx="16">
                  <c:v>0.9428571428571428</c:v>
                </c:pt>
                <c:pt idx="17">
                  <c:v>0.9680851063829787</c:v>
                </c:pt>
                <c:pt idx="18">
                  <c:v>0.9436619718309859</c:v>
                </c:pt>
                <c:pt idx="19">
                  <c:v>0.9423076923076923</c:v>
                </c:pt>
                <c:pt idx="20">
                  <c:v>0.9506172839506173</c:v>
                </c:pt>
                <c:pt idx="21">
                  <c:v>0.9433962264150944</c:v>
                </c:pt>
                <c:pt idx="22">
                  <c:v>0.9491525423728814</c:v>
                </c:pt>
                <c:pt idx="23">
                  <c:v>0.8936170212765957</c:v>
                </c:pt>
                <c:pt idx="24">
                  <c:v>0.9302325581395349</c:v>
                </c:pt>
                <c:pt idx="25">
                  <c:v>0.9538461538461539</c:v>
                </c:pt>
                <c:pt idx="26">
                  <c:v>0.9523809523809523</c:v>
                </c:pt>
                <c:pt idx="27">
                  <c:v>0.9387755102040817</c:v>
                </c:pt>
                <c:pt idx="28">
                  <c:v>0.8214285714285714</c:v>
                </c:pt>
                <c:pt idx="29">
                  <c:v>0.9333333333333333</c:v>
                </c:pt>
                <c:pt idx="30">
                  <c:v>0.9534883720930233</c:v>
                </c:pt>
                <c:pt idx="31">
                  <c:v>0.8947368421052632</c:v>
                </c:pt>
                <c:pt idx="32">
                  <c:v>0.8775510204081632</c:v>
                </c:pt>
                <c:pt idx="33">
                  <c:v>0.9540229885057471</c:v>
                </c:pt>
                <c:pt idx="34">
                  <c:v>0.9418604651162791</c:v>
                </c:pt>
                <c:pt idx="35">
                  <c:v>0.9375</c:v>
                </c:pt>
                <c:pt idx="36">
                  <c:v>0.9652173913043478</c:v>
                </c:pt>
                <c:pt idx="37">
                  <c:v>0.9659090909090909</c:v>
                </c:pt>
                <c:pt idx="38">
                  <c:v>0.9565217391304348</c:v>
                </c:pt>
                <c:pt idx="39">
                  <c:v>0.9703703703703703</c:v>
                </c:pt>
                <c:pt idx="40">
                  <c:v>0.96</c:v>
                </c:pt>
                <c:pt idx="41">
                  <c:v>0.9776119402985075</c:v>
                </c:pt>
                <c:pt idx="42">
                  <c:v>0.9743589743589743</c:v>
                </c:pt>
                <c:pt idx="43">
                  <c:v>0.9693877551020408</c:v>
                </c:pt>
                <c:pt idx="44">
                  <c:v>0.9333333333333333</c:v>
                </c:pt>
                <c:pt idx="45">
                  <c:v>0.9338235294117647</c:v>
                </c:pt>
                <c:pt idx="46">
                  <c:v>0.9193548387096774</c:v>
                </c:pt>
                <c:pt idx="47">
                  <c:v>0.904</c:v>
                </c:pt>
                <c:pt idx="48">
                  <c:v>0.936</c:v>
                </c:pt>
                <c:pt idx="49">
                  <c:v>0.9363636363636364</c:v>
                </c:pt>
                <c:pt idx="50">
                  <c:v>0.912621359223301</c:v>
                </c:pt>
                <c:pt idx="51">
                  <c:v>0.90625</c:v>
                </c:pt>
                <c:pt idx="52">
                  <c:v>0.9207920792079208</c:v>
                </c:pt>
                <c:pt idx="53">
                  <c:v>0.9523809523809523</c:v>
                </c:pt>
                <c:pt idx="54">
                  <c:v>0.9342105263157895</c:v>
                </c:pt>
                <c:pt idx="55">
                  <c:v>0.898876404494382</c:v>
                </c:pt>
                <c:pt idx="56">
                  <c:v>0.90625</c:v>
                </c:pt>
                <c:pt idx="57">
                  <c:v>0.926829268292683</c:v>
                </c:pt>
                <c:pt idx="58">
                  <c:v>0.88</c:v>
                </c:pt>
                <c:pt idx="59">
                  <c:v>0.8857142857142857</c:v>
                </c:pt>
                <c:pt idx="60">
                  <c:v>0.8873239436619719</c:v>
                </c:pt>
                <c:pt idx="61">
                  <c:v>0.8990825688073395</c:v>
                </c:pt>
                <c:pt idx="62">
                  <c:v>0.9398496240601504</c:v>
                </c:pt>
                <c:pt idx="63">
                  <c:v>0.8878504672897196</c:v>
                </c:pt>
                <c:pt idx="64">
                  <c:v>0.868421052631579</c:v>
                </c:pt>
                <c:pt idx="65">
                  <c:v>0.9117647058823529</c:v>
                </c:pt>
                <c:pt idx="66">
                  <c:v>0.8979591836734694</c:v>
                </c:pt>
                <c:pt idx="67">
                  <c:v>0.8771929824561403</c:v>
                </c:pt>
                <c:pt idx="68">
                  <c:v>0.9145299145299145</c:v>
                </c:pt>
                <c:pt idx="69">
                  <c:v>0.8977272727272727</c:v>
                </c:pt>
                <c:pt idx="70">
                  <c:v>0.94</c:v>
                </c:pt>
                <c:pt idx="71">
                  <c:v>0.9241071428571429</c:v>
                </c:pt>
                <c:pt idx="72">
                  <c:v>0.9375</c:v>
                </c:pt>
                <c:pt idx="73">
                  <c:v>0.9308176100628931</c:v>
                </c:pt>
                <c:pt idx="74">
                  <c:v>0.9421965317919075</c:v>
                </c:pt>
                <c:pt idx="75">
                  <c:v>0.9565846599131693</c:v>
                </c:pt>
                <c:pt idx="76">
                  <c:v>0.9363636363636364</c:v>
                </c:pt>
                <c:pt idx="77">
                  <c:v>0.933579335793358</c:v>
                </c:pt>
                <c:pt idx="78">
                  <c:v>0.9458483754512635</c:v>
                </c:pt>
                <c:pt idx="79">
                  <c:v>0.9575971731448764</c:v>
                </c:pt>
              </c:numCache>
            </c:numRef>
          </c:yVal>
          <c:smooth val="0"/>
          <c:extLst>
            <c:ext xmlns:c16="http://schemas.microsoft.com/office/drawing/2014/chart" uri="{C3380CC4-5D6E-409C-BE32-E72D297353CC}">
              <c16:uniqueId val="{00000000-F32D-48B7-BC20-E66FC6253BAD}"/>
            </c:ext>
          </c:extLst>
        </c:ser>
        <c:ser>
          <c:idx val="1"/>
          <c:order val="1"/>
          <c:tx>
            <c:strRef>
              <c:f>Sheet1!$B$8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4:$A$135</c:f>
              <c:numCache>
                <c:formatCode>General</c:formatCode>
                <c:ptCount val="52"/>
                <c:pt idx="0">
                  <c:v>1729.1873</c:v>
                </c:pt>
                <c:pt idx="1">
                  <c:v>1793.9387</c:v>
                </c:pt>
                <c:pt idx="2">
                  <c:v>1797.1626</c:v>
                </c:pt>
                <c:pt idx="3">
                  <c:v>1782.7589</c:v>
                </c:pt>
                <c:pt idx="4">
                  <c:v>1788.1255</c:v>
                </c:pt>
                <c:pt idx="5">
                  <c:v>1831.6216</c:v>
                </c:pt>
                <c:pt idx="6">
                  <c:v>1833.4171</c:v>
                </c:pt>
                <c:pt idx="7">
                  <c:v>1826.0263</c:v>
                </c:pt>
                <c:pt idx="8">
                  <c:v>1894.4677</c:v>
                </c:pt>
                <c:pt idx="9">
                  <c:v>1603.0602</c:v>
                </c:pt>
                <c:pt idx="10">
                  <c:v>1636.8771</c:v>
                </c:pt>
                <c:pt idx="11">
                  <c:v>1879.1978</c:v>
                </c:pt>
                <c:pt idx="12">
                  <c:v>1858.3738</c:v>
                </c:pt>
                <c:pt idx="13">
                  <c:v>1699.87</c:v>
                </c:pt>
                <c:pt idx="14">
                  <c:v>1901.5949</c:v>
                </c:pt>
                <c:pt idx="15">
                  <c:v>1667.4681</c:v>
                </c:pt>
                <c:pt idx="16">
                  <c:v>1956.0833</c:v>
                </c:pt>
                <c:pt idx="17">
                  <c:v>1935.5217</c:v>
                </c:pt>
                <c:pt idx="18">
                  <c:v>2023.75</c:v>
                </c:pt>
                <c:pt idx="19">
                  <c:v>2032.8061</c:v>
                </c:pt>
                <c:pt idx="20">
                  <c:v>1890.6882</c:v>
                </c:pt>
                <c:pt idx="21">
                  <c:v>1876.7971</c:v>
                </c:pt>
                <c:pt idx="22">
                  <c:v>1841.7531</c:v>
                </c:pt>
                <c:pt idx="23">
                  <c:v>1816.9014</c:v>
                </c:pt>
                <c:pt idx="24">
                  <c:v>1952.2917</c:v>
                </c:pt>
                <c:pt idx="25">
                  <c:v>2054.4478</c:v>
                </c:pt>
                <c:pt idx="26">
                  <c:v>2073.2459</c:v>
                </c:pt>
                <c:pt idx="27">
                  <c:v>2108.9118</c:v>
                </c:pt>
                <c:pt idx="28">
                  <c:v>2054.4432</c:v>
                </c:pt>
                <c:pt idx="29">
                  <c:v>2052.7429</c:v>
                </c:pt>
                <c:pt idx="30">
                  <c:v>2062.2317</c:v>
                </c:pt>
                <c:pt idx="31">
                  <c:v>2030.5849</c:v>
                </c:pt>
                <c:pt idx="32">
                  <c:v>2083.871</c:v>
                </c:pt>
                <c:pt idx="33">
                  <c:v>2024.2683</c:v>
                </c:pt>
                <c:pt idx="34">
                  <c:v>1998.9777</c:v>
                </c:pt>
                <c:pt idx="35">
                  <c:v>2032.9097</c:v>
                </c:pt>
                <c:pt idx="36">
                  <c:v>2155.1077</c:v>
                </c:pt>
                <c:pt idx="37">
                  <c:v>2072.8974</c:v>
                </c:pt>
                <c:pt idx="38">
                  <c:v>1993.6604</c:v>
                </c:pt>
                <c:pt idx="39">
                  <c:v>2001.3469</c:v>
                </c:pt>
                <c:pt idx="40">
                  <c:v>2011.4545</c:v>
                </c:pt>
                <c:pt idx="41">
                  <c:v>2034.8598</c:v>
                </c:pt>
                <c:pt idx="42">
                  <c:v>2034.898</c:v>
                </c:pt>
                <c:pt idx="43">
                  <c:v>1944.625</c:v>
                </c:pt>
                <c:pt idx="44">
                  <c:v>1825.6771</c:v>
                </c:pt>
                <c:pt idx="45">
                  <c:v>1738.3026</c:v>
                </c:pt>
                <c:pt idx="46">
                  <c:v>1822.4884</c:v>
                </c:pt>
                <c:pt idx="47">
                  <c:v>1880.0337</c:v>
                </c:pt>
                <c:pt idx="48">
                  <c:v>1643.2814</c:v>
                </c:pt>
                <c:pt idx="49">
                  <c:v>1600.7259</c:v>
                </c:pt>
                <c:pt idx="50">
                  <c:v>1434.016</c:v>
                </c:pt>
                <c:pt idx="51">
                  <c:v>1521.1335</c:v>
                </c:pt>
              </c:numCache>
            </c:numRef>
          </c:xVal>
          <c:yVal>
            <c:numRef>
              <c:f>Sheet1!$B$84:$B$135</c:f>
              <c:numCache>
                <c:formatCode>General</c:formatCode>
                <c:ptCount val="52"/>
                <c:pt idx="0">
                  <c:v>0.9375</c:v>
                </c:pt>
                <c:pt idx="1">
                  <c:v>0.9177489177489178</c:v>
                </c:pt>
                <c:pt idx="2">
                  <c:v>0.9111111111111111</c:v>
                </c:pt>
                <c:pt idx="3">
                  <c:v>0.9166666666666666</c:v>
                </c:pt>
                <c:pt idx="4">
                  <c:v>0.9166666666666666</c:v>
                </c:pt>
                <c:pt idx="5">
                  <c:v>0.8987854251012146</c:v>
                </c:pt>
                <c:pt idx="6">
                  <c:v>0.9257425742574258</c:v>
                </c:pt>
                <c:pt idx="7">
                  <c:v>0.9193548387096774</c:v>
                </c:pt>
                <c:pt idx="8">
                  <c:v>0.8985507246376812</c:v>
                </c:pt>
                <c:pt idx="9">
                  <c:v>0.8736842105263158</c:v>
                </c:pt>
                <c:pt idx="10">
                  <c:v>0.9132653061224489</c:v>
                </c:pt>
                <c:pt idx="11">
                  <c:v>0.883495145631068</c:v>
                </c:pt>
                <c:pt idx="12">
                  <c:v>0.9074889867841409</c:v>
                </c:pt>
                <c:pt idx="13">
                  <c:v>0.9065040650406504</c:v>
                </c:pt>
                <c:pt idx="14">
                  <c:v>0.9069767441860465</c:v>
                </c:pt>
                <c:pt idx="15">
                  <c:v>0.8952380952380953</c:v>
                </c:pt>
                <c:pt idx="16">
                  <c:v>0.9069767441860465</c:v>
                </c:pt>
                <c:pt idx="17">
                  <c:v>0.9078947368421053</c:v>
                </c:pt>
                <c:pt idx="18">
                  <c:v>0.8444444444444444</c:v>
                </c:pt>
                <c:pt idx="19">
                  <c:v>0.8672566371681416</c:v>
                </c:pt>
                <c:pt idx="20">
                  <c:v>0.808695652173913</c:v>
                </c:pt>
                <c:pt idx="21">
                  <c:v>0.8518518518518519</c:v>
                </c:pt>
                <c:pt idx="22">
                  <c:v>0.8526315789473684</c:v>
                </c:pt>
                <c:pt idx="23">
                  <c:v>0.8765432098765432</c:v>
                </c:pt>
                <c:pt idx="24">
                  <c:v>0.8674698795180723</c:v>
                </c:pt>
                <c:pt idx="25">
                  <c:v>0.8375</c:v>
                </c:pt>
                <c:pt idx="26">
                  <c:v>0.8472222222222222</c:v>
                </c:pt>
                <c:pt idx="27">
                  <c:v>0.7906976744186046</c:v>
                </c:pt>
                <c:pt idx="28">
                  <c:v>0.8148148148148148</c:v>
                </c:pt>
                <c:pt idx="29">
                  <c:v>0.8536585365853658</c:v>
                </c:pt>
                <c:pt idx="30">
                  <c:v>0.8817204301075269</c:v>
                </c:pt>
                <c:pt idx="31">
                  <c:v>0.8833333333333333</c:v>
                </c:pt>
                <c:pt idx="32">
                  <c:v>0.8157894736842105</c:v>
                </c:pt>
                <c:pt idx="33">
                  <c:v>0.8282828282828283</c:v>
                </c:pt>
                <c:pt idx="34">
                  <c:v>0.9226804123711341</c:v>
                </c:pt>
                <c:pt idx="35">
                  <c:v>0.8959537572254336</c:v>
                </c:pt>
                <c:pt idx="36">
                  <c:v>0.8666666666666667</c:v>
                </c:pt>
                <c:pt idx="37">
                  <c:v>0.7959183673469388</c:v>
                </c:pt>
                <c:pt idx="38">
                  <c:v>0.8412698412698413</c:v>
                </c:pt>
                <c:pt idx="39">
                  <c:v>0.8305084745762712</c:v>
                </c:pt>
                <c:pt idx="40">
                  <c:v>0.8148148148148148</c:v>
                </c:pt>
                <c:pt idx="41">
                  <c:v>0.816793893129771</c:v>
                </c:pt>
                <c:pt idx="42">
                  <c:v>0.7967479674796748</c:v>
                </c:pt>
                <c:pt idx="43">
                  <c:v>0.8260869565217391</c:v>
                </c:pt>
                <c:pt idx="44">
                  <c:v>0.8847926267281107</c:v>
                </c:pt>
                <c:pt idx="45">
                  <c:v>0.8741935483870967</c:v>
                </c:pt>
                <c:pt idx="46">
                  <c:v>0.8514851485148515</c:v>
                </c:pt>
                <c:pt idx="47">
                  <c:v>0.8768472906403941</c:v>
                </c:pt>
                <c:pt idx="48">
                  <c:v>0.7623762376237624</c:v>
                </c:pt>
                <c:pt idx="49">
                  <c:v>0.7648725212464589</c:v>
                </c:pt>
                <c:pt idx="50">
                  <c:v>0.8571428571428571</c:v>
                </c:pt>
                <c:pt idx="51">
                  <c:v>0.8256410256410256</c:v>
                </c:pt>
              </c:numCache>
            </c:numRef>
          </c:yVal>
          <c:smooth val="0"/>
          <c:extLst>
            <c:ext xmlns:c16="http://schemas.microsoft.com/office/drawing/2014/chart" uri="{C3380CC4-5D6E-409C-BE32-E72D297353CC}">
              <c16:uniqueId val="{00000002-F32D-48B7-BC20-E66FC6253BAD}"/>
            </c:ext>
          </c:extLst>
        </c:ser>
        <c:ser>
          <c:idx val="2"/>
          <c:order val="2"/>
          <c:tx>
            <c:strRef>
              <c:f>Sheet1!$B$137</c:f>
              <c:strCache>
                <c:ptCount val="1"/>
                <c:pt idx="0">
                  <c:v>Custom Linep3yQ</c:v>
                </c:pt>
              </c:strCache>
            </c:strRef>
          </c:tx>
          <c:spPr>
            <a:ln w="19050" cap="rnd">
              <a:solidFill>
                <a:srgbClr val="C00000"/>
              </a:solidFill>
              <a:prstDash val="sysDot"/>
              <a:round/>
            </a:ln>
            <a:effectLst/>
          </c:spPr>
          <c:marker>
            <c:symbol val="none"/>
          </c:marker>
          <c:xVal>
            <c:numRef>
              <c:f>Sheet1!$A$138:$A$139</c:f>
              <c:numCache>
                <c:formatCode>General</c:formatCode>
                <c:ptCount val="2"/>
                <c:pt idx="0">
                  <c:v>0</c:v>
                </c:pt>
                <c:pt idx="1">
                  <c:v>-75.52527107000213</c:v>
                </c:pt>
              </c:numCache>
            </c:numRef>
          </c:xVal>
          <c:yVal>
            <c:numRef>
              <c:f>Sheet1!$B$138:$B$139</c:f>
              <c:numCache>
                <c:formatCode>General</c:formatCode>
                <c:ptCount val="2"/>
                <c:pt idx="0">
                  <c:v>0.9708815626630629</c:v>
                </c:pt>
                <c:pt idx="1">
                  <c:v>0.9708815626630629</c:v>
                </c:pt>
              </c:numCache>
            </c:numRef>
          </c:yVal>
          <c:smooth val="0"/>
          <c:extLst>
            <c:ext xmlns:c16="http://schemas.microsoft.com/office/drawing/2014/chart" uri="{C3380CC4-5D6E-409C-BE32-E72D297353CC}">
              <c16:uniqueId val="{00000003-F32D-48B7-BC20-E66FC6253BAD}"/>
            </c:ext>
          </c:extLst>
        </c:ser>
        <c:ser>
          <c:idx val="3"/>
          <c:order val="3"/>
          <c:tx>
            <c:strRef>
              <c:f>Sheet1!$B$14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75.52527107000213</c:v>
                </c:pt>
                <c:pt idx="1">
                  <c:v>-75.52527107000213</c:v>
                </c:pt>
              </c:numCache>
            </c:numRef>
          </c:xVal>
          <c:yVal>
            <c:numRef>
              <c:f>Sheet1!$B$142:$B$143</c:f>
              <c:numCache>
                <c:formatCode>General</c:formatCode>
                <c:ptCount val="2"/>
                <c:pt idx="0">
                  <c:v>0.970881562663062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6:$A$147</c:f>
              <c:numCache>
                <c:formatCode>General</c:formatCode>
                <c:ptCount val="2"/>
                <c:pt idx="0">
                  <c:v>0</c:v>
                </c:pt>
                <c:pt idx="1">
                  <c:v>943.950663300248</c:v>
                </c:pt>
              </c:numCache>
            </c:numRef>
          </c:xVal>
          <c:yVal>
            <c:numRef>
              <c:f>Sheet1!$B$146:$B$147</c:f>
              <c:numCache>
                <c:formatCode>General</c:formatCode>
                <c:ptCount val="2"/>
                <c:pt idx="0">
                  <c:v>0.9157918805443734</c:v>
                </c:pt>
                <c:pt idx="1">
                  <c:v>0.9157918805443734</c:v>
                </c:pt>
              </c:numCache>
            </c:numRef>
          </c:yVal>
          <c:smooth val="0"/>
          <c:extLst>
            <c:ext xmlns:c16="http://schemas.microsoft.com/office/drawing/2014/chart" uri="{C3380CC4-5D6E-409C-BE32-E72D297353CC}">
              <c16:uniqueId val="{0000000A-F32D-48B7-BC20-E66FC6253BAD}"/>
            </c:ext>
          </c:extLst>
        </c:ser>
        <c:ser>
          <c:idx val="5"/>
          <c:order val="5"/>
          <c:tx>
            <c:strRef>
              <c:f>Sheet1!$B$14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0:$A$151</c:f>
              <c:numCache>
                <c:formatCode>General</c:formatCode>
                <c:ptCount val="2"/>
                <c:pt idx="0">
                  <c:v>943.950663300248</c:v>
                </c:pt>
                <c:pt idx="1">
                  <c:v>943.950663300248</c:v>
                </c:pt>
              </c:numCache>
            </c:numRef>
          </c:xVal>
          <c:yVal>
            <c:numRef>
              <c:f>Sheet1!$B$150:$B$151</c:f>
              <c:numCache>
                <c:formatCode>General</c:formatCode>
                <c:ptCount val="2"/>
                <c:pt idx="0">
                  <c:v>0.91579188054437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4:$A$155</c:f>
              <c:numCache>
                <c:formatCode>General</c:formatCode>
                <c:ptCount val="2"/>
                <c:pt idx="0">
                  <c:v>0</c:v>
                </c:pt>
                <c:pt idx="1">
                  <c:v>2542.5501458760855</c:v>
                </c:pt>
              </c:numCache>
            </c:numRef>
          </c:xVal>
          <c:yVal>
            <c:numRef>
              <c:f>Sheet1!$B$154:$B$155</c:f>
              <c:numCache>
                <c:formatCode>General</c:formatCode>
                <c:ptCount val="2"/>
                <c:pt idx="0">
                  <c:v>0.8294079509574483</c:v>
                </c:pt>
                <c:pt idx="1">
                  <c:v>0.8294079509574483</c:v>
                </c:pt>
              </c:numCache>
            </c:numRef>
          </c:yVal>
          <c:smooth val="0"/>
          <c:extLst>
            <c:ext xmlns:c16="http://schemas.microsoft.com/office/drawing/2014/chart" uri="{C3380CC4-5D6E-409C-BE32-E72D297353CC}">
              <c16:uniqueId val="{00000011-F32D-48B7-BC20-E66FC6253BAD}"/>
            </c:ext>
          </c:extLst>
        </c:ser>
        <c:ser>
          <c:idx val="7"/>
          <c:order val="7"/>
          <c:tx>
            <c:strRef>
              <c:f>Sheet1!$B$15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8:$A$159</c:f>
              <c:numCache>
                <c:formatCode>General</c:formatCode>
                <c:ptCount val="2"/>
                <c:pt idx="0">
                  <c:v>2542.5501458760855</c:v>
                </c:pt>
                <c:pt idx="1">
                  <c:v>2542.5501458760855</c:v>
                </c:pt>
              </c:numCache>
            </c:numRef>
          </c:xVal>
          <c:yVal>
            <c:numRef>
              <c:f>Sheet1!$B$158:$B$159</c:f>
              <c:numCache>
                <c:formatCode>General</c:formatCode>
                <c:ptCount val="2"/>
                <c:pt idx="0">
                  <c:v>0.829407950957448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6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2:$A$216</c:f>
              <c:numCache>
                <c:formatCode>General</c:formatCode>
                <c:ptCount val="55"/>
                <c:pt idx="0">
                  <c:v>1729.1873</c:v>
                </c:pt>
                <c:pt idx="1">
                  <c:v>1793.9387</c:v>
                </c:pt>
                <c:pt idx="2">
                  <c:v>1797.1626</c:v>
                </c:pt>
                <c:pt idx="3">
                  <c:v>1782.7589</c:v>
                </c:pt>
                <c:pt idx="4">
                  <c:v>1788.1255</c:v>
                </c:pt>
                <c:pt idx="5">
                  <c:v>1831.6216</c:v>
                </c:pt>
                <c:pt idx="6">
                  <c:v>1833.4171</c:v>
                </c:pt>
                <c:pt idx="7">
                  <c:v>1826.0263</c:v>
                </c:pt>
                <c:pt idx="8">
                  <c:v>1894.4677</c:v>
                </c:pt>
                <c:pt idx="9">
                  <c:v>1603.0602</c:v>
                </c:pt>
                <c:pt idx="10">
                  <c:v>1636.8771</c:v>
                </c:pt>
                <c:pt idx="11">
                  <c:v>1879.1978</c:v>
                </c:pt>
                <c:pt idx="12">
                  <c:v>1858.3738</c:v>
                </c:pt>
                <c:pt idx="13">
                  <c:v>1699.87</c:v>
                </c:pt>
                <c:pt idx="14">
                  <c:v>1901.5949</c:v>
                </c:pt>
                <c:pt idx="15">
                  <c:v>1667.4681</c:v>
                </c:pt>
                <c:pt idx="16">
                  <c:v>1956.0833</c:v>
                </c:pt>
                <c:pt idx="17">
                  <c:v>1935.5217</c:v>
                </c:pt>
                <c:pt idx="18">
                  <c:v>2023.75</c:v>
                </c:pt>
                <c:pt idx="19">
                  <c:v>2032.8061</c:v>
                </c:pt>
                <c:pt idx="20">
                  <c:v>1890.6882</c:v>
                </c:pt>
                <c:pt idx="21">
                  <c:v>1876.7971</c:v>
                </c:pt>
                <c:pt idx="22">
                  <c:v>1841.7531</c:v>
                </c:pt>
                <c:pt idx="23">
                  <c:v>1816.9014</c:v>
                </c:pt>
                <c:pt idx="24">
                  <c:v>1952.2917</c:v>
                </c:pt>
                <c:pt idx="25">
                  <c:v>2054.4478</c:v>
                </c:pt>
                <c:pt idx="26">
                  <c:v>2073.2459</c:v>
                </c:pt>
                <c:pt idx="27">
                  <c:v>2108.9118</c:v>
                </c:pt>
                <c:pt idx="28">
                  <c:v>2054.4432</c:v>
                </c:pt>
                <c:pt idx="29">
                  <c:v>2052.7429</c:v>
                </c:pt>
                <c:pt idx="30">
                  <c:v>2062.2317</c:v>
                </c:pt>
                <c:pt idx="31">
                  <c:v>2030.5849</c:v>
                </c:pt>
                <c:pt idx="32">
                  <c:v>2083.871</c:v>
                </c:pt>
                <c:pt idx="33">
                  <c:v>2024.2683</c:v>
                </c:pt>
                <c:pt idx="34">
                  <c:v>1998.9777</c:v>
                </c:pt>
                <c:pt idx="35">
                  <c:v>2032.9097</c:v>
                </c:pt>
                <c:pt idx="36">
                  <c:v>2155.1077</c:v>
                </c:pt>
                <c:pt idx="37">
                  <c:v>2072.8974</c:v>
                </c:pt>
                <c:pt idx="38">
                  <c:v>1993.6604</c:v>
                </c:pt>
                <c:pt idx="39">
                  <c:v>2001.3469</c:v>
                </c:pt>
                <c:pt idx="40">
                  <c:v>2011.4545</c:v>
                </c:pt>
                <c:pt idx="41">
                  <c:v>2034.8598</c:v>
                </c:pt>
                <c:pt idx="42">
                  <c:v>2034.898</c:v>
                </c:pt>
                <c:pt idx="43">
                  <c:v>1944.625</c:v>
                </c:pt>
                <c:pt idx="44">
                  <c:v>1825.6771</c:v>
                </c:pt>
                <c:pt idx="45">
                  <c:v>1738.3026</c:v>
                </c:pt>
                <c:pt idx="46">
                  <c:v>1822.4884</c:v>
                </c:pt>
                <c:pt idx="47">
                  <c:v>1880.0337</c:v>
                </c:pt>
                <c:pt idx="48">
                  <c:v>1643.2814</c:v>
                </c:pt>
                <c:pt idx="49">
                  <c:v>1600.7259</c:v>
                </c:pt>
                <c:pt idx="50">
                  <c:v>1434.016</c:v>
                </c:pt>
                <c:pt idx="51">
                  <c:v>1521.1335</c:v>
                </c:pt>
                <c:pt idx="52">
                  <c:v>943.950663300248</c:v>
                </c:pt>
                <c:pt idx="53">
                  <c:v>-75.52527107000213</c:v>
                </c:pt>
                <c:pt idx="54">
                  <c:v>2542.5501458760855</c:v>
                </c:pt>
              </c:numCache>
            </c:numRef>
          </c:xVal>
          <c:yVal>
            <c:numRef>
              <c:f>Sheet1!$B$162:$B$216</c:f>
              <c:numCache>
                <c:formatCode>General</c:formatCode>
                <c:ptCount val="55"/>
                <c:pt idx="0">
                  <c:v>0.8733598473346246</c:v>
                </c:pt>
                <c:pt idx="1">
                  <c:v>0.8698608593521926</c:v>
                </c:pt>
                <c:pt idx="2">
                  <c:v>0.8696866486423614</c:v>
                </c:pt>
                <c:pt idx="3">
                  <c:v>0.8704649850675593</c:v>
                </c:pt>
                <c:pt idx="4">
                  <c:v>0.8701749887291554</c:v>
                </c:pt>
                <c:pt idx="5">
                  <c:v>0.8678245788355832</c:v>
                </c:pt>
                <c:pt idx="6">
                  <c:v>0.8677275549423167</c:v>
                </c:pt>
                <c:pt idx="7">
                  <c:v>0.8681269334944492</c:v>
                </c:pt>
                <c:pt idx="8">
                  <c:v>0.8644285480371338</c:v>
                </c:pt>
                <c:pt idx="9">
                  <c:v>0.8801754097341865</c:v>
                </c:pt>
                <c:pt idx="10">
                  <c:v>0.8783480372495283</c:v>
                </c:pt>
                <c:pt idx="11">
                  <c:v>0.8652536915335359</c:v>
                </c:pt>
                <c:pt idx="12">
                  <c:v>0.8663789633538543</c:v>
                </c:pt>
                <c:pt idx="13">
                  <c:v>0.8749440737818883</c:v>
                </c:pt>
                <c:pt idx="14">
                  <c:v>0.8640434137057001</c:v>
                </c:pt>
                <c:pt idx="15">
                  <c:v>0.8766949835492133</c:v>
                </c:pt>
                <c:pt idx="16">
                  <c:v>0.8610990100822735</c:v>
                </c:pt>
                <c:pt idx="17">
                  <c:v>0.8622101025266002</c:v>
                </c:pt>
                <c:pt idx="18">
                  <c:v>0.8574424872872324</c:v>
                </c:pt>
                <c:pt idx="19">
                  <c:v>0.8569531204925731</c:v>
                </c:pt>
                <c:pt idx="20">
                  <c:v>0.8646327818464352</c:v>
                </c:pt>
                <c:pt idx="21">
                  <c:v>0.8653834187741736</c:v>
                </c:pt>
                <c:pt idx="22">
                  <c:v>0.8672771003757505</c:v>
                </c:pt>
                <c:pt idx="23">
                  <c:v>0.8686200180523259</c:v>
                </c:pt>
                <c:pt idx="24">
                  <c:v>0.8613038977423734</c:v>
                </c:pt>
                <c:pt idx="25">
                  <c:v>0.8557836624079695</c:v>
                </c:pt>
                <c:pt idx="26">
                  <c:v>0.8547678646647152</c:v>
                </c:pt>
                <c:pt idx="27">
                  <c:v>0.852840577293591</c:v>
                </c:pt>
                <c:pt idx="28">
                  <c:v>0.8557839109793474</c:v>
                </c:pt>
                <c:pt idx="29">
                  <c:v>0.8558757905258364</c:v>
                </c:pt>
                <c:pt idx="30">
                  <c:v>0.8553630418104774</c:v>
                </c:pt>
                <c:pt idx="31">
                  <c:v>0.8570731480457469</c:v>
                </c:pt>
                <c:pt idx="32">
                  <c:v>0.8541937134152884</c:v>
                </c:pt>
                <c:pt idx="33">
                  <c:v>0.8574144797774134</c:v>
                </c:pt>
                <c:pt idx="34">
                  <c:v>0.8587811144056762</c:v>
                </c:pt>
                <c:pt idx="35">
                  <c:v>0.8569475222328446</c:v>
                </c:pt>
                <c:pt idx="36">
                  <c:v>0.8503442776160915</c:v>
                </c:pt>
                <c:pt idx="37">
                  <c:v>0.8547866966484543</c:v>
                </c:pt>
                <c:pt idx="38">
                  <c:v>0.8590684467073558</c:v>
                </c:pt>
                <c:pt idx="39">
                  <c:v>0.8586530893386045</c:v>
                </c:pt>
                <c:pt idx="40">
                  <c:v>0.8581069023691918</c:v>
                </c:pt>
                <c:pt idx="41">
                  <c:v>0.8568421441797903</c:v>
                </c:pt>
                <c:pt idx="42">
                  <c:v>0.8568400799566086</c:v>
                </c:pt>
                <c:pt idx="43">
                  <c:v>0.8617181851734546</c:v>
                </c:pt>
                <c:pt idx="44">
                  <c:v>0.8681458033042675</c:v>
                </c:pt>
                <c:pt idx="45">
                  <c:v>0.8728672815344062</c:v>
                </c:pt>
                <c:pt idx="46">
                  <c:v>0.8683181119026852</c:v>
                </c:pt>
                <c:pt idx="47">
                  <c:v>0.8652085217911903</c:v>
                </c:pt>
                <c:pt idx="48">
                  <c:v>0.8780019664505048</c:v>
                </c:pt>
                <c:pt idx="49">
                  <c:v>0.8803015489010214</c:v>
                </c:pt>
                <c:pt idx="50">
                  <c:v>0.8893100944560586</c:v>
                </c:pt>
                <c:pt idx="51">
                  <c:v>0.8846025038007289</c:v>
                </c:pt>
                <c:pt idx="52">
                  <c:v>0.9157918805443734</c:v>
                </c:pt>
                <c:pt idx="53">
                  <c:v>0.9708815626630629</c:v>
                </c:pt>
                <c:pt idx="54">
                  <c:v>0.829407950957448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5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850931677018632"/>
          <c:min val="0.6099009900990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1097357417538563</c:v>
                </c:pt>
                <c:pt idx="1">
                  <c:v>0.990947774244833</c:v>
                </c:pt>
                <c:pt idx="2">
                  <c:v>1.0564299625468163</c:v>
                </c:pt>
                <c:pt idx="3">
                  <c:v>0.8055753630445669</c:v>
                </c:pt>
                <c:pt idx="4">
                  <c:v>0.968606511627907</c:v>
                </c:pt>
                <c:pt idx="5">
                  <c:v>0.8642811390079609</c:v>
                </c:pt>
                <c:pt idx="6">
                  <c:v>1.169047646103896</c:v>
                </c:pt>
                <c:pt idx="7">
                  <c:v>1.104731713007972</c:v>
                </c:pt>
                <c:pt idx="8">
                  <c:v>1.0989695148761542</c:v>
                </c:pt>
                <c:pt idx="9">
                  <c:v>1.1573587608494795</c:v>
                </c:pt>
                <c:pt idx="10">
                  <c:v>0.9613298745839806</c:v>
                </c:pt>
                <c:pt idx="11">
                  <c:v>0.9687575836592786</c:v>
                </c:pt>
                <c:pt idx="12">
                  <c:v>0.9190150895140664</c:v>
                </c:pt>
                <c:pt idx="13">
                  <c:v>0.9551691590429275</c:v>
                </c:pt>
                <c:pt idx="14">
                  <c:v>1.2310614943356222</c:v>
                </c:pt>
                <c:pt idx="15">
                  <c:v>1.0750390751957453</c:v>
                </c:pt>
                <c:pt idx="16">
                  <c:v>0.9685274494476896</c:v>
                </c:pt>
                <c:pt idx="17">
                  <c:v>0.99041156798865</c:v>
                </c:pt>
                <c:pt idx="18">
                  <c:v>1.1721256142993741</c:v>
                </c:pt>
                <c:pt idx="19">
                  <c:v>1.0376560295599597</c:v>
                </c:pt>
                <c:pt idx="20">
                  <c:v>0.9479153091671743</c:v>
                </c:pt>
                <c:pt idx="21">
                  <c:v>1.3896982330757932</c:v>
                </c:pt>
                <c:pt idx="22">
                  <c:v>1.0327002763172415</c:v>
                </c:pt>
                <c:pt idx="23">
                  <c:v>1.3561977893150226</c:v>
                </c:pt>
                <c:pt idx="24">
                  <c:v>1.1708967645847124</c:v>
                </c:pt>
                <c:pt idx="25">
                  <c:v>1.2984446780592265</c:v>
                </c:pt>
                <c:pt idx="26">
                  <c:v>1.1838385612656834</c:v>
                </c:pt>
                <c:pt idx="27">
                  <c:v>1.3870990554414786</c:v>
                </c:pt>
                <c:pt idx="28">
                  <c:v>1.2444608502772643</c:v>
                </c:pt>
                <c:pt idx="29">
                  <c:v>1.6932829020332718</c:v>
                </c:pt>
                <c:pt idx="30">
                  <c:v>0.9825040690505549</c:v>
                </c:pt>
                <c:pt idx="31">
                  <c:v>1.2602137279079326</c:v>
                </c:pt>
                <c:pt idx="32">
                  <c:v>1.086026168224299</c:v>
                </c:pt>
                <c:pt idx="33">
                  <c:v>1.1858049342105261</c:v>
                </c:pt>
                <c:pt idx="34">
                  <c:v>1.073664434121172</c:v>
                </c:pt>
                <c:pt idx="35">
                  <c:v>1.0795103092783505</c:v>
                </c:pt>
                <c:pt idx="36">
                  <c:v>1.2846715328467153</c:v>
                </c:pt>
                <c:pt idx="37">
                  <c:v>1.1879766839378239</c:v>
                </c:pt>
                <c:pt idx="38">
                  <c:v>1.3091331606217615</c:v>
                </c:pt>
                <c:pt idx="39">
                  <c:v>1.8490329744279947</c:v>
                </c:pt>
                <c:pt idx="40">
                  <c:v>1.6238813318940395</c:v>
                </c:pt>
                <c:pt idx="41">
                  <c:v>1.4155805233246306</c:v>
                </c:pt>
                <c:pt idx="42">
                  <c:v>1.5024155065313483</c:v>
                </c:pt>
                <c:pt idx="43">
                  <c:v>1.4630170592776623</c:v>
                </c:pt>
                <c:pt idx="44">
                  <c:v>1.2856029599730912</c:v>
                </c:pt>
                <c:pt idx="45">
                  <c:v>1.132958852560148</c:v>
                </c:pt>
                <c:pt idx="46">
                  <c:v>1.8757928118393234</c:v>
                </c:pt>
                <c:pt idx="47">
                  <c:v>1.3844813622061818</c:v>
                </c:pt>
                <c:pt idx="48">
                  <c:v>1.5453983678276966</c:v>
                </c:pt>
                <c:pt idx="49">
                  <c:v>1.241871404775125</c:v>
                </c:pt>
                <c:pt idx="50">
                  <c:v>1.1450911111111113</c:v>
                </c:pt>
                <c:pt idx="51">
                  <c:v>1.4464727981293841</c:v>
                </c:pt>
                <c:pt idx="52">
                  <c:v>1.4923413991769547</c:v>
                </c:pt>
                <c:pt idx="53">
                  <c:v>1.5425880291439393</c:v>
                </c:pt>
                <c:pt idx="54">
                  <c:v>1.5048059906058182</c:v>
                </c:pt>
                <c:pt idx="55">
                  <c:v>1.4461169572596821</c:v>
                </c:pt>
                <c:pt idx="56">
                  <c:v>1.5572774151749154</c:v>
                </c:pt>
                <c:pt idx="57">
                  <c:v>1.420778232027152</c:v>
                </c:pt>
                <c:pt idx="58">
                  <c:v>1.6093872822299653</c:v>
                </c:pt>
                <c:pt idx="59">
                  <c:v>1.4196750362143893</c:v>
                </c:pt>
                <c:pt idx="60">
                  <c:v>1.4938912780656304</c:v>
                </c:pt>
                <c:pt idx="61">
                  <c:v>1.1581735039756245</c:v>
                </c:pt>
                <c:pt idx="62">
                  <c:v>1.2586851821862348</c:v>
                </c:pt>
                <c:pt idx="63">
                  <c:v>1.1799174577634755</c:v>
                </c:pt>
                <c:pt idx="64">
                  <c:v>1.0954531081289527</c:v>
                </c:pt>
                <c:pt idx="65">
                  <c:v>1.04849748185454</c:v>
                </c:pt>
                <c:pt idx="66">
                  <c:v>1.3267405272752142</c:v>
                </c:pt>
                <c:pt idx="67">
                  <c:v>1.3902103992273018</c:v>
                </c:pt>
                <c:pt idx="68">
                  <c:v>1.3272057666082213</c:v>
                </c:pt>
                <c:pt idx="69">
                  <c:v>1.5112037687366167</c:v>
                </c:pt>
                <c:pt idx="70">
                  <c:v>1.3296478904515174</c:v>
                </c:pt>
                <c:pt idx="71">
                  <c:v>1.3897311616954473</c:v>
                </c:pt>
                <c:pt idx="72">
                  <c:v>1.4840691954910834</c:v>
                </c:pt>
                <c:pt idx="73">
                  <c:v>1.412772585669782</c:v>
                </c:pt>
                <c:pt idx="74">
                  <c:v>1.3932180720545277</c:v>
                </c:pt>
                <c:pt idx="75">
                  <c:v>1.4601633624107853</c:v>
                </c:pt>
                <c:pt idx="76">
                  <c:v>1.4721656332327795</c:v>
                </c:pt>
                <c:pt idx="77">
                  <c:v>1.4173729955395775</c:v>
                </c:pt>
                <c:pt idx="78">
                  <c:v>1.4105120028972744</c:v>
                </c:pt>
                <c:pt idx="79">
                  <c:v>1.4695233581133762</c:v>
                </c:pt>
                <c:pt idx="80">
                  <c:v>1.5699745816564288</c:v>
                </c:pt>
                <c:pt idx="81">
                  <c:v>1.5703621058082686</c:v>
                </c:pt>
                <c:pt idx="82">
                  <c:v>1.4789052138254248</c:v>
                </c:pt>
                <c:pt idx="83">
                  <c:v>1.582846443873179</c:v>
                </c:pt>
                <c:pt idx="84">
                  <c:v>1.482183970292434</c:v>
                </c:pt>
                <c:pt idx="85">
                  <c:v>1.3901664233576643</c:v>
                </c:pt>
                <c:pt idx="86">
                  <c:v>1.4585831879955706</c:v>
                </c:pt>
                <c:pt idx="87">
                  <c:v>1.5646135389888602</c:v>
                </c:pt>
                <c:pt idx="88">
                  <c:v>1.5898841527407765</c:v>
                </c:pt>
                <c:pt idx="89">
                  <c:v>1.601320676846884</c:v>
                </c:pt>
                <c:pt idx="90">
                  <c:v>1.5138751211631665</c:v>
                </c:pt>
                <c:pt idx="91">
                  <c:v>1.5394583815028902</c:v>
                </c:pt>
                <c:pt idx="92">
                  <c:v>1.5354323001631323</c:v>
                </c:pt>
                <c:pt idx="93">
                  <c:v>1.5351180842279109</c:v>
                </c:pt>
                <c:pt idx="94">
                  <c:v>1.5562251485618155</c:v>
                </c:pt>
                <c:pt idx="95">
                  <c:v>1.552851775392238</c:v>
                </c:pt>
                <c:pt idx="96">
                  <c:v>1.3453260320048863</c:v>
                </c:pt>
                <c:pt idx="97">
                  <c:v>1.4212393063583815</c:v>
                </c:pt>
                <c:pt idx="98">
                  <c:v>1.4208896258503403</c:v>
                </c:pt>
                <c:pt idx="99">
                  <c:v>1.3248103770739066</c:v>
                </c:pt>
                <c:pt idx="100">
                  <c:v>1.1703185287551823</c:v>
                </c:pt>
                <c:pt idx="101">
                  <c:v>1.3877742064250387</c:v>
                </c:pt>
                <c:pt idx="102">
                  <c:v>1.550087792345854</c:v>
                </c:pt>
                <c:pt idx="103">
                  <c:v>1.2135964588144728</c:v>
                </c:pt>
                <c:pt idx="104">
                  <c:v>1.1985262509622787</c:v>
                </c:pt>
              </c:numCache>
            </c:numRef>
          </c:xVal>
          <c:yVal>
            <c:numRef>
              <c:f>Sheet1!$B$2:$B$106</c:f>
              <c:numCache>
                <c:formatCode>General</c:formatCode>
                <c:ptCount val="105"/>
                <c:pt idx="0">
                  <c:v>0.978021978021978</c:v>
                </c:pt>
                <c:pt idx="1">
                  <c:v>0.9826839826839827</c:v>
                </c:pt>
                <c:pt idx="2">
                  <c:v>0.963265306122449</c:v>
                </c:pt>
                <c:pt idx="3">
                  <c:v>0.9808306709265175</c:v>
                </c:pt>
                <c:pt idx="4">
                  <c:v>0.9812206572769953</c:v>
                </c:pt>
                <c:pt idx="5">
                  <c:v>0.9875776397515528</c:v>
                </c:pt>
                <c:pt idx="6">
                  <c:v>0.9493670886075949</c:v>
                </c:pt>
                <c:pt idx="7">
                  <c:v>0.9695121951219512</c:v>
                </c:pt>
                <c:pt idx="8">
                  <c:v>0.9454545454545454</c:v>
                </c:pt>
                <c:pt idx="9">
                  <c:v>0.9435483870967742</c:v>
                </c:pt>
                <c:pt idx="10">
                  <c:v>0.9451219512195121</c:v>
                </c:pt>
                <c:pt idx="11">
                  <c:v>0.967741935483871</c:v>
                </c:pt>
                <c:pt idx="12">
                  <c:v>0.9469026548672567</c:v>
                </c:pt>
                <c:pt idx="13">
                  <c:v>0.9553072625698324</c:v>
                </c:pt>
                <c:pt idx="14">
                  <c:v>0.94375</c:v>
                </c:pt>
                <c:pt idx="15">
                  <c:v>0.928</c:v>
                </c:pt>
                <c:pt idx="16">
                  <c:v>0.9428571428571428</c:v>
                </c:pt>
                <c:pt idx="17">
                  <c:v>0.9680851063829787</c:v>
                </c:pt>
                <c:pt idx="18">
                  <c:v>0.9436619718309859</c:v>
                </c:pt>
                <c:pt idx="19">
                  <c:v>0.9423076923076923</c:v>
                </c:pt>
                <c:pt idx="20">
                  <c:v>0.9506172839506173</c:v>
                </c:pt>
                <c:pt idx="21">
                  <c:v>0.9433962264150944</c:v>
                </c:pt>
                <c:pt idx="22">
                  <c:v>0.9491525423728814</c:v>
                </c:pt>
                <c:pt idx="23">
                  <c:v>0.8936170212765957</c:v>
                </c:pt>
                <c:pt idx="24">
                  <c:v>0.9302325581395349</c:v>
                </c:pt>
                <c:pt idx="25">
                  <c:v>0.926829268292683</c:v>
                </c:pt>
                <c:pt idx="26">
                  <c:v>0.9516129032258065</c:v>
                </c:pt>
                <c:pt idx="27">
                  <c:v>0.9666666666666667</c:v>
                </c:pt>
                <c:pt idx="28">
                  <c:v>0.967741935483871</c:v>
                </c:pt>
                <c:pt idx="29">
                  <c:v>0.9636363636363636</c:v>
                </c:pt>
                <c:pt idx="30">
                  <c:v>0.9736842105263158</c:v>
                </c:pt>
                <c:pt idx="31">
                  <c:v>0.9090909090909091</c:v>
                </c:pt>
                <c:pt idx="32">
                  <c:v>0.9365079365079365</c:v>
                </c:pt>
                <c:pt idx="33">
                  <c:v>0.9245283018867925</c:v>
                </c:pt>
                <c:pt idx="34">
                  <c:v>0.9538461538461539</c:v>
                </c:pt>
                <c:pt idx="35">
                  <c:v>0.9523809523809523</c:v>
                </c:pt>
                <c:pt idx="36">
                  <c:v>0.8787878787878788</c:v>
                </c:pt>
                <c:pt idx="37">
                  <c:v>0.9387755102040817</c:v>
                </c:pt>
                <c:pt idx="38">
                  <c:v>0.9230769230769231</c:v>
                </c:pt>
                <c:pt idx="39">
                  <c:v>0.8214285714285714</c:v>
                </c:pt>
                <c:pt idx="40">
                  <c:v>0.9333333333333333</c:v>
                </c:pt>
                <c:pt idx="41">
                  <c:v>0.926829268292683</c:v>
                </c:pt>
                <c:pt idx="42">
                  <c:v>0.9</c:v>
                </c:pt>
                <c:pt idx="43">
                  <c:v>0.96</c:v>
                </c:pt>
                <c:pt idx="44">
                  <c:v>0.9534883720930233</c:v>
                </c:pt>
                <c:pt idx="45">
                  <c:v>0.9743589743589743</c:v>
                </c:pt>
                <c:pt idx="46">
                  <c:v>0.9444444444444444</c:v>
                </c:pt>
                <c:pt idx="47">
                  <c:v>0.8947368421052632</c:v>
                </c:pt>
                <c:pt idx="48">
                  <c:v>0.8775510204081632</c:v>
                </c:pt>
                <c:pt idx="49">
                  <c:v>0.9540229885057471</c:v>
                </c:pt>
                <c:pt idx="50">
                  <c:v>0.9767441860465116</c:v>
                </c:pt>
                <c:pt idx="51">
                  <c:v>0.9344262295081968</c:v>
                </c:pt>
                <c:pt idx="52">
                  <c:v>0.9746835443037974</c:v>
                </c:pt>
                <c:pt idx="53">
                  <c:v>0.90625</c:v>
                </c:pt>
                <c:pt idx="54">
                  <c:v>0.9210526315789473</c:v>
                </c:pt>
                <c:pt idx="55">
                  <c:v>0.9418604651162791</c:v>
                </c:pt>
                <c:pt idx="56">
                  <c:v>0.9375</c:v>
                </c:pt>
                <c:pt idx="57">
                  <c:v>0.9509803921568627</c:v>
                </c:pt>
                <c:pt idx="58">
                  <c:v>0.9652173913043478</c:v>
                </c:pt>
                <c:pt idx="59">
                  <c:v>0.9659090909090909</c:v>
                </c:pt>
                <c:pt idx="60">
                  <c:v>0.9565217391304348</c:v>
                </c:pt>
                <c:pt idx="61">
                  <c:v>0.9703703703703703</c:v>
                </c:pt>
                <c:pt idx="62">
                  <c:v>0.96</c:v>
                </c:pt>
                <c:pt idx="63">
                  <c:v>0.9776119402985075</c:v>
                </c:pt>
                <c:pt idx="64">
                  <c:v>0.9835526315789473</c:v>
                </c:pt>
                <c:pt idx="65">
                  <c:v>0.9820143884892086</c:v>
                </c:pt>
                <c:pt idx="66">
                  <c:v>0.9698275862068966</c:v>
                </c:pt>
                <c:pt idx="67">
                  <c:v>0.9743589743589743</c:v>
                </c:pt>
                <c:pt idx="68">
                  <c:v>0.9693877551020408</c:v>
                </c:pt>
                <c:pt idx="69">
                  <c:v>0.9333333333333333</c:v>
                </c:pt>
                <c:pt idx="70">
                  <c:v>0.9338235294117647</c:v>
                </c:pt>
                <c:pt idx="71">
                  <c:v>0.9193548387096774</c:v>
                </c:pt>
                <c:pt idx="72">
                  <c:v>0.904</c:v>
                </c:pt>
                <c:pt idx="73">
                  <c:v>0.936</c:v>
                </c:pt>
                <c:pt idx="74">
                  <c:v>0.9363636363636364</c:v>
                </c:pt>
                <c:pt idx="75">
                  <c:v>0.912621359223301</c:v>
                </c:pt>
                <c:pt idx="76">
                  <c:v>0.90625</c:v>
                </c:pt>
                <c:pt idx="77">
                  <c:v>0.9207920792079208</c:v>
                </c:pt>
                <c:pt idx="78">
                  <c:v>0.9523809523809523</c:v>
                </c:pt>
                <c:pt idx="79">
                  <c:v>0.9342105263157895</c:v>
                </c:pt>
                <c:pt idx="80">
                  <c:v>0.898876404494382</c:v>
                </c:pt>
                <c:pt idx="81">
                  <c:v>0.90625</c:v>
                </c:pt>
                <c:pt idx="82">
                  <c:v>0.926829268292683</c:v>
                </c:pt>
                <c:pt idx="83">
                  <c:v>0.88</c:v>
                </c:pt>
                <c:pt idx="84">
                  <c:v>0.8857142857142857</c:v>
                </c:pt>
                <c:pt idx="85">
                  <c:v>0.8873239436619719</c:v>
                </c:pt>
                <c:pt idx="86">
                  <c:v>0.8990825688073395</c:v>
                </c:pt>
                <c:pt idx="87">
                  <c:v>0.9398496240601504</c:v>
                </c:pt>
                <c:pt idx="88">
                  <c:v>0.8878504672897196</c:v>
                </c:pt>
                <c:pt idx="89">
                  <c:v>0.868421052631579</c:v>
                </c:pt>
                <c:pt idx="90">
                  <c:v>0.9117647058823529</c:v>
                </c:pt>
                <c:pt idx="91">
                  <c:v>0.8979591836734694</c:v>
                </c:pt>
                <c:pt idx="92">
                  <c:v>0.8771929824561403</c:v>
                </c:pt>
                <c:pt idx="93">
                  <c:v>0.9145299145299145</c:v>
                </c:pt>
                <c:pt idx="94">
                  <c:v>0.8977272727272727</c:v>
                </c:pt>
                <c:pt idx="95">
                  <c:v>0.94</c:v>
                </c:pt>
                <c:pt idx="96">
                  <c:v>0.9241071428571429</c:v>
                </c:pt>
                <c:pt idx="97">
                  <c:v>0.9375</c:v>
                </c:pt>
                <c:pt idx="98">
                  <c:v>0.9308176100628931</c:v>
                </c:pt>
                <c:pt idx="99">
                  <c:v>0.9421965317919075</c:v>
                </c:pt>
                <c:pt idx="100">
                  <c:v>0.9565846599131693</c:v>
                </c:pt>
                <c:pt idx="101">
                  <c:v>0.9363636363636364</c:v>
                </c:pt>
                <c:pt idx="102">
                  <c:v>0.933579335793358</c:v>
                </c:pt>
                <c:pt idx="103">
                  <c:v>0.9458483754512635</c:v>
                </c:pt>
                <c:pt idx="104">
                  <c:v>0.957597173144876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346369591133392</c:v>
                </c:pt>
                <c:pt idx="1">
                  <c:v>1.4049446500244738</c:v>
                </c:pt>
                <c:pt idx="2">
                  <c:v>1.4628068014606233</c:v>
                </c:pt>
                <c:pt idx="3">
                  <c:v>1.3838609741897925</c:v>
                </c:pt>
                <c:pt idx="4">
                  <c:v>1.2666020896051002</c:v>
                </c:pt>
                <c:pt idx="5">
                  <c:v>1.3909038421860656</c:v>
                </c:pt>
                <c:pt idx="6">
                  <c:v>1.5152207438016527</c:v>
                </c:pt>
                <c:pt idx="7">
                  <c:v>1.2973543872113678</c:v>
                </c:pt>
                <c:pt idx="8">
                  <c:v>1.4028937351895734</c:v>
                </c:pt>
                <c:pt idx="9">
                  <c:v>1.19334509164628</c:v>
                </c:pt>
                <c:pt idx="10">
                  <c:v>1.3105501200960767</c:v>
                </c:pt>
                <c:pt idx="11">
                  <c:v>1.3823729586582314</c:v>
                </c:pt>
                <c:pt idx="12">
                  <c:v>1.5274304787005348</c:v>
                </c:pt>
                <c:pt idx="13">
                  <c:v>1.350711164084227</c:v>
                </c:pt>
                <c:pt idx="14">
                  <c:v>1.4202930818784427</c:v>
                </c:pt>
                <c:pt idx="15">
                  <c:v>1.188078446740292</c:v>
                </c:pt>
                <c:pt idx="16">
                  <c:v>1.4606356780167264</c:v>
                </c:pt>
                <c:pt idx="17">
                  <c:v>1.4591192612137203</c:v>
                </c:pt>
                <c:pt idx="18">
                  <c:v>1.6421210645894189</c:v>
                </c:pt>
                <c:pt idx="19">
                  <c:v>1.6234849555755215</c:v>
                </c:pt>
                <c:pt idx="20">
                  <c:v>1.4907850975753991</c:v>
                </c:pt>
                <c:pt idx="21">
                  <c:v>1.446100281137801</c:v>
                </c:pt>
                <c:pt idx="22">
                  <c:v>1.3770116635514018</c:v>
                </c:pt>
                <c:pt idx="23">
                  <c:v>1.3976164615384614</c:v>
                </c:pt>
                <c:pt idx="24">
                  <c:v>1.7415626226583407</c:v>
                </c:pt>
                <c:pt idx="25">
                  <c:v>1.647512269446672</c:v>
                </c:pt>
                <c:pt idx="26">
                  <c:v>1.564123651452282</c:v>
                </c:pt>
                <c:pt idx="27">
                  <c:v>1.6172636503067483</c:v>
                </c:pt>
                <c:pt idx="28">
                  <c:v>1.4699092423107742</c:v>
                </c:pt>
                <c:pt idx="29">
                  <c:v>1.3222176489533013</c:v>
                </c:pt>
                <c:pt idx="30">
                  <c:v>1.576629740061162</c:v>
                </c:pt>
                <c:pt idx="31">
                  <c:v>1.3707819165342465</c:v>
                </c:pt>
                <c:pt idx="32">
                  <c:v>1.7868898988166695</c:v>
                </c:pt>
                <c:pt idx="33">
                  <c:v>1.5479015866947046</c:v>
                </c:pt>
                <c:pt idx="34">
                  <c:v>1.598968921504628</c:v>
                </c:pt>
                <c:pt idx="35">
                  <c:v>1.6324845776354777</c:v>
                </c:pt>
                <c:pt idx="36">
                  <c:v>1.7036424505928853</c:v>
                </c:pt>
                <c:pt idx="37">
                  <c:v>1.6296363207547169</c:v>
                </c:pt>
                <c:pt idx="38">
                  <c:v>1.6123416093813183</c:v>
                </c:pt>
                <c:pt idx="39">
                  <c:v>1.576218287846329</c:v>
                </c:pt>
                <c:pt idx="40">
                  <c:v>1.7200739695570377</c:v>
                </c:pt>
                <c:pt idx="41">
                  <c:v>1.7400887634684452</c:v>
                </c:pt>
                <c:pt idx="42">
                  <c:v>1.6492169149895883</c:v>
                </c:pt>
                <c:pt idx="43">
                  <c:v>1.5580796238479104</c:v>
                </c:pt>
                <c:pt idx="44">
                  <c:v>1.3371250389087248</c:v>
                </c:pt>
                <c:pt idx="45">
                  <c:v>1.2708954626986926</c:v>
                </c:pt>
                <c:pt idx="46">
                  <c:v>1.3704208290252844</c:v>
                </c:pt>
                <c:pt idx="47">
                  <c:v>1.5213090305874737</c:v>
                </c:pt>
                <c:pt idx="48">
                  <c:v>1.1647594368519654</c:v>
                </c:pt>
                <c:pt idx="49">
                  <c:v>1.192080652368186</c:v>
                </c:pt>
                <c:pt idx="50">
                  <c:v>1.0887322856160861</c:v>
                </c:pt>
                <c:pt idx="51">
                  <c:v>1.2062914353687548</c:v>
                </c:pt>
              </c:numCache>
            </c:numRef>
          </c:xVal>
          <c:yVal>
            <c:numRef>
              <c:f>Sheet1!$B$109:$B$160</c:f>
              <c:numCache>
                <c:formatCode>General</c:formatCode>
                <c:ptCount val="52"/>
                <c:pt idx="0">
                  <c:v>0.9375</c:v>
                </c:pt>
                <c:pt idx="1">
                  <c:v>0.9177489177489178</c:v>
                </c:pt>
                <c:pt idx="2">
                  <c:v>0.9111111111111111</c:v>
                </c:pt>
                <c:pt idx="3">
                  <c:v>0.9166666666666666</c:v>
                </c:pt>
                <c:pt idx="4">
                  <c:v>0.9166666666666666</c:v>
                </c:pt>
                <c:pt idx="5">
                  <c:v>0.8987854251012146</c:v>
                </c:pt>
                <c:pt idx="6">
                  <c:v>0.9257425742574258</c:v>
                </c:pt>
                <c:pt idx="7">
                  <c:v>0.9193548387096774</c:v>
                </c:pt>
                <c:pt idx="8">
                  <c:v>0.8985507246376812</c:v>
                </c:pt>
                <c:pt idx="9">
                  <c:v>0.8736842105263158</c:v>
                </c:pt>
                <c:pt idx="10">
                  <c:v>0.9132653061224489</c:v>
                </c:pt>
                <c:pt idx="11">
                  <c:v>0.883495145631068</c:v>
                </c:pt>
                <c:pt idx="12">
                  <c:v>0.9074889867841409</c:v>
                </c:pt>
                <c:pt idx="13">
                  <c:v>0.9065040650406504</c:v>
                </c:pt>
                <c:pt idx="14">
                  <c:v>0.9069767441860465</c:v>
                </c:pt>
                <c:pt idx="15">
                  <c:v>0.8952380952380953</c:v>
                </c:pt>
                <c:pt idx="16">
                  <c:v>0.9069767441860465</c:v>
                </c:pt>
                <c:pt idx="17">
                  <c:v>0.9078947368421053</c:v>
                </c:pt>
                <c:pt idx="18">
                  <c:v>0.8444444444444444</c:v>
                </c:pt>
                <c:pt idx="19">
                  <c:v>0.8672566371681416</c:v>
                </c:pt>
                <c:pt idx="20">
                  <c:v>0.808695652173913</c:v>
                </c:pt>
                <c:pt idx="21">
                  <c:v>0.8518518518518519</c:v>
                </c:pt>
                <c:pt idx="22">
                  <c:v>0.8526315789473684</c:v>
                </c:pt>
                <c:pt idx="23">
                  <c:v>0.8765432098765432</c:v>
                </c:pt>
                <c:pt idx="24">
                  <c:v>0.8674698795180723</c:v>
                </c:pt>
                <c:pt idx="25">
                  <c:v>0.8375</c:v>
                </c:pt>
                <c:pt idx="26">
                  <c:v>0.8472222222222222</c:v>
                </c:pt>
                <c:pt idx="27">
                  <c:v>0.7906976744186046</c:v>
                </c:pt>
                <c:pt idx="28">
                  <c:v>0.8148148148148148</c:v>
                </c:pt>
                <c:pt idx="29">
                  <c:v>0.8536585365853658</c:v>
                </c:pt>
                <c:pt idx="30">
                  <c:v>0.8817204301075269</c:v>
                </c:pt>
                <c:pt idx="31">
                  <c:v>0.8833333333333333</c:v>
                </c:pt>
                <c:pt idx="32">
                  <c:v>0.8157894736842105</c:v>
                </c:pt>
                <c:pt idx="33">
                  <c:v>0.8282828282828283</c:v>
                </c:pt>
                <c:pt idx="34">
                  <c:v>0.9226804123711341</c:v>
                </c:pt>
                <c:pt idx="35">
                  <c:v>0.8959537572254336</c:v>
                </c:pt>
                <c:pt idx="36">
                  <c:v>0.8666666666666667</c:v>
                </c:pt>
                <c:pt idx="37">
                  <c:v>0.7959183673469388</c:v>
                </c:pt>
                <c:pt idx="38">
                  <c:v>0.8412698412698413</c:v>
                </c:pt>
                <c:pt idx="39">
                  <c:v>0.8305084745762712</c:v>
                </c:pt>
                <c:pt idx="40">
                  <c:v>0.8148148148148148</c:v>
                </c:pt>
                <c:pt idx="41">
                  <c:v>0.816793893129771</c:v>
                </c:pt>
                <c:pt idx="42">
                  <c:v>0.7967479674796748</c:v>
                </c:pt>
                <c:pt idx="43">
                  <c:v>0.8260869565217391</c:v>
                </c:pt>
                <c:pt idx="44">
                  <c:v>0.8847926267281107</c:v>
                </c:pt>
                <c:pt idx="45">
                  <c:v>0.8741935483870967</c:v>
                </c:pt>
                <c:pt idx="46">
                  <c:v>0.8514851485148515</c:v>
                </c:pt>
                <c:pt idx="47">
                  <c:v>0.8768472906403941</c:v>
                </c:pt>
                <c:pt idx="48">
                  <c:v>0.7623762376237624</c:v>
                </c:pt>
                <c:pt idx="49">
                  <c:v>0.7648725212464589</c:v>
                </c:pt>
                <c:pt idx="50">
                  <c:v>0.8571428571428571</c:v>
                </c:pt>
                <c:pt idx="51">
                  <c:v>0.825641025641025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4962863788320724</c:v>
                </c:pt>
              </c:numCache>
            </c:numRef>
          </c:xVal>
          <c:yVal>
            <c:numRef>
              <c:f>Sheet1!$B$163:$B$164</c:f>
              <c:numCache>
                <c:formatCode>General</c:formatCode>
                <c:ptCount val="2"/>
                <c:pt idx="0">
                  <c:v>0.9708815626630629</c:v>
                </c:pt>
                <c:pt idx="1">
                  <c:v>0.970881562663062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4962863788320724</c:v>
                </c:pt>
                <c:pt idx="1">
                  <c:v>-0.4962863788320724</c:v>
                </c:pt>
              </c:numCache>
            </c:numRef>
          </c:xVal>
          <c:yVal>
            <c:numRef>
              <c:f>Sheet1!$B$167:$B$168</c:f>
              <c:numCache>
                <c:formatCode>General</c:formatCode>
                <c:ptCount val="2"/>
                <c:pt idx="0">
                  <c:v>0.970881562663062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201577887366642</c:v>
                </c:pt>
              </c:numCache>
            </c:numRef>
          </c:xVal>
          <c:yVal>
            <c:numRef>
              <c:f>Sheet1!$B$171:$B$172</c:f>
              <c:numCache>
                <c:formatCode>General</c:formatCode>
                <c:ptCount val="2"/>
                <c:pt idx="0">
                  <c:v>0.9157918805443734</c:v>
                </c:pt>
                <c:pt idx="1">
                  <c:v>0.915791880544373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201577887366642</c:v>
                </c:pt>
                <c:pt idx="1">
                  <c:v>0.5201577887366642</c:v>
                </c:pt>
              </c:numCache>
            </c:numRef>
          </c:xVal>
          <c:yVal>
            <c:numRef>
              <c:f>Sheet1!$B$175:$B$176</c:f>
              <c:numCache>
                <c:formatCode>General</c:formatCode>
                <c:ptCount val="2"/>
                <c:pt idx="0">
                  <c:v>0.91579188054437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114003278916218</c:v>
                </c:pt>
              </c:numCache>
            </c:numRef>
          </c:xVal>
          <c:yVal>
            <c:numRef>
              <c:f>Sheet1!$B$179:$B$180</c:f>
              <c:numCache>
                <c:formatCode>General</c:formatCode>
                <c:ptCount val="2"/>
                <c:pt idx="0">
                  <c:v>0.8294079509574483</c:v>
                </c:pt>
                <c:pt idx="1">
                  <c:v>0.829407950957448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114003278916218</c:v>
                </c:pt>
                <c:pt idx="1">
                  <c:v>2.114003278916218</c:v>
                </c:pt>
              </c:numCache>
            </c:numRef>
          </c:xVal>
          <c:yVal>
            <c:numRef>
              <c:f>Sheet1!$B$183:$B$184</c:f>
              <c:numCache>
                <c:formatCode>General</c:formatCode>
                <c:ptCount val="2"/>
                <c:pt idx="0">
                  <c:v>0.829407950957448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346369591133392</c:v>
                </c:pt>
                <c:pt idx="1">
                  <c:v>1.4049446500244738</c:v>
                </c:pt>
                <c:pt idx="2">
                  <c:v>1.4628068014606233</c:v>
                </c:pt>
                <c:pt idx="3">
                  <c:v>1.3838609741897925</c:v>
                </c:pt>
                <c:pt idx="4">
                  <c:v>1.2666020896051002</c:v>
                </c:pt>
                <c:pt idx="5">
                  <c:v>1.3909038421860656</c:v>
                </c:pt>
                <c:pt idx="6">
                  <c:v>1.5152207438016527</c:v>
                </c:pt>
                <c:pt idx="7">
                  <c:v>1.2973543872113678</c:v>
                </c:pt>
                <c:pt idx="8">
                  <c:v>1.4028937351895734</c:v>
                </c:pt>
                <c:pt idx="9">
                  <c:v>1.19334509164628</c:v>
                </c:pt>
                <c:pt idx="10">
                  <c:v>1.3105501200960767</c:v>
                </c:pt>
                <c:pt idx="11">
                  <c:v>1.3823729586582314</c:v>
                </c:pt>
                <c:pt idx="12">
                  <c:v>1.5274304787005348</c:v>
                </c:pt>
                <c:pt idx="13">
                  <c:v>1.350711164084227</c:v>
                </c:pt>
                <c:pt idx="14">
                  <c:v>1.4202930818784427</c:v>
                </c:pt>
                <c:pt idx="15">
                  <c:v>1.188078446740292</c:v>
                </c:pt>
                <c:pt idx="16">
                  <c:v>1.4606356780167264</c:v>
                </c:pt>
                <c:pt idx="17">
                  <c:v>1.4591192612137203</c:v>
                </c:pt>
                <c:pt idx="18">
                  <c:v>1.6421210645894189</c:v>
                </c:pt>
                <c:pt idx="19">
                  <c:v>1.6234849555755215</c:v>
                </c:pt>
                <c:pt idx="20">
                  <c:v>1.4907850975753991</c:v>
                </c:pt>
                <c:pt idx="21">
                  <c:v>1.446100281137801</c:v>
                </c:pt>
                <c:pt idx="22">
                  <c:v>1.3770116635514018</c:v>
                </c:pt>
                <c:pt idx="23">
                  <c:v>1.3976164615384614</c:v>
                </c:pt>
                <c:pt idx="24">
                  <c:v>1.7415626226583407</c:v>
                </c:pt>
                <c:pt idx="25">
                  <c:v>1.647512269446672</c:v>
                </c:pt>
                <c:pt idx="26">
                  <c:v>1.564123651452282</c:v>
                </c:pt>
                <c:pt idx="27">
                  <c:v>1.6172636503067483</c:v>
                </c:pt>
                <c:pt idx="28">
                  <c:v>1.4699092423107742</c:v>
                </c:pt>
                <c:pt idx="29">
                  <c:v>1.3222176489533013</c:v>
                </c:pt>
                <c:pt idx="30">
                  <c:v>1.576629740061162</c:v>
                </c:pt>
                <c:pt idx="31">
                  <c:v>1.3707819165342465</c:v>
                </c:pt>
                <c:pt idx="32">
                  <c:v>1.7868898988166695</c:v>
                </c:pt>
                <c:pt idx="33">
                  <c:v>1.5479015866947046</c:v>
                </c:pt>
                <c:pt idx="34">
                  <c:v>1.598968921504628</c:v>
                </c:pt>
                <c:pt idx="35">
                  <c:v>1.6324845776354777</c:v>
                </c:pt>
                <c:pt idx="36">
                  <c:v>1.7036424505928853</c:v>
                </c:pt>
                <c:pt idx="37">
                  <c:v>1.6296363207547169</c:v>
                </c:pt>
                <c:pt idx="38">
                  <c:v>1.6123416093813183</c:v>
                </c:pt>
                <c:pt idx="39">
                  <c:v>1.576218287846329</c:v>
                </c:pt>
                <c:pt idx="40">
                  <c:v>1.7200739695570377</c:v>
                </c:pt>
                <c:pt idx="41">
                  <c:v>1.7400887634684452</c:v>
                </c:pt>
                <c:pt idx="42">
                  <c:v>1.6492169149895883</c:v>
                </c:pt>
                <c:pt idx="43">
                  <c:v>1.5580796238479104</c:v>
                </c:pt>
                <c:pt idx="44">
                  <c:v>1.3371250389087248</c:v>
                </c:pt>
                <c:pt idx="45">
                  <c:v>1.2708954626986926</c:v>
                </c:pt>
                <c:pt idx="46">
                  <c:v>1.3704208290252844</c:v>
                </c:pt>
                <c:pt idx="47">
                  <c:v>1.5213090305874737</c:v>
                </c:pt>
                <c:pt idx="48">
                  <c:v>1.1647594368519654</c:v>
                </c:pt>
                <c:pt idx="49">
                  <c:v>1.192080652368186</c:v>
                </c:pt>
                <c:pt idx="50">
                  <c:v>1.0887322856160861</c:v>
                </c:pt>
                <c:pt idx="51">
                  <c:v>1.2062914353687548</c:v>
                </c:pt>
                <c:pt idx="52">
                  <c:v>0.5201577887366642</c:v>
                </c:pt>
                <c:pt idx="53">
                  <c:v>-0.4962863788320724</c:v>
                </c:pt>
                <c:pt idx="54">
                  <c:v>2.114003278916218</c:v>
                </c:pt>
              </c:numCache>
            </c:numRef>
          </c:xVal>
          <c:yVal>
            <c:numRef>
              <c:f>Sheet1!$B$187:$B$241</c:f>
              <c:numCache>
                <c:formatCode>General</c:formatCode>
                <c:ptCount val="55"/>
                <c:pt idx="0">
                  <c:v>0.8710124947118828</c:v>
                </c:pt>
                <c:pt idx="1">
                  <c:v>0.8678378182492181</c:v>
                </c:pt>
                <c:pt idx="2">
                  <c:v>0.8647017802541894</c:v>
                </c:pt>
                <c:pt idx="3">
                  <c:v>0.8689805204621732</c:v>
                </c:pt>
                <c:pt idx="4">
                  <c:v>0.8753357683778695</c:v>
                </c:pt>
                <c:pt idx="5">
                  <c:v>0.8685988080459894</c:v>
                </c:pt>
                <c:pt idx="6">
                  <c:v>0.8618610266601565</c:v>
                </c:pt>
                <c:pt idx="7">
                  <c:v>0.87366904200607</c:v>
                </c:pt>
                <c:pt idx="8">
                  <c:v>0.867948974621513</c:v>
                </c:pt>
                <c:pt idx="9">
                  <c:v>0.8793061829459161</c:v>
                </c:pt>
                <c:pt idx="10">
                  <c:v>0.8729538539483919</c:v>
                </c:pt>
                <c:pt idx="11">
                  <c:v>0.869061168573734</c:v>
                </c:pt>
                <c:pt idx="12">
                  <c:v>0.8611992781492257</c:v>
                </c:pt>
                <c:pt idx="13">
                  <c:v>0.8707771882569019</c:v>
                </c:pt>
                <c:pt idx="14">
                  <c:v>0.8670059572785581</c:v>
                </c:pt>
                <c:pt idx="15">
                  <c:v>0.8795916268521926</c:v>
                </c:pt>
                <c:pt idx="16">
                  <c:v>0.8648194517448438</c:v>
                </c:pt>
                <c:pt idx="17">
                  <c:v>0.8649016391608401</c:v>
                </c:pt>
                <c:pt idx="18">
                  <c:v>0.8549832280008564</c:v>
                </c:pt>
                <c:pt idx="19">
                  <c:v>0.8559932759250434</c:v>
                </c:pt>
                <c:pt idx="20">
                  <c:v>0.8631854004191097</c:v>
                </c:pt>
                <c:pt idx="21">
                  <c:v>0.8656072474930788</c:v>
                </c:pt>
                <c:pt idx="22">
                  <c:v>0.8693517423726729</c:v>
                </c:pt>
                <c:pt idx="23">
                  <c:v>0.8682349945891306</c:v>
                </c:pt>
                <c:pt idx="24">
                  <c:v>0.8495936512801717</c:v>
                </c:pt>
                <c:pt idx="25">
                  <c:v>0.8546910331402835</c:v>
                </c:pt>
                <c:pt idx="26">
                  <c:v>0.8592105656480217</c:v>
                </c:pt>
                <c:pt idx="27">
                  <c:v>0.8563304609279736</c:v>
                </c:pt>
                <c:pt idx="28">
                  <c:v>0.8643168390826172</c:v>
                </c:pt>
                <c:pt idx="29">
                  <c:v>0.8723214921558179</c:v>
                </c:pt>
                <c:pt idx="30">
                  <c:v>0.8585327552301024</c:v>
                </c:pt>
                <c:pt idx="31">
                  <c:v>0.8696893849051456</c:v>
                </c:pt>
                <c:pt idx="32">
                  <c:v>0.8471369838954386</c:v>
                </c:pt>
                <c:pt idx="33">
                  <c:v>0.8600897761539379</c:v>
                </c:pt>
                <c:pt idx="34">
                  <c:v>0.8573220065792878</c:v>
                </c:pt>
                <c:pt idx="35">
                  <c:v>0.8555055105029079</c:v>
                </c:pt>
                <c:pt idx="36">
                  <c:v>0.8516488652226835</c:v>
                </c:pt>
                <c:pt idx="37">
                  <c:v>0.8556598815654414</c:v>
                </c:pt>
                <c:pt idx="38">
                  <c:v>0.8565972278381578</c:v>
                </c:pt>
                <c:pt idx="39">
                  <c:v>0.8585550552958073</c:v>
                </c:pt>
                <c:pt idx="40">
                  <c:v>0.8507583026267785</c:v>
                </c:pt>
                <c:pt idx="41">
                  <c:v>0.8496735321401833</c:v>
                </c:pt>
                <c:pt idx="42">
                  <c:v>0.8545986440213524</c:v>
                </c:pt>
                <c:pt idx="43">
                  <c:v>0.8595381424791603</c:v>
                </c:pt>
                <c:pt idx="44">
                  <c:v>0.8715135349653821</c:v>
                </c:pt>
                <c:pt idx="45">
                  <c:v>0.8751030742796696</c:v>
                </c:pt>
                <c:pt idx="46">
                  <c:v>0.869708955282664</c:v>
                </c:pt>
                <c:pt idx="47">
                  <c:v>0.8615310510506938</c:v>
                </c:pt>
                <c:pt idx="48">
                  <c:v>0.8808554806702958</c:v>
                </c:pt>
                <c:pt idx="49">
                  <c:v>0.8793747135746619</c:v>
                </c:pt>
                <c:pt idx="50">
                  <c:v>0.8849760332078664</c:v>
                </c:pt>
                <c:pt idx="51">
                  <c:v>0.8786045113902846</c:v>
                </c:pt>
                <c:pt idx="52">
                  <c:v>0.9157918805443734</c:v>
                </c:pt>
                <c:pt idx="53">
                  <c:v>0.9708815626630629</c:v>
                </c:pt>
                <c:pt idx="54">
                  <c:v>0.829407950957448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850931677018632"/>
          <c:min val="0.6099009900990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302.0899</c:v>
                </c:pt>
                <c:pt idx="1">
                  <c:v>1246.6123</c:v>
                </c:pt>
                <c:pt idx="2">
                  <c:v>1198.7839</c:v>
                </c:pt>
                <c:pt idx="3">
                  <c:v>1206.5505</c:v>
                </c:pt>
                <c:pt idx="4">
                  <c:v>1249.5024</c:v>
                </c:pt>
                <c:pt idx="5">
                  <c:v>1411.3711</c:v>
                </c:pt>
                <c:pt idx="6">
                  <c:v>1440.2667</c:v>
                </c:pt>
                <c:pt idx="7">
                  <c:v>1420.4088</c:v>
                </c:pt>
                <c:pt idx="8">
                  <c:v>1499.6538</c:v>
                </c:pt>
                <c:pt idx="9">
                  <c:v>1315.1453</c:v>
                </c:pt>
                <c:pt idx="10">
                  <c:v>1119.4</c:v>
                </c:pt>
                <c:pt idx="11">
                  <c:v>1114.5556</c:v>
                </c:pt>
                <c:pt idx="12">
                  <c:v>1078.0047</c:v>
                </c:pt>
                <c:pt idx="13">
                  <c:v>1085.8363</c:v>
                </c:pt>
                <c:pt idx="14">
                  <c:v>1471.4702</c:v>
                </c:pt>
                <c:pt idx="15">
                  <c:v>1455.3879</c:v>
                </c:pt>
                <c:pt idx="16">
                  <c:v>1488.9495</c:v>
                </c:pt>
                <c:pt idx="17">
                  <c:v>1429.8242</c:v>
                </c:pt>
                <c:pt idx="18">
                  <c:v>1585.1045</c:v>
                </c:pt>
                <c:pt idx="19">
                  <c:v>1544.551</c:v>
                </c:pt>
                <c:pt idx="20">
                  <c:v>1471.4805</c:v>
                </c:pt>
                <c:pt idx="21">
                  <c:v>1504.58</c:v>
                </c:pt>
                <c:pt idx="22">
                  <c:v>1490.875</c:v>
                </c:pt>
                <c:pt idx="23">
                  <c:v>1619.5714</c:v>
                </c:pt>
                <c:pt idx="24">
                  <c:v>1795.375</c:v>
                </c:pt>
                <c:pt idx="25">
                  <c:v>1640.3684</c:v>
                </c:pt>
                <c:pt idx="26">
                  <c:v>1601.339</c:v>
                </c:pt>
                <c:pt idx="27">
                  <c:v>1688.7931</c:v>
                </c:pt>
                <c:pt idx="28">
                  <c:v>1683.1333</c:v>
                </c:pt>
                <c:pt idx="29">
                  <c:v>1832.1321</c:v>
                </c:pt>
                <c:pt idx="30">
                  <c:v>1593.6216</c:v>
                </c:pt>
                <c:pt idx="31">
                  <c:v>1533.05</c:v>
                </c:pt>
                <c:pt idx="32">
                  <c:v>1394.4576</c:v>
                </c:pt>
                <c:pt idx="33">
                  <c:v>1441.9388</c:v>
                </c:pt>
                <c:pt idx="34">
                  <c:v>1256.9032</c:v>
                </c:pt>
                <c:pt idx="35">
                  <c:v>1361.2625</c:v>
                </c:pt>
                <c:pt idx="36">
                  <c:v>1562.0</c:v>
                </c:pt>
                <c:pt idx="37">
                  <c:v>1604.9565</c:v>
                </c:pt>
                <c:pt idx="38">
                  <c:v>1768.6389</c:v>
                </c:pt>
                <c:pt idx="39">
                  <c:v>2198.1304</c:v>
                </c:pt>
                <c:pt idx="40">
                  <c:v>1901.0238</c:v>
                </c:pt>
                <c:pt idx="41">
                  <c:v>1912.9211</c:v>
                </c:pt>
                <c:pt idx="42">
                  <c:v>2165.4815</c:v>
                </c:pt>
                <c:pt idx="43">
                  <c:v>1713.6806</c:v>
                </c:pt>
                <c:pt idx="44">
                  <c:v>1911.0488</c:v>
                </c:pt>
                <c:pt idx="45">
                  <c:v>1836.5263</c:v>
                </c:pt>
                <c:pt idx="46">
                  <c:v>1774.5</c:v>
                </c:pt>
                <c:pt idx="47">
                  <c:v>1870.0882</c:v>
                </c:pt>
                <c:pt idx="48">
                  <c:v>1836.8605</c:v>
                </c:pt>
                <c:pt idx="49">
                  <c:v>1677.4578</c:v>
                </c:pt>
                <c:pt idx="50">
                  <c:v>1855.0476</c:v>
                </c:pt>
                <c:pt idx="51">
                  <c:v>1855.8246</c:v>
                </c:pt>
                <c:pt idx="52">
                  <c:v>1813.1948</c:v>
                </c:pt>
                <c:pt idx="53">
                  <c:v>1874.7586</c:v>
                </c:pt>
                <c:pt idx="54">
                  <c:v>1896.5571</c:v>
                </c:pt>
                <c:pt idx="55">
                  <c:v>1874.4568</c:v>
                </c:pt>
                <c:pt idx="56">
                  <c:v>1892.6111</c:v>
                </c:pt>
                <c:pt idx="57">
                  <c:v>1841.8969</c:v>
                </c:pt>
                <c:pt idx="58">
                  <c:v>1847.5766</c:v>
                </c:pt>
                <c:pt idx="59">
                  <c:v>1764.0882</c:v>
                </c:pt>
                <c:pt idx="60">
                  <c:v>1729.9261</c:v>
                </c:pt>
                <c:pt idx="61">
                  <c:v>1668.542</c:v>
                </c:pt>
                <c:pt idx="62">
                  <c:v>1554.4762</c:v>
                </c:pt>
                <c:pt idx="63">
                  <c:v>1466.6374</c:v>
                </c:pt>
                <c:pt idx="64">
                  <c:v>1420.3645</c:v>
                </c:pt>
                <c:pt idx="65">
                  <c:v>1415.6813</c:v>
                </c:pt>
                <c:pt idx="66">
                  <c:v>1688.7511</c:v>
                </c:pt>
                <c:pt idx="67">
                  <c:v>1727.1974</c:v>
                </c:pt>
                <c:pt idx="68">
                  <c:v>1703.1368</c:v>
                </c:pt>
                <c:pt idx="69">
                  <c:v>1764.3304</c:v>
                </c:pt>
                <c:pt idx="70">
                  <c:v>1796.3543</c:v>
                </c:pt>
                <c:pt idx="71">
                  <c:v>1770.5175</c:v>
                </c:pt>
                <c:pt idx="72">
                  <c:v>1827.5487</c:v>
                </c:pt>
                <c:pt idx="73">
                  <c:v>1814.0</c:v>
                </c:pt>
                <c:pt idx="74">
                  <c:v>1788.5437</c:v>
                </c:pt>
                <c:pt idx="75">
                  <c:v>1841.266</c:v>
                </c:pt>
                <c:pt idx="76">
                  <c:v>1789.908</c:v>
                </c:pt>
                <c:pt idx="77">
                  <c:v>1722.5806</c:v>
                </c:pt>
                <c:pt idx="78">
                  <c:v>1776.775</c:v>
                </c:pt>
                <c:pt idx="79">
                  <c:v>1850.6197</c:v>
                </c:pt>
                <c:pt idx="80">
                  <c:v>1852.9625</c:v>
                </c:pt>
                <c:pt idx="81">
                  <c:v>1835.2299</c:v>
                </c:pt>
                <c:pt idx="82">
                  <c:v>1893.3684</c:v>
                </c:pt>
                <c:pt idx="83">
                  <c:v>1847.1818</c:v>
                </c:pt>
                <c:pt idx="84">
                  <c:v>1915.871</c:v>
                </c:pt>
                <c:pt idx="85">
                  <c:v>1809.3016</c:v>
                </c:pt>
                <c:pt idx="86">
                  <c:v>1851.7755</c:v>
                </c:pt>
                <c:pt idx="87">
                  <c:v>1825.904</c:v>
                </c:pt>
                <c:pt idx="88">
                  <c:v>1969.3895</c:v>
                </c:pt>
                <c:pt idx="89">
                  <c:v>1940.0</c:v>
                </c:pt>
                <c:pt idx="90">
                  <c:v>1874.1774</c:v>
                </c:pt>
                <c:pt idx="91">
                  <c:v>1864.2841</c:v>
                </c:pt>
                <c:pt idx="92">
                  <c:v>1882.44</c:v>
                </c:pt>
                <c:pt idx="93">
                  <c:v>1859.028</c:v>
                </c:pt>
                <c:pt idx="94">
                  <c:v>1974.4051</c:v>
                </c:pt>
                <c:pt idx="95">
                  <c:v>1880.5035</c:v>
                </c:pt>
                <c:pt idx="96">
                  <c:v>1609.1594</c:v>
                </c:pt>
                <c:pt idx="97">
                  <c:v>1721.1208</c:v>
                </c:pt>
                <c:pt idx="98">
                  <c:v>1670.9662</c:v>
                </c:pt>
                <c:pt idx="99">
                  <c:v>1646.9049</c:v>
                </c:pt>
                <c:pt idx="100">
                  <c:v>1376.1483</c:v>
                </c:pt>
                <c:pt idx="101">
                  <c:v>1740.7314</c:v>
                </c:pt>
                <c:pt idx="102">
                  <c:v>1749.7391</c:v>
                </c:pt>
                <c:pt idx="103">
                  <c:v>1576.4618</c:v>
                </c:pt>
                <c:pt idx="104">
                  <c:v>1556.8856</c:v>
                </c:pt>
              </c:numCache>
            </c:numRef>
          </c:xVal>
          <c:yVal>
            <c:numRef>
              <c:f>Sheet1!$B$2:$B$106</c:f>
              <c:numCache>
                <c:formatCode>General</c:formatCode>
                <c:ptCount val="105"/>
                <c:pt idx="0">
                  <c:v>0.978021978021978</c:v>
                </c:pt>
                <c:pt idx="1">
                  <c:v>0.9826839826839827</c:v>
                </c:pt>
                <c:pt idx="2">
                  <c:v>0.963265306122449</c:v>
                </c:pt>
                <c:pt idx="3">
                  <c:v>0.9808306709265175</c:v>
                </c:pt>
                <c:pt idx="4">
                  <c:v>0.9812206572769953</c:v>
                </c:pt>
                <c:pt idx="5">
                  <c:v>0.9875776397515528</c:v>
                </c:pt>
                <c:pt idx="6">
                  <c:v>0.9493670886075949</c:v>
                </c:pt>
                <c:pt idx="7">
                  <c:v>0.9695121951219512</c:v>
                </c:pt>
                <c:pt idx="8">
                  <c:v>0.9454545454545454</c:v>
                </c:pt>
                <c:pt idx="9">
                  <c:v>0.9435483870967742</c:v>
                </c:pt>
                <c:pt idx="10">
                  <c:v>0.9451219512195121</c:v>
                </c:pt>
                <c:pt idx="11">
                  <c:v>0.967741935483871</c:v>
                </c:pt>
                <c:pt idx="12">
                  <c:v>0.9469026548672567</c:v>
                </c:pt>
                <c:pt idx="13">
                  <c:v>0.9553072625698324</c:v>
                </c:pt>
                <c:pt idx="14">
                  <c:v>0.94375</c:v>
                </c:pt>
                <c:pt idx="15">
                  <c:v>0.928</c:v>
                </c:pt>
                <c:pt idx="16">
                  <c:v>0.9428571428571428</c:v>
                </c:pt>
                <c:pt idx="17">
                  <c:v>0.9680851063829787</c:v>
                </c:pt>
                <c:pt idx="18">
                  <c:v>0.9436619718309859</c:v>
                </c:pt>
                <c:pt idx="19">
                  <c:v>0.9423076923076923</c:v>
                </c:pt>
                <c:pt idx="20">
                  <c:v>0.9506172839506173</c:v>
                </c:pt>
                <c:pt idx="21">
                  <c:v>0.9433962264150944</c:v>
                </c:pt>
                <c:pt idx="22">
                  <c:v>0.9491525423728814</c:v>
                </c:pt>
                <c:pt idx="23">
                  <c:v>0.8936170212765957</c:v>
                </c:pt>
                <c:pt idx="24">
                  <c:v>0.9302325581395349</c:v>
                </c:pt>
                <c:pt idx="25">
                  <c:v>0.926829268292683</c:v>
                </c:pt>
                <c:pt idx="26">
                  <c:v>0.9516129032258065</c:v>
                </c:pt>
                <c:pt idx="27">
                  <c:v>0.9666666666666667</c:v>
                </c:pt>
                <c:pt idx="28">
                  <c:v>0.967741935483871</c:v>
                </c:pt>
                <c:pt idx="29">
                  <c:v>0.9636363636363636</c:v>
                </c:pt>
                <c:pt idx="30">
                  <c:v>0.9736842105263158</c:v>
                </c:pt>
                <c:pt idx="31">
                  <c:v>0.9090909090909091</c:v>
                </c:pt>
                <c:pt idx="32">
                  <c:v>0.9365079365079365</c:v>
                </c:pt>
                <c:pt idx="33">
                  <c:v>0.9245283018867925</c:v>
                </c:pt>
                <c:pt idx="34">
                  <c:v>0.9538461538461539</c:v>
                </c:pt>
                <c:pt idx="35">
                  <c:v>0.9523809523809523</c:v>
                </c:pt>
                <c:pt idx="36">
                  <c:v>0.8787878787878788</c:v>
                </c:pt>
                <c:pt idx="37">
                  <c:v>0.9387755102040817</c:v>
                </c:pt>
                <c:pt idx="38">
                  <c:v>0.9230769230769231</c:v>
                </c:pt>
                <c:pt idx="39">
                  <c:v>0.8214285714285714</c:v>
                </c:pt>
                <c:pt idx="40">
                  <c:v>0.9333333333333333</c:v>
                </c:pt>
                <c:pt idx="41">
                  <c:v>0.926829268292683</c:v>
                </c:pt>
                <c:pt idx="42">
                  <c:v>0.9</c:v>
                </c:pt>
                <c:pt idx="43">
                  <c:v>0.96</c:v>
                </c:pt>
                <c:pt idx="44">
                  <c:v>0.9534883720930233</c:v>
                </c:pt>
                <c:pt idx="45">
                  <c:v>0.9743589743589743</c:v>
                </c:pt>
                <c:pt idx="46">
                  <c:v>0.9444444444444444</c:v>
                </c:pt>
                <c:pt idx="47">
                  <c:v>0.8947368421052632</c:v>
                </c:pt>
                <c:pt idx="48">
                  <c:v>0.8775510204081632</c:v>
                </c:pt>
                <c:pt idx="49">
                  <c:v>0.9540229885057471</c:v>
                </c:pt>
                <c:pt idx="50">
                  <c:v>0.9767441860465116</c:v>
                </c:pt>
                <c:pt idx="51">
                  <c:v>0.9344262295081968</c:v>
                </c:pt>
                <c:pt idx="52">
                  <c:v>0.9746835443037974</c:v>
                </c:pt>
                <c:pt idx="53">
                  <c:v>0.90625</c:v>
                </c:pt>
                <c:pt idx="54">
                  <c:v>0.9210526315789473</c:v>
                </c:pt>
                <c:pt idx="55">
                  <c:v>0.9418604651162791</c:v>
                </c:pt>
                <c:pt idx="56">
                  <c:v>0.9375</c:v>
                </c:pt>
                <c:pt idx="57">
                  <c:v>0.9509803921568627</c:v>
                </c:pt>
                <c:pt idx="58">
                  <c:v>0.9652173913043478</c:v>
                </c:pt>
                <c:pt idx="59">
                  <c:v>0.9659090909090909</c:v>
                </c:pt>
                <c:pt idx="60">
                  <c:v>0.9565217391304348</c:v>
                </c:pt>
                <c:pt idx="61">
                  <c:v>0.9703703703703703</c:v>
                </c:pt>
                <c:pt idx="62">
                  <c:v>0.96</c:v>
                </c:pt>
                <c:pt idx="63">
                  <c:v>0.9776119402985075</c:v>
                </c:pt>
                <c:pt idx="64">
                  <c:v>0.9835526315789473</c:v>
                </c:pt>
                <c:pt idx="65">
                  <c:v>0.9820143884892086</c:v>
                </c:pt>
                <c:pt idx="66">
                  <c:v>0.9698275862068966</c:v>
                </c:pt>
                <c:pt idx="67">
                  <c:v>0.9743589743589743</c:v>
                </c:pt>
                <c:pt idx="68">
                  <c:v>0.9693877551020408</c:v>
                </c:pt>
                <c:pt idx="69">
                  <c:v>0.9333333333333333</c:v>
                </c:pt>
                <c:pt idx="70">
                  <c:v>0.9338235294117647</c:v>
                </c:pt>
                <c:pt idx="71">
                  <c:v>0.9193548387096774</c:v>
                </c:pt>
                <c:pt idx="72">
                  <c:v>0.904</c:v>
                </c:pt>
                <c:pt idx="73">
                  <c:v>0.936</c:v>
                </c:pt>
                <c:pt idx="74">
                  <c:v>0.9363636363636364</c:v>
                </c:pt>
                <c:pt idx="75">
                  <c:v>0.912621359223301</c:v>
                </c:pt>
                <c:pt idx="76">
                  <c:v>0.90625</c:v>
                </c:pt>
                <c:pt idx="77">
                  <c:v>0.9207920792079208</c:v>
                </c:pt>
                <c:pt idx="78">
                  <c:v>0.9523809523809523</c:v>
                </c:pt>
                <c:pt idx="79">
                  <c:v>0.9342105263157895</c:v>
                </c:pt>
                <c:pt idx="80">
                  <c:v>0.898876404494382</c:v>
                </c:pt>
                <c:pt idx="81">
                  <c:v>0.90625</c:v>
                </c:pt>
                <c:pt idx="82">
                  <c:v>0.926829268292683</c:v>
                </c:pt>
                <c:pt idx="83">
                  <c:v>0.88</c:v>
                </c:pt>
                <c:pt idx="84">
                  <c:v>0.8857142857142857</c:v>
                </c:pt>
                <c:pt idx="85">
                  <c:v>0.8873239436619719</c:v>
                </c:pt>
                <c:pt idx="86">
                  <c:v>0.8990825688073395</c:v>
                </c:pt>
                <c:pt idx="87">
                  <c:v>0.9398496240601504</c:v>
                </c:pt>
                <c:pt idx="88">
                  <c:v>0.8878504672897196</c:v>
                </c:pt>
                <c:pt idx="89">
                  <c:v>0.868421052631579</c:v>
                </c:pt>
                <c:pt idx="90">
                  <c:v>0.9117647058823529</c:v>
                </c:pt>
                <c:pt idx="91">
                  <c:v>0.8979591836734694</c:v>
                </c:pt>
                <c:pt idx="92">
                  <c:v>0.8771929824561403</c:v>
                </c:pt>
                <c:pt idx="93">
                  <c:v>0.9145299145299145</c:v>
                </c:pt>
                <c:pt idx="94">
                  <c:v>0.8977272727272727</c:v>
                </c:pt>
                <c:pt idx="95">
                  <c:v>0.94</c:v>
                </c:pt>
                <c:pt idx="96">
                  <c:v>0.9241071428571429</c:v>
                </c:pt>
                <c:pt idx="97">
                  <c:v>0.9375</c:v>
                </c:pt>
                <c:pt idx="98">
                  <c:v>0.9308176100628931</c:v>
                </c:pt>
                <c:pt idx="99">
                  <c:v>0.9421965317919075</c:v>
                </c:pt>
                <c:pt idx="100">
                  <c:v>0.9565846599131693</c:v>
                </c:pt>
                <c:pt idx="101">
                  <c:v>0.9363636363636364</c:v>
                </c:pt>
                <c:pt idx="102">
                  <c:v>0.933579335793358</c:v>
                </c:pt>
                <c:pt idx="103">
                  <c:v>0.9458483754512635</c:v>
                </c:pt>
                <c:pt idx="104">
                  <c:v>0.957597173144876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729.1873</c:v>
                </c:pt>
                <c:pt idx="1">
                  <c:v>1793.9387</c:v>
                </c:pt>
                <c:pt idx="2">
                  <c:v>1797.1626</c:v>
                </c:pt>
                <c:pt idx="3">
                  <c:v>1782.7589</c:v>
                </c:pt>
                <c:pt idx="4">
                  <c:v>1788.1255</c:v>
                </c:pt>
                <c:pt idx="5">
                  <c:v>1831.6216</c:v>
                </c:pt>
                <c:pt idx="6">
                  <c:v>1833.4171</c:v>
                </c:pt>
                <c:pt idx="7">
                  <c:v>1826.0263</c:v>
                </c:pt>
                <c:pt idx="8">
                  <c:v>1894.4677</c:v>
                </c:pt>
                <c:pt idx="9">
                  <c:v>1603.0602</c:v>
                </c:pt>
                <c:pt idx="10">
                  <c:v>1636.8771</c:v>
                </c:pt>
                <c:pt idx="11">
                  <c:v>1879.1978</c:v>
                </c:pt>
                <c:pt idx="12">
                  <c:v>1858.3738</c:v>
                </c:pt>
                <c:pt idx="13">
                  <c:v>1699.87</c:v>
                </c:pt>
                <c:pt idx="14">
                  <c:v>1901.5949</c:v>
                </c:pt>
                <c:pt idx="15">
                  <c:v>1667.4681</c:v>
                </c:pt>
                <c:pt idx="16">
                  <c:v>1956.0833</c:v>
                </c:pt>
                <c:pt idx="17">
                  <c:v>1935.5217</c:v>
                </c:pt>
                <c:pt idx="18">
                  <c:v>2023.75</c:v>
                </c:pt>
                <c:pt idx="19">
                  <c:v>2032.8061</c:v>
                </c:pt>
                <c:pt idx="20">
                  <c:v>1890.6882</c:v>
                </c:pt>
                <c:pt idx="21">
                  <c:v>1876.7971</c:v>
                </c:pt>
                <c:pt idx="22">
                  <c:v>1841.7531</c:v>
                </c:pt>
                <c:pt idx="23">
                  <c:v>1816.9014</c:v>
                </c:pt>
                <c:pt idx="24">
                  <c:v>1952.2917</c:v>
                </c:pt>
                <c:pt idx="25">
                  <c:v>2054.4478</c:v>
                </c:pt>
                <c:pt idx="26">
                  <c:v>2073.2459</c:v>
                </c:pt>
                <c:pt idx="27">
                  <c:v>2108.9118</c:v>
                </c:pt>
                <c:pt idx="28">
                  <c:v>2054.4432</c:v>
                </c:pt>
                <c:pt idx="29">
                  <c:v>2052.7429</c:v>
                </c:pt>
                <c:pt idx="30">
                  <c:v>2062.2317</c:v>
                </c:pt>
                <c:pt idx="31">
                  <c:v>2030.5849</c:v>
                </c:pt>
                <c:pt idx="32">
                  <c:v>2083.871</c:v>
                </c:pt>
                <c:pt idx="33">
                  <c:v>2024.2683</c:v>
                </c:pt>
                <c:pt idx="34">
                  <c:v>1998.9777</c:v>
                </c:pt>
                <c:pt idx="35">
                  <c:v>2032.9097</c:v>
                </c:pt>
                <c:pt idx="36">
                  <c:v>2155.1077</c:v>
                </c:pt>
                <c:pt idx="37">
                  <c:v>2072.8974</c:v>
                </c:pt>
                <c:pt idx="38">
                  <c:v>1993.6604</c:v>
                </c:pt>
                <c:pt idx="39">
                  <c:v>2001.3469</c:v>
                </c:pt>
                <c:pt idx="40">
                  <c:v>2011.4545</c:v>
                </c:pt>
                <c:pt idx="41">
                  <c:v>2034.8598</c:v>
                </c:pt>
                <c:pt idx="42">
                  <c:v>2034.898</c:v>
                </c:pt>
                <c:pt idx="43">
                  <c:v>1944.625</c:v>
                </c:pt>
                <c:pt idx="44">
                  <c:v>1825.6771</c:v>
                </c:pt>
                <c:pt idx="45">
                  <c:v>1738.3026</c:v>
                </c:pt>
                <c:pt idx="46">
                  <c:v>1822.4884</c:v>
                </c:pt>
                <c:pt idx="47">
                  <c:v>1880.0337</c:v>
                </c:pt>
                <c:pt idx="48">
                  <c:v>1643.2814</c:v>
                </c:pt>
                <c:pt idx="49">
                  <c:v>1600.7259</c:v>
                </c:pt>
                <c:pt idx="50">
                  <c:v>1434.016</c:v>
                </c:pt>
                <c:pt idx="51">
                  <c:v>1521.1335</c:v>
                </c:pt>
              </c:numCache>
            </c:numRef>
          </c:xVal>
          <c:yVal>
            <c:numRef>
              <c:f>Sheet1!$B$109:$B$160</c:f>
              <c:numCache>
                <c:formatCode>General</c:formatCode>
                <c:ptCount val="52"/>
                <c:pt idx="0">
                  <c:v>0.9375</c:v>
                </c:pt>
                <c:pt idx="1">
                  <c:v>0.9177489177489178</c:v>
                </c:pt>
                <c:pt idx="2">
                  <c:v>0.9111111111111111</c:v>
                </c:pt>
                <c:pt idx="3">
                  <c:v>0.9166666666666666</c:v>
                </c:pt>
                <c:pt idx="4">
                  <c:v>0.9166666666666666</c:v>
                </c:pt>
                <c:pt idx="5">
                  <c:v>0.8987854251012146</c:v>
                </c:pt>
                <c:pt idx="6">
                  <c:v>0.9257425742574258</c:v>
                </c:pt>
                <c:pt idx="7">
                  <c:v>0.9193548387096774</c:v>
                </c:pt>
                <c:pt idx="8">
                  <c:v>0.8985507246376812</c:v>
                </c:pt>
                <c:pt idx="9">
                  <c:v>0.8736842105263158</c:v>
                </c:pt>
                <c:pt idx="10">
                  <c:v>0.9132653061224489</c:v>
                </c:pt>
                <c:pt idx="11">
                  <c:v>0.883495145631068</c:v>
                </c:pt>
                <c:pt idx="12">
                  <c:v>0.9074889867841409</c:v>
                </c:pt>
                <c:pt idx="13">
                  <c:v>0.9065040650406504</c:v>
                </c:pt>
                <c:pt idx="14">
                  <c:v>0.9069767441860465</c:v>
                </c:pt>
                <c:pt idx="15">
                  <c:v>0.8952380952380953</c:v>
                </c:pt>
                <c:pt idx="16">
                  <c:v>0.9069767441860465</c:v>
                </c:pt>
                <c:pt idx="17">
                  <c:v>0.9078947368421053</c:v>
                </c:pt>
                <c:pt idx="18">
                  <c:v>0.8444444444444444</c:v>
                </c:pt>
                <c:pt idx="19">
                  <c:v>0.8672566371681416</c:v>
                </c:pt>
                <c:pt idx="20">
                  <c:v>0.808695652173913</c:v>
                </c:pt>
                <c:pt idx="21">
                  <c:v>0.8518518518518519</c:v>
                </c:pt>
                <c:pt idx="22">
                  <c:v>0.8526315789473684</c:v>
                </c:pt>
                <c:pt idx="23">
                  <c:v>0.8765432098765432</c:v>
                </c:pt>
                <c:pt idx="24">
                  <c:v>0.8674698795180723</c:v>
                </c:pt>
                <c:pt idx="25">
                  <c:v>0.8375</c:v>
                </c:pt>
                <c:pt idx="26">
                  <c:v>0.8472222222222222</c:v>
                </c:pt>
                <c:pt idx="27">
                  <c:v>0.7906976744186046</c:v>
                </c:pt>
                <c:pt idx="28">
                  <c:v>0.8148148148148148</c:v>
                </c:pt>
                <c:pt idx="29">
                  <c:v>0.8536585365853658</c:v>
                </c:pt>
                <c:pt idx="30">
                  <c:v>0.8817204301075269</c:v>
                </c:pt>
                <c:pt idx="31">
                  <c:v>0.8833333333333333</c:v>
                </c:pt>
                <c:pt idx="32">
                  <c:v>0.8157894736842105</c:v>
                </c:pt>
                <c:pt idx="33">
                  <c:v>0.8282828282828283</c:v>
                </c:pt>
                <c:pt idx="34">
                  <c:v>0.9226804123711341</c:v>
                </c:pt>
                <c:pt idx="35">
                  <c:v>0.8959537572254336</c:v>
                </c:pt>
                <c:pt idx="36">
                  <c:v>0.8666666666666667</c:v>
                </c:pt>
                <c:pt idx="37">
                  <c:v>0.7959183673469388</c:v>
                </c:pt>
                <c:pt idx="38">
                  <c:v>0.8412698412698413</c:v>
                </c:pt>
                <c:pt idx="39">
                  <c:v>0.8305084745762712</c:v>
                </c:pt>
                <c:pt idx="40">
                  <c:v>0.8148148148148148</c:v>
                </c:pt>
                <c:pt idx="41">
                  <c:v>0.816793893129771</c:v>
                </c:pt>
                <c:pt idx="42">
                  <c:v>0.7967479674796748</c:v>
                </c:pt>
                <c:pt idx="43">
                  <c:v>0.8260869565217391</c:v>
                </c:pt>
                <c:pt idx="44">
                  <c:v>0.8847926267281107</c:v>
                </c:pt>
                <c:pt idx="45">
                  <c:v>0.8741935483870967</c:v>
                </c:pt>
                <c:pt idx="46">
                  <c:v>0.8514851485148515</c:v>
                </c:pt>
                <c:pt idx="47">
                  <c:v>0.8768472906403941</c:v>
                </c:pt>
                <c:pt idx="48">
                  <c:v>0.7623762376237624</c:v>
                </c:pt>
                <c:pt idx="49">
                  <c:v>0.7648725212464589</c:v>
                </c:pt>
                <c:pt idx="50">
                  <c:v>0.8571428571428571</c:v>
                </c:pt>
                <c:pt idx="51">
                  <c:v>0.825641025641025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5.52527107000213</c:v>
                </c:pt>
              </c:numCache>
            </c:numRef>
          </c:xVal>
          <c:yVal>
            <c:numRef>
              <c:f>Sheet1!$B$163:$B$164</c:f>
              <c:numCache>
                <c:formatCode>General</c:formatCode>
                <c:ptCount val="2"/>
                <c:pt idx="0">
                  <c:v>0.9708815626630629</c:v>
                </c:pt>
                <c:pt idx="1">
                  <c:v>0.970881562663062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5.52527107000213</c:v>
                </c:pt>
                <c:pt idx="1">
                  <c:v>-75.52527107000213</c:v>
                </c:pt>
              </c:numCache>
            </c:numRef>
          </c:xVal>
          <c:yVal>
            <c:numRef>
              <c:f>Sheet1!$B$167:$B$168</c:f>
              <c:numCache>
                <c:formatCode>General</c:formatCode>
                <c:ptCount val="2"/>
                <c:pt idx="0">
                  <c:v>0.970881562663062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43.950663300248</c:v>
                </c:pt>
              </c:numCache>
            </c:numRef>
          </c:xVal>
          <c:yVal>
            <c:numRef>
              <c:f>Sheet1!$B$171:$B$172</c:f>
              <c:numCache>
                <c:formatCode>General</c:formatCode>
                <c:ptCount val="2"/>
                <c:pt idx="0">
                  <c:v>0.9157918805443734</c:v>
                </c:pt>
                <c:pt idx="1">
                  <c:v>0.915791880544373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43.950663300248</c:v>
                </c:pt>
                <c:pt idx="1">
                  <c:v>943.950663300248</c:v>
                </c:pt>
              </c:numCache>
            </c:numRef>
          </c:xVal>
          <c:yVal>
            <c:numRef>
              <c:f>Sheet1!$B$175:$B$176</c:f>
              <c:numCache>
                <c:formatCode>General</c:formatCode>
                <c:ptCount val="2"/>
                <c:pt idx="0">
                  <c:v>0.91579188054437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2542.5501458760855</c:v>
                </c:pt>
              </c:numCache>
            </c:numRef>
          </c:xVal>
          <c:yVal>
            <c:numRef>
              <c:f>Sheet1!$B$179:$B$180</c:f>
              <c:numCache>
                <c:formatCode>General</c:formatCode>
                <c:ptCount val="2"/>
                <c:pt idx="0">
                  <c:v>0.8294079509574483</c:v>
                </c:pt>
                <c:pt idx="1">
                  <c:v>0.829407950957448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2542.5501458760855</c:v>
                </c:pt>
                <c:pt idx="1">
                  <c:v>2542.5501458760855</c:v>
                </c:pt>
              </c:numCache>
            </c:numRef>
          </c:xVal>
          <c:yVal>
            <c:numRef>
              <c:f>Sheet1!$B$183:$B$184</c:f>
              <c:numCache>
                <c:formatCode>General</c:formatCode>
                <c:ptCount val="2"/>
                <c:pt idx="0">
                  <c:v>0.829407950957448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729.1873</c:v>
                </c:pt>
                <c:pt idx="1">
                  <c:v>1793.9387</c:v>
                </c:pt>
                <c:pt idx="2">
                  <c:v>1797.1626</c:v>
                </c:pt>
                <c:pt idx="3">
                  <c:v>1782.7589</c:v>
                </c:pt>
                <c:pt idx="4">
                  <c:v>1788.1255</c:v>
                </c:pt>
                <c:pt idx="5">
                  <c:v>1831.6216</c:v>
                </c:pt>
                <c:pt idx="6">
                  <c:v>1833.4171</c:v>
                </c:pt>
                <c:pt idx="7">
                  <c:v>1826.0263</c:v>
                </c:pt>
                <c:pt idx="8">
                  <c:v>1894.4677</c:v>
                </c:pt>
                <c:pt idx="9">
                  <c:v>1603.0602</c:v>
                </c:pt>
                <c:pt idx="10">
                  <c:v>1636.8771</c:v>
                </c:pt>
                <c:pt idx="11">
                  <c:v>1879.1978</c:v>
                </c:pt>
                <c:pt idx="12">
                  <c:v>1858.3738</c:v>
                </c:pt>
                <c:pt idx="13">
                  <c:v>1699.87</c:v>
                </c:pt>
                <c:pt idx="14">
                  <c:v>1901.5949</c:v>
                </c:pt>
                <c:pt idx="15">
                  <c:v>1667.4681</c:v>
                </c:pt>
                <c:pt idx="16">
                  <c:v>1956.0833</c:v>
                </c:pt>
                <c:pt idx="17">
                  <c:v>1935.5217</c:v>
                </c:pt>
                <c:pt idx="18">
                  <c:v>2023.75</c:v>
                </c:pt>
                <c:pt idx="19">
                  <c:v>2032.8061</c:v>
                </c:pt>
                <c:pt idx="20">
                  <c:v>1890.6882</c:v>
                </c:pt>
                <c:pt idx="21">
                  <c:v>1876.7971</c:v>
                </c:pt>
                <c:pt idx="22">
                  <c:v>1841.7531</c:v>
                </c:pt>
                <c:pt idx="23">
                  <c:v>1816.9014</c:v>
                </c:pt>
                <c:pt idx="24">
                  <c:v>1952.2917</c:v>
                </c:pt>
                <c:pt idx="25">
                  <c:v>2054.4478</c:v>
                </c:pt>
                <c:pt idx="26">
                  <c:v>2073.2459</c:v>
                </c:pt>
                <c:pt idx="27">
                  <c:v>2108.9118</c:v>
                </c:pt>
                <c:pt idx="28">
                  <c:v>2054.4432</c:v>
                </c:pt>
                <c:pt idx="29">
                  <c:v>2052.7429</c:v>
                </c:pt>
                <c:pt idx="30">
                  <c:v>2062.2317</c:v>
                </c:pt>
                <c:pt idx="31">
                  <c:v>2030.5849</c:v>
                </c:pt>
                <c:pt idx="32">
                  <c:v>2083.871</c:v>
                </c:pt>
                <c:pt idx="33">
                  <c:v>2024.2683</c:v>
                </c:pt>
                <c:pt idx="34">
                  <c:v>1998.9777</c:v>
                </c:pt>
                <c:pt idx="35">
                  <c:v>2032.9097</c:v>
                </c:pt>
                <c:pt idx="36">
                  <c:v>2155.1077</c:v>
                </c:pt>
                <c:pt idx="37">
                  <c:v>2072.8974</c:v>
                </c:pt>
                <c:pt idx="38">
                  <c:v>1993.6604</c:v>
                </c:pt>
                <c:pt idx="39">
                  <c:v>2001.3469</c:v>
                </c:pt>
                <c:pt idx="40">
                  <c:v>2011.4545</c:v>
                </c:pt>
                <c:pt idx="41">
                  <c:v>2034.8598</c:v>
                </c:pt>
                <c:pt idx="42">
                  <c:v>2034.898</c:v>
                </c:pt>
                <c:pt idx="43">
                  <c:v>1944.625</c:v>
                </c:pt>
                <c:pt idx="44">
                  <c:v>1825.6771</c:v>
                </c:pt>
                <c:pt idx="45">
                  <c:v>1738.3026</c:v>
                </c:pt>
                <c:pt idx="46">
                  <c:v>1822.4884</c:v>
                </c:pt>
                <c:pt idx="47">
                  <c:v>1880.0337</c:v>
                </c:pt>
                <c:pt idx="48">
                  <c:v>1643.2814</c:v>
                </c:pt>
                <c:pt idx="49">
                  <c:v>1600.7259</c:v>
                </c:pt>
                <c:pt idx="50">
                  <c:v>1434.016</c:v>
                </c:pt>
                <c:pt idx="51">
                  <c:v>1521.1335</c:v>
                </c:pt>
                <c:pt idx="52">
                  <c:v>943.950663300248</c:v>
                </c:pt>
                <c:pt idx="53">
                  <c:v>-75.52527107000213</c:v>
                </c:pt>
                <c:pt idx="54">
                  <c:v>2542.5501458760855</c:v>
                </c:pt>
              </c:numCache>
            </c:numRef>
          </c:xVal>
          <c:yVal>
            <c:numRef>
              <c:f>Sheet1!$B$187:$B$241</c:f>
              <c:numCache>
                <c:formatCode>General</c:formatCode>
                <c:ptCount val="55"/>
                <c:pt idx="0">
                  <c:v>0.8733598473346246</c:v>
                </c:pt>
                <c:pt idx="1">
                  <c:v>0.8698608593521926</c:v>
                </c:pt>
                <c:pt idx="2">
                  <c:v>0.8696866486423614</c:v>
                </c:pt>
                <c:pt idx="3">
                  <c:v>0.8704649850675593</c:v>
                </c:pt>
                <c:pt idx="4">
                  <c:v>0.8701749887291554</c:v>
                </c:pt>
                <c:pt idx="5">
                  <c:v>0.8678245788355832</c:v>
                </c:pt>
                <c:pt idx="6">
                  <c:v>0.8677275549423167</c:v>
                </c:pt>
                <c:pt idx="7">
                  <c:v>0.8681269334944492</c:v>
                </c:pt>
                <c:pt idx="8">
                  <c:v>0.8644285480371338</c:v>
                </c:pt>
                <c:pt idx="9">
                  <c:v>0.8801754097341865</c:v>
                </c:pt>
                <c:pt idx="10">
                  <c:v>0.8783480372495283</c:v>
                </c:pt>
                <c:pt idx="11">
                  <c:v>0.8652536915335359</c:v>
                </c:pt>
                <c:pt idx="12">
                  <c:v>0.8663789633538543</c:v>
                </c:pt>
                <c:pt idx="13">
                  <c:v>0.8749440737818883</c:v>
                </c:pt>
                <c:pt idx="14">
                  <c:v>0.8640434137057001</c:v>
                </c:pt>
                <c:pt idx="15">
                  <c:v>0.8766949835492133</c:v>
                </c:pt>
                <c:pt idx="16">
                  <c:v>0.8610990100822735</c:v>
                </c:pt>
                <c:pt idx="17">
                  <c:v>0.8622101025266002</c:v>
                </c:pt>
                <c:pt idx="18">
                  <c:v>0.8574424872872324</c:v>
                </c:pt>
                <c:pt idx="19">
                  <c:v>0.8569531204925731</c:v>
                </c:pt>
                <c:pt idx="20">
                  <c:v>0.8646327818464352</c:v>
                </c:pt>
                <c:pt idx="21">
                  <c:v>0.8653834187741736</c:v>
                </c:pt>
                <c:pt idx="22">
                  <c:v>0.8672771003757505</c:v>
                </c:pt>
                <c:pt idx="23">
                  <c:v>0.8686200180523259</c:v>
                </c:pt>
                <c:pt idx="24">
                  <c:v>0.8613038977423734</c:v>
                </c:pt>
                <c:pt idx="25">
                  <c:v>0.8557836624079695</c:v>
                </c:pt>
                <c:pt idx="26">
                  <c:v>0.8547678646647152</c:v>
                </c:pt>
                <c:pt idx="27">
                  <c:v>0.852840577293591</c:v>
                </c:pt>
                <c:pt idx="28">
                  <c:v>0.8557839109793474</c:v>
                </c:pt>
                <c:pt idx="29">
                  <c:v>0.8558757905258364</c:v>
                </c:pt>
                <c:pt idx="30">
                  <c:v>0.8553630418104774</c:v>
                </c:pt>
                <c:pt idx="31">
                  <c:v>0.8570731480457469</c:v>
                </c:pt>
                <c:pt idx="32">
                  <c:v>0.8541937134152884</c:v>
                </c:pt>
                <c:pt idx="33">
                  <c:v>0.8574144797774134</c:v>
                </c:pt>
                <c:pt idx="34">
                  <c:v>0.8587811144056762</c:v>
                </c:pt>
                <c:pt idx="35">
                  <c:v>0.8569475222328446</c:v>
                </c:pt>
                <c:pt idx="36">
                  <c:v>0.8503442776160915</c:v>
                </c:pt>
                <c:pt idx="37">
                  <c:v>0.8547866966484543</c:v>
                </c:pt>
                <c:pt idx="38">
                  <c:v>0.8590684467073558</c:v>
                </c:pt>
                <c:pt idx="39">
                  <c:v>0.8586530893386045</c:v>
                </c:pt>
                <c:pt idx="40">
                  <c:v>0.8581069023691918</c:v>
                </c:pt>
                <c:pt idx="41">
                  <c:v>0.8568421441797903</c:v>
                </c:pt>
                <c:pt idx="42">
                  <c:v>0.8568400799566086</c:v>
                </c:pt>
                <c:pt idx="43">
                  <c:v>0.8617181851734546</c:v>
                </c:pt>
                <c:pt idx="44">
                  <c:v>0.8681458033042675</c:v>
                </c:pt>
                <c:pt idx="45">
                  <c:v>0.8728672815344062</c:v>
                </c:pt>
                <c:pt idx="46">
                  <c:v>0.8683181119026852</c:v>
                </c:pt>
                <c:pt idx="47">
                  <c:v>0.8652085217911903</c:v>
                </c:pt>
                <c:pt idx="48">
                  <c:v>0.8780019664505048</c:v>
                </c:pt>
                <c:pt idx="49">
                  <c:v>0.8803015489010214</c:v>
                </c:pt>
                <c:pt idx="50">
                  <c:v>0.8893100944560586</c:v>
                </c:pt>
                <c:pt idx="51">
                  <c:v>0.8846025038007289</c:v>
                </c:pt>
                <c:pt idx="52">
                  <c:v>0.9157918805443734</c:v>
                </c:pt>
                <c:pt idx="53">
                  <c:v>0.9708815626630629</c:v>
                </c:pt>
                <c:pt idx="54">
                  <c:v>0.829407950957448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5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850931677018632"/>
          <c:min val="0.6099009900990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3</c:f>
              <c:numCache>
                <c:formatCode>General</c:formatCode>
                <c:ptCount val="2"/>
                <c:pt idx="0">
                  <c:v>0.0</c:v>
                </c:pt>
                <c:pt idx="1">
                  <c:v>0.0</c:v>
                </c:pt>
              </c:numCache>
            </c:numRef>
          </c:xVal>
          <c:yVal>
            <c:numRef>
              <c:f>Sheet1!$B$2:$B$3</c:f>
              <c:numCache>
                <c:formatCode>General</c:formatCode>
                <c:ptCount val="2"/>
                <c:pt idx="0">
                  <c:v>0</c:v>
                </c:pt>
                <c:pt idx="1">
                  <c:v>0</c:v>
                </c:pt>
              </c:numCache>
            </c:numRef>
          </c:yVal>
          <c:smooth val="0"/>
          <c:extLst>
            <c:ext xmlns:c16="http://schemas.microsoft.com/office/drawing/2014/chart" uri="{C3380CC4-5D6E-409C-BE32-E72D297353CC}">
              <c16:uniqueId val="{00000000-096C-4121-9522-6AB7243CCAAE}"/>
            </c:ext>
          </c:extLst>
        </c:ser>
        <c:ser>
          <c:idx val="1"/>
          <c:order val="1"/>
          <c:tx>
            <c:strRef>
              <c:f>Sheet1!$B$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A$5</c:f>
              <c:numCache>
                <c:formatCode>General</c:formatCode>
                <c:ptCount val="0"/>
              </c:numCache>
            </c:numRef>
          </c:xVal>
          <c:yVal>
            <c:numRef>
              <c:f>Sheet1!$B$6:$B$5</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8:$A$9</c:f>
              <c:numCache>
                <c:formatCode>General</c:formatCode>
                <c:ptCount val="2"/>
                <c:pt idx="0">
                  <c:v>0</c:v>
                </c:pt>
                <c:pt idx="1">
                  <c:v>0.0</c:v>
                </c:pt>
              </c:numCache>
            </c:numRef>
          </c:xVal>
          <c:yVal>
            <c:numRef>
              <c:f>Sheet1!$B$8:$B$9</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A$13</c:f>
              <c:numCache>
                <c:formatCode>General</c:formatCode>
                <c:ptCount val="2"/>
                <c:pt idx="0">
                  <c:v>0.0</c:v>
                </c:pt>
                <c:pt idx="1">
                  <c:v>0.0</c:v>
                </c:pt>
              </c:numCache>
            </c:numRef>
          </c:xVal>
          <c:yVal>
            <c:numRef>
              <c:f>Sheet1!$B$12:$B$13</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5</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A$18</c:f>
              <c:numCache>
                <c:formatCode>General</c:formatCode>
                <c:ptCount val="3"/>
                <c:pt idx="0">
                  <c:v>0</c:v>
                </c:pt>
                <c:pt idx="1">
                  <c:v>0.0</c:v>
                </c:pt>
                <c:pt idx="2">
                  <c:v>0</c:v>
                </c:pt>
              </c:numCache>
            </c:numRef>
          </c:xVal>
          <c:yVal>
            <c:numRef>
              <c:f>Sheet1!$B$16:$B$18</c:f>
              <c:numCache>
                <c:formatCode>General</c:formatCode>
                <c:ptCount val="3"/>
                <c:pt idx="0">
                  <c:v>0</c:v>
                </c:pt>
                <c:pt idx="1">
                  <c:v>0.0</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1561551132419165</c:v>
                </c:pt>
                <c:pt idx="1">
                  <c:v>0.12610653266462812</c:v>
                </c:pt>
                <c:pt idx="2">
                  <c:v>0.1250429237718436</c:v>
                </c:pt>
                <c:pt idx="3">
                  <c:v>0.12878649198419548</c:v>
                </c:pt>
                <c:pt idx="4">
                  <c:v>0.11873781533125112</c:v>
                </c:pt>
                <c:pt idx="5">
                  <c:v>0.11088371610396273</c:v>
                </c:pt>
                <c:pt idx="6">
                  <c:v>0.11235018588737639</c:v>
                </c:pt>
                <c:pt idx="7">
                  <c:v>0.10748676775244216</c:v>
                </c:pt>
                <c:pt idx="8">
                  <c:v>0.10946414655066782</c:v>
                </c:pt>
                <c:pt idx="9">
                  <c:v>0.10354617426960255</c:v>
                </c:pt>
                <c:pt idx="10">
                  <c:v>0.09319048852928065</c:v>
                </c:pt>
                <c:pt idx="11">
                  <c:v>0.09558490968801235</c:v>
                </c:pt>
                <c:pt idx="12">
                  <c:v>0.09917742274503225</c:v>
                </c:pt>
                <c:pt idx="13">
                  <c:v>0.09705156663083073</c:v>
                </c:pt>
                <c:pt idx="14">
                  <c:v>0.11678252031833698</c:v>
                </c:pt>
                <c:pt idx="15">
                  <c:v>0.11397094720960271</c:v>
                </c:pt>
                <c:pt idx="16">
                  <c:v>0.11287687298485848</c:v>
                </c:pt>
                <c:pt idx="17">
                  <c:v>0.11626252672816824</c:v>
                </c:pt>
                <c:pt idx="18">
                  <c:v>0.11664806118818925</c:v>
                </c:pt>
                <c:pt idx="19">
                  <c:v>0.11719387507267791</c:v>
                </c:pt>
                <c:pt idx="20">
                  <c:v>0.12145679359592468</c:v>
                </c:pt>
                <c:pt idx="21">
                  <c:v>0.11071146377730565</c:v>
                </c:pt>
                <c:pt idx="22">
                  <c:v>0.10832803105431661</c:v>
                </c:pt>
                <c:pt idx="23">
                  <c:v>0.11459978823022512</c:v>
                </c:pt>
                <c:pt idx="24">
                  <c:v>0.11081532293358339</c:v>
                </c:pt>
                <c:pt idx="25">
                  <c:v>0.10910376823068121</c:v>
                </c:pt>
                <c:pt idx="26">
                  <c:v>0.11682833960633163</c:v>
                </c:pt>
                <c:pt idx="27">
                  <c:v>0.11210046331148762</c:v>
                </c:pt>
                <c:pt idx="28">
                  <c:v>0.11017110946531905</c:v>
                </c:pt>
                <c:pt idx="29">
                  <c:v>0.11259180500216234</c:v>
                </c:pt>
                <c:pt idx="30">
                  <c:v>0.11085465922313721</c:v>
                </c:pt>
                <c:pt idx="31">
                  <c:v>0.11180241660776544</c:v>
                </c:pt>
                <c:pt idx="32">
                  <c:v>0.10943364649423144</c:v>
                </c:pt>
                <c:pt idx="33">
                  <c:v>0.10946418697192026</c:v>
                </c:pt>
                <c:pt idx="34">
                  <c:v>0.11165008241170898</c:v>
                </c:pt>
                <c:pt idx="35">
                  <c:v>0.11304614448729434</c:v>
                </c:pt>
                <c:pt idx="36">
                  <c:v>0.11626457761937013</c:v>
                </c:pt>
                <c:pt idx="37">
                  <c:v>0.11456806428007232</c:v>
                </c:pt>
                <c:pt idx="38">
                  <c:v>0.1156513550931671</c:v>
                </c:pt>
                <c:pt idx="39">
                  <c:v>0.11911233885091776</c:v>
                </c:pt>
                <c:pt idx="40">
                  <c:v>0.12607939362692194</c:v>
                </c:pt>
                <c:pt idx="41">
                  <c:v>0.12252350585658608</c:v>
                </c:pt>
                <c:pt idx="42">
                  <c:v>0.12817924847415316</c:v>
                </c:pt>
                <c:pt idx="43">
                  <c:v>0.13102224156881348</c:v>
                </c:pt>
                <c:pt idx="44">
                  <c:v>0.14148615732308417</c:v>
                </c:pt>
                <c:pt idx="45">
                  <c:v>0.14229367999909387</c:v>
                </c:pt>
                <c:pt idx="46">
                  <c:v>0.13862106410466038</c:v>
                </c:pt>
                <c:pt idx="47">
                  <c:v>0.13462976691507855</c:v>
                </c:pt>
                <c:pt idx="48">
                  <c:v>0.13735530746488342</c:v>
                </c:pt>
                <c:pt idx="49">
                  <c:v>0.1353377913139008</c:v>
                </c:pt>
                <c:pt idx="50">
                  <c:v>0.12551176842202924</c:v>
                </c:pt>
                <c:pt idx="51">
                  <c:v>0.12312335238689444</c:v>
                </c:pt>
                <c:pt idx="52">
                  <c:v>0.12181172450896427</c:v>
                </c:pt>
                <c:pt idx="53">
                  <c:v>0.14195618793537867</c:v>
                </c:pt>
                <c:pt idx="54">
                  <c:v>0.13796777047147846</c:v>
                </c:pt>
                <c:pt idx="55">
                  <c:v>0.13044527510831558</c:v>
                </c:pt>
                <c:pt idx="56">
                  <c:v>0.12959129129592667</c:v>
                </c:pt>
                <c:pt idx="57">
                  <c:v>0.13495140209958237</c:v>
                </c:pt>
                <c:pt idx="58">
                  <c:v>0.14036890460606324</c:v>
                </c:pt>
                <c:pt idx="59">
                  <c:v>0.14868650410402431</c:v>
                </c:pt>
                <c:pt idx="60">
                  <c:v>0.15337366812153683</c:v>
                </c:pt>
                <c:pt idx="61">
                  <c:v>0.14097466363000943</c:v>
                </c:pt>
                <c:pt idx="62">
                  <c:v>0.1245653282388985</c:v>
                </c:pt>
                <c:pt idx="63">
                  <c:v>0.12926405956584103</c:v>
                </c:pt>
                <c:pt idx="64">
                  <c:v>0.12827042766562696</c:v>
                </c:pt>
                <c:pt idx="65">
                  <c:v>0.12797145568367238</c:v>
                </c:pt>
                <c:pt idx="66">
                  <c:v>0.13317156205777342</c:v>
                </c:pt>
                <c:pt idx="67">
                  <c:v>0.1320576652921015</c:v>
                </c:pt>
                <c:pt idx="68">
                  <c:v>0.12445482357470498</c:v>
                </c:pt>
                <c:pt idx="69">
                  <c:v>0.12693042131110924</c:v>
                </c:pt>
                <c:pt idx="70">
                  <c:v>0.12315431596008147</c:v>
                </c:pt>
                <c:pt idx="71">
                  <c:v>0.12558720625558825</c:v>
                </c:pt>
                <c:pt idx="72">
                  <c:v>0.130388681312282</c:v>
                </c:pt>
                <c:pt idx="73">
                  <c:v>0.1247817373193723</c:v>
                </c:pt>
                <c:pt idx="74">
                  <c:v>0.1266063198638991</c:v>
                </c:pt>
                <c:pt idx="75">
                  <c:v>0.11933724497717459</c:v>
                </c:pt>
                <c:pt idx="76">
                  <c:v>0.11603796434350162</c:v>
                </c:pt>
                <c:pt idx="77">
                  <c:v>0.11480349090115534</c:v>
                </c:pt>
                <c:pt idx="78">
                  <c:v>0.1149785945652062</c:v>
                </c:pt>
                <c:pt idx="79">
                  <c:v>0.11275473519588201</c:v>
                </c:pt>
                <c:pt idx="80">
                  <c:v>0.11663126288483935</c:v>
                </c:pt>
                <c:pt idx="81">
                  <c:v>0.12106293056572708</c:v>
                </c:pt>
                <c:pt idx="82">
                  <c:v>0.11929538277584878</c:v>
                </c:pt>
                <c:pt idx="83">
                  <c:v>0.11817441765532774</c:v>
                </c:pt>
                <c:pt idx="84">
                  <c:v>0.11886399388543911</c:v>
                </c:pt>
                <c:pt idx="85">
                  <c:v>0.11853106202165604</c:v>
                </c:pt>
                <c:pt idx="86">
                  <c:v>0.12041202790420612</c:v>
                </c:pt>
                <c:pt idx="87">
                  <c:v>0.1204444601939103</c:v>
                </c:pt>
                <c:pt idx="88">
                  <c:v>0.12480051178843402</c:v>
                </c:pt>
                <c:pt idx="89">
                  <c:v>0.1285812963334159</c:v>
                </c:pt>
                <c:pt idx="90">
                  <c:v>0.12365532596279262</c:v>
                </c:pt>
                <c:pt idx="91">
                  <c:v>0.1273650471995124</c:v>
                </c:pt>
                <c:pt idx="92">
                  <c:v>0.12874771268247234</c:v>
                </c:pt>
                <c:pt idx="93">
                  <c:v>0.12634351757072032</c:v>
                </c:pt>
                <c:pt idx="94">
                  <c:v>0.12247561376903912</c:v>
                </c:pt>
                <c:pt idx="95">
                  <c:v>0.12507821066557698</c:v>
                </c:pt>
                <c:pt idx="96">
                  <c:v>0.12230023357787699</c:v>
                </c:pt>
                <c:pt idx="97">
                  <c:v>0.13014445772017202</c:v>
                </c:pt>
                <c:pt idx="98">
                  <c:v>0.12991580541489808</c:v>
                </c:pt>
                <c:pt idx="99">
                  <c:v>0.1322872007160566</c:v>
                </c:pt>
                <c:pt idx="100">
                  <c:v>0.13187871983816654</c:v>
                </c:pt>
                <c:pt idx="101">
                  <c:v>0.12949373279131773</c:v>
                </c:pt>
                <c:pt idx="102">
                  <c:v>0.1289798724814458</c:v>
                </c:pt>
                <c:pt idx="103">
                  <c:v>0.12282603164590233</c:v>
                </c:pt>
                <c:pt idx="104">
                  <c:v>0.1204096708189485</c:v>
                </c:pt>
              </c:numCache>
            </c:numRef>
          </c:xVal>
          <c:yVal>
            <c:numRef>
              <c:f>Sheet1!$B$2:$B$106</c:f>
              <c:numCache>
                <c:formatCode>General</c:formatCode>
                <c:ptCount val="105"/>
                <c:pt idx="0">
                  <c:v>0.19014989293361884</c:v>
                </c:pt>
                <c:pt idx="1">
                  <c:v>0.1874182090110301</c:v>
                </c:pt>
                <c:pt idx="2">
                  <c:v>0.18448132010753684</c:v>
                </c:pt>
                <c:pt idx="3">
                  <c:v>0.19202967471942173</c:v>
                </c:pt>
                <c:pt idx="4">
                  <c:v>0.21944354227563062</c:v>
                </c:pt>
                <c:pt idx="5">
                  <c:v>0.20855138625988198</c:v>
                </c:pt>
                <c:pt idx="6">
                  <c:v>0.23273385122911566</c:v>
                </c:pt>
                <c:pt idx="7">
                  <c:v>0.22297297297297297</c:v>
                </c:pt>
                <c:pt idx="8">
                  <c:v>0.23093121197941038</c:v>
                </c:pt>
                <c:pt idx="9">
                  <c:v>0.23115327009485773</c:v>
                </c:pt>
                <c:pt idx="10">
                  <c:v>0.22522522522522523</c:v>
                </c:pt>
                <c:pt idx="11">
                  <c:v>0.22725676150333685</c:v>
                </c:pt>
                <c:pt idx="12">
                  <c:v>0.21053849714550224</c:v>
                </c:pt>
                <c:pt idx="13">
                  <c:v>0.20055565202292064</c:v>
                </c:pt>
                <c:pt idx="14">
                  <c:v>0.17704734335605565</c:v>
                </c:pt>
                <c:pt idx="15">
                  <c:v>0.16691908264820424</c:v>
                </c:pt>
                <c:pt idx="16">
                  <c:v>0.16824498831632026</c:v>
                </c:pt>
                <c:pt idx="17">
                  <c:v>0.1657111657111657</c:v>
                </c:pt>
                <c:pt idx="18">
                  <c:v>0.1534027221777422</c:v>
                </c:pt>
                <c:pt idx="19">
                  <c:v>0.1468956879584899</c:v>
                </c:pt>
                <c:pt idx="20">
                  <c:v>0.18550137462017074</c:v>
                </c:pt>
                <c:pt idx="21">
                  <c:v>0.1703767123287671</c:v>
                </c:pt>
                <c:pt idx="22">
                  <c:v>0.14937759336099585</c:v>
                </c:pt>
                <c:pt idx="23">
                  <c:v>0.1632692681032809</c:v>
                </c:pt>
                <c:pt idx="24">
                  <c:v>0.16699981828093768</c:v>
                </c:pt>
                <c:pt idx="25">
                  <c:v>0.16081750619322874</c:v>
                </c:pt>
                <c:pt idx="26">
                  <c:v>0.16816409560942533</c:v>
                </c:pt>
                <c:pt idx="27">
                  <c:v>0.18117854001759015</c:v>
                </c:pt>
                <c:pt idx="28">
                  <c:v>0.18936994016191483</c:v>
                </c:pt>
                <c:pt idx="29">
                  <c:v>0.18606127956818544</c:v>
                </c:pt>
                <c:pt idx="30">
                  <c:v>0.1950787401574803</c:v>
                </c:pt>
                <c:pt idx="31">
                  <c:v>0.17657657657657658</c:v>
                </c:pt>
                <c:pt idx="32">
                  <c:v>0.18993506493506493</c:v>
                </c:pt>
                <c:pt idx="33">
                  <c:v>0.1818020259463302</c:v>
                </c:pt>
                <c:pt idx="34">
                  <c:v>0.20025288446341077</c:v>
                </c:pt>
                <c:pt idx="35">
                  <c:v>0.2567105905319668</c:v>
                </c:pt>
                <c:pt idx="36">
                  <c:v>0.2090291536937447</c:v>
                </c:pt>
                <c:pt idx="37">
                  <c:v>0.19676739283204497</c:v>
                </c:pt>
                <c:pt idx="38">
                  <c:v>0.18666219839142092</c:v>
                </c:pt>
                <c:pt idx="39">
                  <c:v>0.18684603886397608</c:v>
                </c:pt>
                <c:pt idx="40">
                  <c:v>0.1901644336175396</c:v>
                </c:pt>
                <c:pt idx="41">
                  <c:v>0.17954735959765297</c:v>
                </c:pt>
                <c:pt idx="42">
                  <c:v>0.18690275435637999</c:v>
                </c:pt>
                <c:pt idx="43">
                  <c:v>0.18360136452241715</c:v>
                </c:pt>
                <c:pt idx="44">
                  <c:v>0.16826381059751974</c:v>
                </c:pt>
                <c:pt idx="45">
                  <c:v>0.16118853536681568</c:v>
                </c:pt>
                <c:pt idx="46">
                  <c:v>0.16547874624302275</c:v>
                </c:pt>
                <c:pt idx="47">
                  <c:v>0.16660851360781578</c:v>
                </c:pt>
                <c:pt idx="48">
                  <c:v>0.16566534577527803</c:v>
                </c:pt>
                <c:pt idx="49">
                  <c:v>0.18493237800483317</c:v>
                </c:pt>
                <c:pt idx="50">
                  <c:v>0.1706705661165657</c:v>
                </c:pt>
                <c:pt idx="51">
                  <c:v>0.1737982884107814</c:v>
                </c:pt>
                <c:pt idx="52">
                  <c:v>0.17529908028490424</c:v>
                </c:pt>
                <c:pt idx="53">
                  <c:v>0.16356603426045313</c:v>
                </c:pt>
                <c:pt idx="54">
                  <c:v>0.16656510257972781</c:v>
                </c:pt>
                <c:pt idx="55">
                  <c:v>0.16468982890731604</c:v>
                </c:pt>
                <c:pt idx="56">
                  <c:v>0.17314981049271894</c:v>
                </c:pt>
                <c:pt idx="57">
                  <c:v>0.15567353549896518</c:v>
                </c:pt>
                <c:pt idx="58">
                  <c:v>0.1553445337229121</c:v>
                </c:pt>
                <c:pt idx="59">
                  <c:v>0.14042185898473325</c:v>
                </c:pt>
                <c:pt idx="60">
                  <c:v>0.13943281566509116</c:v>
                </c:pt>
                <c:pt idx="61">
                  <c:v>0.1463888266487415</c:v>
                </c:pt>
                <c:pt idx="62">
                  <c:v>0.16681908245694255</c:v>
                </c:pt>
                <c:pt idx="63">
                  <c:v>0.16552175335296043</c:v>
                </c:pt>
                <c:pt idx="64">
                  <c:v>0.16559465254130407</c:v>
                </c:pt>
                <c:pt idx="65">
                  <c:v>0.16908012687905116</c:v>
                </c:pt>
                <c:pt idx="66">
                  <c:v>0.16127120527446479</c:v>
                </c:pt>
                <c:pt idx="67">
                  <c:v>0.1575673807878369</c:v>
                </c:pt>
                <c:pt idx="68">
                  <c:v>0.15084640609766906</c:v>
                </c:pt>
                <c:pt idx="69">
                  <c:v>0.13940273243864104</c:v>
                </c:pt>
                <c:pt idx="70">
                  <c:v>0.1383089168300842</c:v>
                </c:pt>
                <c:pt idx="71">
                  <c:v>0.1375188580712545</c:v>
                </c:pt>
                <c:pt idx="72">
                  <c:v>0.15128576199487923</c:v>
                </c:pt>
                <c:pt idx="73">
                  <c:v>0.14916875427009793</c:v>
                </c:pt>
                <c:pt idx="74">
                  <c:v>0.14144620811287478</c:v>
                </c:pt>
                <c:pt idx="75">
                  <c:v>0.15030504714364948</c:v>
                </c:pt>
                <c:pt idx="76">
                  <c:v>0.15098152424942263</c:v>
                </c:pt>
                <c:pt idx="77">
                  <c:v>0.14893926184248765</c:v>
                </c:pt>
                <c:pt idx="78">
                  <c:v>0.1562448711636304</c:v>
                </c:pt>
                <c:pt idx="79">
                  <c:v>0.1584241408214585</c:v>
                </c:pt>
                <c:pt idx="80">
                  <c:v>0.158530531193116</c:v>
                </c:pt>
                <c:pt idx="81">
                  <c:v>0.15322033898305085</c:v>
                </c:pt>
                <c:pt idx="82">
                  <c:v>0.15401558793629277</c:v>
                </c:pt>
                <c:pt idx="83">
                  <c:v>0.13964346349745332</c:v>
                </c:pt>
                <c:pt idx="84">
                  <c:v>0.14164366107453813</c:v>
                </c:pt>
                <c:pt idx="85">
                  <c:v>0.1314352574102964</c:v>
                </c:pt>
                <c:pt idx="86">
                  <c:v>0.14265335235378032</c:v>
                </c:pt>
                <c:pt idx="87">
                  <c:v>0.17739646497226164</c:v>
                </c:pt>
                <c:pt idx="88">
                  <c:v>0.18386639357176618</c:v>
                </c:pt>
                <c:pt idx="89">
                  <c:v>0.1434290687554395</c:v>
                </c:pt>
                <c:pt idx="90">
                  <c:v>0.14193663862538033</c:v>
                </c:pt>
                <c:pt idx="91">
                  <c:v>0.14365199797673242</c:v>
                </c:pt>
                <c:pt idx="92">
                  <c:v>0.15895232815964525</c:v>
                </c:pt>
                <c:pt idx="93">
                  <c:v>0.13890293225480282</c:v>
                </c:pt>
                <c:pt idx="94">
                  <c:v>0.13735046521931768</c:v>
                </c:pt>
                <c:pt idx="95">
                  <c:v>0.1478503270076123</c:v>
                </c:pt>
                <c:pt idx="96">
                  <c:v>0.14983572540204046</c:v>
                </c:pt>
                <c:pt idx="97">
                  <c:v>0.1448043382676242</c:v>
                </c:pt>
                <c:pt idx="98">
                  <c:v>0.15628408288958748</c:v>
                </c:pt>
                <c:pt idx="99">
                  <c:v>0.1556851648668938</c:v>
                </c:pt>
                <c:pt idx="100">
                  <c:v>0.17040760657781934</c:v>
                </c:pt>
                <c:pt idx="101">
                  <c:v>0.14546495356824832</c:v>
                </c:pt>
                <c:pt idx="102">
                  <c:v>0.13494876586969132</c:v>
                </c:pt>
                <c:pt idx="103">
                  <c:v>0.1509997222993613</c:v>
                </c:pt>
                <c:pt idx="104">
                  <c:v>0.155755176613885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3034150227094682</c:v>
                </c:pt>
                <c:pt idx="1">
                  <c:v>0.13821098339741775</c:v>
                </c:pt>
                <c:pt idx="2">
                  <c:v>0.1420877113010306</c:v>
                </c:pt>
                <c:pt idx="3">
                  <c:v>0.14404615122290282</c:v>
                </c:pt>
                <c:pt idx="4">
                  <c:v>0.14429329835718188</c:v>
                </c:pt>
                <c:pt idx="5">
                  <c:v>0.1357956270608229</c:v>
                </c:pt>
                <c:pt idx="6">
                  <c:v>0.1311438470802767</c:v>
                </c:pt>
                <c:pt idx="7">
                  <c:v>0.12703701250555158</c:v>
                </c:pt>
                <c:pt idx="8">
                  <c:v>0.12589158471118653</c:v>
                </c:pt>
                <c:pt idx="9">
                  <c:v>0.11365517626618604</c:v>
                </c:pt>
                <c:pt idx="10">
                  <c:v>0.11910181572061306</c:v>
                </c:pt>
                <c:pt idx="11">
                  <c:v>0.13593506735834743</c:v>
                </c:pt>
                <c:pt idx="12">
                  <c:v>0.13234420931235155</c:v>
                </c:pt>
                <c:pt idx="13">
                  <c:v>0.1181155676241365</c:v>
                </c:pt>
                <c:pt idx="14">
                  <c:v>0.13032762458408054</c:v>
                </c:pt>
                <c:pt idx="15">
                  <c:v>0.1204371156333272</c:v>
                </c:pt>
                <c:pt idx="16">
                  <c:v>0.13090870767962529</c:v>
                </c:pt>
                <c:pt idx="17">
                  <c:v>0.13128867987376522</c:v>
                </c:pt>
                <c:pt idx="18">
                  <c:v>0.13109982402512457</c:v>
                </c:pt>
                <c:pt idx="19">
                  <c:v>0.12931280049875785</c:v>
                </c:pt>
                <c:pt idx="20">
                  <c:v>0.12027860767087409</c:v>
                </c:pt>
                <c:pt idx="21">
                  <c:v>0.11862590224315349</c:v>
                </c:pt>
                <c:pt idx="22">
                  <c:v>0.15598235670033264</c:v>
                </c:pt>
                <c:pt idx="23">
                  <c:v>0.1179638105798573</c:v>
                </c:pt>
                <c:pt idx="24">
                  <c:v>0.11401253862035879</c:v>
                </c:pt>
                <c:pt idx="25">
                  <c:v>0.12264562105256711</c:v>
                </c:pt>
                <c:pt idx="26">
                  <c:v>0.1205913835846302</c:v>
                </c:pt>
                <c:pt idx="27">
                  <c:v>0.13164183950145183</c:v>
                </c:pt>
                <c:pt idx="28">
                  <c:v>0.13563320020665431</c:v>
                </c:pt>
                <c:pt idx="29">
                  <c:v>0.13099618099942245</c:v>
                </c:pt>
                <c:pt idx="30">
                  <c:v>0.1282802843811462</c:v>
                </c:pt>
                <c:pt idx="31">
                  <c:v>0.12176883817020126</c:v>
                </c:pt>
                <c:pt idx="32">
                  <c:v>0.12100111794126886</c:v>
                </c:pt>
                <c:pt idx="33">
                  <c:v>0.12937550822180327</c:v>
                </c:pt>
                <c:pt idx="34">
                  <c:v>0.13333122481974174</c:v>
                </c:pt>
                <c:pt idx="35">
                  <c:v>0.1292443968469603</c:v>
                </c:pt>
                <c:pt idx="36">
                  <c:v>0.11875648509133087</c:v>
                </c:pt>
                <c:pt idx="37">
                  <c:v>0.11963872227890786</c:v>
                </c:pt>
                <c:pt idx="38">
                  <c:v>0.11911886480714191</c:v>
                </c:pt>
                <c:pt idx="39">
                  <c:v>0.12539799836906876</c:v>
                </c:pt>
                <c:pt idx="40">
                  <c:v>0.12954947213076523</c:v>
                </c:pt>
                <c:pt idx="41">
                  <c:v>0.12747344100229427</c:v>
                </c:pt>
                <c:pt idx="42">
                  <c:v>0.12702858966095</c:v>
                </c:pt>
                <c:pt idx="43">
                  <c:v>0.1324778229065762</c:v>
                </c:pt>
                <c:pt idx="44">
                  <c:v>0.13333742631172124</c:v>
                </c:pt>
                <c:pt idx="45">
                  <c:v>0.14280506113490432</c:v>
                </c:pt>
                <c:pt idx="46">
                  <c:v>0.13620470631780435</c:v>
                </c:pt>
                <c:pt idx="47">
                  <c:v>0.13591350849956918</c:v>
                </c:pt>
                <c:pt idx="48">
                  <c:v>0.1333878762531981</c:v>
                </c:pt>
                <c:pt idx="49">
                  <c:v>0.13077264384729823</c:v>
                </c:pt>
                <c:pt idx="50">
                  <c:v>0.13668600565032024</c:v>
                </c:pt>
                <c:pt idx="51">
                  <c:v>0.12445966481506401</c:v>
                </c:pt>
              </c:numCache>
            </c:numRef>
          </c:xVal>
          <c:yVal>
            <c:numRef>
              <c:f>Sheet1!$B$109:$B$160</c:f>
              <c:numCache>
                <c:formatCode>General</c:formatCode>
                <c:ptCount val="52"/>
                <c:pt idx="0">
                  <c:v>0.17426059152677859</c:v>
                </c:pt>
                <c:pt idx="1">
                  <c:v>0.16431742076162292</c:v>
                </c:pt>
                <c:pt idx="2">
                  <c:v>0.17060423825887744</c:v>
                </c:pt>
                <c:pt idx="3">
                  <c:v>0.17236204897346702</c:v>
                </c:pt>
                <c:pt idx="4">
                  <c:v>0.16263736263736264</c:v>
                </c:pt>
                <c:pt idx="5">
                  <c:v>0.14956301099520722</c:v>
                </c:pt>
                <c:pt idx="6">
                  <c:v>0.13353554207497279</c:v>
                </c:pt>
                <c:pt idx="7">
                  <c:v>0.12613092070250134</c:v>
                </c:pt>
                <c:pt idx="8">
                  <c:v>0.13820283762480295</c:v>
                </c:pt>
                <c:pt idx="9">
                  <c:v>0.14737147274835716</c:v>
                </c:pt>
                <c:pt idx="10">
                  <c:v>0.1545095220984549</c:v>
                </c:pt>
                <c:pt idx="11">
                  <c:v>0.14495201535508637</c:v>
                </c:pt>
                <c:pt idx="12">
                  <c:v>0.15231272387478587</c:v>
                </c:pt>
                <c:pt idx="13">
                  <c:v>0.1674721902570004</c:v>
                </c:pt>
                <c:pt idx="14">
                  <c:v>0.15209580838323353</c:v>
                </c:pt>
                <c:pt idx="15">
                  <c:v>0.16133059841255684</c:v>
                </c:pt>
                <c:pt idx="16">
                  <c:v>0.14427465767017264</c:v>
                </c:pt>
                <c:pt idx="17">
                  <c:v>0.13034602429315095</c:v>
                </c:pt>
                <c:pt idx="18">
                  <c:v>0.14128664495114007</c:v>
                </c:pt>
                <c:pt idx="19">
                  <c:v>0.1602713824936047</c:v>
                </c:pt>
                <c:pt idx="20">
                  <c:v>0.14584607855132753</c:v>
                </c:pt>
                <c:pt idx="21">
                  <c:v>0.14382130805077936</c:v>
                </c:pt>
                <c:pt idx="22">
                  <c:v>0.14724121481952615</c:v>
                </c:pt>
                <c:pt idx="23">
                  <c:v>0.1690320523042577</c:v>
                </c:pt>
                <c:pt idx="24">
                  <c:v>0.16956521739130434</c:v>
                </c:pt>
                <c:pt idx="25">
                  <c:v>0.15811023622047243</c:v>
                </c:pt>
                <c:pt idx="26">
                  <c:v>0.14969111357516238</c:v>
                </c:pt>
                <c:pt idx="27">
                  <c:v>0.14162224463333814</c:v>
                </c:pt>
                <c:pt idx="28">
                  <c:v>0.13396251146939311</c:v>
                </c:pt>
                <c:pt idx="29">
                  <c:v>0.13297451321829984</c:v>
                </c:pt>
                <c:pt idx="30">
                  <c:v>0.14792115289050853</c:v>
                </c:pt>
                <c:pt idx="31">
                  <c:v>0.13254147812971342</c:v>
                </c:pt>
                <c:pt idx="32">
                  <c:v>0.1279716742539201</c:v>
                </c:pt>
                <c:pt idx="33">
                  <c:v>0.14977383146255654</c:v>
                </c:pt>
                <c:pt idx="34">
                  <c:v>0.17450045413260673</c:v>
                </c:pt>
                <c:pt idx="35">
                  <c:v>0.18845963348192174</c:v>
                </c:pt>
                <c:pt idx="36">
                  <c:v>0.15489660554038237</c:v>
                </c:pt>
                <c:pt idx="37">
                  <c:v>0.15602594742232845</c:v>
                </c:pt>
                <c:pt idx="38">
                  <c:v>0.14591439688715954</c:v>
                </c:pt>
                <c:pt idx="39">
                  <c:v>0.17303051809794182</c:v>
                </c:pt>
                <c:pt idx="40">
                  <c:v>0.16149154421957304</c:v>
                </c:pt>
                <c:pt idx="41">
                  <c:v>0.17019628099173553</c:v>
                </c:pt>
                <c:pt idx="42">
                  <c:v>0.1579172610556348</c:v>
                </c:pt>
                <c:pt idx="43">
                  <c:v>0.16775396085740912</c:v>
                </c:pt>
                <c:pt idx="44">
                  <c:v>0.15995563896945914</c:v>
                </c:pt>
                <c:pt idx="45">
                  <c:v>0.16269083969465647</c:v>
                </c:pt>
                <c:pt idx="46">
                  <c:v>0.1665410069531708</c:v>
                </c:pt>
                <c:pt idx="47">
                  <c:v>0.16591639871382638</c:v>
                </c:pt>
                <c:pt idx="48">
                  <c:v>0.17167352537722907</c:v>
                </c:pt>
                <c:pt idx="49">
                  <c:v>0.18769338548660167</c:v>
                </c:pt>
                <c:pt idx="50">
                  <c:v>0.21326613199911706</c:v>
                </c:pt>
                <c:pt idx="51">
                  <c:v>0.191201050620821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013462934320503</c:v>
                </c:pt>
              </c:numCache>
            </c:numRef>
          </c:xVal>
          <c:yVal>
            <c:numRef>
              <c:f>Sheet1!$B$163:$B$164</c:f>
              <c:numCache>
                <c:formatCode>General</c:formatCode>
                <c:ptCount val="2"/>
                <c:pt idx="0">
                  <c:v>0.20763467349873543</c:v>
                </c:pt>
                <c:pt idx="1">
                  <c:v>0.2076346734987354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013462934320503</c:v>
                </c:pt>
                <c:pt idx="1">
                  <c:v>0.3013462934320503</c:v>
                </c:pt>
              </c:numCache>
            </c:numRef>
          </c:xVal>
          <c:yVal>
            <c:numRef>
              <c:f>Sheet1!$B$167:$B$168</c:f>
              <c:numCache>
                <c:formatCode>General</c:formatCode>
                <c:ptCount val="2"/>
                <c:pt idx="0">
                  <c:v>0.207634673498735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4456898045057313</c:v>
                </c:pt>
              </c:numCache>
            </c:numRef>
          </c:xVal>
          <c:yVal>
            <c:numRef>
              <c:f>Sheet1!$B$171:$B$172</c:f>
              <c:numCache>
                <c:formatCode>General</c:formatCode>
                <c:ptCount val="2"/>
                <c:pt idx="0">
                  <c:v>0.1909585233709423</c:v>
                </c:pt>
                <c:pt idx="1">
                  <c:v>0.190958523370942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4456898045057313</c:v>
                </c:pt>
                <c:pt idx="1">
                  <c:v>0.24456898045057313</c:v>
                </c:pt>
              </c:numCache>
            </c:numRef>
          </c:xVal>
          <c:yVal>
            <c:numRef>
              <c:f>Sheet1!$B$175:$B$176</c:f>
              <c:numCache>
                <c:formatCode>General</c:formatCode>
                <c:ptCount val="2"/>
                <c:pt idx="0">
                  <c:v>0.190958523370942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8351135295192392</c:v>
                </c:pt>
              </c:numCache>
            </c:numRef>
          </c:xVal>
          <c:yVal>
            <c:numRef>
              <c:f>Sheet1!$B$179:$B$180</c:f>
              <c:numCache>
                <c:formatCode>General</c:formatCode>
                <c:ptCount val="2"/>
                <c:pt idx="0">
                  <c:v>0.1730251956182443</c:v>
                </c:pt>
                <c:pt idx="1">
                  <c:v>0.1730251956182443</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8351135295192392</c:v>
                </c:pt>
                <c:pt idx="1">
                  <c:v>0.18351135295192392</c:v>
                </c:pt>
              </c:numCache>
            </c:numRef>
          </c:xVal>
          <c:yVal>
            <c:numRef>
              <c:f>Sheet1!$B$183:$B$184</c:f>
              <c:numCache>
                <c:formatCode>General</c:formatCode>
                <c:ptCount val="2"/>
                <c:pt idx="0">
                  <c:v>0.173025195618244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3034150227094682</c:v>
                </c:pt>
                <c:pt idx="1">
                  <c:v>0.13821098339741775</c:v>
                </c:pt>
                <c:pt idx="2">
                  <c:v>0.1420877113010306</c:v>
                </c:pt>
                <c:pt idx="3">
                  <c:v>0.14404615122290282</c:v>
                </c:pt>
                <c:pt idx="4">
                  <c:v>0.14429329835718188</c:v>
                </c:pt>
                <c:pt idx="5">
                  <c:v>0.1357956270608229</c:v>
                </c:pt>
                <c:pt idx="6">
                  <c:v>0.1311438470802767</c:v>
                </c:pt>
                <c:pt idx="7">
                  <c:v>0.12703701250555158</c:v>
                </c:pt>
                <c:pt idx="8">
                  <c:v>0.12589158471118653</c:v>
                </c:pt>
                <c:pt idx="9">
                  <c:v>0.11365517626618604</c:v>
                </c:pt>
                <c:pt idx="10">
                  <c:v>0.11910181572061306</c:v>
                </c:pt>
                <c:pt idx="11">
                  <c:v>0.13593506735834743</c:v>
                </c:pt>
                <c:pt idx="12">
                  <c:v>0.13234420931235155</c:v>
                </c:pt>
                <c:pt idx="13">
                  <c:v>0.1181155676241365</c:v>
                </c:pt>
                <c:pt idx="14">
                  <c:v>0.13032762458408054</c:v>
                </c:pt>
                <c:pt idx="15">
                  <c:v>0.1204371156333272</c:v>
                </c:pt>
                <c:pt idx="16">
                  <c:v>0.13090870767962529</c:v>
                </c:pt>
                <c:pt idx="17">
                  <c:v>0.13128867987376522</c:v>
                </c:pt>
                <c:pt idx="18">
                  <c:v>0.13109982402512457</c:v>
                </c:pt>
                <c:pt idx="19">
                  <c:v>0.12931280049875785</c:v>
                </c:pt>
                <c:pt idx="20">
                  <c:v>0.12027860767087409</c:v>
                </c:pt>
                <c:pt idx="21">
                  <c:v>0.11862590224315349</c:v>
                </c:pt>
                <c:pt idx="22">
                  <c:v>0.15598235670033264</c:v>
                </c:pt>
                <c:pt idx="23">
                  <c:v>0.1179638105798573</c:v>
                </c:pt>
                <c:pt idx="24">
                  <c:v>0.11401253862035879</c:v>
                </c:pt>
                <c:pt idx="25">
                  <c:v>0.12264562105256711</c:v>
                </c:pt>
                <c:pt idx="26">
                  <c:v>0.1205913835846302</c:v>
                </c:pt>
                <c:pt idx="27">
                  <c:v>0.13164183950145183</c:v>
                </c:pt>
                <c:pt idx="28">
                  <c:v>0.13563320020665431</c:v>
                </c:pt>
                <c:pt idx="29">
                  <c:v>0.13099618099942245</c:v>
                </c:pt>
                <c:pt idx="30">
                  <c:v>0.1282802843811462</c:v>
                </c:pt>
                <c:pt idx="31">
                  <c:v>0.12176883817020126</c:v>
                </c:pt>
                <c:pt idx="32">
                  <c:v>0.12100111794126886</c:v>
                </c:pt>
                <c:pt idx="33">
                  <c:v>0.12937550822180327</c:v>
                </c:pt>
                <c:pt idx="34">
                  <c:v>0.13333122481974174</c:v>
                </c:pt>
                <c:pt idx="35">
                  <c:v>0.1292443968469603</c:v>
                </c:pt>
                <c:pt idx="36">
                  <c:v>0.11875648509133087</c:v>
                </c:pt>
                <c:pt idx="37">
                  <c:v>0.11963872227890786</c:v>
                </c:pt>
                <c:pt idx="38">
                  <c:v>0.11911886480714191</c:v>
                </c:pt>
                <c:pt idx="39">
                  <c:v>0.12539799836906876</c:v>
                </c:pt>
                <c:pt idx="40">
                  <c:v>0.12954947213076523</c:v>
                </c:pt>
                <c:pt idx="41">
                  <c:v>0.12747344100229427</c:v>
                </c:pt>
                <c:pt idx="42">
                  <c:v>0.12702858966095</c:v>
                </c:pt>
                <c:pt idx="43">
                  <c:v>0.1324778229065762</c:v>
                </c:pt>
                <c:pt idx="44">
                  <c:v>0.13333742631172124</c:v>
                </c:pt>
                <c:pt idx="45">
                  <c:v>0.14280506113490432</c:v>
                </c:pt>
                <c:pt idx="46">
                  <c:v>0.13620470631780435</c:v>
                </c:pt>
                <c:pt idx="47">
                  <c:v>0.13591350849956918</c:v>
                </c:pt>
                <c:pt idx="48">
                  <c:v>0.1333878762531981</c:v>
                </c:pt>
                <c:pt idx="49">
                  <c:v>0.13077264384729823</c:v>
                </c:pt>
                <c:pt idx="50">
                  <c:v>0.13668600565032024</c:v>
                </c:pt>
                <c:pt idx="51">
                  <c:v>0.12445966481506401</c:v>
                </c:pt>
                <c:pt idx="52">
                  <c:v>0.24456898045057313</c:v>
                </c:pt>
                <c:pt idx="53">
                  <c:v>0.3013462934320503</c:v>
                </c:pt>
                <c:pt idx="54">
                  <c:v>0.18351135295192392</c:v>
                </c:pt>
              </c:numCache>
            </c:numRef>
          </c:xVal>
          <c:yVal>
            <c:numRef>
              <c:f>Sheet1!$B$187:$B$241</c:f>
              <c:numCache>
                <c:formatCode>General</c:formatCode>
                <c:ptCount val="55"/>
                <c:pt idx="0">
                  <c:v>0.1574085986771812</c:v>
                </c:pt>
                <c:pt idx="1">
                  <c:v>0.15971995583379195</c:v>
                </c:pt>
                <c:pt idx="2">
                  <c:v>0.16085859542644654</c:v>
                </c:pt>
                <c:pt idx="3">
                  <c:v>0.16143381176618526</c:v>
                </c:pt>
                <c:pt idx="4">
                  <c:v>0.16150640172330838</c:v>
                </c:pt>
                <c:pt idx="5">
                  <c:v>0.15901053788556477</c:v>
                </c:pt>
                <c:pt idx="6">
                  <c:v>0.15764425657981931</c:v>
                </c:pt>
                <c:pt idx="7">
                  <c:v>0.15643803201014883</c:v>
                </c:pt>
                <c:pt idx="8">
                  <c:v>0.1561016066871398</c:v>
                </c:pt>
                <c:pt idx="9">
                  <c:v>0.15250763272925993</c:v>
                </c:pt>
                <c:pt idx="10">
                  <c:v>0.15410737340849245</c:v>
                </c:pt>
                <c:pt idx="11">
                  <c:v>0.15905149310541009</c:v>
                </c:pt>
                <c:pt idx="12">
                  <c:v>0.1579968167792839</c:v>
                </c:pt>
                <c:pt idx="13">
                  <c:v>0.153817700994346</c:v>
                </c:pt>
                <c:pt idx="14">
                  <c:v>0.15740452264086574</c:v>
                </c:pt>
                <c:pt idx="15">
                  <c:v>0.15449956635741405</c:v>
                </c:pt>
                <c:pt idx="16">
                  <c:v>0.15757519343222898</c:v>
                </c:pt>
                <c:pt idx="17">
                  <c:v>0.1576867956377777</c:v>
                </c:pt>
                <c:pt idx="18">
                  <c:v>0.15763132650197217</c:v>
                </c:pt>
                <c:pt idx="19">
                  <c:v>0.15710645712998705</c:v>
                </c:pt>
                <c:pt idx="20">
                  <c:v>0.15445301074497814</c:v>
                </c:pt>
                <c:pt idx="21">
                  <c:v>0.15396759214408945</c:v>
                </c:pt>
                <c:pt idx="22">
                  <c:v>0.16493961265822016</c:v>
                </c:pt>
                <c:pt idx="23">
                  <c:v>0.15377312820425684</c:v>
                </c:pt>
                <c:pt idx="24">
                  <c:v>0.1526125941646514</c:v>
                </c:pt>
                <c:pt idx="25">
                  <c:v>0.155148229811095</c:v>
                </c:pt>
                <c:pt idx="26">
                  <c:v>0.15454487662978772</c:v>
                </c:pt>
                <c:pt idx="27">
                  <c:v>0.15779052268404176</c:v>
                </c:pt>
                <c:pt idx="28">
                  <c:v>0.15896283124953947</c:v>
                </c:pt>
                <c:pt idx="29">
                  <c:v>0.1576008853527605</c:v>
                </c:pt>
                <c:pt idx="30">
                  <c:v>0.15680319526565273</c:v>
                </c:pt>
                <c:pt idx="31">
                  <c:v>0.15489070858988854</c:v>
                </c:pt>
                <c:pt idx="32">
                  <c:v>0.15466522032491908</c:v>
                </c:pt>
                <c:pt idx="33">
                  <c:v>0.1571248751097886</c:v>
                </c:pt>
                <c:pt idx="34">
                  <c:v>0.15828671459084587</c:v>
                </c:pt>
                <c:pt idx="35">
                  <c:v>0.15708636619037114</c:v>
                </c:pt>
                <c:pt idx="36">
                  <c:v>0.15400594582914376</c:v>
                </c:pt>
                <c:pt idx="37">
                  <c:v>0.1542650690425504</c:v>
                </c:pt>
                <c:pt idx="38">
                  <c:v>0.15411238092138038</c:v>
                </c:pt>
                <c:pt idx="39">
                  <c:v>0.1559566346990348</c:v>
                </c:pt>
                <c:pt idx="40">
                  <c:v>0.1571759703115572</c:v>
                </c:pt>
                <c:pt idx="41">
                  <c:v>0.15656621608138346</c:v>
                </c:pt>
                <c:pt idx="42">
                  <c:v>0.15643555812377233</c:v>
                </c:pt>
                <c:pt idx="43">
                  <c:v>0.1580360606293254</c:v>
                </c:pt>
                <c:pt idx="44">
                  <c:v>0.15828853604039736</c:v>
                </c:pt>
                <c:pt idx="45">
                  <c:v>0.16106928932680298</c:v>
                </c:pt>
                <c:pt idx="46">
                  <c:v>0.15913068917038892</c:v>
                </c:pt>
                <c:pt idx="47">
                  <c:v>0.15904516102052105</c:v>
                </c:pt>
                <c:pt idx="48">
                  <c:v>0.1583033537687087</c:v>
                </c:pt>
                <c:pt idx="49">
                  <c:v>0.15753522991906327</c:v>
                </c:pt>
                <c:pt idx="50">
                  <c:v>0.15927205232239403</c:v>
                </c:pt>
                <c:pt idx="51">
                  <c:v>0.15568103533733846</c:v>
                </c:pt>
                <c:pt idx="52">
                  <c:v>0.1909585233709423</c:v>
                </c:pt>
                <c:pt idx="53">
                  <c:v>0.20763467349873543</c:v>
                </c:pt>
                <c:pt idx="54">
                  <c:v>0.17302519561824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805270863836015"/>
          <c:min val="0.1009047365620010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3</c:f>
              <c:numCache>
                <c:formatCode>General</c:formatCode>
                <c:ptCount val="2"/>
                <c:pt idx="0">
                  <c:v>0.0</c:v>
                </c:pt>
                <c:pt idx="1">
                  <c:v>0.0</c:v>
                </c:pt>
              </c:numCache>
            </c:numRef>
          </c:xVal>
          <c:yVal>
            <c:numRef>
              <c:f>Sheet1!$B$2:$B$3</c:f>
              <c:numCache>
                <c:formatCode>General</c:formatCode>
                <c:ptCount val="2"/>
                <c:pt idx="0">
                  <c:v>0</c:v>
                </c:pt>
                <c:pt idx="1">
                  <c:v>0</c:v>
                </c:pt>
              </c:numCache>
            </c:numRef>
          </c:yVal>
          <c:smooth val="0"/>
          <c:extLst>
            <c:ext xmlns:c16="http://schemas.microsoft.com/office/drawing/2014/chart" uri="{C3380CC4-5D6E-409C-BE32-E72D297353CC}">
              <c16:uniqueId val="{00000000-F32D-48B7-BC20-E66FC6253BAD}"/>
            </c:ext>
          </c:extLst>
        </c:ser>
        <c:ser>
          <c:idx val="1"/>
          <c:order val="1"/>
          <c:tx>
            <c:strRef>
              <c:f>Sheet1!$B$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A$5</c:f>
              <c:numCache>
                <c:formatCode>General</c:formatCode>
                <c:ptCount val="0"/>
              </c:numCache>
            </c:numRef>
          </c:xVal>
          <c:yVal>
            <c:numRef>
              <c:f>Sheet1!$B$6:$B$5</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7</c:f>
              <c:strCache>
                <c:ptCount val="1"/>
                <c:pt idx="0">
                  <c:v>Custom Linep3yQ</c:v>
                </c:pt>
              </c:strCache>
            </c:strRef>
          </c:tx>
          <c:spPr>
            <a:ln w="19050" cap="rnd">
              <a:solidFill>
                <a:srgbClr val="C00000"/>
              </a:solidFill>
              <a:prstDash val="sysDot"/>
              <a:round/>
            </a:ln>
            <a:effectLst/>
          </c:spPr>
          <c:marker>
            <c:symbol val="none"/>
          </c:marker>
          <c:xVal>
            <c:numRef>
              <c:f>Sheet1!$A$8:$A$9</c:f>
              <c:numCache>
                <c:formatCode>General</c:formatCode>
                <c:ptCount val="2"/>
                <c:pt idx="0">
                  <c:v>0</c:v>
                </c:pt>
                <c:pt idx="1">
                  <c:v>0.0</c:v>
                </c:pt>
              </c:numCache>
            </c:numRef>
          </c:xVal>
          <c:yVal>
            <c:numRef>
              <c:f>Sheet1!$B$8:$B$9</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A$13</c:f>
              <c:numCache>
                <c:formatCode>General</c:formatCode>
                <c:ptCount val="2"/>
                <c:pt idx="0">
                  <c:v>0.0</c:v>
                </c:pt>
                <c:pt idx="1">
                  <c:v>0.0</c:v>
                </c:pt>
              </c:numCache>
            </c:numRef>
          </c:xVal>
          <c:yVal>
            <c:numRef>
              <c:f>Sheet1!$B$12:$B$13</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5</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A$18</c:f>
              <c:numCache>
                <c:formatCode>General</c:formatCode>
                <c:ptCount val="3"/>
                <c:pt idx="0">
                  <c:v>0</c:v>
                </c:pt>
                <c:pt idx="1">
                  <c:v>0.0</c:v>
                </c:pt>
                <c:pt idx="2">
                  <c:v>0</c:v>
                </c:pt>
              </c:numCache>
            </c:numRef>
          </c:xVal>
          <c:yVal>
            <c:numRef>
              <c:f>Sheet1!$B$16:$B$18</c:f>
              <c:numCache>
                <c:formatCode>General</c:formatCode>
                <c:ptCount val="3"/>
                <c:pt idx="0">
                  <c:v>0</c:v>
                </c:pt>
                <c:pt idx="1">
                  <c:v>0.0</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3052996915807187</c:v>
                </c:pt>
                <c:pt idx="1">
                  <c:v>2.3346336951366893</c:v>
                </c:pt>
                <c:pt idx="2">
                  <c:v>2.4352294194511854</c:v>
                </c:pt>
                <c:pt idx="3">
                  <c:v>2.3146838143625246</c:v>
                </c:pt>
                <c:pt idx="4">
                  <c:v>2.375778330694413</c:v>
                </c:pt>
                <c:pt idx="5">
                  <c:v>2.134327654242121</c:v>
                </c:pt>
                <c:pt idx="6">
                  <c:v>2.148397104072398</c:v>
                </c:pt>
                <c:pt idx="7">
                  <c:v>2.1757784552051906</c:v>
                </c:pt>
                <c:pt idx="8">
                  <c:v>1.5672991771685199</c:v>
                </c:pt>
                <c:pt idx="9">
                  <c:v>1.4889437121909361</c:v>
                </c:pt>
                <c:pt idx="10">
                  <c:v>1.622591788481749</c:v>
                </c:pt>
                <c:pt idx="11">
                  <c:v>1.517467999596941</c:v>
                </c:pt>
                <c:pt idx="12">
                  <c:v>1.490907875270091</c:v>
                </c:pt>
                <c:pt idx="13">
                  <c:v>2.174242305806323</c:v>
                </c:pt>
                <c:pt idx="14">
                  <c:v>2.2498543705993477</c:v>
                </c:pt>
                <c:pt idx="15">
                  <c:v>2.2003742219793088</c:v>
                </c:pt>
                <c:pt idx="16">
                  <c:v>2.1955450785899977</c:v>
                </c:pt>
                <c:pt idx="17">
                  <c:v>2.220624160301212</c:v>
                </c:pt>
                <c:pt idx="18">
                  <c:v>2.2134872949403115</c:v>
                </c:pt>
                <c:pt idx="19">
                  <c:v>2.2532979721748823</c:v>
                </c:pt>
                <c:pt idx="20">
                  <c:v>2.208441681999383</c:v>
                </c:pt>
                <c:pt idx="21">
                  <c:v>2.0361973273825282</c:v>
                </c:pt>
                <c:pt idx="22">
                  <c:v>1.7357028646284847</c:v>
                </c:pt>
                <c:pt idx="23">
                  <c:v>1.6732102293176383</c:v>
                </c:pt>
                <c:pt idx="24">
                  <c:v>1.6937349176262326</c:v>
                </c:pt>
                <c:pt idx="25">
                  <c:v>1.7242025221414699</c:v>
                </c:pt>
                <c:pt idx="26">
                  <c:v>2.075592698058116</c:v>
                </c:pt>
                <c:pt idx="27">
                  <c:v>2.1628272774180664</c:v>
                </c:pt>
                <c:pt idx="28">
                  <c:v>2.11720314795351</c:v>
                </c:pt>
                <c:pt idx="29">
                  <c:v>2.1859785859339826</c:v>
                </c:pt>
                <c:pt idx="30">
                  <c:v>2.242777578125675</c:v>
                </c:pt>
                <c:pt idx="31">
                  <c:v>2.0340391172626324</c:v>
                </c:pt>
                <c:pt idx="32">
                  <c:v>2.0393996442917146</c:v>
                </c:pt>
                <c:pt idx="33">
                  <c:v>1.981021041025982</c:v>
                </c:pt>
                <c:pt idx="34">
                  <c:v>1.9567883923861935</c:v>
                </c:pt>
                <c:pt idx="35">
                  <c:v>2.0407268423098808</c:v>
                </c:pt>
                <c:pt idx="36">
                  <c:v>1.868417211080093</c:v>
                </c:pt>
                <c:pt idx="37">
                  <c:v>1.887125558995972</c:v>
                </c:pt>
                <c:pt idx="38">
                  <c:v>1.9535548246471675</c:v>
                </c:pt>
                <c:pt idx="39">
                  <c:v>2.129635749381579</c:v>
                </c:pt>
                <c:pt idx="40">
                  <c:v>2.255817348879781</c:v>
                </c:pt>
                <c:pt idx="41">
                  <c:v>2.429772115364567</c:v>
                </c:pt>
                <c:pt idx="42">
                  <c:v>2.416863200821787</c:v>
                </c:pt>
                <c:pt idx="43">
                  <c:v>2.3765345442368524</c:v>
                </c:pt>
                <c:pt idx="44">
                  <c:v>2.540221509118961</c:v>
                </c:pt>
                <c:pt idx="45">
                  <c:v>2.580244428221755</c:v>
                </c:pt>
                <c:pt idx="46">
                  <c:v>2.506075946759009</c:v>
                </c:pt>
                <c:pt idx="47">
                  <c:v>2.501226425355115</c:v>
                </c:pt>
                <c:pt idx="48">
                  <c:v>2.4269589864791397</c:v>
                </c:pt>
                <c:pt idx="49">
                  <c:v>2.4393952661721263</c:v>
                </c:pt>
                <c:pt idx="50">
                  <c:v>2.3803891942273894</c:v>
                </c:pt>
                <c:pt idx="51">
                  <c:v>2.341332421166375</c:v>
                </c:pt>
                <c:pt idx="52">
                  <c:v>2.4730787666580367</c:v>
                </c:pt>
                <c:pt idx="53">
                  <c:v>2.4165706775166473</c:v>
                </c:pt>
                <c:pt idx="54">
                  <c:v>1.8908950008609655</c:v>
                </c:pt>
                <c:pt idx="55">
                  <c:v>2.0622392687823003</c:v>
                </c:pt>
                <c:pt idx="56">
                  <c:v>1.8231338179411374</c:v>
                </c:pt>
                <c:pt idx="57">
                  <c:v>2.08586334551262</c:v>
                </c:pt>
                <c:pt idx="58">
                  <c:v>1.9735902353215424</c:v>
                </c:pt>
                <c:pt idx="59">
                  <c:v>1.999956928600002</c:v>
                </c:pt>
                <c:pt idx="60">
                  <c:v>1.6725738742279666</c:v>
                </c:pt>
                <c:pt idx="61">
                  <c:v>2.3288117902703784</c:v>
                </c:pt>
                <c:pt idx="62">
                  <c:v>2.281593711790393</c:v>
                </c:pt>
                <c:pt idx="63">
                  <c:v>1.9395545202526467</c:v>
                </c:pt>
                <c:pt idx="64">
                  <c:v>1.9007426739754112</c:v>
                </c:pt>
              </c:numCache>
            </c:numRef>
          </c:xVal>
          <c:yVal>
            <c:numRef>
              <c:f>Sheet1!$B$2:$B$66</c:f>
              <c:numCache>
                <c:formatCode>General</c:formatCode>
                <c:ptCount val="65"/>
                <c:pt idx="0">
                  <c:v>0.8900523560209425</c:v>
                </c:pt>
                <c:pt idx="1">
                  <c:v>0.8828125</c:v>
                </c:pt>
                <c:pt idx="2">
                  <c:v>0.9225806451612903</c:v>
                </c:pt>
                <c:pt idx="3">
                  <c:v>0.9349112426035503</c:v>
                </c:pt>
                <c:pt idx="4">
                  <c:v>0.9572953736654805</c:v>
                </c:pt>
                <c:pt idx="5">
                  <c:v>0.9755102040816327</c:v>
                </c:pt>
                <c:pt idx="6">
                  <c:v>0.9758620689655172</c:v>
                </c:pt>
                <c:pt idx="7">
                  <c:v>0.9705882352941176</c:v>
                </c:pt>
                <c:pt idx="8">
                  <c:v>0.8326474622770919</c:v>
                </c:pt>
                <c:pt idx="9">
                  <c:v>0.7130841121495327</c:v>
                </c:pt>
                <c:pt idx="10">
                  <c:v>0.7479338842975206</c:v>
                </c:pt>
                <c:pt idx="11">
                  <c:v>0.8067415730337079</c:v>
                </c:pt>
                <c:pt idx="12">
                  <c:v>0.8801261829652997</c:v>
                </c:pt>
                <c:pt idx="13">
                  <c:v>0.6904761904761905</c:v>
                </c:pt>
                <c:pt idx="14">
                  <c:v>0.6455026455026455</c:v>
                </c:pt>
                <c:pt idx="15">
                  <c:v>0.673972602739726</c:v>
                </c:pt>
                <c:pt idx="16">
                  <c:v>0.6882494004796164</c:v>
                </c:pt>
                <c:pt idx="17">
                  <c:v>0.7132530120481928</c:v>
                </c:pt>
                <c:pt idx="18">
                  <c:v>0.7226107226107226</c:v>
                </c:pt>
                <c:pt idx="19">
                  <c:v>0.7195301027900147</c:v>
                </c:pt>
                <c:pt idx="20">
                  <c:v>0.726207906295754</c:v>
                </c:pt>
                <c:pt idx="21">
                  <c:v>0.6714579055441479</c:v>
                </c:pt>
                <c:pt idx="22">
                  <c:v>0.7048192771084337</c:v>
                </c:pt>
                <c:pt idx="23">
                  <c:v>0.7320916905444126</c:v>
                </c:pt>
                <c:pt idx="24">
                  <c:v>0.7227586206896551</c:v>
                </c:pt>
                <c:pt idx="25">
                  <c:v>0.6957186544342507</c:v>
                </c:pt>
                <c:pt idx="26">
                  <c:v>0.6326530612244898</c:v>
                </c:pt>
                <c:pt idx="27">
                  <c:v>0.629277566539924</c:v>
                </c:pt>
                <c:pt idx="28">
                  <c:v>0.5835189309576837</c:v>
                </c:pt>
                <c:pt idx="29">
                  <c:v>0.5653710247349824</c:v>
                </c:pt>
                <c:pt idx="30">
                  <c:v>0.5822368421052632</c:v>
                </c:pt>
                <c:pt idx="31">
                  <c:v>0.5888157894736842</c:v>
                </c:pt>
                <c:pt idx="32">
                  <c:v>0.6228070175438597</c:v>
                </c:pt>
                <c:pt idx="33">
                  <c:v>0.6737160120845922</c:v>
                </c:pt>
                <c:pt idx="34">
                  <c:v>0.6161971830985915</c:v>
                </c:pt>
                <c:pt idx="35">
                  <c:v>0.5574468085106383</c:v>
                </c:pt>
                <c:pt idx="36">
                  <c:v>0.5863453815261044</c:v>
                </c:pt>
                <c:pt idx="37">
                  <c:v>0.625</c:v>
                </c:pt>
                <c:pt idx="38">
                  <c:v>0.6402116402116402</c:v>
                </c:pt>
                <c:pt idx="39">
                  <c:v>0.6666666666666666</c:v>
                </c:pt>
                <c:pt idx="40">
                  <c:v>0.6101694915254238</c:v>
                </c:pt>
                <c:pt idx="41">
                  <c:v>0.5639810426540285</c:v>
                </c:pt>
                <c:pt idx="42">
                  <c:v>0.5287356321839081</c:v>
                </c:pt>
                <c:pt idx="43">
                  <c:v>0.5071428571428571</c:v>
                </c:pt>
                <c:pt idx="44">
                  <c:v>0.5045871559633027</c:v>
                </c:pt>
                <c:pt idx="45">
                  <c:v>0.5360824742268041</c:v>
                </c:pt>
                <c:pt idx="46">
                  <c:v>0.6036585365853658</c:v>
                </c:pt>
                <c:pt idx="47">
                  <c:v>0.5877192982456141</c:v>
                </c:pt>
                <c:pt idx="48">
                  <c:v>0.5210526315789473</c:v>
                </c:pt>
                <c:pt idx="49">
                  <c:v>0.5608108108108109</c:v>
                </c:pt>
                <c:pt idx="50">
                  <c:v>0.5537190082644629</c:v>
                </c:pt>
                <c:pt idx="51">
                  <c:v>0.5944055944055944</c:v>
                </c:pt>
                <c:pt idx="52">
                  <c:v>0.5660377358490566</c:v>
                </c:pt>
                <c:pt idx="53">
                  <c:v>0.5767195767195767</c:v>
                </c:pt>
                <c:pt idx="54">
                  <c:v>0.6234567901234568</c:v>
                </c:pt>
                <c:pt idx="55">
                  <c:v>0.627906976744186</c:v>
                </c:pt>
                <c:pt idx="56">
                  <c:v>0.631578947368421</c:v>
                </c:pt>
                <c:pt idx="57">
                  <c:v>0.6273458445040214</c:v>
                </c:pt>
                <c:pt idx="58">
                  <c:v>0.6881287726358148</c:v>
                </c:pt>
                <c:pt idx="59">
                  <c:v>0.6692456479690522</c:v>
                </c:pt>
                <c:pt idx="60">
                  <c:v>0.6987487969201155</c:v>
                </c:pt>
                <c:pt idx="61">
                  <c:v>0.6111111111111112</c:v>
                </c:pt>
                <c:pt idx="62">
                  <c:v>0.5975232198142415</c:v>
                </c:pt>
                <c:pt idx="63">
                  <c:v>0.650990099009901</c:v>
                </c:pt>
                <c:pt idx="64">
                  <c:v>0.6666666666666666</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2.4166304566366454</c:v>
                </c:pt>
                <c:pt idx="1">
                  <c:v>2.4485560654602128</c:v>
                </c:pt>
                <c:pt idx="2">
                  <c:v>2.4761051072724363</c:v>
                </c:pt>
                <c:pt idx="3">
                  <c:v>2.623479892698636</c:v>
                </c:pt>
                <c:pt idx="4">
                  <c:v>2.723993109674204</c:v>
                </c:pt>
                <c:pt idx="5">
                  <c:v>2.7511232109185046</c:v>
                </c:pt>
                <c:pt idx="6">
                  <c:v>2.3466473338145506</c:v>
                </c:pt>
                <c:pt idx="7">
                  <c:v>2.204976173243692</c:v>
                </c:pt>
                <c:pt idx="8">
                  <c:v>2.7448690286631257</c:v>
                </c:pt>
                <c:pt idx="9">
                  <c:v>2.2070703888334995</c:v>
                </c:pt>
                <c:pt idx="10">
                  <c:v>2.1147865570224043</c:v>
                </c:pt>
                <c:pt idx="11">
                  <c:v>2.5438150711841745</c:v>
                </c:pt>
                <c:pt idx="12">
                  <c:v>2.2655343071053347</c:v>
                </c:pt>
                <c:pt idx="13">
                  <c:v>1.9203010013628015</c:v>
                </c:pt>
                <c:pt idx="14">
                  <c:v>2.397942877320071</c:v>
                </c:pt>
                <c:pt idx="15">
                  <c:v>2.06162232045818</c:v>
                </c:pt>
                <c:pt idx="16">
                  <c:v>2.0244788930282067</c:v>
                </c:pt>
                <c:pt idx="17">
                  <c:v>1.9546536540155937</c:v>
                </c:pt>
                <c:pt idx="18">
                  <c:v>1.657560287050155</c:v>
                </c:pt>
                <c:pt idx="19">
                  <c:v>1.3800939079213814</c:v>
                </c:pt>
                <c:pt idx="20">
                  <c:v>1.3750548568224128</c:v>
                </c:pt>
                <c:pt idx="21">
                  <c:v>1.4932762358122837</c:v>
                </c:pt>
                <c:pt idx="22">
                  <c:v>1.4567306512730185</c:v>
                </c:pt>
                <c:pt idx="23">
                  <c:v>1.6633051614148369</c:v>
                </c:pt>
                <c:pt idx="24">
                  <c:v>2.3066082474153617</c:v>
                </c:pt>
                <c:pt idx="25">
                  <c:v>2.338326594877341</c:v>
                </c:pt>
                <c:pt idx="26">
                  <c:v>2.3084702757663</c:v>
                </c:pt>
                <c:pt idx="27">
                  <c:v>2.315552588131888</c:v>
                </c:pt>
                <c:pt idx="28">
                  <c:v>1.9454791919599166</c:v>
                </c:pt>
                <c:pt idx="29">
                  <c:v>1.9882043263930278</c:v>
                </c:pt>
                <c:pt idx="30">
                  <c:v>2.3548786896778333</c:v>
                </c:pt>
                <c:pt idx="31">
                  <c:v>2.446454822622749</c:v>
                </c:pt>
                <c:pt idx="32">
                  <c:v>2.2812993705135205</c:v>
                </c:pt>
                <c:pt idx="33">
                  <c:v>2.3418489016003017</c:v>
                </c:pt>
                <c:pt idx="34">
                  <c:v>2.4038341600804873</c:v>
                </c:pt>
                <c:pt idx="35">
                  <c:v>2.4823986221253307</c:v>
                </c:pt>
                <c:pt idx="36">
                  <c:v>2.3656810440639657</c:v>
                </c:pt>
                <c:pt idx="37">
                  <c:v>2.4743746651026304</c:v>
                </c:pt>
                <c:pt idx="38">
                  <c:v>2.48769381278001</c:v>
                </c:pt>
                <c:pt idx="39">
                  <c:v>2.5823871271926833</c:v>
                </c:pt>
                <c:pt idx="40">
                  <c:v>2.5516570766775617</c:v>
                </c:pt>
                <c:pt idx="41">
                  <c:v>2.504694035881524</c:v>
                </c:pt>
                <c:pt idx="42">
                  <c:v>2.485674089072564</c:v>
                </c:pt>
                <c:pt idx="43">
                  <c:v>2.531713759421191</c:v>
                </c:pt>
                <c:pt idx="44">
                  <c:v>2.3035550391394723</c:v>
                </c:pt>
                <c:pt idx="45">
                  <c:v>2.3622248664185226</c:v>
                </c:pt>
                <c:pt idx="46">
                  <c:v>2.3161145590318104</c:v>
                </c:pt>
                <c:pt idx="47">
                  <c:v>2.2867609081765847</c:v>
                </c:pt>
                <c:pt idx="48">
                  <c:v>2.124190170648417</c:v>
                </c:pt>
                <c:pt idx="49">
                  <c:v>2.036451170046913</c:v>
                </c:pt>
                <c:pt idx="50">
                  <c:v>1.9415697552019864</c:v>
                </c:pt>
                <c:pt idx="51">
                  <c:v>1.9400388319418325</c:v>
                </c:pt>
              </c:numCache>
            </c:numRef>
          </c:xVal>
          <c:yVal>
            <c:numRef>
              <c:f>Sheet1!$B$69:$B$120</c:f>
              <c:numCache>
                <c:formatCode>General</c:formatCode>
                <c:ptCount val="52"/>
                <c:pt idx="0">
                  <c:v>0.656319290465632</c:v>
                </c:pt>
                <c:pt idx="1">
                  <c:v>0.6212121212121212</c:v>
                </c:pt>
                <c:pt idx="2">
                  <c:v>0.6208425720620843</c:v>
                </c:pt>
                <c:pt idx="3">
                  <c:v>0.5899581589958159</c:v>
                </c:pt>
                <c:pt idx="4">
                  <c:v>0.5064935064935064</c:v>
                </c:pt>
                <c:pt idx="5">
                  <c:v>0.4976635514018692</c:v>
                </c:pt>
                <c:pt idx="6">
                  <c:v>0.6635514018691588</c:v>
                </c:pt>
                <c:pt idx="7">
                  <c:v>0.6923076923076923</c:v>
                </c:pt>
                <c:pt idx="8">
                  <c:v>0.5627118644067797</c:v>
                </c:pt>
                <c:pt idx="9">
                  <c:v>0.5964391691394659</c:v>
                </c:pt>
                <c:pt idx="10">
                  <c:v>0.6294277929155313</c:v>
                </c:pt>
                <c:pt idx="11">
                  <c:v>0.5670886075949367</c:v>
                </c:pt>
                <c:pt idx="12">
                  <c:v>0.5687830687830688</c:v>
                </c:pt>
                <c:pt idx="13">
                  <c:v>0.6108247422680413</c:v>
                </c:pt>
                <c:pt idx="14">
                  <c:v>0.5652173913043478</c:v>
                </c:pt>
                <c:pt idx="15">
                  <c:v>0.6105610561056105</c:v>
                </c:pt>
                <c:pt idx="16">
                  <c:v>0.6895306859205776</c:v>
                </c:pt>
                <c:pt idx="17">
                  <c:v>0.7051282051282052</c:v>
                </c:pt>
                <c:pt idx="18">
                  <c:v>0.7458333333333333</c:v>
                </c:pt>
                <c:pt idx="19">
                  <c:v>0.7566765578635015</c:v>
                </c:pt>
                <c:pt idx="20">
                  <c:v>0.7653061224489796</c:v>
                </c:pt>
                <c:pt idx="21">
                  <c:v>0.8237885462555066</c:v>
                </c:pt>
                <c:pt idx="22">
                  <c:v>0.801980198019802</c:v>
                </c:pt>
                <c:pt idx="23">
                  <c:v>0.7654320987654321</c:v>
                </c:pt>
                <c:pt idx="24">
                  <c:v>0.738255033557047</c:v>
                </c:pt>
                <c:pt idx="25">
                  <c:v>0.6906474820143885</c:v>
                </c:pt>
                <c:pt idx="26">
                  <c:v>0.7213114754098361</c:v>
                </c:pt>
                <c:pt idx="27">
                  <c:v>0.7071428571428572</c:v>
                </c:pt>
                <c:pt idx="28">
                  <c:v>0.6283783783783784</c:v>
                </c:pt>
                <c:pt idx="29">
                  <c:v>0.6992481203007519</c:v>
                </c:pt>
                <c:pt idx="30">
                  <c:v>0.697841726618705</c:v>
                </c:pt>
                <c:pt idx="31">
                  <c:v>0.7355371900826446</c:v>
                </c:pt>
                <c:pt idx="32">
                  <c:v>0.7288135593220338</c:v>
                </c:pt>
                <c:pt idx="33">
                  <c:v>0.75</c:v>
                </c:pt>
                <c:pt idx="34">
                  <c:v>0.7269076305220884</c:v>
                </c:pt>
                <c:pt idx="35">
                  <c:v>0.7232472324723247</c:v>
                </c:pt>
                <c:pt idx="36">
                  <c:v>0.7222222222222222</c:v>
                </c:pt>
                <c:pt idx="37">
                  <c:v>0.7637362637362637</c:v>
                </c:pt>
                <c:pt idx="38">
                  <c:v>0.8171428571428572</c:v>
                </c:pt>
                <c:pt idx="39">
                  <c:v>0.8243727598566308</c:v>
                </c:pt>
                <c:pt idx="40">
                  <c:v>0.7951807228915663</c:v>
                </c:pt>
                <c:pt idx="41">
                  <c:v>0.7720588235294118</c:v>
                </c:pt>
                <c:pt idx="42">
                  <c:v>0.7740384615384616</c:v>
                </c:pt>
                <c:pt idx="43">
                  <c:v>0.7960339943342776</c:v>
                </c:pt>
                <c:pt idx="44">
                  <c:v>0.8054862842892768</c:v>
                </c:pt>
                <c:pt idx="45">
                  <c:v>0.8279932546374368</c:v>
                </c:pt>
                <c:pt idx="46">
                  <c:v>0.7845804988662132</c:v>
                </c:pt>
                <c:pt idx="47">
                  <c:v>0.8164948453608247</c:v>
                </c:pt>
                <c:pt idx="48">
                  <c:v>0.8195488721804511</c:v>
                </c:pt>
                <c:pt idx="49">
                  <c:v>0.8500823723228995</c:v>
                </c:pt>
                <c:pt idx="50">
                  <c:v>0.8592233009708737</c:v>
                </c:pt>
                <c:pt idx="51">
                  <c:v>0.8536231884057971</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0.11490448949871933</c:v>
                </c:pt>
              </c:numCache>
            </c:numRef>
          </c:xVal>
          <c:yVal>
            <c:numRef>
              <c:f>Sheet1!$B$123:$B$124</c:f>
              <c:numCache>
                <c:formatCode>General</c:formatCode>
                <c:ptCount val="2"/>
                <c:pt idx="0">
                  <c:v>0.9387015782240664</c:v>
                </c:pt>
                <c:pt idx="1">
                  <c:v>0.9387015782240664</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0.11490448949871933</c:v>
                </c:pt>
                <c:pt idx="1">
                  <c:v>-0.11490448949871933</c:v>
                </c:pt>
              </c:numCache>
            </c:numRef>
          </c:xVal>
          <c:yVal>
            <c:numRef>
              <c:f>Sheet1!$B$127:$B$128</c:f>
              <c:numCache>
                <c:formatCode>General</c:formatCode>
                <c:ptCount val="2"/>
                <c:pt idx="0">
                  <c:v>0.938701578224066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0.8501852137659671</c:v>
                </c:pt>
              </c:numCache>
            </c:numRef>
          </c:xVal>
          <c:yVal>
            <c:numRef>
              <c:f>Sheet1!$B$131:$B$132</c:f>
              <c:numCache>
                <c:formatCode>General</c:formatCode>
                <c:ptCount val="2"/>
                <c:pt idx="0">
                  <c:v>0.8456194334700053</c:v>
                </c:pt>
                <c:pt idx="1">
                  <c:v>0.8456194334700053</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0.8501852137659671</c:v>
                </c:pt>
                <c:pt idx="1">
                  <c:v>0.8501852137659671</c:v>
                </c:pt>
              </c:numCache>
            </c:numRef>
          </c:xVal>
          <c:yVal>
            <c:numRef>
              <c:f>Sheet1!$B$135:$B$136</c:f>
              <c:numCache>
                <c:formatCode>General</c:formatCode>
                <c:ptCount val="2"/>
                <c:pt idx="0">
                  <c:v>0.84561943347000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1806383190892267</c:v>
                </c:pt>
              </c:numCache>
            </c:numRef>
          </c:xVal>
          <c:yVal>
            <c:numRef>
              <c:f>Sheet1!$B$139:$B$140</c:f>
              <c:numCache>
                <c:formatCode>General</c:formatCode>
                <c:ptCount val="2"/>
                <c:pt idx="0">
                  <c:v>0.8137474907064708</c:v>
                </c:pt>
                <c:pt idx="1">
                  <c:v>0.8137474907064708</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1806383190892267</c:v>
                </c:pt>
                <c:pt idx="1">
                  <c:v>1.1806383190892267</c:v>
                </c:pt>
              </c:numCache>
            </c:numRef>
          </c:xVal>
          <c:yVal>
            <c:numRef>
              <c:f>Sheet1!$B$143:$B$144</c:f>
              <c:numCache>
                <c:formatCode>General</c:formatCode>
                <c:ptCount val="2"/>
                <c:pt idx="0">
                  <c:v>0.813747490706470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2.4166304566366454</c:v>
                </c:pt>
                <c:pt idx="1">
                  <c:v>2.4485560654602128</c:v>
                </c:pt>
                <c:pt idx="2">
                  <c:v>2.4761051072724363</c:v>
                </c:pt>
                <c:pt idx="3">
                  <c:v>2.623479892698636</c:v>
                </c:pt>
                <c:pt idx="4">
                  <c:v>2.723993109674204</c:v>
                </c:pt>
                <c:pt idx="5">
                  <c:v>2.7511232109185046</c:v>
                </c:pt>
                <c:pt idx="6">
                  <c:v>2.3466473338145506</c:v>
                </c:pt>
                <c:pt idx="7">
                  <c:v>2.204976173243692</c:v>
                </c:pt>
                <c:pt idx="8">
                  <c:v>2.7448690286631257</c:v>
                </c:pt>
                <c:pt idx="9">
                  <c:v>2.2070703888334995</c:v>
                </c:pt>
                <c:pt idx="10">
                  <c:v>2.1147865570224043</c:v>
                </c:pt>
                <c:pt idx="11">
                  <c:v>2.5438150711841745</c:v>
                </c:pt>
                <c:pt idx="12">
                  <c:v>2.2655343071053347</c:v>
                </c:pt>
                <c:pt idx="13">
                  <c:v>1.9203010013628015</c:v>
                </c:pt>
                <c:pt idx="14">
                  <c:v>2.397942877320071</c:v>
                </c:pt>
                <c:pt idx="15">
                  <c:v>2.06162232045818</c:v>
                </c:pt>
                <c:pt idx="16">
                  <c:v>2.0244788930282067</c:v>
                </c:pt>
                <c:pt idx="17">
                  <c:v>1.9546536540155937</c:v>
                </c:pt>
                <c:pt idx="18">
                  <c:v>1.657560287050155</c:v>
                </c:pt>
                <c:pt idx="19">
                  <c:v>1.3800939079213814</c:v>
                </c:pt>
                <c:pt idx="20">
                  <c:v>1.3750548568224128</c:v>
                </c:pt>
                <c:pt idx="21">
                  <c:v>1.4932762358122837</c:v>
                </c:pt>
                <c:pt idx="22">
                  <c:v>1.4567306512730185</c:v>
                </c:pt>
                <c:pt idx="23">
                  <c:v>1.6633051614148369</c:v>
                </c:pt>
                <c:pt idx="24">
                  <c:v>2.3066082474153617</c:v>
                </c:pt>
                <c:pt idx="25">
                  <c:v>2.338326594877341</c:v>
                </c:pt>
                <c:pt idx="26">
                  <c:v>2.3084702757663</c:v>
                </c:pt>
                <c:pt idx="27">
                  <c:v>2.315552588131888</c:v>
                </c:pt>
                <c:pt idx="28">
                  <c:v>1.9454791919599166</c:v>
                </c:pt>
                <c:pt idx="29">
                  <c:v>1.9882043263930278</c:v>
                </c:pt>
                <c:pt idx="30">
                  <c:v>2.3548786896778333</c:v>
                </c:pt>
                <c:pt idx="31">
                  <c:v>2.446454822622749</c:v>
                </c:pt>
                <c:pt idx="32">
                  <c:v>2.2812993705135205</c:v>
                </c:pt>
                <c:pt idx="33">
                  <c:v>2.3418489016003017</c:v>
                </c:pt>
                <c:pt idx="34">
                  <c:v>2.4038341600804873</c:v>
                </c:pt>
                <c:pt idx="35">
                  <c:v>2.4823986221253307</c:v>
                </c:pt>
                <c:pt idx="36">
                  <c:v>2.3656810440639657</c:v>
                </c:pt>
                <c:pt idx="37">
                  <c:v>2.4743746651026304</c:v>
                </c:pt>
                <c:pt idx="38">
                  <c:v>2.48769381278001</c:v>
                </c:pt>
                <c:pt idx="39">
                  <c:v>2.5823871271926833</c:v>
                </c:pt>
                <c:pt idx="40">
                  <c:v>2.5516570766775617</c:v>
                </c:pt>
                <c:pt idx="41">
                  <c:v>2.504694035881524</c:v>
                </c:pt>
                <c:pt idx="42">
                  <c:v>2.485674089072564</c:v>
                </c:pt>
                <c:pt idx="43">
                  <c:v>2.531713759421191</c:v>
                </c:pt>
                <c:pt idx="44">
                  <c:v>2.3035550391394723</c:v>
                </c:pt>
                <c:pt idx="45">
                  <c:v>2.3622248664185226</c:v>
                </c:pt>
                <c:pt idx="46">
                  <c:v>2.3161145590318104</c:v>
                </c:pt>
                <c:pt idx="47">
                  <c:v>2.2867609081765847</c:v>
                </c:pt>
                <c:pt idx="48">
                  <c:v>2.124190170648417</c:v>
                </c:pt>
                <c:pt idx="49">
                  <c:v>2.036451170046913</c:v>
                </c:pt>
                <c:pt idx="50">
                  <c:v>1.9415697552019864</c:v>
                </c:pt>
                <c:pt idx="51">
                  <c:v>1.9400388319418325</c:v>
                </c:pt>
                <c:pt idx="52">
                  <c:v>0.8501852137659671</c:v>
                </c:pt>
                <c:pt idx="53">
                  <c:v>-0.11490448949871933</c:v>
                </c:pt>
                <c:pt idx="54">
                  <c:v>1.1806383190892267</c:v>
                </c:pt>
              </c:numCache>
            </c:numRef>
          </c:xVal>
          <c:yVal>
            <c:numRef>
              <c:f>Sheet1!$B$147:$B$201</c:f>
              <c:numCache>
                <c:formatCode>General</c:formatCode>
                <c:ptCount val="55"/>
                <c:pt idx="0">
                  <c:v>0.6945370186924338</c:v>
                </c:pt>
                <c:pt idx="1">
                  <c:v>0.6914578187674691</c:v>
                </c:pt>
                <c:pt idx="2">
                  <c:v>0.6888007352972729</c:v>
                </c:pt>
                <c:pt idx="3">
                  <c:v>0.674586552860412</c:v>
                </c:pt>
                <c:pt idx="4">
                  <c:v>0.6648921319370855</c:v>
                </c:pt>
                <c:pt idx="5">
                  <c:v>0.662275454956001</c:v>
                </c:pt>
                <c:pt idx="6">
                  <c:v>0.7012868359859262</c:v>
                </c:pt>
                <c:pt idx="7">
                  <c:v>0.7149509082800597</c:v>
                </c:pt>
                <c:pt idx="8">
                  <c:v>0.6628786659280426</c:v>
                </c:pt>
                <c:pt idx="9">
                  <c:v>0.714748922829363</c:v>
                </c:pt>
                <c:pt idx="10">
                  <c:v>0.7236496260096391</c:v>
                </c:pt>
                <c:pt idx="11">
                  <c:v>0.6822701623973608</c:v>
                </c:pt>
                <c:pt idx="12">
                  <c:v>0.7091101237777726</c:v>
                </c:pt>
                <c:pt idx="13">
                  <c:v>0.7424076052764805</c:v>
                </c:pt>
                <c:pt idx="14">
                  <c:v>0.6963394210568608</c:v>
                </c:pt>
                <c:pt idx="15">
                  <c:v>0.7287772749182019</c:v>
                </c:pt>
                <c:pt idx="16">
                  <c:v>0.7323597293543057</c:v>
                </c:pt>
                <c:pt idx="17">
                  <c:v>0.7390943188782356</c:v>
                </c:pt>
                <c:pt idx="18">
                  <c:v>0.7677487410483206</c:v>
                </c:pt>
                <c:pt idx="19">
                  <c:v>0.7945101556391945</c:v>
                </c:pt>
                <c:pt idx="20">
                  <c:v>0.7949961681644867</c:v>
                </c:pt>
                <c:pt idx="21">
                  <c:v>0.7835938089071713</c:v>
                </c:pt>
                <c:pt idx="22">
                  <c:v>0.7871186018654822</c:v>
                </c:pt>
                <c:pt idx="23">
                  <c:v>0.767194652422778</c:v>
                </c:pt>
                <c:pt idx="24">
                  <c:v>0.7051485744579276</c:v>
                </c:pt>
                <c:pt idx="25">
                  <c:v>0.7020893647286888</c:v>
                </c:pt>
                <c:pt idx="26">
                  <c:v>0.7049689832842658</c:v>
                </c:pt>
                <c:pt idx="27">
                  <c:v>0.7042858998127739</c:v>
                </c:pt>
                <c:pt idx="28">
                  <c:v>0.7399791885460171</c:v>
                </c:pt>
                <c:pt idx="29">
                  <c:v>0.7358583828483846</c:v>
                </c:pt>
                <c:pt idx="30">
                  <c:v>0.7004929281705217</c:v>
                </c:pt>
                <c:pt idx="31">
                  <c:v>0.6916604819906893</c:v>
                </c:pt>
                <c:pt idx="32">
                  <c:v>0.7075895957799567</c:v>
                </c:pt>
                <c:pt idx="33">
                  <c:v>0.7017496410085561</c:v>
                </c:pt>
                <c:pt idx="34">
                  <c:v>0.695771211456409</c:v>
                </c:pt>
                <c:pt idx="35">
                  <c:v>0.6881937307270581</c:v>
                </c:pt>
                <c:pt idx="36">
                  <c:v>0.6994510495645712</c:v>
                </c:pt>
                <c:pt idx="37">
                  <c:v>0.6889676350869957</c:v>
                </c:pt>
                <c:pt idx="38">
                  <c:v>0.6876830137425624</c:v>
                </c:pt>
                <c:pt idx="39">
                  <c:v>0.6785499178556355</c:v>
                </c:pt>
                <c:pt idx="40">
                  <c:v>0.681513807119682</c:v>
                </c:pt>
                <c:pt idx="41">
                  <c:v>0.6860433555613245</c:v>
                </c:pt>
                <c:pt idx="42">
                  <c:v>0.6878778145096452</c:v>
                </c:pt>
                <c:pt idx="43">
                  <c:v>0.6834373244232591</c:v>
                </c:pt>
                <c:pt idx="44">
                  <c:v>0.7054430540008543</c:v>
                </c:pt>
                <c:pt idx="45">
                  <c:v>0.6997843951870564</c:v>
                </c:pt>
                <c:pt idx="46">
                  <c:v>0.7042316981603501</c:v>
                </c:pt>
                <c:pt idx="47">
                  <c:v>0.7070628347570038</c:v>
                </c:pt>
                <c:pt idx="48">
                  <c:v>0.7227426548526712</c:v>
                </c:pt>
                <c:pt idx="49">
                  <c:v>0.7312050126282634</c:v>
                </c:pt>
                <c:pt idx="50">
                  <c:v>0.7403562506543139</c:v>
                </c:pt>
                <c:pt idx="51">
                  <c:v>0.7405039070017259</c:v>
                </c:pt>
                <c:pt idx="52">
                  <c:v>0.8456194334700053</c:v>
                </c:pt>
                <c:pt idx="53">
                  <c:v>0.9387015782240664</c:v>
                </c:pt>
                <c:pt idx="54">
                  <c:v>0.813747490706470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710344827586205"/>
          <c:min val="0.398130841121495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289.5118</c:v>
                </c:pt>
                <c:pt idx="1">
                  <c:v>1290.2743</c:v>
                </c:pt>
                <c:pt idx="2">
                  <c:v>1304.5524</c:v>
                </c:pt>
                <c:pt idx="3">
                  <c:v>1311.9114</c:v>
                </c:pt>
                <c:pt idx="4">
                  <c:v>1312.9145</c:v>
                </c:pt>
                <c:pt idx="5">
                  <c:v>1330.3975</c:v>
                </c:pt>
                <c:pt idx="6">
                  <c:v>1186.9894</c:v>
                </c:pt>
                <c:pt idx="7">
                  <c:v>1153.4735</c:v>
                </c:pt>
                <c:pt idx="8">
                  <c:v>926.4959</c:v>
                </c:pt>
                <c:pt idx="9">
                  <c:v>875.0616</c:v>
                </c:pt>
                <c:pt idx="10">
                  <c:v>958.6381</c:v>
                </c:pt>
                <c:pt idx="11">
                  <c:v>899.0529</c:v>
                </c:pt>
                <c:pt idx="12">
                  <c:v>871.8871</c:v>
                </c:pt>
                <c:pt idx="13">
                  <c:v>1293.4</c:v>
                </c:pt>
                <c:pt idx="14">
                  <c:v>1310.0902</c:v>
                </c:pt>
                <c:pt idx="15">
                  <c:v>1293.9228</c:v>
                </c:pt>
                <c:pt idx="16">
                  <c:v>1290.885</c:v>
                </c:pt>
                <c:pt idx="17">
                  <c:v>1294.3412</c:v>
                </c:pt>
                <c:pt idx="18">
                  <c:v>1303.2161</c:v>
                </c:pt>
                <c:pt idx="19">
                  <c:v>1318.2041</c:v>
                </c:pt>
                <c:pt idx="20">
                  <c:v>1310.3548</c:v>
                </c:pt>
                <c:pt idx="21">
                  <c:v>1203.5321</c:v>
                </c:pt>
                <c:pt idx="22">
                  <c:v>1036.1339</c:v>
                </c:pt>
                <c:pt idx="23">
                  <c:v>999.544</c:v>
                </c:pt>
                <c:pt idx="24">
                  <c:v>993.916</c:v>
                </c:pt>
                <c:pt idx="25">
                  <c:v>1012.2593</c:v>
                </c:pt>
                <c:pt idx="26">
                  <c:v>1217.5543</c:v>
                </c:pt>
                <c:pt idx="27">
                  <c:v>1273.4169</c:v>
                </c:pt>
                <c:pt idx="28">
                  <c:v>1249.1145</c:v>
                </c:pt>
                <c:pt idx="29">
                  <c:v>1296.7813</c:v>
                </c:pt>
                <c:pt idx="30">
                  <c:v>1323.6723</c:v>
                </c:pt>
                <c:pt idx="31">
                  <c:v>1209.1732</c:v>
                </c:pt>
                <c:pt idx="32">
                  <c:v>1254.1127</c:v>
                </c:pt>
                <c:pt idx="33">
                  <c:v>1262.0673</c:v>
                </c:pt>
                <c:pt idx="34">
                  <c:v>1259.48</c:v>
                </c:pt>
                <c:pt idx="35">
                  <c:v>1295.4885</c:v>
                </c:pt>
                <c:pt idx="36">
                  <c:v>1159.6096</c:v>
                </c:pt>
                <c:pt idx="37">
                  <c:v>1169.925</c:v>
                </c:pt>
                <c:pt idx="38">
                  <c:v>1223.8347</c:v>
                </c:pt>
                <c:pt idx="39">
                  <c:v>1348.7982</c:v>
                </c:pt>
                <c:pt idx="40">
                  <c:v>1355.0185</c:v>
                </c:pt>
                <c:pt idx="41">
                  <c:v>1421.7311</c:v>
                </c:pt>
                <c:pt idx="42">
                  <c:v>1440.8478</c:v>
                </c:pt>
                <c:pt idx="43">
                  <c:v>1388.169</c:v>
                </c:pt>
                <c:pt idx="44">
                  <c:v>1492.3273</c:v>
                </c:pt>
                <c:pt idx="45">
                  <c:v>1502.1538</c:v>
                </c:pt>
                <c:pt idx="46">
                  <c:v>1435.2525</c:v>
                </c:pt>
                <c:pt idx="47">
                  <c:v>1437.2985</c:v>
                </c:pt>
                <c:pt idx="48">
                  <c:v>1426.2323</c:v>
                </c:pt>
                <c:pt idx="49">
                  <c:v>1456.9398</c:v>
                </c:pt>
                <c:pt idx="50">
                  <c:v>1396.4627</c:v>
                </c:pt>
                <c:pt idx="51">
                  <c:v>1407.9647</c:v>
                </c:pt>
                <c:pt idx="52">
                  <c:v>1447.2222</c:v>
                </c:pt>
                <c:pt idx="53">
                  <c:v>1412.9725</c:v>
                </c:pt>
                <c:pt idx="54">
                  <c:v>1129.9703</c:v>
                </c:pt>
                <c:pt idx="55">
                  <c:v>1207.0802</c:v>
                </c:pt>
                <c:pt idx="56">
                  <c:v>1031.8385</c:v>
                </c:pt>
                <c:pt idx="57">
                  <c:v>1168.4145</c:v>
                </c:pt>
                <c:pt idx="58">
                  <c:v>1108.2544</c:v>
                </c:pt>
                <c:pt idx="59">
                  <c:v>1114.4046</c:v>
                </c:pt>
                <c:pt idx="60">
                  <c:v>959.6033</c:v>
                </c:pt>
                <c:pt idx="61">
                  <c:v>1340.0691</c:v>
                </c:pt>
                <c:pt idx="62">
                  <c:v>1306.2124</c:v>
                </c:pt>
                <c:pt idx="63">
                  <c:v>1109.5627</c:v>
                </c:pt>
                <c:pt idx="64">
                  <c:v>1088.9408</c:v>
                </c:pt>
              </c:numCache>
            </c:numRef>
          </c:xVal>
          <c:yVal>
            <c:numRef>
              <c:f>Sheet1!$B$2:$B$66</c:f>
              <c:numCache>
                <c:formatCode>General</c:formatCode>
                <c:ptCount val="65"/>
                <c:pt idx="0">
                  <c:v>0.8900523560209425</c:v>
                </c:pt>
                <c:pt idx="1">
                  <c:v>0.8828125</c:v>
                </c:pt>
                <c:pt idx="2">
                  <c:v>0.9225806451612903</c:v>
                </c:pt>
                <c:pt idx="3">
                  <c:v>0.9349112426035503</c:v>
                </c:pt>
                <c:pt idx="4">
                  <c:v>0.9572953736654805</c:v>
                </c:pt>
                <c:pt idx="5">
                  <c:v>0.9755102040816327</c:v>
                </c:pt>
                <c:pt idx="6">
                  <c:v>0.9758620689655172</c:v>
                </c:pt>
                <c:pt idx="7">
                  <c:v>0.9705882352941176</c:v>
                </c:pt>
                <c:pt idx="8">
                  <c:v>0.8326474622770919</c:v>
                </c:pt>
                <c:pt idx="9">
                  <c:v>0.7130841121495327</c:v>
                </c:pt>
                <c:pt idx="10">
                  <c:v>0.7479338842975206</c:v>
                </c:pt>
                <c:pt idx="11">
                  <c:v>0.8067415730337079</c:v>
                </c:pt>
                <c:pt idx="12">
                  <c:v>0.8801261829652997</c:v>
                </c:pt>
                <c:pt idx="13">
                  <c:v>0.6904761904761905</c:v>
                </c:pt>
                <c:pt idx="14">
                  <c:v>0.6455026455026455</c:v>
                </c:pt>
                <c:pt idx="15">
                  <c:v>0.673972602739726</c:v>
                </c:pt>
                <c:pt idx="16">
                  <c:v>0.6882494004796164</c:v>
                </c:pt>
                <c:pt idx="17">
                  <c:v>0.7132530120481928</c:v>
                </c:pt>
                <c:pt idx="18">
                  <c:v>0.7226107226107226</c:v>
                </c:pt>
                <c:pt idx="19">
                  <c:v>0.7195301027900147</c:v>
                </c:pt>
                <c:pt idx="20">
                  <c:v>0.726207906295754</c:v>
                </c:pt>
                <c:pt idx="21">
                  <c:v>0.6714579055441479</c:v>
                </c:pt>
                <c:pt idx="22">
                  <c:v>0.7048192771084337</c:v>
                </c:pt>
                <c:pt idx="23">
                  <c:v>0.7320916905444126</c:v>
                </c:pt>
                <c:pt idx="24">
                  <c:v>0.7227586206896551</c:v>
                </c:pt>
                <c:pt idx="25">
                  <c:v>0.6957186544342507</c:v>
                </c:pt>
                <c:pt idx="26">
                  <c:v>0.6326530612244898</c:v>
                </c:pt>
                <c:pt idx="27">
                  <c:v>0.629277566539924</c:v>
                </c:pt>
                <c:pt idx="28">
                  <c:v>0.5835189309576837</c:v>
                </c:pt>
                <c:pt idx="29">
                  <c:v>0.5653710247349824</c:v>
                </c:pt>
                <c:pt idx="30">
                  <c:v>0.5822368421052632</c:v>
                </c:pt>
                <c:pt idx="31">
                  <c:v>0.5888157894736842</c:v>
                </c:pt>
                <c:pt idx="32">
                  <c:v>0.6228070175438597</c:v>
                </c:pt>
                <c:pt idx="33">
                  <c:v>0.6737160120845922</c:v>
                </c:pt>
                <c:pt idx="34">
                  <c:v>0.6161971830985915</c:v>
                </c:pt>
                <c:pt idx="35">
                  <c:v>0.5574468085106383</c:v>
                </c:pt>
                <c:pt idx="36">
                  <c:v>0.5863453815261044</c:v>
                </c:pt>
                <c:pt idx="37">
                  <c:v>0.625</c:v>
                </c:pt>
                <c:pt idx="38">
                  <c:v>0.6402116402116402</c:v>
                </c:pt>
                <c:pt idx="39">
                  <c:v>0.6666666666666666</c:v>
                </c:pt>
                <c:pt idx="40">
                  <c:v>0.6101694915254238</c:v>
                </c:pt>
                <c:pt idx="41">
                  <c:v>0.5639810426540285</c:v>
                </c:pt>
                <c:pt idx="42">
                  <c:v>0.5287356321839081</c:v>
                </c:pt>
                <c:pt idx="43">
                  <c:v>0.5071428571428571</c:v>
                </c:pt>
                <c:pt idx="44">
                  <c:v>0.5045871559633027</c:v>
                </c:pt>
                <c:pt idx="45">
                  <c:v>0.5360824742268041</c:v>
                </c:pt>
                <c:pt idx="46">
                  <c:v>0.6036585365853658</c:v>
                </c:pt>
                <c:pt idx="47">
                  <c:v>0.5877192982456141</c:v>
                </c:pt>
                <c:pt idx="48">
                  <c:v>0.5210526315789473</c:v>
                </c:pt>
                <c:pt idx="49">
                  <c:v>0.5608108108108109</c:v>
                </c:pt>
                <c:pt idx="50">
                  <c:v>0.5537190082644629</c:v>
                </c:pt>
                <c:pt idx="51">
                  <c:v>0.5944055944055944</c:v>
                </c:pt>
                <c:pt idx="52">
                  <c:v>0.5660377358490566</c:v>
                </c:pt>
                <c:pt idx="53">
                  <c:v>0.5767195767195767</c:v>
                </c:pt>
                <c:pt idx="54">
                  <c:v>0.6234567901234568</c:v>
                </c:pt>
                <c:pt idx="55">
                  <c:v>0.627906976744186</c:v>
                </c:pt>
                <c:pt idx="56">
                  <c:v>0.631578947368421</c:v>
                </c:pt>
                <c:pt idx="57">
                  <c:v>0.6273458445040214</c:v>
                </c:pt>
                <c:pt idx="58">
                  <c:v>0.6881287726358148</c:v>
                </c:pt>
                <c:pt idx="59">
                  <c:v>0.6692456479690522</c:v>
                </c:pt>
                <c:pt idx="60">
                  <c:v>0.6987487969201155</c:v>
                </c:pt>
                <c:pt idx="61">
                  <c:v>0.6111111111111112</c:v>
                </c:pt>
                <c:pt idx="62">
                  <c:v>0.5975232198142415</c:v>
                </c:pt>
                <c:pt idx="63">
                  <c:v>0.650990099009901</c:v>
                </c:pt>
                <c:pt idx="64">
                  <c:v>0.6666666666666666</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387.0642</c:v>
                </c:pt>
                <c:pt idx="1">
                  <c:v>1413.9187</c:v>
                </c:pt>
                <c:pt idx="2">
                  <c:v>1414.1893</c:v>
                </c:pt>
                <c:pt idx="3">
                  <c:v>1412.1135</c:v>
                </c:pt>
                <c:pt idx="4">
                  <c:v>1425.4231</c:v>
                </c:pt>
                <c:pt idx="5">
                  <c:v>1427.4742</c:v>
                </c:pt>
                <c:pt idx="6">
                  <c:v>1226.9225</c:v>
                </c:pt>
                <c:pt idx="7">
                  <c:v>1104.6741</c:v>
                </c:pt>
                <c:pt idx="8">
                  <c:v>1394.4157</c:v>
                </c:pt>
                <c:pt idx="9">
                  <c:v>1106.8458</c:v>
                </c:pt>
                <c:pt idx="10">
                  <c:v>1065.7359</c:v>
                </c:pt>
                <c:pt idx="11">
                  <c:v>1386.8661</c:v>
                </c:pt>
                <c:pt idx="12">
                  <c:v>1340.8558</c:v>
                </c:pt>
                <c:pt idx="13">
                  <c:v>1134.3122</c:v>
                </c:pt>
                <c:pt idx="14">
                  <c:v>1401.6813</c:v>
                </c:pt>
                <c:pt idx="15">
                  <c:v>1226.9135</c:v>
                </c:pt>
                <c:pt idx="16">
                  <c:v>1188.7487</c:v>
                </c:pt>
                <c:pt idx="17">
                  <c:v>1128.7515</c:v>
                </c:pt>
                <c:pt idx="18">
                  <c:v>994.3855</c:v>
                </c:pt>
                <c:pt idx="19">
                  <c:v>795.4784</c:v>
                </c:pt>
                <c:pt idx="20">
                  <c:v>805.2533</c:v>
                </c:pt>
                <c:pt idx="21">
                  <c:v>874.4545</c:v>
                </c:pt>
                <c:pt idx="22">
                  <c:v>872.784</c:v>
                </c:pt>
                <c:pt idx="23">
                  <c:v>1015.2339</c:v>
                </c:pt>
                <c:pt idx="24">
                  <c:v>1299.6455</c:v>
                </c:pt>
                <c:pt idx="25">
                  <c:v>1371.2188</c:v>
                </c:pt>
                <c:pt idx="26">
                  <c:v>1400.3864</c:v>
                </c:pt>
                <c:pt idx="27">
                  <c:v>1362.2727</c:v>
                </c:pt>
                <c:pt idx="28">
                  <c:v>1152.3118</c:v>
                </c:pt>
                <c:pt idx="29">
                  <c:v>1171.2796</c:v>
                </c:pt>
                <c:pt idx="30">
                  <c:v>1363.0928</c:v>
                </c:pt>
                <c:pt idx="31">
                  <c:v>1379.4382</c:v>
                </c:pt>
                <c:pt idx="32">
                  <c:v>1318.9419</c:v>
                </c:pt>
                <c:pt idx="33">
                  <c:v>1356.275</c:v>
                </c:pt>
                <c:pt idx="34">
                  <c:v>1387.9337</c:v>
                </c:pt>
                <c:pt idx="35">
                  <c:v>1411.1684</c:v>
                </c:pt>
                <c:pt idx="36">
                  <c:v>1389.2857</c:v>
                </c:pt>
                <c:pt idx="37">
                  <c:v>1430.5899</c:v>
                </c:pt>
                <c:pt idx="38">
                  <c:v>1424.7622</c:v>
                </c:pt>
                <c:pt idx="39">
                  <c:v>1477.7261</c:v>
                </c:pt>
                <c:pt idx="40">
                  <c:v>1480.1313</c:v>
                </c:pt>
                <c:pt idx="41">
                  <c:v>1488.6381</c:v>
                </c:pt>
                <c:pt idx="42">
                  <c:v>1480.7516</c:v>
                </c:pt>
                <c:pt idx="43">
                  <c:v>1454.4093</c:v>
                </c:pt>
                <c:pt idx="44">
                  <c:v>1385.1827</c:v>
                </c:pt>
                <c:pt idx="45">
                  <c:v>1366.2485</c:v>
                </c:pt>
                <c:pt idx="46">
                  <c:v>1344.2312</c:v>
                </c:pt>
                <c:pt idx="47">
                  <c:v>1335.7828</c:v>
                </c:pt>
                <c:pt idx="48">
                  <c:v>1235.2408</c:v>
                </c:pt>
                <c:pt idx="49">
                  <c:v>1142.0465</c:v>
                </c:pt>
                <c:pt idx="50">
                  <c:v>1092.8636</c:v>
                </c:pt>
                <c:pt idx="51">
                  <c:v>1121.4992</c:v>
                </c:pt>
              </c:numCache>
            </c:numRef>
          </c:xVal>
          <c:yVal>
            <c:numRef>
              <c:f>Sheet1!$B$69:$B$120</c:f>
              <c:numCache>
                <c:formatCode>General</c:formatCode>
                <c:ptCount val="52"/>
                <c:pt idx="0">
                  <c:v>0.656319290465632</c:v>
                </c:pt>
                <c:pt idx="1">
                  <c:v>0.6212121212121212</c:v>
                </c:pt>
                <c:pt idx="2">
                  <c:v>0.6208425720620843</c:v>
                </c:pt>
                <c:pt idx="3">
                  <c:v>0.5899581589958159</c:v>
                </c:pt>
                <c:pt idx="4">
                  <c:v>0.5064935064935064</c:v>
                </c:pt>
                <c:pt idx="5">
                  <c:v>0.4976635514018692</c:v>
                </c:pt>
                <c:pt idx="6">
                  <c:v>0.6635514018691588</c:v>
                </c:pt>
                <c:pt idx="7">
                  <c:v>0.6923076923076923</c:v>
                </c:pt>
                <c:pt idx="8">
                  <c:v>0.5627118644067797</c:v>
                </c:pt>
                <c:pt idx="9">
                  <c:v>0.5964391691394659</c:v>
                </c:pt>
                <c:pt idx="10">
                  <c:v>0.6294277929155313</c:v>
                </c:pt>
                <c:pt idx="11">
                  <c:v>0.5670886075949367</c:v>
                </c:pt>
                <c:pt idx="12">
                  <c:v>0.5687830687830688</c:v>
                </c:pt>
                <c:pt idx="13">
                  <c:v>0.6108247422680413</c:v>
                </c:pt>
                <c:pt idx="14">
                  <c:v>0.5652173913043478</c:v>
                </c:pt>
                <c:pt idx="15">
                  <c:v>0.6105610561056105</c:v>
                </c:pt>
                <c:pt idx="16">
                  <c:v>0.6895306859205776</c:v>
                </c:pt>
                <c:pt idx="17">
                  <c:v>0.7051282051282052</c:v>
                </c:pt>
                <c:pt idx="18">
                  <c:v>0.7458333333333333</c:v>
                </c:pt>
                <c:pt idx="19">
                  <c:v>0.7566765578635015</c:v>
                </c:pt>
                <c:pt idx="20">
                  <c:v>0.7653061224489796</c:v>
                </c:pt>
                <c:pt idx="21">
                  <c:v>0.8237885462555066</c:v>
                </c:pt>
                <c:pt idx="22">
                  <c:v>0.801980198019802</c:v>
                </c:pt>
                <c:pt idx="23">
                  <c:v>0.7654320987654321</c:v>
                </c:pt>
                <c:pt idx="24">
                  <c:v>0.738255033557047</c:v>
                </c:pt>
                <c:pt idx="25">
                  <c:v>0.6906474820143885</c:v>
                </c:pt>
                <c:pt idx="26">
                  <c:v>0.7213114754098361</c:v>
                </c:pt>
                <c:pt idx="27">
                  <c:v>0.7071428571428572</c:v>
                </c:pt>
                <c:pt idx="28">
                  <c:v>0.6283783783783784</c:v>
                </c:pt>
                <c:pt idx="29">
                  <c:v>0.6992481203007519</c:v>
                </c:pt>
                <c:pt idx="30">
                  <c:v>0.697841726618705</c:v>
                </c:pt>
                <c:pt idx="31">
                  <c:v>0.7355371900826446</c:v>
                </c:pt>
                <c:pt idx="32">
                  <c:v>0.7288135593220338</c:v>
                </c:pt>
                <c:pt idx="33">
                  <c:v>0.75</c:v>
                </c:pt>
                <c:pt idx="34">
                  <c:v>0.7269076305220884</c:v>
                </c:pt>
                <c:pt idx="35">
                  <c:v>0.7232472324723247</c:v>
                </c:pt>
                <c:pt idx="36">
                  <c:v>0.7222222222222222</c:v>
                </c:pt>
                <c:pt idx="37">
                  <c:v>0.7637362637362637</c:v>
                </c:pt>
                <c:pt idx="38">
                  <c:v>0.8171428571428572</c:v>
                </c:pt>
                <c:pt idx="39">
                  <c:v>0.8243727598566308</c:v>
                </c:pt>
                <c:pt idx="40">
                  <c:v>0.7951807228915663</c:v>
                </c:pt>
                <c:pt idx="41">
                  <c:v>0.7720588235294118</c:v>
                </c:pt>
                <c:pt idx="42">
                  <c:v>0.7740384615384616</c:v>
                </c:pt>
                <c:pt idx="43">
                  <c:v>0.7960339943342776</c:v>
                </c:pt>
                <c:pt idx="44">
                  <c:v>0.8054862842892768</c:v>
                </c:pt>
                <c:pt idx="45">
                  <c:v>0.8279932546374368</c:v>
                </c:pt>
                <c:pt idx="46">
                  <c:v>0.7845804988662132</c:v>
                </c:pt>
                <c:pt idx="47">
                  <c:v>0.8164948453608247</c:v>
                </c:pt>
                <c:pt idx="48">
                  <c:v>0.8195488721804511</c:v>
                </c:pt>
                <c:pt idx="49">
                  <c:v>0.8500823723228995</c:v>
                </c:pt>
                <c:pt idx="50">
                  <c:v>0.8592233009708737</c:v>
                </c:pt>
                <c:pt idx="51">
                  <c:v>0.8536231884057971</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960.4696651132062</c:v>
                </c:pt>
              </c:numCache>
            </c:numRef>
          </c:xVal>
          <c:yVal>
            <c:numRef>
              <c:f>Sheet1!$B$123:$B$124</c:f>
              <c:numCache>
                <c:formatCode>General</c:formatCode>
                <c:ptCount val="2"/>
                <c:pt idx="0">
                  <c:v>0.9387015782240664</c:v>
                </c:pt>
                <c:pt idx="1">
                  <c:v>0.9387015782240664</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960.4696651132062</c:v>
                </c:pt>
                <c:pt idx="1">
                  <c:v>-960.4696651132062</c:v>
                </c:pt>
              </c:numCache>
            </c:numRef>
          </c:xVal>
          <c:yVal>
            <c:numRef>
              <c:f>Sheet1!$B$127:$B$128</c:f>
              <c:numCache>
                <c:formatCode>General</c:formatCode>
                <c:ptCount val="2"/>
                <c:pt idx="0">
                  <c:v>0.938701578224066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42.22452650705321</c:v>
                </c:pt>
              </c:numCache>
            </c:numRef>
          </c:xVal>
          <c:yVal>
            <c:numRef>
              <c:f>Sheet1!$B$131:$B$132</c:f>
              <c:numCache>
                <c:formatCode>General</c:formatCode>
                <c:ptCount val="2"/>
                <c:pt idx="0">
                  <c:v>0.8456194334700053</c:v>
                </c:pt>
                <c:pt idx="1">
                  <c:v>0.8456194334700053</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42.22452650705321</c:v>
                </c:pt>
                <c:pt idx="1">
                  <c:v>-42.22452650705321</c:v>
                </c:pt>
              </c:numCache>
            </c:numRef>
          </c:xVal>
          <c:yVal>
            <c:numRef>
              <c:f>Sheet1!$B$135:$B$136</c:f>
              <c:numCache>
                <c:formatCode>General</c:formatCode>
                <c:ptCount val="2"/>
                <c:pt idx="0">
                  <c:v>0.84561943347000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272.1886896674947</c:v>
                </c:pt>
              </c:numCache>
            </c:numRef>
          </c:xVal>
          <c:yVal>
            <c:numRef>
              <c:f>Sheet1!$B$139:$B$140</c:f>
              <c:numCache>
                <c:formatCode>General</c:formatCode>
                <c:ptCount val="2"/>
                <c:pt idx="0">
                  <c:v>0.8137474907064708</c:v>
                </c:pt>
                <c:pt idx="1">
                  <c:v>0.8137474907064708</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272.1886896674947</c:v>
                </c:pt>
                <c:pt idx="1">
                  <c:v>272.1886896674947</c:v>
                </c:pt>
              </c:numCache>
            </c:numRef>
          </c:xVal>
          <c:yVal>
            <c:numRef>
              <c:f>Sheet1!$B$143:$B$144</c:f>
              <c:numCache>
                <c:formatCode>General</c:formatCode>
                <c:ptCount val="2"/>
                <c:pt idx="0">
                  <c:v>0.813747490706470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387.0642</c:v>
                </c:pt>
                <c:pt idx="1">
                  <c:v>1413.9187</c:v>
                </c:pt>
                <c:pt idx="2">
                  <c:v>1414.1893</c:v>
                </c:pt>
                <c:pt idx="3">
                  <c:v>1412.1135</c:v>
                </c:pt>
                <c:pt idx="4">
                  <c:v>1425.4231</c:v>
                </c:pt>
                <c:pt idx="5">
                  <c:v>1427.4742</c:v>
                </c:pt>
                <c:pt idx="6">
                  <c:v>1226.9225</c:v>
                </c:pt>
                <c:pt idx="7">
                  <c:v>1104.6741</c:v>
                </c:pt>
                <c:pt idx="8">
                  <c:v>1394.4157</c:v>
                </c:pt>
                <c:pt idx="9">
                  <c:v>1106.8458</c:v>
                </c:pt>
                <c:pt idx="10">
                  <c:v>1065.7359</c:v>
                </c:pt>
                <c:pt idx="11">
                  <c:v>1386.8661</c:v>
                </c:pt>
                <c:pt idx="12">
                  <c:v>1340.8558</c:v>
                </c:pt>
                <c:pt idx="13">
                  <c:v>1134.3122</c:v>
                </c:pt>
                <c:pt idx="14">
                  <c:v>1401.6813</c:v>
                </c:pt>
                <c:pt idx="15">
                  <c:v>1226.9135</c:v>
                </c:pt>
                <c:pt idx="16">
                  <c:v>1188.7487</c:v>
                </c:pt>
                <c:pt idx="17">
                  <c:v>1128.7515</c:v>
                </c:pt>
                <c:pt idx="18">
                  <c:v>994.3855</c:v>
                </c:pt>
                <c:pt idx="19">
                  <c:v>795.4784</c:v>
                </c:pt>
                <c:pt idx="20">
                  <c:v>805.2533</c:v>
                </c:pt>
                <c:pt idx="21">
                  <c:v>874.4545</c:v>
                </c:pt>
                <c:pt idx="22">
                  <c:v>872.784</c:v>
                </c:pt>
                <c:pt idx="23">
                  <c:v>1015.2339</c:v>
                </c:pt>
                <c:pt idx="24">
                  <c:v>1299.6455</c:v>
                </c:pt>
                <c:pt idx="25">
                  <c:v>1371.2188</c:v>
                </c:pt>
                <c:pt idx="26">
                  <c:v>1400.3864</c:v>
                </c:pt>
                <c:pt idx="27">
                  <c:v>1362.2727</c:v>
                </c:pt>
                <c:pt idx="28">
                  <c:v>1152.3118</c:v>
                </c:pt>
                <c:pt idx="29">
                  <c:v>1171.2796</c:v>
                </c:pt>
                <c:pt idx="30">
                  <c:v>1363.0928</c:v>
                </c:pt>
                <c:pt idx="31">
                  <c:v>1379.4382</c:v>
                </c:pt>
                <c:pt idx="32">
                  <c:v>1318.9419</c:v>
                </c:pt>
                <c:pt idx="33">
                  <c:v>1356.275</c:v>
                </c:pt>
                <c:pt idx="34">
                  <c:v>1387.9337</c:v>
                </c:pt>
                <c:pt idx="35">
                  <c:v>1411.1684</c:v>
                </c:pt>
                <c:pt idx="36">
                  <c:v>1389.2857</c:v>
                </c:pt>
                <c:pt idx="37">
                  <c:v>1430.5899</c:v>
                </c:pt>
                <c:pt idx="38">
                  <c:v>1424.7622</c:v>
                </c:pt>
                <c:pt idx="39">
                  <c:v>1477.7261</c:v>
                </c:pt>
                <c:pt idx="40">
                  <c:v>1480.1313</c:v>
                </c:pt>
                <c:pt idx="41">
                  <c:v>1488.6381</c:v>
                </c:pt>
                <c:pt idx="42">
                  <c:v>1480.7516</c:v>
                </c:pt>
                <c:pt idx="43">
                  <c:v>1454.4093</c:v>
                </c:pt>
                <c:pt idx="44">
                  <c:v>1385.1827</c:v>
                </c:pt>
                <c:pt idx="45">
                  <c:v>1366.2485</c:v>
                </c:pt>
                <c:pt idx="46">
                  <c:v>1344.2312</c:v>
                </c:pt>
                <c:pt idx="47">
                  <c:v>1335.7828</c:v>
                </c:pt>
                <c:pt idx="48">
                  <c:v>1235.2408</c:v>
                </c:pt>
                <c:pt idx="49">
                  <c:v>1142.0465</c:v>
                </c:pt>
                <c:pt idx="50">
                  <c:v>1092.8636</c:v>
                </c:pt>
                <c:pt idx="51">
                  <c:v>1121.4992</c:v>
                </c:pt>
                <c:pt idx="52">
                  <c:v>-42.22452650705321</c:v>
                </c:pt>
                <c:pt idx="53">
                  <c:v>-960.4696651132062</c:v>
                </c:pt>
                <c:pt idx="54">
                  <c:v>272.1886896674947</c:v>
                </c:pt>
              </c:numCache>
            </c:numRef>
          </c:xVal>
          <c:yVal>
            <c:numRef>
              <c:f>Sheet1!$B$147:$B$201</c:f>
              <c:numCache>
                <c:formatCode>General</c:formatCode>
                <c:ptCount val="55"/>
                <c:pt idx="0">
                  <c:v>0.7007330033190909</c:v>
                </c:pt>
                <c:pt idx="1">
                  <c:v>0.698010773327117</c:v>
                </c:pt>
                <c:pt idx="2">
                  <c:v>0.697983342712664</c:v>
                </c:pt>
                <c:pt idx="3">
                  <c:v>0.6981937657336601</c:v>
                </c:pt>
                <c:pt idx="4">
                  <c:v>0.6968445768714144</c:v>
                </c:pt>
                <c:pt idx="5">
                  <c:v>0.6966366576796016</c:v>
                </c:pt>
                <c:pt idx="6">
                  <c:v>0.7169665038015312</c:v>
                </c:pt>
                <c:pt idx="7">
                  <c:v>0.7293587755232473</c:v>
                </c:pt>
                <c:pt idx="8">
                  <c:v>0.6999877846858639</c:v>
                </c:pt>
                <c:pt idx="9">
                  <c:v>0.7291386311573657</c:v>
                </c:pt>
                <c:pt idx="10">
                  <c:v>0.7333059253816875</c:v>
                </c:pt>
                <c:pt idx="11">
                  <c:v>0.7007530846373582</c:v>
                </c:pt>
                <c:pt idx="12">
                  <c:v>0.7054171304620699</c:v>
                </c:pt>
                <c:pt idx="13">
                  <c:v>0.7263543731055846</c:v>
                </c:pt>
                <c:pt idx="14">
                  <c:v>0.6992512737014968</c:v>
                </c:pt>
                <c:pt idx="15">
                  <c:v>0.7169674161279542</c:v>
                </c:pt>
                <c:pt idx="16">
                  <c:v>0.7208361667357737</c:v>
                </c:pt>
                <c:pt idx="17">
                  <c:v>0.7269180590545455</c:v>
                </c:pt>
                <c:pt idx="18">
                  <c:v>0.7405386870722547</c:v>
                </c:pt>
                <c:pt idx="19">
                  <c:v>0.7607018207458125</c:v>
                </c:pt>
                <c:pt idx="20">
                  <c:v>0.7597109430177391</c:v>
                </c:pt>
                <c:pt idx="21">
                  <c:v>0.7526960448769959</c:v>
                </c:pt>
                <c:pt idx="22">
                  <c:v>0.7528653827980741</c:v>
                </c:pt>
                <c:pt idx="23">
                  <c:v>0.7384252930502222</c:v>
                </c:pt>
                <c:pt idx="24">
                  <c:v>0.7095946021944888</c:v>
                </c:pt>
                <c:pt idx="25">
                  <c:v>0.7023392452195107</c:v>
                </c:pt>
                <c:pt idx="26">
                  <c:v>0.699382537199853</c:v>
                </c:pt>
                <c:pt idx="27">
                  <c:v>0.7032461078209815</c:v>
                </c:pt>
                <c:pt idx="28">
                  <c:v>0.724529760807328</c:v>
                </c:pt>
                <c:pt idx="29">
                  <c:v>0.7226070024598718</c:v>
                </c:pt>
                <c:pt idx="30">
                  <c:v>0.7031629746099213</c:v>
                </c:pt>
                <c:pt idx="31">
                  <c:v>0.7015060479082209</c:v>
                </c:pt>
                <c:pt idx="32">
                  <c:v>0.707638533795631</c:v>
                </c:pt>
                <c:pt idx="33">
                  <c:v>0.7038540922862615</c:v>
                </c:pt>
                <c:pt idx="34">
                  <c:v>0.7006448624496642</c:v>
                </c:pt>
                <c:pt idx="35">
                  <c:v>0.6982895701450405</c:v>
                </c:pt>
                <c:pt idx="36">
                  <c:v>0.7005078107470017</c:v>
                </c:pt>
                <c:pt idx="37">
                  <c:v>0.6963208204089023</c:v>
                </c:pt>
                <c:pt idx="38">
                  <c:v>0.6969115720417469</c:v>
                </c:pt>
                <c:pt idx="39">
                  <c:v>0.6915426425486673</c:v>
                </c:pt>
                <c:pt idx="40">
                  <c:v>0.6912988283805876</c:v>
                </c:pt>
                <c:pt idx="41">
                  <c:v>0.6904364974455218</c:v>
                </c:pt>
                <c:pt idx="42">
                  <c:v>0.691235948816119</c:v>
                </c:pt>
                <c:pt idx="43">
                  <c:v>0.6939062572976612</c:v>
                </c:pt>
                <c:pt idx="44">
                  <c:v>0.7009237302263094</c:v>
                </c:pt>
                <c:pt idx="45">
                  <c:v>0.7028430825551196</c:v>
                </c:pt>
                <c:pt idx="46">
                  <c:v>0.7050749675055855</c:v>
                </c:pt>
                <c:pt idx="47">
                  <c:v>0.7059313784558617</c:v>
                </c:pt>
                <c:pt idx="48">
                  <c:v>0.7161232810365481</c:v>
                </c:pt>
                <c:pt idx="49">
                  <c:v>0.7255703501884972</c:v>
                </c:pt>
                <c:pt idx="50">
                  <c:v>0.7305560012142939</c:v>
                </c:pt>
                <c:pt idx="51">
                  <c:v>0.7276532218231986</c:v>
                </c:pt>
                <c:pt idx="52">
                  <c:v>0.8456194334700053</c:v>
                </c:pt>
                <c:pt idx="53">
                  <c:v>0.9387015782240664</c:v>
                </c:pt>
                <c:pt idx="54">
                  <c:v>0.813747490706470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710344827586205"/>
          <c:min val="0.398130841121495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c:v>
                </c:pt>
                <c:pt idx="1">
                  <c:v>0.43545688122811743</c:v>
                </c:pt>
                <c:pt idx="2">
                  <c:v>0.4628909351692484</c:v>
                </c:pt>
                <c:pt idx="3">
                  <c:v>0.6118543413173653</c:v>
                </c:pt>
                <c:pt idx="4">
                  <c:v>0.4917293233082707</c:v>
                </c:pt>
                <c:pt idx="5">
                  <c:v>0.529195754970446</c:v>
                </c:pt>
                <c:pt idx="6">
                  <c:v>0.6271556137289122</c:v>
                </c:pt>
                <c:pt idx="7">
                  <c:v>0.5820931703428116</c:v>
                </c:pt>
                <c:pt idx="8">
                  <c:v>0.7448444602403904</c:v>
                </c:pt>
                <c:pt idx="9">
                  <c:v>0.5000314117653778</c:v>
                </c:pt>
                <c:pt idx="10">
                  <c:v>0.4996684131736527</c:v>
                </c:pt>
                <c:pt idx="11">
                  <c:v>0.5008088224299065</c:v>
                </c:pt>
                <c:pt idx="12">
                  <c:v>0.3755960413080895</c:v>
                </c:pt>
                <c:pt idx="13">
                  <c:v>0.31859659781287974</c:v>
                </c:pt>
                <c:pt idx="14">
                  <c:v>0.5067777777777778</c:v>
                </c:pt>
                <c:pt idx="15">
                  <c:v>0.4745220281416788</c:v>
                </c:pt>
                <c:pt idx="16">
                  <c:v>0.6256578208130927</c:v>
                </c:pt>
                <c:pt idx="17">
                  <c:v>0.7336269552012149</c:v>
                </c:pt>
                <c:pt idx="18">
                  <c:v>0.46784904924427106</c:v>
                </c:pt>
                <c:pt idx="19">
                  <c:v>0.736258595825427</c:v>
                </c:pt>
                <c:pt idx="20">
                  <c:v>0.7330140696772451</c:v>
                </c:pt>
                <c:pt idx="21">
                  <c:v>0.5210410206084396</c:v>
                </c:pt>
                <c:pt idx="22">
                  <c:v>0.5234897392152084</c:v>
                </c:pt>
                <c:pt idx="23">
                  <c:v>0.7069003952569171</c:v>
                </c:pt>
                <c:pt idx="24">
                  <c:v>0.6936518869000624</c:v>
                </c:pt>
                <c:pt idx="25">
                  <c:v>0.6369588885986829</c:v>
                </c:pt>
                <c:pt idx="26">
                  <c:v>0.6527983754512635</c:v>
                </c:pt>
                <c:pt idx="27">
                  <c:v>0.7437716615087062</c:v>
                </c:pt>
                <c:pt idx="28">
                  <c:v>0.6730425269645609</c:v>
                </c:pt>
                <c:pt idx="29">
                  <c:v>0.7765578427916813</c:v>
                </c:pt>
                <c:pt idx="30">
                  <c:v>0.6993609073958981</c:v>
                </c:pt>
                <c:pt idx="31">
                  <c:v>0.6438364202775417</c:v>
                </c:pt>
                <c:pt idx="32">
                  <c:v>0.6460539937016891</c:v>
                </c:pt>
                <c:pt idx="33">
                  <c:v>0.47731997439180535</c:v>
                </c:pt>
                <c:pt idx="34">
                  <c:v>0.7205919654714474</c:v>
                </c:pt>
                <c:pt idx="35">
                  <c:v>0.73914945799458</c:v>
                </c:pt>
                <c:pt idx="36">
                  <c:v>0.5347601727447217</c:v>
                </c:pt>
                <c:pt idx="37">
                  <c:v>0.5356216698841698</c:v>
                </c:pt>
                <c:pt idx="38">
                  <c:v>0.5804772364011344</c:v>
                </c:pt>
                <c:pt idx="39">
                  <c:v>0.8632974953271028</c:v>
                </c:pt>
                <c:pt idx="40">
                  <c:v>0.6723210636079249</c:v>
                </c:pt>
                <c:pt idx="41">
                  <c:v>0.8207851781170483</c:v>
                </c:pt>
                <c:pt idx="42">
                  <c:v>0.9905485193621868</c:v>
                </c:pt>
                <c:pt idx="43">
                  <c:v>1.0095509041939208</c:v>
                </c:pt>
                <c:pt idx="44">
                  <c:v>0.714025560842964</c:v>
                </c:pt>
                <c:pt idx="45">
                  <c:v>0.7153956674064229</c:v>
                </c:pt>
                <c:pt idx="46">
                  <c:v>0.5090006003430532</c:v>
                </c:pt>
                <c:pt idx="47">
                  <c:v>0.7857448910081745</c:v>
                </c:pt>
                <c:pt idx="48">
                  <c:v>0.5719110493827161</c:v>
                </c:pt>
                <c:pt idx="49">
                  <c:v>0.47615921643313835</c:v>
                </c:pt>
                <c:pt idx="50">
                  <c:v>0.5660134310959766</c:v>
                </c:pt>
                <c:pt idx="51">
                  <c:v>0.5399068580350709</c:v>
                </c:pt>
                <c:pt idx="52">
                  <c:v>0.4807493934715483</c:v>
                </c:pt>
                <c:pt idx="53">
                  <c:v>0.6865990245771025</c:v>
                </c:pt>
                <c:pt idx="54">
                  <c:v>0.7122267208414613</c:v>
                </c:pt>
                <c:pt idx="55">
                  <c:v>0.6677080575239527</c:v>
                </c:pt>
                <c:pt idx="56">
                  <c:v>0.6977337739339005</c:v>
                </c:pt>
                <c:pt idx="57">
                  <c:v>0.7238466232201017</c:v>
                </c:pt>
                <c:pt idx="58">
                  <c:v>0.8570407076154151</c:v>
                </c:pt>
                <c:pt idx="59">
                  <c:v>0.8553518371319653</c:v>
                </c:pt>
                <c:pt idx="60">
                  <c:v>0.8420100934172512</c:v>
                </c:pt>
                <c:pt idx="61">
                  <c:v>0.7876518979057591</c:v>
                </c:pt>
                <c:pt idx="62">
                  <c:v>0.680852614326731</c:v>
                </c:pt>
                <c:pt idx="63">
                  <c:v>0.6357178051090127</c:v>
                </c:pt>
                <c:pt idx="64">
                  <c:v>0.6077307561904046</c:v>
                </c:pt>
                <c:pt idx="65">
                  <c:v>0.6155111145783859</c:v>
                </c:pt>
                <c:pt idx="66">
                  <c:v>0.721641951161688</c:v>
                </c:pt>
                <c:pt idx="67">
                  <c:v>0.7406662545963129</c:v>
                </c:pt>
                <c:pt idx="68">
                  <c:v>0.6565894246964117</c:v>
                </c:pt>
                <c:pt idx="69">
                  <c:v>0.7539426162790698</c:v>
                </c:pt>
                <c:pt idx="70">
                  <c:v>0.6752138238857361</c:v>
                </c:pt>
                <c:pt idx="71">
                  <c:v>0.6862179557572562</c:v>
                </c:pt>
                <c:pt idx="72">
                  <c:v>0.7016996503007413</c:v>
                </c:pt>
                <c:pt idx="73">
                  <c:v>0.6462671026978881</c:v>
                </c:pt>
                <c:pt idx="74">
                  <c:v>0.6463607132897465</c:v>
                </c:pt>
                <c:pt idx="75">
                  <c:v>0.7339283975252088</c:v>
                </c:pt>
                <c:pt idx="76">
                  <c:v>0.6490503603162388</c:v>
                </c:pt>
                <c:pt idx="77">
                  <c:v>0.6527558636438376</c:v>
                </c:pt>
                <c:pt idx="78">
                  <c:v>0.6665766339869281</c:v>
                </c:pt>
                <c:pt idx="79">
                  <c:v>0.6768357085507828</c:v>
                </c:pt>
                <c:pt idx="80">
                  <c:v>0.7152003061332207</c:v>
                </c:pt>
                <c:pt idx="81">
                  <c:v>0.7634480332930594</c:v>
                </c:pt>
                <c:pt idx="82">
                  <c:v>0.7384634923459475</c:v>
                </c:pt>
                <c:pt idx="83">
                  <c:v>0.714866711870817</c:v>
                </c:pt>
                <c:pt idx="84">
                  <c:v>0.7652960512820512</c:v>
                </c:pt>
                <c:pt idx="85">
                  <c:v>0.9174859062452283</c:v>
                </c:pt>
                <c:pt idx="86">
                  <c:v>0.7820687118570183</c:v>
                </c:pt>
                <c:pt idx="87">
                  <c:v>0.8095429516125653</c:v>
                </c:pt>
                <c:pt idx="88">
                  <c:v>0.8070119956996548</c:v>
                </c:pt>
                <c:pt idx="89">
                  <c:v>0.7653200609339708</c:v>
                </c:pt>
                <c:pt idx="90">
                  <c:v>0.7793847914050509</c:v>
                </c:pt>
                <c:pt idx="91">
                  <c:v>0.7231457113507961</c:v>
                </c:pt>
                <c:pt idx="92">
                  <c:v>0.7225273090364452</c:v>
                </c:pt>
                <c:pt idx="93">
                  <c:v>0.7595809590366628</c:v>
                </c:pt>
                <c:pt idx="94">
                  <c:v>0.5882198334200937</c:v>
                </c:pt>
                <c:pt idx="95">
                  <c:v>0.6356656570242366</c:v>
                </c:pt>
                <c:pt idx="96">
                  <c:v>0.544481870533079</c:v>
                </c:pt>
                <c:pt idx="97">
                  <c:v>0.6487033478207136</c:v>
                </c:pt>
                <c:pt idx="98">
                  <c:v>0.6093688305602878</c:v>
                </c:pt>
                <c:pt idx="99">
                  <c:v>0.5875595327318185</c:v>
                </c:pt>
                <c:pt idx="100">
                  <c:v>0.5205569093520743</c:v>
                </c:pt>
                <c:pt idx="101">
                  <c:v>0.7269814417175667</c:v>
                </c:pt>
                <c:pt idx="102">
                  <c:v>0.7231292253760698</c:v>
                </c:pt>
                <c:pt idx="103">
                  <c:v>0.5985019148821403</c:v>
                </c:pt>
                <c:pt idx="104">
                  <c:v>0.5381205771891678</c:v>
                </c:pt>
              </c:numCache>
            </c:numRef>
          </c:xVal>
          <c:yVal>
            <c:numRef>
              <c:f>Sheet1!$B$2:$B$106</c:f>
              <c:numCache>
                <c:formatCode>General</c:formatCode>
                <c:ptCount val="105"/>
                <c:pt idx="0">
                  <c:v>1.0</c:v>
                </c:pt>
                <c:pt idx="1">
                  <c:v>0.9959432048681541</c:v>
                </c:pt>
                <c:pt idx="2">
                  <c:v>0.9962406015037594</c:v>
                </c:pt>
                <c:pt idx="3">
                  <c:v>0.9956236323851203</c:v>
                </c:pt>
                <c:pt idx="4">
                  <c:v>0.9865470852017937</c:v>
                </c:pt>
                <c:pt idx="5">
                  <c:v>0.9857142857142858</c:v>
                </c:pt>
                <c:pt idx="6">
                  <c:v>0.9775280898876404</c:v>
                </c:pt>
                <c:pt idx="7">
                  <c:v>0.972972972972973</c:v>
                </c:pt>
                <c:pt idx="8">
                  <c:v>0.9844559585492227</c:v>
                </c:pt>
                <c:pt idx="9">
                  <c:v>0.9889705882352942</c:v>
                </c:pt>
                <c:pt idx="10">
                  <c:v>0.9949622166246851</c:v>
                </c:pt>
                <c:pt idx="11">
                  <c:v>0.9954128440366973</c:v>
                </c:pt>
                <c:pt idx="12">
                  <c:v>0.9966666666666667</c:v>
                </c:pt>
                <c:pt idx="13">
                  <c:v>0.995850622406639</c:v>
                </c:pt>
                <c:pt idx="14">
                  <c:v>0.995</c:v>
                </c:pt>
                <c:pt idx="15">
                  <c:v>0.9933333333333333</c:v>
                </c:pt>
                <c:pt idx="16">
                  <c:v>0.9894366197183099</c:v>
                </c:pt>
                <c:pt idx="17">
                  <c:v>0.9911894273127754</c:v>
                </c:pt>
                <c:pt idx="18">
                  <c:v>0.9949494949494949</c:v>
                </c:pt>
                <c:pt idx="19">
                  <c:v>0.9863945578231292</c:v>
                </c:pt>
                <c:pt idx="20">
                  <c:v>0.9855072463768116</c:v>
                </c:pt>
                <c:pt idx="21">
                  <c:v>0.9934640522875817</c:v>
                </c:pt>
                <c:pt idx="22">
                  <c:v>0.9866666666666667</c:v>
                </c:pt>
                <c:pt idx="23">
                  <c:v>0.9671052631578947</c:v>
                </c:pt>
                <c:pt idx="24">
                  <c:v>0.9823529411764705</c:v>
                </c:pt>
                <c:pt idx="25">
                  <c:v>0.9777777777777777</c:v>
                </c:pt>
                <c:pt idx="26">
                  <c:v>0.9819277108433735</c:v>
                </c:pt>
                <c:pt idx="27">
                  <c:v>0.9835164835164835</c:v>
                </c:pt>
                <c:pt idx="28">
                  <c:v>0.9886363636363636</c:v>
                </c:pt>
                <c:pt idx="29">
                  <c:v>0.9866666666666667</c:v>
                </c:pt>
                <c:pt idx="30">
                  <c:v>0.9787234042553191</c:v>
                </c:pt>
                <c:pt idx="31">
                  <c:v>0.9777777777777777</c:v>
                </c:pt>
                <c:pt idx="32">
                  <c:v>0.9807692307692307</c:v>
                </c:pt>
                <c:pt idx="33">
                  <c:v>0.991869918699187</c:v>
                </c:pt>
                <c:pt idx="34">
                  <c:v>0.9936305732484076</c:v>
                </c:pt>
                <c:pt idx="35">
                  <c:v>0.9885496183206107</c:v>
                </c:pt>
                <c:pt idx="36">
                  <c:v>0.9915254237288136</c:v>
                </c:pt>
                <c:pt idx="37">
                  <c:v>0.9828571428571429</c:v>
                </c:pt>
                <c:pt idx="38">
                  <c:v>0.9864864864864865</c:v>
                </c:pt>
                <c:pt idx="39">
                  <c:v>0.9814814814814815</c:v>
                </c:pt>
                <c:pt idx="40">
                  <c:v>0.8900523560209425</c:v>
                </c:pt>
                <c:pt idx="41">
                  <c:v>0.8828125</c:v>
                </c:pt>
                <c:pt idx="42">
                  <c:v>0.9225806451612903</c:v>
                </c:pt>
                <c:pt idx="43">
                  <c:v>0.9349112426035503</c:v>
                </c:pt>
                <c:pt idx="44">
                  <c:v>0.9572953736654805</c:v>
                </c:pt>
                <c:pt idx="45">
                  <c:v>0.9755102040816327</c:v>
                </c:pt>
                <c:pt idx="46">
                  <c:v>0.9758620689655172</c:v>
                </c:pt>
                <c:pt idx="47">
                  <c:v>0.9705882352941176</c:v>
                </c:pt>
                <c:pt idx="48">
                  <c:v>0.8326474622770919</c:v>
                </c:pt>
                <c:pt idx="49">
                  <c:v>0.7130841121495327</c:v>
                </c:pt>
                <c:pt idx="50">
                  <c:v>0.7479338842975206</c:v>
                </c:pt>
                <c:pt idx="51">
                  <c:v>0.8067415730337079</c:v>
                </c:pt>
                <c:pt idx="52">
                  <c:v>0.8801261829652997</c:v>
                </c:pt>
                <c:pt idx="53">
                  <c:v>0.6904761904761905</c:v>
                </c:pt>
                <c:pt idx="54">
                  <c:v>0.6455026455026455</c:v>
                </c:pt>
                <c:pt idx="55">
                  <c:v>0.673972602739726</c:v>
                </c:pt>
                <c:pt idx="56">
                  <c:v>0.6882494004796164</c:v>
                </c:pt>
                <c:pt idx="57">
                  <c:v>0.7132530120481928</c:v>
                </c:pt>
                <c:pt idx="58">
                  <c:v>0.7226107226107226</c:v>
                </c:pt>
                <c:pt idx="59">
                  <c:v>0.7195301027900147</c:v>
                </c:pt>
                <c:pt idx="60">
                  <c:v>0.726207906295754</c:v>
                </c:pt>
                <c:pt idx="61">
                  <c:v>0.6714579055441479</c:v>
                </c:pt>
                <c:pt idx="62">
                  <c:v>0.7048192771084337</c:v>
                </c:pt>
                <c:pt idx="63">
                  <c:v>0.7320916905444126</c:v>
                </c:pt>
                <c:pt idx="64">
                  <c:v>0.7227586206896551</c:v>
                </c:pt>
                <c:pt idx="65">
                  <c:v>0.6957186544342507</c:v>
                </c:pt>
                <c:pt idx="66">
                  <c:v>0.6326530612244898</c:v>
                </c:pt>
                <c:pt idx="67">
                  <c:v>0.629277566539924</c:v>
                </c:pt>
                <c:pt idx="68">
                  <c:v>0.5835189309576837</c:v>
                </c:pt>
                <c:pt idx="69">
                  <c:v>0.5653710247349824</c:v>
                </c:pt>
                <c:pt idx="70">
                  <c:v>0.5822368421052632</c:v>
                </c:pt>
                <c:pt idx="71">
                  <c:v>0.5888157894736842</c:v>
                </c:pt>
                <c:pt idx="72">
                  <c:v>0.6228070175438597</c:v>
                </c:pt>
                <c:pt idx="73">
                  <c:v>0.6737160120845922</c:v>
                </c:pt>
                <c:pt idx="74">
                  <c:v>0.6161971830985915</c:v>
                </c:pt>
                <c:pt idx="75">
                  <c:v>0.5574468085106383</c:v>
                </c:pt>
                <c:pt idx="76">
                  <c:v>0.5863453815261044</c:v>
                </c:pt>
                <c:pt idx="77">
                  <c:v>0.625</c:v>
                </c:pt>
                <c:pt idx="78">
                  <c:v>0.6402116402116402</c:v>
                </c:pt>
                <c:pt idx="79">
                  <c:v>0.6666666666666666</c:v>
                </c:pt>
                <c:pt idx="80">
                  <c:v>0.6101694915254238</c:v>
                </c:pt>
                <c:pt idx="81">
                  <c:v>0.5639810426540285</c:v>
                </c:pt>
                <c:pt idx="82">
                  <c:v>0.5287356321839081</c:v>
                </c:pt>
                <c:pt idx="83">
                  <c:v>0.5071428571428571</c:v>
                </c:pt>
                <c:pt idx="84">
                  <c:v>0.5045871559633027</c:v>
                </c:pt>
                <c:pt idx="85">
                  <c:v>0.5360824742268041</c:v>
                </c:pt>
                <c:pt idx="86">
                  <c:v>0.6036585365853658</c:v>
                </c:pt>
                <c:pt idx="87">
                  <c:v>0.5877192982456141</c:v>
                </c:pt>
                <c:pt idx="88">
                  <c:v>0.5210526315789473</c:v>
                </c:pt>
                <c:pt idx="89">
                  <c:v>0.5608108108108109</c:v>
                </c:pt>
                <c:pt idx="90">
                  <c:v>0.5537190082644629</c:v>
                </c:pt>
                <c:pt idx="91">
                  <c:v>0.5944055944055944</c:v>
                </c:pt>
                <c:pt idx="92">
                  <c:v>0.5660377358490566</c:v>
                </c:pt>
                <c:pt idx="93">
                  <c:v>0.5767195767195767</c:v>
                </c:pt>
                <c:pt idx="94">
                  <c:v>0.6234567901234568</c:v>
                </c:pt>
                <c:pt idx="95">
                  <c:v>0.627906976744186</c:v>
                </c:pt>
                <c:pt idx="96">
                  <c:v>0.631578947368421</c:v>
                </c:pt>
                <c:pt idx="97">
                  <c:v>0.6273458445040214</c:v>
                </c:pt>
                <c:pt idx="98">
                  <c:v>0.6881287726358148</c:v>
                </c:pt>
                <c:pt idx="99">
                  <c:v>0.6692456479690522</c:v>
                </c:pt>
                <c:pt idx="100">
                  <c:v>0.6987487969201155</c:v>
                </c:pt>
                <c:pt idx="101">
                  <c:v>0.6111111111111112</c:v>
                </c:pt>
                <c:pt idx="102">
                  <c:v>0.5975232198142415</c:v>
                </c:pt>
                <c:pt idx="103">
                  <c:v>0.650990099009901</c:v>
                </c:pt>
                <c:pt idx="104">
                  <c:v>0.666666666666666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211367511247928</c:v>
                </c:pt>
                <c:pt idx="1">
                  <c:v>0.7240345092435693</c:v>
                </c:pt>
                <c:pt idx="2">
                  <c:v>0.7481691355412126</c:v>
                </c:pt>
                <c:pt idx="3">
                  <c:v>0.776787569361362</c:v>
                </c:pt>
                <c:pt idx="4">
                  <c:v>0.743957776617954</c:v>
                </c:pt>
                <c:pt idx="5">
                  <c:v>0.7090573216769323</c:v>
                </c:pt>
                <c:pt idx="6">
                  <c:v>0.6504272071112777</c:v>
                </c:pt>
                <c:pt idx="7">
                  <c:v>0.5550196542458492</c:v>
                </c:pt>
                <c:pt idx="8">
                  <c:v>0.6580536573855592</c:v>
                </c:pt>
                <c:pt idx="9">
                  <c:v>0.48818868673503146</c:v>
                </c:pt>
                <c:pt idx="10">
                  <c:v>0.5354447779940965</c:v>
                </c:pt>
                <c:pt idx="11">
                  <c:v>0.6594703281027104</c:v>
                </c:pt>
                <c:pt idx="12">
                  <c:v>0.6219471218516629</c:v>
                </c:pt>
                <c:pt idx="13">
                  <c:v>0.5295025884803173</c:v>
                </c:pt>
                <c:pt idx="14">
                  <c:v>0.6910961936692633</c:v>
                </c:pt>
                <c:pt idx="15">
                  <c:v>0.5406096056400088</c:v>
                </c:pt>
                <c:pt idx="16">
                  <c:v>0.5129997626496926</c:v>
                </c:pt>
                <c:pt idx="17">
                  <c:v>0.5528578685247695</c:v>
                </c:pt>
                <c:pt idx="18">
                  <c:v>0.4758584227810109</c:v>
                </c:pt>
                <c:pt idx="19">
                  <c:v>0.39263494570582425</c:v>
                </c:pt>
                <c:pt idx="20">
                  <c:v>0.3428798381945923</c:v>
                </c:pt>
                <c:pt idx="21">
                  <c:v>0.4312969173859433</c:v>
                </c:pt>
                <c:pt idx="22">
                  <c:v>0.47836886818306384</c:v>
                </c:pt>
                <c:pt idx="23">
                  <c:v>0.5023423552696684</c:v>
                </c:pt>
                <c:pt idx="24">
                  <c:v>0.5388248341625208</c:v>
                </c:pt>
                <c:pt idx="25">
                  <c:v>0.5391070572046394</c:v>
                </c:pt>
                <c:pt idx="26">
                  <c:v>0.6177266872518747</c:v>
                </c:pt>
                <c:pt idx="27">
                  <c:v>0.7214663171274229</c:v>
                </c:pt>
                <c:pt idx="28">
                  <c:v>0.5843860127527007</c:v>
                </c:pt>
                <c:pt idx="29">
                  <c:v>0.5305909852774632</c:v>
                </c:pt>
                <c:pt idx="30">
                  <c:v>0.7376043290043289</c:v>
                </c:pt>
                <c:pt idx="31">
                  <c:v>0.6283502372965418</c:v>
                </c:pt>
                <c:pt idx="32">
                  <c:v>0.7220484722253928</c:v>
                </c:pt>
                <c:pt idx="33">
                  <c:v>0.7375067971723763</c:v>
                </c:pt>
                <c:pt idx="34">
                  <c:v>0.6347451294246776</c:v>
                </c:pt>
                <c:pt idx="35">
                  <c:v>0.7257496623943919</c:v>
                </c:pt>
                <c:pt idx="36">
                  <c:v>0.7542267643865364</c:v>
                </c:pt>
                <c:pt idx="37">
                  <c:v>0.719685028674917</c:v>
                </c:pt>
                <c:pt idx="38">
                  <c:v>0.6504278475233964</c:v>
                </c:pt>
                <c:pt idx="39">
                  <c:v>0.6716326243068813</c:v>
                </c:pt>
                <c:pt idx="40">
                  <c:v>0.7128582390890712</c:v>
                </c:pt>
                <c:pt idx="41">
                  <c:v>0.7479653812335133</c:v>
                </c:pt>
                <c:pt idx="42">
                  <c:v>0.721965675280351</c:v>
                </c:pt>
                <c:pt idx="43">
                  <c:v>0.6802132406233807</c:v>
                </c:pt>
                <c:pt idx="44">
                  <c:v>0.6741204496788008</c:v>
                </c:pt>
                <c:pt idx="45">
                  <c:v>0.6858677208835341</c:v>
                </c:pt>
                <c:pt idx="46">
                  <c:v>0.6718636511308259</c:v>
                </c:pt>
                <c:pt idx="47">
                  <c:v>0.6677578484303139</c:v>
                </c:pt>
                <c:pt idx="48">
                  <c:v>0.6449501631640778</c:v>
                </c:pt>
                <c:pt idx="49">
                  <c:v>0.5674765217391304</c:v>
                </c:pt>
                <c:pt idx="50">
                  <c:v>0.5412225331187321</c:v>
                </c:pt>
                <c:pt idx="51">
                  <c:v>0.5531438717632552</c:v>
                </c:pt>
              </c:numCache>
            </c:numRef>
          </c:xVal>
          <c:yVal>
            <c:numRef>
              <c:f>Sheet1!$B$109:$B$160</c:f>
              <c:numCache>
                <c:formatCode>General</c:formatCode>
                <c:ptCount val="52"/>
                <c:pt idx="0">
                  <c:v>0.656319290465632</c:v>
                </c:pt>
                <c:pt idx="1">
                  <c:v>0.6212121212121212</c:v>
                </c:pt>
                <c:pt idx="2">
                  <c:v>0.6208425720620843</c:v>
                </c:pt>
                <c:pt idx="3">
                  <c:v>0.5899581589958159</c:v>
                </c:pt>
                <c:pt idx="4">
                  <c:v>0.5064935064935064</c:v>
                </c:pt>
                <c:pt idx="5">
                  <c:v>0.4976635514018692</c:v>
                </c:pt>
                <c:pt idx="6">
                  <c:v>0.6635514018691588</c:v>
                </c:pt>
                <c:pt idx="7">
                  <c:v>0.6923076923076923</c:v>
                </c:pt>
                <c:pt idx="8">
                  <c:v>0.5627118644067797</c:v>
                </c:pt>
                <c:pt idx="9">
                  <c:v>0.5964391691394659</c:v>
                </c:pt>
                <c:pt idx="10">
                  <c:v>0.6294277929155313</c:v>
                </c:pt>
                <c:pt idx="11">
                  <c:v>0.5670886075949367</c:v>
                </c:pt>
                <c:pt idx="12">
                  <c:v>0.5687830687830688</c:v>
                </c:pt>
                <c:pt idx="13">
                  <c:v>0.6108247422680413</c:v>
                </c:pt>
                <c:pt idx="14">
                  <c:v>0.5652173913043478</c:v>
                </c:pt>
                <c:pt idx="15">
                  <c:v>0.6105610561056105</c:v>
                </c:pt>
                <c:pt idx="16">
                  <c:v>0.6895306859205776</c:v>
                </c:pt>
                <c:pt idx="17">
                  <c:v>0.7051282051282052</c:v>
                </c:pt>
                <c:pt idx="18">
                  <c:v>0.7458333333333333</c:v>
                </c:pt>
                <c:pt idx="19">
                  <c:v>0.7566765578635015</c:v>
                </c:pt>
                <c:pt idx="20">
                  <c:v>0.7653061224489796</c:v>
                </c:pt>
                <c:pt idx="21">
                  <c:v>0.8237885462555066</c:v>
                </c:pt>
                <c:pt idx="22">
                  <c:v>0.801980198019802</c:v>
                </c:pt>
                <c:pt idx="23">
                  <c:v>0.7654320987654321</c:v>
                </c:pt>
                <c:pt idx="24">
                  <c:v>0.738255033557047</c:v>
                </c:pt>
                <c:pt idx="25">
                  <c:v>0.6906474820143885</c:v>
                </c:pt>
                <c:pt idx="26">
                  <c:v>0.7213114754098361</c:v>
                </c:pt>
                <c:pt idx="27">
                  <c:v>0.7071428571428572</c:v>
                </c:pt>
                <c:pt idx="28">
                  <c:v>0.6283783783783784</c:v>
                </c:pt>
                <c:pt idx="29">
                  <c:v>0.6992481203007519</c:v>
                </c:pt>
                <c:pt idx="30">
                  <c:v>0.697841726618705</c:v>
                </c:pt>
                <c:pt idx="31">
                  <c:v>0.7355371900826446</c:v>
                </c:pt>
                <c:pt idx="32">
                  <c:v>0.7288135593220338</c:v>
                </c:pt>
                <c:pt idx="33">
                  <c:v>0.75</c:v>
                </c:pt>
                <c:pt idx="34">
                  <c:v>0.7269076305220884</c:v>
                </c:pt>
                <c:pt idx="35">
                  <c:v>0.7232472324723247</c:v>
                </c:pt>
                <c:pt idx="36">
                  <c:v>0.7222222222222222</c:v>
                </c:pt>
                <c:pt idx="37">
                  <c:v>0.7637362637362637</c:v>
                </c:pt>
                <c:pt idx="38">
                  <c:v>0.8171428571428572</c:v>
                </c:pt>
                <c:pt idx="39">
                  <c:v>0.8243727598566308</c:v>
                </c:pt>
                <c:pt idx="40">
                  <c:v>0.7951807228915663</c:v>
                </c:pt>
                <c:pt idx="41">
                  <c:v>0.7720588235294118</c:v>
                </c:pt>
                <c:pt idx="42">
                  <c:v>0.7740384615384616</c:v>
                </c:pt>
                <c:pt idx="43">
                  <c:v>0.7960339943342776</c:v>
                </c:pt>
                <c:pt idx="44">
                  <c:v>0.8054862842892768</c:v>
                </c:pt>
                <c:pt idx="45">
                  <c:v>0.8279932546374368</c:v>
                </c:pt>
                <c:pt idx="46">
                  <c:v>0.7845804988662132</c:v>
                </c:pt>
                <c:pt idx="47">
                  <c:v>0.8164948453608247</c:v>
                </c:pt>
                <c:pt idx="48">
                  <c:v>0.8195488721804511</c:v>
                </c:pt>
                <c:pt idx="49">
                  <c:v>0.8500823723228995</c:v>
                </c:pt>
                <c:pt idx="50">
                  <c:v>0.8592233009708737</c:v>
                </c:pt>
                <c:pt idx="51">
                  <c:v>0.853623188405797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0218159343537148</c:v>
                </c:pt>
              </c:numCache>
            </c:numRef>
          </c:xVal>
          <c:yVal>
            <c:numRef>
              <c:f>Sheet1!$B$163:$B$164</c:f>
              <c:numCache>
                <c:formatCode>General</c:formatCode>
                <c:ptCount val="2"/>
                <c:pt idx="0">
                  <c:v>0.9923952053670322</c:v>
                </c:pt>
                <c:pt idx="1">
                  <c:v>0.99239520536703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0218159343537148</c:v>
                </c:pt>
                <c:pt idx="1">
                  <c:v>-1.0218159343537148</c:v>
                </c:pt>
              </c:numCache>
            </c:numRef>
          </c:xVal>
          <c:yVal>
            <c:numRef>
              <c:f>Sheet1!$B$167:$B$168</c:f>
              <c:numCache>
                <c:formatCode>General</c:formatCode>
                <c:ptCount val="2"/>
                <c:pt idx="0">
                  <c:v>0.99239520536703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5843581553595656</c:v>
                </c:pt>
              </c:numCache>
            </c:numRef>
          </c:xVal>
          <c:yVal>
            <c:numRef>
              <c:f>Sheet1!$B$171:$B$172</c:f>
              <c:numCache>
                <c:formatCode>General</c:formatCode>
                <c:ptCount val="2"/>
                <c:pt idx="0">
                  <c:v>0.8456194334700053</c:v>
                </c:pt>
                <c:pt idx="1">
                  <c:v>0.845619433470005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5843581553595656</c:v>
                </c:pt>
                <c:pt idx="1">
                  <c:v>-0.15843581553595656</c:v>
                </c:pt>
              </c:numCache>
            </c:numRef>
          </c:xVal>
          <c:yVal>
            <c:numRef>
              <c:f>Sheet1!$B$175:$B$176</c:f>
              <c:numCache>
                <c:formatCode>General</c:formatCode>
                <c:ptCount val="2"/>
                <c:pt idx="0">
                  <c:v>0.845619433470005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29044729614497302</c:v>
                </c:pt>
              </c:numCache>
            </c:numRef>
          </c:xVal>
          <c:yVal>
            <c:numRef>
              <c:f>Sheet1!$B$179:$B$180</c:f>
              <c:numCache>
                <c:formatCode>General</c:formatCode>
                <c:ptCount val="2"/>
                <c:pt idx="0">
                  <c:v>0.8137474907064708</c:v>
                </c:pt>
                <c:pt idx="1">
                  <c:v>0.813747490706470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29044729614497302</c:v>
                </c:pt>
                <c:pt idx="1">
                  <c:v>0.029044729614497302</c:v>
                </c:pt>
              </c:numCache>
            </c:numRef>
          </c:xVal>
          <c:yVal>
            <c:numRef>
              <c:f>Sheet1!$B$183:$B$184</c:f>
              <c:numCache>
                <c:formatCode>General</c:formatCode>
                <c:ptCount val="2"/>
                <c:pt idx="0">
                  <c:v>0.813747490706470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211367511247928</c:v>
                </c:pt>
                <c:pt idx="1">
                  <c:v>0.7240345092435693</c:v>
                </c:pt>
                <c:pt idx="2">
                  <c:v>0.7481691355412126</c:v>
                </c:pt>
                <c:pt idx="3">
                  <c:v>0.776787569361362</c:v>
                </c:pt>
                <c:pt idx="4">
                  <c:v>0.743957776617954</c:v>
                </c:pt>
                <c:pt idx="5">
                  <c:v>0.7090573216769323</c:v>
                </c:pt>
                <c:pt idx="6">
                  <c:v>0.6504272071112777</c:v>
                </c:pt>
                <c:pt idx="7">
                  <c:v>0.5550196542458492</c:v>
                </c:pt>
                <c:pt idx="8">
                  <c:v>0.6580536573855592</c:v>
                </c:pt>
                <c:pt idx="9">
                  <c:v>0.48818868673503146</c:v>
                </c:pt>
                <c:pt idx="10">
                  <c:v>0.5354447779940965</c:v>
                </c:pt>
                <c:pt idx="11">
                  <c:v>0.6594703281027104</c:v>
                </c:pt>
                <c:pt idx="12">
                  <c:v>0.6219471218516629</c:v>
                </c:pt>
                <c:pt idx="13">
                  <c:v>0.5295025884803173</c:v>
                </c:pt>
                <c:pt idx="14">
                  <c:v>0.6910961936692633</c:v>
                </c:pt>
                <c:pt idx="15">
                  <c:v>0.5406096056400088</c:v>
                </c:pt>
                <c:pt idx="16">
                  <c:v>0.5129997626496926</c:v>
                </c:pt>
                <c:pt idx="17">
                  <c:v>0.5528578685247695</c:v>
                </c:pt>
                <c:pt idx="18">
                  <c:v>0.4758584227810109</c:v>
                </c:pt>
                <c:pt idx="19">
                  <c:v>0.39263494570582425</c:v>
                </c:pt>
                <c:pt idx="20">
                  <c:v>0.3428798381945923</c:v>
                </c:pt>
                <c:pt idx="21">
                  <c:v>0.4312969173859433</c:v>
                </c:pt>
                <c:pt idx="22">
                  <c:v>0.47836886818306384</c:v>
                </c:pt>
                <c:pt idx="23">
                  <c:v>0.5023423552696684</c:v>
                </c:pt>
                <c:pt idx="24">
                  <c:v>0.5388248341625208</c:v>
                </c:pt>
                <c:pt idx="25">
                  <c:v>0.5391070572046394</c:v>
                </c:pt>
                <c:pt idx="26">
                  <c:v>0.6177266872518747</c:v>
                </c:pt>
                <c:pt idx="27">
                  <c:v>0.7214663171274229</c:v>
                </c:pt>
                <c:pt idx="28">
                  <c:v>0.5843860127527007</c:v>
                </c:pt>
                <c:pt idx="29">
                  <c:v>0.5305909852774632</c:v>
                </c:pt>
                <c:pt idx="30">
                  <c:v>0.7376043290043289</c:v>
                </c:pt>
                <c:pt idx="31">
                  <c:v>0.6283502372965418</c:v>
                </c:pt>
                <c:pt idx="32">
                  <c:v>0.7220484722253928</c:v>
                </c:pt>
                <c:pt idx="33">
                  <c:v>0.7375067971723763</c:v>
                </c:pt>
                <c:pt idx="34">
                  <c:v>0.6347451294246776</c:v>
                </c:pt>
                <c:pt idx="35">
                  <c:v>0.7257496623943919</c:v>
                </c:pt>
                <c:pt idx="36">
                  <c:v>0.7542267643865364</c:v>
                </c:pt>
                <c:pt idx="37">
                  <c:v>0.719685028674917</c:v>
                </c:pt>
                <c:pt idx="38">
                  <c:v>0.6504278475233964</c:v>
                </c:pt>
                <c:pt idx="39">
                  <c:v>0.6716326243068813</c:v>
                </c:pt>
                <c:pt idx="40">
                  <c:v>0.7128582390890712</c:v>
                </c:pt>
                <c:pt idx="41">
                  <c:v>0.7479653812335133</c:v>
                </c:pt>
                <c:pt idx="42">
                  <c:v>0.721965675280351</c:v>
                </c:pt>
                <c:pt idx="43">
                  <c:v>0.6802132406233807</c:v>
                </c:pt>
                <c:pt idx="44">
                  <c:v>0.6741204496788008</c:v>
                </c:pt>
                <c:pt idx="45">
                  <c:v>0.6858677208835341</c:v>
                </c:pt>
                <c:pt idx="46">
                  <c:v>0.6718636511308259</c:v>
                </c:pt>
                <c:pt idx="47">
                  <c:v>0.6677578484303139</c:v>
                </c:pt>
                <c:pt idx="48">
                  <c:v>0.6449501631640778</c:v>
                </c:pt>
                <c:pt idx="49">
                  <c:v>0.5674765217391304</c:v>
                </c:pt>
                <c:pt idx="50">
                  <c:v>0.5412225331187321</c:v>
                </c:pt>
                <c:pt idx="51">
                  <c:v>0.5531438717632552</c:v>
                </c:pt>
                <c:pt idx="52">
                  <c:v>-0.15843581553595656</c:v>
                </c:pt>
                <c:pt idx="53">
                  <c:v>-1.0218159343537148</c:v>
                </c:pt>
                <c:pt idx="54">
                  <c:v>0.029044729614497302</c:v>
                </c:pt>
              </c:numCache>
            </c:numRef>
          </c:xVal>
          <c:yVal>
            <c:numRef>
              <c:f>Sheet1!$B$187:$B$241</c:f>
              <c:numCache>
                <c:formatCode>General</c:formatCode>
                <c:ptCount val="55"/>
                <c:pt idx="0">
                  <c:v>0.6790907904458177</c:v>
                </c:pt>
                <c:pt idx="1">
                  <c:v>0.6955983010942725</c:v>
                </c:pt>
                <c:pt idx="2">
                  <c:v>0.6914953824295093</c:v>
                </c:pt>
                <c:pt idx="3">
                  <c:v>0.686630210504786</c:v>
                </c:pt>
                <c:pt idx="4">
                  <c:v>0.6922113190641669</c:v>
                </c:pt>
                <c:pt idx="5">
                  <c:v>0.6981444429592831</c:v>
                </c:pt>
                <c:pt idx="6">
                  <c:v>0.7081116406445491</c:v>
                </c:pt>
                <c:pt idx="7">
                  <c:v>0.7243310518997039</c:v>
                </c:pt>
                <c:pt idx="8">
                  <c:v>0.7068151339246876</c:v>
                </c:pt>
                <c:pt idx="9">
                  <c:v>0.7356924055251004</c:v>
                </c:pt>
                <c:pt idx="10">
                  <c:v>0.7276588069742289</c:v>
                </c:pt>
                <c:pt idx="11">
                  <c:v>0.7065742980130171</c:v>
                </c:pt>
                <c:pt idx="12">
                  <c:v>0.7129532931294327</c:v>
                </c:pt>
                <c:pt idx="13">
                  <c:v>0.7286689871181007</c:v>
                </c:pt>
                <c:pt idx="14">
                  <c:v>0.7011978586796691</c:v>
                </c:pt>
                <c:pt idx="15">
                  <c:v>0.7267807793848493</c:v>
                </c:pt>
                <c:pt idx="16">
                  <c:v>0.7314744895231003</c:v>
                </c:pt>
                <c:pt idx="17">
                  <c:v>0.7246985583559817</c:v>
                </c:pt>
                <c:pt idx="18">
                  <c:v>0.7377885668451267</c:v>
                </c:pt>
                <c:pt idx="19">
                  <c:v>0.751936668963104</c:v>
                </c:pt>
                <c:pt idx="20">
                  <c:v>0.7603951036103838</c:v>
                </c:pt>
                <c:pt idx="21">
                  <c:v>0.7453640822047005</c:v>
                </c:pt>
                <c:pt idx="22">
                  <c:v>0.737361787777992</c:v>
                </c:pt>
                <c:pt idx="23">
                  <c:v>0.7332862629940555</c:v>
                </c:pt>
                <c:pt idx="24">
                  <c:v>0.7270841929168018</c:v>
                </c:pt>
                <c:pt idx="25">
                  <c:v>0.7270362146231728</c:v>
                </c:pt>
                <c:pt idx="26">
                  <c:v>0.7136707726412068</c:v>
                </c:pt>
                <c:pt idx="27">
                  <c:v>0.6960348971798338</c:v>
                </c:pt>
                <c:pt idx="28">
                  <c:v>0.719338731780554</c:v>
                </c:pt>
                <c:pt idx="29">
                  <c:v>0.728483958210729</c:v>
                </c:pt>
                <c:pt idx="30">
                  <c:v>0.6932914136336065</c:v>
                </c:pt>
                <c:pt idx="31">
                  <c:v>0.7118647549624261</c:v>
                </c:pt>
                <c:pt idx="32">
                  <c:v>0.6959359300366184</c:v>
                </c:pt>
                <c:pt idx="33">
                  <c:v>0.6933079941751401</c:v>
                </c:pt>
                <c:pt idx="34">
                  <c:v>0.7107776147702352</c:v>
                </c:pt>
                <c:pt idx="35">
                  <c:v>0.6953067227707198</c:v>
                </c:pt>
                <c:pt idx="36">
                  <c:v>0.6904655774452857</c:v>
                </c:pt>
                <c:pt idx="37">
                  <c:v>0.6963377185928932</c:v>
                </c:pt>
                <c:pt idx="38">
                  <c:v>0.7081115317736346</c:v>
                </c:pt>
                <c:pt idx="39">
                  <c:v>0.7045066914345243</c:v>
                </c:pt>
                <c:pt idx="40">
                  <c:v>0.6974982819290204</c:v>
                </c:pt>
                <c:pt idx="41">
                  <c:v>0.6915300209336144</c:v>
                </c:pt>
                <c:pt idx="42">
                  <c:v>0.6959500056277217</c:v>
                </c:pt>
                <c:pt idx="43">
                  <c:v>0.7030479752146848</c:v>
                </c:pt>
                <c:pt idx="44">
                  <c:v>0.7040837578026861</c:v>
                </c:pt>
                <c:pt idx="45">
                  <c:v>0.7020867060277165</c:v>
                </c:pt>
                <c:pt idx="46">
                  <c:v>0.7044674165662775</c:v>
                </c:pt>
                <c:pt idx="47">
                  <c:v>0.7051654085022625</c:v>
                </c:pt>
                <c:pt idx="48">
                  <c:v>0.7090427454216257</c:v>
                </c:pt>
                <c:pt idx="49">
                  <c:v>0.7222133678091217</c:v>
                </c:pt>
                <c:pt idx="50">
                  <c:v>0.7266765808958573</c:v>
                </c:pt>
                <c:pt idx="51">
                  <c:v>0.7246499374239278</c:v>
                </c:pt>
                <c:pt idx="52">
                  <c:v>0.8456194334700053</c:v>
                </c:pt>
                <c:pt idx="53">
                  <c:v>0.9923952053670322</c:v>
                </c:pt>
                <c:pt idx="54">
                  <c:v>0.813747490706470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398130841121495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24.6456</c:v>
                </c:pt>
                <c:pt idx="1">
                  <c:v>808.4257</c:v>
                </c:pt>
                <c:pt idx="2">
                  <c:v>806.8189</c:v>
                </c:pt>
                <c:pt idx="3">
                  <c:v>817.4374</c:v>
                </c:pt>
                <c:pt idx="4">
                  <c:v>850.2</c:v>
                </c:pt>
                <c:pt idx="5">
                  <c:v>984.8333</c:v>
                </c:pt>
                <c:pt idx="6">
                  <c:v>1078.0805</c:v>
                </c:pt>
                <c:pt idx="7">
                  <c:v>1095.2083</c:v>
                </c:pt>
                <c:pt idx="8">
                  <c:v>996.1053</c:v>
                </c:pt>
                <c:pt idx="9">
                  <c:v>779.2156</c:v>
                </c:pt>
                <c:pt idx="10">
                  <c:v>667.557</c:v>
                </c:pt>
                <c:pt idx="11">
                  <c:v>669.8318</c:v>
                </c:pt>
                <c:pt idx="12">
                  <c:v>654.6639</c:v>
                </c:pt>
                <c:pt idx="13">
                  <c:v>655.5125</c:v>
                </c:pt>
                <c:pt idx="14">
                  <c:v>960.0905</c:v>
                </c:pt>
                <c:pt idx="15">
                  <c:v>977.9899</c:v>
                </c:pt>
                <c:pt idx="16">
                  <c:v>978.3203</c:v>
                </c:pt>
                <c:pt idx="17">
                  <c:v>966.1867</c:v>
                </c:pt>
                <c:pt idx="18">
                  <c:v>959.5584</c:v>
                </c:pt>
                <c:pt idx="19">
                  <c:v>970.0207</c:v>
                </c:pt>
                <c:pt idx="20">
                  <c:v>1068.4902</c:v>
                </c:pt>
                <c:pt idx="21">
                  <c:v>1061.8816</c:v>
                </c:pt>
                <c:pt idx="22">
                  <c:v>1073.9392</c:v>
                </c:pt>
                <c:pt idx="23">
                  <c:v>1073.0748</c:v>
                </c:pt>
                <c:pt idx="24">
                  <c:v>1068.4551</c:v>
                </c:pt>
                <c:pt idx="25">
                  <c:v>1078.1591</c:v>
                </c:pt>
                <c:pt idx="26">
                  <c:v>1084.9509</c:v>
                </c:pt>
                <c:pt idx="27">
                  <c:v>1091.6089</c:v>
                </c:pt>
                <c:pt idx="28">
                  <c:v>1092.0115</c:v>
                </c:pt>
                <c:pt idx="29">
                  <c:v>1101.5473</c:v>
                </c:pt>
                <c:pt idx="30">
                  <c:v>1125.2717</c:v>
                </c:pt>
                <c:pt idx="31">
                  <c:v>1136.6932</c:v>
                </c:pt>
                <c:pt idx="32">
                  <c:v>1128.3333</c:v>
                </c:pt>
                <c:pt idx="33">
                  <c:v>1118.3607</c:v>
                </c:pt>
                <c:pt idx="34">
                  <c:v>1085.2115</c:v>
                </c:pt>
                <c:pt idx="35">
                  <c:v>1090.9846</c:v>
                </c:pt>
                <c:pt idx="36">
                  <c:v>1114.4402</c:v>
                </c:pt>
                <c:pt idx="37">
                  <c:v>1109.8081</c:v>
                </c:pt>
                <c:pt idx="38">
                  <c:v>1125.8356</c:v>
                </c:pt>
                <c:pt idx="39">
                  <c:v>1154.6604</c:v>
                </c:pt>
                <c:pt idx="40">
                  <c:v>1289.5118</c:v>
                </c:pt>
                <c:pt idx="41">
                  <c:v>1290.2743</c:v>
                </c:pt>
                <c:pt idx="42">
                  <c:v>1304.5524</c:v>
                </c:pt>
                <c:pt idx="43">
                  <c:v>1311.9114</c:v>
                </c:pt>
                <c:pt idx="44">
                  <c:v>1312.9145</c:v>
                </c:pt>
                <c:pt idx="45">
                  <c:v>1330.3975</c:v>
                </c:pt>
                <c:pt idx="46">
                  <c:v>1186.9894</c:v>
                </c:pt>
                <c:pt idx="47">
                  <c:v>1153.4735</c:v>
                </c:pt>
                <c:pt idx="48">
                  <c:v>926.4959</c:v>
                </c:pt>
                <c:pt idx="49">
                  <c:v>875.0616</c:v>
                </c:pt>
                <c:pt idx="50">
                  <c:v>958.6381</c:v>
                </c:pt>
                <c:pt idx="51">
                  <c:v>899.0529</c:v>
                </c:pt>
                <c:pt idx="52">
                  <c:v>871.8871</c:v>
                </c:pt>
                <c:pt idx="53">
                  <c:v>1293.4</c:v>
                </c:pt>
                <c:pt idx="54">
                  <c:v>1310.0902</c:v>
                </c:pt>
                <c:pt idx="55">
                  <c:v>1293.9228</c:v>
                </c:pt>
                <c:pt idx="56">
                  <c:v>1290.885</c:v>
                </c:pt>
                <c:pt idx="57">
                  <c:v>1294.3412</c:v>
                </c:pt>
                <c:pt idx="58">
                  <c:v>1303.2161</c:v>
                </c:pt>
                <c:pt idx="59">
                  <c:v>1318.2041</c:v>
                </c:pt>
                <c:pt idx="60">
                  <c:v>1310.3548</c:v>
                </c:pt>
                <c:pt idx="61">
                  <c:v>1203.5321</c:v>
                </c:pt>
                <c:pt idx="62">
                  <c:v>1036.1339</c:v>
                </c:pt>
                <c:pt idx="63">
                  <c:v>999.544</c:v>
                </c:pt>
                <c:pt idx="64">
                  <c:v>993.916</c:v>
                </c:pt>
                <c:pt idx="65">
                  <c:v>1012.2593</c:v>
                </c:pt>
                <c:pt idx="66">
                  <c:v>1217.5543</c:v>
                </c:pt>
                <c:pt idx="67">
                  <c:v>1273.4169</c:v>
                </c:pt>
                <c:pt idx="68">
                  <c:v>1249.1145</c:v>
                </c:pt>
                <c:pt idx="69">
                  <c:v>1296.7813</c:v>
                </c:pt>
                <c:pt idx="70">
                  <c:v>1323.6723</c:v>
                </c:pt>
                <c:pt idx="71">
                  <c:v>1209.1732</c:v>
                </c:pt>
                <c:pt idx="72">
                  <c:v>1254.1127</c:v>
                </c:pt>
                <c:pt idx="73">
                  <c:v>1262.0673</c:v>
                </c:pt>
                <c:pt idx="74">
                  <c:v>1259.48</c:v>
                </c:pt>
                <c:pt idx="75">
                  <c:v>1295.4885</c:v>
                </c:pt>
                <c:pt idx="76">
                  <c:v>1159.6096</c:v>
                </c:pt>
                <c:pt idx="77">
                  <c:v>1169.925</c:v>
                </c:pt>
                <c:pt idx="78">
                  <c:v>1223.8347</c:v>
                </c:pt>
                <c:pt idx="79">
                  <c:v>1348.7982</c:v>
                </c:pt>
                <c:pt idx="80">
                  <c:v>1355.0185</c:v>
                </c:pt>
                <c:pt idx="81">
                  <c:v>1421.7311</c:v>
                </c:pt>
                <c:pt idx="82">
                  <c:v>1440.8478</c:v>
                </c:pt>
                <c:pt idx="83">
                  <c:v>1388.169</c:v>
                </c:pt>
                <c:pt idx="84">
                  <c:v>1492.3273</c:v>
                </c:pt>
                <c:pt idx="85">
                  <c:v>1502.1538</c:v>
                </c:pt>
                <c:pt idx="86">
                  <c:v>1435.2525</c:v>
                </c:pt>
                <c:pt idx="87">
                  <c:v>1437.2985</c:v>
                </c:pt>
                <c:pt idx="88">
                  <c:v>1426.2323</c:v>
                </c:pt>
                <c:pt idx="89">
                  <c:v>1456.9398</c:v>
                </c:pt>
                <c:pt idx="90">
                  <c:v>1396.4627</c:v>
                </c:pt>
                <c:pt idx="91">
                  <c:v>1407.9647</c:v>
                </c:pt>
                <c:pt idx="92">
                  <c:v>1447.2222</c:v>
                </c:pt>
                <c:pt idx="93">
                  <c:v>1412.9725</c:v>
                </c:pt>
                <c:pt idx="94">
                  <c:v>1129.9703</c:v>
                </c:pt>
                <c:pt idx="95">
                  <c:v>1207.0802</c:v>
                </c:pt>
                <c:pt idx="96">
                  <c:v>1031.8385</c:v>
                </c:pt>
                <c:pt idx="97">
                  <c:v>1168.4145</c:v>
                </c:pt>
                <c:pt idx="98">
                  <c:v>1108.2544</c:v>
                </c:pt>
                <c:pt idx="99">
                  <c:v>1114.4046</c:v>
                </c:pt>
                <c:pt idx="100">
                  <c:v>959.6033</c:v>
                </c:pt>
                <c:pt idx="101">
                  <c:v>1340.0691</c:v>
                </c:pt>
                <c:pt idx="102">
                  <c:v>1306.2124</c:v>
                </c:pt>
                <c:pt idx="103">
                  <c:v>1109.5627</c:v>
                </c:pt>
                <c:pt idx="104">
                  <c:v>1088.9408</c:v>
                </c:pt>
              </c:numCache>
            </c:numRef>
          </c:xVal>
          <c:yVal>
            <c:numRef>
              <c:f>Sheet1!$B$2:$B$106</c:f>
              <c:numCache>
                <c:formatCode>General</c:formatCode>
                <c:ptCount val="105"/>
                <c:pt idx="0">
                  <c:v>1.0</c:v>
                </c:pt>
                <c:pt idx="1">
                  <c:v>0.9959432048681541</c:v>
                </c:pt>
                <c:pt idx="2">
                  <c:v>0.9962406015037594</c:v>
                </c:pt>
                <c:pt idx="3">
                  <c:v>0.9956236323851203</c:v>
                </c:pt>
                <c:pt idx="4">
                  <c:v>0.9865470852017937</c:v>
                </c:pt>
                <c:pt idx="5">
                  <c:v>0.9857142857142858</c:v>
                </c:pt>
                <c:pt idx="6">
                  <c:v>0.9775280898876404</c:v>
                </c:pt>
                <c:pt idx="7">
                  <c:v>0.972972972972973</c:v>
                </c:pt>
                <c:pt idx="8">
                  <c:v>0.9844559585492227</c:v>
                </c:pt>
                <c:pt idx="9">
                  <c:v>0.9889705882352942</c:v>
                </c:pt>
                <c:pt idx="10">
                  <c:v>0.9949622166246851</c:v>
                </c:pt>
                <c:pt idx="11">
                  <c:v>0.9954128440366973</c:v>
                </c:pt>
                <c:pt idx="12">
                  <c:v>0.9966666666666667</c:v>
                </c:pt>
                <c:pt idx="13">
                  <c:v>0.995850622406639</c:v>
                </c:pt>
                <c:pt idx="14">
                  <c:v>0.995</c:v>
                </c:pt>
                <c:pt idx="15">
                  <c:v>0.9933333333333333</c:v>
                </c:pt>
                <c:pt idx="16">
                  <c:v>0.9894366197183099</c:v>
                </c:pt>
                <c:pt idx="17">
                  <c:v>0.9911894273127754</c:v>
                </c:pt>
                <c:pt idx="18">
                  <c:v>0.9949494949494949</c:v>
                </c:pt>
                <c:pt idx="19">
                  <c:v>0.9863945578231292</c:v>
                </c:pt>
                <c:pt idx="20">
                  <c:v>0.9855072463768116</c:v>
                </c:pt>
                <c:pt idx="21">
                  <c:v>0.9934640522875817</c:v>
                </c:pt>
                <c:pt idx="22">
                  <c:v>0.9866666666666667</c:v>
                </c:pt>
                <c:pt idx="23">
                  <c:v>0.9671052631578947</c:v>
                </c:pt>
                <c:pt idx="24">
                  <c:v>0.9823529411764705</c:v>
                </c:pt>
                <c:pt idx="25">
                  <c:v>0.9777777777777777</c:v>
                </c:pt>
                <c:pt idx="26">
                  <c:v>0.9819277108433735</c:v>
                </c:pt>
                <c:pt idx="27">
                  <c:v>0.9835164835164835</c:v>
                </c:pt>
                <c:pt idx="28">
                  <c:v>0.9886363636363636</c:v>
                </c:pt>
                <c:pt idx="29">
                  <c:v>0.9866666666666667</c:v>
                </c:pt>
                <c:pt idx="30">
                  <c:v>0.9787234042553191</c:v>
                </c:pt>
                <c:pt idx="31">
                  <c:v>0.9777777777777777</c:v>
                </c:pt>
                <c:pt idx="32">
                  <c:v>0.9807692307692307</c:v>
                </c:pt>
                <c:pt idx="33">
                  <c:v>0.991869918699187</c:v>
                </c:pt>
                <c:pt idx="34">
                  <c:v>0.9936305732484076</c:v>
                </c:pt>
                <c:pt idx="35">
                  <c:v>0.9885496183206107</c:v>
                </c:pt>
                <c:pt idx="36">
                  <c:v>0.9915254237288136</c:v>
                </c:pt>
                <c:pt idx="37">
                  <c:v>0.9828571428571429</c:v>
                </c:pt>
                <c:pt idx="38">
                  <c:v>0.9864864864864865</c:v>
                </c:pt>
                <c:pt idx="39">
                  <c:v>0.9814814814814815</c:v>
                </c:pt>
                <c:pt idx="40">
                  <c:v>0.8900523560209425</c:v>
                </c:pt>
                <c:pt idx="41">
                  <c:v>0.8828125</c:v>
                </c:pt>
                <c:pt idx="42">
                  <c:v>0.9225806451612903</c:v>
                </c:pt>
                <c:pt idx="43">
                  <c:v>0.9349112426035503</c:v>
                </c:pt>
                <c:pt idx="44">
                  <c:v>0.9572953736654805</c:v>
                </c:pt>
                <c:pt idx="45">
                  <c:v>0.9755102040816327</c:v>
                </c:pt>
                <c:pt idx="46">
                  <c:v>0.9758620689655172</c:v>
                </c:pt>
                <c:pt idx="47">
                  <c:v>0.9705882352941176</c:v>
                </c:pt>
                <c:pt idx="48">
                  <c:v>0.8326474622770919</c:v>
                </c:pt>
                <c:pt idx="49">
                  <c:v>0.7130841121495327</c:v>
                </c:pt>
                <c:pt idx="50">
                  <c:v>0.7479338842975206</c:v>
                </c:pt>
                <c:pt idx="51">
                  <c:v>0.8067415730337079</c:v>
                </c:pt>
                <c:pt idx="52">
                  <c:v>0.8801261829652997</c:v>
                </c:pt>
                <c:pt idx="53">
                  <c:v>0.6904761904761905</c:v>
                </c:pt>
                <c:pt idx="54">
                  <c:v>0.6455026455026455</c:v>
                </c:pt>
                <c:pt idx="55">
                  <c:v>0.673972602739726</c:v>
                </c:pt>
                <c:pt idx="56">
                  <c:v>0.6882494004796164</c:v>
                </c:pt>
                <c:pt idx="57">
                  <c:v>0.7132530120481928</c:v>
                </c:pt>
                <c:pt idx="58">
                  <c:v>0.7226107226107226</c:v>
                </c:pt>
                <c:pt idx="59">
                  <c:v>0.7195301027900147</c:v>
                </c:pt>
                <c:pt idx="60">
                  <c:v>0.726207906295754</c:v>
                </c:pt>
                <c:pt idx="61">
                  <c:v>0.6714579055441479</c:v>
                </c:pt>
                <c:pt idx="62">
                  <c:v>0.7048192771084337</c:v>
                </c:pt>
                <c:pt idx="63">
                  <c:v>0.7320916905444126</c:v>
                </c:pt>
                <c:pt idx="64">
                  <c:v>0.7227586206896551</c:v>
                </c:pt>
                <c:pt idx="65">
                  <c:v>0.6957186544342507</c:v>
                </c:pt>
                <c:pt idx="66">
                  <c:v>0.6326530612244898</c:v>
                </c:pt>
                <c:pt idx="67">
                  <c:v>0.629277566539924</c:v>
                </c:pt>
                <c:pt idx="68">
                  <c:v>0.5835189309576837</c:v>
                </c:pt>
                <c:pt idx="69">
                  <c:v>0.5653710247349824</c:v>
                </c:pt>
                <c:pt idx="70">
                  <c:v>0.5822368421052632</c:v>
                </c:pt>
                <c:pt idx="71">
                  <c:v>0.5888157894736842</c:v>
                </c:pt>
                <c:pt idx="72">
                  <c:v>0.6228070175438597</c:v>
                </c:pt>
                <c:pt idx="73">
                  <c:v>0.6737160120845922</c:v>
                </c:pt>
                <c:pt idx="74">
                  <c:v>0.6161971830985915</c:v>
                </c:pt>
                <c:pt idx="75">
                  <c:v>0.5574468085106383</c:v>
                </c:pt>
                <c:pt idx="76">
                  <c:v>0.5863453815261044</c:v>
                </c:pt>
                <c:pt idx="77">
                  <c:v>0.625</c:v>
                </c:pt>
                <c:pt idx="78">
                  <c:v>0.6402116402116402</c:v>
                </c:pt>
                <c:pt idx="79">
                  <c:v>0.6666666666666666</c:v>
                </c:pt>
                <c:pt idx="80">
                  <c:v>0.6101694915254238</c:v>
                </c:pt>
                <c:pt idx="81">
                  <c:v>0.5639810426540285</c:v>
                </c:pt>
                <c:pt idx="82">
                  <c:v>0.5287356321839081</c:v>
                </c:pt>
                <c:pt idx="83">
                  <c:v>0.5071428571428571</c:v>
                </c:pt>
                <c:pt idx="84">
                  <c:v>0.5045871559633027</c:v>
                </c:pt>
                <c:pt idx="85">
                  <c:v>0.5360824742268041</c:v>
                </c:pt>
                <c:pt idx="86">
                  <c:v>0.6036585365853658</c:v>
                </c:pt>
                <c:pt idx="87">
                  <c:v>0.5877192982456141</c:v>
                </c:pt>
                <c:pt idx="88">
                  <c:v>0.5210526315789473</c:v>
                </c:pt>
                <c:pt idx="89">
                  <c:v>0.5608108108108109</c:v>
                </c:pt>
                <c:pt idx="90">
                  <c:v>0.5537190082644629</c:v>
                </c:pt>
                <c:pt idx="91">
                  <c:v>0.5944055944055944</c:v>
                </c:pt>
                <c:pt idx="92">
                  <c:v>0.5660377358490566</c:v>
                </c:pt>
                <c:pt idx="93">
                  <c:v>0.5767195767195767</c:v>
                </c:pt>
                <c:pt idx="94">
                  <c:v>0.6234567901234568</c:v>
                </c:pt>
                <c:pt idx="95">
                  <c:v>0.627906976744186</c:v>
                </c:pt>
                <c:pt idx="96">
                  <c:v>0.631578947368421</c:v>
                </c:pt>
                <c:pt idx="97">
                  <c:v>0.6273458445040214</c:v>
                </c:pt>
                <c:pt idx="98">
                  <c:v>0.6881287726358148</c:v>
                </c:pt>
                <c:pt idx="99">
                  <c:v>0.6692456479690522</c:v>
                </c:pt>
                <c:pt idx="100">
                  <c:v>0.6987487969201155</c:v>
                </c:pt>
                <c:pt idx="101">
                  <c:v>0.6111111111111112</c:v>
                </c:pt>
                <c:pt idx="102">
                  <c:v>0.5975232198142415</c:v>
                </c:pt>
                <c:pt idx="103">
                  <c:v>0.650990099009901</c:v>
                </c:pt>
                <c:pt idx="104">
                  <c:v>0.666666666666666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387.0642</c:v>
                </c:pt>
                <c:pt idx="1">
                  <c:v>1413.9187</c:v>
                </c:pt>
                <c:pt idx="2">
                  <c:v>1414.1893</c:v>
                </c:pt>
                <c:pt idx="3">
                  <c:v>1412.1135</c:v>
                </c:pt>
                <c:pt idx="4">
                  <c:v>1425.4231</c:v>
                </c:pt>
                <c:pt idx="5">
                  <c:v>1427.4742</c:v>
                </c:pt>
                <c:pt idx="6">
                  <c:v>1226.9225</c:v>
                </c:pt>
                <c:pt idx="7">
                  <c:v>1104.6741</c:v>
                </c:pt>
                <c:pt idx="8">
                  <c:v>1394.4157</c:v>
                </c:pt>
                <c:pt idx="9">
                  <c:v>1106.8458</c:v>
                </c:pt>
                <c:pt idx="10">
                  <c:v>1065.7359</c:v>
                </c:pt>
                <c:pt idx="11">
                  <c:v>1386.8661</c:v>
                </c:pt>
                <c:pt idx="12">
                  <c:v>1340.8558</c:v>
                </c:pt>
                <c:pt idx="13">
                  <c:v>1134.3122</c:v>
                </c:pt>
                <c:pt idx="14">
                  <c:v>1401.6813</c:v>
                </c:pt>
                <c:pt idx="15">
                  <c:v>1226.9135</c:v>
                </c:pt>
                <c:pt idx="16">
                  <c:v>1188.7487</c:v>
                </c:pt>
                <c:pt idx="17">
                  <c:v>1128.7515</c:v>
                </c:pt>
                <c:pt idx="18">
                  <c:v>994.3855</c:v>
                </c:pt>
                <c:pt idx="19">
                  <c:v>795.4784</c:v>
                </c:pt>
                <c:pt idx="20">
                  <c:v>805.2533</c:v>
                </c:pt>
                <c:pt idx="21">
                  <c:v>874.4545</c:v>
                </c:pt>
                <c:pt idx="22">
                  <c:v>872.784</c:v>
                </c:pt>
                <c:pt idx="23">
                  <c:v>1015.2339</c:v>
                </c:pt>
                <c:pt idx="24">
                  <c:v>1299.6455</c:v>
                </c:pt>
                <c:pt idx="25">
                  <c:v>1371.2188</c:v>
                </c:pt>
                <c:pt idx="26">
                  <c:v>1400.3864</c:v>
                </c:pt>
                <c:pt idx="27">
                  <c:v>1362.2727</c:v>
                </c:pt>
                <c:pt idx="28">
                  <c:v>1152.3118</c:v>
                </c:pt>
                <c:pt idx="29">
                  <c:v>1171.2796</c:v>
                </c:pt>
                <c:pt idx="30">
                  <c:v>1363.0928</c:v>
                </c:pt>
                <c:pt idx="31">
                  <c:v>1379.4382</c:v>
                </c:pt>
                <c:pt idx="32">
                  <c:v>1318.9419</c:v>
                </c:pt>
                <c:pt idx="33">
                  <c:v>1356.275</c:v>
                </c:pt>
                <c:pt idx="34">
                  <c:v>1387.9337</c:v>
                </c:pt>
                <c:pt idx="35">
                  <c:v>1411.1684</c:v>
                </c:pt>
                <c:pt idx="36">
                  <c:v>1389.2857</c:v>
                </c:pt>
                <c:pt idx="37">
                  <c:v>1430.5899</c:v>
                </c:pt>
                <c:pt idx="38">
                  <c:v>1424.7622</c:v>
                </c:pt>
                <c:pt idx="39">
                  <c:v>1477.7261</c:v>
                </c:pt>
                <c:pt idx="40">
                  <c:v>1480.1313</c:v>
                </c:pt>
                <c:pt idx="41">
                  <c:v>1488.6381</c:v>
                </c:pt>
                <c:pt idx="42">
                  <c:v>1480.7516</c:v>
                </c:pt>
                <c:pt idx="43">
                  <c:v>1454.4093</c:v>
                </c:pt>
                <c:pt idx="44">
                  <c:v>1385.1827</c:v>
                </c:pt>
                <c:pt idx="45">
                  <c:v>1366.2485</c:v>
                </c:pt>
                <c:pt idx="46">
                  <c:v>1344.2312</c:v>
                </c:pt>
                <c:pt idx="47">
                  <c:v>1335.7828</c:v>
                </c:pt>
                <c:pt idx="48">
                  <c:v>1235.2408</c:v>
                </c:pt>
                <c:pt idx="49">
                  <c:v>1142.0465</c:v>
                </c:pt>
                <c:pt idx="50">
                  <c:v>1092.8636</c:v>
                </c:pt>
                <c:pt idx="51">
                  <c:v>1121.4992</c:v>
                </c:pt>
              </c:numCache>
            </c:numRef>
          </c:xVal>
          <c:yVal>
            <c:numRef>
              <c:f>Sheet1!$B$109:$B$160</c:f>
              <c:numCache>
                <c:formatCode>General</c:formatCode>
                <c:ptCount val="52"/>
                <c:pt idx="0">
                  <c:v>0.656319290465632</c:v>
                </c:pt>
                <c:pt idx="1">
                  <c:v>0.6212121212121212</c:v>
                </c:pt>
                <c:pt idx="2">
                  <c:v>0.6208425720620843</c:v>
                </c:pt>
                <c:pt idx="3">
                  <c:v>0.5899581589958159</c:v>
                </c:pt>
                <c:pt idx="4">
                  <c:v>0.5064935064935064</c:v>
                </c:pt>
                <c:pt idx="5">
                  <c:v>0.4976635514018692</c:v>
                </c:pt>
                <c:pt idx="6">
                  <c:v>0.6635514018691588</c:v>
                </c:pt>
                <c:pt idx="7">
                  <c:v>0.6923076923076923</c:v>
                </c:pt>
                <c:pt idx="8">
                  <c:v>0.5627118644067797</c:v>
                </c:pt>
                <c:pt idx="9">
                  <c:v>0.5964391691394659</c:v>
                </c:pt>
                <c:pt idx="10">
                  <c:v>0.6294277929155313</c:v>
                </c:pt>
                <c:pt idx="11">
                  <c:v>0.5670886075949367</c:v>
                </c:pt>
                <c:pt idx="12">
                  <c:v>0.5687830687830688</c:v>
                </c:pt>
                <c:pt idx="13">
                  <c:v>0.6108247422680413</c:v>
                </c:pt>
                <c:pt idx="14">
                  <c:v>0.5652173913043478</c:v>
                </c:pt>
                <c:pt idx="15">
                  <c:v>0.6105610561056105</c:v>
                </c:pt>
                <c:pt idx="16">
                  <c:v>0.6895306859205776</c:v>
                </c:pt>
                <c:pt idx="17">
                  <c:v>0.7051282051282052</c:v>
                </c:pt>
                <c:pt idx="18">
                  <c:v>0.7458333333333333</c:v>
                </c:pt>
                <c:pt idx="19">
                  <c:v>0.7566765578635015</c:v>
                </c:pt>
                <c:pt idx="20">
                  <c:v>0.7653061224489796</c:v>
                </c:pt>
                <c:pt idx="21">
                  <c:v>0.8237885462555066</c:v>
                </c:pt>
                <c:pt idx="22">
                  <c:v>0.801980198019802</c:v>
                </c:pt>
                <c:pt idx="23">
                  <c:v>0.7654320987654321</c:v>
                </c:pt>
                <c:pt idx="24">
                  <c:v>0.738255033557047</c:v>
                </c:pt>
                <c:pt idx="25">
                  <c:v>0.6906474820143885</c:v>
                </c:pt>
                <c:pt idx="26">
                  <c:v>0.7213114754098361</c:v>
                </c:pt>
                <c:pt idx="27">
                  <c:v>0.7071428571428572</c:v>
                </c:pt>
                <c:pt idx="28">
                  <c:v>0.6283783783783784</c:v>
                </c:pt>
                <c:pt idx="29">
                  <c:v>0.6992481203007519</c:v>
                </c:pt>
                <c:pt idx="30">
                  <c:v>0.697841726618705</c:v>
                </c:pt>
                <c:pt idx="31">
                  <c:v>0.7355371900826446</c:v>
                </c:pt>
                <c:pt idx="32">
                  <c:v>0.7288135593220338</c:v>
                </c:pt>
                <c:pt idx="33">
                  <c:v>0.75</c:v>
                </c:pt>
                <c:pt idx="34">
                  <c:v>0.7269076305220884</c:v>
                </c:pt>
                <c:pt idx="35">
                  <c:v>0.7232472324723247</c:v>
                </c:pt>
                <c:pt idx="36">
                  <c:v>0.7222222222222222</c:v>
                </c:pt>
                <c:pt idx="37">
                  <c:v>0.7637362637362637</c:v>
                </c:pt>
                <c:pt idx="38">
                  <c:v>0.8171428571428572</c:v>
                </c:pt>
                <c:pt idx="39">
                  <c:v>0.8243727598566308</c:v>
                </c:pt>
                <c:pt idx="40">
                  <c:v>0.7951807228915663</c:v>
                </c:pt>
                <c:pt idx="41">
                  <c:v>0.7720588235294118</c:v>
                </c:pt>
                <c:pt idx="42">
                  <c:v>0.7740384615384616</c:v>
                </c:pt>
                <c:pt idx="43">
                  <c:v>0.7960339943342776</c:v>
                </c:pt>
                <c:pt idx="44">
                  <c:v>0.8054862842892768</c:v>
                </c:pt>
                <c:pt idx="45">
                  <c:v>0.8279932546374368</c:v>
                </c:pt>
                <c:pt idx="46">
                  <c:v>0.7845804988662132</c:v>
                </c:pt>
                <c:pt idx="47">
                  <c:v>0.8164948453608247</c:v>
                </c:pt>
                <c:pt idx="48">
                  <c:v>0.8195488721804511</c:v>
                </c:pt>
                <c:pt idx="49">
                  <c:v>0.8500823723228995</c:v>
                </c:pt>
                <c:pt idx="50">
                  <c:v>0.8592233009708737</c:v>
                </c:pt>
                <c:pt idx="51">
                  <c:v>0.853623188405797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490.151401910624</c:v>
                </c:pt>
              </c:numCache>
            </c:numRef>
          </c:xVal>
          <c:yVal>
            <c:numRef>
              <c:f>Sheet1!$B$163:$B$164</c:f>
              <c:numCache>
                <c:formatCode>General</c:formatCode>
                <c:ptCount val="2"/>
                <c:pt idx="0">
                  <c:v>0.9923952053670322</c:v>
                </c:pt>
                <c:pt idx="1">
                  <c:v>0.99239520536703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490.151401910624</c:v>
                </c:pt>
                <c:pt idx="1">
                  <c:v>-1490.151401910624</c:v>
                </c:pt>
              </c:numCache>
            </c:numRef>
          </c:xVal>
          <c:yVal>
            <c:numRef>
              <c:f>Sheet1!$B$167:$B$168</c:f>
              <c:numCache>
                <c:formatCode>General</c:formatCode>
                <c:ptCount val="2"/>
                <c:pt idx="0">
                  <c:v>0.99239520536703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42.22452650705321</c:v>
                </c:pt>
              </c:numCache>
            </c:numRef>
          </c:xVal>
          <c:yVal>
            <c:numRef>
              <c:f>Sheet1!$B$171:$B$172</c:f>
              <c:numCache>
                <c:formatCode>General</c:formatCode>
                <c:ptCount val="2"/>
                <c:pt idx="0">
                  <c:v>0.8456194334700053</c:v>
                </c:pt>
                <c:pt idx="1">
                  <c:v>0.845619433470005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42.22452650705321</c:v>
                </c:pt>
                <c:pt idx="1">
                  <c:v>-42.22452650705321</c:v>
                </c:pt>
              </c:numCache>
            </c:numRef>
          </c:xVal>
          <c:yVal>
            <c:numRef>
              <c:f>Sheet1!$B$175:$B$176</c:f>
              <c:numCache>
                <c:formatCode>General</c:formatCode>
                <c:ptCount val="2"/>
                <c:pt idx="0">
                  <c:v>0.845619433470005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272.1886896674947</c:v>
                </c:pt>
              </c:numCache>
            </c:numRef>
          </c:xVal>
          <c:yVal>
            <c:numRef>
              <c:f>Sheet1!$B$179:$B$180</c:f>
              <c:numCache>
                <c:formatCode>General</c:formatCode>
                <c:ptCount val="2"/>
                <c:pt idx="0">
                  <c:v>0.8137474907064708</c:v>
                </c:pt>
                <c:pt idx="1">
                  <c:v>0.813747490706470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272.1886896674947</c:v>
                </c:pt>
                <c:pt idx="1">
                  <c:v>272.1886896674947</c:v>
                </c:pt>
              </c:numCache>
            </c:numRef>
          </c:xVal>
          <c:yVal>
            <c:numRef>
              <c:f>Sheet1!$B$183:$B$184</c:f>
              <c:numCache>
                <c:formatCode>General</c:formatCode>
                <c:ptCount val="2"/>
                <c:pt idx="0">
                  <c:v>0.813747490706470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387.0642</c:v>
                </c:pt>
                <c:pt idx="1">
                  <c:v>1413.9187</c:v>
                </c:pt>
                <c:pt idx="2">
                  <c:v>1414.1893</c:v>
                </c:pt>
                <c:pt idx="3">
                  <c:v>1412.1135</c:v>
                </c:pt>
                <c:pt idx="4">
                  <c:v>1425.4231</c:v>
                </c:pt>
                <c:pt idx="5">
                  <c:v>1427.4742</c:v>
                </c:pt>
                <c:pt idx="6">
                  <c:v>1226.9225</c:v>
                </c:pt>
                <c:pt idx="7">
                  <c:v>1104.6741</c:v>
                </c:pt>
                <c:pt idx="8">
                  <c:v>1394.4157</c:v>
                </c:pt>
                <c:pt idx="9">
                  <c:v>1106.8458</c:v>
                </c:pt>
                <c:pt idx="10">
                  <c:v>1065.7359</c:v>
                </c:pt>
                <c:pt idx="11">
                  <c:v>1386.8661</c:v>
                </c:pt>
                <c:pt idx="12">
                  <c:v>1340.8558</c:v>
                </c:pt>
                <c:pt idx="13">
                  <c:v>1134.3122</c:v>
                </c:pt>
                <c:pt idx="14">
                  <c:v>1401.6813</c:v>
                </c:pt>
                <c:pt idx="15">
                  <c:v>1226.9135</c:v>
                </c:pt>
                <c:pt idx="16">
                  <c:v>1188.7487</c:v>
                </c:pt>
                <c:pt idx="17">
                  <c:v>1128.7515</c:v>
                </c:pt>
                <c:pt idx="18">
                  <c:v>994.3855</c:v>
                </c:pt>
                <c:pt idx="19">
                  <c:v>795.4784</c:v>
                </c:pt>
                <c:pt idx="20">
                  <c:v>805.2533</c:v>
                </c:pt>
                <c:pt idx="21">
                  <c:v>874.4545</c:v>
                </c:pt>
                <c:pt idx="22">
                  <c:v>872.784</c:v>
                </c:pt>
                <c:pt idx="23">
                  <c:v>1015.2339</c:v>
                </c:pt>
                <c:pt idx="24">
                  <c:v>1299.6455</c:v>
                </c:pt>
                <c:pt idx="25">
                  <c:v>1371.2188</c:v>
                </c:pt>
                <c:pt idx="26">
                  <c:v>1400.3864</c:v>
                </c:pt>
                <c:pt idx="27">
                  <c:v>1362.2727</c:v>
                </c:pt>
                <c:pt idx="28">
                  <c:v>1152.3118</c:v>
                </c:pt>
                <c:pt idx="29">
                  <c:v>1171.2796</c:v>
                </c:pt>
                <c:pt idx="30">
                  <c:v>1363.0928</c:v>
                </c:pt>
                <c:pt idx="31">
                  <c:v>1379.4382</c:v>
                </c:pt>
                <c:pt idx="32">
                  <c:v>1318.9419</c:v>
                </c:pt>
                <c:pt idx="33">
                  <c:v>1356.275</c:v>
                </c:pt>
                <c:pt idx="34">
                  <c:v>1387.9337</c:v>
                </c:pt>
                <c:pt idx="35">
                  <c:v>1411.1684</c:v>
                </c:pt>
                <c:pt idx="36">
                  <c:v>1389.2857</c:v>
                </c:pt>
                <c:pt idx="37">
                  <c:v>1430.5899</c:v>
                </c:pt>
                <c:pt idx="38">
                  <c:v>1424.7622</c:v>
                </c:pt>
                <c:pt idx="39">
                  <c:v>1477.7261</c:v>
                </c:pt>
                <c:pt idx="40">
                  <c:v>1480.1313</c:v>
                </c:pt>
                <c:pt idx="41">
                  <c:v>1488.6381</c:v>
                </c:pt>
                <c:pt idx="42">
                  <c:v>1480.7516</c:v>
                </c:pt>
                <c:pt idx="43">
                  <c:v>1454.4093</c:v>
                </c:pt>
                <c:pt idx="44">
                  <c:v>1385.1827</c:v>
                </c:pt>
                <c:pt idx="45">
                  <c:v>1366.2485</c:v>
                </c:pt>
                <c:pt idx="46">
                  <c:v>1344.2312</c:v>
                </c:pt>
                <c:pt idx="47">
                  <c:v>1335.7828</c:v>
                </c:pt>
                <c:pt idx="48">
                  <c:v>1235.2408</c:v>
                </c:pt>
                <c:pt idx="49">
                  <c:v>1142.0465</c:v>
                </c:pt>
                <c:pt idx="50">
                  <c:v>1092.8636</c:v>
                </c:pt>
                <c:pt idx="51">
                  <c:v>1121.4992</c:v>
                </c:pt>
                <c:pt idx="52">
                  <c:v>-42.22452650705321</c:v>
                </c:pt>
                <c:pt idx="53">
                  <c:v>-1490.151401910624</c:v>
                </c:pt>
                <c:pt idx="54">
                  <c:v>272.1886896674947</c:v>
                </c:pt>
              </c:numCache>
            </c:numRef>
          </c:xVal>
          <c:yVal>
            <c:numRef>
              <c:f>Sheet1!$B$187:$B$241</c:f>
              <c:numCache>
                <c:formatCode>General</c:formatCode>
                <c:ptCount val="55"/>
                <c:pt idx="0">
                  <c:v>0.7007330033190909</c:v>
                </c:pt>
                <c:pt idx="1">
                  <c:v>0.698010773327117</c:v>
                </c:pt>
                <c:pt idx="2">
                  <c:v>0.697983342712664</c:v>
                </c:pt>
                <c:pt idx="3">
                  <c:v>0.6981937657336601</c:v>
                </c:pt>
                <c:pt idx="4">
                  <c:v>0.6968445768714144</c:v>
                </c:pt>
                <c:pt idx="5">
                  <c:v>0.6966366576796016</c:v>
                </c:pt>
                <c:pt idx="6">
                  <c:v>0.7169665038015312</c:v>
                </c:pt>
                <c:pt idx="7">
                  <c:v>0.7293587755232473</c:v>
                </c:pt>
                <c:pt idx="8">
                  <c:v>0.6999877846858639</c:v>
                </c:pt>
                <c:pt idx="9">
                  <c:v>0.7291386311573657</c:v>
                </c:pt>
                <c:pt idx="10">
                  <c:v>0.7333059253816875</c:v>
                </c:pt>
                <c:pt idx="11">
                  <c:v>0.7007530846373582</c:v>
                </c:pt>
                <c:pt idx="12">
                  <c:v>0.7054171304620699</c:v>
                </c:pt>
                <c:pt idx="13">
                  <c:v>0.7263543731055846</c:v>
                </c:pt>
                <c:pt idx="14">
                  <c:v>0.6992512737014968</c:v>
                </c:pt>
                <c:pt idx="15">
                  <c:v>0.7169674161279542</c:v>
                </c:pt>
                <c:pt idx="16">
                  <c:v>0.7208361667357737</c:v>
                </c:pt>
                <c:pt idx="17">
                  <c:v>0.7269180590545455</c:v>
                </c:pt>
                <c:pt idx="18">
                  <c:v>0.7405386870722547</c:v>
                </c:pt>
                <c:pt idx="19">
                  <c:v>0.7607018207458125</c:v>
                </c:pt>
                <c:pt idx="20">
                  <c:v>0.7597109430177391</c:v>
                </c:pt>
                <c:pt idx="21">
                  <c:v>0.7526960448769959</c:v>
                </c:pt>
                <c:pt idx="22">
                  <c:v>0.7528653827980741</c:v>
                </c:pt>
                <c:pt idx="23">
                  <c:v>0.7384252930502222</c:v>
                </c:pt>
                <c:pt idx="24">
                  <c:v>0.7095946021944888</c:v>
                </c:pt>
                <c:pt idx="25">
                  <c:v>0.7023392452195107</c:v>
                </c:pt>
                <c:pt idx="26">
                  <c:v>0.699382537199853</c:v>
                </c:pt>
                <c:pt idx="27">
                  <c:v>0.7032461078209815</c:v>
                </c:pt>
                <c:pt idx="28">
                  <c:v>0.724529760807328</c:v>
                </c:pt>
                <c:pt idx="29">
                  <c:v>0.7226070024598718</c:v>
                </c:pt>
                <c:pt idx="30">
                  <c:v>0.7031629746099213</c:v>
                </c:pt>
                <c:pt idx="31">
                  <c:v>0.7015060479082209</c:v>
                </c:pt>
                <c:pt idx="32">
                  <c:v>0.707638533795631</c:v>
                </c:pt>
                <c:pt idx="33">
                  <c:v>0.7038540922862615</c:v>
                </c:pt>
                <c:pt idx="34">
                  <c:v>0.7006448624496642</c:v>
                </c:pt>
                <c:pt idx="35">
                  <c:v>0.6982895701450405</c:v>
                </c:pt>
                <c:pt idx="36">
                  <c:v>0.7005078107470017</c:v>
                </c:pt>
                <c:pt idx="37">
                  <c:v>0.6963208204089023</c:v>
                </c:pt>
                <c:pt idx="38">
                  <c:v>0.6969115720417469</c:v>
                </c:pt>
                <c:pt idx="39">
                  <c:v>0.6915426425486673</c:v>
                </c:pt>
                <c:pt idx="40">
                  <c:v>0.6912988283805876</c:v>
                </c:pt>
                <c:pt idx="41">
                  <c:v>0.6904364974455218</c:v>
                </c:pt>
                <c:pt idx="42">
                  <c:v>0.691235948816119</c:v>
                </c:pt>
                <c:pt idx="43">
                  <c:v>0.6939062572976612</c:v>
                </c:pt>
                <c:pt idx="44">
                  <c:v>0.7009237302263094</c:v>
                </c:pt>
                <c:pt idx="45">
                  <c:v>0.7028430825551196</c:v>
                </c:pt>
                <c:pt idx="46">
                  <c:v>0.7050749675055855</c:v>
                </c:pt>
                <c:pt idx="47">
                  <c:v>0.7059313784558617</c:v>
                </c:pt>
                <c:pt idx="48">
                  <c:v>0.7161232810365481</c:v>
                </c:pt>
                <c:pt idx="49">
                  <c:v>0.7255703501884972</c:v>
                </c:pt>
                <c:pt idx="50">
                  <c:v>0.7305560012142939</c:v>
                </c:pt>
                <c:pt idx="51">
                  <c:v>0.7276532218231986</c:v>
                </c:pt>
                <c:pt idx="52">
                  <c:v>0.8456194334700053</c:v>
                </c:pt>
                <c:pt idx="53">
                  <c:v>0.9923952053670322</c:v>
                </c:pt>
                <c:pt idx="54">
                  <c:v>0.813747490706470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398130841121495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numCache>
            </c:numRef>
          </c:xVal>
          <c:yVal>
            <c:numRef>
              <c:f>Sheet1!$B$2:$B$15</c:f>
              <c:numCache>
                <c:formatCode>General</c:formatCode>
                <c:ptCount val="14"/>
                <c:pt idx="0">
                  <c:v>1.0</c:v>
                </c:pt>
                <c:pt idx="1">
                  <c:v>0.9956236323851203</c:v>
                </c:pt>
                <c:pt idx="2">
                  <c:v>0.995850622406639</c:v>
                </c:pt>
                <c:pt idx="3">
                  <c:v>0.9855072463768116</c:v>
                </c:pt>
                <c:pt idx="4">
                  <c:v>0.9835164835164835</c:v>
                </c:pt>
                <c:pt idx="5">
                  <c:v>0.9886363636363636</c:v>
                </c:pt>
                <c:pt idx="6">
                  <c:v>0.9866666666666667</c:v>
                </c:pt>
                <c:pt idx="7">
                  <c:v>0.9936305732484076</c:v>
                </c:pt>
                <c:pt idx="8">
                  <c:v>0.9828571428571429</c:v>
                </c:pt>
                <c:pt idx="9">
                  <c:v>0.9758620689655172</c:v>
                </c:pt>
                <c:pt idx="10">
                  <c:v>0.8326474622770919</c:v>
                </c:pt>
                <c:pt idx="11">
                  <c:v>0.5064935064935064</c:v>
                </c:pt>
                <c:pt idx="12">
                  <c:v>0.6635514018691588</c:v>
                </c:pt>
                <c:pt idx="13">
                  <c:v>0.6923076923076923</c:v>
                </c:pt>
              </c:numCache>
            </c:numRef>
          </c:yVal>
          <c:smooth val="0"/>
          <c:extLst>
            <c:ext xmlns:c16="http://schemas.microsoft.com/office/drawing/2014/chart" uri="{C3380CC4-5D6E-409C-BE32-E72D297353CC}">
              <c16:uniqueId val="{00000000-096C-4121-9522-6AB7243CCAAE}"/>
            </c:ext>
          </c:extLst>
        </c:ser>
        <c:ser>
          <c:idx val="1"/>
          <c:order val="1"/>
          <c:tx>
            <c:strRef>
              <c:f>Sheet1!$B$1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0:$A$21</c:f>
              <c:numCache>
                <c:formatCode>General</c:formatCode>
                <c:ptCount val="2"/>
                <c:pt idx="0">
                  <c:v>0</c:v>
                </c:pt>
                <c:pt idx="1">
                  <c:v>0.9978118161925602</c:v>
                </c:pt>
              </c:numCache>
            </c:numRef>
          </c:xVal>
          <c:yVal>
            <c:numRef>
              <c:f>Sheet1!$B$20:$B$21</c:f>
              <c:numCache>
                <c:formatCode>General</c:formatCode>
                <c:ptCount val="2"/>
                <c:pt idx="0">
                  <c:v>0.9978118161925602</c:v>
                </c:pt>
                <c:pt idx="1">
                  <c:v>0.9978118161925602</c:v>
                </c:pt>
              </c:numCache>
            </c:numRef>
          </c:yVal>
          <c:smooth val="0"/>
          <c:extLst>
            <c:ext xmlns:c16="http://schemas.microsoft.com/office/drawing/2014/chart" uri="{C3380CC4-5D6E-409C-BE32-E72D297353CC}">
              <c16:uniqueId val="{00000005-096C-4121-9522-6AB7243CCAAE}"/>
            </c:ext>
          </c:extLst>
        </c:ser>
        <c:ser>
          <c:idx val="3"/>
          <c:order val="3"/>
          <c:tx>
            <c:strRef>
              <c:f>Sheet1!$B$2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4:$A$25</c:f>
              <c:numCache>
                <c:formatCode>General</c:formatCode>
                <c:ptCount val="2"/>
                <c:pt idx="0">
                  <c:v>0.9978118161925602</c:v>
                </c:pt>
                <c:pt idx="1">
                  <c:v>0.9978118161925602</c:v>
                </c:pt>
              </c:numCache>
            </c:numRef>
          </c:xVal>
          <c:yVal>
            <c:numRef>
              <c:f>Sheet1!$B$24:$B$25</c:f>
              <c:numCache>
                <c:formatCode>General</c:formatCode>
                <c:ptCount val="2"/>
                <c:pt idx="0">
                  <c:v>0.99781181619256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8:$A$29</c:f>
              <c:numCache>
                <c:formatCode>General</c:formatCode>
                <c:ptCount val="2"/>
                <c:pt idx="0">
                  <c:v>0</c:v>
                </c:pt>
                <c:pt idx="1">
                  <c:v>0.6207842002234525</c:v>
                </c:pt>
              </c:numCache>
            </c:numRef>
          </c:xVal>
          <c:yVal>
            <c:numRef>
              <c:f>Sheet1!$B$28:$B$29</c:f>
              <c:numCache>
                <c:formatCode>General</c:formatCode>
                <c:ptCount val="2"/>
                <c:pt idx="0">
                  <c:v>0.6207842002234525</c:v>
                </c:pt>
                <c:pt idx="1">
                  <c:v>0.6207842002234525</c:v>
                </c:pt>
              </c:numCache>
            </c:numRef>
          </c:yVal>
          <c:smooth val="0"/>
          <c:extLst>
            <c:ext xmlns:c16="http://schemas.microsoft.com/office/drawing/2014/chart" uri="{C3380CC4-5D6E-409C-BE32-E72D297353CC}">
              <c16:uniqueId val="{0000000D-096C-4121-9522-6AB7243CCAAE}"/>
            </c:ext>
          </c:extLst>
        </c:ser>
        <c:ser>
          <c:idx val="5"/>
          <c:order val="5"/>
          <c:tx>
            <c:strRef>
              <c:f>Sheet1!$B$3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2:$A$33</c:f>
              <c:numCache>
                <c:formatCode>General</c:formatCode>
                <c:ptCount val="2"/>
                <c:pt idx="0">
                  <c:v>0.6207842002234525</c:v>
                </c:pt>
                <c:pt idx="1">
                  <c:v>0.6207842002234525</c:v>
                </c:pt>
              </c:numCache>
            </c:numRef>
          </c:xVal>
          <c:yVal>
            <c:numRef>
              <c:f>Sheet1!$B$32:$B$33</c:f>
              <c:numCache>
                <c:formatCode>General</c:formatCode>
                <c:ptCount val="2"/>
                <c:pt idx="0">
                  <c:v>0.620784200223452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5</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6:$A$38</c:f>
              <c:numCache>
                <c:formatCode>General</c:formatCode>
                <c:ptCount val="3"/>
                <c:pt idx="0">
                  <c:v>0.6207842002234525</c:v>
                </c:pt>
                <c:pt idx="1">
                  <c:v>0.9978118161925602</c:v>
                </c:pt>
                <c:pt idx="2">
                  <c:v>0</c:v>
                </c:pt>
              </c:numCache>
            </c:numRef>
          </c:xVal>
          <c:yVal>
            <c:numRef>
              <c:f>Sheet1!$B$36:$B$38</c:f>
              <c:numCache>
                <c:formatCode>General</c:formatCode>
                <c:ptCount val="3"/>
                <c:pt idx="0">
                  <c:v>0.6207842002234525</c:v>
                </c:pt>
                <c:pt idx="1">
                  <c:v>0.9978118161925602</c:v>
                </c:pt>
                <c:pt idx="2">
                  <c:v>0</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opperto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4051948051948051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82.0378</c:v>
                </c:pt>
                <c:pt idx="1">
                  <c:v>927.6933</c:v>
                </c:pt>
                <c:pt idx="2">
                  <c:v>941.5266</c:v>
                </c:pt>
                <c:pt idx="3">
                  <c:v>948.004</c:v>
                </c:pt>
                <c:pt idx="4">
                  <c:v>913.6714</c:v>
                </c:pt>
                <c:pt idx="5">
                  <c:v>895.0646</c:v>
                </c:pt>
                <c:pt idx="6">
                  <c:v>894.7375</c:v>
                </c:pt>
                <c:pt idx="7">
                  <c:v>888.0266</c:v>
                </c:pt>
                <c:pt idx="8">
                  <c:v>893.3369</c:v>
                </c:pt>
                <c:pt idx="9">
                  <c:v>845.0579</c:v>
                </c:pt>
                <c:pt idx="10">
                  <c:v>807.3767</c:v>
                </c:pt>
                <c:pt idx="11">
                  <c:v>797.7624</c:v>
                </c:pt>
                <c:pt idx="12">
                  <c:v>816.9945</c:v>
                </c:pt>
                <c:pt idx="13">
                  <c:v>805.4152</c:v>
                </c:pt>
                <c:pt idx="14">
                  <c:v>933.3739</c:v>
                </c:pt>
                <c:pt idx="15">
                  <c:v>946.1685</c:v>
                </c:pt>
                <c:pt idx="16">
                  <c:v>944.0241</c:v>
                </c:pt>
                <c:pt idx="17">
                  <c:v>954.6969</c:v>
                </c:pt>
                <c:pt idx="18">
                  <c:v>983.6931</c:v>
                </c:pt>
                <c:pt idx="19">
                  <c:v>987.9647</c:v>
                </c:pt>
                <c:pt idx="20">
                  <c:v>998.0991</c:v>
                </c:pt>
                <c:pt idx="21">
                  <c:v>1004.0141</c:v>
                </c:pt>
                <c:pt idx="22">
                  <c:v>1016.0922</c:v>
                </c:pt>
                <c:pt idx="23">
                  <c:v>1025.019</c:v>
                </c:pt>
                <c:pt idx="24">
                  <c:v>1028.2318</c:v>
                </c:pt>
                <c:pt idx="25">
                  <c:v>1020.0103</c:v>
                </c:pt>
                <c:pt idx="26">
                  <c:v>1024.9627</c:v>
                </c:pt>
                <c:pt idx="27">
                  <c:v>1027.5</c:v>
                </c:pt>
                <c:pt idx="28">
                  <c:v>1031.9043</c:v>
                </c:pt>
                <c:pt idx="29">
                  <c:v>1058.1382</c:v>
                </c:pt>
                <c:pt idx="30">
                  <c:v>1054.2462</c:v>
                </c:pt>
                <c:pt idx="31">
                  <c:v>1054.9671</c:v>
                </c:pt>
                <c:pt idx="32">
                  <c:v>1042.1688</c:v>
                </c:pt>
                <c:pt idx="33">
                  <c:v>1054.2434</c:v>
                </c:pt>
                <c:pt idx="34">
                  <c:v>1019.7664</c:v>
                </c:pt>
                <c:pt idx="35">
                  <c:v>1023.0399</c:v>
                </c:pt>
                <c:pt idx="36">
                  <c:v>1050.6236</c:v>
                </c:pt>
                <c:pt idx="37">
                  <c:v>1066.4357</c:v>
                </c:pt>
                <c:pt idx="38">
                  <c:v>1076.2603</c:v>
                </c:pt>
                <c:pt idx="39">
                  <c:v>1133.355</c:v>
                </c:pt>
                <c:pt idx="40">
                  <c:v>1144.8118</c:v>
                </c:pt>
                <c:pt idx="41">
                  <c:v>1160.1727</c:v>
                </c:pt>
                <c:pt idx="42">
                  <c:v>1169.0579</c:v>
                </c:pt>
                <c:pt idx="43">
                  <c:v>1172.5528</c:v>
                </c:pt>
                <c:pt idx="44">
                  <c:v>1195.1173</c:v>
                </c:pt>
                <c:pt idx="45">
                  <c:v>1188.4443</c:v>
                </c:pt>
                <c:pt idx="46">
                  <c:v>1135.9512</c:v>
                </c:pt>
                <c:pt idx="47">
                  <c:v>1128.4079</c:v>
                </c:pt>
                <c:pt idx="48">
                  <c:v>1083.6215</c:v>
                </c:pt>
                <c:pt idx="49">
                  <c:v>997.1162</c:v>
                </c:pt>
                <c:pt idx="50">
                  <c:v>1023.5524</c:v>
                </c:pt>
                <c:pt idx="51">
                  <c:v>1010.6958</c:v>
                </c:pt>
                <c:pt idx="52">
                  <c:v>991.7953</c:v>
                </c:pt>
                <c:pt idx="53">
                  <c:v>1197.223</c:v>
                </c:pt>
                <c:pt idx="54">
                  <c:v>1193.0427</c:v>
                </c:pt>
                <c:pt idx="55">
                  <c:v>1194.2518</c:v>
                </c:pt>
                <c:pt idx="56">
                  <c:v>1186.2817</c:v>
                </c:pt>
                <c:pt idx="57">
                  <c:v>1193.4468</c:v>
                </c:pt>
                <c:pt idx="58">
                  <c:v>1188.1385</c:v>
                </c:pt>
                <c:pt idx="59">
                  <c:v>1195.9447</c:v>
                </c:pt>
                <c:pt idx="60">
                  <c:v>1208.2215</c:v>
                </c:pt>
                <c:pt idx="61">
                  <c:v>1146.8719</c:v>
                </c:pt>
                <c:pt idx="62">
                  <c:v>1042.9406</c:v>
                </c:pt>
                <c:pt idx="63">
                  <c:v>1048.4032</c:v>
                </c:pt>
                <c:pt idx="64">
                  <c:v>1054.7304</c:v>
                </c:pt>
                <c:pt idx="65">
                  <c:v>1057.4421</c:v>
                </c:pt>
                <c:pt idx="66">
                  <c:v>1167.2609</c:v>
                </c:pt>
                <c:pt idx="67">
                  <c:v>1190.5122</c:v>
                </c:pt>
                <c:pt idx="68">
                  <c:v>1172.8725</c:v>
                </c:pt>
                <c:pt idx="69">
                  <c:v>1209.7051</c:v>
                </c:pt>
                <c:pt idx="70">
                  <c:v>1213.4937</c:v>
                </c:pt>
                <c:pt idx="71">
                  <c:v>1208.903</c:v>
                </c:pt>
                <c:pt idx="72">
                  <c:v>1219.3944</c:v>
                </c:pt>
                <c:pt idx="73">
                  <c:v>1213.5641</c:v>
                </c:pt>
                <c:pt idx="74">
                  <c:v>1231.2269</c:v>
                </c:pt>
                <c:pt idx="75">
                  <c:v>1211.4179</c:v>
                </c:pt>
                <c:pt idx="76">
                  <c:v>1166.9235</c:v>
                </c:pt>
                <c:pt idx="77">
                  <c:v>1161.1444</c:v>
                </c:pt>
                <c:pt idx="78">
                  <c:v>1172.7847</c:v>
                </c:pt>
                <c:pt idx="79">
                  <c:v>1206.1037</c:v>
                </c:pt>
                <c:pt idx="80">
                  <c:v>1222.6691</c:v>
                </c:pt>
                <c:pt idx="81">
                  <c:v>1264.3381</c:v>
                </c:pt>
                <c:pt idx="82">
                  <c:v>1278.2992</c:v>
                </c:pt>
                <c:pt idx="83">
                  <c:v>1271.7508</c:v>
                </c:pt>
                <c:pt idx="84">
                  <c:v>1285.2774</c:v>
                </c:pt>
                <c:pt idx="85">
                  <c:v>1297.5208</c:v>
                </c:pt>
                <c:pt idx="86">
                  <c:v>1295.88</c:v>
                </c:pt>
                <c:pt idx="87">
                  <c:v>1277.3069</c:v>
                </c:pt>
                <c:pt idx="88">
                  <c:v>1283.2065</c:v>
                </c:pt>
                <c:pt idx="89">
                  <c:v>1307.5862</c:v>
                </c:pt>
                <c:pt idx="90">
                  <c:v>1304.2661</c:v>
                </c:pt>
                <c:pt idx="91">
                  <c:v>1295.8556</c:v>
                </c:pt>
                <c:pt idx="92">
                  <c:v>1282.5632</c:v>
                </c:pt>
                <c:pt idx="93">
                  <c:v>1276.3185</c:v>
                </c:pt>
                <c:pt idx="94">
                  <c:v>1282.8516</c:v>
                </c:pt>
                <c:pt idx="95">
                  <c:v>1276.6193</c:v>
                </c:pt>
                <c:pt idx="96">
                  <c:v>1183.1731</c:v>
                </c:pt>
                <c:pt idx="97">
                  <c:v>1214.2338</c:v>
                </c:pt>
                <c:pt idx="98">
                  <c:v>1176.7796</c:v>
                </c:pt>
                <c:pt idx="99">
                  <c:v>1163.592</c:v>
                </c:pt>
                <c:pt idx="100">
                  <c:v>1084.096</c:v>
                </c:pt>
                <c:pt idx="101">
                  <c:v>1237.3957</c:v>
                </c:pt>
                <c:pt idx="102">
                  <c:v>1233.3739</c:v>
                </c:pt>
                <c:pt idx="103">
                  <c:v>1168.2598</c:v>
                </c:pt>
                <c:pt idx="104">
                  <c:v>1158.6334</c:v>
                </c:pt>
              </c:numCache>
            </c:numRef>
          </c:xVal>
          <c:yVal>
            <c:numRef>
              <c:f>Sheet1!$B$2:$B$106</c:f>
              <c:numCache>
                <c:formatCode>General</c:formatCode>
                <c:ptCount val="105"/>
                <c:pt idx="0">
                  <c:v>0.19014989293361884</c:v>
                </c:pt>
                <c:pt idx="1">
                  <c:v>0.1874182090110301</c:v>
                </c:pt>
                <c:pt idx="2">
                  <c:v>0.18448132010753684</c:v>
                </c:pt>
                <c:pt idx="3">
                  <c:v>0.19202967471942173</c:v>
                </c:pt>
                <c:pt idx="4">
                  <c:v>0.21944354227563062</c:v>
                </c:pt>
                <c:pt idx="5">
                  <c:v>0.20855138625988198</c:v>
                </c:pt>
                <c:pt idx="6">
                  <c:v>0.23273385122911566</c:v>
                </c:pt>
                <c:pt idx="7">
                  <c:v>0.22297297297297297</c:v>
                </c:pt>
                <c:pt idx="8">
                  <c:v>0.23093121197941038</c:v>
                </c:pt>
                <c:pt idx="9">
                  <c:v>0.23115327009485773</c:v>
                </c:pt>
                <c:pt idx="10">
                  <c:v>0.22522522522522523</c:v>
                </c:pt>
                <c:pt idx="11">
                  <c:v>0.22725676150333685</c:v>
                </c:pt>
                <c:pt idx="12">
                  <c:v>0.21053849714550224</c:v>
                </c:pt>
                <c:pt idx="13">
                  <c:v>0.20055565202292064</c:v>
                </c:pt>
                <c:pt idx="14">
                  <c:v>0.17704734335605565</c:v>
                </c:pt>
                <c:pt idx="15">
                  <c:v>0.16691908264820424</c:v>
                </c:pt>
                <c:pt idx="16">
                  <c:v>0.16824498831632026</c:v>
                </c:pt>
                <c:pt idx="17">
                  <c:v>0.1657111657111657</c:v>
                </c:pt>
                <c:pt idx="18">
                  <c:v>0.1534027221777422</c:v>
                </c:pt>
                <c:pt idx="19">
                  <c:v>0.1468956879584899</c:v>
                </c:pt>
                <c:pt idx="20">
                  <c:v>0.18550137462017074</c:v>
                </c:pt>
                <c:pt idx="21">
                  <c:v>0.1703767123287671</c:v>
                </c:pt>
                <c:pt idx="22">
                  <c:v>0.14937759336099585</c:v>
                </c:pt>
                <c:pt idx="23">
                  <c:v>0.1632692681032809</c:v>
                </c:pt>
                <c:pt idx="24">
                  <c:v>0.16699981828093768</c:v>
                </c:pt>
                <c:pt idx="25">
                  <c:v>0.16081750619322874</c:v>
                </c:pt>
                <c:pt idx="26">
                  <c:v>0.16816409560942533</c:v>
                </c:pt>
                <c:pt idx="27">
                  <c:v>0.18117854001759015</c:v>
                </c:pt>
                <c:pt idx="28">
                  <c:v>0.18936994016191483</c:v>
                </c:pt>
                <c:pt idx="29">
                  <c:v>0.18606127956818544</c:v>
                </c:pt>
                <c:pt idx="30">
                  <c:v>0.1950787401574803</c:v>
                </c:pt>
                <c:pt idx="31">
                  <c:v>0.17657657657657658</c:v>
                </c:pt>
                <c:pt idx="32">
                  <c:v>0.18993506493506493</c:v>
                </c:pt>
                <c:pt idx="33">
                  <c:v>0.1818020259463302</c:v>
                </c:pt>
                <c:pt idx="34">
                  <c:v>0.20025288446341077</c:v>
                </c:pt>
                <c:pt idx="35">
                  <c:v>0.2567105905319668</c:v>
                </c:pt>
                <c:pt idx="36">
                  <c:v>0.2090291536937447</c:v>
                </c:pt>
                <c:pt idx="37">
                  <c:v>0.19676739283204497</c:v>
                </c:pt>
                <c:pt idx="38">
                  <c:v>0.18666219839142092</c:v>
                </c:pt>
                <c:pt idx="39">
                  <c:v>0.18684603886397608</c:v>
                </c:pt>
                <c:pt idx="40">
                  <c:v>0.1901644336175396</c:v>
                </c:pt>
                <c:pt idx="41">
                  <c:v>0.17954735959765297</c:v>
                </c:pt>
                <c:pt idx="42">
                  <c:v>0.18690275435637999</c:v>
                </c:pt>
                <c:pt idx="43">
                  <c:v>0.18360136452241715</c:v>
                </c:pt>
                <c:pt idx="44">
                  <c:v>0.16826381059751974</c:v>
                </c:pt>
                <c:pt idx="45">
                  <c:v>0.16118853536681568</c:v>
                </c:pt>
                <c:pt idx="46">
                  <c:v>0.16547874624302275</c:v>
                </c:pt>
                <c:pt idx="47">
                  <c:v>0.16660851360781578</c:v>
                </c:pt>
                <c:pt idx="48">
                  <c:v>0.16566534577527803</c:v>
                </c:pt>
                <c:pt idx="49">
                  <c:v>0.18493237800483317</c:v>
                </c:pt>
                <c:pt idx="50">
                  <c:v>0.1706705661165657</c:v>
                </c:pt>
                <c:pt idx="51">
                  <c:v>0.1737982884107814</c:v>
                </c:pt>
                <c:pt idx="52">
                  <c:v>0.17529908028490424</c:v>
                </c:pt>
                <c:pt idx="53">
                  <c:v>0.16356603426045313</c:v>
                </c:pt>
                <c:pt idx="54">
                  <c:v>0.16656510257972781</c:v>
                </c:pt>
                <c:pt idx="55">
                  <c:v>0.16468982890731604</c:v>
                </c:pt>
                <c:pt idx="56">
                  <c:v>0.17314981049271894</c:v>
                </c:pt>
                <c:pt idx="57">
                  <c:v>0.15567353549896518</c:v>
                </c:pt>
                <c:pt idx="58">
                  <c:v>0.1553445337229121</c:v>
                </c:pt>
                <c:pt idx="59">
                  <c:v>0.14042185898473325</c:v>
                </c:pt>
                <c:pt idx="60">
                  <c:v>0.13943281566509116</c:v>
                </c:pt>
                <c:pt idx="61">
                  <c:v>0.1463888266487415</c:v>
                </c:pt>
                <c:pt idx="62">
                  <c:v>0.16681908245694255</c:v>
                </c:pt>
                <c:pt idx="63">
                  <c:v>0.16552175335296043</c:v>
                </c:pt>
                <c:pt idx="64">
                  <c:v>0.16559465254130407</c:v>
                </c:pt>
                <c:pt idx="65">
                  <c:v>0.16908012687905116</c:v>
                </c:pt>
                <c:pt idx="66">
                  <c:v>0.16127120527446479</c:v>
                </c:pt>
                <c:pt idx="67">
                  <c:v>0.1575673807878369</c:v>
                </c:pt>
                <c:pt idx="68">
                  <c:v>0.15084640609766906</c:v>
                </c:pt>
                <c:pt idx="69">
                  <c:v>0.13940273243864104</c:v>
                </c:pt>
                <c:pt idx="70">
                  <c:v>0.1383089168300842</c:v>
                </c:pt>
                <c:pt idx="71">
                  <c:v>0.1375188580712545</c:v>
                </c:pt>
                <c:pt idx="72">
                  <c:v>0.15128576199487923</c:v>
                </c:pt>
                <c:pt idx="73">
                  <c:v>0.14916875427009793</c:v>
                </c:pt>
                <c:pt idx="74">
                  <c:v>0.14144620811287478</c:v>
                </c:pt>
                <c:pt idx="75">
                  <c:v>0.15030504714364948</c:v>
                </c:pt>
                <c:pt idx="76">
                  <c:v>0.15098152424942263</c:v>
                </c:pt>
                <c:pt idx="77">
                  <c:v>0.14893926184248765</c:v>
                </c:pt>
                <c:pt idx="78">
                  <c:v>0.1562448711636304</c:v>
                </c:pt>
                <c:pt idx="79">
                  <c:v>0.1584241408214585</c:v>
                </c:pt>
                <c:pt idx="80">
                  <c:v>0.158530531193116</c:v>
                </c:pt>
                <c:pt idx="81">
                  <c:v>0.15322033898305085</c:v>
                </c:pt>
                <c:pt idx="82">
                  <c:v>0.15401558793629277</c:v>
                </c:pt>
                <c:pt idx="83">
                  <c:v>0.13964346349745332</c:v>
                </c:pt>
                <c:pt idx="84">
                  <c:v>0.14164366107453813</c:v>
                </c:pt>
                <c:pt idx="85">
                  <c:v>0.1314352574102964</c:v>
                </c:pt>
                <c:pt idx="86">
                  <c:v>0.14265335235378032</c:v>
                </c:pt>
                <c:pt idx="87">
                  <c:v>0.17739646497226164</c:v>
                </c:pt>
                <c:pt idx="88">
                  <c:v>0.18386639357176618</c:v>
                </c:pt>
                <c:pt idx="89">
                  <c:v>0.1434290687554395</c:v>
                </c:pt>
                <c:pt idx="90">
                  <c:v>0.14193663862538033</c:v>
                </c:pt>
                <c:pt idx="91">
                  <c:v>0.14365199797673242</c:v>
                </c:pt>
                <c:pt idx="92">
                  <c:v>0.15895232815964525</c:v>
                </c:pt>
                <c:pt idx="93">
                  <c:v>0.13890293225480282</c:v>
                </c:pt>
                <c:pt idx="94">
                  <c:v>0.13735046521931768</c:v>
                </c:pt>
                <c:pt idx="95">
                  <c:v>0.1478503270076123</c:v>
                </c:pt>
                <c:pt idx="96">
                  <c:v>0.14983572540204046</c:v>
                </c:pt>
                <c:pt idx="97">
                  <c:v>0.1448043382676242</c:v>
                </c:pt>
                <c:pt idx="98">
                  <c:v>0.15628408288958748</c:v>
                </c:pt>
                <c:pt idx="99">
                  <c:v>0.1556851648668938</c:v>
                </c:pt>
                <c:pt idx="100">
                  <c:v>0.17040760657781934</c:v>
                </c:pt>
                <c:pt idx="101">
                  <c:v>0.14546495356824832</c:v>
                </c:pt>
                <c:pt idx="102">
                  <c:v>0.13494876586969132</c:v>
                </c:pt>
                <c:pt idx="103">
                  <c:v>0.1509997222993613</c:v>
                </c:pt>
                <c:pt idx="104">
                  <c:v>0.155755176613885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37.5788</c:v>
                </c:pt>
                <c:pt idx="1">
                  <c:v>1241.7033</c:v>
                </c:pt>
                <c:pt idx="2">
                  <c:v>1269.042</c:v>
                </c:pt>
                <c:pt idx="3">
                  <c:v>1287.1211</c:v>
                </c:pt>
                <c:pt idx="4">
                  <c:v>1278.1937</c:v>
                </c:pt>
                <c:pt idx="5">
                  <c:v>1282.0273</c:v>
                </c:pt>
                <c:pt idx="6">
                  <c:v>1274.6663</c:v>
                </c:pt>
                <c:pt idx="7">
                  <c:v>1271.8084</c:v>
                </c:pt>
                <c:pt idx="8">
                  <c:v>1265.9886</c:v>
                </c:pt>
                <c:pt idx="9">
                  <c:v>1123.1292</c:v>
                </c:pt>
                <c:pt idx="10">
                  <c:v>1148.5366</c:v>
                </c:pt>
                <c:pt idx="11">
                  <c:v>1263.3856</c:v>
                </c:pt>
                <c:pt idx="12">
                  <c:v>1238.5731</c:v>
                </c:pt>
                <c:pt idx="13">
                  <c:v>1148.1709</c:v>
                </c:pt>
                <c:pt idx="14">
                  <c:v>1251.5951</c:v>
                </c:pt>
                <c:pt idx="15">
                  <c:v>1186.8718</c:v>
                </c:pt>
                <c:pt idx="16">
                  <c:v>1267.9952</c:v>
                </c:pt>
                <c:pt idx="17">
                  <c:v>1285.5505</c:v>
                </c:pt>
                <c:pt idx="18">
                  <c:v>1321.6302</c:v>
                </c:pt>
                <c:pt idx="19">
                  <c:v>1302.7162</c:v>
                </c:pt>
                <c:pt idx="20">
                  <c:v>1240.0478</c:v>
                </c:pt>
                <c:pt idx="21">
                  <c:v>1251.4536</c:v>
                </c:pt>
                <c:pt idx="22">
                  <c:v>1239.9622</c:v>
                </c:pt>
                <c:pt idx="23">
                  <c:v>1156.3292</c:v>
                </c:pt>
                <c:pt idx="24">
                  <c:v>1141.9894</c:v>
                </c:pt>
                <c:pt idx="25">
                  <c:v>1189.5876</c:v>
                </c:pt>
                <c:pt idx="26">
                  <c:v>1226.3852</c:v>
                </c:pt>
                <c:pt idx="27">
                  <c:v>1275.3042</c:v>
                </c:pt>
                <c:pt idx="28">
                  <c:v>1320.9276</c:v>
                </c:pt>
                <c:pt idx="29">
                  <c:v>1307.5571</c:v>
                </c:pt>
                <c:pt idx="30">
                  <c:v>1305.5342</c:v>
                </c:pt>
                <c:pt idx="31">
                  <c:v>1302.1792</c:v>
                </c:pt>
                <c:pt idx="32">
                  <c:v>1300.668</c:v>
                </c:pt>
                <c:pt idx="33">
                  <c:v>1308.3848</c:v>
                </c:pt>
                <c:pt idx="34">
                  <c:v>1307.6936</c:v>
                </c:pt>
                <c:pt idx="35">
                  <c:v>1297.1465</c:v>
                </c:pt>
                <c:pt idx="36">
                  <c:v>1293.6675</c:v>
                </c:pt>
                <c:pt idx="37">
                  <c:v>1292.8031</c:v>
                </c:pt>
                <c:pt idx="38">
                  <c:v>1290.5053</c:v>
                </c:pt>
                <c:pt idx="39">
                  <c:v>1306.224</c:v>
                </c:pt>
                <c:pt idx="40">
                  <c:v>1307.6326</c:v>
                </c:pt>
                <c:pt idx="41">
                  <c:v>1301.1517</c:v>
                </c:pt>
                <c:pt idx="42">
                  <c:v>1306.3297</c:v>
                </c:pt>
                <c:pt idx="43">
                  <c:v>1288.6247</c:v>
                </c:pt>
                <c:pt idx="44">
                  <c:v>1238.5819</c:v>
                </c:pt>
                <c:pt idx="45">
                  <c:v>1248.5237</c:v>
                </c:pt>
                <c:pt idx="46">
                  <c:v>1248.6564</c:v>
                </c:pt>
                <c:pt idx="47">
                  <c:v>1244.7582</c:v>
                </c:pt>
                <c:pt idx="48">
                  <c:v>1177.1123</c:v>
                </c:pt>
                <c:pt idx="49">
                  <c:v>1149.897</c:v>
                </c:pt>
                <c:pt idx="50">
                  <c:v>1111.9998</c:v>
                </c:pt>
                <c:pt idx="51">
                  <c:v>1135.3556</c:v>
                </c:pt>
              </c:numCache>
            </c:numRef>
          </c:xVal>
          <c:yVal>
            <c:numRef>
              <c:f>Sheet1!$B$109:$B$160</c:f>
              <c:numCache>
                <c:formatCode>General</c:formatCode>
                <c:ptCount val="52"/>
                <c:pt idx="0">
                  <c:v>0.17426059152677859</c:v>
                </c:pt>
                <c:pt idx="1">
                  <c:v>0.16431742076162292</c:v>
                </c:pt>
                <c:pt idx="2">
                  <c:v>0.17060423825887744</c:v>
                </c:pt>
                <c:pt idx="3">
                  <c:v>0.17236204897346702</c:v>
                </c:pt>
                <c:pt idx="4">
                  <c:v>0.16263736263736264</c:v>
                </c:pt>
                <c:pt idx="5">
                  <c:v>0.14956301099520722</c:v>
                </c:pt>
                <c:pt idx="6">
                  <c:v>0.13353554207497279</c:v>
                </c:pt>
                <c:pt idx="7">
                  <c:v>0.12613092070250134</c:v>
                </c:pt>
                <c:pt idx="8">
                  <c:v>0.13820283762480295</c:v>
                </c:pt>
                <c:pt idx="9">
                  <c:v>0.14737147274835716</c:v>
                </c:pt>
                <c:pt idx="10">
                  <c:v>0.1545095220984549</c:v>
                </c:pt>
                <c:pt idx="11">
                  <c:v>0.14495201535508637</c:v>
                </c:pt>
                <c:pt idx="12">
                  <c:v>0.15231272387478587</c:v>
                </c:pt>
                <c:pt idx="13">
                  <c:v>0.1674721902570004</c:v>
                </c:pt>
                <c:pt idx="14">
                  <c:v>0.15209580838323353</c:v>
                </c:pt>
                <c:pt idx="15">
                  <c:v>0.16133059841255684</c:v>
                </c:pt>
                <c:pt idx="16">
                  <c:v>0.14427465767017264</c:v>
                </c:pt>
                <c:pt idx="17">
                  <c:v>0.13034602429315095</c:v>
                </c:pt>
                <c:pt idx="18">
                  <c:v>0.14128664495114007</c:v>
                </c:pt>
                <c:pt idx="19">
                  <c:v>0.1602713824936047</c:v>
                </c:pt>
                <c:pt idx="20">
                  <c:v>0.14584607855132753</c:v>
                </c:pt>
                <c:pt idx="21">
                  <c:v>0.14382130805077936</c:v>
                </c:pt>
                <c:pt idx="22">
                  <c:v>0.14724121481952615</c:v>
                </c:pt>
                <c:pt idx="23">
                  <c:v>0.1690320523042577</c:v>
                </c:pt>
                <c:pt idx="24">
                  <c:v>0.16956521739130434</c:v>
                </c:pt>
                <c:pt idx="25">
                  <c:v>0.15811023622047243</c:v>
                </c:pt>
                <c:pt idx="26">
                  <c:v>0.14969111357516238</c:v>
                </c:pt>
                <c:pt idx="27">
                  <c:v>0.14162224463333814</c:v>
                </c:pt>
                <c:pt idx="28">
                  <c:v>0.13396251146939311</c:v>
                </c:pt>
                <c:pt idx="29">
                  <c:v>0.13297451321829984</c:v>
                </c:pt>
                <c:pt idx="30">
                  <c:v>0.14792115289050853</c:v>
                </c:pt>
                <c:pt idx="31">
                  <c:v>0.13254147812971342</c:v>
                </c:pt>
                <c:pt idx="32">
                  <c:v>0.1279716742539201</c:v>
                </c:pt>
                <c:pt idx="33">
                  <c:v>0.14977383146255654</c:v>
                </c:pt>
                <c:pt idx="34">
                  <c:v>0.17450045413260673</c:v>
                </c:pt>
                <c:pt idx="35">
                  <c:v>0.18845963348192174</c:v>
                </c:pt>
                <c:pt idx="36">
                  <c:v>0.15489660554038237</c:v>
                </c:pt>
                <c:pt idx="37">
                  <c:v>0.15602594742232845</c:v>
                </c:pt>
                <c:pt idx="38">
                  <c:v>0.14591439688715954</c:v>
                </c:pt>
                <c:pt idx="39">
                  <c:v>0.17303051809794182</c:v>
                </c:pt>
                <c:pt idx="40">
                  <c:v>0.16149154421957304</c:v>
                </c:pt>
                <c:pt idx="41">
                  <c:v>0.17019628099173553</c:v>
                </c:pt>
                <c:pt idx="42">
                  <c:v>0.1579172610556348</c:v>
                </c:pt>
                <c:pt idx="43">
                  <c:v>0.16775396085740912</c:v>
                </c:pt>
                <c:pt idx="44">
                  <c:v>0.15995563896945914</c:v>
                </c:pt>
                <c:pt idx="45">
                  <c:v>0.16269083969465647</c:v>
                </c:pt>
                <c:pt idx="46">
                  <c:v>0.1665410069531708</c:v>
                </c:pt>
                <c:pt idx="47">
                  <c:v>0.16591639871382638</c:v>
                </c:pt>
                <c:pt idx="48">
                  <c:v>0.17167352537722907</c:v>
                </c:pt>
                <c:pt idx="49">
                  <c:v>0.18769338548660167</c:v>
                </c:pt>
                <c:pt idx="50">
                  <c:v>0.21326613199911706</c:v>
                </c:pt>
                <c:pt idx="51">
                  <c:v>0.191201050620821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87.964901925245</c:v>
                </c:pt>
              </c:numCache>
            </c:numRef>
          </c:xVal>
          <c:yVal>
            <c:numRef>
              <c:f>Sheet1!$B$163:$B$164</c:f>
              <c:numCache>
                <c:formatCode>General</c:formatCode>
                <c:ptCount val="2"/>
                <c:pt idx="0">
                  <c:v>0.20763467349873543</c:v>
                </c:pt>
                <c:pt idx="1">
                  <c:v>0.2076346734987354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87.964901925245</c:v>
                </c:pt>
                <c:pt idx="1">
                  <c:v>887.964901925245</c:v>
                </c:pt>
              </c:numCache>
            </c:numRef>
          </c:xVal>
          <c:yVal>
            <c:numRef>
              <c:f>Sheet1!$B$167:$B$168</c:f>
              <c:numCache>
                <c:formatCode>General</c:formatCode>
                <c:ptCount val="2"/>
                <c:pt idx="0">
                  <c:v>0.207634673498735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07.7118410253604</c:v>
                </c:pt>
              </c:numCache>
            </c:numRef>
          </c:xVal>
          <c:yVal>
            <c:numRef>
              <c:f>Sheet1!$B$171:$B$172</c:f>
              <c:numCache>
                <c:formatCode>General</c:formatCode>
                <c:ptCount val="2"/>
                <c:pt idx="0">
                  <c:v>0.1909585233709423</c:v>
                </c:pt>
                <c:pt idx="1">
                  <c:v>0.190958523370942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07.7118410253604</c:v>
                </c:pt>
                <c:pt idx="1">
                  <c:v>1007.7118410253604</c:v>
                </c:pt>
              </c:numCache>
            </c:numRef>
          </c:xVal>
          <c:yVal>
            <c:numRef>
              <c:f>Sheet1!$B$175:$B$176</c:f>
              <c:numCache>
                <c:formatCode>General</c:formatCode>
                <c:ptCount val="2"/>
                <c:pt idx="0">
                  <c:v>0.190958523370942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36.4862337843756</c:v>
                </c:pt>
              </c:numCache>
            </c:numRef>
          </c:xVal>
          <c:yVal>
            <c:numRef>
              <c:f>Sheet1!$B$179:$B$180</c:f>
              <c:numCache>
                <c:formatCode>General</c:formatCode>
                <c:ptCount val="2"/>
                <c:pt idx="0">
                  <c:v>0.1730251956182443</c:v>
                </c:pt>
                <c:pt idx="1">
                  <c:v>0.1730251956182443</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36.4862337843756</c:v>
                </c:pt>
                <c:pt idx="1">
                  <c:v>1136.4862337843756</c:v>
                </c:pt>
              </c:numCache>
            </c:numRef>
          </c:xVal>
          <c:yVal>
            <c:numRef>
              <c:f>Sheet1!$B$183:$B$184</c:f>
              <c:numCache>
                <c:formatCode>General</c:formatCode>
                <c:ptCount val="2"/>
                <c:pt idx="0">
                  <c:v>0.173025195618244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37.5788</c:v>
                </c:pt>
                <c:pt idx="1">
                  <c:v>1241.7033</c:v>
                </c:pt>
                <c:pt idx="2">
                  <c:v>1269.042</c:v>
                </c:pt>
                <c:pt idx="3">
                  <c:v>1287.1211</c:v>
                </c:pt>
                <c:pt idx="4">
                  <c:v>1278.1937</c:v>
                </c:pt>
                <c:pt idx="5">
                  <c:v>1282.0273</c:v>
                </c:pt>
                <c:pt idx="6">
                  <c:v>1274.6663</c:v>
                </c:pt>
                <c:pt idx="7">
                  <c:v>1271.8084</c:v>
                </c:pt>
                <c:pt idx="8">
                  <c:v>1265.9886</c:v>
                </c:pt>
                <c:pt idx="9">
                  <c:v>1123.1292</c:v>
                </c:pt>
                <c:pt idx="10">
                  <c:v>1148.5366</c:v>
                </c:pt>
                <c:pt idx="11">
                  <c:v>1263.3856</c:v>
                </c:pt>
                <c:pt idx="12">
                  <c:v>1238.5731</c:v>
                </c:pt>
                <c:pt idx="13">
                  <c:v>1148.1709</c:v>
                </c:pt>
                <c:pt idx="14">
                  <c:v>1251.5951</c:v>
                </c:pt>
                <c:pt idx="15">
                  <c:v>1186.8718</c:v>
                </c:pt>
                <c:pt idx="16">
                  <c:v>1267.9952</c:v>
                </c:pt>
                <c:pt idx="17">
                  <c:v>1285.5505</c:v>
                </c:pt>
                <c:pt idx="18">
                  <c:v>1321.6302</c:v>
                </c:pt>
                <c:pt idx="19">
                  <c:v>1302.7162</c:v>
                </c:pt>
                <c:pt idx="20">
                  <c:v>1240.0478</c:v>
                </c:pt>
                <c:pt idx="21">
                  <c:v>1251.4536</c:v>
                </c:pt>
                <c:pt idx="22">
                  <c:v>1239.9622</c:v>
                </c:pt>
                <c:pt idx="23">
                  <c:v>1156.3292</c:v>
                </c:pt>
                <c:pt idx="24">
                  <c:v>1141.9894</c:v>
                </c:pt>
                <c:pt idx="25">
                  <c:v>1189.5876</c:v>
                </c:pt>
                <c:pt idx="26">
                  <c:v>1226.3852</c:v>
                </c:pt>
                <c:pt idx="27">
                  <c:v>1275.3042</c:v>
                </c:pt>
                <c:pt idx="28">
                  <c:v>1320.9276</c:v>
                </c:pt>
                <c:pt idx="29">
                  <c:v>1307.5571</c:v>
                </c:pt>
                <c:pt idx="30">
                  <c:v>1305.5342</c:v>
                </c:pt>
                <c:pt idx="31">
                  <c:v>1302.1792</c:v>
                </c:pt>
                <c:pt idx="32">
                  <c:v>1300.668</c:v>
                </c:pt>
                <c:pt idx="33">
                  <c:v>1308.3848</c:v>
                </c:pt>
                <c:pt idx="34">
                  <c:v>1307.6936</c:v>
                </c:pt>
                <c:pt idx="35">
                  <c:v>1297.1465</c:v>
                </c:pt>
                <c:pt idx="36">
                  <c:v>1293.6675</c:v>
                </c:pt>
                <c:pt idx="37">
                  <c:v>1292.8031</c:v>
                </c:pt>
                <c:pt idx="38">
                  <c:v>1290.5053</c:v>
                </c:pt>
                <c:pt idx="39">
                  <c:v>1306.224</c:v>
                </c:pt>
                <c:pt idx="40">
                  <c:v>1307.6326</c:v>
                </c:pt>
                <c:pt idx="41">
                  <c:v>1301.1517</c:v>
                </c:pt>
                <c:pt idx="42">
                  <c:v>1306.3297</c:v>
                </c:pt>
                <c:pt idx="43">
                  <c:v>1288.6247</c:v>
                </c:pt>
                <c:pt idx="44">
                  <c:v>1238.5819</c:v>
                </c:pt>
                <c:pt idx="45">
                  <c:v>1248.5237</c:v>
                </c:pt>
                <c:pt idx="46">
                  <c:v>1248.6564</c:v>
                </c:pt>
                <c:pt idx="47">
                  <c:v>1244.7582</c:v>
                </c:pt>
                <c:pt idx="48">
                  <c:v>1177.1123</c:v>
                </c:pt>
                <c:pt idx="49">
                  <c:v>1149.897</c:v>
                </c:pt>
                <c:pt idx="50">
                  <c:v>1111.9998</c:v>
                </c:pt>
                <c:pt idx="51">
                  <c:v>1135.3556</c:v>
                </c:pt>
                <c:pt idx="52">
                  <c:v>1007.7118410253604</c:v>
                </c:pt>
                <c:pt idx="53">
                  <c:v>887.964901925245</c:v>
                </c:pt>
                <c:pt idx="54">
                  <c:v>1136.4862337843756</c:v>
                </c:pt>
              </c:numCache>
            </c:numRef>
          </c:xVal>
          <c:yVal>
            <c:numRef>
              <c:f>Sheet1!$B$187:$B$241</c:f>
              <c:numCache>
                <c:formatCode>General</c:formatCode>
                <c:ptCount val="55"/>
                <c:pt idx="0">
                  <c:v>0.15894688327319</c:v>
                </c:pt>
                <c:pt idx="1">
                  <c:v>0.15837249881109886</c:v>
                </c:pt>
                <c:pt idx="2">
                  <c:v>0.15456526775429885</c:v>
                </c:pt>
                <c:pt idx="3">
                  <c:v>0.1520475433928993</c:v>
                </c:pt>
                <c:pt idx="4">
                  <c:v>0.15329078738535237</c:v>
                </c:pt>
                <c:pt idx="5">
                  <c:v>0.15275691412219983</c:v>
                </c:pt>
                <c:pt idx="6">
                  <c:v>0.15378201874711267</c:v>
                </c:pt>
                <c:pt idx="7">
                  <c:v>0.15418001446882693</c:v>
                </c:pt>
                <c:pt idx="8">
                  <c:v>0.15499048911847613</c:v>
                </c:pt>
                <c:pt idx="9">
                  <c:v>0.1748853174912888</c:v>
                </c:pt>
                <c:pt idx="10">
                  <c:v>0.17134704235924011</c:v>
                </c:pt>
                <c:pt idx="11">
                  <c:v>0.15535298705878967</c:v>
                </c:pt>
                <c:pt idx="12">
                  <c:v>0.15880841546602373</c:v>
                </c:pt>
                <c:pt idx="13">
                  <c:v>0.17139797032572976</c:v>
                </c:pt>
                <c:pt idx="14">
                  <c:v>0.15699495093326798</c:v>
                </c:pt>
                <c:pt idx="15">
                  <c:v>0.16600842113699327</c:v>
                </c:pt>
                <c:pt idx="16">
                  <c:v>0.1547110467953746</c:v>
                </c:pt>
                <c:pt idx="17">
                  <c:v>0.15226626765915227</c:v>
                </c:pt>
                <c:pt idx="18">
                  <c:v>0.14724175097181794</c:v>
                </c:pt>
                <c:pt idx="19">
                  <c:v>0.14987574484161845</c:v>
                </c:pt>
                <c:pt idx="20">
                  <c:v>0.15860304638704548</c:v>
                </c:pt>
                <c:pt idx="21">
                  <c:v>0.1570146564494241</c:v>
                </c:pt>
                <c:pt idx="22">
                  <c:v>0.15861496717985796</c:v>
                </c:pt>
                <c:pt idx="23">
                  <c:v>0.17026183242851115</c:v>
                </c:pt>
                <c:pt idx="24">
                  <c:v>0.1722588158954756</c:v>
                </c:pt>
                <c:pt idx="25">
                  <c:v>0.1656302144883941</c:v>
                </c:pt>
                <c:pt idx="26">
                  <c:v>0.16050572189965712</c:v>
                </c:pt>
                <c:pt idx="27">
                  <c:v>0.15369318377357213</c:v>
                </c:pt>
                <c:pt idx="28">
                  <c:v>0.14733959617076697</c:v>
                </c:pt>
                <c:pt idx="29">
                  <c:v>0.14920159337052208</c:v>
                </c:pt>
                <c:pt idx="30">
                  <c:v>0.14948330565767545</c:v>
                </c:pt>
                <c:pt idx="31">
                  <c:v>0.14995052831989292</c:v>
                </c:pt>
                <c:pt idx="32">
                  <c:v>0.15016098044720827</c:v>
                </c:pt>
                <c:pt idx="33">
                  <c:v>0.14908632654562864</c:v>
                </c:pt>
                <c:pt idx="34">
                  <c:v>0.14918258416235733</c:v>
                </c:pt>
                <c:pt idx="35">
                  <c:v>0.15065139016553872</c:v>
                </c:pt>
                <c:pt idx="36">
                  <c:v>0.15113588126594246</c:v>
                </c:pt>
                <c:pt idx="37">
                  <c:v>0.1512562589914926</c:v>
                </c:pt>
                <c:pt idx="38">
                  <c:v>0.1515762542920122</c:v>
                </c:pt>
                <c:pt idx="39">
                  <c:v>0.1493872430071844</c:v>
                </c:pt>
                <c:pt idx="40">
                  <c:v>0.14919107911985222</c:v>
                </c:pt>
                <c:pt idx="41">
                  <c:v>0.15009361961212198</c:v>
                </c:pt>
                <c:pt idx="42">
                  <c:v>0.14937252305624657</c:v>
                </c:pt>
                <c:pt idx="43">
                  <c:v>0.15183814965373085</c:v>
                </c:pt>
                <c:pt idx="44">
                  <c:v>0.15880718996395893</c:v>
                </c:pt>
                <c:pt idx="45">
                  <c:v>0.15742267900621423</c:v>
                </c:pt>
                <c:pt idx="46">
                  <c:v>0.15740419899212293</c:v>
                </c:pt>
                <c:pt idx="47">
                  <c:v>0.15794706855452417</c:v>
                </c:pt>
                <c:pt idx="48">
                  <c:v>0.16736754470537213</c:v>
                </c:pt>
                <c:pt idx="49">
                  <c:v>0.17115759088094484</c:v>
                </c:pt>
                <c:pt idx="50">
                  <c:v>0.1764352155231466</c:v>
                </c:pt>
                <c:pt idx="51">
                  <c:v>0.17318264948612178</c:v>
                </c:pt>
                <c:pt idx="52">
                  <c:v>0.1909585233709423</c:v>
                </c:pt>
                <c:pt idx="53">
                  <c:v>0.20763467349873543</c:v>
                </c:pt>
                <c:pt idx="54">
                  <c:v>0.173025195618244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86.0"/>
          <c:min val="63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805270863836015"/>
          <c:min val="0.1009047365620010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2</c:f>
              <c:numCache>
                <c:formatCode>General</c:formatCode>
                <c:ptCount val="11"/>
                <c:pt idx="0">
                  <c:v>824.6456</c:v>
                </c:pt>
                <c:pt idx="1">
                  <c:v>817.4374</c:v>
                </c:pt>
                <c:pt idx="2">
                  <c:v>655.5125</c:v>
                </c:pt>
                <c:pt idx="3">
                  <c:v>1068.4902</c:v>
                </c:pt>
                <c:pt idx="4">
                  <c:v>1091.6089</c:v>
                </c:pt>
                <c:pt idx="5">
                  <c:v>1092.0115</c:v>
                </c:pt>
                <c:pt idx="6">
                  <c:v>1101.5473</c:v>
                </c:pt>
                <c:pt idx="7">
                  <c:v>1085.2115</c:v>
                </c:pt>
                <c:pt idx="8">
                  <c:v>1109.8081</c:v>
                </c:pt>
                <c:pt idx="9">
                  <c:v>1186.9894</c:v>
                </c:pt>
                <c:pt idx="10">
                  <c:v>926.4959</c:v>
                </c:pt>
              </c:numCache>
            </c:numRef>
          </c:xVal>
          <c:yVal>
            <c:numRef>
              <c:f>Sheet1!$B$2:$B$12</c:f>
              <c:numCache>
                <c:formatCode>General</c:formatCode>
                <c:ptCount val="11"/>
                <c:pt idx="0">
                  <c:v>1.0</c:v>
                </c:pt>
                <c:pt idx="1">
                  <c:v>0.9956236323851203</c:v>
                </c:pt>
                <c:pt idx="2">
                  <c:v>0.995850622406639</c:v>
                </c:pt>
                <c:pt idx="3">
                  <c:v>0.9855072463768116</c:v>
                </c:pt>
                <c:pt idx="4">
                  <c:v>0.9835164835164835</c:v>
                </c:pt>
                <c:pt idx="5">
                  <c:v>0.9886363636363636</c:v>
                </c:pt>
                <c:pt idx="6">
                  <c:v>0.9866666666666667</c:v>
                </c:pt>
                <c:pt idx="7">
                  <c:v>0.9936305732484076</c:v>
                </c:pt>
                <c:pt idx="8">
                  <c:v>0.9828571428571429</c:v>
                </c:pt>
                <c:pt idx="9">
                  <c:v>0.9758620689655172</c:v>
                </c:pt>
                <c:pt idx="10">
                  <c:v>0.8326474622770919</c:v>
                </c:pt>
              </c:numCache>
            </c:numRef>
          </c:yVal>
          <c:smooth val="0"/>
          <c:extLst>
            <c:ext xmlns:c16="http://schemas.microsoft.com/office/drawing/2014/chart" uri="{C3380CC4-5D6E-409C-BE32-E72D297353CC}">
              <c16:uniqueId val="{00000000-F32D-48B7-BC20-E66FC6253BAD}"/>
            </c:ext>
          </c:extLst>
        </c:ser>
        <c:ser>
          <c:idx val="1"/>
          <c:order val="1"/>
          <c:tx>
            <c:strRef>
              <c:f>Sheet1!$B$1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5:$A$17</c:f>
              <c:numCache>
                <c:formatCode>General</c:formatCode>
                <c:ptCount val="3"/>
                <c:pt idx="0">
                  <c:v>1425.4231</c:v>
                </c:pt>
                <c:pt idx="1">
                  <c:v>1226.9225</c:v>
                </c:pt>
                <c:pt idx="2">
                  <c:v>1104.6741</c:v>
                </c:pt>
              </c:numCache>
            </c:numRef>
          </c:xVal>
          <c:yVal>
            <c:numRef>
              <c:f>Sheet1!$B$15:$B$17</c:f>
              <c:numCache>
                <c:formatCode>General</c:formatCode>
                <c:ptCount val="3"/>
                <c:pt idx="0">
                  <c:v>0.5064935064935064</c:v>
                </c:pt>
                <c:pt idx="1">
                  <c:v>0.6635514018691588</c:v>
                </c:pt>
                <c:pt idx="2">
                  <c:v>0.6923076923076923</c:v>
                </c:pt>
              </c:numCache>
            </c:numRef>
          </c:yVal>
          <c:smooth val="0"/>
          <c:extLst>
            <c:ext xmlns:c16="http://schemas.microsoft.com/office/drawing/2014/chart" uri="{C3380CC4-5D6E-409C-BE32-E72D297353CC}">
              <c16:uniqueId val="{00000002-F32D-48B7-BC20-E66FC6253BAD}"/>
            </c:ext>
          </c:extLst>
        </c:ser>
        <c:ser>
          <c:idx val="2"/>
          <c:order val="2"/>
          <c:tx>
            <c:strRef>
              <c:f>Sheet1!$B$19</c:f>
              <c:strCache>
                <c:ptCount val="1"/>
                <c:pt idx="0">
                  <c:v>Custom Linep3yQ</c:v>
                </c:pt>
              </c:strCache>
            </c:strRef>
          </c:tx>
          <c:spPr>
            <a:ln w="19050" cap="rnd">
              <a:solidFill>
                <a:srgbClr val="C00000"/>
              </a:solidFill>
              <a:prstDash val="sysDot"/>
              <a:round/>
            </a:ln>
            <a:effectLst/>
          </c:spPr>
          <c:marker>
            <c:symbol val="none"/>
          </c:marker>
          <c:xVal>
            <c:numRef>
              <c:f>Sheet1!$A$20:$A$21</c:f>
              <c:numCache>
                <c:formatCode>General</c:formatCode>
                <c:ptCount val="2"/>
                <c:pt idx="0">
                  <c:v>0</c:v>
                </c:pt>
                <c:pt idx="1">
                  <c:v>623.6604022692042</c:v>
                </c:pt>
              </c:numCache>
            </c:numRef>
          </c:xVal>
          <c:yVal>
            <c:numRef>
              <c:f>Sheet1!$B$20:$B$21</c:f>
              <c:numCache>
                <c:formatCode>General</c:formatCode>
                <c:ptCount val="2"/>
                <c:pt idx="0">
                  <c:v>0.9978118161925602</c:v>
                </c:pt>
                <c:pt idx="1">
                  <c:v>0.9978118161925602</c:v>
                </c:pt>
              </c:numCache>
            </c:numRef>
          </c:yVal>
          <c:smooth val="0"/>
          <c:extLst>
            <c:ext xmlns:c16="http://schemas.microsoft.com/office/drawing/2014/chart" uri="{C3380CC4-5D6E-409C-BE32-E72D297353CC}">
              <c16:uniqueId val="{00000003-F32D-48B7-BC20-E66FC6253BAD}"/>
            </c:ext>
          </c:extLst>
        </c:ser>
        <c:ser>
          <c:idx val="3"/>
          <c:order val="3"/>
          <c:tx>
            <c:strRef>
              <c:f>Sheet1!$B$2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4:$A$25</c:f>
              <c:numCache>
                <c:formatCode>General</c:formatCode>
                <c:ptCount val="2"/>
                <c:pt idx="0">
                  <c:v>623.6604022692042</c:v>
                </c:pt>
                <c:pt idx="1">
                  <c:v>623.6604022692042</c:v>
                </c:pt>
              </c:numCache>
            </c:numRef>
          </c:xVal>
          <c:yVal>
            <c:numRef>
              <c:f>Sheet1!$B$24:$B$25</c:f>
              <c:numCache>
                <c:formatCode>General</c:formatCode>
                <c:ptCount val="2"/>
                <c:pt idx="0">
                  <c:v>0.99781181619256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8:$A$29</c:f>
              <c:numCache>
                <c:formatCode>General</c:formatCode>
                <c:ptCount val="2"/>
                <c:pt idx="0">
                  <c:v>0</c:v>
                </c:pt>
                <c:pt idx="1">
                  <c:v>1252.3398999999993</c:v>
                </c:pt>
              </c:numCache>
            </c:numRef>
          </c:xVal>
          <c:yVal>
            <c:numRef>
              <c:f>Sheet1!$B$28:$B$29</c:f>
              <c:numCache>
                <c:formatCode>General</c:formatCode>
                <c:ptCount val="2"/>
                <c:pt idx="0">
                  <c:v>0.6207842002234525</c:v>
                </c:pt>
                <c:pt idx="1">
                  <c:v>0.6207842002234525</c:v>
                </c:pt>
              </c:numCache>
            </c:numRef>
          </c:yVal>
          <c:smooth val="0"/>
          <c:extLst>
            <c:ext xmlns:c16="http://schemas.microsoft.com/office/drawing/2014/chart" uri="{C3380CC4-5D6E-409C-BE32-E72D297353CC}">
              <c16:uniqueId val="{0000000A-F32D-48B7-BC20-E66FC6253BAD}"/>
            </c:ext>
          </c:extLst>
        </c:ser>
        <c:ser>
          <c:idx val="5"/>
          <c:order val="5"/>
          <c:tx>
            <c:strRef>
              <c:f>Sheet1!$B$3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2:$A$33</c:f>
              <c:numCache>
                <c:formatCode>General</c:formatCode>
                <c:ptCount val="2"/>
                <c:pt idx="0">
                  <c:v>1252.3398999999993</c:v>
                </c:pt>
                <c:pt idx="1">
                  <c:v>1252.3398999999993</c:v>
                </c:pt>
              </c:numCache>
            </c:numRef>
          </c:xVal>
          <c:yVal>
            <c:numRef>
              <c:f>Sheet1!$B$32:$B$33</c:f>
              <c:numCache>
                <c:formatCode>General</c:formatCode>
                <c:ptCount val="2"/>
                <c:pt idx="0">
                  <c:v>0.620784200223452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5</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6:$A$41</c:f>
              <c:numCache>
                <c:formatCode>General</c:formatCode>
                <c:ptCount val="6"/>
                <c:pt idx="0">
                  <c:v>1425.4231</c:v>
                </c:pt>
                <c:pt idx="1">
                  <c:v>1226.9225</c:v>
                </c:pt>
                <c:pt idx="2">
                  <c:v>1104.6741</c:v>
                </c:pt>
                <c:pt idx="3">
                  <c:v>1252.3398999999993</c:v>
                </c:pt>
                <c:pt idx="4">
                  <c:v>623.6604022692042</c:v>
                </c:pt>
                <c:pt idx="5">
                  <c:v>0</c:v>
                </c:pt>
              </c:numCache>
            </c:numRef>
          </c:xVal>
          <c:yVal>
            <c:numRef>
              <c:f>Sheet1!$B$36:$B$41</c:f>
              <c:numCache>
                <c:formatCode>General</c:formatCode>
                <c:ptCount val="6"/>
                <c:pt idx="0">
                  <c:v>0.5169838591977808</c:v>
                </c:pt>
                <c:pt idx="1">
                  <c:v>0.6360273595132381</c:v>
                </c:pt>
                <c:pt idx="2">
                  <c:v>0.7093413819593373</c:v>
                </c:pt>
                <c:pt idx="3">
                  <c:v>0.6207842002234525</c:v>
                </c:pt>
                <c:pt idx="4">
                  <c:v>0.9978118161925602</c:v>
                </c:pt>
                <c:pt idx="5">
                  <c:v>1.3718294125840687</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1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4051948051948051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357929317269076</c:v>
                </c:pt>
                <c:pt idx="1">
                  <c:v>1.0212607429718876</c:v>
                </c:pt>
                <c:pt idx="2">
                  <c:v>0.8154153413654618</c:v>
                </c:pt>
                <c:pt idx="3">
                  <c:v>0.817048231511254</c:v>
                </c:pt>
                <c:pt idx="4">
                  <c:v>0.6769258539852646</c:v>
                </c:pt>
                <c:pt idx="5">
                  <c:v>0.0</c:v>
                </c:pt>
                <c:pt idx="6">
                  <c:v>0.7720670418006431</c:v>
                </c:pt>
                <c:pt idx="7">
                  <c:v>0.6329886805090422</c:v>
                </c:pt>
                <c:pt idx="8">
                  <c:v>0.7031902848794741</c:v>
                </c:pt>
                <c:pt idx="9">
                  <c:v>0.9155136954966959</c:v>
                </c:pt>
                <c:pt idx="10">
                  <c:v>0.7977648214285714</c:v>
                </c:pt>
                <c:pt idx="11">
                  <c:v>0.8989564038171773</c:v>
                </c:pt>
                <c:pt idx="12">
                  <c:v>0.5986881446751507</c:v>
                </c:pt>
                <c:pt idx="13">
                  <c:v>0.6309479571332887</c:v>
                </c:pt>
                <c:pt idx="14">
                  <c:v>1.0280986934673366</c:v>
                </c:pt>
                <c:pt idx="15">
                  <c:v>0.6757951774949766</c:v>
                </c:pt>
                <c:pt idx="16">
                  <c:v>0.7384246895544193</c:v>
                </c:pt>
                <c:pt idx="17">
                  <c:v>0.8100384244372991</c:v>
                </c:pt>
                <c:pt idx="18">
                  <c:v>0.8334796623794213</c:v>
                </c:pt>
                <c:pt idx="19">
                  <c:v>0.8325792604501607</c:v>
                </c:pt>
                <c:pt idx="20">
                  <c:v>1.0911955778894473</c:v>
                </c:pt>
                <c:pt idx="21">
                  <c:v>0.871214308681672</c:v>
                </c:pt>
                <c:pt idx="22">
                  <c:v>0.8725863344051447</c:v>
                </c:pt>
                <c:pt idx="23">
                  <c:v>1.2423599311136624</c:v>
                </c:pt>
                <c:pt idx="24">
                  <c:v>0.0</c:v>
                </c:pt>
                <c:pt idx="25">
                  <c:v>0.8724944154278828</c:v>
                </c:pt>
                <c:pt idx="26">
                  <c:v>1.085994974874372</c:v>
                </c:pt>
                <c:pt idx="27">
                  <c:v>1.0763273366834172</c:v>
                </c:pt>
                <c:pt idx="28">
                  <c:v>1.057067638190955</c:v>
                </c:pt>
                <c:pt idx="29">
                  <c:v>1.2615278575531306</c:v>
                </c:pt>
                <c:pt idx="30">
                  <c:v>1.2653042528735632</c:v>
                </c:pt>
                <c:pt idx="31">
                  <c:v>1.264145172413793</c:v>
                </c:pt>
                <c:pt idx="32">
                  <c:v>1.0148132430325878</c:v>
                </c:pt>
                <c:pt idx="33">
                  <c:v>0.7366125419181757</c:v>
                </c:pt>
                <c:pt idx="34">
                  <c:v>1.0969986921529176</c:v>
                </c:pt>
                <c:pt idx="35">
                  <c:v>1.4775417449664432</c:v>
                </c:pt>
                <c:pt idx="36">
                  <c:v>0.8871609657947686</c:v>
                </c:pt>
                <c:pt idx="37">
                  <c:v>1.1114741448692154</c:v>
                </c:pt>
                <c:pt idx="38">
                  <c:v>1.1190985915492957</c:v>
                </c:pt>
                <c:pt idx="39">
                  <c:v>1.552761476510067</c:v>
                </c:pt>
                <c:pt idx="40">
                  <c:v>1.6345085906040269</c:v>
                </c:pt>
                <c:pt idx="41">
                  <c:v>0.0</c:v>
                </c:pt>
                <c:pt idx="42">
                  <c:v>1.4114133333333332</c:v>
                </c:pt>
                <c:pt idx="43">
                  <c:v>0.9446544896994093</c:v>
                </c:pt>
                <c:pt idx="44">
                  <c:v>0.8409121395036888</c:v>
                </c:pt>
                <c:pt idx="45">
                  <c:v>1.2548292756539237</c:v>
                </c:pt>
                <c:pt idx="46">
                  <c:v>1.5917214765100671</c:v>
                </c:pt>
                <c:pt idx="47">
                  <c:v>1.0982844696969696</c:v>
                </c:pt>
                <c:pt idx="48">
                  <c:v>0.9613865254237287</c:v>
                </c:pt>
                <c:pt idx="49">
                  <c:v>0.7587533845590925</c:v>
                </c:pt>
                <c:pt idx="50">
                  <c:v>1.0749071837217175</c:v>
                </c:pt>
                <c:pt idx="51">
                  <c:v>0.7094830872483221</c:v>
                </c:pt>
                <c:pt idx="52">
                  <c:v>0.7010430201342283</c:v>
                </c:pt>
                <c:pt idx="53">
                  <c:v>1.1493108724832215</c:v>
                </c:pt>
                <c:pt idx="54">
                  <c:v>1.1538670246085012</c:v>
                </c:pt>
                <c:pt idx="55">
                  <c:v>1.1473680536912751</c:v>
                </c:pt>
                <c:pt idx="56">
                  <c:v>0.9647833677709268</c:v>
                </c:pt>
                <c:pt idx="57">
                  <c:v>1.0404421900161032</c:v>
                </c:pt>
                <c:pt idx="58">
                  <c:v>1.109807161345988</c:v>
                </c:pt>
                <c:pt idx="59">
                  <c:v>1.4926418631397356</c:v>
                </c:pt>
                <c:pt idx="60">
                  <c:v>0.9578072447859495</c:v>
                </c:pt>
                <c:pt idx="61">
                  <c:v>1.2266724710619024</c:v>
                </c:pt>
                <c:pt idx="62">
                  <c:v>1.263034847613571</c:v>
                </c:pt>
                <c:pt idx="63">
                  <c:v>0.8210614709110866</c:v>
                </c:pt>
                <c:pt idx="64">
                  <c:v>1.2907288096607246</c:v>
                </c:pt>
                <c:pt idx="65">
                  <c:v>0.9022690293999194</c:v>
                </c:pt>
                <c:pt idx="66">
                  <c:v>1.0835211530309454</c:v>
                </c:pt>
                <c:pt idx="67">
                  <c:v>1.0399774557165862</c:v>
                </c:pt>
                <c:pt idx="68">
                  <c:v>1.28490760533688</c:v>
                </c:pt>
                <c:pt idx="69">
                  <c:v>0.8897184377199155</c:v>
                </c:pt>
                <c:pt idx="70">
                  <c:v>1.0268537037037038</c:v>
                </c:pt>
                <c:pt idx="71">
                  <c:v>1.2667813883299797</c:v>
                </c:pt>
                <c:pt idx="72">
                  <c:v>1.2163052924791087</c:v>
                </c:pt>
                <c:pt idx="73">
                  <c:v>1.026527835880933</c:v>
                </c:pt>
                <c:pt idx="74">
                  <c:v>1.3065677062374246</c:v>
                </c:pt>
                <c:pt idx="75">
                  <c:v>1.2847896378269617</c:v>
                </c:pt>
                <c:pt idx="76">
                  <c:v>1.1248090054238697</c:v>
                </c:pt>
                <c:pt idx="77">
                  <c:v>0.9092992977025843</c:v>
                </c:pt>
                <c:pt idx="78">
                  <c:v>1.2320808660624372</c:v>
                </c:pt>
                <c:pt idx="79">
                  <c:v>1.0442951229343007</c:v>
                </c:pt>
                <c:pt idx="80">
                  <c:v>1.0882213457061476</c:v>
                </c:pt>
                <c:pt idx="81">
                  <c:v>1.168322815907915</c:v>
                </c:pt>
                <c:pt idx="82">
                  <c:v>1.0772087956425258</c:v>
                </c:pt>
                <c:pt idx="83">
                  <c:v>1.024310221496461</c:v>
                </c:pt>
                <c:pt idx="84">
                  <c:v>1.3396411729595836</c:v>
                </c:pt>
                <c:pt idx="85">
                  <c:v>1.1034452342487884</c:v>
                </c:pt>
                <c:pt idx="86">
                  <c:v>1.142713240242261</c:v>
                </c:pt>
                <c:pt idx="87">
                  <c:v>1.29301019034801</c:v>
                </c:pt>
                <c:pt idx="88">
                  <c:v>1.1437774692916036</c:v>
                </c:pt>
                <c:pt idx="89">
                  <c:v>1.2639949748017703</c:v>
                </c:pt>
                <c:pt idx="90">
                  <c:v>1.103661898989899</c:v>
                </c:pt>
                <c:pt idx="91">
                  <c:v>1.066017292929293</c:v>
                </c:pt>
                <c:pt idx="92">
                  <c:v>1.1846753303483675</c:v>
                </c:pt>
                <c:pt idx="93">
                  <c:v>1.5819136258660509</c:v>
                </c:pt>
                <c:pt idx="94">
                  <c:v>1.1942417316017317</c:v>
                </c:pt>
                <c:pt idx="95">
                  <c:v>1.2260468686868689</c:v>
                </c:pt>
                <c:pt idx="96">
                  <c:v>1.1569297169431392</c:v>
                </c:pt>
                <c:pt idx="97">
                  <c:v>1.1727111890837716</c:v>
                </c:pt>
                <c:pt idx="98">
                  <c:v>1.1383538549102146</c:v>
                </c:pt>
                <c:pt idx="99">
                  <c:v>1.0105229402703422</c:v>
                </c:pt>
                <c:pt idx="100">
                  <c:v>0.9245552778032441</c:v>
                </c:pt>
                <c:pt idx="101">
                  <c:v>1.0728273183363004</c:v>
                </c:pt>
                <c:pt idx="102">
                  <c:v>1.2361167133520075</c:v>
                </c:pt>
                <c:pt idx="103">
                  <c:v>0.9979122588782808</c:v>
                </c:pt>
                <c:pt idx="104">
                  <c:v>0.9416119119878603</c:v>
                </c:pt>
              </c:numCache>
            </c:numRef>
          </c:xVal>
          <c:yVal>
            <c:numRef>
              <c:f>Sheet1!$B$2:$B$106</c:f>
              <c:numCache>
                <c:formatCode>General</c:formatCode>
                <c:ptCount val="105"/>
                <c:pt idx="0">
                  <c:v>0.7151335311572701</c:v>
                </c:pt>
                <c:pt idx="1">
                  <c:v>0.6835871404399323</c:v>
                </c:pt>
                <c:pt idx="2">
                  <c:v>0.700162074554295</c:v>
                </c:pt>
                <c:pt idx="3">
                  <c:v>0.7046875</c:v>
                </c:pt>
                <c:pt idx="4">
                  <c:v>0.7234401349072512</c:v>
                </c:pt>
                <c:pt idx="5">
                  <c:v>0.7079107505070994</c:v>
                </c:pt>
                <c:pt idx="6">
                  <c:v>0.7526132404181185</c:v>
                </c:pt>
                <c:pt idx="7">
                  <c:v>0.7485380116959064</c:v>
                </c:pt>
                <c:pt idx="8">
                  <c:v>0.7410714285714286</c:v>
                </c:pt>
                <c:pt idx="9">
                  <c:v>0.7530647985989493</c:v>
                </c:pt>
                <c:pt idx="10">
                  <c:v>0.7555938037865749</c:v>
                </c:pt>
                <c:pt idx="11">
                  <c:v>0.7588532883642496</c:v>
                </c:pt>
                <c:pt idx="12">
                  <c:v>0.7830188679245284</c:v>
                </c:pt>
                <c:pt idx="13">
                  <c:v>0.7878151260504201</c:v>
                </c:pt>
                <c:pt idx="14">
                  <c:v>0.8052884615384616</c:v>
                </c:pt>
                <c:pt idx="15">
                  <c:v>0.7864864864864864</c:v>
                </c:pt>
                <c:pt idx="16">
                  <c:v>0.74375</c:v>
                </c:pt>
                <c:pt idx="17">
                  <c:v>0.7321428571428571</c:v>
                </c:pt>
                <c:pt idx="18">
                  <c:v>0.6940639269406392</c:v>
                </c:pt>
                <c:pt idx="19">
                  <c:v>0.693069306930693</c:v>
                </c:pt>
                <c:pt idx="20">
                  <c:v>0.7507082152974505</c:v>
                </c:pt>
                <c:pt idx="21">
                  <c:v>0.75</c:v>
                </c:pt>
                <c:pt idx="22">
                  <c:v>0.7568627450980392</c:v>
                </c:pt>
                <c:pt idx="23">
                  <c:v>0.7385892116182573</c:v>
                </c:pt>
                <c:pt idx="24">
                  <c:v>0.7471264367816092</c:v>
                </c:pt>
                <c:pt idx="25">
                  <c:v>0.7280701754385965</c:v>
                </c:pt>
                <c:pt idx="26">
                  <c:v>0.7559322033898305</c:v>
                </c:pt>
                <c:pt idx="27">
                  <c:v>0.8138801261829653</c:v>
                </c:pt>
                <c:pt idx="28">
                  <c:v>0.792332268370607</c:v>
                </c:pt>
                <c:pt idx="29">
                  <c:v>0.8184523809523809</c:v>
                </c:pt>
                <c:pt idx="30">
                  <c:v>0.8027681660899654</c:v>
                </c:pt>
                <c:pt idx="31">
                  <c:v>0.7549407114624506</c:v>
                </c:pt>
                <c:pt idx="32">
                  <c:v>0.7266187050359713</c:v>
                </c:pt>
                <c:pt idx="33">
                  <c:v>0.6888111888111889</c:v>
                </c:pt>
                <c:pt idx="34">
                  <c:v>0.7125</c:v>
                </c:pt>
                <c:pt idx="35">
                  <c:v>0.7910189982728842</c:v>
                </c:pt>
                <c:pt idx="36">
                  <c:v>0.7435294117647059</c:v>
                </c:pt>
                <c:pt idx="37">
                  <c:v>0.7361563517915309</c:v>
                </c:pt>
                <c:pt idx="38">
                  <c:v>0.75</c:v>
                </c:pt>
                <c:pt idx="39">
                  <c:v>0.7703180212014135</c:v>
                </c:pt>
                <c:pt idx="40">
                  <c:v>0.713855421686747</c:v>
                </c:pt>
                <c:pt idx="41">
                  <c:v>0.7254901960784313</c:v>
                </c:pt>
                <c:pt idx="42">
                  <c:v>0.7297297297297297</c:v>
                </c:pt>
                <c:pt idx="43">
                  <c:v>0.7284768211920529</c:v>
                </c:pt>
                <c:pt idx="44">
                  <c:v>0.7547169811320755</c:v>
                </c:pt>
                <c:pt idx="45">
                  <c:v>0.7132216014897579</c:v>
                </c:pt>
                <c:pt idx="46">
                  <c:v>0.7279151943462897</c:v>
                </c:pt>
                <c:pt idx="47">
                  <c:v>0.7251264755480608</c:v>
                </c:pt>
                <c:pt idx="48">
                  <c:v>0.7160161507402423</c:v>
                </c:pt>
                <c:pt idx="49">
                  <c:v>0.7612076852698993</c:v>
                </c:pt>
                <c:pt idx="50">
                  <c:v>0.749211356466877</c:v>
                </c:pt>
                <c:pt idx="51">
                  <c:v>0.7525252525252525</c:v>
                </c:pt>
                <c:pt idx="52">
                  <c:v>0.7628865979381443</c:v>
                </c:pt>
                <c:pt idx="53">
                  <c:v>0.7423076923076923</c:v>
                </c:pt>
                <c:pt idx="54">
                  <c:v>0.7683741648106904</c:v>
                </c:pt>
                <c:pt idx="55">
                  <c:v>0.7924944812362031</c:v>
                </c:pt>
                <c:pt idx="56">
                  <c:v>0.745417515274949</c:v>
                </c:pt>
                <c:pt idx="57">
                  <c:v>0.75</c:v>
                </c:pt>
                <c:pt idx="58">
                  <c:v>0.7392120075046904</c:v>
                </c:pt>
                <c:pt idx="59">
                  <c:v>0.7579617834394905</c:v>
                </c:pt>
                <c:pt idx="60">
                  <c:v>0.7556440903054449</c:v>
                </c:pt>
                <c:pt idx="61">
                  <c:v>0.7453625632377741</c:v>
                </c:pt>
                <c:pt idx="62">
                  <c:v>0.7603053435114504</c:v>
                </c:pt>
                <c:pt idx="63">
                  <c:v>0.7353361945636624</c:v>
                </c:pt>
                <c:pt idx="64">
                  <c:v>0.7433380084151473</c:v>
                </c:pt>
                <c:pt idx="65">
                  <c:v>0.7412095639943741</c:v>
                </c:pt>
                <c:pt idx="66">
                  <c:v>0.7487684729064039</c:v>
                </c:pt>
                <c:pt idx="67">
                  <c:v>0.7243697478991596</c:v>
                </c:pt>
                <c:pt idx="68">
                  <c:v>0.7182203389830508</c:v>
                </c:pt>
                <c:pt idx="69">
                  <c:v>0.720626631853786</c:v>
                </c:pt>
                <c:pt idx="70">
                  <c:v>0.7154471544715447</c:v>
                </c:pt>
                <c:pt idx="71">
                  <c:v>0.7114285714285714</c:v>
                </c:pt>
                <c:pt idx="72">
                  <c:v>0.7445255474452555</c:v>
                </c:pt>
                <c:pt idx="73">
                  <c:v>0.7518248175182481</c:v>
                </c:pt>
                <c:pt idx="74">
                  <c:v>0.7075208913649025</c:v>
                </c:pt>
                <c:pt idx="75">
                  <c:v>0.7366771159874608</c:v>
                </c:pt>
                <c:pt idx="76">
                  <c:v>0.7294117647058823</c:v>
                </c:pt>
                <c:pt idx="77">
                  <c:v>0.759375</c:v>
                </c:pt>
                <c:pt idx="78">
                  <c:v>0.7152777777777778</c:v>
                </c:pt>
                <c:pt idx="79">
                  <c:v>0.7176470588235294</c:v>
                </c:pt>
                <c:pt idx="80">
                  <c:v>0.708029197080292</c:v>
                </c:pt>
                <c:pt idx="81">
                  <c:v>0.7128712871287128</c:v>
                </c:pt>
                <c:pt idx="82">
                  <c:v>0.6952054794520548</c:v>
                </c:pt>
                <c:pt idx="83">
                  <c:v>0.69377990430622</c:v>
                </c:pt>
                <c:pt idx="84">
                  <c:v>0.7073170731707317</c:v>
                </c:pt>
                <c:pt idx="85">
                  <c:v>0.69</c:v>
                </c:pt>
                <c:pt idx="86">
                  <c:v>0.7043189368770764</c:v>
                </c:pt>
                <c:pt idx="87">
                  <c:v>0.6838235294117647</c:v>
                </c:pt>
                <c:pt idx="88">
                  <c:v>0.7060518731988472</c:v>
                </c:pt>
                <c:pt idx="89">
                  <c:v>0.6964980544747081</c:v>
                </c:pt>
                <c:pt idx="90">
                  <c:v>0.6904761904761905</c:v>
                </c:pt>
                <c:pt idx="91">
                  <c:v>0.6640316205533597</c:v>
                </c:pt>
                <c:pt idx="92">
                  <c:v>0.7015873015873015</c:v>
                </c:pt>
                <c:pt idx="93">
                  <c:v>0.7366548042704626</c:v>
                </c:pt>
                <c:pt idx="94">
                  <c:v>0.6897810218978102</c:v>
                </c:pt>
                <c:pt idx="95">
                  <c:v>0.7298578199052133</c:v>
                </c:pt>
                <c:pt idx="96">
                  <c:v>0.7213822894168467</c:v>
                </c:pt>
                <c:pt idx="97">
                  <c:v>0.7114093959731543</c:v>
                </c:pt>
                <c:pt idx="98">
                  <c:v>0.7097203728362184</c:v>
                </c:pt>
                <c:pt idx="99">
                  <c:v>0.7006451612903226</c:v>
                </c:pt>
                <c:pt idx="100">
                  <c:v>0.7355008787346221</c:v>
                </c:pt>
                <c:pt idx="101">
                  <c:v>0.7076923076923077</c:v>
                </c:pt>
                <c:pt idx="102">
                  <c:v>0.7011686143572621</c:v>
                </c:pt>
                <c:pt idx="103">
                  <c:v>0.7292307692307692</c:v>
                </c:pt>
                <c:pt idx="104">
                  <c:v>0.724957555178268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138292182747743</c:v>
                </c:pt>
                <c:pt idx="1">
                  <c:v>1.1776257972394097</c:v>
                </c:pt>
                <c:pt idx="2">
                  <c:v>1.0745096553949378</c:v>
                </c:pt>
                <c:pt idx="3">
                  <c:v>1.2249267702936097</c:v>
                </c:pt>
                <c:pt idx="4">
                  <c:v>1.3382934625255956</c:v>
                </c:pt>
                <c:pt idx="5">
                  <c:v>1.2290970168612192</c:v>
                </c:pt>
                <c:pt idx="6">
                  <c:v>1.564909782001118</c:v>
                </c:pt>
                <c:pt idx="7">
                  <c:v>1.815323148148148</c:v>
                </c:pt>
                <c:pt idx="8">
                  <c:v>1.0589637065637065</c:v>
                </c:pt>
                <c:pt idx="9">
                  <c:v>1.31273498349835</c:v>
                </c:pt>
                <c:pt idx="10">
                  <c:v>0.9669363525091799</c:v>
                </c:pt>
                <c:pt idx="11">
                  <c:v>1.229324125560538</c:v>
                </c:pt>
                <c:pt idx="12">
                  <c:v>1.1934090929653924</c:v>
                </c:pt>
                <c:pt idx="13">
                  <c:v>1.1037101828855274</c:v>
                </c:pt>
                <c:pt idx="14">
                  <c:v>1.3279477794045877</c:v>
                </c:pt>
                <c:pt idx="15">
                  <c:v>1.059509346476856</c:v>
                </c:pt>
                <c:pt idx="16">
                  <c:v>1.072223094867807</c:v>
                </c:pt>
                <c:pt idx="17">
                  <c:v>0.980831404375441</c:v>
                </c:pt>
                <c:pt idx="18">
                  <c:v>0.9462630759247241</c:v>
                </c:pt>
                <c:pt idx="19">
                  <c:v>1.042969257765024</c:v>
                </c:pt>
                <c:pt idx="20">
                  <c:v>0.8625384318766066</c:v>
                </c:pt>
                <c:pt idx="21">
                  <c:v>1.804244105960265</c:v>
                </c:pt>
                <c:pt idx="22">
                  <c:v>1.7043986111111111</c:v>
                </c:pt>
                <c:pt idx="23">
                  <c:v>0.8898164716678137</c:v>
                </c:pt>
                <c:pt idx="24">
                  <c:v>0.5596414426229508</c:v>
                </c:pt>
                <c:pt idx="25">
                  <c:v>0.7556438410074773</c:v>
                </c:pt>
                <c:pt idx="26">
                  <c:v>0.739352034261242</c:v>
                </c:pt>
                <c:pt idx="27">
                  <c:v>1.3280470261256252</c:v>
                </c:pt>
                <c:pt idx="28">
                  <c:v>1.0306182804027886</c:v>
                </c:pt>
                <c:pt idx="29">
                  <c:v>0.9215379556826305</c:v>
                </c:pt>
                <c:pt idx="30">
                  <c:v>1.0357269079464988</c:v>
                </c:pt>
                <c:pt idx="31">
                  <c:v>1.0243241379310346</c:v>
                </c:pt>
                <c:pt idx="32">
                  <c:v>0.9428759057333802</c:v>
                </c:pt>
                <c:pt idx="33">
                  <c:v>1.1372822539949536</c:v>
                </c:pt>
                <c:pt idx="34">
                  <c:v>1.08531611642899</c:v>
                </c:pt>
                <c:pt idx="35">
                  <c:v>1.2205019607843137</c:v>
                </c:pt>
                <c:pt idx="36">
                  <c:v>0.865734006265228</c:v>
                </c:pt>
                <c:pt idx="37">
                  <c:v>0.9478297903109183</c:v>
                </c:pt>
                <c:pt idx="38">
                  <c:v>0.8429254391672087</c:v>
                </c:pt>
                <c:pt idx="39">
                  <c:v>1.1126627285968604</c:v>
                </c:pt>
                <c:pt idx="40">
                  <c:v>1.2347585836654098</c:v>
                </c:pt>
                <c:pt idx="41">
                  <c:v>1.245045109526596</c:v>
                </c:pt>
                <c:pt idx="42">
                  <c:v>1.1154869228285438</c:v>
                </c:pt>
                <c:pt idx="43">
                  <c:v>1.0915059356027126</c:v>
                </c:pt>
                <c:pt idx="44">
                  <c:v>1.0886988374464615</c:v>
                </c:pt>
                <c:pt idx="45">
                  <c:v>1.1639497726780688</c:v>
                </c:pt>
                <c:pt idx="46">
                  <c:v>1.2567658016682115</c:v>
                </c:pt>
                <c:pt idx="47">
                  <c:v>1.136120156201871</c:v>
                </c:pt>
                <c:pt idx="48">
                  <c:v>1.1589807794039853</c:v>
                </c:pt>
                <c:pt idx="49">
                  <c:v>1.1554274022988504</c:v>
                </c:pt>
                <c:pt idx="50">
                  <c:v>1.0978002290950746</c:v>
                </c:pt>
                <c:pt idx="51">
                  <c:v>0.95640699844479</c:v>
                </c:pt>
              </c:numCache>
            </c:numRef>
          </c:xVal>
          <c:yVal>
            <c:numRef>
              <c:f>Sheet1!$B$109:$B$160</c:f>
              <c:numCache>
                <c:formatCode>General</c:formatCode>
                <c:ptCount val="52"/>
                <c:pt idx="0">
                  <c:v>0.7995337995337995</c:v>
                </c:pt>
                <c:pt idx="1">
                  <c:v>0.7838926174496644</c:v>
                </c:pt>
                <c:pt idx="2">
                  <c:v>0.7762982689747004</c:v>
                </c:pt>
                <c:pt idx="3">
                  <c:v>0.743046357615894</c:v>
                </c:pt>
                <c:pt idx="4">
                  <c:v>0.7642526964560863</c:v>
                </c:pt>
                <c:pt idx="5">
                  <c:v>0.7483221476510067</c:v>
                </c:pt>
                <c:pt idx="6">
                  <c:v>0.7203389830508474</c:v>
                </c:pt>
                <c:pt idx="7">
                  <c:v>0.75625</c:v>
                </c:pt>
                <c:pt idx="8">
                  <c:v>0.6908602150537635</c:v>
                </c:pt>
                <c:pt idx="9">
                  <c:v>0.6890951276102089</c:v>
                </c:pt>
                <c:pt idx="10">
                  <c:v>0.735655737704918</c:v>
                </c:pt>
                <c:pt idx="11">
                  <c:v>0.6853146853146853</c:v>
                </c:pt>
                <c:pt idx="12">
                  <c:v>0.6800699300699301</c:v>
                </c:pt>
                <c:pt idx="13">
                  <c:v>0.663093415007657</c:v>
                </c:pt>
                <c:pt idx="14">
                  <c:v>0.7361111111111112</c:v>
                </c:pt>
                <c:pt idx="15">
                  <c:v>0.756701030927835</c:v>
                </c:pt>
                <c:pt idx="16">
                  <c:v>0.7261306532663316</c:v>
                </c:pt>
                <c:pt idx="17">
                  <c:v>0.6938202247191011</c:v>
                </c:pt>
                <c:pt idx="18">
                  <c:v>0.7157534246575342</c:v>
                </c:pt>
                <c:pt idx="19">
                  <c:v>0.7336683417085427</c:v>
                </c:pt>
                <c:pt idx="20">
                  <c:v>0.7369942196531792</c:v>
                </c:pt>
                <c:pt idx="21">
                  <c:v>0.7322834645669292</c:v>
                </c:pt>
                <c:pt idx="22">
                  <c:v>0.7166666666666667</c:v>
                </c:pt>
                <c:pt idx="23">
                  <c:v>0.8223844282238443</c:v>
                </c:pt>
                <c:pt idx="24">
                  <c:v>0.8768898488120951</c:v>
                </c:pt>
                <c:pt idx="25">
                  <c:v>0.8502415458937198</c:v>
                </c:pt>
                <c:pt idx="26">
                  <c:v>0.8106666666666666</c:v>
                </c:pt>
                <c:pt idx="27">
                  <c:v>0.7545454545454545</c:v>
                </c:pt>
                <c:pt idx="28">
                  <c:v>0.7725856697819314</c:v>
                </c:pt>
                <c:pt idx="29">
                  <c:v>0.7364341085271318</c:v>
                </c:pt>
                <c:pt idx="30">
                  <c:v>0.7275985663082437</c:v>
                </c:pt>
                <c:pt idx="31">
                  <c:v>0.7209302325581395</c:v>
                </c:pt>
                <c:pt idx="32">
                  <c:v>0.7777777777777778</c:v>
                </c:pt>
                <c:pt idx="33">
                  <c:v>0.7172131147540983</c:v>
                </c:pt>
                <c:pt idx="34">
                  <c:v>0.7241379310344828</c:v>
                </c:pt>
                <c:pt idx="35">
                  <c:v>0.6970387243735763</c:v>
                </c:pt>
                <c:pt idx="36">
                  <c:v>0.75390625</c:v>
                </c:pt>
                <c:pt idx="37">
                  <c:v>0.7440273037542662</c:v>
                </c:pt>
                <c:pt idx="38">
                  <c:v>0.7619047619047619</c:v>
                </c:pt>
                <c:pt idx="39">
                  <c:v>0.695364238410596</c:v>
                </c:pt>
                <c:pt idx="40">
                  <c:v>0.7234726688102894</c:v>
                </c:pt>
                <c:pt idx="41">
                  <c:v>0.7077363896848138</c:v>
                </c:pt>
                <c:pt idx="42">
                  <c:v>0.7232704402515723</c:v>
                </c:pt>
                <c:pt idx="43">
                  <c:v>0.7466960352422908</c:v>
                </c:pt>
                <c:pt idx="44">
                  <c:v>0.7351247600767754</c:v>
                </c:pt>
                <c:pt idx="45">
                  <c:v>0.722473604826546</c:v>
                </c:pt>
                <c:pt idx="46">
                  <c:v>0.7343173431734318</c:v>
                </c:pt>
                <c:pt idx="47">
                  <c:v>0.7469244288224957</c:v>
                </c:pt>
                <c:pt idx="48">
                  <c:v>0.7588996763754046</c:v>
                </c:pt>
                <c:pt idx="49">
                  <c:v>0.7534246575342466</c:v>
                </c:pt>
                <c:pt idx="50">
                  <c:v>0.814540059347181</c:v>
                </c:pt>
                <c:pt idx="51">
                  <c:v>0.810062893081761</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5829155933785276</c:v>
                </c:pt>
              </c:numCache>
            </c:numRef>
          </c:xVal>
          <c:yVal>
            <c:numRef>
              <c:f>Sheet1!$B$163:$B$164</c:f>
              <c:numCache>
                <c:formatCode>General</c:formatCode>
                <c:ptCount val="2"/>
                <c:pt idx="0">
                  <c:v>0.7842318215846483</c:v>
                </c:pt>
                <c:pt idx="1">
                  <c:v>0.784231821584648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5829155933785276</c:v>
                </c:pt>
                <c:pt idx="1">
                  <c:v>0.5829155933785276</c:v>
                </c:pt>
              </c:numCache>
            </c:numRef>
          </c:xVal>
          <c:yVal>
            <c:numRef>
              <c:f>Sheet1!$B$167:$B$168</c:f>
              <c:numCache>
                <c:formatCode>General</c:formatCode>
                <c:ptCount val="2"/>
                <c:pt idx="0">
                  <c:v>0.784231821584648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5829155933785276</c:v>
                </c:pt>
              </c:numCache>
            </c:numRef>
          </c:xVal>
          <c:yVal>
            <c:numRef>
              <c:f>Sheet1!$B$171:$B$172</c:f>
              <c:numCache>
                <c:formatCode>General</c:formatCode>
                <c:ptCount val="2"/>
                <c:pt idx="0">
                  <c:v>0.7842318215846483</c:v>
                </c:pt>
                <c:pt idx="1">
                  <c:v>0.784231821584648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5829155933785276</c:v>
                </c:pt>
                <c:pt idx="1">
                  <c:v>0.5829155933785276</c:v>
                </c:pt>
              </c:numCache>
            </c:numRef>
          </c:xVal>
          <c:yVal>
            <c:numRef>
              <c:f>Sheet1!$B$175:$B$176</c:f>
              <c:numCache>
                <c:formatCode>General</c:formatCode>
                <c:ptCount val="2"/>
                <c:pt idx="0">
                  <c:v>0.784231821584648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1265290742700014</c:v>
                </c:pt>
              </c:numCache>
            </c:numRef>
          </c:xVal>
          <c:yVal>
            <c:numRef>
              <c:f>Sheet1!$B$179:$B$180</c:f>
              <c:numCache>
                <c:formatCode>General</c:formatCode>
                <c:ptCount val="2"/>
                <c:pt idx="0">
                  <c:v>0.7440236304336465</c:v>
                </c:pt>
                <c:pt idx="1">
                  <c:v>0.744023630433646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1265290742700014</c:v>
                </c:pt>
                <c:pt idx="1">
                  <c:v>1.1265290742700014</c:v>
                </c:pt>
              </c:numCache>
            </c:numRef>
          </c:xVal>
          <c:yVal>
            <c:numRef>
              <c:f>Sheet1!$B$183:$B$184</c:f>
              <c:numCache>
                <c:formatCode>General</c:formatCode>
                <c:ptCount val="2"/>
                <c:pt idx="0">
                  <c:v>0.744023630433646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138292182747743</c:v>
                </c:pt>
                <c:pt idx="1">
                  <c:v>1.1776257972394097</c:v>
                </c:pt>
                <c:pt idx="2">
                  <c:v>1.0745096553949378</c:v>
                </c:pt>
                <c:pt idx="3">
                  <c:v>1.2249267702936097</c:v>
                </c:pt>
                <c:pt idx="4">
                  <c:v>1.3382934625255956</c:v>
                </c:pt>
                <c:pt idx="5">
                  <c:v>1.2290970168612192</c:v>
                </c:pt>
                <c:pt idx="6">
                  <c:v>1.564909782001118</c:v>
                </c:pt>
                <c:pt idx="7">
                  <c:v>1.815323148148148</c:v>
                </c:pt>
                <c:pt idx="8">
                  <c:v>1.0589637065637065</c:v>
                </c:pt>
                <c:pt idx="9">
                  <c:v>1.31273498349835</c:v>
                </c:pt>
                <c:pt idx="10">
                  <c:v>0.9669363525091799</c:v>
                </c:pt>
                <c:pt idx="11">
                  <c:v>1.229324125560538</c:v>
                </c:pt>
                <c:pt idx="12">
                  <c:v>1.1934090929653924</c:v>
                </c:pt>
                <c:pt idx="13">
                  <c:v>1.1037101828855274</c:v>
                </c:pt>
                <c:pt idx="14">
                  <c:v>1.3279477794045877</c:v>
                </c:pt>
                <c:pt idx="15">
                  <c:v>1.059509346476856</c:v>
                </c:pt>
                <c:pt idx="16">
                  <c:v>1.072223094867807</c:v>
                </c:pt>
                <c:pt idx="17">
                  <c:v>0.980831404375441</c:v>
                </c:pt>
                <c:pt idx="18">
                  <c:v>0.9462630759247241</c:v>
                </c:pt>
                <c:pt idx="19">
                  <c:v>1.042969257765024</c:v>
                </c:pt>
                <c:pt idx="20">
                  <c:v>0.8625384318766066</c:v>
                </c:pt>
                <c:pt idx="21">
                  <c:v>1.804244105960265</c:v>
                </c:pt>
                <c:pt idx="22">
                  <c:v>1.7043986111111111</c:v>
                </c:pt>
                <c:pt idx="23">
                  <c:v>0.8898164716678137</c:v>
                </c:pt>
                <c:pt idx="24">
                  <c:v>0.5596414426229508</c:v>
                </c:pt>
                <c:pt idx="25">
                  <c:v>0.7556438410074773</c:v>
                </c:pt>
                <c:pt idx="26">
                  <c:v>0.739352034261242</c:v>
                </c:pt>
                <c:pt idx="27">
                  <c:v>1.3280470261256252</c:v>
                </c:pt>
                <c:pt idx="28">
                  <c:v>1.0306182804027886</c:v>
                </c:pt>
                <c:pt idx="29">
                  <c:v>0.9215379556826305</c:v>
                </c:pt>
                <c:pt idx="30">
                  <c:v>1.0357269079464988</c:v>
                </c:pt>
                <c:pt idx="31">
                  <c:v>1.0243241379310346</c:v>
                </c:pt>
                <c:pt idx="32">
                  <c:v>0.9428759057333802</c:v>
                </c:pt>
                <c:pt idx="33">
                  <c:v>1.1372822539949536</c:v>
                </c:pt>
                <c:pt idx="34">
                  <c:v>1.08531611642899</c:v>
                </c:pt>
                <c:pt idx="35">
                  <c:v>1.2205019607843137</c:v>
                </c:pt>
                <c:pt idx="36">
                  <c:v>0.865734006265228</c:v>
                </c:pt>
                <c:pt idx="37">
                  <c:v>0.9478297903109183</c:v>
                </c:pt>
                <c:pt idx="38">
                  <c:v>0.8429254391672087</c:v>
                </c:pt>
                <c:pt idx="39">
                  <c:v>1.1126627285968604</c:v>
                </c:pt>
                <c:pt idx="40">
                  <c:v>1.2347585836654098</c:v>
                </c:pt>
                <c:pt idx="41">
                  <c:v>1.245045109526596</c:v>
                </c:pt>
                <c:pt idx="42">
                  <c:v>1.1154869228285438</c:v>
                </c:pt>
                <c:pt idx="43">
                  <c:v>1.0915059356027126</c:v>
                </c:pt>
                <c:pt idx="44">
                  <c:v>1.0886988374464615</c:v>
                </c:pt>
                <c:pt idx="45">
                  <c:v>1.1639497726780688</c:v>
                </c:pt>
                <c:pt idx="46">
                  <c:v>1.2567658016682115</c:v>
                </c:pt>
                <c:pt idx="47">
                  <c:v>1.136120156201871</c:v>
                </c:pt>
                <c:pt idx="48">
                  <c:v>1.1589807794039853</c:v>
                </c:pt>
                <c:pt idx="49">
                  <c:v>1.1554274022988504</c:v>
                </c:pt>
                <c:pt idx="50">
                  <c:v>1.0978002290950746</c:v>
                </c:pt>
                <c:pt idx="51">
                  <c:v>0.95640699844479</c:v>
                </c:pt>
                <c:pt idx="52">
                  <c:v>0.5829155933785276</c:v>
                </c:pt>
                <c:pt idx="53">
                  <c:v>0.5829155933785276</c:v>
                </c:pt>
                <c:pt idx="54">
                  <c:v>1.1265290742700014</c:v>
                </c:pt>
              </c:numCache>
            </c:numRef>
          </c:xVal>
          <c:yVal>
            <c:numRef>
              <c:f>Sheet1!$B$187:$B$241</c:f>
              <c:numCache>
                <c:formatCode>General</c:formatCode>
                <c:ptCount val="55"/>
                <c:pt idx="0">
                  <c:v>0.7431535760092651</c:v>
                </c:pt>
                <c:pt idx="1">
                  <c:v>0.7402442782347743</c:v>
                </c:pt>
                <c:pt idx="2">
                  <c:v>0.7478712295297222</c:v>
                </c:pt>
                <c:pt idx="3">
                  <c:v>0.7367456774217982</c:v>
                </c:pt>
                <c:pt idx="4">
                  <c:v>0.7283605475608805</c:v>
                </c:pt>
                <c:pt idx="5">
                  <c:v>0.7364372265149843</c:v>
                </c:pt>
                <c:pt idx="6">
                  <c:v>0.7115989465121616</c:v>
                </c:pt>
                <c:pt idx="7">
                  <c:v>0.6930772047843922</c:v>
                </c:pt>
                <c:pt idx="8">
                  <c:v>0.7490210804885409</c:v>
                </c:pt>
                <c:pt idx="9">
                  <c:v>0.7302509720010013</c:v>
                </c:pt>
                <c:pt idx="10">
                  <c:v>0.7558278532655465</c:v>
                </c:pt>
                <c:pt idx="11">
                  <c:v>0.7364204284952235</c:v>
                </c:pt>
                <c:pt idx="12">
                  <c:v>0.7390768719914589</c:v>
                </c:pt>
                <c:pt idx="13">
                  <c:v>0.7457114221807096</c:v>
                </c:pt>
                <c:pt idx="14">
                  <c:v>0.7291257625879896</c:v>
                </c:pt>
                <c:pt idx="15">
                  <c:v>0.7489807224129987</c:v>
                </c:pt>
                <c:pt idx="16">
                  <c:v>0.748040354222146</c:v>
                </c:pt>
                <c:pt idx="17">
                  <c:v>0.7548001103542127</c:v>
                </c:pt>
                <c:pt idx="18">
                  <c:v>0.7573569453242316</c:v>
                </c:pt>
                <c:pt idx="19">
                  <c:v>0.7502041045989764</c:v>
                </c:pt>
                <c:pt idx="20">
                  <c:v>0.7635496109042237</c:v>
                </c:pt>
                <c:pt idx="21">
                  <c:v>0.6938966624721042</c:v>
                </c:pt>
                <c:pt idx="22">
                  <c:v>0.7012817014447904</c:v>
                </c:pt>
                <c:pt idx="23">
                  <c:v>0.7615319997214567</c:v>
                </c:pt>
                <c:pt idx="24">
                  <c:v>0.7859532864403815</c:v>
                </c:pt>
                <c:pt idx="25">
                  <c:v>0.7714560339304255</c:v>
                </c:pt>
                <c:pt idx="26">
                  <c:v>0.7726610520230114</c:v>
                </c:pt>
                <c:pt idx="27">
                  <c:v>0.7291184218371236</c:v>
                </c:pt>
                <c:pt idx="28">
                  <c:v>0.7511176405507854</c:v>
                </c:pt>
                <c:pt idx="29">
                  <c:v>0.7591857306576919</c:v>
                </c:pt>
                <c:pt idx="30">
                  <c:v>0.750739782605725</c:v>
                </c:pt>
                <c:pt idx="31">
                  <c:v>0.751583184715034</c:v>
                </c:pt>
                <c:pt idx="32">
                  <c:v>0.7576074762461124</c:v>
                </c:pt>
                <c:pt idx="33">
                  <c:v>0.7432282750551285</c:v>
                </c:pt>
                <c:pt idx="34">
                  <c:v>0.7470719332168153</c:v>
                </c:pt>
                <c:pt idx="35">
                  <c:v>0.737072956992321</c:v>
                </c:pt>
                <c:pt idx="36">
                  <c:v>0.7633132513024635</c:v>
                </c:pt>
                <c:pt idx="37">
                  <c:v>0.7572410638133172</c:v>
                </c:pt>
                <c:pt idx="38">
                  <c:v>0.7650002794170969</c:v>
                </c:pt>
                <c:pt idx="39">
                  <c:v>0.7450492501009094</c:v>
                </c:pt>
                <c:pt idx="40">
                  <c:v>0.7360184706005729</c:v>
                </c:pt>
                <c:pt idx="41">
                  <c:v>0.7352576311206026</c:v>
                </c:pt>
                <c:pt idx="42">
                  <c:v>0.7448403595095119</c:v>
                </c:pt>
                <c:pt idx="43">
                  <c:v>0.7466141052907693</c:v>
                </c:pt>
                <c:pt idx="44">
                  <c:v>0.7468217313766071</c:v>
                </c:pt>
                <c:pt idx="45">
                  <c:v>0.7412558208640087</c:v>
                </c:pt>
                <c:pt idx="46">
                  <c:v>0.7343907140064809</c:v>
                </c:pt>
                <c:pt idx="47">
                  <c:v>0.7433142292336815</c:v>
                </c:pt>
                <c:pt idx="48">
                  <c:v>0.741623350806542</c:v>
                </c:pt>
                <c:pt idx="49">
                  <c:v>0.7418861751677784</c:v>
                </c:pt>
                <c:pt idx="50">
                  <c:v>0.7461485499563314</c:v>
                </c:pt>
                <c:pt idx="51">
                  <c:v>0.7566066534531785</c:v>
                </c:pt>
                <c:pt idx="52">
                  <c:v>0.7842318215846483</c:v>
                </c:pt>
                <c:pt idx="53">
                  <c:v>0.7842318215846483</c:v>
                </c:pt>
                <c:pt idx="54">
                  <c:v>0.744023630433646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52267818574514"/>
          <c:min val="0.530474732006125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16.0622</c:v>
                </c:pt>
                <c:pt idx="1">
                  <c:v>1017.1757</c:v>
                </c:pt>
                <c:pt idx="2">
                  <c:v>1015.1921</c:v>
                </c:pt>
                <c:pt idx="3">
                  <c:v>1016.408</c:v>
                </c:pt>
                <c:pt idx="4">
                  <c:v>1010.6503</c:v>
                </c:pt>
                <c:pt idx="5">
                  <c:v>961.8768</c:v>
                </c:pt>
                <c:pt idx="6">
                  <c:v>960.4514</c:v>
                </c:pt>
                <c:pt idx="7">
                  <c:v>945.0521</c:v>
                </c:pt>
                <c:pt idx="8">
                  <c:v>962.6675</c:v>
                </c:pt>
                <c:pt idx="9">
                  <c:v>911.5465</c:v>
                </c:pt>
                <c:pt idx="10">
                  <c:v>893.4966</c:v>
                </c:pt>
                <c:pt idx="11">
                  <c:v>894.9111</c:v>
                </c:pt>
                <c:pt idx="12">
                  <c:v>893.8414</c:v>
                </c:pt>
                <c:pt idx="13">
                  <c:v>942.0053</c:v>
                </c:pt>
                <c:pt idx="14">
                  <c:v>1022.9582</c:v>
                </c:pt>
                <c:pt idx="15">
                  <c:v>1008.9622</c:v>
                </c:pt>
                <c:pt idx="16">
                  <c:v>1010.9034</c:v>
                </c:pt>
                <c:pt idx="17">
                  <c:v>1007.6878</c:v>
                </c:pt>
                <c:pt idx="18">
                  <c:v>1036.8487</c:v>
                </c:pt>
                <c:pt idx="19">
                  <c:v>1035.7286</c:v>
                </c:pt>
                <c:pt idx="20">
                  <c:v>1085.7396</c:v>
                </c:pt>
                <c:pt idx="21">
                  <c:v>1083.7906</c:v>
                </c:pt>
                <c:pt idx="22">
                  <c:v>1085.4974</c:v>
                </c:pt>
                <c:pt idx="23">
                  <c:v>1082.0955</c:v>
                </c:pt>
                <c:pt idx="24">
                  <c:v>1075.5333</c:v>
                </c:pt>
                <c:pt idx="25">
                  <c:v>1085.8193</c:v>
                </c:pt>
                <c:pt idx="26">
                  <c:v>1080.565</c:v>
                </c:pt>
                <c:pt idx="27">
                  <c:v>1070.9457</c:v>
                </c:pt>
                <c:pt idx="28">
                  <c:v>1051.7823</c:v>
                </c:pt>
                <c:pt idx="29">
                  <c:v>1098.16</c:v>
                </c:pt>
                <c:pt idx="30">
                  <c:v>1100.8147</c:v>
                </c:pt>
                <c:pt idx="31">
                  <c:v>1099.8063</c:v>
                </c:pt>
                <c:pt idx="32">
                  <c:v>1093.2921</c:v>
                </c:pt>
                <c:pt idx="33">
                  <c:v>1098.2893</c:v>
                </c:pt>
                <c:pt idx="34">
                  <c:v>1090.4167</c:v>
                </c:pt>
                <c:pt idx="35">
                  <c:v>1100.7686</c:v>
                </c:pt>
                <c:pt idx="36">
                  <c:v>1102.2975</c:v>
                </c:pt>
                <c:pt idx="37">
                  <c:v>1104.8053</c:v>
                </c:pt>
                <c:pt idx="38">
                  <c:v>1112.384</c:v>
                </c:pt>
                <c:pt idx="39">
                  <c:v>1156.8073</c:v>
                </c:pt>
                <c:pt idx="40">
                  <c:v>1217.7089</c:v>
                </c:pt>
                <c:pt idx="41">
                  <c:v>1230.2297</c:v>
                </c:pt>
                <c:pt idx="42">
                  <c:v>1227.9296</c:v>
                </c:pt>
                <c:pt idx="43">
                  <c:v>1252.297</c:v>
                </c:pt>
                <c:pt idx="44">
                  <c:v>1253.8</c:v>
                </c:pt>
                <c:pt idx="45">
                  <c:v>1247.3003</c:v>
                </c:pt>
                <c:pt idx="46">
                  <c:v>1185.8325</c:v>
                </c:pt>
                <c:pt idx="47">
                  <c:v>1159.7884</c:v>
                </c:pt>
                <c:pt idx="48">
                  <c:v>1134.4361</c:v>
                </c:pt>
                <c:pt idx="49">
                  <c:v>1036.8365</c:v>
                </c:pt>
                <c:pt idx="50">
                  <c:v>1067.7411</c:v>
                </c:pt>
                <c:pt idx="51">
                  <c:v>1057.1298</c:v>
                </c:pt>
                <c:pt idx="52">
                  <c:v>1044.5541</c:v>
                </c:pt>
                <c:pt idx="53">
                  <c:v>1284.3549</c:v>
                </c:pt>
                <c:pt idx="54">
                  <c:v>1289.4464</c:v>
                </c:pt>
                <c:pt idx="55">
                  <c:v>1282.1838</c:v>
                </c:pt>
                <c:pt idx="56">
                  <c:v>1278.0164</c:v>
                </c:pt>
                <c:pt idx="57">
                  <c:v>1292.2292</c:v>
                </c:pt>
                <c:pt idx="58">
                  <c:v>1286.2665</c:v>
                </c:pt>
                <c:pt idx="59">
                  <c:v>1297.8521</c:v>
                </c:pt>
                <c:pt idx="60">
                  <c:v>1308.8436</c:v>
                </c:pt>
                <c:pt idx="61">
                  <c:v>1218.6991</c:v>
                </c:pt>
                <c:pt idx="62">
                  <c:v>1098.2088</c:v>
                </c:pt>
                <c:pt idx="63">
                  <c:v>1121.9805</c:v>
                </c:pt>
                <c:pt idx="64">
                  <c:v>1122.2887</c:v>
                </c:pt>
                <c:pt idx="65">
                  <c:v>1120.167</c:v>
                </c:pt>
                <c:pt idx="66">
                  <c:v>1278.0132</c:v>
                </c:pt>
                <c:pt idx="67">
                  <c:v>1291.652</c:v>
                </c:pt>
                <c:pt idx="68">
                  <c:v>1276.7699</c:v>
                </c:pt>
                <c:pt idx="69">
                  <c:v>1264.2899</c:v>
                </c:pt>
                <c:pt idx="70">
                  <c:v>1275.3523</c:v>
                </c:pt>
                <c:pt idx="71">
                  <c:v>1259.1807</c:v>
                </c:pt>
                <c:pt idx="72">
                  <c:v>1309.9608</c:v>
                </c:pt>
                <c:pt idx="73">
                  <c:v>1275.9741</c:v>
                </c:pt>
                <c:pt idx="74">
                  <c:v>1298.7283</c:v>
                </c:pt>
                <c:pt idx="75">
                  <c:v>1277.0809</c:v>
                </c:pt>
                <c:pt idx="76">
                  <c:v>1211.0444</c:v>
                </c:pt>
                <c:pt idx="77">
                  <c:v>1204.5185</c:v>
                </c:pt>
                <c:pt idx="78">
                  <c:v>1223.4563</c:v>
                </c:pt>
                <c:pt idx="79">
                  <c:v>1295.4481</c:v>
                </c:pt>
                <c:pt idx="80">
                  <c:v>1304.9588</c:v>
                </c:pt>
                <c:pt idx="81">
                  <c:v>1352.1389</c:v>
                </c:pt>
                <c:pt idx="82">
                  <c:v>1334.931</c:v>
                </c:pt>
                <c:pt idx="83">
                  <c:v>1352.7724</c:v>
                </c:pt>
                <c:pt idx="84">
                  <c:v>1327.1379</c:v>
                </c:pt>
                <c:pt idx="85">
                  <c:v>1366.0652</c:v>
                </c:pt>
                <c:pt idx="86">
                  <c:v>1358.4575</c:v>
                </c:pt>
                <c:pt idx="87">
                  <c:v>1344.9892</c:v>
                </c:pt>
                <c:pt idx="88">
                  <c:v>1359.4939</c:v>
                </c:pt>
                <c:pt idx="89">
                  <c:v>1356.0559</c:v>
                </c:pt>
                <c:pt idx="90">
                  <c:v>1365.7816</c:v>
                </c:pt>
                <c:pt idx="91">
                  <c:v>1319.1964</c:v>
                </c:pt>
                <c:pt idx="92">
                  <c:v>1356.009</c:v>
                </c:pt>
                <c:pt idx="93">
                  <c:v>1369.9372</c:v>
                </c:pt>
                <c:pt idx="94">
                  <c:v>1379.3492</c:v>
                </c:pt>
                <c:pt idx="95">
                  <c:v>1365.5097</c:v>
                </c:pt>
                <c:pt idx="96">
                  <c:v>1288.4341</c:v>
                </c:pt>
                <c:pt idx="97">
                  <c:v>1306.0094</c:v>
                </c:pt>
                <c:pt idx="98">
                  <c:v>1266.2289</c:v>
                </c:pt>
                <c:pt idx="99">
                  <c:v>1248.8379</c:v>
                </c:pt>
                <c:pt idx="100">
                  <c:v>1142.5962</c:v>
                </c:pt>
                <c:pt idx="101">
                  <c:v>1325.8</c:v>
                </c:pt>
                <c:pt idx="102">
                  <c:v>1323.881</c:v>
                </c:pt>
                <c:pt idx="103">
                  <c:v>1233.2532</c:v>
                </c:pt>
                <c:pt idx="104">
                  <c:v>1241.0445</c:v>
                </c:pt>
              </c:numCache>
            </c:numRef>
          </c:xVal>
          <c:yVal>
            <c:numRef>
              <c:f>Sheet1!$B$2:$B$106</c:f>
              <c:numCache>
                <c:formatCode>General</c:formatCode>
                <c:ptCount val="105"/>
                <c:pt idx="0">
                  <c:v>0.7151335311572701</c:v>
                </c:pt>
                <c:pt idx="1">
                  <c:v>0.6835871404399323</c:v>
                </c:pt>
                <c:pt idx="2">
                  <c:v>0.700162074554295</c:v>
                </c:pt>
                <c:pt idx="3">
                  <c:v>0.7046875</c:v>
                </c:pt>
                <c:pt idx="4">
                  <c:v>0.7234401349072512</c:v>
                </c:pt>
                <c:pt idx="5">
                  <c:v>0.7079107505070994</c:v>
                </c:pt>
                <c:pt idx="6">
                  <c:v>0.7526132404181185</c:v>
                </c:pt>
                <c:pt idx="7">
                  <c:v>0.7485380116959064</c:v>
                </c:pt>
                <c:pt idx="8">
                  <c:v>0.7410714285714286</c:v>
                </c:pt>
                <c:pt idx="9">
                  <c:v>0.7530647985989493</c:v>
                </c:pt>
                <c:pt idx="10">
                  <c:v>0.7555938037865749</c:v>
                </c:pt>
                <c:pt idx="11">
                  <c:v>0.7588532883642496</c:v>
                </c:pt>
                <c:pt idx="12">
                  <c:v>0.7830188679245284</c:v>
                </c:pt>
                <c:pt idx="13">
                  <c:v>0.7878151260504201</c:v>
                </c:pt>
                <c:pt idx="14">
                  <c:v>0.8052884615384616</c:v>
                </c:pt>
                <c:pt idx="15">
                  <c:v>0.7864864864864864</c:v>
                </c:pt>
                <c:pt idx="16">
                  <c:v>0.74375</c:v>
                </c:pt>
                <c:pt idx="17">
                  <c:v>0.7321428571428571</c:v>
                </c:pt>
                <c:pt idx="18">
                  <c:v>0.6940639269406392</c:v>
                </c:pt>
                <c:pt idx="19">
                  <c:v>0.693069306930693</c:v>
                </c:pt>
                <c:pt idx="20">
                  <c:v>0.7507082152974505</c:v>
                </c:pt>
                <c:pt idx="21">
                  <c:v>0.75</c:v>
                </c:pt>
                <c:pt idx="22">
                  <c:v>0.7568627450980392</c:v>
                </c:pt>
                <c:pt idx="23">
                  <c:v>0.7385892116182573</c:v>
                </c:pt>
                <c:pt idx="24">
                  <c:v>0.7471264367816092</c:v>
                </c:pt>
                <c:pt idx="25">
                  <c:v>0.7280701754385965</c:v>
                </c:pt>
                <c:pt idx="26">
                  <c:v>0.7559322033898305</c:v>
                </c:pt>
                <c:pt idx="27">
                  <c:v>0.8138801261829653</c:v>
                </c:pt>
                <c:pt idx="28">
                  <c:v>0.792332268370607</c:v>
                </c:pt>
                <c:pt idx="29">
                  <c:v>0.8184523809523809</c:v>
                </c:pt>
                <c:pt idx="30">
                  <c:v>0.8027681660899654</c:v>
                </c:pt>
                <c:pt idx="31">
                  <c:v>0.7549407114624506</c:v>
                </c:pt>
                <c:pt idx="32">
                  <c:v>0.7266187050359713</c:v>
                </c:pt>
                <c:pt idx="33">
                  <c:v>0.6888111888111889</c:v>
                </c:pt>
                <c:pt idx="34">
                  <c:v>0.7125</c:v>
                </c:pt>
                <c:pt idx="35">
                  <c:v>0.7910189982728842</c:v>
                </c:pt>
                <c:pt idx="36">
                  <c:v>0.7435294117647059</c:v>
                </c:pt>
                <c:pt idx="37">
                  <c:v>0.7361563517915309</c:v>
                </c:pt>
                <c:pt idx="38">
                  <c:v>0.75</c:v>
                </c:pt>
                <c:pt idx="39">
                  <c:v>0.7703180212014135</c:v>
                </c:pt>
                <c:pt idx="40">
                  <c:v>0.713855421686747</c:v>
                </c:pt>
                <c:pt idx="41">
                  <c:v>0.7254901960784313</c:v>
                </c:pt>
                <c:pt idx="42">
                  <c:v>0.7297297297297297</c:v>
                </c:pt>
                <c:pt idx="43">
                  <c:v>0.7284768211920529</c:v>
                </c:pt>
                <c:pt idx="44">
                  <c:v>0.7547169811320755</c:v>
                </c:pt>
                <c:pt idx="45">
                  <c:v>0.7132216014897579</c:v>
                </c:pt>
                <c:pt idx="46">
                  <c:v>0.7279151943462897</c:v>
                </c:pt>
                <c:pt idx="47">
                  <c:v>0.7251264755480608</c:v>
                </c:pt>
                <c:pt idx="48">
                  <c:v>0.7160161507402423</c:v>
                </c:pt>
                <c:pt idx="49">
                  <c:v>0.7612076852698993</c:v>
                </c:pt>
                <c:pt idx="50">
                  <c:v>0.749211356466877</c:v>
                </c:pt>
                <c:pt idx="51">
                  <c:v>0.7525252525252525</c:v>
                </c:pt>
                <c:pt idx="52">
                  <c:v>0.7628865979381443</c:v>
                </c:pt>
                <c:pt idx="53">
                  <c:v>0.7423076923076923</c:v>
                </c:pt>
                <c:pt idx="54">
                  <c:v>0.7683741648106904</c:v>
                </c:pt>
                <c:pt idx="55">
                  <c:v>0.7924944812362031</c:v>
                </c:pt>
                <c:pt idx="56">
                  <c:v>0.745417515274949</c:v>
                </c:pt>
                <c:pt idx="57">
                  <c:v>0.75</c:v>
                </c:pt>
                <c:pt idx="58">
                  <c:v>0.7392120075046904</c:v>
                </c:pt>
                <c:pt idx="59">
                  <c:v>0.7579617834394905</c:v>
                </c:pt>
                <c:pt idx="60">
                  <c:v>0.7556440903054449</c:v>
                </c:pt>
                <c:pt idx="61">
                  <c:v>0.7453625632377741</c:v>
                </c:pt>
                <c:pt idx="62">
                  <c:v>0.7603053435114504</c:v>
                </c:pt>
                <c:pt idx="63">
                  <c:v>0.7353361945636624</c:v>
                </c:pt>
                <c:pt idx="64">
                  <c:v>0.7433380084151473</c:v>
                </c:pt>
                <c:pt idx="65">
                  <c:v>0.7412095639943741</c:v>
                </c:pt>
                <c:pt idx="66">
                  <c:v>0.7487684729064039</c:v>
                </c:pt>
                <c:pt idx="67">
                  <c:v>0.7243697478991596</c:v>
                </c:pt>
                <c:pt idx="68">
                  <c:v>0.7182203389830508</c:v>
                </c:pt>
                <c:pt idx="69">
                  <c:v>0.720626631853786</c:v>
                </c:pt>
                <c:pt idx="70">
                  <c:v>0.7154471544715447</c:v>
                </c:pt>
                <c:pt idx="71">
                  <c:v>0.7114285714285714</c:v>
                </c:pt>
                <c:pt idx="72">
                  <c:v>0.7445255474452555</c:v>
                </c:pt>
                <c:pt idx="73">
                  <c:v>0.7518248175182481</c:v>
                </c:pt>
                <c:pt idx="74">
                  <c:v>0.7075208913649025</c:v>
                </c:pt>
                <c:pt idx="75">
                  <c:v>0.7366771159874608</c:v>
                </c:pt>
                <c:pt idx="76">
                  <c:v>0.7294117647058823</c:v>
                </c:pt>
                <c:pt idx="77">
                  <c:v>0.759375</c:v>
                </c:pt>
                <c:pt idx="78">
                  <c:v>0.7152777777777778</c:v>
                </c:pt>
                <c:pt idx="79">
                  <c:v>0.7176470588235294</c:v>
                </c:pt>
                <c:pt idx="80">
                  <c:v>0.708029197080292</c:v>
                </c:pt>
                <c:pt idx="81">
                  <c:v>0.7128712871287128</c:v>
                </c:pt>
                <c:pt idx="82">
                  <c:v>0.6952054794520548</c:v>
                </c:pt>
                <c:pt idx="83">
                  <c:v>0.69377990430622</c:v>
                </c:pt>
                <c:pt idx="84">
                  <c:v>0.7073170731707317</c:v>
                </c:pt>
                <c:pt idx="85">
                  <c:v>0.69</c:v>
                </c:pt>
                <c:pt idx="86">
                  <c:v>0.7043189368770764</c:v>
                </c:pt>
                <c:pt idx="87">
                  <c:v>0.6838235294117647</c:v>
                </c:pt>
                <c:pt idx="88">
                  <c:v>0.7060518731988472</c:v>
                </c:pt>
                <c:pt idx="89">
                  <c:v>0.6964980544747081</c:v>
                </c:pt>
                <c:pt idx="90">
                  <c:v>0.6904761904761905</c:v>
                </c:pt>
                <c:pt idx="91">
                  <c:v>0.6640316205533597</c:v>
                </c:pt>
                <c:pt idx="92">
                  <c:v>0.7015873015873015</c:v>
                </c:pt>
                <c:pt idx="93">
                  <c:v>0.7366548042704626</c:v>
                </c:pt>
                <c:pt idx="94">
                  <c:v>0.6897810218978102</c:v>
                </c:pt>
                <c:pt idx="95">
                  <c:v>0.7298578199052133</c:v>
                </c:pt>
                <c:pt idx="96">
                  <c:v>0.7213822894168467</c:v>
                </c:pt>
                <c:pt idx="97">
                  <c:v>0.7114093959731543</c:v>
                </c:pt>
                <c:pt idx="98">
                  <c:v>0.7097203728362184</c:v>
                </c:pt>
                <c:pt idx="99">
                  <c:v>0.7006451612903226</c:v>
                </c:pt>
                <c:pt idx="100">
                  <c:v>0.7355008787346221</c:v>
                </c:pt>
                <c:pt idx="101">
                  <c:v>0.7076923076923077</c:v>
                </c:pt>
                <c:pt idx="102">
                  <c:v>0.7011686143572621</c:v>
                </c:pt>
                <c:pt idx="103">
                  <c:v>0.7292307692307692</c:v>
                </c:pt>
                <c:pt idx="104">
                  <c:v>0.724957555178268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66.1603</c:v>
                </c:pt>
                <c:pt idx="1">
                  <c:v>1237.0959</c:v>
                </c:pt>
                <c:pt idx="2">
                  <c:v>1327.7358</c:v>
                </c:pt>
                <c:pt idx="3">
                  <c:v>1418.4652</c:v>
                </c:pt>
                <c:pt idx="4">
                  <c:v>1382.9032</c:v>
                </c:pt>
                <c:pt idx="5">
                  <c:v>1421.4507</c:v>
                </c:pt>
                <c:pt idx="6">
                  <c:v>1399.8118</c:v>
                </c:pt>
                <c:pt idx="7">
                  <c:v>1372.3843</c:v>
                </c:pt>
                <c:pt idx="8">
                  <c:v>1371.358</c:v>
                </c:pt>
                <c:pt idx="9">
                  <c:v>1193.2761</c:v>
                </c:pt>
                <c:pt idx="10">
                  <c:v>1184.9805</c:v>
                </c:pt>
                <c:pt idx="11">
                  <c:v>1370.6964</c:v>
                </c:pt>
                <c:pt idx="12">
                  <c:v>1319.0154</c:v>
                </c:pt>
                <c:pt idx="13">
                  <c:v>1222.0831</c:v>
                </c:pt>
                <c:pt idx="14">
                  <c:v>1360.4825</c:v>
                </c:pt>
                <c:pt idx="15">
                  <c:v>1273.1771</c:v>
                </c:pt>
                <c:pt idx="16">
                  <c:v>1378.8789</c:v>
                </c:pt>
                <c:pt idx="17">
                  <c:v>1389.8381</c:v>
                </c:pt>
                <c:pt idx="18">
                  <c:v>1458.1914</c:v>
                </c:pt>
                <c:pt idx="19">
                  <c:v>1430.6062</c:v>
                </c:pt>
                <c:pt idx="20">
                  <c:v>1342.1098</c:v>
                </c:pt>
                <c:pt idx="21">
                  <c:v>1362.2043</c:v>
                </c:pt>
                <c:pt idx="22">
                  <c:v>1349.8837</c:v>
                </c:pt>
                <c:pt idx="23">
                  <c:v>969.6775</c:v>
                </c:pt>
                <c:pt idx="24">
                  <c:v>853.4532</c:v>
                </c:pt>
                <c:pt idx="25">
                  <c:v>960.0455</c:v>
                </c:pt>
                <c:pt idx="26">
                  <c:v>1035.8322</c:v>
                </c:pt>
                <c:pt idx="27">
                  <c:v>1194.5783</c:v>
                </c:pt>
                <c:pt idx="28">
                  <c:v>1330.5282</c:v>
                </c:pt>
                <c:pt idx="29">
                  <c:v>1289.2316</c:v>
                </c:pt>
                <c:pt idx="30">
                  <c:v>1316.4089</c:v>
                </c:pt>
                <c:pt idx="31">
                  <c:v>1321.8903</c:v>
                </c:pt>
                <c:pt idx="32">
                  <c:v>1340.2981</c:v>
                </c:pt>
                <c:pt idx="33">
                  <c:v>1352.2286</c:v>
                </c:pt>
                <c:pt idx="34">
                  <c:v>1388.9333</c:v>
                </c:pt>
                <c:pt idx="35">
                  <c:v>1322.719</c:v>
                </c:pt>
                <c:pt idx="36">
                  <c:v>1243.6269</c:v>
                </c:pt>
                <c:pt idx="37">
                  <c:v>1310.8486</c:v>
                </c:pt>
                <c:pt idx="38">
                  <c:v>1295.5764</c:v>
                </c:pt>
                <c:pt idx="39">
                  <c:v>1375.0286</c:v>
                </c:pt>
                <c:pt idx="40">
                  <c:v>1372.64</c:v>
                </c:pt>
                <c:pt idx="41">
                  <c:v>1381.17</c:v>
                </c:pt>
                <c:pt idx="42">
                  <c:v>1381.8652</c:v>
                </c:pt>
                <c:pt idx="43">
                  <c:v>1368.4366</c:v>
                </c:pt>
                <c:pt idx="44">
                  <c:v>1334.4726</c:v>
                </c:pt>
                <c:pt idx="45">
                  <c:v>1344.071</c:v>
                </c:pt>
                <c:pt idx="46">
                  <c:v>1356.0503</c:v>
                </c:pt>
                <c:pt idx="47">
                  <c:v>1373.1906</c:v>
                </c:pt>
                <c:pt idx="48">
                  <c:v>1314.516</c:v>
                </c:pt>
                <c:pt idx="49">
                  <c:v>1256.5273</c:v>
                </c:pt>
                <c:pt idx="50">
                  <c:v>1197.9745</c:v>
                </c:pt>
                <c:pt idx="51">
                  <c:v>1229.9394</c:v>
                </c:pt>
              </c:numCache>
            </c:numRef>
          </c:xVal>
          <c:yVal>
            <c:numRef>
              <c:f>Sheet1!$B$109:$B$160</c:f>
              <c:numCache>
                <c:formatCode>General</c:formatCode>
                <c:ptCount val="52"/>
                <c:pt idx="0">
                  <c:v>0.7995337995337995</c:v>
                </c:pt>
                <c:pt idx="1">
                  <c:v>0.7838926174496644</c:v>
                </c:pt>
                <c:pt idx="2">
                  <c:v>0.7762982689747004</c:v>
                </c:pt>
                <c:pt idx="3">
                  <c:v>0.743046357615894</c:v>
                </c:pt>
                <c:pt idx="4">
                  <c:v>0.7642526964560863</c:v>
                </c:pt>
                <c:pt idx="5">
                  <c:v>0.7483221476510067</c:v>
                </c:pt>
                <c:pt idx="6">
                  <c:v>0.7203389830508474</c:v>
                </c:pt>
                <c:pt idx="7">
                  <c:v>0.75625</c:v>
                </c:pt>
                <c:pt idx="8">
                  <c:v>0.6908602150537635</c:v>
                </c:pt>
                <c:pt idx="9">
                  <c:v>0.6890951276102089</c:v>
                </c:pt>
                <c:pt idx="10">
                  <c:v>0.735655737704918</c:v>
                </c:pt>
                <c:pt idx="11">
                  <c:v>0.6853146853146853</c:v>
                </c:pt>
                <c:pt idx="12">
                  <c:v>0.6800699300699301</c:v>
                </c:pt>
                <c:pt idx="13">
                  <c:v>0.663093415007657</c:v>
                </c:pt>
                <c:pt idx="14">
                  <c:v>0.7361111111111112</c:v>
                </c:pt>
                <c:pt idx="15">
                  <c:v>0.756701030927835</c:v>
                </c:pt>
                <c:pt idx="16">
                  <c:v>0.7261306532663316</c:v>
                </c:pt>
                <c:pt idx="17">
                  <c:v>0.6938202247191011</c:v>
                </c:pt>
                <c:pt idx="18">
                  <c:v>0.7157534246575342</c:v>
                </c:pt>
                <c:pt idx="19">
                  <c:v>0.7336683417085427</c:v>
                </c:pt>
                <c:pt idx="20">
                  <c:v>0.7369942196531792</c:v>
                </c:pt>
                <c:pt idx="21">
                  <c:v>0.7322834645669292</c:v>
                </c:pt>
                <c:pt idx="22">
                  <c:v>0.7166666666666667</c:v>
                </c:pt>
                <c:pt idx="23">
                  <c:v>0.8223844282238443</c:v>
                </c:pt>
                <c:pt idx="24">
                  <c:v>0.8768898488120951</c:v>
                </c:pt>
                <c:pt idx="25">
                  <c:v>0.8502415458937198</c:v>
                </c:pt>
                <c:pt idx="26">
                  <c:v>0.8106666666666666</c:v>
                </c:pt>
                <c:pt idx="27">
                  <c:v>0.7545454545454545</c:v>
                </c:pt>
                <c:pt idx="28">
                  <c:v>0.7725856697819314</c:v>
                </c:pt>
                <c:pt idx="29">
                  <c:v>0.7364341085271318</c:v>
                </c:pt>
                <c:pt idx="30">
                  <c:v>0.7275985663082437</c:v>
                </c:pt>
                <c:pt idx="31">
                  <c:v>0.7209302325581395</c:v>
                </c:pt>
                <c:pt idx="32">
                  <c:v>0.7777777777777778</c:v>
                </c:pt>
                <c:pt idx="33">
                  <c:v>0.7172131147540983</c:v>
                </c:pt>
                <c:pt idx="34">
                  <c:v>0.7241379310344828</c:v>
                </c:pt>
                <c:pt idx="35">
                  <c:v>0.6970387243735763</c:v>
                </c:pt>
                <c:pt idx="36">
                  <c:v>0.75390625</c:v>
                </c:pt>
                <c:pt idx="37">
                  <c:v>0.7440273037542662</c:v>
                </c:pt>
                <c:pt idx="38">
                  <c:v>0.7619047619047619</c:v>
                </c:pt>
                <c:pt idx="39">
                  <c:v>0.695364238410596</c:v>
                </c:pt>
                <c:pt idx="40">
                  <c:v>0.7234726688102894</c:v>
                </c:pt>
                <c:pt idx="41">
                  <c:v>0.7077363896848138</c:v>
                </c:pt>
                <c:pt idx="42">
                  <c:v>0.7232704402515723</c:v>
                </c:pt>
                <c:pt idx="43">
                  <c:v>0.7466960352422908</c:v>
                </c:pt>
                <c:pt idx="44">
                  <c:v>0.7351247600767754</c:v>
                </c:pt>
                <c:pt idx="45">
                  <c:v>0.722473604826546</c:v>
                </c:pt>
                <c:pt idx="46">
                  <c:v>0.7343173431734318</c:v>
                </c:pt>
                <c:pt idx="47">
                  <c:v>0.7469244288224957</c:v>
                </c:pt>
                <c:pt idx="48">
                  <c:v>0.7588996763754046</c:v>
                </c:pt>
                <c:pt idx="49">
                  <c:v>0.7534246575342466</c:v>
                </c:pt>
                <c:pt idx="50">
                  <c:v>0.814540059347181</c:v>
                </c:pt>
                <c:pt idx="51">
                  <c:v>0.810062893081761</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35.5431883474007</c:v>
                </c:pt>
              </c:numCache>
            </c:numRef>
          </c:xVal>
          <c:yVal>
            <c:numRef>
              <c:f>Sheet1!$B$163:$B$164</c:f>
              <c:numCache>
                <c:formatCode>General</c:formatCode>
                <c:ptCount val="2"/>
                <c:pt idx="0">
                  <c:v>0.7842318215846483</c:v>
                </c:pt>
                <c:pt idx="1">
                  <c:v>0.784231821584648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35.5431883474007</c:v>
                </c:pt>
                <c:pt idx="1">
                  <c:v>1135.5431883474007</c:v>
                </c:pt>
              </c:numCache>
            </c:numRef>
          </c:xVal>
          <c:yVal>
            <c:numRef>
              <c:f>Sheet1!$B$167:$B$168</c:f>
              <c:numCache>
                <c:formatCode>General</c:formatCode>
                <c:ptCount val="2"/>
                <c:pt idx="0">
                  <c:v>0.784231821584648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35.5431883474007</c:v>
                </c:pt>
              </c:numCache>
            </c:numRef>
          </c:xVal>
          <c:yVal>
            <c:numRef>
              <c:f>Sheet1!$B$171:$B$172</c:f>
              <c:numCache>
                <c:formatCode>General</c:formatCode>
                <c:ptCount val="2"/>
                <c:pt idx="0">
                  <c:v>0.7842318215846483</c:v>
                </c:pt>
                <c:pt idx="1">
                  <c:v>0.784231821584648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35.5431883474007</c:v>
                </c:pt>
                <c:pt idx="1">
                  <c:v>1135.5431883474007</c:v>
                </c:pt>
              </c:numCache>
            </c:numRef>
          </c:xVal>
          <c:yVal>
            <c:numRef>
              <c:f>Sheet1!$B$175:$B$176</c:f>
              <c:numCache>
                <c:formatCode>General</c:formatCode>
                <c:ptCount val="2"/>
                <c:pt idx="0">
                  <c:v>0.784231821584648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02.092475548323</c:v>
                </c:pt>
              </c:numCache>
            </c:numRef>
          </c:xVal>
          <c:yVal>
            <c:numRef>
              <c:f>Sheet1!$B$179:$B$180</c:f>
              <c:numCache>
                <c:formatCode>General</c:formatCode>
                <c:ptCount val="2"/>
                <c:pt idx="0">
                  <c:v>0.7440236304336465</c:v>
                </c:pt>
                <c:pt idx="1">
                  <c:v>0.744023630433646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02.092475548323</c:v>
                </c:pt>
                <c:pt idx="1">
                  <c:v>1302.092475548323</c:v>
                </c:pt>
              </c:numCache>
            </c:numRef>
          </c:xVal>
          <c:yVal>
            <c:numRef>
              <c:f>Sheet1!$B$183:$B$184</c:f>
              <c:numCache>
                <c:formatCode>General</c:formatCode>
                <c:ptCount val="2"/>
                <c:pt idx="0">
                  <c:v>0.744023630433646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66.1603</c:v>
                </c:pt>
                <c:pt idx="1">
                  <c:v>1237.0959</c:v>
                </c:pt>
                <c:pt idx="2">
                  <c:v>1327.7358</c:v>
                </c:pt>
                <c:pt idx="3">
                  <c:v>1418.4652</c:v>
                </c:pt>
                <c:pt idx="4">
                  <c:v>1382.9032</c:v>
                </c:pt>
                <c:pt idx="5">
                  <c:v>1421.4507</c:v>
                </c:pt>
                <c:pt idx="6">
                  <c:v>1399.8118</c:v>
                </c:pt>
                <c:pt idx="7">
                  <c:v>1372.3843</c:v>
                </c:pt>
                <c:pt idx="8">
                  <c:v>1371.358</c:v>
                </c:pt>
                <c:pt idx="9">
                  <c:v>1193.2761</c:v>
                </c:pt>
                <c:pt idx="10">
                  <c:v>1184.9805</c:v>
                </c:pt>
                <c:pt idx="11">
                  <c:v>1370.6964</c:v>
                </c:pt>
                <c:pt idx="12">
                  <c:v>1319.0154</c:v>
                </c:pt>
                <c:pt idx="13">
                  <c:v>1222.0831</c:v>
                </c:pt>
                <c:pt idx="14">
                  <c:v>1360.4825</c:v>
                </c:pt>
                <c:pt idx="15">
                  <c:v>1273.1771</c:v>
                </c:pt>
                <c:pt idx="16">
                  <c:v>1378.8789</c:v>
                </c:pt>
                <c:pt idx="17">
                  <c:v>1389.8381</c:v>
                </c:pt>
                <c:pt idx="18">
                  <c:v>1458.1914</c:v>
                </c:pt>
                <c:pt idx="19">
                  <c:v>1430.6062</c:v>
                </c:pt>
                <c:pt idx="20">
                  <c:v>1342.1098</c:v>
                </c:pt>
                <c:pt idx="21">
                  <c:v>1362.2043</c:v>
                </c:pt>
                <c:pt idx="22">
                  <c:v>1349.8837</c:v>
                </c:pt>
                <c:pt idx="23">
                  <c:v>969.6775</c:v>
                </c:pt>
                <c:pt idx="24">
                  <c:v>853.4532</c:v>
                </c:pt>
                <c:pt idx="25">
                  <c:v>960.0455</c:v>
                </c:pt>
                <c:pt idx="26">
                  <c:v>1035.8322</c:v>
                </c:pt>
                <c:pt idx="27">
                  <c:v>1194.5783</c:v>
                </c:pt>
                <c:pt idx="28">
                  <c:v>1330.5282</c:v>
                </c:pt>
                <c:pt idx="29">
                  <c:v>1289.2316</c:v>
                </c:pt>
                <c:pt idx="30">
                  <c:v>1316.4089</c:v>
                </c:pt>
                <c:pt idx="31">
                  <c:v>1321.8903</c:v>
                </c:pt>
                <c:pt idx="32">
                  <c:v>1340.2981</c:v>
                </c:pt>
                <c:pt idx="33">
                  <c:v>1352.2286</c:v>
                </c:pt>
                <c:pt idx="34">
                  <c:v>1388.9333</c:v>
                </c:pt>
                <c:pt idx="35">
                  <c:v>1322.719</c:v>
                </c:pt>
                <c:pt idx="36">
                  <c:v>1243.6269</c:v>
                </c:pt>
                <c:pt idx="37">
                  <c:v>1310.8486</c:v>
                </c:pt>
                <c:pt idx="38">
                  <c:v>1295.5764</c:v>
                </c:pt>
                <c:pt idx="39">
                  <c:v>1375.0286</c:v>
                </c:pt>
                <c:pt idx="40">
                  <c:v>1372.64</c:v>
                </c:pt>
                <c:pt idx="41">
                  <c:v>1381.17</c:v>
                </c:pt>
                <c:pt idx="42">
                  <c:v>1381.8652</c:v>
                </c:pt>
                <c:pt idx="43">
                  <c:v>1368.4366</c:v>
                </c:pt>
                <c:pt idx="44">
                  <c:v>1334.4726</c:v>
                </c:pt>
                <c:pt idx="45">
                  <c:v>1344.071</c:v>
                </c:pt>
                <c:pt idx="46">
                  <c:v>1356.0503</c:v>
                </c:pt>
                <c:pt idx="47">
                  <c:v>1373.1906</c:v>
                </c:pt>
                <c:pt idx="48">
                  <c:v>1314.516</c:v>
                </c:pt>
                <c:pt idx="49">
                  <c:v>1256.5273</c:v>
                </c:pt>
                <c:pt idx="50">
                  <c:v>1197.9745</c:v>
                </c:pt>
                <c:pt idx="51">
                  <c:v>1229.9394</c:v>
                </c:pt>
                <c:pt idx="52">
                  <c:v>1135.5431883474007</c:v>
                </c:pt>
                <c:pt idx="53">
                  <c:v>1135.5431883474007</c:v>
                </c:pt>
                <c:pt idx="54">
                  <c:v>1302.092475548323</c:v>
                </c:pt>
              </c:numCache>
            </c:numRef>
          </c:xVal>
          <c:yVal>
            <c:numRef>
              <c:f>Sheet1!$B$187:$B$241</c:f>
              <c:numCache>
                <c:formatCode>General</c:formatCode>
                <c:ptCount val="55"/>
                <c:pt idx="0">
                  <c:v>0.7526983465324033</c:v>
                </c:pt>
                <c:pt idx="1">
                  <c:v>0.7597150499391214</c:v>
                </c:pt>
                <c:pt idx="2">
                  <c:v>0.7378328402559838</c:v>
                </c:pt>
                <c:pt idx="3">
                  <c:v>0.7159290235568782</c:v>
                </c:pt>
                <c:pt idx="4">
                  <c:v>0.724514372180958</c:v>
                </c:pt>
                <c:pt idx="5">
                  <c:v>0.7152082666164026</c:v>
                </c:pt>
                <c:pt idx="6">
                  <c:v>0.7204323119552926</c:v>
                </c:pt>
                <c:pt idx="7">
                  <c:v>0.7270538363180098</c:v>
                </c:pt>
                <c:pt idx="8">
                  <c:v>0.7273016048150823</c:v>
                </c:pt>
                <c:pt idx="9">
                  <c:v>0.7702939898085736</c:v>
                </c:pt>
                <c:pt idx="10">
                  <c:v>0.7722967066986787</c:v>
                </c:pt>
                <c:pt idx="11">
                  <c:v>0.7274613277398247</c:v>
                </c:pt>
                <c:pt idx="12">
                  <c:v>0.7399381120107058</c:v>
                </c:pt>
                <c:pt idx="13">
                  <c:v>0.7633394276969412</c:v>
                </c:pt>
                <c:pt idx="14">
                  <c:v>0.7299271590291643</c:v>
                </c:pt>
                <c:pt idx="15">
                  <c:v>0.7510043564805096</c:v>
                </c:pt>
                <c:pt idx="16">
                  <c:v>0.7254859153581665</c:v>
                </c:pt>
                <c:pt idx="17">
                  <c:v>0.7228401543593189</c:v>
                </c:pt>
                <c:pt idx="18">
                  <c:v>0.7063383572133113</c:v>
                </c:pt>
                <c:pt idx="19">
                  <c:v>0.7129979533795835</c:v>
                </c:pt>
                <c:pt idx="20">
                  <c:v>0.734362681065766</c:v>
                </c:pt>
                <c:pt idx="21">
                  <c:v>0.7295114834973904</c:v>
                </c:pt>
                <c:pt idx="22">
                  <c:v>0.7324859125581249</c:v>
                </c:pt>
                <c:pt idx="23">
                  <c:v>0.8242749788658873</c:v>
                </c:pt>
                <c:pt idx="24">
                  <c:v>0.8523337532343045</c:v>
                </c:pt>
                <c:pt idx="25">
                  <c:v>0.8266003283385587</c:v>
                </c:pt>
                <c:pt idx="26">
                  <c:v>0.8083039659132576</c:v>
                </c:pt>
                <c:pt idx="27">
                  <c:v>0.7699796137617181</c:v>
                </c:pt>
                <c:pt idx="28">
                  <c:v>0.7371587013577812</c:v>
                </c:pt>
                <c:pt idx="29">
                  <c:v>0.7471284923703558</c:v>
                </c:pt>
                <c:pt idx="30">
                  <c:v>0.74056737108468</c:v>
                </c:pt>
                <c:pt idx="31">
                  <c:v>0.7392440560307451</c:v>
                </c:pt>
                <c:pt idx="32">
                  <c:v>0.734800060181177</c:v>
                </c:pt>
                <c:pt idx="33">
                  <c:v>0.7319198087397625</c:v>
                </c:pt>
                <c:pt idx="34">
                  <c:v>0.7230585904268929</c:v>
                </c:pt>
                <c:pt idx="35">
                  <c:v>0.7390439919622231</c:v>
                </c:pt>
                <c:pt idx="36">
                  <c:v>0.7581383413213871</c:v>
                </c:pt>
                <c:pt idx="37">
                  <c:v>0.7419097341113507</c:v>
                </c:pt>
                <c:pt idx="38">
                  <c:v>0.745596736002602</c:v>
                </c:pt>
                <c:pt idx="39">
                  <c:v>0.7264154515993029</c:v>
                </c:pt>
                <c:pt idx="40">
                  <c:v>0.726992105435518</c:v>
                </c:pt>
                <c:pt idx="41">
                  <c:v>0.7249327998913021</c:v>
                </c:pt>
                <c:pt idx="42">
                  <c:v>0.7247649652823527</c:v>
                </c:pt>
                <c:pt idx="43">
                  <c:v>0.7280068867865797</c:v>
                </c:pt>
                <c:pt idx="44">
                  <c:v>0.7362064475724817</c:v>
                </c:pt>
                <c:pt idx="45">
                  <c:v>0.7338892097840174</c:v>
                </c:pt>
                <c:pt idx="46">
                  <c:v>0.7309971770869688</c:v>
                </c:pt>
                <c:pt idx="47">
                  <c:v>0.7268591800389592</c:v>
                </c:pt>
                <c:pt idx="48">
                  <c:v>0.7410243534369245</c:v>
                </c:pt>
                <c:pt idx="49">
                  <c:v>0.7550239374242476</c:v>
                </c:pt>
                <c:pt idx="50">
                  <c:v>0.7691597059669624</c:v>
                </c:pt>
                <c:pt idx="51">
                  <c:v>0.7614427662494592</c:v>
                </c:pt>
                <c:pt idx="52">
                  <c:v>0.7842318215846483</c:v>
                </c:pt>
                <c:pt idx="53">
                  <c:v>0.7842318215846483</c:v>
                </c:pt>
                <c:pt idx="54">
                  <c:v>0.744023630433646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50.0"/>
          <c:min val="68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52267818574514"/>
          <c:min val="0.530474732006125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8390953413654619</c:v>
                </c:pt>
                <c:pt idx="1">
                  <c:v>1.0873006024096386</c:v>
                </c:pt>
                <c:pt idx="2">
                  <c:v>0.8635106024096385</c:v>
                </c:pt>
                <c:pt idx="3">
                  <c:v>0.8710790192926045</c:v>
                </c:pt>
                <c:pt idx="4">
                  <c:v>0.7229607501674481</c:v>
                </c:pt>
                <c:pt idx="5">
                  <c:v>0.0</c:v>
                </c:pt>
                <c:pt idx="6">
                  <c:v>0.868412379421222</c:v>
                </c:pt>
                <c:pt idx="7">
                  <c:v>0.7026488278633622</c:v>
                </c:pt>
                <c:pt idx="8">
                  <c:v>0.7760245434623814</c:v>
                </c:pt>
                <c:pt idx="9">
                  <c:v>1.0761487754888257</c:v>
                </c:pt>
                <c:pt idx="10">
                  <c:v>0.9435204464285714</c:v>
                </c:pt>
                <c:pt idx="11">
                  <c:v>1.061656855851331</c:v>
                </c:pt>
                <c:pt idx="12">
                  <c:v>0.70212330877428</c:v>
                </c:pt>
                <c:pt idx="13">
                  <c:v>0.7266443402545212</c:v>
                </c:pt>
                <c:pt idx="14">
                  <c:v>1.0680904522613066</c:v>
                </c:pt>
                <c:pt idx="15">
                  <c:v>0.7247411252511722</c:v>
                </c:pt>
                <c:pt idx="16">
                  <c:v>0.7872534696859022</c:v>
                </c:pt>
                <c:pt idx="17">
                  <c:v>0.9004409967845659</c:v>
                </c:pt>
                <c:pt idx="18">
                  <c:v>0.9024895498392282</c:v>
                </c:pt>
                <c:pt idx="19">
                  <c:v>0.8900558681672025</c:v>
                </c:pt>
                <c:pt idx="20">
                  <c:v>1.149425326633166</c:v>
                </c:pt>
                <c:pt idx="21">
                  <c:v>0.8864575562700966</c:v>
                </c:pt>
                <c:pt idx="22">
                  <c:v>0.9145010450160772</c:v>
                </c:pt>
                <c:pt idx="23">
                  <c:v>1.2926727898966703</c:v>
                </c:pt>
                <c:pt idx="24">
                  <c:v>0.0</c:v>
                </c:pt>
                <c:pt idx="25">
                  <c:v>0.8953930895942146</c:v>
                </c:pt>
                <c:pt idx="26">
                  <c:v>1.1148312562814071</c:v>
                </c:pt>
                <c:pt idx="27">
                  <c:v>1.1536649246231157</c:v>
                </c:pt>
                <c:pt idx="28">
                  <c:v>1.1356624120603014</c:v>
                </c:pt>
                <c:pt idx="29">
                  <c:v>1.40581585295807</c:v>
                </c:pt>
                <c:pt idx="30">
                  <c:v>1.362424252873563</c:v>
                </c:pt>
                <c:pt idx="31">
                  <c:v>1.3766283908045978</c:v>
                </c:pt>
                <c:pt idx="32">
                  <c:v>1.1202063465410381</c:v>
                </c:pt>
                <c:pt idx="33">
                  <c:v>0.8253460093896713</c:v>
                </c:pt>
                <c:pt idx="34">
                  <c:v>1.2401662977867203</c:v>
                </c:pt>
                <c:pt idx="35">
                  <c:v>1.6590157046979865</c:v>
                </c:pt>
                <c:pt idx="36">
                  <c:v>0.9838845875251508</c:v>
                </c:pt>
                <c:pt idx="37">
                  <c:v>1.2669517102615693</c:v>
                </c:pt>
                <c:pt idx="38">
                  <c:v>1.2390185110663983</c:v>
                </c:pt>
                <c:pt idx="39">
                  <c:v>1.8272232214765103</c:v>
                </c:pt>
                <c:pt idx="40">
                  <c:v>1.866857046979866</c:v>
                </c:pt>
                <c:pt idx="41">
                  <c:v>0.0</c:v>
                </c:pt>
                <c:pt idx="42">
                  <c:v>1.5502697701149426</c:v>
                </c:pt>
                <c:pt idx="43">
                  <c:v>1.004117399946759</c:v>
                </c:pt>
                <c:pt idx="44">
                  <c:v>0.9115364185110664</c:v>
                </c:pt>
                <c:pt idx="45">
                  <c:v>1.370188430583501</c:v>
                </c:pt>
                <c:pt idx="46">
                  <c:v>1.8392069798657718</c:v>
                </c:pt>
                <c:pt idx="47">
                  <c:v>1.2905767992424242</c:v>
                </c:pt>
                <c:pt idx="48">
                  <c:v>1.168083220338983</c:v>
                </c:pt>
                <c:pt idx="49">
                  <c:v>1.0052793999268204</c:v>
                </c:pt>
                <c:pt idx="50">
                  <c:v>1.364784508885386</c:v>
                </c:pt>
                <c:pt idx="51">
                  <c:v>0.9000873154362417</c:v>
                </c:pt>
                <c:pt idx="52">
                  <c:v>0.9480033557046981</c:v>
                </c:pt>
                <c:pt idx="53">
                  <c:v>1.2752288143176733</c:v>
                </c:pt>
                <c:pt idx="54">
                  <c:v>1.2618238926174496</c:v>
                </c:pt>
                <c:pt idx="55">
                  <c:v>1.2751386129753914</c:v>
                </c:pt>
                <c:pt idx="56">
                  <c:v>1.0674073712277965</c:v>
                </c:pt>
                <c:pt idx="57">
                  <c:v>1.1636805958132046</c:v>
                </c:pt>
                <c:pt idx="58">
                  <c:v>1.2357318377911992</c:v>
                </c:pt>
                <c:pt idx="59">
                  <c:v>1.656919493962047</c:v>
                </c:pt>
                <c:pt idx="60">
                  <c:v>1.0651298938894986</c:v>
                </c:pt>
                <c:pt idx="61">
                  <c:v>1.477800301962758</c:v>
                </c:pt>
                <c:pt idx="62">
                  <c:v>1.666779183438758</c:v>
                </c:pt>
                <c:pt idx="63">
                  <c:v>1.0595174533479692</c:v>
                </c:pt>
                <c:pt idx="64">
                  <c:v>1.6115441058079356</c:v>
                </c:pt>
                <c:pt idx="65">
                  <c:v>1.11236850583971</c:v>
                </c:pt>
                <c:pt idx="66">
                  <c:v>1.1827784654514624</c:v>
                </c:pt>
                <c:pt idx="67">
                  <c:v>1.1277979066022543</c:v>
                </c:pt>
                <c:pt idx="68">
                  <c:v>1.3777332982981116</c:v>
                </c:pt>
                <c:pt idx="69">
                  <c:v>1.0009718508092893</c:v>
                </c:pt>
                <c:pt idx="70">
                  <c:v>1.1683698872785828</c:v>
                </c:pt>
                <c:pt idx="71">
                  <c:v>1.4493286720321932</c:v>
                </c:pt>
                <c:pt idx="72">
                  <c:v>1.3243031569173631</c:v>
                </c:pt>
                <c:pt idx="73">
                  <c:v>1.1498211584875302</c:v>
                </c:pt>
                <c:pt idx="74">
                  <c:v>1.442265291750503</c:v>
                </c:pt>
                <c:pt idx="75">
                  <c:v>1.4505693158953723</c:v>
                </c:pt>
                <c:pt idx="76">
                  <c:v>1.3047135199779096</c:v>
                </c:pt>
                <c:pt idx="77">
                  <c:v>1.119210666351015</c:v>
                </c:pt>
                <c:pt idx="78">
                  <c:v>1.4976460221550856</c:v>
                </c:pt>
                <c:pt idx="79">
                  <c:v>1.185616364369206</c:v>
                </c:pt>
                <c:pt idx="80">
                  <c:v>1.1482748812154306</c:v>
                </c:pt>
                <c:pt idx="81">
                  <c:v>1.2257036067310947</c:v>
                </c:pt>
                <c:pt idx="82">
                  <c:v>1.1265732499495662</c:v>
                </c:pt>
                <c:pt idx="83">
                  <c:v>1.0494699381759227</c:v>
                </c:pt>
                <c:pt idx="84">
                  <c:v>1.4397003553263676</c:v>
                </c:pt>
                <c:pt idx="85">
                  <c:v>1.166612843295638</c:v>
                </c:pt>
                <c:pt idx="86">
                  <c:v>1.1855191790040378</c:v>
                </c:pt>
                <c:pt idx="87">
                  <c:v>1.3725260526821765</c:v>
                </c:pt>
                <c:pt idx="88">
                  <c:v>1.1996440349991588</c:v>
                </c:pt>
                <c:pt idx="89">
                  <c:v>1.338382300400258</c:v>
                </c:pt>
                <c:pt idx="90">
                  <c:v>1.139966303030303</c:v>
                </c:pt>
                <c:pt idx="91">
                  <c:v>1.1641950707070707</c:v>
                </c:pt>
                <c:pt idx="92">
                  <c:v>1.2756792836081687</c:v>
                </c:pt>
                <c:pt idx="93">
                  <c:v>1.702960623556582</c:v>
                </c:pt>
                <c:pt idx="94">
                  <c:v>1.2593786147186148</c:v>
                </c:pt>
                <c:pt idx="95">
                  <c:v>1.3120783838383838</c:v>
                </c:pt>
                <c:pt idx="96">
                  <c:v>1.3025455461674484</c:v>
                </c:pt>
                <c:pt idx="97">
                  <c:v>1.2807524010550015</c:v>
                </c:pt>
                <c:pt idx="98">
                  <c:v>1.2934522413380953</c:v>
                </c:pt>
                <c:pt idx="99">
                  <c:v>1.177006720890269</c:v>
                </c:pt>
                <c:pt idx="100">
                  <c:v>1.1946595062618883</c:v>
                </c:pt>
                <c:pt idx="101">
                  <c:v>1.193663780547014</c:v>
                </c:pt>
                <c:pt idx="102">
                  <c:v>1.4089954248366015</c:v>
                </c:pt>
                <c:pt idx="103">
                  <c:v>1.1848257366102695</c:v>
                </c:pt>
                <c:pt idx="104">
                  <c:v>1.1180128224582702</c:v>
                </c:pt>
              </c:numCache>
            </c:numRef>
          </c:xVal>
          <c:yVal>
            <c:numRef>
              <c:f>Sheet1!$B$2:$B$106</c:f>
              <c:numCache>
                <c:formatCode>General</c:formatCode>
                <c:ptCount val="105"/>
                <c:pt idx="0">
                  <c:v>0.2818991097922849</c:v>
                </c:pt>
                <c:pt idx="1">
                  <c:v>0.3130287648054145</c:v>
                </c:pt>
                <c:pt idx="2">
                  <c:v>0.29821717990275526</c:v>
                </c:pt>
                <c:pt idx="3">
                  <c:v>0.29375</c:v>
                </c:pt>
                <c:pt idx="4">
                  <c:v>0.2748735244519393</c:v>
                </c:pt>
                <c:pt idx="5">
                  <c:v>0.2920892494929006</c:v>
                </c:pt>
                <c:pt idx="6">
                  <c:v>0.2456445993031359</c:v>
                </c:pt>
                <c:pt idx="7">
                  <c:v>0.24951267056530213</c:v>
                </c:pt>
                <c:pt idx="8">
                  <c:v>0.25535714285714284</c:v>
                </c:pt>
                <c:pt idx="9">
                  <c:v>0.24168126094570927</c:v>
                </c:pt>
                <c:pt idx="10">
                  <c:v>0.24096385542168675</c:v>
                </c:pt>
                <c:pt idx="11">
                  <c:v>0.23777403035413153</c:v>
                </c:pt>
                <c:pt idx="12">
                  <c:v>0.21540880503144655</c:v>
                </c:pt>
                <c:pt idx="13">
                  <c:v>0.21008403361344538</c:v>
                </c:pt>
                <c:pt idx="14">
                  <c:v>0.19230769230769232</c:v>
                </c:pt>
                <c:pt idx="15">
                  <c:v>0.21081081081081082</c:v>
                </c:pt>
                <c:pt idx="16">
                  <c:v>0.25</c:v>
                </c:pt>
                <c:pt idx="17">
                  <c:v>0.2642857142857143</c:v>
                </c:pt>
                <c:pt idx="18">
                  <c:v>0.3013698630136986</c:v>
                </c:pt>
                <c:pt idx="19">
                  <c:v>0.30198019801980197</c:v>
                </c:pt>
                <c:pt idx="20">
                  <c:v>0.24645892351274787</c:v>
                </c:pt>
                <c:pt idx="21">
                  <c:v>0.2467948717948718</c:v>
                </c:pt>
                <c:pt idx="22">
                  <c:v>0.23921568627450981</c:v>
                </c:pt>
                <c:pt idx="23">
                  <c:v>0.25311203319502074</c:v>
                </c:pt>
                <c:pt idx="24">
                  <c:v>0.25287356321839083</c:v>
                </c:pt>
                <c:pt idx="25">
                  <c:v>0.2631578947368421</c:v>
                </c:pt>
                <c:pt idx="26">
                  <c:v>0.23728813559322035</c:v>
                </c:pt>
                <c:pt idx="27">
                  <c:v>0.1829652996845426</c:v>
                </c:pt>
                <c:pt idx="28">
                  <c:v>0.2012779552715655</c:v>
                </c:pt>
                <c:pt idx="29">
                  <c:v>0.17559523809523808</c:v>
                </c:pt>
                <c:pt idx="30">
                  <c:v>0.1903114186851211</c:v>
                </c:pt>
                <c:pt idx="31">
                  <c:v>0.23715415019762845</c:v>
                </c:pt>
                <c:pt idx="32">
                  <c:v>0.26258992805755393</c:v>
                </c:pt>
                <c:pt idx="33">
                  <c:v>0.3076923076923077</c:v>
                </c:pt>
                <c:pt idx="34">
                  <c:v>0.284375</c:v>
                </c:pt>
                <c:pt idx="35">
                  <c:v>0.20725388601036268</c:v>
                </c:pt>
                <c:pt idx="36">
                  <c:v>0.25176470588235295</c:v>
                </c:pt>
                <c:pt idx="37">
                  <c:v>0.26058631921824105</c:v>
                </c:pt>
                <c:pt idx="38">
                  <c:v>0.24367088607594936</c:v>
                </c:pt>
                <c:pt idx="39">
                  <c:v>0.22614840989399293</c:v>
                </c:pt>
                <c:pt idx="40">
                  <c:v>0.28313253012048195</c:v>
                </c:pt>
                <c:pt idx="41">
                  <c:v>0.27450980392156865</c:v>
                </c:pt>
                <c:pt idx="42">
                  <c:v>0.2648648648648649</c:v>
                </c:pt>
                <c:pt idx="43">
                  <c:v>0.26490066225165565</c:v>
                </c:pt>
                <c:pt idx="44">
                  <c:v>0.24339622641509434</c:v>
                </c:pt>
                <c:pt idx="45">
                  <c:v>0.2849162011173184</c:v>
                </c:pt>
                <c:pt idx="46">
                  <c:v>0.2703180212014134</c:v>
                </c:pt>
                <c:pt idx="47">
                  <c:v>0.26812816188870153</c:v>
                </c:pt>
                <c:pt idx="48">
                  <c:v>0.27860026917900405</c:v>
                </c:pt>
                <c:pt idx="49">
                  <c:v>0.23696248856358645</c:v>
                </c:pt>
                <c:pt idx="50">
                  <c:v>0.24605678233438485</c:v>
                </c:pt>
                <c:pt idx="51">
                  <c:v>0.24579124579124578</c:v>
                </c:pt>
                <c:pt idx="52">
                  <c:v>0.23564064801178203</c:v>
                </c:pt>
                <c:pt idx="53">
                  <c:v>0.25384615384615383</c:v>
                </c:pt>
                <c:pt idx="54">
                  <c:v>0.22717149220489977</c:v>
                </c:pt>
                <c:pt idx="55">
                  <c:v>0.20309050772626933</c:v>
                </c:pt>
                <c:pt idx="56">
                  <c:v>0.2484725050916497</c:v>
                </c:pt>
                <c:pt idx="57">
                  <c:v>0.248046875</c:v>
                </c:pt>
                <c:pt idx="58">
                  <c:v>0.2551594746716698</c:v>
                </c:pt>
                <c:pt idx="59">
                  <c:v>0.2394904458598726</c:v>
                </c:pt>
                <c:pt idx="60">
                  <c:v>0.24169986719787517</c:v>
                </c:pt>
                <c:pt idx="61">
                  <c:v>0.25126475548060706</c:v>
                </c:pt>
                <c:pt idx="62">
                  <c:v>0.2366412213740458</c:v>
                </c:pt>
                <c:pt idx="63">
                  <c:v>0.26180257510729615</c:v>
                </c:pt>
                <c:pt idx="64">
                  <c:v>0.2538569424964937</c:v>
                </c:pt>
                <c:pt idx="65">
                  <c:v>0.2559774964838256</c:v>
                </c:pt>
                <c:pt idx="66">
                  <c:v>0.24466338259441708</c:v>
                </c:pt>
                <c:pt idx="67">
                  <c:v>0.2689075630252101</c:v>
                </c:pt>
                <c:pt idx="68">
                  <c:v>0.2754237288135593</c:v>
                </c:pt>
                <c:pt idx="69">
                  <c:v>0.2741514360313316</c:v>
                </c:pt>
                <c:pt idx="70">
                  <c:v>0.28184281842818426</c:v>
                </c:pt>
                <c:pt idx="71">
                  <c:v>0.28</c:v>
                </c:pt>
                <c:pt idx="72">
                  <c:v>0.24817518248175183</c:v>
                </c:pt>
                <c:pt idx="73">
                  <c:v>0.24574209245742093</c:v>
                </c:pt>
                <c:pt idx="74">
                  <c:v>0.28690807799442897</c:v>
                </c:pt>
                <c:pt idx="75">
                  <c:v>0.25705329153605017</c:v>
                </c:pt>
                <c:pt idx="76">
                  <c:v>0.26176470588235295</c:v>
                </c:pt>
                <c:pt idx="77">
                  <c:v>0.23125</c:v>
                </c:pt>
                <c:pt idx="78">
                  <c:v>0.2777777777777778</c:v>
                </c:pt>
                <c:pt idx="79">
                  <c:v>0.27450980392156865</c:v>
                </c:pt>
                <c:pt idx="80">
                  <c:v>0.27007299270072993</c:v>
                </c:pt>
                <c:pt idx="81">
                  <c:v>0.27722772277227725</c:v>
                </c:pt>
                <c:pt idx="82">
                  <c:v>0.2910958904109589</c:v>
                </c:pt>
                <c:pt idx="83">
                  <c:v>0.291866028708134</c:v>
                </c:pt>
                <c:pt idx="84">
                  <c:v>0.2780487804878049</c:v>
                </c:pt>
                <c:pt idx="85">
                  <c:v>0.3</c:v>
                </c:pt>
                <c:pt idx="86">
                  <c:v>0.27906976744186046</c:v>
                </c:pt>
                <c:pt idx="87">
                  <c:v>0.30392156862745096</c:v>
                </c:pt>
                <c:pt idx="88">
                  <c:v>0.27953890489913547</c:v>
                </c:pt>
                <c:pt idx="89">
                  <c:v>0.2801556420233463</c:v>
                </c:pt>
                <c:pt idx="90">
                  <c:v>0.2857142857142857</c:v>
                </c:pt>
                <c:pt idx="91">
                  <c:v>0.3201581027667984</c:v>
                </c:pt>
                <c:pt idx="92">
                  <c:v>0.273015873015873</c:v>
                </c:pt>
                <c:pt idx="93">
                  <c:v>0.25622775800711745</c:v>
                </c:pt>
                <c:pt idx="94">
                  <c:v>0.28832116788321166</c:v>
                </c:pt>
                <c:pt idx="95">
                  <c:v>0.26066350710900477</c:v>
                </c:pt>
                <c:pt idx="96">
                  <c:v>0.265658747300216</c:v>
                </c:pt>
                <c:pt idx="97">
                  <c:v>0.2785234899328859</c:v>
                </c:pt>
                <c:pt idx="98">
                  <c:v>0.2822902796271638</c:v>
                </c:pt>
                <c:pt idx="99">
                  <c:v>0.29161290322580646</c:v>
                </c:pt>
                <c:pt idx="100">
                  <c:v>0.2592267135325132</c:v>
                </c:pt>
                <c:pt idx="101">
                  <c:v>0.2846153846153846</c:v>
                </c:pt>
                <c:pt idx="102">
                  <c:v>0.2938230383973289</c:v>
                </c:pt>
                <c:pt idx="103">
                  <c:v>0.26153846153846155</c:v>
                </c:pt>
                <c:pt idx="104">
                  <c:v>0.2699490662139219</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329946159123349</c:v>
                </c:pt>
                <c:pt idx="1">
                  <c:v>1.4035293669681104</c:v>
                </c:pt>
                <c:pt idx="2">
                  <c:v>1.2033303155292603</c:v>
                </c:pt>
                <c:pt idx="3">
                  <c:v>1.2867464594127807</c:v>
                </c:pt>
                <c:pt idx="4">
                  <c:v>1.4343225946555676</c:v>
                </c:pt>
                <c:pt idx="5">
                  <c:v>1.2820134889753567</c:v>
                </c:pt>
                <c:pt idx="6">
                  <c:v>1.6932450531022918</c:v>
                </c:pt>
                <c:pt idx="7">
                  <c:v>2.0426373015873014</c:v>
                </c:pt>
                <c:pt idx="8">
                  <c:v>1.1224073359073359</c:v>
                </c:pt>
                <c:pt idx="9">
                  <c:v>1.6337134213421343</c:v>
                </c:pt>
                <c:pt idx="10">
                  <c:v>1.1809775601795185</c:v>
                </c:pt>
                <c:pt idx="11">
                  <c:v>1.3090471748878925</c:v>
                </c:pt>
                <c:pt idx="12">
                  <c:v>1.333452974440172</c:v>
                </c:pt>
                <c:pt idx="13">
                  <c:v>1.3448357642808761</c:v>
                </c:pt>
                <c:pt idx="14">
                  <c:v>1.4000126891166425</c:v>
                </c:pt>
                <c:pt idx="15">
                  <c:v>1.2119833228298662</c:v>
                </c:pt>
                <c:pt idx="16">
                  <c:v>1.1507754276827373</c:v>
                </c:pt>
                <c:pt idx="17">
                  <c:v>1.021837614678899</c:v>
                </c:pt>
                <c:pt idx="18">
                  <c:v>0.9322739130434783</c:v>
                </c:pt>
                <c:pt idx="19">
                  <c:v>1.0626856363867403</c:v>
                </c:pt>
                <c:pt idx="20">
                  <c:v>0.9353684447300771</c:v>
                </c:pt>
                <c:pt idx="21">
                  <c:v>1.9324700662251655</c:v>
                </c:pt>
                <c:pt idx="22">
                  <c:v>1.8952585858585858</c:v>
                </c:pt>
                <c:pt idx="23">
                  <c:v>1.3779387015370497</c:v>
                </c:pt>
                <c:pt idx="24">
                  <c:v>0.9925409836065574</c:v>
                </c:pt>
                <c:pt idx="25">
                  <c:v>1.190882880755608</c:v>
                </c:pt>
                <c:pt idx="26">
                  <c:v>1.063981227694504</c:v>
                </c:pt>
                <c:pt idx="27">
                  <c:v>1.6125836575875487</c:v>
                </c:pt>
                <c:pt idx="28">
                  <c:v>1.1532276529821843</c:v>
                </c:pt>
                <c:pt idx="29">
                  <c:v>1.0013646175839885</c:v>
                </c:pt>
                <c:pt idx="30">
                  <c:v>1.1429033044846577</c:v>
                </c:pt>
                <c:pt idx="31">
                  <c:v>1.1056794265788454</c:v>
                </c:pt>
                <c:pt idx="32">
                  <c:v>1.0379400633134013</c:v>
                </c:pt>
                <c:pt idx="33">
                  <c:v>1.229693944491169</c:v>
                </c:pt>
                <c:pt idx="34">
                  <c:v>1.1431381129126783</c:v>
                </c:pt>
                <c:pt idx="35">
                  <c:v>1.3514802306805076</c:v>
                </c:pt>
                <c:pt idx="36">
                  <c:v>0.954437312913331</c:v>
                </c:pt>
                <c:pt idx="37">
                  <c:v>1.0346469269703542</c:v>
                </c:pt>
                <c:pt idx="38">
                  <c:v>0.9360176317501627</c:v>
                </c:pt>
                <c:pt idx="39">
                  <c:v>1.1584566272859687</c:v>
                </c:pt>
                <c:pt idx="40">
                  <c:v>1.3255034984856522</c:v>
                </c:pt>
                <c:pt idx="41">
                  <c:v>1.2920391914675238</c:v>
                </c:pt>
                <c:pt idx="42">
                  <c:v>1.1845703907006782</c:v>
                </c:pt>
                <c:pt idx="43">
                  <c:v>1.1345399027513683</c:v>
                </c:pt>
                <c:pt idx="44">
                  <c:v>1.1520086477666733</c:v>
                </c:pt>
                <c:pt idx="45">
                  <c:v>1.2409317168218228</c:v>
                </c:pt>
                <c:pt idx="46">
                  <c:v>1.3228208526413345</c:v>
                </c:pt>
                <c:pt idx="47">
                  <c:v>1.1772893221927931</c:v>
                </c:pt>
                <c:pt idx="48">
                  <c:v>1.265374272615059</c:v>
                </c:pt>
                <c:pt idx="49">
                  <c:v>1.3293897011494253</c:v>
                </c:pt>
                <c:pt idx="50">
                  <c:v>1.332469095074456</c:v>
                </c:pt>
                <c:pt idx="51">
                  <c:v>1.1010465785381025</c:v>
                </c:pt>
              </c:numCache>
            </c:numRef>
          </c:xVal>
          <c:yVal>
            <c:numRef>
              <c:f>Sheet1!$B$109:$B$160</c:f>
              <c:numCache>
                <c:formatCode>General</c:formatCode>
                <c:ptCount val="52"/>
                <c:pt idx="0">
                  <c:v>0.19347319347319347</c:v>
                </c:pt>
                <c:pt idx="1">
                  <c:v>0.21073825503355706</c:v>
                </c:pt>
                <c:pt idx="2">
                  <c:v>0.2197070572569907</c:v>
                </c:pt>
                <c:pt idx="3">
                  <c:v>0.25298013245033113</c:v>
                </c:pt>
                <c:pt idx="4">
                  <c:v>0.23112480739599384</c:v>
                </c:pt>
                <c:pt idx="5">
                  <c:v>0.2483221476510067</c:v>
                </c:pt>
                <c:pt idx="6">
                  <c:v>0.2754237288135593</c:v>
                </c:pt>
                <c:pt idx="7">
                  <c:v>0.240625</c:v>
                </c:pt>
                <c:pt idx="8">
                  <c:v>0.3064516129032258</c:v>
                </c:pt>
                <c:pt idx="9">
                  <c:v>0.3062645011600928</c:v>
                </c:pt>
                <c:pt idx="10">
                  <c:v>0.25614754098360654</c:v>
                </c:pt>
                <c:pt idx="11">
                  <c:v>0.3094405594405594</c:v>
                </c:pt>
                <c:pt idx="12">
                  <c:v>0.3129370629370629</c:v>
                </c:pt>
                <c:pt idx="13">
                  <c:v>0.33078101071975496</c:v>
                </c:pt>
                <c:pt idx="14">
                  <c:v>0.25992063492063494</c:v>
                </c:pt>
                <c:pt idx="15">
                  <c:v>0.23711340206185566</c:v>
                </c:pt>
                <c:pt idx="16">
                  <c:v>0.26884422110552764</c:v>
                </c:pt>
                <c:pt idx="17">
                  <c:v>0.300561797752809</c:v>
                </c:pt>
                <c:pt idx="18">
                  <c:v>0.2808219178082192</c:v>
                </c:pt>
                <c:pt idx="19">
                  <c:v>0.25879396984924624</c:v>
                </c:pt>
                <c:pt idx="20">
                  <c:v>0.26011560693641617</c:v>
                </c:pt>
                <c:pt idx="21">
                  <c:v>0.2637795275590551</c:v>
                </c:pt>
                <c:pt idx="22">
                  <c:v>0.2791666666666667</c:v>
                </c:pt>
                <c:pt idx="23">
                  <c:v>0.1678832116788321</c:v>
                </c:pt>
                <c:pt idx="24">
                  <c:v>0.12095032397408208</c:v>
                </c:pt>
                <c:pt idx="25">
                  <c:v>0.14492753623188406</c:v>
                </c:pt>
                <c:pt idx="26">
                  <c:v>0.184</c:v>
                </c:pt>
                <c:pt idx="27">
                  <c:v>0.23939393939393938</c:v>
                </c:pt>
                <c:pt idx="28">
                  <c:v>0.22118380062305296</c:v>
                </c:pt>
                <c:pt idx="29">
                  <c:v>0.2558139534883721</c:v>
                </c:pt>
                <c:pt idx="30">
                  <c:v>0.2616487455197133</c:v>
                </c:pt>
                <c:pt idx="31">
                  <c:v>0.26976744186046514</c:v>
                </c:pt>
                <c:pt idx="32">
                  <c:v>0.21256038647342995</c:v>
                </c:pt>
                <c:pt idx="33">
                  <c:v>0.27049180327868855</c:v>
                </c:pt>
                <c:pt idx="34">
                  <c:v>0.26666666666666666</c:v>
                </c:pt>
                <c:pt idx="35">
                  <c:v>0.2938496583143508</c:v>
                </c:pt>
                <c:pt idx="36">
                  <c:v>0.23828125</c:v>
                </c:pt>
                <c:pt idx="37">
                  <c:v>0.24573378839590443</c:v>
                </c:pt>
                <c:pt idx="38">
                  <c:v>0.2328042328042328</c:v>
                </c:pt>
                <c:pt idx="39">
                  <c:v>0.28807947019867547</c:v>
                </c:pt>
                <c:pt idx="40">
                  <c:v>0.26688102893890675</c:v>
                </c:pt>
                <c:pt idx="41">
                  <c:v>0.27507163323782235</c:v>
                </c:pt>
                <c:pt idx="42">
                  <c:v>0.2610062893081761</c:v>
                </c:pt>
                <c:pt idx="43">
                  <c:v>0.23788546255506607</c:v>
                </c:pt>
                <c:pt idx="44">
                  <c:v>0.2571976967370441</c:v>
                </c:pt>
                <c:pt idx="45">
                  <c:v>0.2654600301659125</c:v>
                </c:pt>
                <c:pt idx="46">
                  <c:v>0.2564575645756458</c:v>
                </c:pt>
                <c:pt idx="47">
                  <c:v>0.2478031634446397</c:v>
                </c:pt>
                <c:pt idx="48">
                  <c:v>0.23300970873786409</c:v>
                </c:pt>
                <c:pt idx="49">
                  <c:v>0.24159402241594022</c:v>
                </c:pt>
                <c:pt idx="50">
                  <c:v>0.1824925816023739</c:v>
                </c:pt>
                <c:pt idx="51">
                  <c:v>0.186163522012578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2.440475598161675</c:v>
                </c:pt>
              </c:numCache>
            </c:numRef>
          </c:xVal>
          <c:yVal>
            <c:numRef>
              <c:f>Sheet1!$B$163:$B$164</c:f>
              <c:numCache>
                <c:formatCode>General</c:formatCode>
                <c:ptCount val="2"/>
                <c:pt idx="0">
                  <c:v>0.2804247502488339</c:v>
                </c:pt>
                <c:pt idx="1">
                  <c:v>0.280424750248833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440475598161675</c:v>
                </c:pt>
                <c:pt idx="1">
                  <c:v>2.440475598161675</c:v>
                </c:pt>
              </c:numCache>
            </c:numRef>
          </c:xVal>
          <c:yVal>
            <c:numRef>
              <c:f>Sheet1!$B$167:$B$168</c:f>
              <c:numCache>
                <c:formatCode>General</c:formatCode>
                <c:ptCount val="2"/>
                <c:pt idx="0">
                  <c:v>0.280424750248833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440475598161675</c:v>
                </c:pt>
              </c:numCache>
            </c:numRef>
          </c:xVal>
          <c:yVal>
            <c:numRef>
              <c:f>Sheet1!$B$171:$B$172</c:f>
              <c:numCache>
                <c:formatCode>General</c:formatCode>
                <c:ptCount val="2"/>
                <c:pt idx="0">
                  <c:v>0.2804247502488339</c:v>
                </c:pt>
                <c:pt idx="1">
                  <c:v>0.2804247502488339</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440475598161675</c:v>
                </c:pt>
                <c:pt idx="1">
                  <c:v>2.440475598161675</c:v>
                </c:pt>
              </c:numCache>
            </c:numRef>
          </c:xVal>
          <c:yVal>
            <c:numRef>
              <c:f>Sheet1!$B$175:$B$176</c:f>
              <c:numCache>
                <c:formatCode>General</c:formatCode>
                <c:ptCount val="2"/>
                <c:pt idx="0">
                  <c:v>0.280424750248833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16496030776655</c:v>
                </c:pt>
              </c:numCache>
            </c:numRef>
          </c:xVal>
          <c:yVal>
            <c:numRef>
              <c:f>Sheet1!$B$179:$B$180</c:f>
              <c:numCache>
                <c:formatCode>General</c:formatCode>
                <c:ptCount val="2"/>
                <c:pt idx="0">
                  <c:v>0.24608478261004968</c:v>
                </c:pt>
                <c:pt idx="1">
                  <c:v>0.2460847826100496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16496030776655</c:v>
                </c:pt>
                <c:pt idx="1">
                  <c:v>1.16496030776655</c:v>
                </c:pt>
              </c:numCache>
            </c:numRef>
          </c:xVal>
          <c:yVal>
            <c:numRef>
              <c:f>Sheet1!$B$183:$B$184</c:f>
              <c:numCache>
                <c:formatCode>General</c:formatCode>
                <c:ptCount val="2"/>
                <c:pt idx="0">
                  <c:v>0.2460847826100496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329946159123349</c:v>
                </c:pt>
                <c:pt idx="1">
                  <c:v>1.4035293669681104</c:v>
                </c:pt>
                <c:pt idx="2">
                  <c:v>1.2033303155292603</c:v>
                </c:pt>
                <c:pt idx="3">
                  <c:v>1.2867464594127807</c:v>
                </c:pt>
                <c:pt idx="4">
                  <c:v>1.4343225946555676</c:v>
                </c:pt>
                <c:pt idx="5">
                  <c:v>1.2820134889753567</c:v>
                </c:pt>
                <c:pt idx="6">
                  <c:v>1.6932450531022918</c:v>
                </c:pt>
                <c:pt idx="7">
                  <c:v>2.0426373015873014</c:v>
                </c:pt>
                <c:pt idx="8">
                  <c:v>1.1224073359073359</c:v>
                </c:pt>
                <c:pt idx="9">
                  <c:v>1.6337134213421343</c:v>
                </c:pt>
                <c:pt idx="10">
                  <c:v>1.1809775601795185</c:v>
                </c:pt>
                <c:pt idx="11">
                  <c:v>1.3090471748878925</c:v>
                </c:pt>
                <c:pt idx="12">
                  <c:v>1.333452974440172</c:v>
                </c:pt>
                <c:pt idx="13">
                  <c:v>1.3448357642808761</c:v>
                </c:pt>
                <c:pt idx="14">
                  <c:v>1.4000126891166425</c:v>
                </c:pt>
                <c:pt idx="15">
                  <c:v>1.2119833228298662</c:v>
                </c:pt>
                <c:pt idx="16">
                  <c:v>1.1507754276827373</c:v>
                </c:pt>
                <c:pt idx="17">
                  <c:v>1.021837614678899</c:v>
                </c:pt>
                <c:pt idx="18">
                  <c:v>0.9322739130434783</c:v>
                </c:pt>
                <c:pt idx="19">
                  <c:v>1.0626856363867403</c:v>
                </c:pt>
                <c:pt idx="20">
                  <c:v>0.9353684447300771</c:v>
                </c:pt>
                <c:pt idx="21">
                  <c:v>1.9324700662251655</c:v>
                </c:pt>
                <c:pt idx="22">
                  <c:v>1.8952585858585858</c:v>
                </c:pt>
                <c:pt idx="23">
                  <c:v>1.3779387015370497</c:v>
                </c:pt>
                <c:pt idx="24">
                  <c:v>0.9925409836065574</c:v>
                </c:pt>
                <c:pt idx="25">
                  <c:v>1.190882880755608</c:v>
                </c:pt>
                <c:pt idx="26">
                  <c:v>1.063981227694504</c:v>
                </c:pt>
                <c:pt idx="27">
                  <c:v>1.6125836575875487</c:v>
                </c:pt>
                <c:pt idx="28">
                  <c:v>1.1532276529821843</c:v>
                </c:pt>
                <c:pt idx="29">
                  <c:v>1.0013646175839885</c:v>
                </c:pt>
                <c:pt idx="30">
                  <c:v>1.1429033044846577</c:v>
                </c:pt>
                <c:pt idx="31">
                  <c:v>1.1056794265788454</c:v>
                </c:pt>
                <c:pt idx="32">
                  <c:v>1.0379400633134013</c:v>
                </c:pt>
                <c:pt idx="33">
                  <c:v>1.229693944491169</c:v>
                </c:pt>
                <c:pt idx="34">
                  <c:v>1.1431381129126783</c:v>
                </c:pt>
                <c:pt idx="35">
                  <c:v>1.3514802306805076</c:v>
                </c:pt>
                <c:pt idx="36">
                  <c:v>0.954437312913331</c:v>
                </c:pt>
                <c:pt idx="37">
                  <c:v>1.0346469269703542</c:v>
                </c:pt>
                <c:pt idx="38">
                  <c:v>0.9360176317501627</c:v>
                </c:pt>
                <c:pt idx="39">
                  <c:v>1.1584566272859687</c:v>
                </c:pt>
                <c:pt idx="40">
                  <c:v>1.3255034984856522</c:v>
                </c:pt>
                <c:pt idx="41">
                  <c:v>1.2920391914675238</c:v>
                </c:pt>
                <c:pt idx="42">
                  <c:v>1.1845703907006782</c:v>
                </c:pt>
                <c:pt idx="43">
                  <c:v>1.1345399027513683</c:v>
                </c:pt>
                <c:pt idx="44">
                  <c:v>1.1520086477666733</c:v>
                </c:pt>
                <c:pt idx="45">
                  <c:v>1.2409317168218228</c:v>
                </c:pt>
                <c:pt idx="46">
                  <c:v>1.3228208526413345</c:v>
                </c:pt>
                <c:pt idx="47">
                  <c:v>1.1772893221927931</c:v>
                </c:pt>
                <c:pt idx="48">
                  <c:v>1.265374272615059</c:v>
                </c:pt>
                <c:pt idx="49">
                  <c:v>1.3293897011494253</c:v>
                </c:pt>
                <c:pt idx="50">
                  <c:v>1.332469095074456</c:v>
                </c:pt>
                <c:pt idx="51">
                  <c:v>1.1010465785381025</c:v>
                </c:pt>
                <c:pt idx="52">
                  <c:v>2.440475598161675</c:v>
                </c:pt>
                <c:pt idx="53">
                  <c:v>2.440475598161675</c:v>
                </c:pt>
                <c:pt idx="54">
                  <c:v>1.16496030776655</c:v>
                </c:pt>
              </c:numCache>
            </c:numRef>
          </c:xVal>
          <c:yVal>
            <c:numRef>
              <c:f>Sheet1!$B$187:$B$241</c:f>
              <c:numCache>
                <c:formatCode>General</c:formatCode>
                <c:ptCount val="55"/>
                <c:pt idx="0">
                  <c:v>0.25052660219395656</c:v>
                </c:pt>
                <c:pt idx="1">
                  <c:v>0.25250764075552823</c:v>
                </c:pt>
                <c:pt idx="2">
                  <c:v>0.24711779635343115</c:v>
                </c:pt>
                <c:pt idx="3">
                  <c:v>0.24936356142036728</c:v>
                </c:pt>
                <c:pt idx="4">
                  <c:v>0.25333666918838493</c:v>
                </c:pt>
                <c:pt idx="5">
                  <c:v>0.24923613836798966</c:v>
                </c:pt>
                <c:pt idx="6">
                  <c:v>0.2603074902447602</c:v>
                </c:pt>
                <c:pt idx="7">
                  <c:v>0.269713977643669</c:v>
                </c:pt>
                <c:pt idx="8">
                  <c:v>0.24493915332000266</c:v>
                </c:pt>
                <c:pt idx="9">
                  <c:v>0.25870475421836997</c:v>
                </c:pt>
                <c:pt idx="10">
                  <c:v>0.24651600592321998</c:v>
                </c:pt>
                <c:pt idx="11">
                  <c:v>0.2499639508108385</c:v>
                </c:pt>
                <c:pt idx="12">
                  <c:v>0.25062101417427673</c:v>
                </c:pt>
                <c:pt idx="13">
                  <c:v>0.25092746650590486</c:v>
                </c:pt>
                <c:pt idx="14">
                  <c:v>0.2524129632518364</c:v>
                </c:pt>
                <c:pt idx="15">
                  <c:v>0.24735075631315764</c:v>
                </c:pt>
                <c:pt idx="16">
                  <c:v>0.24570289120764457</c:v>
                </c:pt>
                <c:pt idx="17">
                  <c:v>0.24223157231455955</c:v>
                </c:pt>
                <c:pt idx="18">
                  <c:v>0.23982030007115326</c:v>
                </c:pt>
                <c:pt idx="19">
                  <c:v>0.24333130020815547</c:v>
                </c:pt>
                <c:pt idx="20">
                  <c:v>0.2399036123754237</c:v>
                </c:pt>
                <c:pt idx="21">
                  <c:v>0.2667480082619785</c:v>
                </c:pt>
                <c:pt idx="22">
                  <c:v>0.2657461848881609</c:v>
                </c:pt>
                <c:pt idx="23">
                  <c:v>0.25181867792664253</c:v>
                </c:pt>
                <c:pt idx="24">
                  <c:v>0.24144283589522744</c:v>
                </c:pt>
                <c:pt idx="25">
                  <c:v>0.24678268119602625</c:v>
                </c:pt>
                <c:pt idx="26">
                  <c:v>0.24336618067091176</c:v>
                </c:pt>
                <c:pt idx="27">
                  <c:v>0.25813588969043255</c:v>
                </c:pt>
                <c:pt idx="28">
                  <c:v>0.24576891106492116</c:v>
                </c:pt>
                <c:pt idx="29">
                  <c:v>0.24168038953925125</c:v>
                </c:pt>
                <c:pt idx="30">
                  <c:v>0.24549095454337547</c:v>
                </c:pt>
                <c:pt idx="31">
                  <c:v>0.2444887973977095</c:v>
                </c:pt>
                <c:pt idx="32">
                  <c:v>0.24266508931680786</c:v>
                </c:pt>
                <c:pt idx="33">
                  <c:v>0.24782756923675928</c:v>
                </c:pt>
                <c:pt idx="34">
                  <c:v>0.24549727615620148</c:v>
                </c:pt>
                <c:pt idx="35">
                  <c:v>0.2511063516693039</c:v>
                </c:pt>
                <c:pt idx="36">
                  <c:v>0.24041699259222873</c:v>
                </c:pt>
                <c:pt idx="37">
                  <c:v>0.24257643009311852</c:v>
                </c:pt>
                <c:pt idx="38">
                  <c:v>0.23992109006575726</c:v>
                </c:pt>
                <c:pt idx="39">
                  <c:v>0.24590968774531702</c:v>
                </c:pt>
                <c:pt idx="40">
                  <c:v>0.2504069949860482</c:v>
                </c:pt>
                <c:pt idx="41">
                  <c:v>0.2495060546141763</c:v>
                </c:pt>
                <c:pt idx="42">
                  <c:v>0.24661273364162314</c:v>
                </c:pt>
                <c:pt idx="43">
                  <c:v>0.24526579146847236</c:v>
                </c:pt>
                <c:pt idx="44">
                  <c:v>0.24573609248566353</c:v>
                </c:pt>
                <c:pt idx="45">
                  <c:v>0.24813011734502</c:v>
                </c:pt>
                <c:pt idx="46">
                  <c:v>0.25033477164841056</c:v>
                </c:pt>
                <c:pt idx="47">
                  <c:v>0.24641670960426404</c:v>
                </c:pt>
                <c:pt idx="48">
                  <c:v>0.24878817027568217</c:v>
                </c:pt>
                <c:pt idx="49">
                  <c:v>0.2505116209946242</c:v>
                </c:pt>
                <c:pt idx="50">
                  <c:v>0.2505945257536098</c:v>
                </c:pt>
                <c:pt idx="51">
                  <c:v>0.24436406988327475</c:v>
                </c:pt>
                <c:pt idx="52">
                  <c:v>0.2804247502488339</c:v>
                </c:pt>
                <c:pt idx="53">
                  <c:v>0.2804247502488339</c:v>
                </c:pt>
                <c:pt idx="54">
                  <c:v>0.2460847826100496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69372128637059"/>
          <c:min val="0.0967602591792656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044.6737</c:v>
                </c:pt>
                <c:pt idx="1">
                  <c:v>1082.9514</c:v>
                </c:pt>
                <c:pt idx="2">
                  <c:v>1075.0707</c:v>
                </c:pt>
                <c:pt idx="3">
                  <c:v>1083.6223</c:v>
                </c:pt>
                <c:pt idx="4">
                  <c:v>1079.3804</c:v>
                </c:pt>
                <c:pt idx="5">
                  <c:v>1076.6806</c:v>
                </c:pt>
                <c:pt idx="6">
                  <c:v>1080.305</c:v>
                </c:pt>
                <c:pt idx="7">
                  <c:v>1049.0547</c:v>
                </c:pt>
                <c:pt idx="8">
                  <c:v>1062.3776</c:v>
                </c:pt>
                <c:pt idx="9">
                  <c:v>1071.4855</c:v>
                </c:pt>
                <c:pt idx="10">
                  <c:v>1056.7429</c:v>
                </c:pt>
                <c:pt idx="11">
                  <c:v>1056.8794</c:v>
                </c:pt>
                <c:pt idx="12">
                  <c:v>1048.2701</c:v>
                </c:pt>
                <c:pt idx="13">
                  <c:v>1084.88</c:v>
                </c:pt>
                <c:pt idx="14">
                  <c:v>1062.75</c:v>
                </c:pt>
                <c:pt idx="15">
                  <c:v>1082.0385</c:v>
                </c:pt>
                <c:pt idx="16">
                  <c:v>1077.75</c:v>
                </c:pt>
                <c:pt idx="17">
                  <c:v>1120.1486</c:v>
                </c:pt>
                <c:pt idx="18">
                  <c:v>1122.697</c:v>
                </c:pt>
                <c:pt idx="19">
                  <c:v>1107.2295</c:v>
                </c:pt>
                <c:pt idx="20">
                  <c:v>1143.6782</c:v>
                </c:pt>
                <c:pt idx="21">
                  <c:v>1102.7532</c:v>
                </c:pt>
                <c:pt idx="22">
                  <c:v>1137.6393</c:v>
                </c:pt>
                <c:pt idx="23">
                  <c:v>1125.918</c:v>
                </c:pt>
                <c:pt idx="24">
                  <c:v>1150.7273</c:v>
                </c:pt>
                <c:pt idx="25">
                  <c:v>1114.3167</c:v>
                </c:pt>
                <c:pt idx="26">
                  <c:v>1109.2571</c:v>
                </c:pt>
                <c:pt idx="27">
                  <c:v>1147.8966</c:v>
                </c:pt>
                <c:pt idx="28">
                  <c:v>1129.9841</c:v>
                </c:pt>
                <c:pt idx="29">
                  <c:v>1223.7627</c:v>
                </c:pt>
                <c:pt idx="30">
                  <c:v>1185.3091</c:v>
                </c:pt>
                <c:pt idx="31">
                  <c:v>1197.6667</c:v>
                </c:pt>
                <c:pt idx="32">
                  <c:v>1206.8356</c:v>
                </c:pt>
                <c:pt idx="33">
                  <c:v>1230.5909</c:v>
                </c:pt>
                <c:pt idx="34">
                  <c:v>1232.7253</c:v>
                </c:pt>
                <c:pt idx="35">
                  <c:v>1235.9667</c:v>
                </c:pt>
                <c:pt idx="36">
                  <c:v>1222.4766</c:v>
                </c:pt>
                <c:pt idx="37">
                  <c:v>1259.35</c:v>
                </c:pt>
                <c:pt idx="38">
                  <c:v>1231.5844</c:v>
                </c:pt>
                <c:pt idx="39">
                  <c:v>1361.2813</c:v>
                </c:pt>
                <c:pt idx="40">
                  <c:v>1390.8085</c:v>
                </c:pt>
                <c:pt idx="41">
                  <c:v>1363.0357</c:v>
                </c:pt>
                <c:pt idx="42">
                  <c:v>1348.7347</c:v>
                </c:pt>
                <c:pt idx="43">
                  <c:v>1331.125</c:v>
                </c:pt>
                <c:pt idx="44">
                  <c:v>1359.1008</c:v>
                </c:pt>
                <c:pt idx="45">
                  <c:v>1361.9673</c:v>
                </c:pt>
                <c:pt idx="46">
                  <c:v>1370.2092</c:v>
                </c:pt>
                <c:pt idx="47">
                  <c:v>1362.8491</c:v>
                </c:pt>
                <c:pt idx="48">
                  <c:v>1378.3382</c:v>
                </c:pt>
                <c:pt idx="49">
                  <c:v>1373.7143</c:v>
                </c:pt>
                <c:pt idx="50">
                  <c:v>1355.6859</c:v>
                </c:pt>
                <c:pt idx="51">
                  <c:v>1341.1301</c:v>
                </c:pt>
                <c:pt idx="52">
                  <c:v>1412.525</c:v>
                </c:pt>
                <c:pt idx="53">
                  <c:v>1425.0682</c:v>
                </c:pt>
                <c:pt idx="54">
                  <c:v>1410.0882</c:v>
                </c:pt>
                <c:pt idx="55">
                  <c:v>1424.9674</c:v>
                </c:pt>
                <c:pt idx="56">
                  <c:v>1413.959</c:v>
                </c:pt>
                <c:pt idx="57">
                  <c:v>1445.2913</c:v>
                </c:pt>
                <c:pt idx="58">
                  <c:v>1432.2132</c:v>
                </c:pt>
                <c:pt idx="59">
                  <c:v>1440.6915</c:v>
                </c:pt>
                <c:pt idx="60">
                  <c:v>1455.5</c:v>
                </c:pt>
                <c:pt idx="61">
                  <c:v>1468.1946</c:v>
                </c:pt>
                <c:pt idx="62">
                  <c:v>1449.2645</c:v>
                </c:pt>
                <c:pt idx="63">
                  <c:v>1447.8306</c:v>
                </c:pt>
                <c:pt idx="64">
                  <c:v>1401.2376</c:v>
                </c:pt>
                <c:pt idx="65">
                  <c:v>1381.0055</c:v>
                </c:pt>
                <c:pt idx="66">
                  <c:v>1395.0872</c:v>
                </c:pt>
                <c:pt idx="67">
                  <c:v>1400.725</c:v>
                </c:pt>
                <c:pt idx="68">
                  <c:v>1369.0077</c:v>
                </c:pt>
                <c:pt idx="69">
                  <c:v>1422.381</c:v>
                </c:pt>
                <c:pt idx="70">
                  <c:v>1451.1154</c:v>
                </c:pt>
                <c:pt idx="71">
                  <c:v>1440.6327</c:v>
                </c:pt>
                <c:pt idx="72">
                  <c:v>1426.2745</c:v>
                </c:pt>
                <c:pt idx="73">
                  <c:v>1429.2277</c:v>
                </c:pt>
                <c:pt idx="74">
                  <c:v>1433.6117</c:v>
                </c:pt>
                <c:pt idx="75">
                  <c:v>1441.8659</c:v>
                </c:pt>
                <c:pt idx="76">
                  <c:v>1404.7416</c:v>
                </c:pt>
                <c:pt idx="77">
                  <c:v>1482.5811</c:v>
                </c:pt>
                <c:pt idx="78">
                  <c:v>1487.1625</c:v>
                </c:pt>
                <c:pt idx="79">
                  <c:v>1470.7571</c:v>
                </c:pt>
                <c:pt idx="80">
                  <c:v>1376.973</c:v>
                </c:pt>
                <c:pt idx="81">
                  <c:v>1418.5476</c:v>
                </c:pt>
                <c:pt idx="82">
                  <c:v>1396.1059</c:v>
                </c:pt>
                <c:pt idx="83">
                  <c:v>1386.0</c:v>
                </c:pt>
                <c:pt idx="84">
                  <c:v>1426.2632</c:v>
                </c:pt>
                <c:pt idx="85">
                  <c:v>1444.2667</c:v>
                </c:pt>
                <c:pt idx="86">
                  <c:v>1409.3452</c:v>
                </c:pt>
                <c:pt idx="87">
                  <c:v>1427.7016</c:v>
                </c:pt>
                <c:pt idx="88">
                  <c:v>1425.8969</c:v>
                </c:pt>
                <c:pt idx="89">
                  <c:v>1435.8611</c:v>
                </c:pt>
                <c:pt idx="90">
                  <c:v>1410.7083</c:v>
                </c:pt>
                <c:pt idx="91">
                  <c:v>1440.6914</c:v>
                </c:pt>
                <c:pt idx="92">
                  <c:v>1460.1744</c:v>
                </c:pt>
                <c:pt idx="93">
                  <c:v>1474.7639</c:v>
                </c:pt>
                <c:pt idx="94">
                  <c:v>1454.5823</c:v>
                </c:pt>
                <c:pt idx="95">
                  <c:v>1461.3273</c:v>
                </c:pt>
                <c:pt idx="96">
                  <c:v>1450.6016</c:v>
                </c:pt>
                <c:pt idx="97">
                  <c:v>1426.3313</c:v>
                </c:pt>
                <c:pt idx="98">
                  <c:v>1438.75</c:v>
                </c:pt>
                <c:pt idx="99">
                  <c:v>1454.5841</c:v>
                </c:pt>
                <c:pt idx="100">
                  <c:v>1476.4</c:v>
                </c:pt>
                <c:pt idx="101">
                  <c:v>1475.1297</c:v>
                </c:pt>
                <c:pt idx="102">
                  <c:v>1509.0341</c:v>
                </c:pt>
                <c:pt idx="103">
                  <c:v>1464.2471</c:v>
                </c:pt>
                <c:pt idx="104">
                  <c:v>1473.5409</c:v>
                </c:pt>
              </c:numCache>
            </c:numRef>
          </c:xVal>
          <c:yVal>
            <c:numRef>
              <c:f>Sheet1!$B$2:$B$106</c:f>
              <c:numCache>
                <c:formatCode>General</c:formatCode>
                <c:ptCount val="105"/>
                <c:pt idx="0">
                  <c:v>0.2818991097922849</c:v>
                </c:pt>
                <c:pt idx="1">
                  <c:v>0.3130287648054145</c:v>
                </c:pt>
                <c:pt idx="2">
                  <c:v>0.29821717990275526</c:v>
                </c:pt>
                <c:pt idx="3">
                  <c:v>0.29375</c:v>
                </c:pt>
                <c:pt idx="4">
                  <c:v>0.2748735244519393</c:v>
                </c:pt>
                <c:pt idx="5">
                  <c:v>0.2920892494929006</c:v>
                </c:pt>
                <c:pt idx="6">
                  <c:v>0.2456445993031359</c:v>
                </c:pt>
                <c:pt idx="7">
                  <c:v>0.24951267056530213</c:v>
                </c:pt>
                <c:pt idx="8">
                  <c:v>0.25535714285714284</c:v>
                </c:pt>
                <c:pt idx="9">
                  <c:v>0.24168126094570927</c:v>
                </c:pt>
                <c:pt idx="10">
                  <c:v>0.24096385542168675</c:v>
                </c:pt>
                <c:pt idx="11">
                  <c:v>0.23777403035413153</c:v>
                </c:pt>
                <c:pt idx="12">
                  <c:v>0.21540880503144655</c:v>
                </c:pt>
                <c:pt idx="13">
                  <c:v>0.21008403361344538</c:v>
                </c:pt>
                <c:pt idx="14">
                  <c:v>0.19230769230769232</c:v>
                </c:pt>
                <c:pt idx="15">
                  <c:v>0.21081081081081082</c:v>
                </c:pt>
                <c:pt idx="16">
                  <c:v>0.25</c:v>
                </c:pt>
                <c:pt idx="17">
                  <c:v>0.2642857142857143</c:v>
                </c:pt>
                <c:pt idx="18">
                  <c:v>0.3013698630136986</c:v>
                </c:pt>
                <c:pt idx="19">
                  <c:v>0.30198019801980197</c:v>
                </c:pt>
                <c:pt idx="20">
                  <c:v>0.24645892351274787</c:v>
                </c:pt>
                <c:pt idx="21">
                  <c:v>0.2467948717948718</c:v>
                </c:pt>
                <c:pt idx="22">
                  <c:v>0.23921568627450981</c:v>
                </c:pt>
                <c:pt idx="23">
                  <c:v>0.25311203319502074</c:v>
                </c:pt>
                <c:pt idx="24">
                  <c:v>0.25287356321839083</c:v>
                </c:pt>
                <c:pt idx="25">
                  <c:v>0.2631578947368421</c:v>
                </c:pt>
                <c:pt idx="26">
                  <c:v>0.23728813559322035</c:v>
                </c:pt>
                <c:pt idx="27">
                  <c:v>0.1829652996845426</c:v>
                </c:pt>
                <c:pt idx="28">
                  <c:v>0.2012779552715655</c:v>
                </c:pt>
                <c:pt idx="29">
                  <c:v>0.17559523809523808</c:v>
                </c:pt>
                <c:pt idx="30">
                  <c:v>0.1903114186851211</c:v>
                </c:pt>
                <c:pt idx="31">
                  <c:v>0.23715415019762845</c:v>
                </c:pt>
                <c:pt idx="32">
                  <c:v>0.26258992805755393</c:v>
                </c:pt>
                <c:pt idx="33">
                  <c:v>0.3076923076923077</c:v>
                </c:pt>
                <c:pt idx="34">
                  <c:v>0.284375</c:v>
                </c:pt>
                <c:pt idx="35">
                  <c:v>0.20725388601036268</c:v>
                </c:pt>
                <c:pt idx="36">
                  <c:v>0.25176470588235295</c:v>
                </c:pt>
                <c:pt idx="37">
                  <c:v>0.26058631921824105</c:v>
                </c:pt>
                <c:pt idx="38">
                  <c:v>0.24367088607594936</c:v>
                </c:pt>
                <c:pt idx="39">
                  <c:v>0.22614840989399293</c:v>
                </c:pt>
                <c:pt idx="40">
                  <c:v>0.28313253012048195</c:v>
                </c:pt>
                <c:pt idx="41">
                  <c:v>0.27450980392156865</c:v>
                </c:pt>
                <c:pt idx="42">
                  <c:v>0.2648648648648649</c:v>
                </c:pt>
                <c:pt idx="43">
                  <c:v>0.26490066225165565</c:v>
                </c:pt>
                <c:pt idx="44">
                  <c:v>0.24339622641509434</c:v>
                </c:pt>
                <c:pt idx="45">
                  <c:v>0.2849162011173184</c:v>
                </c:pt>
                <c:pt idx="46">
                  <c:v>0.2703180212014134</c:v>
                </c:pt>
                <c:pt idx="47">
                  <c:v>0.26812816188870153</c:v>
                </c:pt>
                <c:pt idx="48">
                  <c:v>0.27860026917900405</c:v>
                </c:pt>
                <c:pt idx="49">
                  <c:v>0.23696248856358645</c:v>
                </c:pt>
                <c:pt idx="50">
                  <c:v>0.24605678233438485</c:v>
                </c:pt>
                <c:pt idx="51">
                  <c:v>0.24579124579124578</c:v>
                </c:pt>
                <c:pt idx="52">
                  <c:v>0.23564064801178203</c:v>
                </c:pt>
                <c:pt idx="53">
                  <c:v>0.25384615384615383</c:v>
                </c:pt>
                <c:pt idx="54">
                  <c:v>0.22717149220489977</c:v>
                </c:pt>
                <c:pt idx="55">
                  <c:v>0.20309050772626933</c:v>
                </c:pt>
                <c:pt idx="56">
                  <c:v>0.2484725050916497</c:v>
                </c:pt>
                <c:pt idx="57">
                  <c:v>0.248046875</c:v>
                </c:pt>
                <c:pt idx="58">
                  <c:v>0.2551594746716698</c:v>
                </c:pt>
                <c:pt idx="59">
                  <c:v>0.2394904458598726</c:v>
                </c:pt>
                <c:pt idx="60">
                  <c:v>0.24169986719787517</c:v>
                </c:pt>
                <c:pt idx="61">
                  <c:v>0.25126475548060706</c:v>
                </c:pt>
                <c:pt idx="62">
                  <c:v>0.2366412213740458</c:v>
                </c:pt>
                <c:pt idx="63">
                  <c:v>0.26180257510729615</c:v>
                </c:pt>
                <c:pt idx="64">
                  <c:v>0.2538569424964937</c:v>
                </c:pt>
                <c:pt idx="65">
                  <c:v>0.2559774964838256</c:v>
                </c:pt>
                <c:pt idx="66">
                  <c:v>0.24466338259441708</c:v>
                </c:pt>
                <c:pt idx="67">
                  <c:v>0.2689075630252101</c:v>
                </c:pt>
                <c:pt idx="68">
                  <c:v>0.2754237288135593</c:v>
                </c:pt>
                <c:pt idx="69">
                  <c:v>0.2741514360313316</c:v>
                </c:pt>
                <c:pt idx="70">
                  <c:v>0.28184281842818426</c:v>
                </c:pt>
                <c:pt idx="71">
                  <c:v>0.28</c:v>
                </c:pt>
                <c:pt idx="72">
                  <c:v>0.24817518248175183</c:v>
                </c:pt>
                <c:pt idx="73">
                  <c:v>0.24574209245742093</c:v>
                </c:pt>
                <c:pt idx="74">
                  <c:v>0.28690807799442897</c:v>
                </c:pt>
                <c:pt idx="75">
                  <c:v>0.25705329153605017</c:v>
                </c:pt>
                <c:pt idx="76">
                  <c:v>0.26176470588235295</c:v>
                </c:pt>
                <c:pt idx="77">
                  <c:v>0.23125</c:v>
                </c:pt>
                <c:pt idx="78">
                  <c:v>0.2777777777777778</c:v>
                </c:pt>
                <c:pt idx="79">
                  <c:v>0.27450980392156865</c:v>
                </c:pt>
                <c:pt idx="80">
                  <c:v>0.27007299270072993</c:v>
                </c:pt>
                <c:pt idx="81">
                  <c:v>0.27722772277227725</c:v>
                </c:pt>
                <c:pt idx="82">
                  <c:v>0.2910958904109589</c:v>
                </c:pt>
                <c:pt idx="83">
                  <c:v>0.291866028708134</c:v>
                </c:pt>
                <c:pt idx="84">
                  <c:v>0.2780487804878049</c:v>
                </c:pt>
                <c:pt idx="85">
                  <c:v>0.3</c:v>
                </c:pt>
                <c:pt idx="86">
                  <c:v>0.27906976744186046</c:v>
                </c:pt>
                <c:pt idx="87">
                  <c:v>0.30392156862745096</c:v>
                </c:pt>
                <c:pt idx="88">
                  <c:v>0.27953890489913547</c:v>
                </c:pt>
                <c:pt idx="89">
                  <c:v>0.2801556420233463</c:v>
                </c:pt>
                <c:pt idx="90">
                  <c:v>0.2857142857142857</c:v>
                </c:pt>
                <c:pt idx="91">
                  <c:v>0.3201581027667984</c:v>
                </c:pt>
                <c:pt idx="92">
                  <c:v>0.273015873015873</c:v>
                </c:pt>
                <c:pt idx="93">
                  <c:v>0.25622775800711745</c:v>
                </c:pt>
                <c:pt idx="94">
                  <c:v>0.28832116788321166</c:v>
                </c:pt>
                <c:pt idx="95">
                  <c:v>0.26066350710900477</c:v>
                </c:pt>
                <c:pt idx="96">
                  <c:v>0.265658747300216</c:v>
                </c:pt>
                <c:pt idx="97">
                  <c:v>0.2785234899328859</c:v>
                </c:pt>
                <c:pt idx="98">
                  <c:v>0.2822902796271638</c:v>
                </c:pt>
                <c:pt idx="99">
                  <c:v>0.29161290322580646</c:v>
                </c:pt>
                <c:pt idx="100">
                  <c:v>0.2592267135325132</c:v>
                </c:pt>
                <c:pt idx="101">
                  <c:v>0.2846153846153846</c:v>
                </c:pt>
                <c:pt idx="102">
                  <c:v>0.2938230383973289</c:v>
                </c:pt>
                <c:pt idx="103">
                  <c:v>0.26153846153846155</c:v>
                </c:pt>
                <c:pt idx="104">
                  <c:v>0.2699490662139219</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479.3434</c:v>
                </c:pt>
                <c:pt idx="1">
                  <c:v>1474.4076</c:v>
                </c:pt>
                <c:pt idx="2">
                  <c:v>1486.9152</c:v>
                </c:pt>
                <c:pt idx="3">
                  <c:v>1490.0524</c:v>
                </c:pt>
                <c:pt idx="4">
                  <c:v>1482.1333</c:v>
                </c:pt>
                <c:pt idx="5">
                  <c:v>1482.6486</c:v>
                </c:pt>
                <c:pt idx="6">
                  <c:v>1514.6077</c:v>
                </c:pt>
                <c:pt idx="7">
                  <c:v>1544.2338</c:v>
                </c:pt>
                <c:pt idx="8">
                  <c:v>1453.5175</c:v>
                </c:pt>
                <c:pt idx="9">
                  <c:v>1485.0455</c:v>
                </c:pt>
                <c:pt idx="10">
                  <c:v>1447.288</c:v>
                </c:pt>
                <c:pt idx="11">
                  <c:v>1459.5876</c:v>
                </c:pt>
                <c:pt idx="12">
                  <c:v>1473.7989</c:v>
                </c:pt>
                <c:pt idx="13">
                  <c:v>1489.0694</c:v>
                </c:pt>
                <c:pt idx="14">
                  <c:v>1434.313</c:v>
                </c:pt>
                <c:pt idx="15">
                  <c:v>1456.4</c:v>
                </c:pt>
                <c:pt idx="16">
                  <c:v>1479.8972</c:v>
                </c:pt>
                <c:pt idx="17">
                  <c:v>1447.9439</c:v>
                </c:pt>
                <c:pt idx="18">
                  <c:v>1436.6341</c:v>
                </c:pt>
                <c:pt idx="19">
                  <c:v>1457.6505</c:v>
                </c:pt>
                <c:pt idx="20">
                  <c:v>1455.4333</c:v>
                </c:pt>
                <c:pt idx="21">
                  <c:v>1459.0149</c:v>
                </c:pt>
                <c:pt idx="22">
                  <c:v>1501.0448</c:v>
                </c:pt>
                <c:pt idx="23">
                  <c:v>1501.6087</c:v>
                </c:pt>
                <c:pt idx="24">
                  <c:v>1513.625</c:v>
                </c:pt>
                <c:pt idx="25">
                  <c:v>1513.0167</c:v>
                </c:pt>
                <c:pt idx="26">
                  <c:v>1490.6377</c:v>
                </c:pt>
                <c:pt idx="27">
                  <c:v>1450.519</c:v>
                </c:pt>
                <c:pt idx="28">
                  <c:v>1488.8169</c:v>
                </c:pt>
                <c:pt idx="29">
                  <c:v>1400.9091</c:v>
                </c:pt>
                <c:pt idx="30">
                  <c:v>1452.6301</c:v>
                </c:pt>
                <c:pt idx="31">
                  <c:v>1426.8793</c:v>
                </c:pt>
                <c:pt idx="32">
                  <c:v>1475.4318</c:v>
                </c:pt>
                <c:pt idx="33">
                  <c:v>1462.1061</c:v>
                </c:pt>
                <c:pt idx="34">
                  <c:v>1462.931</c:v>
                </c:pt>
                <c:pt idx="35">
                  <c:v>1464.6667</c:v>
                </c:pt>
                <c:pt idx="36">
                  <c:v>1371.0492</c:v>
                </c:pt>
                <c:pt idx="37">
                  <c:v>1430.9167</c:v>
                </c:pt>
                <c:pt idx="38">
                  <c:v>1438.6591</c:v>
                </c:pt>
                <c:pt idx="39">
                  <c:v>1431.6207</c:v>
                </c:pt>
                <c:pt idx="40">
                  <c:v>1473.5181</c:v>
                </c:pt>
                <c:pt idx="41">
                  <c:v>1433.3021</c:v>
                </c:pt>
                <c:pt idx="42">
                  <c:v>1467.4458</c:v>
                </c:pt>
                <c:pt idx="43">
                  <c:v>1422.3889</c:v>
                </c:pt>
                <c:pt idx="44">
                  <c:v>1412.0746</c:v>
                </c:pt>
                <c:pt idx="45">
                  <c:v>1432.9659</c:v>
                </c:pt>
                <c:pt idx="46">
                  <c:v>1427.3237</c:v>
                </c:pt>
                <c:pt idx="47">
                  <c:v>1422.9504</c:v>
                </c:pt>
                <c:pt idx="48">
                  <c:v>1435.1875</c:v>
                </c:pt>
                <c:pt idx="49">
                  <c:v>1445.7113</c:v>
                </c:pt>
                <c:pt idx="50">
                  <c:v>1454.0569</c:v>
                </c:pt>
                <c:pt idx="51">
                  <c:v>1415.9459</c:v>
                </c:pt>
              </c:numCache>
            </c:numRef>
          </c:xVal>
          <c:yVal>
            <c:numRef>
              <c:f>Sheet1!$B$109:$B$160</c:f>
              <c:numCache>
                <c:formatCode>General</c:formatCode>
                <c:ptCount val="52"/>
                <c:pt idx="0">
                  <c:v>0.19347319347319347</c:v>
                </c:pt>
                <c:pt idx="1">
                  <c:v>0.21073825503355706</c:v>
                </c:pt>
                <c:pt idx="2">
                  <c:v>0.2197070572569907</c:v>
                </c:pt>
                <c:pt idx="3">
                  <c:v>0.25298013245033113</c:v>
                </c:pt>
                <c:pt idx="4">
                  <c:v>0.23112480739599384</c:v>
                </c:pt>
                <c:pt idx="5">
                  <c:v>0.2483221476510067</c:v>
                </c:pt>
                <c:pt idx="6">
                  <c:v>0.2754237288135593</c:v>
                </c:pt>
                <c:pt idx="7">
                  <c:v>0.240625</c:v>
                </c:pt>
                <c:pt idx="8">
                  <c:v>0.3064516129032258</c:v>
                </c:pt>
                <c:pt idx="9">
                  <c:v>0.3062645011600928</c:v>
                </c:pt>
                <c:pt idx="10">
                  <c:v>0.25614754098360654</c:v>
                </c:pt>
                <c:pt idx="11">
                  <c:v>0.3094405594405594</c:v>
                </c:pt>
                <c:pt idx="12">
                  <c:v>0.3129370629370629</c:v>
                </c:pt>
                <c:pt idx="13">
                  <c:v>0.33078101071975496</c:v>
                </c:pt>
                <c:pt idx="14">
                  <c:v>0.25992063492063494</c:v>
                </c:pt>
                <c:pt idx="15">
                  <c:v>0.23711340206185566</c:v>
                </c:pt>
                <c:pt idx="16">
                  <c:v>0.26884422110552764</c:v>
                </c:pt>
                <c:pt idx="17">
                  <c:v>0.300561797752809</c:v>
                </c:pt>
                <c:pt idx="18">
                  <c:v>0.2808219178082192</c:v>
                </c:pt>
                <c:pt idx="19">
                  <c:v>0.25879396984924624</c:v>
                </c:pt>
                <c:pt idx="20">
                  <c:v>0.26011560693641617</c:v>
                </c:pt>
                <c:pt idx="21">
                  <c:v>0.2637795275590551</c:v>
                </c:pt>
                <c:pt idx="22">
                  <c:v>0.2791666666666667</c:v>
                </c:pt>
                <c:pt idx="23">
                  <c:v>0.1678832116788321</c:v>
                </c:pt>
                <c:pt idx="24">
                  <c:v>0.12095032397408208</c:v>
                </c:pt>
                <c:pt idx="25">
                  <c:v>0.14492753623188406</c:v>
                </c:pt>
                <c:pt idx="26">
                  <c:v>0.184</c:v>
                </c:pt>
                <c:pt idx="27">
                  <c:v>0.23939393939393938</c:v>
                </c:pt>
                <c:pt idx="28">
                  <c:v>0.22118380062305296</c:v>
                </c:pt>
                <c:pt idx="29">
                  <c:v>0.2558139534883721</c:v>
                </c:pt>
                <c:pt idx="30">
                  <c:v>0.2616487455197133</c:v>
                </c:pt>
                <c:pt idx="31">
                  <c:v>0.26976744186046514</c:v>
                </c:pt>
                <c:pt idx="32">
                  <c:v>0.21256038647342995</c:v>
                </c:pt>
                <c:pt idx="33">
                  <c:v>0.27049180327868855</c:v>
                </c:pt>
                <c:pt idx="34">
                  <c:v>0.26666666666666666</c:v>
                </c:pt>
                <c:pt idx="35">
                  <c:v>0.2938496583143508</c:v>
                </c:pt>
                <c:pt idx="36">
                  <c:v>0.23828125</c:v>
                </c:pt>
                <c:pt idx="37">
                  <c:v>0.24573378839590443</c:v>
                </c:pt>
                <c:pt idx="38">
                  <c:v>0.2328042328042328</c:v>
                </c:pt>
                <c:pt idx="39">
                  <c:v>0.28807947019867547</c:v>
                </c:pt>
                <c:pt idx="40">
                  <c:v>0.26688102893890675</c:v>
                </c:pt>
                <c:pt idx="41">
                  <c:v>0.27507163323782235</c:v>
                </c:pt>
                <c:pt idx="42">
                  <c:v>0.2610062893081761</c:v>
                </c:pt>
                <c:pt idx="43">
                  <c:v>0.23788546255506607</c:v>
                </c:pt>
                <c:pt idx="44">
                  <c:v>0.2571976967370441</c:v>
                </c:pt>
                <c:pt idx="45">
                  <c:v>0.2654600301659125</c:v>
                </c:pt>
                <c:pt idx="46">
                  <c:v>0.2564575645756458</c:v>
                </c:pt>
                <c:pt idx="47">
                  <c:v>0.2478031634446397</c:v>
                </c:pt>
                <c:pt idx="48">
                  <c:v>0.23300970873786409</c:v>
                </c:pt>
                <c:pt idx="49">
                  <c:v>0.24159402241594022</c:v>
                </c:pt>
                <c:pt idx="50">
                  <c:v>0.1824925816023739</c:v>
                </c:pt>
                <c:pt idx="51">
                  <c:v>0.186163522012578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344.604805155072</c:v>
                </c:pt>
              </c:numCache>
            </c:numRef>
          </c:xVal>
          <c:yVal>
            <c:numRef>
              <c:f>Sheet1!$B$163:$B$164</c:f>
              <c:numCache>
                <c:formatCode>General</c:formatCode>
                <c:ptCount val="2"/>
                <c:pt idx="0">
                  <c:v>0.2804247502488339</c:v>
                </c:pt>
                <c:pt idx="1">
                  <c:v>0.280424750248833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344.604805155072</c:v>
                </c:pt>
                <c:pt idx="1">
                  <c:v>1344.604805155072</c:v>
                </c:pt>
              </c:numCache>
            </c:numRef>
          </c:xVal>
          <c:yVal>
            <c:numRef>
              <c:f>Sheet1!$B$167:$B$168</c:f>
              <c:numCache>
                <c:formatCode>General</c:formatCode>
                <c:ptCount val="2"/>
                <c:pt idx="0">
                  <c:v>0.280424750248833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344.604805155072</c:v>
                </c:pt>
              </c:numCache>
            </c:numRef>
          </c:xVal>
          <c:yVal>
            <c:numRef>
              <c:f>Sheet1!$B$171:$B$172</c:f>
              <c:numCache>
                <c:formatCode>General</c:formatCode>
                <c:ptCount val="2"/>
                <c:pt idx="0">
                  <c:v>0.2804247502488339</c:v>
                </c:pt>
                <c:pt idx="1">
                  <c:v>0.2804247502488339</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344.604805155072</c:v>
                </c:pt>
                <c:pt idx="1">
                  <c:v>1344.604805155072</c:v>
                </c:pt>
              </c:numCache>
            </c:numRef>
          </c:xVal>
          <c:yVal>
            <c:numRef>
              <c:f>Sheet1!$B$175:$B$176</c:f>
              <c:numCache>
                <c:formatCode>General</c:formatCode>
                <c:ptCount val="2"/>
                <c:pt idx="0">
                  <c:v>0.280424750248833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469.0147237969288</c:v>
                </c:pt>
              </c:numCache>
            </c:numRef>
          </c:xVal>
          <c:yVal>
            <c:numRef>
              <c:f>Sheet1!$B$179:$B$180</c:f>
              <c:numCache>
                <c:formatCode>General</c:formatCode>
                <c:ptCount val="2"/>
                <c:pt idx="0">
                  <c:v>0.24608478261004968</c:v>
                </c:pt>
                <c:pt idx="1">
                  <c:v>0.2460847826100496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469.0147237969288</c:v>
                </c:pt>
                <c:pt idx="1">
                  <c:v>1469.0147237969288</c:v>
                </c:pt>
              </c:numCache>
            </c:numRef>
          </c:xVal>
          <c:yVal>
            <c:numRef>
              <c:f>Sheet1!$B$183:$B$184</c:f>
              <c:numCache>
                <c:formatCode>General</c:formatCode>
                <c:ptCount val="2"/>
                <c:pt idx="0">
                  <c:v>0.2460847826100496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479.3434</c:v>
                </c:pt>
                <c:pt idx="1">
                  <c:v>1474.4076</c:v>
                </c:pt>
                <c:pt idx="2">
                  <c:v>1486.9152</c:v>
                </c:pt>
                <c:pt idx="3">
                  <c:v>1490.0524</c:v>
                </c:pt>
                <c:pt idx="4">
                  <c:v>1482.1333</c:v>
                </c:pt>
                <c:pt idx="5">
                  <c:v>1482.6486</c:v>
                </c:pt>
                <c:pt idx="6">
                  <c:v>1514.6077</c:v>
                </c:pt>
                <c:pt idx="7">
                  <c:v>1544.2338</c:v>
                </c:pt>
                <c:pt idx="8">
                  <c:v>1453.5175</c:v>
                </c:pt>
                <c:pt idx="9">
                  <c:v>1485.0455</c:v>
                </c:pt>
                <c:pt idx="10">
                  <c:v>1447.288</c:v>
                </c:pt>
                <c:pt idx="11">
                  <c:v>1459.5876</c:v>
                </c:pt>
                <c:pt idx="12">
                  <c:v>1473.7989</c:v>
                </c:pt>
                <c:pt idx="13">
                  <c:v>1489.0694</c:v>
                </c:pt>
                <c:pt idx="14">
                  <c:v>1434.313</c:v>
                </c:pt>
                <c:pt idx="15">
                  <c:v>1456.4</c:v>
                </c:pt>
                <c:pt idx="16">
                  <c:v>1479.8972</c:v>
                </c:pt>
                <c:pt idx="17">
                  <c:v>1447.9439</c:v>
                </c:pt>
                <c:pt idx="18">
                  <c:v>1436.6341</c:v>
                </c:pt>
                <c:pt idx="19">
                  <c:v>1457.6505</c:v>
                </c:pt>
                <c:pt idx="20">
                  <c:v>1455.4333</c:v>
                </c:pt>
                <c:pt idx="21">
                  <c:v>1459.0149</c:v>
                </c:pt>
                <c:pt idx="22">
                  <c:v>1501.0448</c:v>
                </c:pt>
                <c:pt idx="23">
                  <c:v>1501.6087</c:v>
                </c:pt>
                <c:pt idx="24">
                  <c:v>1513.625</c:v>
                </c:pt>
                <c:pt idx="25">
                  <c:v>1513.0167</c:v>
                </c:pt>
                <c:pt idx="26">
                  <c:v>1490.6377</c:v>
                </c:pt>
                <c:pt idx="27">
                  <c:v>1450.519</c:v>
                </c:pt>
                <c:pt idx="28">
                  <c:v>1488.8169</c:v>
                </c:pt>
                <c:pt idx="29">
                  <c:v>1400.9091</c:v>
                </c:pt>
                <c:pt idx="30">
                  <c:v>1452.6301</c:v>
                </c:pt>
                <c:pt idx="31">
                  <c:v>1426.8793</c:v>
                </c:pt>
                <c:pt idx="32">
                  <c:v>1475.4318</c:v>
                </c:pt>
                <c:pt idx="33">
                  <c:v>1462.1061</c:v>
                </c:pt>
                <c:pt idx="34">
                  <c:v>1462.931</c:v>
                </c:pt>
                <c:pt idx="35">
                  <c:v>1464.6667</c:v>
                </c:pt>
                <c:pt idx="36">
                  <c:v>1371.0492</c:v>
                </c:pt>
                <c:pt idx="37">
                  <c:v>1430.9167</c:v>
                </c:pt>
                <c:pt idx="38">
                  <c:v>1438.6591</c:v>
                </c:pt>
                <c:pt idx="39">
                  <c:v>1431.6207</c:v>
                </c:pt>
                <c:pt idx="40">
                  <c:v>1473.5181</c:v>
                </c:pt>
                <c:pt idx="41">
                  <c:v>1433.3021</c:v>
                </c:pt>
                <c:pt idx="42">
                  <c:v>1467.4458</c:v>
                </c:pt>
                <c:pt idx="43">
                  <c:v>1422.3889</c:v>
                </c:pt>
                <c:pt idx="44">
                  <c:v>1412.0746</c:v>
                </c:pt>
                <c:pt idx="45">
                  <c:v>1432.9659</c:v>
                </c:pt>
                <c:pt idx="46">
                  <c:v>1427.3237</c:v>
                </c:pt>
                <c:pt idx="47">
                  <c:v>1422.9504</c:v>
                </c:pt>
                <c:pt idx="48">
                  <c:v>1435.1875</c:v>
                </c:pt>
                <c:pt idx="49">
                  <c:v>1445.7113</c:v>
                </c:pt>
                <c:pt idx="50">
                  <c:v>1454.0569</c:v>
                </c:pt>
                <c:pt idx="51">
                  <c:v>1415.9459</c:v>
                </c:pt>
                <c:pt idx="52">
                  <c:v>1344.604805155072</c:v>
                </c:pt>
                <c:pt idx="53">
                  <c:v>1344.604805155072</c:v>
                </c:pt>
                <c:pt idx="54">
                  <c:v>1469.0147237969288</c:v>
                </c:pt>
              </c:numCache>
            </c:numRef>
          </c:xVal>
          <c:yVal>
            <c:numRef>
              <c:f>Sheet1!$B$187:$B$241</c:f>
              <c:numCache>
                <c:formatCode>General</c:formatCode>
                <c:ptCount val="55"/>
                <c:pt idx="0">
                  <c:v>0.24323383301988083</c:v>
                </c:pt>
                <c:pt idx="1">
                  <c:v>0.24459622610012582</c:v>
                </c:pt>
                <c:pt idx="2">
                  <c:v>0.24114384397555183</c:v>
                </c:pt>
                <c:pt idx="3">
                  <c:v>0.24027790541010247</c:v>
                </c:pt>
                <c:pt idx="4">
                  <c:v>0.24246375715485885</c:v>
                </c:pt>
                <c:pt idx="5">
                  <c:v>0.2423215226327448</c:v>
                </c:pt>
                <c:pt idx="6">
                  <c:v>0.23350008402282174</c:v>
                </c:pt>
                <c:pt idx="7">
                  <c:v>0.2253226064842977</c:v>
                </c:pt>
                <c:pt idx="8">
                  <c:v>0.250362368910942</c:v>
                </c:pt>
                <c:pt idx="9">
                  <c:v>0.24165992370773992</c:v>
                </c:pt>
                <c:pt idx="10">
                  <c:v>0.2520818526204493</c:v>
                </c:pt>
                <c:pt idx="11">
                  <c:v>0.24868688322748733</c:v>
                </c:pt>
                <c:pt idx="12">
                  <c:v>0.24476424114691564</c:v>
                </c:pt>
                <c:pt idx="13">
                  <c:v>0.2405492357715192</c:v>
                </c:pt>
                <c:pt idx="14">
                  <c:v>0.25566324777750166</c:v>
                </c:pt>
                <c:pt idx="15">
                  <c:v>0.24956673333944263</c:v>
                </c:pt>
                <c:pt idx="16">
                  <c:v>0.24308097162196357</c:v>
                </c:pt>
                <c:pt idx="17">
                  <c:v>0.2519008092999475</c:v>
                </c:pt>
                <c:pt idx="18">
                  <c:v>0.2550225713768054</c:v>
                </c:pt>
                <c:pt idx="19">
                  <c:v>0.24922156689289982</c:v>
                </c:pt>
                <c:pt idx="20">
                  <c:v>0.24983356453006483</c:v>
                </c:pt>
                <c:pt idx="21">
                  <c:v>0.24884496145534435</c:v>
                </c:pt>
                <c:pt idx="22">
                  <c:v>0.2372437529535027</c:v>
                </c:pt>
                <c:pt idx="23">
                  <c:v>0.23708810372582934</c:v>
                </c:pt>
                <c:pt idx="24">
                  <c:v>0.23377133157741403</c:v>
                </c:pt>
                <c:pt idx="25">
                  <c:v>0.23393923621510465</c:v>
                </c:pt>
                <c:pt idx="26">
                  <c:v>0.24011634929561904</c:v>
                </c:pt>
                <c:pt idx="27">
                  <c:v>0.25119002312122496</c:v>
                </c:pt>
                <c:pt idx="28">
                  <c:v>0.24061893151542335</c:v>
                </c:pt>
                <c:pt idx="29">
                  <c:v>0.2648834840539303</c:v>
                </c:pt>
                <c:pt idx="30">
                  <c:v>0.250607311497637</c:v>
                </c:pt>
                <c:pt idx="31">
                  <c:v>0.2577151180803132</c:v>
                </c:pt>
                <c:pt idx="32">
                  <c:v>0.2443135236014859</c:v>
                </c:pt>
                <c:pt idx="33">
                  <c:v>0.24799171993630925</c:v>
                </c:pt>
                <c:pt idx="34">
                  <c:v>0.2477640287713726</c:v>
                </c:pt>
                <c:pt idx="35">
                  <c:v>0.24728493608743463</c:v>
                </c:pt>
                <c:pt idx="36">
                  <c:v>0.27312549571096834</c:v>
                </c:pt>
                <c:pt idx="37">
                  <c:v>0.2566007038369928</c:v>
                </c:pt>
                <c:pt idx="38">
                  <c:v>0.25446362531183186</c:v>
                </c:pt>
                <c:pt idx="39">
                  <c:v>0.25640638382230574</c:v>
                </c:pt>
                <c:pt idx="40">
                  <c:v>0.24484174833459194</c:v>
                </c:pt>
                <c:pt idx="41">
                  <c:v>0.25594227917359136</c:v>
                </c:pt>
                <c:pt idx="42">
                  <c:v>0.24651784126809245</c:v>
                </c:pt>
                <c:pt idx="43">
                  <c:v>0.25895457062853894</c:v>
                </c:pt>
                <c:pt idx="44">
                  <c:v>0.26180155205962835</c:v>
                </c:pt>
                <c:pt idx="45">
                  <c:v>0.25603507802151443</c:v>
                </c:pt>
                <c:pt idx="46">
                  <c:v>0.25759245357104205</c:v>
                </c:pt>
                <c:pt idx="47">
                  <c:v>0.2587995838554611</c:v>
                </c:pt>
                <c:pt idx="48">
                  <c:v>0.2554218658842576</c:v>
                </c:pt>
                <c:pt idx="49">
                  <c:v>0.2525170576874339</c:v>
                </c:pt>
                <c:pt idx="50">
                  <c:v>0.2502134822405979</c:v>
                </c:pt>
                <c:pt idx="51">
                  <c:v>0.2607329851947731</c:v>
                </c:pt>
                <c:pt idx="52">
                  <c:v>0.28042475024883384</c:v>
                </c:pt>
                <c:pt idx="53">
                  <c:v>0.28042475024883384</c:v>
                </c:pt>
                <c:pt idx="54">
                  <c:v>0.2460847826100496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53.0"/>
          <c:min val="83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969372128637059"/>
          <c:min val="0.0967602591792656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5</c:f>
              <c:numCache>
                <c:formatCode>General</c:formatCode>
                <c:ptCount val="24"/>
                <c:pt idx="0">
                  <c:v>0.6904516749675385</c:v>
                </c:pt>
                <c:pt idx="1">
                  <c:v>0.8304532110091744</c:v>
                </c:pt>
                <c:pt idx="2">
                  <c:v>0.6439662231465924</c:v>
                </c:pt>
                <c:pt idx="3">
                  <c:v>0.7021530068916348</c:v>
                </c:pt>
                <c:pt idx="4">
                  <c:v>0.6982867337164751</c:v>
                </c:pt>
                <c:pt idx="5">
                  <c:v>0.0</c:v>
                </c:pt>
                <c:pt idx="6">
                  <c:v>0.6239584153983885</c:v>
                </c:pt>
                <c:pt idx="7">
                  <c:v>1.1993087979094077</c:v>
                </c:pt>
                <c:pt idx="8">
                  <c:v>0.5248923641987241</c:v>
                </c:pt>
                <c:pt idx="9">
                  <c:v>0.7063294030587075</c:v>
                </c:pt>
                <c:pt idx="10">
                  <c:v>0.5320821483771252</c:v>
                </c:pt>
                <c:pt idx="11">
                  <c:v>0.6770968473961148</c:v>
                </c:pt>
                <c:pt idx="12">
                  <c:v>1.2576764957264959</c:v>
                </c:pt>
                <c:pt idx="13">
                  <c:v>0.9405032345931221</c:v>
                </c:pt>
                <c:pt idx="14">
                  <c:v>0.0</c:v>
                </c:pt>
                <c:pt idx="15">
                  <c:v>0.0</c:v>
                </c:pt>
                <c:pt idx="16">
                  <c:v>0.0</c:v>
                </c:pt>
                <c:pt idx="17">
                  <c:v>0.4967904827114002</c:v>
                </c:pt>
                <c:pt idx="18">
                  <c:v>0.0</c:v>
                </c:pt>
                <c:pt idx="19">
                  <c:v>0.0</c:v>
                </c:pt>
                <c:pt idx="20">
                  <c:v>0.0</c:v>
                </c:pt>
                <c:pt idx="21">
                  <c:v>0.0</c:v>
                </c:pt>
                <c:pt idx="22">
                  <c:v>0.0</c:v>
                </c:pt>
                <c:pt idx="23">
                  <c:v>0.0</c:v>
                </c:pt>
              </c:numCache>
            </c:numRef>
          </c:xVal>
          <c:yVal>
            <c:numRef>
              <c:f>Sheet1!$B$2:$B$25</c:f>
              <c:numCache>
                <c:formatCode>General</c:formatCode>
                <c:ptCount val="24"/>
                <c:pt idx="0">
                  <c:v>0.9361702127659575</c:v>
                </c:pt>
                <c:pt idx="1">
                  <c:v>0.94</c:v>
                </c:pt>
                <c:pt idx="2">
                  <c:v>0.8679245283018868</c:v>
                </c:pt>
                <c:pt idx="3">
                  <c:v>0.8703703703703703</c:v>
                </c:pt>
                <c:pt idx="4">
                  <c:v>0.9361702127659575</c:v>
                </c:pt>
                <c:pt idx="5">
                  <c:v>1.0</c:v>
                </c:pt>
                <c:pt idx="6">
                  <c:v>0.9629629629629629</c:v>
                </c:pt>
                <c:pt idx="7">
                  <c:v>0.96875</c:v>
                </c:pt>
                <c:pt idx="8">
                  <c:v>0.9534883720930233</c:v>
                </c:pt>
                <c:pt idx="9">
                  <c:v>0.9487179487179487</c:v>
                </c:pt>
                <c:pt idx="10">
                  <c:v>0.9210526315789473</c:v>
                </c:pt>
                <c:pt idx="11">
                  <c:v>0.9117647058823529</c:v>
                </c:pt>
                <c:pt idx="12">
                  <c:v>0.9642857142857143</c:v>
                </c:pt>
                <c:pt idx="13">
                  <c:v>0.9393939393939394</c:v>
                </c:pt>
                <c:pt idx="14">
                  <c:v>1.0</c:v>
                </c:pt>
                <c:pt idx="15">
                  <c:v>1.0</c:v>
                </c:pt>
                <c:pt idx="16">
                  <c:v>1.0</c:v>
                </c:pt>
                <c:pt idx="17">
                  <c:v>0.96</c:v>
                </c:pt>
                <c:pt idx="18">
                  <c:v>1.0</c:v>
                </c:pt>
                <c:pt idx="19">
                  <c:v>1.0</c:v>
                </c:pt>
                <c:pt idx="20">
                  <c:v>1.0</c:v>
                </c:pt>
                <c:pt idx="21">
                  <c:v>1.0</c:v>
                </c:pt>
                <c:pt idx="22">
                  <c:v>1.0</c:v>
                </c:pt>
                <c:pt idx="23">
                  <c:v>1.0</c:v>
                </c:pt>
              </c:numCache>
            </c:numRef>
          </c:yVal>
          <c:smooth val="0"/>
          <c:extLst>
            <c:ext xmlns:c16="http://schemas.microsoft.com/office/drawing/2014/chart" uri="{C3380CC4-5D6E-409C-BE32-E72D297353CC}">
              <c16:uniqueId val="{00000000-096C-4121-9522-6AB7243CCAAE}"/>
            </c:ext>
          </c:extLst>
        </c:ser>
        <c:ser>
          <c:idx val="1"/>
          <c:order val="1"/>
          <c:tx>
            <c:strRef>
              <c:f>Sheet1!$B$2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8:$A$78</c:f>
              <c:numCache>
                <c:formatCode>General</c:formatCode>
                <c:ptCount val="51"/>
                <c:pt idx="0">
                  <c:v>1.043854837558015</c:v>
                </c:pt>
                <c:pt idx="1">
                  <c:v>1.1751392451923997</c:v>
                </c:pt>
                <c:pt idx="2">
                  <c:v>1.1704402592634637</c:v>
                </c:pt>
                <c:pt idx="3">
                  <c:v>1.309426057719249</c:v>
                </c:pt>
                <c:pt idx="4">
                  <c:v>1.2621801385050735</c:v>
                </c:pt>
                <c:pt idx="5">
                  <c:v>1.1678400396432111</c:v>
                </c:pt>
                <c:pt idx="6">
                  <c:v>1.3171831788381443</c:v>
                </c:pt>
                <c:pt idx="7">
                  <c:v>1.2735302720550088</c:v>
                </c:pt>
                <c:pt idx="8">
                  <c:v>1.2542146053168755</c:v>
                </c:pt>
                <c:pt idx="9">
                  <c:v>1.173326828773013</c:v>
                </c:pt>
                <c:pt idx="10">
                  <c:v>1.2792531069046256</c:v>
                </c:pt>
                <c:pt idx="11">
                  <c:v>1.2532170538518563</c:v>
                </c:pt>
                <c:pt idx="12">
                  <c:v>1.217397497907537</c:v>
                </c:pt>
                <c:pt idx="13">
                  <c:v>1.293948135013999</c:v>
                </c:pt>
                <c:pt idx="14">
                  <c:v>1.2040452010128226</c:v>
                </c:pt>
                <c:pt idx="15">
                  <c:v>1.185667663124706</c:v>
                </c:pt>
                <c:pt idx="16">
                  <c:v>1.2730777427814295</c:v>
                </c:pt>
                <c:pt idx="17">
                  <c:v>1.23010269522572</c:v>
                </c:pt>
                <c:pt idx="18">
                  <c:v>1.2864823875101783</c:v>
                </c:pt>
                <c:pt idx="19">
                  <c:v>1.3127536969428772</c:v>
                </c:pt>
                <c:pt idx="20">
                  <c:v>1.2555481650606122</c:v>
                </c:pt>
                <c:pt idx="21">
                  <c:v>1.2605561069321343</c:v>
                </c:pt>
                <c:pt idx="22">
                  <c:v>0.618322093825583</c:v>
                </c:pt>
                <c:pt idx="23">
                  <c:v>0.543768132680909</c:v>
                </c:pt>
                <c:pt idx="24">
                  <c:v>0.4999203778645104</c:v>
                </c:pt>
                <c:pt idx="25">
                  <c:v>0.5668017302165335</c:v>
                </c:pt>
                <c:pt idx="26">
                  <c:v>0.7010262620259278</c:v>
                </c:pt>
                <c:pt idx="27">
                  <c:v>0.9247832427627466</c:v>
                </c:pt>
                <c:pt idx="28">
                  <c:v>0.8313038778985983</c:v>
                </c:pt>
                <c:pt idx="29">
                  <c:v>0.9000330160898499</c:v>
                </c:pt>
                <c:pt idx="30">
                  <c:v>1.0413983760473489</c:v>
                </c:pt>
                <c:pt idx="31">
                  <c:v>0.9099026709366576</c:v>
                </c:pt>
                <c:pt idx="32">
                  <c:v>1.0494086148528212</c:v>
                </c:pt>
                <c:pt idx="33">
                  <c:v>1.3155931889917016</c:v>
                </c:pt>
                <c:pt idx="34">
                  <c:v>1.0239667529989693</c:v>
                </c:pt>
                <c:pt idx="35">
                  <c:v>0.592763396492082</c:v>
                </c:pt>
                <c:pt idx="36">
                  <c:v>0.7873547261716694</c:v>
                </c:pt>
                <c:pt idx="37">
                  <c:v>0.8151281512870716</c:v>
                </c:pt>
                <c:pt idx="38">
                  <c:v>0.9719782175226442</c:v>
                </c:pt>
                <c:pt idx="39">
                  <c:v>1.02130405360134</c:v>
                </c:pt>
                <c:pt idx="40">
                  <c:v>1.1474890996563007</c:v>
                </c:pt>
                <c:pt idx="41">
                  <c:v>1.0164080135849167</c:v>
                </c:pt>
                <c:pt idx="42">
                  <c:v>1.0445853097499347</c:v>
                </c:pt>
                <c:pt idx="43">
                  <c:v>0.9585414276609304</c:v>
                </c:pt>
                <c:pt idx="44">
                  <c:v>1.1168468603686394</c:v>
                </c:pt>
                <c:pt idx="45">
                  <c:v>1.045129350501287</c:v>
                </c:pt>
                <c:pt idx="46">
                  <c:v>1.048268222126095</c:v>
                </c:pt>
                <c:pt idx="47">
                  <c:v>1.0951959981757016</c:v>
                </c:pt>
                <c:pt idx="48">
                  <c:v>1.0137831932305295</c:v>
                </c:pt>
                <c:pt idx="49">
                  <c:v>0.939834639059877</c:v>
                </c:pt>
                <c:pt idx="50">
                  <c:v>1.0341791590673177</c:v>
                </c:pt>
              </c:numCache>
            </c:numRef>
          </c:xVal>
          <c:yVal>
            <c:numRef>
              <c:f>Sheet1!$B$28:$B$78</c:f>
              <c:numCache>
                <c:formatCode>General</c:formatCode>
                <c:ptCount val="51"/>
                <c:pt idx="0">
                  <c:v>0.9761904761904762</c:v>
                </c:pt>
                <c:pt idx="1">
                  <c:v>0.9130434782608695</c:v>
                </c:pt>
                <c:pt idx="2">
                  <c:v>0.9208333333333333</c:v>
                </c:pt>
                <c:pt idx="3">
                  <c:v>0.9106145251396648</c:v>
                </c:pt>
                <c:pt idx="4">
                  <c:v>0.8594594594594595</c:v>
                </c:pt>
                <c:pt idx="5">
                  <c:v>0.8823529411764706</c:v>
                </c:pt>
                <c:pt idx="6">
                  <c:v>0.8737864077669902</c:v>
                </c:pt>
                <c:pt idx="7">
                  <c:v>0.8389830508474576</c:v>
                </c:pt>
                <c:pt idx="8">
                  <c:v>0.8492063492063492</c:v>
                </c:pt>
                <c:pt idx="9">
                  <c:v>0.795774647887324</c:v>
                </c:pt>
                <c:pt idx="10">
                  <c:v>0.7861271676300579</c:v>
                </c:pt>
                <c:pt idx="11">
                  <c:v>0.7951807228915663</c:v>
                </c:pt>
                <c:pt idx="12">
                  <c:v>0.8176100628930818</c:v>
                </c:pt>
                <c:pt idx="13">
                  <c:v>0.879746835443038</c:v>
                </c:pt>
                <c:pt idx="14">
                  <c:v>0.8636363636363636</c:v>
                </c:pt>
                <c:pt idx="15">
                  <c:v>0.8951612903225806</c:v>
                </c:pt>
                <c:pt idx="16">
                  <c:v>0.8782608695652174</c:v>
                </c:pt>
                <c:pt idx="17">
                  <c:v>0.8241758241758241</c:v>
                </c:pt>
                <c:pt idx="18">
                  <c:v>0.803921568627451</c:v>
                </c:pt>
                <c:pt idx="19">
                  <c:v>0.7727272727272727</c:v>
                </c:pt>
                <c:pt idx="20">
                  <c:v>0.8</c:v>
                </c:pt>
                <c:pt idx="21">
                  <c:v>0.7763157894736842</c:v>
                </c:pt>
                <c:pt idx="22">
                  <c:v>0.9271844660194175</c:v>
                </c:pt>
                <c:pt idx="23">
                  <c:v>0.9465408805031447</c:v>
                </c:pt>
                <c:pt idx="24">
                  <c:v>0.9432835820895522</c:v>
                </c:pt>
                <c:pt idx="25">
                  <c:v>0.9475806451612904</c:v>
                </c:pt>
                <c:pt idx="26">
                  <c:v>0.888268156424581</c:v>
                </c:pt>
                <c:pt idx="27">
                  <c:v>0.8455882352941176</c:v>
                </c:pt>
                <c:pt idx="28">
                  <c:v>0.8295454545454546</c:v>
                </c:pt>
                <c:pt idx="29">
                  <c:v>0.7926829268292683</c:v>
                </c:pt>
                <c:pt idx="30">
                  <c:v>0.8135593220338984</c:v>
                </c:pt>
                <c:pt idx="31">
                  <c:v>0.8771929824561403</c:v>
                </c:pt>
                <c:pt idx="32">
                  <c:v>0.8703703703703703</c:v>
                </c:pt>
                <c:pt idx="33">
                  <c:v>0.8613861386138614</c:v>
                </c:pt>
                <c:pt idx="34">
                  <c:v>0.85</c:v>
                </c:pt>
                <c:pt idx="35">
                  <c:v>0.88</c:v>
                </c:pt>
                <c:pt idx="36">
                  <c:v>0.8701298701298701</c:v>
                </c:pt>
                <c:pt idx="37">
                  <c:v>0.8225806451612904</c:v>
                </c:pt>
                <c:pt idx="38">
                  <c:v>0.8356164383561644</c:v>
                </c:pt>
                <c:pt idx="39">
                  <c:v>0.75</c:v>
                </c:pt>
                <c:pt idx="40">
                  <c:v>0.7419354838709677</c:v>
                </c:pt>
                <c:pt idx="41">
                  <c:v>0.8076923076923077</c:v>
                </c:pt>
                <c:pt idx="42">
                  <c:v>0.7798165137614679</c:v>
                </c:pt>
                <c:pt idx="43">
                  <c:v>0.8803418803418803</c:v>
                </c:pt>
                <c:pt idx="44">
                  <c:v>0.8282208588957055</c:v>
                </c:pt>
                <c:pt idx="45">
                  <c:v>0.8615384615384616</c:v>
                </c:pt>
                <c:pt idx="46">
                  <c:v>0.84472049689441</c:v>
                </c:pt>
                <c:pt idx="47">
                  <c:v>0.8383838383838383</c:v>
                </c:pt>
                <c:pt idx="48">
                  <c:v>0.8798076923076923</c:v>
                </c:pt>
                <c:pt idx="49">
                  <c:v>0.8740740740740741</c:v>
                </c:pt>
                <c:pt idx="50">
                  <c:v>0.8622222222222222</c:v>
                </c:pt>
              </c:numCache>
            </c:numRef>
          </c:yVal>
          <c:smooth val="0"/>
          <c:extLst>
            <c:ext xmlns:c16="http://schemas.microsoft.com/office/drawing/2014/chart" uri="{C3380CC4-5D6E-409C-BE32-E72D297353CC}">
              <c16:uniqueId val="{00000002-096C-4121-9522-6AB7243CCAAE}"/>
            </c:ext>
          </c:extLst>
        </c:ser>
        <c:ser>
          <c:idx val="2"/>
          <c:order val="2"/>
          <c:tx>
            <c:strRef>
              <c:f>Sheet1!$B$8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81:$A$82</c:f>
              <c:numCache>
                <c:formatCode>General</c:formatCode>
                <c:ptCount val="2"/>
                <c:pt idx="0">
                  <c:v>0</c:v>
                </c:pt>
                <c:pt idx="1">
                  <c:v>-0.46295041409844856</c:v>
                </c:pt>
              </c:numCache>
            </c:numRef>
          </c:xVal>
          <c:yVal>
            <c:numRef>
              <c:f>Sheet1!$B$81:$B$82</c:f>
              <c:numCache>
                <c:formatCode>General</c:formatCode>
                <c:ptCount val="2"/>
                <c:pt idx="0">
                  <c:v>1.0</c:v>
                </c:pt>
                <c:pt idx="1">
                  <c:v>1.0</c:v>
                </c:pt>
              </c:numCache>
            </c:numRef>
          </c:yVal>
          <c:smooth val="0"/>
          <c:extLst>
            <c:ext xmlns:c16="http://schemas.microsoft.com/office/drawing/2014/chart" uri="{C3380CC4-5D6E-409C-BE32-E72D297353CC}">
              <c16:uniqueId val="{00000005-096C-4121-9522-6AB7243CCAAE}"/>
            </c:ext>
          </c:extLst>
        </c:ser>
        <c:ser>
          <c:idx val="3"/>
          <c:order val="3"/>
          <c:tx>
            <c:strRef>
              <c:f>Sheet1!$B$8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5:$A$86</c:f>
              <c:numCache>
                <c:formatCode>General</c:formatCode>
                <c:ptCount val="2"/>
                <c:pt idx="0">
                  <c:v>-0.46295041409844856</c:v>
                </c:pt>
                <c:pt idx="1">
                  <c:v>-0.46295041409844856</c:v>
                </c:pt>
              </c:numCache>
            </c:numRef>
          </c:xVal>
          <c:yVal>
            <c:numRef>
              <c:f>Sheet1!$B$85:$B$86</c:f>
              <c:numCache>
                <c:formatCode>General</c:formatCode>
                <c:ptCount val="2"/>
                <c:pt idx="0">
                  <c:v>1.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8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89:$A$90</c:f>
              <c:numCache>
                <c:formatCode>General</c:formatCode>
                <c:ptCount val="2"/>
                <c:pt idx="0">
                  <c:v>0</c:v>
                </c:pt>
                <c:pt idx="1">
                  <c:v>0.595579263303689</c:v>
                </c:pt>
              </c:numCache>
            </c:numRef>
          </c:xVal>
          <c:yVal>
            <c:numRef>
              <c:f>Sheet1!$B$89:$B$90</c:f>
              <c:numCache>
                <c:formatCode>General</c:formatCode>
                <c:ptCount val="2"/>
                <c:pt idx="0">
                  <c:v>0.8969079590218402</c:v>
                </c:pt>
                <c:pt idx="1">
                  <c:v>0.8969079590218402</c:v>
                </c:pt>
              </c:numCache>
            </c:numRef>
          </c:yVal>
          <c:smooth val="0"/>
          <c:extLst>
            <c:ext xmlns:c16="http://schemas.microsoft.com/office/drawing/2014/chart" uri="{C3380CC4-5D6E-409C-BE32-E72D297353CC}">
              <c16:uniqueId val="{0000000D-096C-4121-9522-6AB7243CCAAE}"/>
            </c:ext>
          </c:extLst>
        </c:ser>
        <c:ser>
          <c:idx val="5"/>
          <c:order val="5"/>
          <c:tx>
            <c:strRef>
              <c:f>Sheet1!$B$9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93:$A$94</c:f>
              <c:numCache>
                <c:formatCode>General</c:formatCode>
                <c:ptCount val="2"/>
                <c:pt idx="0">
                  <c:v>0.595579263303689</c:v>
                </c:pt>
                <c:pt idx="1">
                  <c:v>0.595579263303689</c:v>
                </c:pt>
              </c:numCache>
            </c:numRef>
          </c:xVal>
          <c:yVal>
            <c:numRef>
              <c:f>Sheet1!$B$93:$B$94</c:f>
              <c:numCache>
                <c:formatCode>General</c:formatCode>
                <c:ptCount val="2"/>
                <c:pt idx="0">
                  <c:v>0.89690795902184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9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97:$A$98</c:f>
              <c:numCache>
                <c:formatCode>General</c:formatCode>
                <c:ptCount val="2"/>
                <c:pt idx="0">
                  <c:v>0</c:v>
                </c:pt>
                <c:pt idx="1">
                  <c:v>1.2870241365328943</c:v>
                </c:pt>
              </c:numCache>
            </c:numRef>
          </c:xVal>
          <c:yVal>
            <c:numRef>
              <c:f>Sheet1!$B$97:$B$98</c:f>
              <c:numCache>
                <c:formatCode>General</c:formatCode>
                <c:ptCount val="2"/>
                <c:pt idx="0">
                  <c:v>0.8295669437183992</c:v>
                </c:pt>
                <c:pt idx="1">
                  <c:v>0.8295669437183992</c:v>
                </c:pt>
              </c:numCache>
            </c:numRef>
          </c:yVal>
          <c:smooth val="0"/>
          <c:extLst>
            <c:ext xmlns:c16="http://schemas.microsoft.com/office/drawing/2014/chart" uri="{C3380CC4-5D6E-409C-BE32-E72D297353CC}">
              <c16:uniqueId val="{00000015-096C-4121-9522-6AB7243CCAAE}"/>
            </c:ext>
          </c:extLst>
        </c:ser>
        <c:ser>
          <c:idx val="7"/>
          <c:order val="7"/>
          <c:tx>
            <c:strRef>
              <c:f>Sheet1!$B$10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1:$A$102</c:f>
              <c:numCache>
                <c:formatCode>General</c:formatCode>
                <c:ptCount val="2"/>
                <c:pt idx="0">
                  <c:v>1.2870241365328943</c:v>
                </c:pt>
                <c:pt idx="1">
                  <c:v>1.2870241365328943</c:v>
                </c:pt>
              </c:numCache>
            </c:numRef>
          </c:xVal>
          <c:yVal>
            <c:numRef>
              <c:f>Sheet1!$B$101:$B$102</c:f>
              <c:numCache>
                <c:formatCode>General</c:formatCode>
                <c:ptCount val="2"/>
                <c:pt idx="0">
                  <c:v>0.829566943718399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0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05:$A$158</c:f>
              <c:numCache>
                <c:formatCode>General</c:formatCode>
                <c:ptCount val="54"/>
                <c:pt idx="0">
                  <c:v>1.043854837558015</c:v>
                </c:pt>
                <c:pt idx="1">
                  <c:v>1.1751392451923997</c:v>
                </c:pt>
                <c:pt idx="2">
                  <c:v>1.1704402592634637</c:v>
                </c:pt>
                <c:pt idx="3">
                  <c:v>1.309426057719249</c:v>
                </c:pt>
                <c:pt idx="4">
                  <c:v>1.2621801385050735</c:v>
                </c:pt>
                <c:pt idx="5">
                  <c:v>1.1678400396432111</c:v>
                </c:pt>
                <c:pt idx="6">
                  <c:v>1.3171831788381443</c:v>
                </c:pt>
                <c:pt idx="7">
                  <c:v>1.2735302720550088</c:v>
                </c:pt>
                <c:pt idx="8">
                  <c:v>1.2542146053168755</c:v>
                </c:pt>
                <c:pt idx="9">
                  <c:v>1.173326828773013</c:v>
                </c:pt>
                <c:pt idx="10">
                  <c:v>1.2792531069046256</c:v>
                </c:pt>
                <c:pt idx="11">
                  <c:v>1.2532170538518563</c:v>
                </c:pt>
                <c:pt idx="12">
                  <c:v>1.217397497907537</c:v>
                </c:pt>
                <c:pt idx="13">
                  <c:v>1.293948135013999</c:v>
                </c:pt>
                <c:pt idx="14">
                  <c:v>1.2040452010128226</c:v>
                </c:pt>
                <c:pt idx="15">
                  <c:v>1.185667663124706</c:v>
                </c:pt>
                <c:pt idx="16">
                  <c:v>1.2730777427814295</c:v>
                </c:pt>
                <c:pt idx="17">
                  <c:v>1.23010269522572</c:v>
                </c:pt>
                <c:pt idx="18">
                  <c:v>1.2864823875101783</c:v>
                </c:pt>
                <c:pt idx="19">
                  <c:v>1.3127536969428772</c:v>
                </c:pt>
                <c:pt idx="20">
                  <c:v>1.2555481650606122</c:v>
                </c:pt>
                <c:pt idx="21">
                  <c:v>1.2605561069321343</c:v>
                </c:pt>
                <c:pt idx="22">
                  <c:v>0.618322093825583</c:v>
                </c:pt>
                <c:pt idx="23">
                  <c:v>0.543768132680909</c:v>
                </c:pt>
                <c:pt idx="24">
                  <c:v>0.4999203778645104</c:v>
                </c:pt>
                <c:pt idx="25">
                  <c:v>0.5668017302165335</c:v>
                </c:pt>
                <c:pt idx="26">
                  <c:v>0.7010262620259278</c:v>
                </c:pt>
                <c:pt idx="27">
                  <c:v>0.9247832427627466</c:v>
                </c:pt>
                <c:pt idx="28">
                  <c:v>0.8313038778985983</c:v>
                </c:pt>
                <c:pt idx="29">
                  <c:v>0.9000330160898499</c:v>
                </c:pt>
                <c:pt idx="30">
                  <c:v>1.0413983760473489</c:v>
                </c:pt>
                <c:pt idx="31">
                  <c:v>0.9099026709366576</c:v>
                </c:pt>
                <c:pt idx="32">
                  <c:v>1.0494086148528212</c:v>
                </c:pt>
                <c:pt idx="33">
                  <c:v>1.3155931889917016</c:v>
                </c:pt>
                <c:pt idx="34">
                  <c:v>1.0239667529989693</c:v>
                </c:pt>
                <c:pt idx="35">
                  <c:v>0.592763396492082</c:v>
                </c:pt>
                <c:pt idx="36">
                  <c:v>0.7873547261716694</c:v>
                </c:pt>
                <c:pt idx="37">
                  <c:v>0.8151281512870716</c:v>
                </c:pt>
                <c:pt idx="38">
                  <c:v>0.9719782175226442</c:v>
                </c:pt>
                <c:pt idx="39">
                  <c:v>1.02130405360134</c:v>
                </c:pt>
                <c:pt idx="40">
                  <c:v>1.1474890996563007</c:v>
                </c:pt>
                <c:pt idx="41">
                  <c:v>1.0164080135849167</c:v>
                </c:pt>
                <c:pt idx="42">
                  <c:v>1.0445853097499347</c:v>
                </c:pt>
                <c:pt idx="43">
                  <c:v>0.9585414276609304</c:v>
                </c:pt>
                <c:pt idx="44">
                  <c:v>1.1168468603686394</c:v>
                </c:pt>
                <c:pt idx="45">
                  <c:v>1.045129350501287</c:v>
                </c:pt>
                <c:pt idx="46">
                  <c:v>1.048268222126095</c:v>
                </c:pt>
                <c:pt idx="47">
                  <c:v>1.0951959981757016</c:v>
                </c:pt>
                <c:pt idx="48">
                  <c:v>1.0137831932305295</c:v>
                </c:pt>
                <c:pt idx="49">
                  <c:v>0.939834639059877</c:v>
                </c:pt>
                <c:pt idx="50">
                  <c:v>1.0341791590673177</c:v>
                </c:pt>
                <c:pt idx="51">
                  <c:v>0.595579263303689</c:v>
                </c:pt>
                <c:pt idx="52">
                  <c:v>-0.46295041409844856</c:v>
                </c:pt>
                <c:pt idx="53">
                  <c:v>1.2870241365328943</c:v>
                </c:pt>
              </c:numCache>
            </c:numRef>
          </c:xVal>
          <c:yVal>
            <c:numRef>
              <c:f>Sheet1!$B$105:$B$158</c:f>
              <c:numCache>
                <c:formatCode>General</c:formatCode>
                <c:ptCount val="54"/>
                <c:pt idx="0">
                  <c:v>0.8532496234483365</c:v>
                </c:pt>
                <c:pt idx="1">
                  <c:v>0.8404636073161731</c:v>
                </c:pt>
                <c:pt idx="2">
                  <c:v>0.8409212497047461</c:v>
                </c:pt>
                <c:pt idx="3">
                  <c:v>0.8273851817647797</c:v>
                </c:pt>
                <c:pt idx="4">
                  <c:v>0.8319865437706445</c:v>
                </c:pt>
                <c:pt idx="5">
                  <c:v>0.8411744896028481</c:v>
                </c:pt>
                <c:pt idx="6">
                  <c:v>0.8266297022866564</c:v>
                </c:pt>
                <c:pt idx="7">
                  <c:v>0.8308811345808812</c:v>
                </c:pt>
                <c:pt idx="8">
                  <c:v>0.8327623208616242</c:v>
                </c:pt>
                <c:pt idx="9">
                  <c:v>0.8406401216943391</c:v>
                </c:pt>
                <c:pt idx="10">
                  <c:v>0.8303237777703704</c:v>
                </c:pt>
                <c:pt idx="11">
                  <c:v>0.8328594741287503</c:v>
                </c:pt>
                <c:pt idx="12">
                  <c:v>0.8363480028002316</c:v>
                </c:pt>
                <c:pt idx="13">
                  <c:v>0.8288926034987668</c:v>
                </c:pt>
                <c:pt idx="14">
                  <c:v>0.8376484061502829</c:v>
                </c:pt>
                <c:pt idx="15">
                  <c:v>0.8394382264354251</c:v>
                </c:pt>
                <c:pt idx="16">
                  <c:v>0.8309252071916088</c:v>
                </c:pt>
                <c:pt idx="17">
                  <c:v>0.835110621600135</c:v>
                </c:pt>
                <c:pt idx="18">
                  <c:v>0.8296197055952195</c:v>
                </c:pt>
                <c:pt idx="19">
                  <c:v>0.8270610972100181</c:v>
                </c:pt>
                <c:pt idx="20">
                  <c:v>0.8326324431655301</c:v>
                </c:pt>
                <c:pt idx="21">
                  <c:v>0.8321447110219191</c:v>
                </c:pt>
                <c:pt idx="22">
                  <c:v>0.8946929953168294</c:v>
                </c:pt>
                <c:pt idx="23">
                  <c:v>0.901953934883752</c:v>
                </c:pt>
                <c:pt idx="24">
                  <c:v>0.9062243437658406</c:v>
                </c:pt>
                <c:pt idx="25">
                  <c:v>0.8997106528750276</c:v>
                </c:pt>
                <c:pt idx="26">
                  <c:v>0.8866382929507138</c:v>
                </c:pt>
                <c:pt idx="27">
                  <c:v>0.8648462125587099</c:v>
                </c:pt>
                <c:pt idx="28">
                  <c:v>0.8739503300141962</c:v>
                </c:pt>
                <c:pt idx="29">
                  <c:v>0.8672566800560814</c:v>
                </c:pt>
                <c:pt idx="30">
                  <c:v>0.8534888624948415</c:v>
                </c:pt>
                <c:pt idx="31">
                  <c:v>0.8662954572546532</c:v>
                </c:pt>
                <c:pt idx="32">
                  <c:v>0.8527087314462672</c:v>
                </c:pt>
                <c:pt idx="33">
                  <c:v>0.8267845541551526</c:v>
                </c:pt>
                <c:pt idx="34">
                  <c:v>0.8551865584933417</c:v>
                </c:pt>
                <c:pt idx="35">
                  <c:v>0.8971822011738824</c:v>
                </c:pt>
                <c:pt idx="36">
                  <c:v>0.8782306141172433</c:v>
                </c:pt>
                <c:pt idx="37">
                  <c:v>0.8755257120807431</c:v>
                </c:pt>
                <c:pt idx="38">
                  <c:v>0.8602498121215947</c:v>
                </c:pt>
                <c:pt idx="39">
                  <c:v>0.8554458834053145</c:v>
                </c:pt>
                <c:pt idx="40">
                  <c:v>0.8431565029406543</c:v>
                </c:pt>
                <c:pt idx="41">
                  <c:v>0.8559227172331979</c:v>
                </c:pt>
                <c:pt idx="42">
                  <c:v>0.8531784814947849</c:v>
                </c:pt>
                <c:pt idx="43">
                  <c:v>0.8615584443882293</c:v>
                </c:pt>
                <c:pt idx="44">
                  <c:v>0.8461408037644714</c:v>
                </c:pt>
                <c:pt idx="45">
                  <c:v>0.8531254964225383</c:v>
                </c:pt>
                <c:pt idx="46">
                  <c:v>0.8528197962715856</c:v>
                </c:pt>
                <c:pt idx="47">
                  <c:v>0.8482494187802401</c:v>
                </c:pt>
                <c:pt idx="48">
                  <c:v>0.8561783530394598</c:v>
                </c:pt>
                <c:pt idx="49">
                  <c:v>0.8633803309712891</c:v>
                </c:pt>
                <c:pt idx="50">
                  <c:v>0.8541919545560505</c:v>
                </c:pt>
                <c:pt idx="51">
                  <c:v>0.8969079590218402</c:v>
                </c:pt>
                <c:pt idx="52">
                  <c:v>1.0</c:v>
                </c:pt>
                <c:pt idx="53">
                  <c:v>0.829566943718399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593548387096774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5</c:f>
              <c:numCache>
                <c:formatCode>General</c:formatCode>
                <c:ptCount val="24"/>
                <c:pt idx="0">
                  <c:v>1452.25</c:v>
                </c:pt>
                <c:pt idx="1">
                  <c:v>1538.8298</c:v>
                </c:pt>
                <c:pt idx="2">
                  <c:v>1494.3696</c:v>
                </c:pt>
                <c:pt idx="3">
                  <c:v>1516.8511</c:v>
                </c:pt>
                <c:pt idx="4">
                  <c:v>1458.0227</c:v>
                </c:pt>
                <c:pt idx="5">
                  <c:v>1404.4545</c:v>
                </c:pt>
                <c:pt idx="6">
                  <c:v>1393.9231</c:v>
                </c:pt>
                <c:pt idx="7">
                  <c:v>1376.8065</c:v>
                </c:pt>
                <c:pt idx="8">
                  <c:v>1357.6341</c:v>
                </c:pt>
                <c:pt idx="9">
                  <c:v>1431.7297</c:v>
                </c:pt>
                <c:pt idx="10">
                  <c:v>1377.0286</c:v>
                </c:pt>
                <c:pt idx="11">
                  <c:v>1422.3548</c:v>
                </c:pt>
                <c:pt idx="12">
                  <c:v>1471.4815</c:v>
                </c:pt>
                <c:pt idx="13">
                  <c:v>1381.129</c:v>
                </c:pt>
                <c:pt idx="14">
                  <c:v>1228.7241</c:v>
                </c:pt>
                <c:pt idx="15">
                  <c:v>1387.3333</c:v>
                </c:pt>
                <c:pt idx="16">
                  <c:v>1534.7</c:v>
                </c:pt>
                <c:pt idx="17">
                  <c:v>1451.125</c:v>
                </c:pt>
                <c:pt idx="18">
                  <c:v>1497.8095</c:v>
                </c:pt>
                <c:pt idx="19">
                  <c:v>1570.625</c:v>
                </c:pt>
                <c:pt idx="20">
                  <c:v>1564.4231</c:v>
                </c:pt>
                <c:pt idx="21">
                  <c:v>1358.1333</c:v>
                </c:pt>
                <c:pt idx="22">
                  <c:v>1547.0333</c:v>
                </c:pt>
                <c:pt idx="23">
                  <c:v>1444.7143</c:v>
                </c:pt>
              </c:numCache>
            </c:numRef>
          </c:xVal>
          <c:yVal>
            <c:numRef>
              <c:f>Sheet1!$B$2:$B$25</c:f>
              <c:numCache>
                <c:formatCode>General</c:formatCode>
                <c:ptCount val="24"/>
                <c:pt idx="0">
                  <c:v>0.9361702127659575</c:v>
                </c:pt>
                <c:pt idx="1">
                  <c:v>0.94</c:v>
                </c:pt>
                <c:pt idx="2">
                  <c:v>0.8679245283018868</c:v>
                </c:pt>
                <c:pt idx="3">
                  <c:v>0.8703703703703703</c:v>
                </c:pt>
                <c:pt idx="4">
                  <c:v>0.9361702127659575</c:v>
                </c:pt>
                <c:pt idx="5">
                  <c:v>1.0</c:v>
                </c:pt>
                <c:pt idx="6">
                  <c:v>0.9629629629629629</c:v>
                </c:pt>
                <c:pt idx="7">
                  <c:v>0.96875</c:v>
                </c:pt>
                <c:pt idx="8">
                  <c:v>0.9534883720930233</c:v>
                </c:pt>
                <c:pt idx="9">
                  <c:v>0.9487179487179487</c:v>
                </c:pt>
                <c:pt idx="10">
                  <c:v>0.9210526315789473</c:v>
                </c:pt>
                <c:pt idx="11">
                  <c:v>0.9117647058823529</c:v>
                </c:pt>
                <c:pt idx="12">
                  <c:v>0.9642857142857143</c:v>
                </c:pt>
                <c:pt idx="13">
                  <c:v>0.9393939393939394</c:v>
                </c:pt>
                <c:pt idx="14">
                  <c:v>1.0</c:v>
                </c:pt>
                <c:pt idx="15">
                  <c:v>1.0</c:v>
                </c:pt>
                <c:pt idx="16">
                  <c:v>1.0</c:v>
                </c:pt>
                <c:pt idx="17">
                  <c:v>0.96</c:v>
                </c:pt>
                <c:pt idx="18">
                  <c:v>1.0</c:v>
                </c:pt>
                <c:pt idx="19">
                  <c:v>1.0</c:v>
                </c:pt>
                <c:pt idx="20">
                  <c:v>1.0</c:v>
                </c:pt>
                <c:pt idx="21">
                  <c:v>1.0</c:v>
                </c:pt>
                <c:pt idx="22">
                  <c:v>1.0</c:v>
                </c:pt>
                <c:pt idx="23">
                  <c:v>1.0</c:v>
                </c:pt>
              </c:numCache>
            </c:numRef>
          </c:yVal>
          <c:smooth val="0"/>
          <c:extLst>
            <c:ext xmlns:c16="http://schemas.microsoft.com/office/drawing/2014/chart" uri="{C3380CC4-5D6E-409C-BE32-E72D297353CC}">
              <c16:uniqueId val="{00000000-F32D-48B7-BC20-E66FC6253BAD}"/>
            </c:ext>
          </c:extLst>
        </c:ser>
        <c:ser>
          <c:idx val="1"/>
          <c:order val="1"/>
          <c:tx>
            <c:strRef>
              <c:f>Sheet1!$B$2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8:$A$78</c:f>
              <c:numCache>
                <c:formatCode>General</c:formatCode>
                <c:ptCount val="51"/>
                <c:pt idx="0">
                  <c:v>1461.9187</c:v>
                </c:pt>
                <c:pt idx="1">
                  <c:v>1635.4199</c:v>
                </c:pt>
                <c:pt idx="2">
                  <c:v>1761.0814</c:v>
                </c:pt>
                <c:pt idx="3">
                  <c:v>1752.5031</c:v>
                </c:pt>
                <c:pt idx="4">
                  <c:v>1812.1509</c:v>
                </c:pt>
                <c:pt idx="5">
                  <c:v>1767.5259</c:v>
                </c:pt>
                <c:pt idx="6">
                  <c:v>1801.4</c:v>
                </c:pt>
                <c:pt idx="7">
                  <c:v>1795.1414</c:v>
                </c:pt>
                <c:pt idx="8">
                  <c:v>1717.9439</c:v>
                </c:pt>
                <c:pt idx="9">
                  <c:v>1687.2035</c:v>
                </c:pt>
                <c:pt idx="10">
                  <c:v>1800.9118</c:v>
                </c:pt>
                <c:pt idx="11">
                  <c:v>1757.9318</c:v>
                </c:pt>
                <c:pt idx="12">
                  <c:v>1703.2231</c:v>
                </c:pt>
                <c:pt idx="13">
                  <c:v>1816.1583</c:v>
                </c:pt>
                <c:pt idx="14">
                  <c:v>1767.6053</c:v>
                </c:pt>
                <c:pt idx="15">
                  <c:v>1837.6937</c:v>
                </c:pt>
                <c:pt idx="16">
                  <c:v>1840.4158</c:v>
                </c:pt>
                <c:pt idx="17">
                  <c:v>1834.16</c:v>
                </c:pt>
                <c:pt idx="18">
                  <c:v>1816.9634</c:v>
                </c:pt>
                <c:pt idx="19">
                  <c:v>1779.8971</c:v>
                </c:pt>
                <c:pt idx="20">
                  <c:v>1768.9</c:v>
                </c:pt>
                <c:pt idx="21">
                  <c:v>1800.0</c:v>
                </c:pt>
                <c:pt idx="22">
                  <c:v>888.8586</c:v>
                </c:pt>
                <c:pt idx="23">
                  <c:v>694.9037</c:v>
                </c:pt>
                <c:pt idx="24">
                  <c:v>708.8608</c:v>
                </c:pt>
                <c:pt idx="25">
                  <c:v>724.983</c:v>
                </c:pt>
                <c:pt idx="26">
                  <c:v>943.6164</c:v>
                </c:pt>
                <c:pt idx="27">
                  <c:v>1346.0</c:v>
                </c:pt>
                <c:pt idx="28">
                  <c:v>1269.0685</c:v>
                </c:pt>
                <c:pt idx="29">
                  <c:v>1355.6615</c:v>
                </c:pt>
                <c:pt idx="30">
                  <c:v>1440.9167</c:v>
                </c:pt>
                <c:pt idx="31">
                  <c:v>1308.7</c:v>
                </c:pt>
                <c:pt idx="32">
                  <c:v>1576.3617</c:v>
                </c:pt>
                <c:pt idx="33">
                  <c:v>1776.8966</c:v>
                </c:pt>
                <c:pt idx="34">
                  <c:v>1564.5529</c:v>
                </c:pt>
                <c:pt idx="35">
                  <c:v>950.9242</c:v>
                </c:pt>
                <c:pt idx="36">
                  <c:v>1196.1493</c:v>
                </c:pt>
                <c:pt idx="37">
                  <c:v>1173.1176</c:v>
                </c:pt>
                <c:pt idx="38">
                  <c:v>1426.459</c:v>
                </c:pt>
                <c:pt idx="39">
                  <c:v>1524.2963</c:v>
                </c:pt>
                <c:pt idx="40">
                  <c:v>1559.2464</c:v>
                </c:pt>
                <c:pt idx="41">
                  <c:v>1437.5397</c:v>
                </c:pt>
                <c:pt idx="42">
                  <c:v>1498.5882</c:v>
                </c:pt>
                <c:pt idx="43">
                  <c:v>1503.9515</c:v>
                </c:pt>
                <c:pt idx="44">
                  <c:v>1584.2074</c:v>
                </c:pt>
                <c:pt idx="45">
                  <c:v>1477.0</c:v>
                </c:pt>
                <c:pt idx="46">
                  <c:v>1550.9338</c:v>
                </c:pt>
                <c:pt idx="47">
                  <c:v>1581.7711</c:v>
                </c:pt>
                <c:pt idx="48">
                  <c:v>1456.847</c:v>
                </c:pt>
                <c:pt idx="49">
                  <c:v>1343.5876</c:v>
                </c:pt>
                <c:pt idx="50">
                  <c:v>1431.8711</c:v>
                </c:pt>
              </c:numCache>
            </c:numRef>
          </c:xVal>
          <c:yVal>
            <c:numRef>
              <c:f>Sheet1!$B$28:$B$78</c:f>
              <c:numCache>
                <c:formatCode>General</c:formatCode>
                <c:ptCount val="51"/>
                <c:pt idx="0">
                  <c:v>0.9761904761904762</c:v>
                </c:pt>
                <c:pt idx="1">
                  <c:v>0.9130434782608695</c:v>
                </c:pt>
                <c:pt idx="2">
                  <c:v>0.9208333333333333</c:v>
                </c:pt>
                <c:pt idx="3">
                  <c:v>0.9106145251396648</c:v>
                </c:pt>
                <c:pt idx="4">
                  <c:v>0.8594594594594595</c:v>
                </c:pt>
                <c:pt idx="5">
                  <c:v>0.8823529411764706</c:v>
                </c:pt>
                <c:pt idx="6">
                  <c:v>0.8737864077669902</c:v>
                </c:pt>
                <c:pt idx="7">
                  <c:v>0.8389830508474576</c:v>
                </c:pt>
                <c:pt idx="8">
                  <c:v>0.8492063492063492</c:v>
                </c:pt>
                <c:pt idx="9">
                  <c:v>0.795774647887324</c:v>
                </c:pt>
                <c:pt idx="10">
                  <c:v>0.7861271676300579</c:v>
                </c:pt>
                <c:pt idx="11">
                  <c:v>0.7951807228915663</c:v>
                </c:pt>
                <c:pt idx="12">
                  <c:v>0.8176100628930818</c:v>
                </c:pt>
                <c:pt idx="13">
                  <c:v>0.879746835443038</c:v>
                </c:pt>
                <c:pt idx="14">
                  <c:v>0.8636363636363636</c:v>
                </c:pt>
                <c:pt idx="15">
                  <c:v>0.8951612903225806</c:v>
                </c:pt>
                <c:pt idx="16">
                  <c:v>0.8782608695652174</c:v>
                </c:pt>
                <c:pt idx="17">
                  <c:v>0.8241758241758241</c:v>
                </c:pt>
                <c:pt idx="18">
                  <c:v>0.803921568627451</c:v>
                </c:pt>
                <c:pt idx="19">
                  <c:v>0.7727272727272727</c:v>
                </c:pt>
                <c:pt idx="20">
                  <c:v>0.8</c:v>
                </c:pt>
                <c:pt idx="21">
                  <c:v>0.7763157894736842</c:v>
                </c:pt>
                <c:pt idx="22">
                  <c:v>0.9271844660194175</c:v>
                </c:pt>
                <c:pt idx="23">
                  <c:v>0.9465408805031447</c:v>
                </c:pt>
                <c:pt idx="24">
                  <c:v>0.9432835820895522</c:v>
                </c:pt>
                <c:pt idx="25">
                  <c:v>0.9475806451612904</c:v>
                </c:pt>
                <c:pt idx="26">
                  <c:v>0.888268156424581</c:v>
                </c:pt>
                <c:pt idx="27">
                  <c:v>0.8455882352941176</c:v>
                </c:pt>
                <c:pt idx="28">
                  <c:v>0.8295454545454546</c:v>
                </c:pt>
                <c:pt idx="29">
                  <c:v>0.7926829268292683</c:v>
                </c:pt>
                <c:pt idx="30">
                  <c:v>0.8135593220338984</c:v>
                </c:pt>
                <c:pt idx="31">
                  <c:v>0.8771929824561403</c:v>
                </c:pt>
                <c:pt idx="32">
                  <c:v>0.8703703703703703</c:v>
                </c:pt>
                <c:pt idx="33">
                  <c:v>0.8613861386138614</c:v>
                </c:pt>
                <c:pt idx="34">
                  <c:v>0.85</c:v>
                </c:pt>
                <c:pt idx="35">
                  <c:v>0.88</c:v>
                </c:pt>
                <c:pt idx="36">
                  <c:v>0.8701298701298701</c:v>
                </c:pt>
                <c:pt idx="37">
                  <c:v>0.8225806451612904</c:v>
                </c:pt>
                <c:pt idx="38">
                  <c:v>0.8356164383561644</c:v>
                </c:pt>
                <c:pt idx="39">
                  <c:v>0.75</c:v>
                </c:pt>
                <c:pt idx="40">
                  <c:v>0.7419354838709677</c:v>
                </c:pt>
                <c:pt idx="41">
                  <c:v>0.8076923076923077</c:v>
                </c:pt>
                <c:pt idx="42">
                  <c:v>0.7798165137614679</c:v>
                </c:pt>
                <c:pt idx="43">
                  <c:v>0.8803418803418803</c:v>
                </c:pt>
                <c:pt idx="44">
                  <c:v>0.8282208588957055</c:v>
                </c:pt>
                <c:pt idx="45">
                  <c:v>0.8615384615384616</c:v>
                </c:pt>
                <c:pt idx="46">
                  <c:v>0.84472049689441</c:v>
                </c:pt>
                <c:pt idx="47">
                  <c:v>0.8383838383838383</c:v>
                </c:pt>
                <c:pt idx="48">
                  <c:v>0.8798076923076923</c:v>
                </c:pt>
                <c:pt idx="49">
                  <c:v>0.8740740740740741</c:v>
                </c:pt>
                <c:pt idx="50">
                  <c:v>0.8622222222222222</c:v>
                </c:pt>
              </c:numCache>
            </c:numRef>
          </c:yVal>
          <c:smooth val="0"/>
          <c:extLst>
            <c:ext xmlns:c16="http://schemas.microsoft.com/office/drawing/2014/chart" uri="{C3380CC4-5D6E-409C-BE32-E72D297353CC}">
              <c16:uniqueId val="{00000002-F32D-48B7-BC20-E66FC6253BAD}"/>
            </c:ext>
          </c:extLst>
        </c:ser>
        <c:ser>
          <c:idx val="2"/>
          <c:order val="2"/>
          <c:tx>
            <c:strRef>
              <c:f>Sheet1!$B$80</c:f>
              <c:strCache>
                <c:ptCount val="1"/>
                <c:pt idx="0">
                  <c:v>Custom Linep3yQ</c:v>
                </c:pt>
              </c:strCache>
            </c:strRef>
          </c:tx>
          <c:spPr>
            <a:ln w="19050" cap="rnd">
              <a:solidFill>
                <a:srgbClr val="C00000"/>
              </a:solidFill>
              <a:prstDash val="sysDot"/>
              <a:round/>
            </a:ln>
            <a:effectLst/>
          </c:spPr>
          <c:marker>
            <c:symbol val="none"/>
          </c:marker>
          <c:xVal>
            <c:numRef>
              <c:f>Sheet1!$A$81:$A$82</c:f>
              <c:numCache>
                <c:formatCode>General</c:formatCode>
                <c:ptCount val="2"/>
                <c:pt idx="0">
                  <c:v>0</c:v>
                </c:pt>
                <c:pt idx="1">
                  <c:v>-596.5856901451351</c:v>
                </c:pt>
              </c:numCache>
            </c:numRef>
          </c:xVal>
          <c:yVal>
            <c:numRef>
              <c:f>Sheet1!$B$81:$B$82</c:f>
              <c:numCache>
                <c:formatCode>General</c:formatCode>
                <c:ptCount val="2"/>
                <c:pt idx="0">
                  <c:v>1.0</c:v>
                </c:pt>
                <c:pt idx="1">
                  <c:v>1.0</c:v>
                </c:pt>
              </c:numCache>
            </c:numRef>
          </c:yVal>
          <c:smooth val="0"/>
          <c:extLst>
            <c:ext xmlns:c16="http://schemas.microsoft.com/office/drawing/2014/chart" uri="{C3380CC4-5D6E-409C-BE32-E72D297353CC}">
              <c16:uniqueId val="{00000003-F32D-48B7-BC20-E66FC6253BAD}"/>
            </c:ext>
          </c:extLst>
        </c:ser>
        <c:ser>
          <c:idx val="3"/>
          <c:order val="3"/>
          <c:tx>
            <c:strRef>
              <c:f>Sheet1!$B$8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5:$A$86</c:f>
              <c:numCache>
                <c:formatCode>General</c:formatCode>
                <c:ptCount val="2"/>
                <c:pt idx="0">
                  <c:v>-596.5856901451351</c:v>
                </c:pt>
                <c:pt idx="1">
                  <c:v>-596.5856901451351</c:v>
                </c:pt>
              </c:numCache>
            </c:numRef>
          </c:xVal>
          <c:yVal>
            <c:numRef>
              <c:f>Sheet1!$B$85:$B$86</c:f>
              <c:numCache>
                <c:formatCode>General</c:formatCode>
                <c:ptCount val="2"/>
                <c:pt idx="0">
                  <c:v>1.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8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89:$A$90</c:f>
              <c:numCache>
                <c:formatCode>General</c:formatCode>
                <c:ptCount val="2"/>
                <c:pt idx="0">
                  <c:v>0</c:v>
                </c:pt>
                <c:pt idx="1">
                  <c:v>873.035989069623</c:v>
                </c:pt>
              </c:numCache>
            </c:numRef>
          </c:xVal>
          <c:yVal>
            <c:numRef>
              <c:f>Sheet1!$B$89:$B$90</c:f>
              <c:numCache>
                <c:formatCode>General</c:formatCode>
                <c:ptCount val="2"/>
                <c:pt idx="0">
                  <c:v>0.8969079590218402</c:v>
                </c:pt>
                <c:pt idx="1">
                  <c:v>0.8969079590218402</c:v>
                </c:pt>
              </c:numCache>
            </c:numRef>
          </c:yVal>
          <c:smooth val="0"/>
          <c:extLst>
            <c:ext xmlns:c16="http://schemas.microsoft.com/office/drawing/2014/chart" uri="{C3380CC4-5D6E-409C-BE32-E72D297353CC}">
              <c16:uniqueId val="{0000000A-F32D-48B7-BC20-E66FC6253BAD}"/>
            </c:ext>
          </c:extLst>
        </c:ser>
        <c:ser>
          <c:idx val="5"/>
          <c:order val="5"/>
          <c:tx>
            <c:strRef>
              <c:f>Sheet1!$B$9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93:$A$94</c:f>
              <c:numCache>
                <c:formatCode>General</c:formatCode>
                <c:ptCount val="2"/>
                <c:pt idx="0">
                  <c:v>873.035989069623</c:v>
                </c:pt>
                <c:pt idx="1">
                  <c:v>873.035989069623</c:v>
                </c:pt>
              </c:numCache>
            </c:numRef>
          </c:xVal>
          <c:yVal>
            <c:numRef>
              <c:f>Sheet1!$B$93:$B$94</c:f>
              <c:numCache>
                <c:formatCode>General</c:formatCode>
                <c:ptCount val="2"/>
                <c:pt idx="0">
                  <c:v>0.89690795902184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9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97:$A$98</c:f>
              <c:numCache>
                <c:formatCode>General</c:formatCode>
                <c:ptCount val="2"/>
                <c:pt idx="0">
                  <c:v>0</c:v>
                </c:pt>
                <c:pt idx="1">
                  <c:v>1833.0113184089232</c:v>
                </c:pt>
              </c:numCache>
            </c:numRef>
          </c:xVal>
          <c:yVal>
            <c:numRef>
              <c:f>Sheet1!$B$97:$B$98</c:f>
              <c:numCache>
                <c:formatCode>General</c:formatCode>
                <c:ptCount val="2"/>
                <c:pt idx="0">
                  <c:v>0.8295669437183992</c:v>
                </c:pt>
                <c:pt idx="1">
                  <c:v>0.8295669437183992</c:v>
                </c:pt>
              </c:numCache>
            </c:numRef>
          </c:yVal>
          <c:smooth val="0"/>
          <c:extLst>
            <c:ext xmlns:c16="http://schemas.microsoft.com/office/drawing/2014/chart" uri="{C3380CC4-5D6E-409C-BE32-E72D297353CC}">
              <c16:uniqueId val="{00000011-F32D-48B7-BC20-E66FC6253BAD}"/>
            </c:ext>
          </c:extLst>
        </c:ser>
        <c:ser>
          <c:idx val="7"/>
          <c:order val="7"/>
          <c:tx>
            <c:strRef>
              <c:f>Sheet1!$B$10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1:$A$102</c:f>
              <c:numCache>
                <c:formatCode>General</c:formatCode>
                <c:ptCount val="2"/>
                <c:pt idx="0">
                  <c:v>1833.0113184089232</c:v>
                </c:pt>
                <c:pt idx="1">
                  <c:v>1833.0113184089232</c:v>
                </c:pt>
              </c:numCache>
            </c:numRef>
          </c:xVal>
          <c:yVal>
            <c:numRef>
              <c:f>Sheet1!$B$101:$B$102</c:f>
              <c:numCache>
                <c:formatCode>General</c:formatCode>
                <c:ptCount val="2"/>
                <c:pt idx="0">
                  <c:v>0.829566943718399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0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05:$A$158</c:f>
              <c:numCache>
                <c:formatCode>General</c:formatCode>
                <c:ptCount val="54"/>
                <c:pt idx="0">
                  <c:v>1461.9187</c:v>
                </c:pt>
                <c:pt idx="1">
                  <c:v>1635.4199</c:v>
                </c:pt>
                <c:pt idx="2">
                  <c:v>1761.0814</c:v>
                </c:pt>
                <c:pt idx="3">
                  <c:v>1752.5031</c:v>
                </c:pt>
                <c:pt idx="4">
                  <c:v>1812.1509</c:v>
                </c:pt>
                <c:pt idx="5">
                  <c:v>1767.5259</c:v>
                </c:pt>
                <c:pt idx="6">
                  <c:v>1801.4</c:v>
                </c:pt>
                <c:pt idx="7">
                  <c:v>1795.1414</c:v>
                </c:pt>
                <c:pt idx="8">
                  <c:v>1717.9439</c:v>
                </c:pt>
                <c:pt idx="9">
                  <c:v>1687.2035</c:v>
                </c:pt>
                <c:pt idx="10">
                  <c:v>1800.9118</c:v>
                </c:pt>
                <c:pt idx="11">
                  <c:v>1757.9318</c:v>
                </c:pt>
                <c:pt idx="12">
                  <c:v>1703.2231</c:v>
                </c:pt>
                <c:pt idx="13">
                  <c:v>1816.1583</c:v>
                </c:pt>
                <c:pt idx="14">
                  <c:v>1767.6053</c:v>
                </c:pt>
                <c:pt idx="15">
                  <c:v>1837.6937</c:v>
                </c:pt>
                <c:pt idx="16">
                  <c:v>1840.4158</c:v>
                </c:pt>
                <c:pt idx="17">
                  <c:v>1834.16</c:v>
                </c:pt>
                <c:pt idx="18">
                  <c:v>1816.9634</c:v>
                </c:pt>
                <c:pt idx="19">
                  <c:v>1779.8971</c:v>
                </c:pt>
                <c:pt idx="20">
                  <c:v>1768.9</c:v>
                </c:pt>
                <c:pt idx="21">
                  <c:v>1800.0</c:v>
                </c:pt>
                <c:pt idx="22">
                  <c:v>888.8586</c:v>
                </c:pt>
                <c:pt idx="23">
                  <c:v>694.9037</c:v>
                </c:pt>
                <c:pt idx="24">
                  <c:v>708.8608</c:v>
                </c:pt>
                <c:pt idx="25">
                  <c:v>724.983</c:v>
                </c:pt>
                <c:pt idx="26">
                  <c:v>943.6164</c:v>
                </c:pt>
                <c:pt idx="27">
                  <c:v>1346.0</c:v>
                </c:pt>
                <c:pt idx="28">
                  <c:v>1269.0685</c:v>
                </c:pt>
                <c:pt idx="29">
                  <c:v>1355.6615</c:v>
                </c:pt>
                <c:pt idx="30">
                  <c:v>1440.9167</c:v>
                </c:pt>
                <c:pt idx="31">
                  <c:v>1308.7</c:v>
                </c:pt>
                <c:pt idx="32">
                  <c:v>1576.3617</c:v>
                </c:pt>
                <c:pt idx="33">
                  <c:v>1776.8966</c:v>
                </c:pt>
                <c:pt idx="34">
                  <c:v>1564.5529</c:v>
                </c:pt>
                <c:pt idx="35">
                  <c:v>950.9242</c:v>
                </c:pt>
                <c:pt idx="36">
                  <c:v>1196.1493</c:v>
                </c:pt>
                <c:pt idx="37">
                  <c:v>1173.1176</c:v>
                </c:pt>
                <c:pt idx="38">
                  <c:v>1426.459</c:v>
                </c:pt>
                <c:pt idx="39">
                  <c:v>1524.2963</c:v>
                </c:pt>
                <c:pt idx="40">
                  <c:v>1559.2464</c:v>
                </c:pt>
                <c:pt idx="41">
                  <c:v>1437.5397</c:v>
                </c:pt>
                <c:pt idx="42">
                  <c:v>1498.5882</c:v>
                </c:pt>
                <c:pt idx="43">
                  <c:v>1503.9515</c:v>
                </c:pt>
                <c:pt idx="44">
                  <c:v>1584.2074</c:v>
                </c:pt>
                <c:pt idx="45">
                  <c:v>1477.0</c:v>
                </c:pt>
                <c:pt idx="46">
                  <c:v>1550.9338</c:v>
                </c:pt>
                <c:pt idx="47">
                  <c:v>1581.7711</c:v>
                </c:pt>
                <c:pt idx="48">
                  <c:v>1456.847</c:v>
                </c:pt>
                <c:pt idx="49">
                  <c:v>1343.5876</c:v>
                </c:pt>
                <c:pt idx="50">
                  <c:v>1431.8711</c:v>
                </c:pt>
                <c:pt idx="51">
                  <c:v>873.035989069623</c:v>
                </c:pt>
                <c:pt idx="52">
                  <c:v>-596.5856901451351</c:v>
                </c:pt>
                <c:pt idx="53">
                  <c:v>1833.0113184089232</c:v>
                </c:pt>
              </c:numCache>
            </c:numRef>
          </c:xVal>
          <c:yVal>
            <c:numRef>
              <c:f>Sheet1!$B$105:$B$158</c:f>
              <c:numCache>
                <c:formatCode>General</c:formatCode>
                <c:ptCount val="54"/>
                <c:pt idx="0">
                  <c:v>0.8555986061283785</c:v>
                </c:pt>
                <c:pt idx="1">
                  <c:v>0.8434277235991299</c:v>
                </c:pt>
                <c:pt idx="2">
                  <c:v>0.8346127335301898</c:v>
                </c:pt>
                <c:pt idx="3">
                  <c:v>0.8352144900690532</c:v>
                </c:pt>
                <c:pt idx="4">
                  <c:v>0.8310302748190832</c:v>
                </c:pt>
                <c:pt idx="5">
                  <c:v>0.834160660273868</c:v>
                </c:pt>
                <c:pt idx="6">
                  <c:v>0.8317844364098024</c:v>
                </c:pt>
                <c:pt idx="7">
                  <c:v>0.8322234690239719</c:v>
                </c:pt>
                <c:pt idx="8">
                  <c:v>0.8376387728031485</c:v>
                </c:pt>
                <c:pt idx="9">
                  <c:v>0.8397951717058773</c:v>
                </c:pt>
                <c:pt idx="10">
                  <c:v>0.8318186830020495</c:v>
                </c:pt>
                <c:pt idx="11">
                  <c:v>0.834833673855756</c:v>
                </c:pt>
                <c:pt idx="12">
                  <c:v>0.838671417692847</c:v>
                </c:pt>
                <c:pt idx="13">
                  <c:v>0.8307491609440915</c:v>
                </c:pt>
                <c:pt idx="14">
                  <c:v>0.8341550904675911</c:v>
                </c:pt>
                <c:pt idx="15">
                  <c:v>0.8292384807665458</c:v>
                </c:pt>
                <c:pt idx="16">
                  <c:v>0.8290475290075212</c:v>
                </c:pt>
                <c:pt idx="17">
                  <c:v>0.8294863652053486</c:v>
                </c:pt>
                <c:pt idx="18">
                  <c:v>0.830692684230822</c:v>
                </c:pt>
                <c:pt idx="19">
                  <c:v>0.8332928367548039</c:v>
                </c:pt>
                <c:pt idx="20">
                  <c:v>0.8340642689539034</c:v>
                </c:pt>
                <c:pt idx="21">
                  <c:v>0.8318826445809329</c:v>
                </c:pt>
                <c:pt idx="22">
                  <c:v>0.8957980235347103</c:v>
                </c:pt>
                <c:pt idx="23">
                  <c:v>0.9094037063995675</c:v>
                </c:pt>
                <c:pt idx="24">
                  <c:v>0.9084246340672206</c:v>
                </c:pt>
                <c:pt idx="25">
                  <c:v>0.9072936827982204</c:v>
                </c:pt>
                <c:pt idx="26">
                  <c:v>0.8919568353967603</c:v>
                </c:pt>
                <c:pt idx="27">
                  <c:v>0.8637301515046825</c:v>
                </c:pt>
                <c:pt idx="28">
                  <c:v>0.8691267957313443</c:v>
                </c:pt>
                <c:pt idx="29">
                  <c:v>0.8630524099008415</c:v>
                </c:pt>
                <c:pt idx="30">
                  <c:v>0.8570718689927234</c:v>
                </c:pt>
                <c:pt idx="31">
                  <c:v>0.8663466977783738</c:v>
                </c:pt>
                <c:pt idx="32">
                  <c:v>0.8475705791793153</c:v>
                </c:pt>
                <c:pt idx="33">
                  <c:v>0.8335033179101446</c:v>
                </c:pt>
                <c:pt idx="34">
                  <c:v>0.8483989510730624</c:v>
                </c:pt>
                <c:pt idx="35">
                  <c:v>0.8914442027731978</c:v>
                </c:pt>
                <c:pt idx="36">
                  <c:v>0.8742419823544154</c:v>
                </c:pt>
                <c:pt idx="37">
                  <c:v>0.8758576260222914</c:v>
                </c:pt>
                <c:pt idx="38">
                  <c:v>0.8580860577611187</c:v>
                </c:pt>
                <c:pt idx="39">
                  <c:v>0.8512228989744426</c:v>
                </c:pt>
                <c:pt idx="40">
                  <c:v>0.8487711951159937</c:v>
                </c:pt>
                <c:pt idx="41">
                  <c:v>0.8573087611312289</c:v>
                </c:pt>
                <c:pt idx="42">
                  <c:v>0.8530262886060427</c:v>
                </c:pt>
                <c:pt idx="43">
                  <c:v>0.852650060117311</c:v>
                </c:pt>
                <c:pt idx="44">
                  <c:v>0.8470202135734306</c:v>
                </c:pt>
                <c:pt idx="45">
                  <c:v>0.8545406726346138</c:v>
                </c:pt>
                <c:pt idx="46">
                  <c:v>0.8493543131469505</c:v>
                </c:pt>
                <c:pt idx="47">
                  <c:v>0.8471911168358057</c:v>
                </c:pt>
                <c:pt idx="48">
                  <c:v>0.8559543792580374</c:v>
                </c:pt>
                <c:pt idx="49">
                  <c:v>0.8638993782132791</c:v>
                </c:pt>
                <c:pt idx="50">
                  <c:v>0.8577064060161362</c:v>
                </c:pt>
                <c:pt idx="51">
                  <c:v>0.8969079590218402</c:v>
                </c:pt>
                <c:pt idx="52">
                  <c:v>1.0</c:v>
                </c:pt>
                <c:pt idx="53">
                  <c:v>0.829566943718399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20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593548387096774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8</c:f>
              <c:numCache>
                <c:formatCode>General</c:formatCode>
                <c:ptCount val="27"/>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0.0</c:v>
                </c:pt>
                <c:pt idx="24">
                  <c:v>0.0</c:v>
                </c:pt>
                <c:pt idx="25">
                  <c:v>0.0</c:v>
                </c:pt>
                <c:pt idx="26">
                  <c:v>0.0</c:v>
                </c:pt>
              </c:numCache>
            </c:numRef>
          </c:xVal>
          <c:yVal>
            <c:numRef>
              <c:f>Sheet1!$B$2:$B$28</c:f>
              <c:numCache>
                <c:formatCode>General</c:formatCode>
                <c:ptCount val="27"/>
                <c:pt idx="0">
                  <c:v>0.7727272727272727</c:v>
                </c:pt>
                <c:pt idx="1">
                  <c:v>0.8</c:v>
                </c:pt>
                <c:pt idx="2">
                  <c:v>0.7763157894736842</c:v>
                </c:pt>
                <c:pt idx="3">
                  <c:v>0.9271844660194175</c:v>
                </c:pt>
                <c:pt idx="4">
                  <c:v>0.9465408805031447</c:v>
                </c:pt>
                <c:pt idx="5">
                  <c:v>0.9432835820895522</c:v>
                </c:pt>
                <c:pt idx="6">
                  <c:v>0.9475806451612904</c:v>
                </c:pt>
                <c:pt idx="7">
                  <c:v>0.888268156424581</c:v>
                </c:pt>
                <c:pt idx="8">
                  <c:v>0.8455882352941176</c:v>
                </c:pt>
                <c:pt idx="9">
                  <c:v>0.8295454545454546</c:v>
                </c:pt>
                <c:pt idx="10">
                  <c:v>0.7926829268292683</c:v>
                </c:pt>
                <c:pt idx="11">
                  <c:v>0.8135593220338984</c:v>
                </c:pt>
                <c:pt idx="12">
                  <c:v>0.8771929824561403</c:v>
                </c:pt>
                <c:pt idx="13">
                  <c:v>0.8703703703703703</c:v>
                </c:pt>
                <c:pt idx="14">
                  <c:v>0.8613861386138614</c:v>
                </c:pt>
                <c:pt idx="15">
                  <c:v>0.85</c:v>
                </c:pt>
                <c:pt idx="16">
                  <c:v>0.88</c:v>
                </c:pt>
                <c:pt idx="17">
                  <c:v>0.8701298701298701</c:v>
                </c:pt>
                <c:pt idx="18">
                  <c:v>0.8225806451612904</c:v>
                </c:pt>
                <c:pt idx="19">
                  <c:v>0.8356164383561644</c:v>
                </c:pt>
                <c:pt idx="20">
                  <c:v>0.75</c:v>
                </c:pt>
                <c:pt idx="21">
                  <c:v>0.7419354838709677</c:v>
                </c:pt>
                <c:pt idx="22">
                  <c:v>0.8076923076923077</c:v>
                </c:pt>
                <c:pt idx="23">
                  <c:v>0.7798165137614679</c:v>
                </c:pt>
                <c:pt idx="24">
                  <c:v>0.8383838383838383</c:v>
                </c:pt>
                <c:pt idx="25">
                  <c:v>0.8798076923076923</c:v>
                </c:pt>
                <c:pt idx="26">
                  <c:v>0.8622222222222222</c:v>
                </c:pt>
              </c:numCache>
            </c:numRef>
          </c:yVal>
          <c:smooth val="0"/>
          <c:extLst>
            <c:ext xmlns:c16="http://schemas.microsoft.com/office/drawing/2014/chart" uri="{C3380CC4-5D6E-409C-BE32-E72D297353CC}">
              <c16:uniqueId val="{00000000-096C-4121-9522-6AB7243CCAAE}"/>
            </c:ext>
          </c:extLst>
        </c:ser>
        <c:ser>
          <c:idx val="1"/>
          <c:order val="1"/>
          <c:tx>
            <c:strRef>
              <c:f>Sheet1!$B$3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31:$A$31</c:f>
              <c:numCache>
                <c:formatCode>General</c:formatCode>
                <c:ptCount val="1"/>
                <c:pt idx="0">
                  <c:v>1.6090869461077846</c:v>
                </c:pt>
              </c:numCache>
            </c:numRef>
          </c:xVal>
          <c:yVal>
            <c:numRef>
              <c:f>Sheet1!$B$31:$B$31</c:f>
              <c:numCache>
                <c:formatCode>General</c:formatCode>
                <c:ptCount val="1"/>
                <c:pt idx="0">
                  <c:v>0.8740740740740741</c:v>
                </c:pt>
              </c:numCache>
            </c:numRef>
          </c:yVal>
          <c:smooth val="0"/>
          <c:extLst>
            <c:ext xmlns:c16="http://schemas.microsoft.com/office/drawing/2014/chart" uri="{C3380CC4-5D6E-409C-BE32-E72D297353CC}">
              <c16:uniqueId val="{00000002-096C-4121-9522-6AB7243CCAAE}"/>
            </c:ext>
          </c:extLst>
        </c:ser>
        <c:ser>
          <c:idx val="2"/>
          <c:order val="2"/>
          <c:tx>
            <c:strRef>
              <c:f>Sheet1!$B$3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34:$A$35</c:f>
              <c:numCache>
                <c:formatCode>General</c:formatCode>
                <c:ptCount val="2"/>
                <c:pt idx="0">
                  <c:v>0</c:v>
                </c:pt>
                <c:pt idx="1">
                  <c:v>0.8707306884472908</c:v>
                </c:pt>
              </c:numCache>
            </c:numRef>
          </c:xVal>
          <c:yVal>
            <c:numRef>
              <c:f>Sheet1!$B$34:$B$35</c:f>
              <c:numCache>
                <c:formatCode>General</c:formatCode>
                <c:ptCount val="2"/>
                <c:pt idx="0">
                  <c:v>0.8707306884472908</c:v>
                </c:pt>
                <c:pt idx="1">
                  <c:v>0.8707306884472908</c:v>
                </c:pt>
              </c:numCache>
            </c:numRef>
          </c:yVal>
          <c:smooth val="0"/>
          <c:extLst>
            <c:ext xmlns:c16="http://schemas.microsoft.com/office/drawing/2014/chart" uri="{C3380CC4-5D6E-409C-BE32-E72D297353CC}">
              <c16:uniqueId val="{00000005-096C-4121-9522-6AB7243CCAAE}"/>
            </c:ext>
          </c:extLst>
        </c:ser>
        <c:ser>
          <c:idx val="3"/>
          <c:order val="3"/>
          <c:tx>
            <c:strRef>
              <c:f>Sheet1!$B$3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8:$A$39</c:f>
              <c:numCache>
                <c:formatCode>General</c:formatCode>
                <c:ptCount val="2"/>
                <c:pt idx="0">
                  <c:v>0.8707306884472908</c:v>
                </c:pt>
                <c:pt idx="1">
                  <c:v>0.8707306884472908</c:v>
                </c:pt>
              </c:numCache>
            </c:numRef>
          </c:xVal>
          <c:yVal>
            <c:numRef>
              <c:f>Sheet1!$B$38:$B$39</c:f>
              <c:numCache>
                <c:formatCode>General</c:formatCode>
                <c:ptCount val="2"/>
                <c:pt idx="0">
                  <c:v>0.870730688447290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4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42:$A$43</c:f>
              <c:numCache>
                <c:formatCode>General</c:formatCode>
                <c:ptCount val="2"/>
                <c:pt idx="0">
                  <c:v>0</c:v>
                </c:pt>
                <c:pt idx="1">
                  <c:v>0.8707306884472908</c:v>
                </c:pt>
              </c:numCache>
            </c:numRef>
          </c:xVal>
          <c:yVal>
            <c:numRef>
              <c:f>Sheet1!$B$42:$B$43</c:f>
              <c:numCache>
                <c:formatCode>General</c:formatCode>
                <c:ptCount val="2"/>
                <c:pt idx="0">
                  <c:v>0.8707306884472908</c:v>
                </c:pt>
                <c:pt idx="1">
                  <c:v>0.8707306884472908</c:v>
                </c:pt>
              </c:numCache>
            </c:numRef>
          </c:yVal>
          <c:smooth val="0"/>
          <c:extLst>
            <c:ext xmlns:c16="http://schemas.microsoft.com/office/drawing/2014/chart" uri="{C3380CC4-5D6E-409C-BE32-E72D297353CC}">
              <c16:uniqueId val="{0000000D-096C-4121-9522-6AB7243CCAAE}"/>
            </c:ext>
          </c:extLst>
        </c:ser>
        <c:ser>
          <c:idx val="5"/>
          <c:order val="5"/>
          <c:tx>
            <c:strRef>
              <c:f>Sheet1!$B$4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6:$A$47</c:f>
              <c:numCache>
                <c:formatCode>General</c:formatCode>
                <c:ptCount val="2"/>
                <c:pt idx="0">
                  <c:v>0.8707306884472908</c:v>
                </c:pt>
                <c:pt idx="1">
                  <c:v>0.8707306884472908</c:v>
                </c:pt>
              </c:numCache>
            </c:numRef>
          </c:xVal>
          <c:yVal>
            <c:numRef>
              <c:f>Sheet1!$B$46:$B$47</c:f>
              <c:numCache>
                <c:formatCode>General</c:formatCode>
                <c:ptCount val="2"/>
                <c:pt idx="0">
                  <c:v>0.870730688447290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49</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50:$A$51</c:f>
              <c:numCache>
                <c:formatCode>General</c:formatCode>
                <c:ptCount val="2"/>
                <c:pt idx="0">
                  <c:v>0</c:v>
                </c:pt>
                <c:pt idx="1">
                  <c:v>0.8188387300743039</c:v>
                </c:pt>
              </c:numCache>
            </c:numRef>
          </c:xVal>
          <c:yVal>
            <c:numRef>
              <c:f>Sheet1!$B$50:$B$51</c:f>
              <c:numCache>
                <c:formatCode>General</c:formatCode>
                <c:ptCount val="2"/>
                <c:pt idx="0">
                  <c:v>0.8188387300743039</c:v>
                </c:pt>
                <c:pt idx="1">
                  <c:v>0.8188387300743039</c:v>
                </c:pt>
              </c:numCache>
            </c:numRef>
          </c:yVal>
          <c:smooth val="0"/>
          <c:extLst>
            <c:ext xmlns:c16="http://schemas.microsoft.com/office/drawing/2014/chart" uri="{C3380CC4-5D6E-409C-BE32-E72D297353CC}">
              <c16:uniqueId val="{00000015-096C-4121-9522-6AB7243CCAAE}"/>
            </c:ext>
          </c:extLst>
        </c:ser>
        <c:ser>
          <c:idx val="7"/>
          <c:order val="7"/>
          <c:tx>
            <c:strRef>
              <c:f>Sheet1!$B$53</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4:$A$55</c:f>
              <c:numCache>
                <c:formatCode>General</c:formatCode>
                <c:ptCount val="2"/>
                <c:pt idx="0">
                  <c:v>0.8188387300743039</c:v>
                </c:pt>
                <c:pt idx="1">
                  <c:v>0.8188387300743039</c:v>
                </c:pt>
              </c:numCache>
            </c:numRef>
          </c:xVal>
          <c:yVal>
            <c:numRef>
              <c:f>Sheet1!$B$54:$B$55</c:f>
              <c:numCache>
                <c:formatCode>General</c:formatCode>
                <c:ptCount val="2"/>
                <c:pt idx="0">
                  <c:v>0.818838730074303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57</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58:$A$61</c:f>
              <c:numCache>
                <c:formatCode>General</c:formatCode>
                <c:ptCount val="4"/>
                <c:pt idx="0">
                  <c:v>1.6090869461077846</c:v>
                </c:pt>
                <c:pt idx="1">
                  <c:v>0.8707306884472908</c:v>
                </c:pt>
                <c:pt idx="2">
                  <c:v>0.8707306884472908</c:v>
                </c:pt>
                <c:pt idx="3">
                  <c:v>0.8188387300743039</c:v>
                </c:pt>
              </c:numCache>
            </c:numRef>
          </c:xVal>
          <c:yVal>
            <c:numRef>
              <c:f>Sheet1!$B$58:$B$61</c:f>
              <c:numCache>
                <c:formatCode>General</c:formatCode>
                <c:ptCount val="4"/>
                <c:pt idx="0">
                  <c:v>1.6090869461077846</c:v>
                </c:pt>
                <c:pt idx="1">
                  <c:v>0.8707306884472908</c:v>
                </c:pt>
                <c:pt idx="2">
                  <c:v>0.8707306884472908</c:v>
                </c:pt>
                <c:pt idx="3">
                  <c:v>0.81883873007430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opperto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370967741935485"/>
          <c:min val="0.593548387096774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31</c:f>
              <c:numCache>
                <c:formatCode>General</c:formatCode>
                <c:ptCount val="28"/>
                <c:pt idx="0">
                  <c:v>1779.8971</c:v>
                </c:pt>
                <c:pt idx="1">
                  <c:v>1768.9</c:v>
                </c:pt>
                <c:pt idx="2">
                  <c:v>1800.0</c:v>
                </c:pt>
                <c:pt idx="3">
                  <c:v>888.8586</c:v>
                </c:pt>
                <c:pt idx="4">
                  <c:v>694.9037</c:v>
                </c:pt>
                <c:pt idx="5">
                  <c:v>708.8608</c:v>
                </c:pt>
                <c:pt idx="6">
                  <c:v>724.983</c:v>
                </c:pt>
                <c:pt idx="7">
                  <c:v>943.6164</c:v>
                </c:pt>
                <c:pt idx="8">
                  <c:v>1346.0</c:v>
                </c:pt>
                <c:pt idx="9">
                  <c:v>1269.0685</c:v>
                </c:pt>
                <c:pt idx="10">
                  <c:v>1355.6615</c:v>
                </c:pt>
                <c:pt idx="11">
                  <c:v>1440.9167</c:v>
                </c:pt>
                <c:pt idx="12">
                  <c:v>1308.7</c:v>
                </c:pt>
                <c:pt idx="13">
                  <c:v>1576.3617</c:v>
                </c:pt>
                <c:pt idx="14">
                  <c:v>1776.8966</c:v>
                </c:pt>
                <c:pt idx="15">
                  <c:v>1564.5529</c:v>
                </c:pt>
                <c:pt idx="16">
                  <c:v>950.9242</c:v>
                </c:pt>
                <c:pt idx="17">
                  <c:v>1196.1493</c:v>
                </c:pt>
                <c:pt idx="18">
                  <c:v>1173.1176</c:v>
                </c:pt>
                <c:pt idx="19">
                  <c:v>1426.459</c:v>
                </c:pt>
                <c:pt idx="20">
                  <c:v>1524.2963</c:v>
                </c:pt>
                <c:pt idx="21">
                  <c:v>1559.2464</c:v>
                </c:pt>
                <c:pt idx="22">
                  <c:v>1437.5397</c:v>
                </c:pt>
                <c:pt idx="23">
                  <c:v>1498.5882</c:v>
                </c:pt>
                <c:pt idx="24">
                  <c:v>1581.7711</c:v>
                </c:pt>
                <c:pt idx="25">
                  <c:v>1456.847</c:v>
                </c:pt>
                <c:pt idx="26">
                  <c:v>1343.5876</c:v>
                </c:pt>
                <c:pt idx="27">
                  <c:v>1431.8711</c:v>
                </c:pt>
              </c:numCache>
            </c:numRef>
          </c:xVal>
          <c:yVal>
            <c:numRef>
              <c:f>Sheet1!$B$4:$B$31</c:f>
              <c:numCache>
                <c:formatCode>General</c:formatCode>
                <c:ptCount val="28"/>
                <c:pt idx="0">
                  <c:v>0.7727272727272727</c:v>
                </c:pt>
                <c:pt idx="1">
                  <c:v>0.8</c:v>
                </c:pt>
                <c:pt idx="2">
                  <c:v>0.7763157894736842</c:v>
                </c:pt>
                <c:pt idx="3">
                  <c:v>0.9271844660194175</c:v>
                </c:pt>
                <c:pt idx="4">
                  <c:v>0.9465408805031447</c:v>
                </c:pt>
                <c:pt idx="5">
                  <c:v>0.9432835820895522</c:v>
                </c:pt>
                <c:pt idx="6">
                  <c:v>0.9475806451612904</c:v>
                </c:pt>
                <c:pt idx="7">
                  <c:v>0.888268156424581</c:v>
                </c:pt>
                <c:pt idx="8">
                  <c:v>0.8455882352941176</c:v>
                </c:pt>
                <c:pt idx="9">
                  <c:v>0.8295454545454546</c:v>
                </c:pt>
                <c:pt idx="10">
                  <c:v>0.7926829268292683</c:v>
                </c:pt>
                <c:pt idx="11">
                  <c:v>0.8135593220338984</c:v>
                </c:pt>
                <c:pt idx="12">
                  <c:v>0.8771929824561403</c:v>
                </c:pt>
                <c:pt idx="13">
                  <c:v>0.8703703703703703</c:v>
                </c:pt>
                <c:pt idx="14">
                  <c:v>0.8613861386138614</c:v>
                </c:pt>
                <c:pt idx="15">
                  <c:v>0.85</c:v>
                </c:pt>
                <c:pt idx="16">
                  <c:v>0.88</c:v>
                </c:pt>
                <c:pt idx="17">
                  <c:v>0.8701298701298701</c:v>
                </c:pt>
                <c:pt idx="18">
                  <c:v>0.8225806451612904</c:v>
                </c:pt>
                <c:pt idx="19">
                  <c:v>0.8356164383561644</c:v>
                </c:pt>
                <c:pt idx="20">
                  <c:v>0.75</c:v>
                </c:pt>
                <c:pt idx="21">
                  <c:v>0.7419354838709677</c:v>
                </c:pt>
                <c:pt idx="22">
                  <c:v>0.8076923076923077</c:v>
                </c:pt>
                <c:pt idx="23">
                  <c:v>0.7798165137614679</c:v>
                </c:pt>
                <c:pt idx="24">
                  <c:v>0.8383838383838383</c:v>
                </c:pt>
                <c:pt idx="25">
                  <c:v>0.8798076923076923</c:v>
                </c:pt>
                <c:pt idx="26">
                  <c:v>0.8740740740740741</c:v>
                </c:pt>
                <c:pt idx="27">
                  <c:v>0.8622222222222222</c:v>
                </c:pt>
              </c:numCache>
            </c:numRef>
          </c:yVal>
          <c:smooth val="0"/>
          <c:extLst>
            <c:ext xmlns:c16="http://schemas.microsoft.com/office/drawing/2014/chart" uri="{C3380CC4-5D6E-409C-BE32-E72D297353CC}">
              <c16:uniqueId val="{00000002-F32D-48B7-BC20-E66FC6253BAD}"/>
            </c:ext>
          </c:extLst>
        </c:ser>
        <c:ser>
          <c:idx val="2"/>
          <c:order val="2"/>
          <c:tx>
            <c:strRef>
              <c:f>Sheet1!$B$33</c:f>
              <c:strCache>
                <c:ptCount val="1"/>
                <c:pt idx="0">
                  <c:v>Custom Linep3yQ</c:v>
                </c:pt>
              </c:strCache>
            </c:strRef>
          </c:tx>
          <c:spPr>
            <a:ln w="19050" cap="rnd">
              <a:solidFill>
                <a:srgbClr val="C00000"/>
              </a:solidFill>
              <a:prstDash val="sysDot"/>
              <a:round/>
            </a:ln>
            <a:effectLst/>
          </c:spPr>
          <c:marker>
            <c:symbol val="none"/>
          </c:marker>
          <c:xVal>
            <c:numRef>
              <c:f>Sheet1!$A$34:$A$35</c:f>
              <c:numCache>
                <c:formatCode>General</c:formatCode>
                <c:ptCount val="2"/>
                <c:pt idx="0">
                  <c:v>0</c:v>
                </c:pt>
                <c:pt idx="1">
                  <c:v>1153.8673387211481</c:v>
                </c:pt>
              </c:numCache>
            </c:numRef>
          </c:xVal>
          <c:yVal>
            <c:numRef>
              <c:f>Sheet1!$B$34:$B$35</c:f>
              <c:numCache>
                <c:formatCode>General</c:formatCode>
                <c:ptCount val="2"/>
                <c:pt idx="0">
                  <c:v>0.8707306884472908</c:v>
                </c:pt>
                <c:pt idx="1">
                  <c:v>0.8707306884472908</c:v>
                </c:pt>
              </c:numCache>
            </c:numRef>
          </c:yVal>
          <c:smooth val="0"/>
          <c:extLst>
            <c:ext xmlns:c16="http://schemas.microsoft.com/office/drawing/2014/chart" uri="{C3380CC4-5D6E-409C-BE32-E72D297353CC}">
              <c16:uniqueId val="{00000003-F32D-48B7-BC20-E66FC6253BAD}"/>
            </c:ext>
          </c:extLst>
        </c:ser>
        <c:ser>
          <c:idx val="3"/>
          <c:order val="3"/>
          <c:tx>
            <c:strRef>
              <c:f>Sheet1!$B$3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8:$A$39</c:f>
              <c:numCache>
                <c:formatCode>General</c:formatCode>
                <c:ptCount val="2"/>
                <c:pt idx="0">
                  <c:v>1153.8673387211481</c:v>
                </c:pt>
                <c:pt idx="1">
                  <c:v>1153.8673387211481</c:v>
                </c:pt>
              </c:numCache>
            </c:numRef>
          </c:xVal>
          <c:yVal>
            <c:numRef>
              <c:f>Sheet1!$B$38:$B$39</c:f>
              <c:numCache>
                <c:formatCode>General</c:formatCode>
                <c:ptCount val="2"/>
                <c:pt idx="0">
                  <c:v>0.870730688447290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4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42:$A$43</c:f>
              <c:numCache>
                <c:formatCode>General</c:formatCode>
                <c:ptCount val="2"/>
                <c:pt idx="0">
                  <c:v>0</c:v>
                </c:pt>
                <c:pt idx="1">
                  <c:v>1153.8673387211481</c:v>
                </c:pt>
              </c:numCache>
            </c:numRef>
          </c:xVal>
          <c:yVal>
            <c:numRef>
              <c:f>Sheet1!$B$42:$B$43</c:f>
              <c:numCache>
                <c:formatCode>General</c:formatCode>
                <c:ptCount val="2"/>
                <c:pt idx="0">
                  <c:v>0.8707306884472908</c:v>
                </c:pt>
                <c:pt idx="1">
                  <c:v>0.8707306884472908</c:v>
                </c:pt>
              </c:numCache>
            </c:numRef>
          </c:yVal>
          <c:smooth val="0"/>
          <c:extLst>
            <c:ext xmlns:c16="http://schemas.microsoft.com/office/drawing/2014/chart" uri="{C3380CC4-5D6E-409C-BE32-E72D297353CC}">
              <c16:uniqueId val="{0000000A-F32D-48B7-BC20-E66FC6253BAD}"/>
            </c:ext>
          </c:extLst>
        </c:ser>
        <c:ser>
          <c:idx val="5"/>
          <c:order val="5"/>
          <c:tx>
            <c:strRef>
              <c:f>Sheet1!$B$4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6:$A$47</c:f>
              <c:numCache>
                <c:formatCode>General</c:formatCode>
                <c:ptCount val="2"/>
                <c:pt idx="0">
                  <c:v>1153.8673387211481</c:v>
                </c:pt>
                <c:pt idx="1">
                  <c:v>1153.8673387211481</c:v>
                </c:pt>
              </c:numCache>
            </c:numRef>
          </c:xVal>
          <c:yVal>
            <c:numRef>
              <c:f>Sheet1!$B$46:$B$47</c:f>
              <c:numCache>
                <c:formatCode>General</c:formatCode>
                <c:ptCount val="2"/>
                <c:pt idx="0">
                  <c:v>0.870730688447290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49</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50:$A$51</c:f>
              <c:numCache>
                <c:formatCode>General</c:formatCode>
                <c:ptCount val="2"/>
                <c:pt idx="0">
                  <c:v>0</c:v>
                </c:pt>
                <c:pt idx="1">
                  <c:v>1543.0931699962164</c:v>
                </c:pt>
              </c:numCache>
            </c:numRef>
          </c:xVal>
          <c:yVal>
            <c:numRef>
              <c:f>Sheet1!$B$50:$B$51</c:f>
              <c:numCache>
                <c:formatCode>General</c:formatCode>
                <c:ptCount val="2"/>
                <c:pt idx="0">
                  <c:v>0.8188387300743039</c:v>
                </c:pt>
                <c:pt idx="1">
                  <c:v>0.8188387300743039</c:v>
                </c:pt>
              </c:numCache>
            </c:numRef>
          </c:yVal>
          <c:smooth val="0"/>
          <c:extLst>
            <c:ext xmlns:c16="http://schemas.microsoft.com/office/drawing/2014/chart" uri="{C3380CC4-5D6E-409C-BE32-E72D297353CC}">
              <c16:uniqueId val="{00000011-F32D-48B7-BC20-E66FC6253BAD}"/>
            </c:ext>
          </c:extLst>
        </c:ser>
        <c:ser>
          <c:idx val="7"/>
          <c:order val="7"/>
          <c:tx>
            <c:strRef>
              <c:f>Sheet1!$B$53</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4:$A$55</c:f>
              <c:numCache>
                <c:formatCode>General</c:formatCode>
                <c:ptCount val="2"/>
                <c:pt idx="0">
                  <c:v>1543.0931699962164</c:v>
                </c:pt>
                <c:pt idx="1">
                  <c:v>1543.0931699962164</c:v>
                </c:pt>
              </c:numCache>
            </c:numRef>
          </c:xVal>
          <c:yVal>
            <c:numRef>
              <c:f>Sheet1!$B$54:$B$55</c:f>
              <c:numCache>
                <c:formatCode>General</c:formatCode>
                <c:ptCount val="2"/>
                <c:pt idx="0">
                  <c:v>0.818838730074303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57</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58:$A$88</c:f>
              <c:numCache>
                <c:formatCode>General</c:formatCode>
                <c:ptCount val="31"/>
                <c:pt idx="0">
                  <c:v>1779.8971</c:v>
                </c:pt>
                <c:pt idx="1">
                  <c:v>1768.9</c:v>
                </c:pt>
                <c:pt idx="2">
                  <c:v>1800.0</c:v>
                </c:pt>
                <c:pt idx="3">
                  <c:v>888.8586</c:v>
                </c:pt>
                <c:pt idx="4">
                  <c:v>694.9037</c:v>
                </c:pt>
                <c:pt idx="5">
                  <c:v>708.8608</c:v>
                </c:pt>
                <c:pt idx="6">
                  <c:v>724.983</c:v>
                </c:pt>
                <c:pt idx="7">
                  <c:v>943.6164</c:v>
                </c:pt>
                <c:pt idx="8">
                  <c:v>1346.0</c:v>
                </c:pt>
                <c:pt idx="9">
                  <c:v>1269.0685</c:v>
                </c:pt>
                <c:pt idx="10">
                  <c:v>1355.6615</c:v>
                </c:pt>
                <c:pt idx="11">
                  <c:v>1440.9167</c:v>
                </c:pt>
                <c:pt idx="12">
                  <c:v>1308.7</c:v>
                </c:pt>
                <c:pt idx="13">
                  <c:v>1576.3617</c:v>
                </c:pt>
                <c:pt idx="14">
                  <c:v>1776.8966</c:v>
                </c:pt>
                <c:pt idx="15">
                  <c:v>1564.5529</c:v>
                </c:pt>
                <c:pt idx="16">
                  <c:v>950.9242</c:v>
                </c:pt>
                <c:pt idx="17">
                  <c:v>1196.1493</c:v>
                </c:pt>
                <c:pt idx="18">
                  <c:v>1173.1176</c:v>
                </c:pt>
                <c:pt idx="19">
                  <c:v>1426.459</c:v>
                </c:pt>
                <c:pt idx="20">
                  <c:v>1524.2963</c:v>
                </c:pt>
                <c:pt idx="21">
                  <c:v>1559.2464</c:v>
                </c:pt>
                <c:pt idx="22">
                  <c:v>1437.5397</c:v>
                </c:pt>
                <c:pt idx="23">
                  <c:v>1498.5882</c:v>
                </c:pt>
                <c:pt idx="24">
                  <c:v>1581.7711</c:v>
                </c:pt>
                <c:pt idx="25">
                  <c:v>1456.847</c:v>
                </c:pt>
                <c:pt idx="26">
                  <c:v>1343.5876</c:v>
                </c:pt>
                <c:pt idx="27">
                  <c:v>1431.8711</c:v>
                </c:pt>
                <c:pt idx="28">
                  <c:v>1153.8673387211481</c:v>
                </c:pt>
                <c:pt idx="29">
                  <c:v>1153.8673387211481</c:v>
                </c:pt>
                <c:pt idx="30">
                  <c:v>1543.0931699962164</c:v>
                </c:pt>
              </c:numCache>
            </c:numRef>
          </c:xVal>
          <c:yVal>
            <c:numRef>
              <c:f>Sheet1!$B$58:$B$88</c:f>
              <c:numCache>
                <c:formatCode>General</c:formatCode>
                <c:ptCount val="31"/>
                <c:pt idx="0">
                  <c:v>0.787267804686179</c:v>
                </c:pt>
                <c:pt idx="1">
                  <c:v>0.7887339485275425</c:v>
                </c:pt>
                <c:pt idx="2">
                  <c:v>0.7845876669199907</c:v>
                </c:pt>
                <c:pt idx="3">
                  <c:v>0.9060619057849117</c:v>
                </c:pt>
                <c:pt idx="4">
                  <c:v>0.9319201577001709</c:v>
                </c:pt>
                <c:pt idx="5">
                  <c:v>0.9300593838408538</c:v>
                </c:pt>
                <c:pt idx="6">
                  <c:v>0.927909956788337</c:v>
                </c:pt>
                <c:pt idx="7">
                  <c:v>0.8987615437588667</c:v>
                </c:pt>
                <c:pt idx="8">
                  <c:v>0.8451153791331271</c:v>
                </c:pt>
                <c:pt idx="9">
                  <c:v>0.8553719599527855</c:v>
                </c:pt>
                <c:pt idx="10">
                  <c:v>0.8438272987552697</c:v>
                </c:pt>
                <c:pt idx="11">
                  <c:v>0.8324609943273549</c:v>
                </c:pt>
                <c:pt idx="12">
                  <c:v>0.8500882506431491</c:v>
                </c:pt>
                <c:pt idx="13">
                  <c:v>0.8144033379821825</c:v>
                </c:pt>
                <c:pt idx="14">
                  <c:v>0.7876678342026888</c:v>
                </c:pt>
                <c:pt idx="15">
                  <c:v>0.8159776984402937</c:v>
                </c:pt>
                <c:pt idx="16">
                  <c:v>0.8977872609057584</c:v>
                </c:pt>
                <c:pt idx="17">
                  <c:v>0.8650936171166889</c:v>
                </c:pt>
                <c:pt idx="18">
                  <c:v>0.8681642252871278</c:v>
                </c:pt>
                <c:pt idx="19">
                  <c:v>0.8343885086552488</c:v>
                </c:pt>
                <c:pt idx="20">
                  <c:v>0.8213447466770323</c:v>
                </c:pt>
                <c:pt idx="21">
                  <c:v>0.8166851660721417</c:v>
                </c:pt>
                <c:pt idx="22">
                  <c:v>0.832911219182297</c:v>
                </c:pt>
                <c:pt idx="23">
                  <c:v>0.8247721750434344</c:v>
                </c:pt>
                <c:pt idx="24">
                  <c:v>0.8136821516243724</c:v>
                </c:pt>
                <c:pt idx="25">
                  <c:v>0.830337151565529</c:v>
                </c:pt>
                <c:pt idx="26">
                  <c:v>0.8454370025977591</c:v>
                </c:pt>
                <c:pt idx="27">
                  <c:v>0.8336669623308683</c:v>
                </c:pt>
                <c:pt idx="28">
                  <c:v>0.8707306884472908</c:v>
                </c:pt>
                <c:pt idx="29">
                  <c:v>0.8707306884472908</c:v>
                </c:pt>
                <c:pt idx="30">
                  <c:v>0.818838730074303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60.0"/>
          <c:min val="55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370967741935485"/>
          <c:min val="0.593548387096774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1</c:f>
              <c:numCache>
                <c:formatCode>General</c:formatCode>
                <c:ptCount val="10"/>
                <c:pt idx="0">
                  <c:v>0.8797683578342823</c:v>
                </c:pt>
                <c:pt idx="1">
                  <c:v>0.29755583932435553</c:v>
                </c:pt>
                <c:pt idx="2">
                  <c:v>0.9007398176035507</c:v>
                </c:pt>
                <c:pt idx="3">
                  <c:v>0.27800076955102226</c:v>
                </c:pt>
                <c:pt idx="4">
                  <c:v>0.42107696904405567</c:v>
                </c:pt>
                <c:pt idx="5">
                  <c:v>0.3183726442289158</c:v>
                </c:pt>
                <c:pt idx="6">
                  <c:v>0.32030481865706006</c:v>
                </c:pt>
                <c:pt idx="7">
                  <c:v>0.39735381124167585</c:v>
                </c:pt>
                <c:pt idx="8">
                  <c:v>0.40095503885678013</c:v>
                </c:pt>
                <c:pt idx="9">
                  <c:v>0.31198188479890937</c:v>
                </c:pt>
              </c:numCache>
            </c:numRef>
          </c:xVal>
          <c:yVal>
            <c:numRef>
              <c:f>Sheet1!$B$2:$B$11</c:f>
              <c:numCache>
                <c:formatCode>General</c:formatCode>
                <c:ptCount val="10"/>
                <c:pt idx="0">
                  <c:v>0.2846865364850976</c:v>
                </c:pt>
                <c:pt idx="1">
                  <c:v>0.10408921933085502</c:v>
                </c:pt>
                <c:pt idx="2">
                  <c:v>0.0070140280561122245</c:v>
                </c:pt>
                <c:pt idx="3">
                  <c:v>0.030878859857482184</c:v>
                </c:pt>
                <c:pt idx="4">
                  <c:v>0.031088082901554404</c:v>
                </c:pt>
                <c:pt idx="5">
                  <c:v>0.017595307917888565</c:v>
                </c:pt>
                <c:pt idx="6">
                  <c:v>0.012295081967213115</c:v>
                </c:pt>
                <c:pt idx="7">
                  <c:v>0.38492063492063494</c:v>
                </c:pt>
                <c:pt idx="8">
                  <c:v>0.2526041666666667</c:v>
                </c:pt>
                <c:pt idx="9">
                  <c:v>0.5284090909090909</c:v>
                </c:pt>
              </c:numCache>
            </c:numRef>
          </c:yVal>
          <c:smooth val="0"/>
          <c:extLst>
            <c:ext xmlns:c16="http://schemas.microsoft.com/office/drawing/2014/chart" uri="{C3380CC4-5D6E-409C-BE32-E72D297353CC}">
              <c16:uniqueId val="{00000000-096C-4121-9522-6AB7243CCAAE}"/>
            </c:ext>
          </c:extLst>
        </c:ser>
        <c:ser>
          <c:idx val="1"/>
          <c:order val="1"/>
          <c:tx>
            <c:strRef>
              <c:f>Sheet1!$B$1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4:$A$22</c:f>
              <c:numCache>
                <c:formatCode>General</c:formatCode>
                <c:ptCount val="9"/>
                <c:pt idx="0">
                  <c:v>0.40439437418673274</c:v>
                </c:pt>
                <c:pt idx="1">
                  <c:v>0.11264617988090785</c:v>
                </c:pt>
                <c:pt idx="2">
                  <c:v>0.3028313116240882</c:v>
                </c:pt>
                <c:pt idx="3">
                  <c:v>0.29755001376168816</c:v>
                </c:pt>
                <c:pt idx="4">
                  <c:v>1.244479277864992</c:v>
                </c:pt>
                <c:pt idx="5">
                  <c:v>0.4197564929908229</c:v>
                </c:pt>
                <c:pt idx="6">
                  <c:v>0.6840814937207883</c:v>
                </c:pt>
                <c:pt idx="7">
                  <c:v>0.13798511573019945</c:v>
                </c:pt>
                <c:pt idx="8">
                  <c:v>0.5867888333879981</c:v>
                </c:pt>
              </c:numCache>
            </c:numRef>
          </c:xVal>
          <c:yVal>
            <c:numRef>
              <c:f>Sheet1!$B$14:$B$22</c:f>
              <c:numCache>
                <c:formatCode>General</c:formatCode>
                <c:ptCount val="9"/>
                <c:pt idx="0">
                  <c:v>0.06315789473684211</c:v>
                </c:pt>
                <c:pt idx="1">
                  <c:v>0.15675675675675677</c:v>
                </c:pt>
                <c:pt idx="2">
                  <c:v>0.0539906103286385</c:v>
                </c:pt>
                <c:pt idx="3">
                  <c:v>0.023529411764705882</c:v>
                </c:pt>
                <c:pt idx="4">
                  <c:v>0.04457652303120357</c:v>
                </c:pt>
                <c:pt idx="5">
                  <c:v>0.12831858407079647</c:v>
                </c:pt>
                <c:pt idx="6">
                  <c:v>0.21666666666666667</c:v>
                </c:pt>
                <c:pt idx="7">
                  <c:v>0.27807486631016043</c:v>
                </c:pt>
                <c:pt idx="8">
                  <c:v>0.13451776649746192</c:v>
                </c:pt>
              </c:numCache>
            </c:numRef>
          </c:yVal>
          <c:smooth val="0"/>
          <c:extLst>
            <c:ext xmlns:c16="http://schemas.microsoft.com/office/drawing/2014/chart" uri="{C3380CC4-5D6E-409C-BE32-E72D297353CC}">
              <c16:uniqueId val="{00000002-096C-4121-9522-6AB7243CCAAE}"/>
            </c:ext>
          </c:extLst>
        </c:ser>
        <c:ser>
          <c:idx val="2"/>
          <c:order val="2"/>
          <c:tx>
            <c:strRef>
              <c:f>Sheet1!$B$2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5:$A$26</c:f>
              <c:numCache>
                <c:formatCode>General</c:formatCode>
                <c:ptCount val="2"/>
                <c:pt idx="0">
                  <c:v>0</c:v>
                </c:pt>
                <c:pt idx="1">
                  <c:v>-1.8830565145893772</c:v>
                </c:pt>
              </c:numCache>
            </c:numRef>
          </c:xVal>
          <c:yVal>
            <c:numRef>
              <c:f>Sheet1!$B$25:$B$26</c:f>
              <c:numCache>
                <c:formatCode>General</c:formatCode>
                <c:ptCount val="2"/>
                <c:pt idx="0">
                  <c:v>0.2945572436159014</c:v>
                </c:pt>
                <c:pt idx="1">
                  <c:v>0.2945572436159014</c:v>
                </c:pt>
              </c:numCache>
            </c:numRef>
          </c:yVal>
          <c:smooth val="0"/>
          <c:extLst>
            <c:ext xmlns:c16="http://schemas.microsoft.com/office/drawing/2014/chart" uri="{C3380CC4-5D6E-409C-BE32-E72D297353CC}">
              <c16:uniqueId val="{00000005-096C-4121-9522-6AB7243CCAAE}"/>
            </c:ext>
          </c:extLst>
        </c:ser>
        <c:ser>
          <c:idx val="3"/>
          <c:order val="3"/>
          <c:tx>
            <c:strRef>
              <c:f>Sheet1!$B$2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9:$A$30</c:f>
              <c:numCache>
                <c:formatCode>General</c:formatCode>
                <c:ptCount val="2"/>
                <c:pt idx="0">
                  <c:v>-1.8830565145893772</c:v>
                </c:pt>
                <c:pt idx="1">
                  <c:v>-1.8830565145893772</c:v>
                </c:pt>
              </c:numCache>
            </c:numRef>
          </c:xVal>
          <c:yVal>
            <c:numRef>
              <c:f>Sheet1!$B$29:$B$30</c:f>
              <c:numCache>
                <c:formatCode>General</c:formatCode>
                <c:ptCount val="2"/>
                <c:pt idx="0">
                  <c:v>0.294557243615901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2</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3:$A$34</c:f>
              <c:numCache>
                <c:formatCode>General</c:formatCode>
                <c:ptCount val="2"/>
                <c:pt idx="0">
                  <c:v>0</c:v>
                </c:pt>
                <c:pt idx="1">
                  <c:v>-1.2401456014224113</c:v>
                </c:pt>
              </c:numCache>
            </c:numRef>
          </c:xVal>
          <c:yVal>
            <c:numRef>
              <c:f>Sheet1!$B$33:$B$34</c:f>
              <c:numCache>
                <c:formatCode>General</c:formatCode>
                <c:ptCount val="2"/>
                <c:pt idx="0">
                  <c:v>0.24737076648841355</c:v>
                </c:pt>
                <c:pt idx="1">
                  <c:v>0.24737076648841355</c:v>
                </c:pt>
              </c:numCache>
            </c:numRef>
          </c:yVal>
          <c:smooth val="0"/>
          <c:extLst>
            <c:ext xmlns:c16="http://schemas.microsoft.com/office/drawing/2014/chart" uri="{C3380CC4-5D6E-409C-BE32-E72D297353CC}">
              <c16:uniqueId val="{0000000D-096C-4121-9522-6AB7243CCAAE}"/>
            </c:ext>
          </c:extLst>
        </c:ser>
        <c:ser>
          <c:idx val="5"/>
          <c:order val="5"/>
          <c:tx>
            <c:strRef>
              <c:f>Sheet1!$B$36</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7:$A$38</c:f>
              <c:numCache>
                <c:formatCode>General</c:formatCode>
                <c:ptCount val="2"/>
                <c:pt idx="0">
                  <c:v>-1.2401456014224113</c:v>
                </c:pt>
                <c:pt idx="1">
                  <c:v>-1.2401456014224113</c:v>
                </c:pt>
              </c:numCache>
            </c:numRef>
          </c:xVal>
          <c:yVal>
            <c:numRef>
              <c:f>Sheet1!$B$37:$B$38</c:f>
              <c:numCache>
                <c:formatCode>General</c:formatCode>
                <c:ptCount val="2"/>
                <c:pt idx="0">
                  <c:v>0.2473707664884135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40</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41:$A$42</c:f>
              <c:numCache>
                <c:formatCode>General</c:formatCode>
                <c:ptCount val="2"/>
                <c:pt idx="0">
                  <c:v>0</c:v>
                </c:pt>
                <c:pt idx="1">
                  <c:v>-0.7276087498029128</c:v>
                </c:pt>
              </c:numCache>
            </c:numRef>
          </c:xVal>
          <c:yVal>
            <c:numRef>
              <c:f>Sheet1!$B$41:$B$42</c:f>
              <c:numCache>
                <c:formatCode>General</c:formatCode>
                <c:ptCount val="2"/>
                <c:pt idx="0">
                  <c:v>0.209753099824763</c:v>
                </c:pt>
                <c:pt idx="1">
                  <c:v>0.209753099824763</c:v>
                </c:pt>
              </c:numCache>
            </c:numRef>
          </c:yVal>
          <c:smooth val="0"/>
          <c:extLst>
            <c:ext xmlns:c16="http://schemas.microsoft.com/office/drawing/2014/chart" uri="{C3380CC4-5D6E-409C-BE32-E72D297353CC}">
              <c16:uniqueId val="{00000015-096C-4121-9522-6AB7243CCAAE}"/>
            </c:ext>
          </c:extLst>
        </c:ser>
        <c:ser>
          <c:idx val="7"/>
          <c:order val="7"/>
          <c:tx>
            <c:strRef>
              <c:f>Sheet1!$B$44</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5:$A$46</c:f>
              <c:numCache>
                <c:formatCode>General</c:formatCode>
                <c:ptCount val="2"/>
                <c:pt idx="0">
                  <c:v>-0.7276087498029128</c:v>
                </c:pt>
                <c:pt idx="1">
                  <c:v>-0.7276087498029128</c:v>
                </c:pt>
              </c:numCache>
            </c:numRef>
          </c:xVal>
          <c:yVal>
            <c:numRef>
              <c:f>Sheet1!$B$45:$B$46</c:f>
              <c:numCache>
                <c:formatCode>General</c:formatCode>
                <c:ptCount val="2"/>
                <c:pt idx="0">
                  <c:v>0.20975309982476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8</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9:$A$60</c:f>
              <c:numCache>
                <c:formatCode>General</c:formatCode>
                <c:ptCount val="12"/>
                <c:pt idx="0">
                  <c:v>0.40439437418673274</c:v>
                </c:pt>
                <c:pt idx="1">
                  <c:v>0.11264617988090785</c:v>
                </c:pt>
                <c:pt idx="2">
                  <c:v>0.3028313116240882</c:v>
                </c:pt>
                <c:pt idx="3">
                  <c:v>0.29755001376168816</c:v>
                </c:pt>
                <c:pt idx="4">
                  <c:v>1.244479277864992</c:v>
                </c:pt>
                <c:pt idx="5">
                  <c:v>0.4197564929908229</c:v>
                </c:pt>
                <c:pt idx="6">
                  <c:v>0.6840814937207883</c:v>
                </c:pt>
                <c:pt idx="7">
                  <c:v>0.13798511573019945</c:v>
                </c:pt>
                <c:pt idx="8">
                  <c:v>0.5867888333879981</c:v>
                </c:pt>
                <c:pt idx="9">
                  <c:v>-1.2401456014224113</c:v>
                </c:pt>
                <c:pt idx="10">
                  <c:v>-1.8830565145893772</c:v>
                </c:pt>
                <c:pt idx="11">
                  <c:v>-0.7276087498029128</c:v>
                </c:pt>
              </c:numCache>
            </c:numRef>
          </c:xVal>
          <c:yVal>
            <c:numRef>
              <c:f>Sheet1!$B$49:$B$60</c:f>
              <c:numCache>
                <c:formatCode>General</c:formatCode>
                <c:ptCount val="12"/>
                <c:pt idx="0">
                  <c:v>0.12666967656280617</c:v>
                </c:pt>
                <c:pt idx="1">
                  <c:v>0.14808254919516492</c:v>
                </c:pt>
                <c:pt idx="2">
                  <c:v>0.134123902382372</c:v>
                </c:pt>
                <c:pt idx="3">
                  <c:v>0.13451152349080833</c:v>
                </c:pt>
                <c:pt idx="4">
                  <c:v>0.06501160499999352</c:v>
                </c:pt>
                <c:pt idx="5">
                  <c:v>0.12554217312067578</c:v>
                </c:pt>
                <c:pt idx="6">
                  <c:v>0.10614202708842363</c:v>
                </c:pt>
                <c:pt idx="7">
                  <c:v>0.14622279679028238</c:v>
                </c:pt>
                <c:pt idx="8">
                  <c:v>0.11328282653270585</c:v>
                </c:pt>
                <c:pt idx="9">
                  <c:v>0.24737076648841355</c:v>
                </c:pt>
                <c:pt idx="10">
                  <c:v>0.2945572436159014</c:v>
                </c:pt>
                <c:pt idx="11">
                  <c:v>0.20975309982476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340909090909091"/>
          <c:min val="0.0056112224448897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670375548088038</c:v>
                </c:pt>
                <c:pt idx="1">
                  <c:v>0.1788582373668275</c:v>
                </c:pt>
                <c:pt idx="2">
                  <c:v>0.17635599707550695</c:v>
                </c:pt>
                <c:pt idx="3">
                  <c:v>0.1824219554277892</c:v>
                </c:pt>
                <c:pt idx="4">
                  <c:v>0.1752400285049025</c:v>
                </c:pt>
                <c:pt idx="5">
                  <c:v>0.17206755957744302</c:v>
                </c:pt>
                <c:pt idx="6">
                  <c:v>0.17670967867048726</c:v>
                </c:pt>
                <c:pt idx="7">
                  <c:v>0.1709622041845366</c:v>
                </c:pt>
                <c:pt idx="8">
                  <c:v>0.17190638080023948</c:v>
                </c:pt>
                <c:pt idx="9">
                  <c:v>0.16375800611108662</c:v>
                </c:pt>
                <c:pt idx="10">
                  <c:v>0.15636836952103908</c:v>
                </c:pt>
                <c:pt idx="11">
                  <c:v>0.15655399160761532</c:v>
                </c:pt>
                <c:pt idx="12">
                  <c:v>0.160181589217434</c:v>
                </c:pt>
                <c:pt idx="13">
                  <c:v>0.15557158957100006</c:v>
                </c:pt>
                <c:pt idx="14">
                  <c:v>0.17908662176286996</c:v>
                </c:pt>
                <c:pt idx="15">
                  <c:v>0.1748356882613624</c:v>
                </c:pt>
                <c:pt idx="16">
                  <c:v>0.1728468105172852</c:v>
                </c:pt>
                <c:pt idx="17">
                  <c:v>0.17290700997940167</c:v>
                </c:pt>
                <c:pt idx="18">
                  <c:v>0.16248544751140936</c:v>
                </c:pt>
                <c:pt idx="19">
                  <c:v>0.16379857444294213</c:v>
                </c:pt>
                <c:pt idx="20">
                  <c:v>0.17672869977429015</c:v>
                </c:pt>
                <c:pt idx="21">
                  <c:v>0.16854643282683476</c:v>
                </c:pt>
                <c:pt idx="22">
                  <c:v>0.16059529082429666</c:v>
                </c:pt>
                <c:pt idx="23">
                  <c:v>0.1618527023370257</c:v>
                </c:pt>
                <c:pt idx="24">
                  <c:v>0.15946453210195027</c:v>
                </c:pt>
                <c:pt idx="25">
                  <c:v>0.1545609771769587</c:v>
                </c:pt>
                <c:pt idx="26">
                  <c:v>0.1611104321614024</c:v>
                </c:pt>
                <c:pt idx="27">
                  <c:v>0.16237502642662816</c:v>
                </c:pt>
                <c:pt idx="28">
                  <c:v>0.15834057842302338</c:v>
                </c:pt>
                <c:pt idx="29">
                  <c:v>0.16844579961599354</c:v>
                </c:pt>
                <c:pt idx="30">
                  <c:v>0.15310118611416357</c:v>
                </c:pt>
                <c:pt idx="31">
                  <c:v>0.1491694734451338</c:v>
                </c:pt>
                <c:pt idx="32">
                  <c:v>0.15169393230865255</c:v>
                </c:pt>
                <c:pt idx="33">
                  <c:v>0.15472768476479384</c:v>
                </c:pt>
                <c:pt idx="34">
                  <c:v>0.15536168459790356</c:v>
                </c:pt>
                <c:pt idx="35">
                  <c:v>0.17133103976530645</c:v>
                </c:pt>
                <c:pt idx="36">
                  <c:v>0.15906351490190576</c:v>
                </c:pt>
                <c:pt idx="37">
                  <c:v>0.15029824990700472</c:v>
                </c:pt>
                <c:pt idx="38">
                  <c:v>0.1494808947439032</c:v>
                </c:pt>
                <c:pt idx="39">
                  <c:v>0.15614270855784074</c:v>
                </c:pt>
                <c:pt idx="40">
                  <c:v>0.1740623807016115</c:v>
                </c:pt>
                <c:pt idx="41">
                  <c:v>0.160213060273832</c:v>
                </c:pt>
                <c:pt idx="42">
                  <c:v>0.1623672658900213</c:v>
                </c:pt>
                <c:pt idx="43">
                  <c:v>0.16987593571416648</c:v>
                </c:pt>
                <c:pt idx="44">
                  <c:v>0.18245394113420124</c:v>
                </c:pt>
                <c:pt idx="45">
                  <c:v>0.19178314050066642</c:v>
                </c:pt>
                <c:pt idx="46">
                  <c:v>0.18341441792475346</c:v>
                </c:pt>
                <c:pt idx="47">
                  <c:v>0.1763488606164007</c:v>
                </c:pt>
                <c:pt idx="48">
                  <c:v>0.18928880546071317</c:v>
                </c:pt>
                <c:pt idx="49">
                  <c:v>0.19123322617278418</c:v>
                </c:pt>
                <c:pt idx="50">
                  <c:v>0.1745919086669058</c:v>
                </c:pt>
                <c:pt idx="51">
                  <c:v>0.16527740258894996</c:v>
                </c:pt>
                <c:pt idx="52">
                  <c:v>0.17800659452958684</c:v>
                </c:pt>
                <c:pt idx="53">
                  <c:v>0.18865371148498417</c:v>
                </c:pt>
                <c:pt idx="54">
                  <c:v>0.18507239646277146</c:v>
                </c:pt>
                <c:pt idx="55">
                  <c:v>0.1837417618640634</c:v>
                </c:pt>
                <c:pt idx="56">
                  <c:v>0.1841481955234815</c:v>
                </c:pt>
                <c:pt idx="57">
                  <c:v>0.18525487204283755</c:v>
                </c:pt>
                <c:pt idx="58">
                  <c:v>0.1977998748216097</c:v>
                </c:pt>
                <c:pt idx="59">
                  <c:v>0.22437348963729634</c:v>
                </c:pt>
                <c:pt idx="60">
                  <c:v>0.22424266029985088</c:v>
                </c:pt>
                <c:pt idx="61">
                  <c:v>0.2028467367768921</c:v>
                </c:pt>
                <c:pt idx="62">
                  <c:v>0.1841399774771859</c:v>
                </c:pt>
                <c:pt idx="63">
                  <c:v>0.19116338371340505</c:v>
                </c:pt>
                <c:pt idx="64">
                  <c:v>0.1949454661826432</c:v>
                </c:pt>
                <c:pt idx="65">
                  <c:v>0.19080702315787448</c:v>
                </c:pt>
                <c:pt idx="66">
                  <c:v>0.2062231803986021</c:v>
                </c:pt>
                <c:pt idx="67">
                  <c:v>0.20671992641237508</c:v>
                </c:pt>
                <c:pt idx="68">
                  <c:v>0.1952053834267882</c:v>
                </c:pt>
                <c:pt idx="69">
                  <c:v>0.1910982543002689</c:v>
                </c:pt>
                <c:pt idx="70">
                  <c:v>0.196896964310191</c:v>
                </c:pt>
                <c:pt idx="71">
                  <c:v>0.18631273854485259</c:v>
                </c:pt>
                <c:pt idx="72">
                  <c:v>0.19888866806296268</c:v>
                </c:pt>
                <c:pt idx="73">
                  <c:v>0.19793778002073556</c:v>
                </c:pt>
                <c:pt idx="74">
                  <c:v>0.19516867861353288</c:v>
                </c:pt>
                <c:pt idx="75">
                  <c:v>0.18867473975180904</c:v>
                </c:pt>
                <c:pt idx="76">
                  <c:v>0.18073682488573137</c:v>
                </c:pt>
                <c:pt idx="77">
                  <c:v>0.17932868800622323</c:v>
                </c:pt>
                <c:pt idx="78">
                  <c:v>0.17835994276615091</c:v>
                </c:pt>
                <c:pt idx="79">
                  <c:v>0.16519056292762094</c:v>
                </c:pt>
                <c:pt idx="80">
                  <c:v>0.16443992608916158</c:v>
                </c:pt>
                <c:pt idx="81">
                  <c:v>0.1821784039683722</c:v>
                </c:pt>
                <c:pt idx="82">
                  <c:v>0.17115009203812573</c:v>
                </c:pt>
                <c:pt idx="83">
                  <c:v>0.16254463374148126</c:v>
                </c:pt>
                <c:pt idx="84">
                  <c:v>0.1651074889811737</c:v>
                </c:pt>
                <c:pt idx="85">
                  <c:v>0.16948459467073188</c:v>
                </c:pt>
                <c:pt idx="86">
                  <c:v>0.17688427747492577</c:v>
                </c:pt>
                <c:pt idx="87">
                  <c:v>0.1977895207582316</c:v>
                </c:pt>
                <c:pt idx="88">
                  <c:v>0.1765827267637418</c:v>
                </c:pt>
                <c:pt idx="89">
                  <c:v>0.17218565654272425</c:v>
                </c:pt>
                <c:pt idx="90">
                  <c:v>0.16868187056619757</c:v>
                </c:pt>
                <c:pt idx="91">
                  <c:v>0.17493780402855827</c:v>
                </c:pt>
                <c:pt idx="92">
                  <c:v>0.18134864634164558</c:v>
                </c:pt>
                <c:pt idx="93">
                  <c:v>0.17972174223973406</c:v>
                </c:pt>
                <c:pt idx="94">
                  <c:v>0.17232639547652265</c:v>
                </c:pt>
                <c:pt idx="95">
                  <c:v>0.18951132088920886</c:v>
                </c:pt>
                <c:pt idx="96">
                  <c:v>0.18853969122048297</c:v>
                </c:pt>
                <c:pt idx="97">
                  <c:v>0.20082206608880993</c:v>
                </c:pt>
                <c:pt idx="98">
                  <c:v>0.20582011826739513</c:v>
                </c:pt>
                <c:pt idx="99">
                  <c:v>0.20698205388911065</c:v>
                </c:pt>
                <c:pt idx="100">
                  <c:v>0.21717712632118794</c:v>
                </c:pt>
                <c:pt idx="101">
                  <c:v>0.217439709869027</c:v>
                </c:pt>
                <c:pt idx="102">
                  <c:v>0.22206418820620574</c:v>
                </c:pt>
                <c:pt idx="103">
                  <c:v>0.20126920450263816</c:v>
                </c:pt>
                <c:pt idx="104">
                  <c:v>0.20219141660966244</c:v>
                </c:pt>
              </c:numCache>
            </c:numRef>
          </c:xVal>
          <c:yVal>
            <c:numRef>
              <c:f>Sheet1!$B$2:$B$106</c:f>
              <c:numCache>
                <c:formatCode>General</c:formatCode>
                <c:ptCount val="105"/>
                <c:pt idx="0">
                  <c:v>0.26012847965738756</c:v>
                </c:pt>
                <c:pt idx="1">
                  <c:v>0.27238736212376147</c:v>
                </c:pt>
                <c:pt idx="2">
                  <c:v>0.26337257810327247</c:v>
                </c:pt>
                <c:pt idx="3">
                  <c:v>0.25908312725889293</c:v>
                </c:pt>
                <c:pt idx="4">
                  <c:v>0.2348164988632673</c:v>
                </c:pt>
                <c:pt idx="5">
                  <c:v>0.21423004119808484</c:v>
                </c:pt>
                <c:pt idx="6">
                  <c:v>0.2182611471746302</c:v>
                </c:pt>
                <c:pt idx="7">
                  <c:v>0.20495495495495494</c:v>
                </c:pt>
                <c:pt idx="8">
                  <c:v>0.22227421619092186</c:v>
                </c:pt>
                <c:pt idx="9">
                  <c:v>0.21707438841737395</c:v>
                </c:pt>
                <c:pt idx="10">
                  <c:v>0.23554804804804805</c:v>
                </c:pt>
                <c:pt idx="11">
                  <c:v>0.2366526167896031</c:v>
                </c:pt>
                <c:pt idx="12">
                  <c:v>0.25389600370313226</c:v>
                </c:pt>
                <c:pt idx="13">
                  <c:v>0.2606355270012155</c:v>
                </c:pt>
                <c:pt idx="14">
                  <c:v>0.2704267438603044</c:v>
                </c:pt>
                <c:pt idx="15">
                  <c:v>0.25789701427953265</c:v>
                </c:pt>
                <c:pt idx="16">
                  <c:v>0.22777026196039848</c:v>
                </c:pt>
                <c:pt idx="17">
                  <c:v>0.23955773955773957</c:v>
                </c:pt>
                <c:pt idx="18">
                  <c:v>0.21729383506805444</c:v>
                </c:pt>
                <c:pt idx="19">
                  <c:v>0.1964573268921095</c:v>
                </c:pt>
                <c:pt idx="20">
                  <c:v>0.21371726233540733</c:v>
                </c:pt>
                <c:pt idx="21">
                  <c:v>0.1863013698630137</c:v>
                </c:pt>
                <c:pt idx="22">
                  <c:v>0.1838928706148623</c:v>
                </c:pt>
                <c:pt idx="23">
                  <c:v>0.1673461463793438</c:v>
                </c:pt>
                <c:pt idx="24">
                  <c:v>0.17663092858440851</c:v>
                </c:pt>
                <c:pt idx="25">
                  <c:v>0.16515276630883569</c:v>
                </c:pt>
                <c:pt idx="26">
                  <c:v>0.16782505509408374</c:v>
                </c:pt>
                <c:pt idx="27">
                  <c:v>0.1683377308707124</c:v>
                </c:pt>
                <c:pt idx="28">
                  <c:v>0.16349876803942273</c:v>
                </c:pt>
                <c:pt idx="29">
                  <c:v>0.14938879187172566</c:v>
                </c:pt>
                <c:pt idx="30">
                  <c:v>0.15433070866141732</c:v>
                </c:pt>
                <c:pt idx="31">
                  <c:v>0.13553553553553555</c:v>
                </c:pt>
                <c:pt idx="32">
                  <c:v>0.14569805194805194</c:v>
                </c:pt>
                <c:pt idx="33">
                  <c:v>0.14377110360760617</c:v>
                </c:pt>
                <c:pt idx="34">
                  <c:v>0.16295242611032085</c:v>
                </c:pt>
                <c:pt idx="35">
                  <c:v>0.18948267447535383</c:v>
                </c:pt>
                <c:pt idx="36">
                  <c:v>0.1787432776677045</c:v>
                </c:pt>
                <c:pt idx="37">
                  <c:v>0.15249472944483486</c:v>
                </c:pt>
                <c:pt idx="38">
                  <c:v>0.15046916890080428</c:v>
                </c:pt>
                <c:pt idx="39">
                  <c:v>0.14069506726457398</c:v>
                </c:pt>
                <c:pt idx="40">
                  <c:v>0.1510353227771011</c:v>
                </c:pt>
                <c:pt idx="41">
                  <c:v>0.14417435037720033</c:v>
                </c:pt>
                <c:pt idx="42">
                  <c:v>0.15697020798201236</c:v>
                </c:pt>
                <c:pt idx="43">
                  <c:v>0.17312378167641326</c:v>
                </c:pt>
                <c:pt idx="44">
                  <c:v>0.15548665915069523</c:v>
                </c:pt>
                <c:pt idx="45">
                  <c:v>0.15145937417828031</c:v>
                </c:pt>
                <c:pt idx="46">
                  <c:v>0.1591240875912409</c:v>
                </c:pt>
                <c:pt idx="47">
                  <c:v>0.1676552686671319</c:v>
                </c:pt>
                <c:pt idx="48">
                  <c:v>0.1735267800076697</c:v>
                </c:pt>
                <c:pt idx="49">
                  <c:v>0.2121083647772078</c:v>
                </c:pt>
                <c:pt idx="50">
                  <c:v>0.18334377828842002</c:v>
                </c:pt>
                <c:pt idx="51">
                  <c:v>0.17443813484763657</c:v>
                </c:pt>
                <c:pt idx="52">
                  <c:v>0.19078901874005946</c:v>
                </c:pt>
                <c:pt idx="53">
                  <c:v>0.18180143672867932</c:v>
                </c:pt>
                <c:pt idx="54">
                  <c:v>0.1655494617103392</c:v>
                </c:pt>
                <c:pt idx="55">
                  <c:v>0.17623596095308072</c:v>
                </c:pt>
                <c:pt idx="56">
                  <c:v>0.1935966487133453</c:v>
                </c:pt>
                <c:pt idx="57">
                  <c:v>0.18437865562854314</c:v>
                </c:pt>
                <c:pt idx="58">
                  <c:v>0.1921921921921922</c:v>
                </c:pt>
                <c:pt idx="59">
                  <c:v>0.19312725899552247</c:v>
                </c:pt>
                <c:pt idx="60">
                  <c:v>0.1935066396578888</c:v>
                </c:pt>
                <c:pt idx="61">
                  <c:v>0.18492792590932855</c:v>
                </c:pt>
                <c:pt idx="62">
                  <c:v>0.20797134583142812</c:v>
                </c:pt>
                <c:pt idx="63">
                  <c:v>0.2189074255806346</c:v>
                </c:pt>
                <c:pt idx="64">
                  <c:v>0.2224744608399546</c:v>
                </c:pt>
                <c:pt idx="65">
                  <c:v>0.22872707212798235</c:v>
                </c:pt>
                <c:pt idx="66">
                  <c:v>0.2179420697829469</c:v>
                </c:pt>
                <c:pt idx="67">
                  <c:v>0.21630960608154803</c:v>
                </c:pt>
                <c:pt idx="68">
                  <c:v>0.19613577949127006</c:v>
                </c:pt>
                <c:pt idx="69">
                  <c:v>0.17736670293797607</c:v>
                </c:pt>
                <c:pt idx="70">
                  <c:v>0.1681854885223209</c:v>
                </c:pt>
                <c:pt idx="71">
                  <c:v>0.17558314958802368</c:v>
                </c:pt>
                <c:pt idx="72">
                  <c:v>0.17655571635311143</c:v>
                </c:pt>
                <c:pt idx="73">
                  <c:v>0.1785470280118424</c:v>
                </c:pt>
                <c:pt idx="74">
                  <c:v>0.1659024103468548</c:v>
                </c:pt>
                <c:pt idx="75">
                  <c:v>0.15557404326123128</c:v>
                </c:pt>
                <c:pt idx="76">
                  <c:v>0.1574769053117783</c:v>
                </c:pt>
                <c:pt idx="77">
                  <c:v>0.15460621912234815</c:v>
                </c:pt>
                <c:pt idx="78">
                  <c:v>0.1562448711636304</c:v>
                </c:pt>
                <c:pt idx="79">
                  <c:v>0.15875943000838222</c:v>
                </c:pt>
                <c:pt idx="80">
                  <c:v>0.14628495780241602</c:v>
                </c:pt>
                <c:pt idx="81">
                  <c:v>0.13667796610169491</c:v>
                </c:pt>
                <c:pt idx="82">
                  <c:v>0.1436801084378177</c:v>
                </c:pt>
                <c:pt idx="83">
                  <c:v>0.13094227504244482</c:v>
                </c:pt>
                <c:pt idx="84">
                  <c:v>0.1255043533658951</c:v>
                </c:pt>
                <c:pt idx="85">
                  <c:v>0.11232449297971919</c:v>
                </c:pt>
                <c:pt idx="86">
                  <c:v>0.12296718972895863</c:v>
                </c:pt>
                <c:pt idx="87">
                  <c:v>0.15997935750225778</c:v>
                </c:pt>
                <c:pt idx="88">
                  <c:v>0.1499921222624862</c:v>
                </c:pt>
                <c:pt idx="89">
                  <c:v>0.1237597911227154</c:v>
                </c:pt>
                <c:pt idx="90">
                  <c:v>0.11240379452299983</c:v>
                </c:pt>
                <c:pt idx="91">
                  <c:v>0.13977406845388635</c:v>
                </c:pt>
                <c:pt idx="92">
                  <c:v>0.14038248337028825</c:v>
                </c:pt>
                <c:pt idx="93">
                  <c:v>0.1275278058645096</c:v>
                </c:pt>
                <c:pt idx="94">
                  <c:v>0.12302466400827057</c:v>
                </c:pt>
                <c:pt idx="95">
                  <c:v>0.1428111933097459</c:v>
                </c:pt>
                <c:pt idx="96">
                  <c:v>0.14006570983918382</c:v>
                </c:pt>
                <c:pt idx="97">
                  <c:v>0.13938150373735894</c:v>
                </c:pt>
                <c:pt idx="98">
                  <c:v>0.162250593443254</c:v>
                </c:pt>
                <c:pt idx="99">
                  <c:v>0.16527112086389098</c:v>
                </c:pt>
                <c:pt idx="100">
                  <c:v>0.2001013171225937</c:v>
                </c:pt>
                <c:pt idx="101">
                  <c:v>0.1658822032820252</c:v>
                </c:pt>
                <c:pt idx="102">
                  <c:v>0.13617322936134563</c:v>
                </c:pt>
                <c:pt idx="103">
                  <c:v>0.15280477645098584</c:v>
                </c:pt>
                <c:pt idx="104">
                  <c:v>0.167021924482338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2114930001404298</c:v>
                </c:pt>
                <c:pt idx="1">
                  <c:v>0.219339634429519</c:v>
                </c:pt>
                <c:pt idx="2">
                  <c:v>0.2188954906234237</c:v>
                </c:pt>
                <c:pt idx="3">
                  <c:v>0.22147245356198234</c:v>
                </c:pt>
                <c:pt idx="4">
                  <c:v>0.21209910109513125</c:v>
                </c:pt>
                <c:pt idx="5">
                  <c:v>0.220044945286262</c:v>
                </c:pt>
                <c:pt idx="6">
                  <c:v>0.20609417552027787</c:v>
                </c:pt>
                <c:pt idx="7">
                  <c:v>0.19447427399822834</c:v>
                </c:pt>
                <c:pt idx="8">
                  <c:v>0.19511795317240377</c:v>
                </c:pt>
                <c:pt idx="9">
                  <c:v>0.18481787401914104</c:v>
                </c:pt>
                <c:pt idx="10">
                  <c:v>0.19326453749517178</c:v>
                </c:pt>
                <c:pt idx="11">
                  <c:v>0.21796196492194964</c:v>
                </c:pt>
                <c:pt idx="12">
                  <c:v>0.208373455351336</c:v>
                </c:pt>
                <c:pt idx="13">
                  <c:v>0.18563394267060088</c:v>
                </c:pt>
                <c:pt idx="14">
                  <c:v>0.2005759212267046</c:v>
                </c:pt>
                <c:pt idx="15">
                  <c:v>0.18175764763753322</c:v>
                </c:pt>
                <c:pt idx="16">
                  <c:v>0.17983061843566311</c:v>
                </c:pt>
                <c:pt idx="17">
                  <c:v>0.1695663494826163</c:v>
                </c:pt>
                <c:pt idx="18">
                  <c:v>0.1512144863050915</c:v>
                </c:pt>
                <c:pt idx="19">
                  <c:v>0.16519948233343998</c:v>
                </c:pt>
                <c:pt idx="20">
                  <c:v>0.14879642678568275</c:v>
                </c:pt>
                <c:pt idx="21">
                  <c:v>0.15524658091610277</c:v>
                </c:pt>
                <c:pt idx="22">
                  <c:v>0.16337229523676158</c:v>
                </c:pt>
                <c:pt idx="23">
                  <c:v>0.1397283728112515</c:v>
                </c:pt>
                <c:pt idx="24">
                  <c:v>0.13886661871988495</c:v>
                </c:pt>
                <c:pt idx="25">
                  <c:v>0.13970665710903643</c:v>
                </c:pt>
                <c:pt idx="26">
                  <c:v>0.1443623057973313</c:v>
                </c:pt>
                <c:pt idx="27">
                  <c:v>0.15424403742325898</c:v>
                </c:pt>
                <c:pt idx="28">
                  <c:v>0.16908260985313187</c:v>
                </c:pt>
                <c:pt idx="29">
                  <c:v>0.16355695721727637</c:v>
                </c:pt>
                <c:pt idx="30">
                  <c:v>0.16946077014287222</c:v>
                </c:pt>
                <c:pt idx="31">
                  <c:v>0.1686955461522589</c:v>
                </c:pt>
                <c:pt idx="32">
                  <c:v>0.15959136192575035</c:v>
                </c:pt>
                <c:pt idx="33">
                  <c:v>0.17708536306037415</c:v>
                </c:pt>
                <c:pt idx="34">
                  <c:v>0.19791025586751343</c:v>
                </c:pt>
                <c:pt idx="35">
                  <c:v>0.19362172541432557</c:v>
                </c:pt>
                <c:pt idx="36">
                  <c:v>0.1557207815175411</c:v>
                </c:pt>
                <c:pt idx="37">
                  <c:v>0.160728930044268</c:v>
                </c:pt>
                <c:pt idx="38">
                  <c:v>0.16319989331426288</c:v>
                </c:pt>
                <c:pt idx="39">
                  <c:v>0.185154826383682</c:v>
                </c:pt>
                <c:pt idx="40">
                  <c:v>0.18214612627004742</c:v>
                </c:pt>
                <c:pt idx="41">
                  <c:v>0.18633785518543117</c:v>
                </c:pt>
                <c:pt idx="42">
                  <c:v>0.18026609154592116</c:v>
                </c:pt>
                <c:pt idx="43">
                  <c:v>0.18390713047537632</c:v>
                </c:pt>
                <c:pt idx="44">
                  <c:v>0.18286069819252096</c:v>
                </c:pt>
                <c:pt idx="45">
                  <c:v>0.19268660051534656</c:v>
                </c:pt>
                <c:pt idx="46">
                  <c:v>0.17405909036177586</c:v>
                </c:pt>
                <c:pt idx="47">
                  <c:v>0.17715410069080334</c:v>
                </c:pt>
                <c:pt idx="48">
                  <c:v>0.17668808752843712</c:v>
                </c:pt>
                <c:pt idx="49">
                  <c:v>0.18971355447386296</c:v>
                </c:pt>
                <c:pt idx="50">
                  <c:v>0.19528359970319675</c:v>
                </c:pt>
                <c:pt idx="51">
                  <c:v>0.17488900643966335</c:v>
                </c:pt>
              </c:numCache>
            </c:numRef>
          </c:xVal>
          <c:yVal>
            <c:numRef>
              <c:f>Sheet1!$B$109:$B$160</c:f>
              <c:numCache>
                <c:formatCode>General</c:formatCode>
                <c:ptCount val="52"/>
                <c:pt idx="0">
                  <c:v>0.1769493496112201</c:v>
                </c:pt>
                <c:pt idx="1">
                  <c:v>0.15590686083638347</c:v>
                </c:pt>
                <c:pt idx="2">
                  <c:v>0.16194158075601375</c:v>
                </c:pt>
                <c:pt idx="3">
                  <c:v>0.16526839915421868</c:v>
                </c:pt>
                <c:pt idx="4">
                  <c:v>0.15186813186813186</c:v>
                </c:pt>
                <c:pt idx="5">
                  <c:v>0.13581900197349872</c:v>
                </c:pt>
                <c:pt idx="6">
                  <c:v>0.14691242806035154</c:v>
                </c:pt>
                <c:pt idx="7">
                  <c:v>0.15263437998935603</c:v>
                </c:pt>
                <c:pt idx="8">
                  <c:v>0.15743562795585916</c:v>
                </c:pt>
                <c:pt idx="9">
                  <c:v>0.1817742558948589</c:v>
                </c:pt>
                <c:pt idx="10">
                  <c:v>0.17085878548329142</c:v>
                </c:pt>
                <c:pt idx="11">
                  <c:v>0.17358925143953935</c:v>
                </c:pt>
                <c:pt idx="12">
                  <c:v>0.18205886933499454</c:v>
                </c:pt>
                <c:pt idx="13">
                  <c:v>0.1822017644802455</c:v>
                </c:pt>
                <c:pt idx="14">
                  <c:v>0.17596236099230111</c:v>
                </c:pt>
                <c:pt idx="15">
                  <c:v>0.1706055471327923</c:v>
                </c:pt>
                <c:pt idx="16">
                  <c:v>0.16709664615995237</c:v>
                </c:pt>
                <c:pt idx="17">
                  <c:v>0.16556088598550578</c:v>
                </c:pt>
                <c:pt idx="18">
                  <c:v>0.16476655808903365</c:v>
                </c:pt>
                <c:pt idx="19">
                  <c:v>0.17328439550661773</c:v>
                </c:pt>
                <c:pt idx="20">
                  <c:v>0.17410987397528446</c:v>
                </c:pt>
                <c:pt idx="21">
                  <c:v>0.15474851357865982</c:v>
                </c:pt>
                <c:pt idx="22">
                  <c:v>0.1512164096040706</c:v>
                </c:pt>
                <c:pt idx="23">
                  <c:v>0.1667995535002392</c:v>
                </c:pt>
                <c:pt idx="24">
                  <c:v>0.1742128935532234</c:v>
                </c:pt>
                <c:pt idx="25">
                  <c:v>0.18850393700787402</c:v>
                </c:pt>
                <c:pt idx="26">
                  <c:v>0.17250118802471093</c:v>
                </c:pt>
                <c:pt idx="27">
                  <c:v>0.1400374585794554</c:v>
                </c:pt>
                <c:pt idx="28">
                  <c:v>0.11744658539782409</c:v>
                </c:pt>
                <c:pt idx="29">
                  <c:v>0.10954567041317081</c:v>
                </c:pt>
                <c:pt idx="30">
                  <c:v>0.11512340566506543</c:v>
                </c:pt>
                <c:pt idx="31">
                  <c:v>0.09841628959276018</c:v>
                </c:pt>
                <c:pt idx="32">
                  <c:v>0.09037261844545608</c:v>
                </c:pt>
                <c:pt idx="33">
                  <c:v>0.11124141397218965</c:v>
                </c:pt>
                <c:pt idx="34">
                  <c:v>0.13885104450499547</c:v>
                </c:pt>
                <c:pt idx="35">
                  <c:v>0.15230312035661217</c:v>
                </c:pt>
                <c:pt idx="36">
                  <c:v>0.12056184159188452</c:v>
                </c:pt>
                <c:pt idx="37">
                  <c:v>0.1283714578354387</c:v>
                </c:pt>
                <c:pt idx="38">
                  <c:v>0.11926070038910506</c:v>
                </c:pt>
                <c:pt idx="39">
                  <c:v>0.1382540809084457</c:v>
                </c:pt>
                <c:pt idx="40">
                  <c:v>0.12350984197393956</c:v>
                </c:pt>
                <c:pt idx="41">
                  <c:v>0.1278409090909091</c:v>
                </c:pt>
                <c:pt idx="42">
                  <c:v>0.12382310984308131</c:v>
                </c:pt>
                <c:pt idx="43">
                  <c:v>0.13285699492596045</c:v>
                </c:pt>
                <c:pt idx="44">
                  <c:v>0.13854291076608088</c:v>
                </c:pt>
                <c:pt idx="45">
                  <c:v>0.1601690294438386</c:v>
                </c:pt>
                <c:pt idx="46">
                  <c:v>0.1502052441987099</c:v>
                </c:pt>
                <c:pt idx="47">
                  <c:v>0.15892282958199358</c:v>
                </c:pt>
                <c:pt idx="48">
                  <c:v>0.14972565157750342</c:v>
                </c:pt>
                <c:pt idx="49">
                  <c:v>0.15564247766944947</c:v>
                </c:pt>
                <c:pt idx="50">
                  <c:v>0.20848355529394452</c:v>
                </c:pt>
                <c:pt idx="51">
                  <c:v>0.187917860553963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6801562292406648</c:v>
                </c:pt>
              </c:numCache>
            </c:numRef>
          </c:xVal>
          <c:yVal>
            <c:numRef>
              <c:f>Sheet1!$B$163:$B$164</c:f>
              <c:numCache>
                <c:formatCode>General</c:formatCode>
                <c:ptCount val="2"/>
                <c:pt idx="0">
                  <c:v>0.23883426728057483</c:v>
                </c:pt>
                <c:pt idx="1">
                  <c:v>0.2388342672805748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6801562292406648</c:v>
                </c:pt>
                <c:pt idx="1">
                  <c:v>0.6801562292406648</c:v>
                </c:pt>
              </c:numCache>
            </c:numRef>
          </c:xVal>
          <c:yVal>
            <c:numRef>
              <c:f>Sheet1!$B$167:$B$168</c:f>
              <c:numCache>
                <c:formatCode>General</c:formatCode>
                <c:ptCount val="2"/>
                <c:pt idx="0">
                  <c:v>0.2388342672805748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1642654699735884</c:v>
                </c:pt>
              </c:numCache>
            </c:numRef>
          </c:xVal>
          <c:yVal>
            <c:numRef>
              <c:f>Sheet1!$B$171:$B$172</c:f>
              <c:numCache>
                <c:formatCode>General</c:formatCode>
                <c:ptCount val="2"/>
                <c:pt idx="0">
                  <c:v>0.17544238627371528</c:v>
                </c:pt>
                <c:pt idx="1">
                  <c:v>0.1754423862737152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1642654699735884</c:v>
                </c:pt>
                <c:pt idx="1">
                  <c:v>0.31642654699735884</c:v>
                </c:pt>
              </c:numCache>
            </c:numRef>
          </c:xVal>
          <c:yVal>
            <c:numRef>
              <c:f>Sheet1!$B$175:$B$176</c:f>
              <c:numCache>
                <c:formatCode>General</c:formatCode>
                <c:ptCount val="2"/>
                <c:pt idx="0">
                  <c:v>0.1754423862737152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7304497169894417</c:v>
                </c:pt>
              </c:numCache>
            </c:numRef>
          </c:xVal>
          <c:yVal>
            <c:numRef>
              <c:f>Sheet1!$B$179:$B$180</c:f>
              <c:numCache>
                <c:formatCode>General</c:formatCode>
                <c:ptCount val="2"/>
                <c:pt idx="0">
                  <c:v>0.15045342275598617</c:v>
                </c:pt>
                <c:pt idx="1">
                  <c:v>0.1504534227559861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7304497169894417</c:v>
                </c:pt>
                <c:pt idx="1">
                  <c:v>0.17304497169894417</c:v>
                </c:pt>
              </c:numCache>
            </c:numRef>
          </c:xVal>
          <c:yVal>
            <c:numRef>
              <c:f>Sheet1!$B$183:$B$184</c:f>
              <c:numCache>
                <c:formatCode>General</c:formatCode>
                <c:ptCount val="2"/>
                <c:pt idx="0">
                  <c:v>0.1504534227559861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2114930001404298</c:v>
                </c:pt>
                <c:pt idx="1">
                  <c:v>0.219339634429519</c:v>
                </c:pt>
                <c:pt idx="2">
                  <c:v>0.2188954906234237</c:v>
                </c:pt>
                <c:pt idx="3">
                  <c:v>0.22147245356198234</c:v>
                </c:pt>
                <c:pt idx="4">
                  <c:v>0.21209910109513125</c:v>
                </c:pt>
                <c:pt idx="5">
                  <c:v>0.220044945286262</c:v>
                </c:pt>
                <c:pt idx="6">
                  <c:v>0.20609417552027787</c:v>
                </c:pt>
                <c:pt idx="7">
                  <c:v>0.19447427399822834</c:v>
                </c:pt>
                <c:pt idx="8">
                  <c:v>0.19511795317240377</c:v>
                </c:pt>
                <c:pt idx="9">
                  <c:v>0.18481787401914104</c:v>
                </c:pt>
                <c:pt idx="10">
                  <c:v>0.19326453749517178</c:v>
                </c:pt>
                <c:pt idx="11">
                  <c:v>0.21796196492194964</c:v>
                </c:pt>
                <c:pt idx="12">
                  <c:v>0.208373455351336</c:v>
                </c:pt>
                <c:pt idx="13">
                  <c:v>0.18563394267060088</c:v>
                </c:pt>
                <c:pt idx="14">
                  <c:v>0.2005759212267046</c:v>
                </c:pt>
                <c:pt idx="15">
                  <c:v>0.18175764763753322</c:v>
                </c:pt>
                <c:pt idx="16">
                  <c:v>0.17983061843566311</c:v>
                </c:pt>
                <c:pt idx="17">
                  <c:v>0.1695663494826163</c:v>
                </c:pt>
                <c:pt idx="18">
                  <c:v>0.1512144863050915</c:v>
                </c:pt>
                <c:pt idx="19">
                  <c:v>0.16519948233343998</c:v>
                </c:pt>
                <c:pt idx="20">
                  <c:v>0.14879642678568275</c:v>
                </c:pt>
                <c:pt idx="21">
                  <c:v>0.15524658091610277</c:v>
                </c:pt>
                <c:pt idx="22">
                  <c:v>0.16337229523676158</c:v>
                </c:pt>
                <c:pt idx="23">
                  <c:v>0.1397283728112515</c:v>
                </c:pt>
                <c:pt idx="24">
                  <c:v>0.13886661871988495</c:v>
                </c:pt>
                <c:pt idx="25">
                  <c:v>0.13970665710903643</c:v>
                </c:pt>
                <c:pt idx="26">
                  <c:v>0.1443623057973313</c:v>
                </c:pt>
                <c:pt idx="27">
                  <c:v>0.15424403742325898</c:v>
                </c:pt>
                <c:pt idx="28">
                  <c:v>0.16908260985313187</c:v>
                </c:pt>
                <c:pt idx="29">
                  <c:v>0.16355695721727637</c:v>
                </c:pt>
                <c:pt idx="30">
                  <c:v>0.16946077014287222</c:v>
                </c:pt>
                <c:pt idx="31">
                  <c:v>0.1686955461522589</c:v>
                </c:pt>
                <c:pt idx="32">
                  <c:v>0.15959136192575035</c:v>
                </c:pt>
                <c:pt idx="33">
                  <c:v>0.17708536306037415</c:v>
                </c:pt>
                <c:pt idx="34">
                  <c:v>0.19791025586751343</c:v>
                </c:pt>
                <c:pt idx="35">
                  <c:v>0.19362172541432557</c:v>
                </c:pt>
                <c:pt idx="36">
                  <c:v>0.1557207815175411</c:v>
                </c:pt>
                <c:pt idx="37">
                  <c:v>0.160728930044268</c:v>
                </c:pt>
                <c:pt idx="38">
                  <c:v>0.16319989331426288</c:v>
                </c:pt>
                <c:pt idx="39">
                  <c:v>0.185154826383682</c:v>
                </c:pt>
                <c:pt idx="40">
                  <c:v>0.18214612627004742</c:v>
                </c:pt>
                <c:pt idx="41">
                  <c:v>0.18633785518543117</c:v>
                </c:pt>
                <c:pt idx="42">
                  <c:v>0.18026609154592116</c:v>
                </c:pt>
                <c:pt idx="43">
                  <c:v>0.18390713047537632</c:v>
                </c:pt>
                <c:pt idx="44">
                  <c:v>0.18286069819252096</c:v>
                </c:pt>
                <c:pt idx="45">
                  <c:v>0.19268660051534656</c:v>
                </c:pt>
                <c:pt idx="46">
                  <c:v>0.17405909036177586</c:v>
                </c:pt>
                <c:pt idx="47">
                  <c:v>0.17715410069080334</c:v>
                </c:pt>
                <c:pt idx="48">
                  <c:v>0.17668808752843712</c:v>
                </c:pt>
                <c:pt idx="49">
                  <c:v>0.18971355447386296</c:v>
                </c:pt>
                <c:pt idx="50">
                  <c:v>0.19528359970319675</c:v>
                </c:pt>
                <c:pt idx="51">
                  <c:v>0.17488900643966335</c:v>
                </c:pt>
                <c:pt idx="52">
                  <c:v>0.31642654699735884</c:v>
                </c:pt>
                <c:pt idx="53">
                  <c:v>0.6801562292406648</c:v>
                </c:pt>
                <c:pt idx="54">
                  <c:v>0.17304497169894417</c:v>
                </c:pt>
              </c:numCache>
            </c:numRef>
          </c:xVal>
          <c:yVal>
            <c:numRef>
              <c:f>Sheet1!$B$187:$B$241</c:f>
              <c:numCache>
                <c:formatCode>General</c:formatCode>
                <c:ptCount val="55"/>
                <c:pt idx="0">
                  <c:v>0.15883718686800008</c:v>
                </c:pt>
                <c:pt idx="1">
                  <c:v>0.15852179301647595</c:v>
                </c:pt>
                <c:pt idx="2">
                  <c:v>0.15844438632496738</c:v>
                </c:pt>
                <c:pt idx="3">
                  <c:v>0.1588935070207343</c:v>
                </c:pt>
                <c:pt idx="4">
                  <c:v>0.15725989152763162</c:v>
                </c:pt>
                <c:pt idx="5">
                  <c:v>0.15864471667128396</c:v>
                </c:pt>
                <c:pt idx="6">
                  <c:v>0.1562133354007068</c:v>
                </c:pt>
                <c:pt idx="7">
                  <c:v>0.15418818471722626</c:v>
                </c:pt>
                <c:pt idx="8">
                  <c:v>0.15430036702075525</c:v>
                </c:pt>
                <c:pt idx="9">
                  <c:v>0.15250523886949235</c:v>
                </c:pt>
                <c:pt idx="10">
                  <c:v>0.15397734827413356</c:v>
                </c:pt>
                <c:pt idx="11">
                  <c:v>0.158281688714424</c:v>
                </c:pt>
                <c:pt idx="12">
                  <c:v>0.15661057500716574</c:v>
                </c:pt>
                <c:pt idx="13">
                  <c:v>0.15264746571918938</c:v>
                </c:pt>
                <c:pt idx="14">
                  <c:v>0.1552515977790029</c:v>
                </c:pt>
                <c:pt idx="15">
                  <c:v>0.15197189359659496</c:v>
                </c:pt>
                <c:pt idx="16">
                  <c:v>0.15163604526794527</c:v>
                </c:pt>
                <c:pt idx="17">
                  <c:v>0.14984715822391598</c:v>
                </c:pt>
                <c:pt idx="18">
                  <c:v>0.14664874142265635</c:v>
                </c:pt>
                <c:pt idx="19">
                  <c:v>0.14908608774711013</c:v>
                </c:pt>
                <c:pt idx="20">
                  <c:v>0.14622731488309962</c:v>
                </c:pt>
                <c:pt idx="21">
                  <c:v>0.14735146675486788</c:v>
                </c:pt>
                <c:pt idx="22">
                  <c:v>0.14876764019480831</c:v>
                </c:pt>
                <c:pt idx="23">
                  <c:v>0.14464690771103275</c:v>
                </c:pt>
                <c:pt idx="24">
                  <c:v>0.14449671866822447</c:v>
                </c:pt>
                <c:pt idx="25">
                  <c:v>0.1446431230344501</c:v>
                </c:pt>
                <c:pt idx="26">
                  <c:v>0.14545452320899158</c:v>
                </c:pt>
                <c:pt idx="27">
                  <c:v>0.1471767405202351</c:v>
                </c:pt>
                <c:pt idx="28">
                  <c:v>0.14976285065561018</c:v>
                </c:pt>
                <c:pt idx="29">
                  <c:v>0.1487998236290089</c:v>
                </c:pt>
                <c:pt idx="30">
                  <c:v>0.14982875754542155</c:v>
                </c:pt>
                <c:pt idx="31">
                  <c:v>0.14969539205306642</c:v>
                </c:pt>
                <c:pt idx="32">
                  <c:v>0.1481086879941843</c:v>
                </c:pt>
                <c:pt idx="33">
                  <c:v>0.1511575940703129</c:v>
                </c:pt>
                <c:pt idx="34">
                  <c:v>0.15478701776394405</c:v>
                </c:pt>
                <c:pt idx="35">
                  <c:v>0.15403960003738926</c:v>
                </c:pt>
                <c:pt idx="36">
                  <c:v>0.14743411183325236</c:v>
                </c:pt>
                <c:pt idx="37">
                  <c:v>0.14830694671852462</c:v>
                </c:pt>
                <c:pt idx="38">
                  <c:v>0.14873759347965163</c:v>
                </c:pt>
                <c:pt idx="39">
                  <c:v>0.15256396392065183</c:v>
                </c:pt>
                <c:pt idx="40">
                  <c:v>0.15203959879759524</c:v>
                </c:pt>
                <c:pt idx="41">
                  <c:v>0.15277014566684766</c:v>
                </c:pt>
                <c:pt idx="42">
                  <c:v>0.15171194080502906</c:v>
                </c:pt>
                <c:pt idx="43">
                  <c:v>0.1523465118005382</c:v>
                </c:pt>
                <c:pt idx="44">
                  <c:v>0.15216413649823302</c:v>
                </c:pt>
                <c:pt idx="45">
                  <c:v>0.15387662371399158</c:v>
                </c:pt>
                <c:pt idx="46">
                  <c:v>0.15063016634535883</c:v>
                </c:pt>
                <c:pt idx="47">
                  <c:v>0.1511695738671279</c:v>
                </c:pt>
                <c:pt idx="48">
                  <c:v>0.15108835571975496</c:v>
                </c:pt>
                <c:pt idx="49">
                  <c:v>0.15335847248770926</c:v>
                </c:pt>
                <c:pt idx="50">
                  <c:v>0.15432923638633594</c:v>
                </c:pt>
                <c:pt idx="51">
                  <c:v>0.15077480656534487</c:v>
                </c:pt>
                <c:pt idx="52">
                  <c:v>0.17544238627371528</c:v>
                </c:pt>
                <c:pt idx="53">
                  <c:v>0.23883426728057483</c:v>
                </c:pt>
                <c:pt idx="54">
                  <c:v>0.1504534227559861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68648345485137"/>
          <c:min val="0.072298094756364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1</c:f>
              <c:numCache>
                <c:formatCode>General</c:formatCode>
                <c:ptCount val="10"/>
                <c:pt idx="0">
                  <c:v>1109.704</c:v>
                </c:pt>
                <c:pt idx="1">
                  <c:v>1133.6607</c:v>
                </c:pt>
                <c:pt idx="2">
                  <c:v>1205.0</c:v>
                </c:pt>
                <c:pt idx="3">
                  <c:v>1291.6154</c:v>
                </c:pt>
                <c:pt idx="4">
                  <c:v>1375.75</c:v>
                </c:pt>
                <c:pt idx="5">
                  <c:v>1472.5</c:v>
                </c:pt>
                <c:pt idx="6">
                  <c:v>1478.1667</c:v>
                </c:pt>
                <c:pt idx="7">
                  <c:v>1833.7216</c:v>
                </c:pt>
                <c:pt idx="8">
                  <c:v>1833.7216</c:v>
                </c:pt>
                <c:pt idx="9">
                  <c:v>1830.7097</c:v>
                </c:pt>
              </c:numCache>
            </c:numRef>
          </c:xVal>
          <c:yVal>
            <c:numRef>
              <c:f>Sheet1!$B$2:$B$11</c:f>
              <c:numCache>
                <c:formatCode>General</c:formatCode>
                <c:ptCount val="10"/>
                <c:pt idx="0">
                  <c:v>0.2846865364850976</c:v>
                </c:pt>
                <c:pt idx="1">
                  <c:v>0.10408921933085502</c:v>
                </c:pt>
                <c:pt idx="2">
                  <c:v>0.0070140280561122245</c:v>
                </c:pt>
                <c:pt idx="3">
                  <c:v>0.030878859857482184</c:v>
                </c:pt>
                <c:pt idx="4">
                  <c:v>0.031088082901554404</c:v>
                </c:pt>
                <c:pt idx="5">
                  <c:v>0.017595307917888565</c:v>
                </c:pt>
                <c:pt idx="6">
                  <c:v>0.012295081967213115</c:v>
                </c:pt>
                <c:pt idx="7">
                  <c:v>0.38492063492063494</c:v>
                </c:pt>
                <c:pt idx="8">
                  <c:v>0.2526041666666667</c:v>
                </c:pt>
                <c:pt idx="9">
                  <c:v>0.5284090909090909</c:v>
                </c:pt>
              </c:numCache>
            </c:numRef>
          </c:yVal>
          <c:smooth val="0"/>
          <c:extLst>
            <c:ext xmlns:c16="http://schemas.microsoft.com/office/drawing/2014/chart" uri="{C3380CC4-5D6E-409C-BE32-E72D297353CC}">
              <c16:uniqueId val="{00000000-F32D-48B7-BC20-E66FC6253BAD}"/>
            </c:ext>
          </c:extLst>
        </c:ser>
        <c:ser>
          <c:idx val="1"/>
          <c:order val="1"/>
          <c:tx>
            <c:strRef>
              <c:f>Sheet1!$B$1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4:$A$22</c:f>
              <c:numCache>
                <c:formatCode>General</c:formatCode>
                <c:ptCount val="9"/>
                <c:pt idx="0">
                  <c:v>737.4167</c:v>
                </c:pt>
                <c:pt idx="1">
                  <c:v>643.8621</c:v>
                </c:pt>
                <c:pt idx="2">
                  <c:v>1090.0</c:v>
                </c:pt>
                <c:pt idx="3">
                  <c:v>1452.0</c:v>
                </c:pt>
                <c:pt idx="4">
                  <c:v>792.7333</c:v>
                </c:pt>
                <c:pt idx="5">
                  <c:v>817.9655</c:v>
                </c:pt>
                <c:pt idx="6">
                  <c:v>1009.2885</c:v>
                </c:pt>
                <c:pt idx="7">
                  <c:v>1009.2885</c:v>
                </c:pt>
                <c:pt idx="8">
                  <c:v>996.6792</c:v>
                </c:pt>
              </c:numCache>
            </c:numRef>
          </c:xVal>
          <c:yVal>
            <c:numRef>
              <c:f>Sheet1!$B$14:$B$22</c:f>
              <c:numCache>
                <c:formatCode>General</c:formatCode>
                <c:ptCount val="9"/>
                <c:pt idx="0">
                  <c:v>0.06315789473684211</c:v>
                </c:pt>
                <c:pt idx="1">
                  <c:v>0.15675675675675677</c:v>
                </c:pt>
                <c:pt idx="2">
                  <c:v>0.0539906103286385</c:v>
                </c:pt>
                <c:pt idx="3">
                  <c:v>0.023529411764705882</c:v>
                </c:pt>
                <c:pt idx="4">
                  <c:v>0.04457652303120357</c:v>
                </c:pt>
                <c:pt idx="5">
                  <c:v>0.12831858407079647</c:v>
                </c:pt>
                <c:pt idx="6">
                  <c:v>0.21666666666666667</c:v>
                </c:pt>
                <c:pt idx="7">
                  <c:v>0.27807486631016043</c:v>
                </c:pt>
                <c:pt idx="8">
                  <c:v>0.13451776649746192</c:v>
                </c:pt>
              </c:numCache>
            </c:numRef>
          </c:yVal>
          <c:smooth val="0"/>
          <c:extLst>
            <c:ext xmlns:c16="http://schemas.microsoft.com/office/drawing/2014/chart" uri="{C3380CC4-5D6E-409C-BE32-E72D297353CC}">
              <c16:uniqueId val="{00000002-F32D-48B7-BC20-E66FC6253BAD}"/>
            </c:ext>
          </c:extLst>
        </c:ser>
        <c:ser>
          <c:idx val="2"/>
          <c:order val="2"/>
          <c:tx>
            <c:strRef>
              <c:f>Sheet1!$B$24</c:f>
              <c:strCache>
                <c:ptCount val="1"/>
                <c:pt idx="0">
                  <c:v>Custom Linep3yQ</c:v>
                </c:pt>
              </c:strCache>
            </c:strRef>
          </c:tx>
          <c:spPr>
            <a:ln w="19050" cap="rnd">
              <a:solidFill>
                <a:srgbClr val="C00000"/>
              </a:solidFill>
              <a:prstDash val="sysDot"/>
              <a:round/>
            </a:ln>
            <a:effectLst/>
          </c:spPr>
          <c:marker>
            <c:symbol val="none"/>
          </c:marker>
          <c:xVal>
            <c:numRef>
              <c:f>Sheet1!$A$25:$A$26</c:f>
              <c:numCache>
                <c:formatCode>General</c:formatCode>
                <c:ptCount val="2"/>
                <c:pt idx="0">
                  <c:v>0</c:v>
                </c:pt>
                <c:pt idx="1">
                  <c:v>-1678.4816919689108</c:v>
                </c:pt>
              </c:numCache>
            </c:numRef>
          </c:xVal>
          <c:yVal>
            <c:numRef>
              <c:f>Sheet1!$B$25:$B$26</c:f>
              <c:numCache>
                <c:formatCode>General</c:formatCode>
                <c:ptCount val="2"/>
                <c:pt idx="0">
                  <c:v>0.2945572436159014</c:v>
                </c:pt>
                <c:pt idx="1">
                  <c:v>0.2945572436159014</c:v>
                </c:pt>
              </c:numCache>
            </c:numRef>
          </c:yVal>
          <c:smooth val="0"/>
          <c:extLst>
            <c:ext xmlns:c16="http://schemas.microsoft.com/office/drawing/2014/chart" uri="{C3380CC4-5D6E-409C-BE32-E72D297353CC}">
              <c16:uniqueId val="{00000003-F32D-48B7-BC20-E66FC6253BAD}"/>
            </c:ext>
          </c:extLst>
        </c:ser>
        <c:ser>
          <c:idx val="3"/>
          <c:order val="3"/>
          <c:tx>
            <c:strRef>
              <c:f>Sheet1!$B$2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9:$A$30</c:f>
              <c:numCache>
                <c:formatCode>General</c:formatCode>
                <c:ptCount val="2"/>
                <c:pt idx="0">
                  <c:v>-1678.4816919689108</c:v>
                </c:pt>
                <c:pt idx="1">
                  <c:v>-1678.4816919689108</c:v>
                </c:pt>
              </c:numCache>
            </c:numRef>
          </c:xVal>
          <c:yVal>
            <c:numRef>
              <c:f>Sheet1!$B$29:$B$30</c:f>
              <c:numCache>
                <c:formatCode>General</c:formatCode>
                <c:ptCount val="2"/>
                <c:pt idx="0">
                  <c:v>0.294557243615901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2</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3:$A$34</c:f>
              <c:numCache>
                <c:formatCode>General</c:formatCode>
                <c:ptCount val="2"/>
                <c:pt idx="0">
                  <c:v>0</c:v>
                </c:pt>
                <c:pt idx="1">
                  <c:v>-958.9998178679597</c:v>
                </c:pt>
              </c:numCache>
            </c:numRef>
          </c:xVal>
          <c:yVal>
            <c:numRef>
              <c:f>Sheet1!$B$33:$B$34</c:f>
              <c:numCache>
                <c:formatCode>General</c:formatCode>
                <c:ptCount val="2"/>
                <c:pt idx="0">
                  <c:v>0.24737076648841355</c:v>
                </c:pt>
                <c:pt idx="1">
                  <c:v>0.24737076648841355</c:v>
                </c:pt>
              </c:numCache>
            </c:numRef>
          </c:yVal>
          <c:smooth val="0"/>
          <c:extLst>
            <c:ext xmlns:c16="http://schemas.microsoft.com/office/drawing/2014/chart" uri="{C3380CC4-5D6E-409C-BE32-E72D297353CC}">
              <c16:uniqueId val="{0000000A-F32D-48B7-BC20-E66FC6253BAD}"/>
            </c:ext>
          </c:extLst>
        </c:ser>
        <c:ser>
          <c:idx val="5"/>
          <c:order val="5"/>
          <c:tx>
            <c:strRef>
              <c:f>Sheet1!$B$36</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7:$A$38</c:f>
              <c:numCache>
                <c:formatCode>General</c:formatCode>
                <c:ptCount val="2"/>
                <c:pt idx="0">
                  <c:v>-958.9998178679597</c:v>
                </c:pt>
                <c:pt idx="1">
                  <c:v>-958.9998178679597</c:v>
                </c:pt>
              </c:numCache>
            </c:numRef>
          </c:xVal>
          <c:yVal>
            <c:numRef>
              <c:f>Sheet1!$B$37:$B$38</c:f>
              <c:numCache>
                <c:formatCode>General</c:formatCode>
                <c:ptCount val="2"/>
                <c:pt idx="0">
                  <c:v>0.2473707664884135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40</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41:$A$42</c:f>
              <c:numCache>
                <c:formatCode>General</c:formatCode>
                <c:ptCount val="2"/>
                <c:pt idx="0">
                  <c:v>0</c:v>
                </c:pt>
                <c:pt idx="1">
                  <c:v>-385.4196110357426</c:v>
                </c:pt>
              </c:numCache>
            </c:numRef>
          </c:xVal>
          <c:yVal>
            <c:numRef>
              <c:f>Sheet1!$B$41:$B$42</c:f>
              <c:numCache>
                <c:formatCode>General</c:formatCode>
                <c:ptCount val="2"/>
                <c:pt idx="0">
                  <c:v>0.209753099824763</c:v>
                </c:pt>
                <c:pt idx="1">
                  <c:v>0.209753099824763</c:v>
                </c:pt>
              </c:numCache>
            </c:numRef>
          </c:yVal>
          <c:smooth val="0"/>
          <c:extLst>
            <c:ext xmlns:c16="http://schemas.microsoft.com/office/drawing/2014/chart" uri="{C3380CC4-5D6E-409C-BE32-E72D297353CC}">
              <c16:uniqueId val="{00000011-F32D-48B7-BC20-E66FC6253BAD}"/>
            </c:ext>
          </c:extLst>
        </c:ser>
        <c:ser>
          <c:idx val="7"/>
          <c:order val="7"/>
          <c:tx>
            <c:strRef>
              <c:f>Sheet1!$B$44</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5:$A$46</c:f>
              <c:numCache>
                <c:formatCode>General</c:formatCode>
                <c:ptCount val="2"/>
                <c:pt idx="0">
                  <c:v>-385.4196110357426</c:v>
                </c:pt>
                <c:pt idx="1">
                  <c:v>-385.4196110357426</c:v>
                </c:pt>
              </c:numCache>
            </c:numRef>
          </c:xVal>
          <c:yVal>
            <c:numRef>
              <c:f>Sheet1!$B$45:$B$46</c:f>
              <c:numCache>
                <c:formatCode>General</c:formatCode>
                <c:ptCount val="2"/>
                <c:pt idx="0">
                  <c:v>0.20975309982476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8</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9:$A$60</c:f>
              <c:numCache>
                <c:formatCode>General</c:formatCode>
                <c:ptCount val="12"/>
                <c:pt idx="0">
                  <c:v>737.4167</c:v>
                </c:pt>
                <c:pt idx="1">
                  <c:v>643.8621</c:v>
                </c:pt>
                <c:pt idx="2">
                  <c:v>1090.0</c:v>
                </c:pt>
                <c:pt idx="3">
                  <c:v>1452.0</c:v>
                </c:pt>
                <c:pt idx="4">
                  <c:v>792.7333</c:v>
                </c:pt>
                <c:pt idx="5">
                  <c:v>817.9655</c:v>
                </c:pt>
                <c:pt idx="6">
                  <c:v>1009.2885</c:v>
                </c:pt>
                <c:pt idx="7">
                  <c:v>1009.2885</c:v>
                </c:pt>
                <c:pt idx="8">
                  <c:v>996.6792</c:v>
                </c:pt>
                <c:pt idx="9">
                  <c:v>-958.9998178679597</c:v>
                </c:pt>
                <c:pt idx="10">
                  <c:v>-1678.4816919689108</c:v>
                </c:pt>
                <c:pt idx="11">
                  <c:v>-385.4196110357426</c:v>
                </c:pt>
              </c:numCache>
            </c:numRef>
          </c:xVal>
          <c:yVal>
            <c:numRef>
              <c:f>Sheet1!$B$49:$B$60</c:f>
              <c:numCache>
                <c:formatCode>General</c:formatCode>
                <c:ptCount val="12"/>
                <c:pt idx="0">
                  <c:v>0.13611303769698957</c:v>
                </c:pt>
                <c:pt idx="1">
                  <c:v>0.14224871970925368</c:v>
                </c:pt>
                <c:pt idx="2">
                  <c:v>0.1129892253816708</c:v>
                </c:pt>
                <c:pt idx="3">
                  <c:v>0.08924782850284702</c:v>
                </c:pt>
                <c:pt idx="4">
                  <c:v>0.13248515550199746</c:v>
                </c:pt>
                <c:pt idx="5">
                  <c:v>0.13083032767236802</c:v>
                </c:pt>
                <c:pt idx="6">
                  <c:v>0.11828260591809397</c:v>
                </c:pt>
                <c:pt idx="7">
                  <c:v>0.11828260591809397</c:v>
                </c:pt>
                <c:pt idx="8">
                  <c:v>0.11910957386191759</c:v>
                </c:pt>
                <c:pt idx="9">
                  <c:v>0.24737076648841355</c:v>
                </c:pt>
                <c:pt idx="10">
                  <c:v>0.2945572436159014</c:v>
                </c:pt>
                <c:pt idx="11">
                  <c:v>0.20975309982476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20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340909090909091"/>
          <c:min val="0.0056112224448897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6</c:f>
              <c:numCache>
                <c:formatCode>General</c:formatCode>
                <c:ptCount val="15"/>
                <c:pt idx="0">
                  <c:v>0.9811706454465075</c:v>
                </c:pt>
                <c:pt idx="1">
                  <c:v>1.4603852599839036</c:v>
                </c:pt>
                <c:pt idx="2">
                  <c:v>1.1380148586506833</c:v>
                </c:pt>
                <c:pt idx="3">
                  <c:v>0.9815501160754286</c:v>
                </c:pt>
                <c:pt idx="4">
                  <c:v>1.1812264064463256</c:v>
                </c:pt>
                <c:pt idx="5">
                  <c:v>1.3953966288760256</c:v>
                </c:pt>
                <c:pt idx="6">
                  <c:v>1.3252377673546183</c:v>
                </c:pt>
                <c:pt idx="7">
                  <c:v>1.0889962324520328</c:v>
                </c:pt>
                <c:pt idx="8">
                  <c:v>1.3746348110499491</c:v>
                </c:pt>
                <c:pt idx="9">
                  <c:v>1.515844200658036</c:v>
                </c:pt>
                <c:pt idx="10">
                  <c:v>0.9267599672493635</c:v>
                </c:pt>
                <c:pt idx="11">
                  <c:v>1.7310829372766343</c:v>
                </c:pt>
                <c:pt idx="12">
                  <c:v>2.459308097233864</c:v>
                </c:pt>
                <c:pt idx="13">
                  <c:v>1.9047123234796424</c:v>
                </c:pt>
                <c:pt idx="14">
                  <c:v>1.7998057749795586</c:v>
                </c:pt>
              </c:numCache>
            </c:numRef>
          </c:xVal>
          <c:yVal>
            <c:numRef>
              <c:f>Sheet1!$B$2:$B$16</c:f>
              <c:numCache>
                <c:formatCode>General</c:formatCode>
                <c:ptCount val="15"/>
                <c:pt idx="0">
                  <c:v>0.2846865364850976</c:v>
                </c:pt>
                <c:pt idx="1">
                  <c:v>0.03482587064676617</c:v>
                </c:pt>
                <c:pt idx="2">
                  <c:v>0.10408921933085502</c:v>
                </c:pt>
                <c:pt idx="3">
                  <c:v>0.0070140280561122245</c:v>
                </c:pt>
                <c:pt idx="4">
                  <c:v>0.011666666666666667</c:v>
                </c:pt>
                <c:pt idx="5">
                  <c:v>0.030878859857482184</c:v>
                </c:pt>
                <c:pt idx="6">
                  <c:v>0.031088082901554404</c:v>
                </c:pt>
                <c:pt idx="7">
                  <c:v>0.06467661691542288</c:v>
                </c:pt>
                <c:pt idx="8">
                  <c:v>0.011583011583011582</c:v>
                </c:pt>
                <c:pt idx="9">
                  <c:v>0.017595307917888565</c:v>
                </c:pt>
                <c:pt idx="10">
                  <c:v>0.23255813953488372</c:v>
                </c:pt>
                <c:pt idx="11">
                  <c:v>0.012295081967213115</c:v>
                </c:pt>
                <c:pt idx="12">
                  <c:v>0.38492063492063494</c:v>
                </c:pt>
                <c:pt idx="13">
                  <c:v>0.2526041666666667</c:v>
                </c:pt>
                <c:pt idx="14">
                  <c:v>0.5284090909090909</c:v>
                </c:pt>
              </c:numCache>
            </c:numRef>
          </c:yVal>
          <c:smooth val="0"/>
          <c:extLst>
            <c:ext xmlns:c16="http://schemas.microsoft.com/office/drawing/2014/chart" uri="{C3380CC4-5D6E-409C-BE32-E72D297353CC}">
              <c16:uniqueId val="{00000000-096C-4121-9522-6AB7243CCAAE}"/>
            </c:ext>
          </c:extLst>
        </c:ser>
        <c:ser>
          <c:idx val="1"/>
          <c:order val="1"/>
          <c:tx>
            <c:strRef>
              <c:f>Sheet1!$B$1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9:$A$31</c:f>
              <c:numCache>
                <c:formatCode>General</c:formatCode>
                <c:ptCount val="13"/>
                <c:pt idx="0">
                  <c:v>0.6675701079847598</c:v>
                </c:pt>
                <c:pt idx="1">
                  <c:v>0.6903391856756106</c:v>
                </c:pt>
                <c:pt idx="2">
                  <c:v>1.8973020017406441</c:v>
                </c:pt>
                <c:pt idx="3">
                  <c:v>1.4866609043198558</c:v>
                </c:pt>
                <c:pt idx="4">
                  <c:v>0.8483234250494344</c:v>
                </c:pt>
                <c:pt idx="5">
                  <c:v>0.8215693963138705</c:v>
                </c:pt>
                <c:pt idx="6">
                  <c:v>2.4056197290273116</c:v>
                </c:pt>
                <c:pt idx="7">
                  <c:v>1.0854645637424671</c:v>
                </c:pt>
                <c:pt idx="8">
                  <c:v>1.0021511793010183</c:v>
                </c:pt>
                <c:pt idx="9">
                  <c:v>0.8505050561834598</c:v>
                </c:pt>
                <c:pt idx="10">
                  <c:v>0.8908368621955085</c:v>
                </c:pt>
                <c:pt idx="11">
                  <c:v>0.779467550066018</c:v>
                </c:pt>
                <c:pt idx="12">
                  <c:v>0.8030611554266377</c:v>
                </c:pt>
              </c:numCache>
            </c:numRef>
          </c:xVal>
          <c:yVal>
            <c:numRef>
              <c:f>Sheet1!$B$19:$B$31</c:f>
              <c:numCache>
                <c:formatCode>General</c:formatCode>
                <c:ptCount val="13"/>
                <c:pt idx="0">
                  <c:v>0.06315789473684211</c:v>
                </c:pt>
                <c:pt idx="1">
                  <c:v>0.15675675675675677</c:v>
                </c:pt>
                <c:pt idx="2">
                  <c:v>0.0539906103286385</c:v>
                </c:pt>
                <c:pt idx="3">
                  <c:v>0.023529411764705882</c:v>
                </c:pt>
                <c:pt idx="4">
                  <c:v>0.04457652303120357</c:v>
                </c:pt>
                <c:pt idx="5">
                  <c:v>0.12831858407079647</c:v>
                </c:pt>
                <c:pt idx="6">
                  <c:v>0.7415730337078652</c:v>
                </c:pt>
                <c:pt idx="7">
                  <c:v>0.052434456928838954</c:v>
                </c:pt>
                <c:pt idx="8">
                  <c:v>0.21666666666666667</c:v>
                </c:pt>
                <c:pt idx="9">
                  <c:v>0.09937888198757763</c:v>
                </c:pt>
                <c:pt idx="10">
                  <c:v>0.27807486631016043</c:v>
                </c:pt>
                <c:pt idx="11">
                  <c:v>0.3581081081081081</c:v>
                </c:pt>
                <c:pt idx="12">
                  <c:v>0.13451776649746192</c:v>
                </c:pt>
              </c:numCache>
            </c:numRef>
          </c:yVal>
          <c:smooth val="0"/>
          <c:extLst>
            <c:ext xmlns:c16="http://schemas.microsoft.com/office/drawing/2014/chart" uri="{C3380CC4-5D6E-409C-BE32-E72D297353CC}">
              <c16:uniqueId val="{00000002-096C-4121-9522-6AB7243CCAAE}"/>
            </c:ext>
          </c:extLst>
        </c:ser>
        <c:ser>
          <c:idx val="2"/>
          <c:order val="2"/>
          <c:tx>
            <c:strRef>
              <c:f>Sheet1!$B$3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34:$A$35</c:f>
              <c:numCache>
                <c:formatCode>General</c:formatCode>
                <c:ptCount val="2"/>
                <c:pt idx="0">
                  <c:v>0</c:v>
                </c:pt>
                <c:pt idx="1">
                  <c:v>1.6838818761566288</c:v>
                </c:pt>
              </c:numCache>
            </c:numRef>
          </c:xVal>
          <c:yVal>
            <c:numRef>
              <c:f>Sheet1!$B$34:$B$35</c:f>
              <c:numCache>
                <c:formatCode>General</c:formatCode>
                <c:ptCount val="2"/>
                <c:pt idx="0">
                  <c:v>0.2945572436159014</c:v>
                </c:pt>
                <c:pt idx="1">
                  <c:v>0.2945572436159014</c:v>
                </c:pt>
              </c:numCache>
            </c:numRef>
          </c:yVal>
          <c:smooth val="0"/>
          <c:extLst>
            <c:ext xmlns:c16="http://schemas.microsoft.com/office/drawing/2014/chart" uri="{C3380CC4-5D6E-409C-BE32-E72D297353CC}">
              <c16:uniqueId val="{00000005-096C-4121-9522-6AB7243CCAAE}"/>
            </c:ext>
          </c:extLst>
        </c:ser>
        <c:ser>
          <c:idx val="3"/>
          <c:order val="3"/>
          <c:tx>
            <c:strRef>
              <c:f>Sheet1!$B$3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8:$A$39</c:f>
              <c:numCache>
                <c:formatCode>General</c:formatCode>
                <c:ptCount val="2"/>
                <c:pt idx="0">
                  <c:v>1.6838818761566288</c:v>
                </c:pt>
                <c:pt idx="1">
                  <c:v>1.6838818761566288</c:v>
                </c:pt>
              </c:numCache>
            </c:numRef>
          </c:xVal>
          <c:yVal>
            <c:numRef>
              <c:f>Sheet1!$B$38:$B$39</c:f>
              <c:numCache>
                <c:formatCode>General</c:formatCode>
                <c:ptCount val="2"/>
                <c:pt idx="0">
                  <c:v>0.294557243615901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4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42:$A$43</c:f>
              <c:numCache>
                <c:formatCode>General</c:formatCode>
                <c:ptCount val="2"/>
                <c:pt idx="0">
                  <c:v>0</c:v>
                </c:pt>
                <c:pt idx="1">
                  <c:v>1.5961217836866648</c:v>
                </c:pt>
              </c:numCache>
            </c:numRef>
          </c:xVal>
          <c:yVal>
            <c:numRef>
              <c:f>Sheet1!$B$42:$B$43</c:f>
              <c:numCache>
                <c:formatCode>General</c:formatCode>
                <c:ptCount val="2"/>
                <c:pt idx="0">
                  <c:v>0.2776255811202218</c:v>
                </c:pt>
                <c:pt idx="1">
                  <c:v>0.2776255811202218</c:v>
                </c:pt>
              </c:numCache>
            </c:numRef>
          </c:yVal>
          <c:smooth val="0"/>
          <c:extLst>
            <c:ext xmlns:c16="http://schemas.microsoft.com/office/drawing/2014/chart" uri="{C3380CC4-5D6E-409C-BE32-E72D297353CC}">
              <c16:uniqueId val="{0000000D-096C-4121-9522-6AB7243CCAAE}"/>
            </c:ext>
          </c:extLst>
        </c:ser>
        <c:ser>
          <c:idx val="5"/>
          <c:order val="5"/>
          <c:tx>
            <c:strRef>
              <c:f>Sheet1!$B$4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6:$A$47</c:f>
              <c:numCache>
                <c:formatCode>General</c:formatCode>
                <c:ptCount val="2"/>
                <c:pt idx="0">
                  <c:v>1.5961217836866648</c:v>
                </c:pt>
                <c:pt idx="1">
                  <c:v>1.5961217836866648</c:v>
                </c:pt>
              </c:numCache>
            </c:numRef>
          </c:xVal>
          <c:yVal>
            <c:numRef>
              <c:f>Sheet1!$B$46:$B$47</c:f>
              <c:numCache>
                <c:formatCode>General</c:formatCode>
                <c:ptCount val="2"/>
                <c:pt idx="0">
                  <c:v>0.27762558112022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49</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50:$A$51</c:f>
              <c:numCache>
                <c:formatCode>General</c:formatCode>
                <c:ptCount val="2"/>
                <c:pt idx="0">
                  <c:v>0</c:v>
                </c:pt>
                <c:pt idx="1">
                  <c:v>1.28369790329821</c:v>
                </c:pt>
              </c:numCache>
            </c:numRef>
          </c:xVal>
          <c:yVal>
            <c:numRef>
              <c:f>Sheet1!$B$50:$B$51</c:f>
              <c:numCache>
                <c:formatCode>General</c:formatCode>
                <c:ptCount val="2"/>
                <c:pt idx="0">
                  <c:v>0.21734925791399493</c:v>
                </c:pt>
                <c:pt idx="1">
                  <c:v>0.21734925791399493</c:v>
                </c:pt>
              </c:numCache>
            </c:numRef>
          </c:yVal>
          <c:smooth val="0"/>
          <c:extLst>
            <c:ext xmlns:c16="http://schemas.microsoft.com/office/drawing/2014/chart" uri="{C3380CC4-5D6E-409C-BE32-E72D297353CC}">
              <c16:uniqueId val="{00000015-096C-4121-9522-6AB7243CCAAE}"/>
            </c:ext>
          </c:extLst>
        </c:ser>
        <c:ser>
          <c:idx val="7"/>
          <c:order val="7"/>
          <c:tx>
            <c:strRef>
              <c:f>Sheet1!$B$53</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4:$A$55</c:f>
              <c:numCache>
                <c:formatCode>General</c:formatCode>
                <c:ptCount val="2"/>
                <c:pt idx="0">
                  <c:v>1.28369790329821</c:v>
                </c:pt>
                <c:pt idx="1">
                  <c:v>1.28369790329821</c:v>
                </c:pt>
              </c:numCache>
            </c:numRef>
          </c:xVal>
          <c:yVal>
            <c:numRef>
              <c:f>Sheet1!$B$54:$B$55</c:f>
              <c:numCache>
                <c:formatCode>General</c:formatCode>
                <c:ptCount val="2"/>
                <c:pt idx="0">
                  <c:v>0.2173492579139949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57</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58:$A$73</c:f>
              <c:numCache>
                <c:formatCode>General</c:formatCode>
                <c:ptCount val="16"/>
                <c:pt idx="0">
                  <c:v>0.6675701079847598</c:v>
                </c:pt>
                <c:pt idx="1">
                  <c:v>0.6903391856756106</c:v>
                </c:pt>
                <c:pt idx="2">
                  <c:v>1.8973020017406441</c:v>
                </c:pt>
                <c:pt idx="3">
                  <c:v>1.4866609043198558</c:v>
                </c:pt>
                <c:pt idx="4">
                  <c:v>0.8483234250494344</c:v>
                </c:pt>
                <c:pt idx="5">
                  <c:v>0.8215693963138705</c:v>
                </c:pt>
                <c:pt idx="6">
                  <c:v>2.4056197290273116</c:v>
                </c:pt>
                <c:pt idx="7">
                  <c:v>1.0854645637424671</c:v>
                </c:pt>
                <c:pt idx="8">
                  <c:v>1.0021511793010183</c:v>
                </c:pt>
                <c:pt idx="9">
                  <c:v>0.8505050561834598</c:v>
                </c:pt>
                <c:pt idx="10">
                  <c:v>0.8908368621955085</c:v>
                </c:pt>
                <c:pt idx="11">
                  <c:v>0.779467550066018</c:v>
                </c:pt>
                <c:pt idx="12">
                  <c:v>0.8030611554266377</c:v>
                </c:pt>
                <c:pt idx="13">
                  <c:v>1.5961217836866648</c:v>
                </c:pt>
                <c:pt idx="14">
                  <c:v>1.6838818761566288</c:v>
                </c:pt>
                <c:pt idx="15">
                  <c:v>1.28369790329821</c:v>
                </c:pt>
              </c:numCache>
            </c:numRef>
          </c:xVal>
          <c:yVal>
            <c:numRef>
              <c:f>Sheet1!$B$58:$B$73</c:f>
              <c:numCache>
                <c:formatCode>General</c:formatCode>
                <c:ptCount val="16"/>
                <c:pt idx="0">
                  <c:v>0.09847896515507464</c:v>
                </c:pt>
                <c:pt idx="1">
                  <c:v>0.10287183129672482</c:v>
                </c:pt>
                <c:pt idx="2">
                  <c:v>0.3357326507340156</c:v>
                </c:pt>
                <c:pt idx="3">
                  <c:v>0.2565071591386881</c:v>
                </c:pt>
                <c:pt idx="4">
                  <c:v>0.13335192475867905</c:v>
                </c:pt>
                <c:pt idx="5">
                  <c:v>0.1281902371145449</c:v>
                </c:pt>
                <c:pt idx="6">
                  <c:v>0.43380301457204856</c:v>
                </c:pt>
                <c:pt idx="7">
                  <c:v>0.17910385608858045</c:v>
                </c:pt>
                <c:pt idx="8">
                  <c:v>0.16303010243776006</c:v>
                </c:pt>
                <c:pt idx="9">
                  <c:v>0.1337728295345489</c:v>
                </c:pt>
                <c:pt idx="10">
                  <c:v>0.14155409443545985</c:v>
                </c:pt>
                <c:pt idx="11">
                  <c:v>0.12006747617559525</c:v>
                </c:pt>
                <c:pt idx="12">
                  <c:v>0.12461941945390247</c:v>
                </c:pt>
                <c:pt idx="13">
                  <c:v>0.2776255811202218</c:v>
                </c:pt>
                <c:pt idx="14">
                  <c:v>0.2945572436159014</c:v>
                </c:pt>
                <c:pt idx="15">
                  <c:v>0.2173492579139949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898876404494382"/>
          <c:min val="0.0056112224448897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6</c:f>
              <c:numCache>
                <c:formatCode>General</c:formatCode>
                <c:ptCount val="15"/>
                <c:pt idx="0">
                  <c:v>1109.704</c:v>
                </c:pt>
                <c:pt idx="1">
                  <c:v>1284.1429</c:v>
                </c:pt>
                <c:pt idx="2">
                  <c:v>1133.6607</c:v>
                </c:pt>
                <c:pt idx="3">
                  <c:v>1205.0</c:v>
                </c:pt>
                <c:pt idx="4">
                  <c:v>1028.2857</c:v>
                </c:pt>
                <c:pt idx="5">
                  <c:v>1291.6154</c:v>
                </c:pt>
                <c:pt idx="6">
                  <c:v>1375.75</c:v>
                </c:pt>
                <c:pt idx="7">
                  <c:v>1145.2308</c:v>
                </c:pt>
                <c:pt idx="8">
                  <c:v>1235.1667</c:v>
                </c:pt>
                <c:pt idx="9">
                  <c:v>1472.5</c:v>
                </c:pt>
                <c:pt idx="10">
                  <c:v>1062.4</c:v>
                </c:pt>
                <c:pt idx="11">
                  <c:v>1478.1667</c:v>
                </c:pt>
                <c:pt idx="12">
                  <c:v>1833.7216</c:v>
                </c:pt>
                <c:pt idx="13">
                  <c:v>1833.7216</c:v>
                </c:pt>
                <c:pt idx="14">
                  <c:v>1830.7097</c:v>
                </c:pt>
              </c:numCache>
            </c:numRef>
          </c:xVal>
          <c:yVal>
            <c:numRef>
              <c:f>Sheet1!$B$2:$B$16</c:f>
              <c:numCache>
                <c:formatCode>General</c:formatCode>
                <c:ptCount val="15"/>
                <c:pt idx="0">
                  <c:v>0.2846865364850976</c:v>
                </c:pt>
                <c:pt idx="1">
                  <c:v>0.03482587064676617</c:v>
                </c:pt>
                <c:pt idx="2">
                  <c:v>0.10408921933085502</c:v>
                </c:pt>
                <c:pt idx="3">
                  <c:v>0.0070140280561122245</c:v>
                </c:pt>
                <c:pt idx="4">
                  <c:v>0.011666666666666667</c:v>
                </c:pt>
                <c:pt idx="5">
                  <c:v>0.030878859857482184</c:v>
                </c:pt>
                <c:pt idx="6">
                  <c:v>0.031088082901554404</c:v>
                </c:pt>
                <c:pt idx="7">
                  <c:v>0.06467661691542288</c:v>
                </c:pt>
                <c:pt idx="8">
                  <c:v>0.011583011583011582</c:v>
                </c:pt>
                <c:pt idx="9">
                  <c:v>0.017595307917888565</c:v>
                </c:pt>
                <c:pt idx="10">
                  <c:v>0.23255813953488372</c:v>
                </c:pt>
                <c:pt idx="11">
                  <c:v>0.012295081967213115</c:v>
                </c:pt>
                <c:pt idx="12">
                  <c:v>0.38492063492063494</c:v>
                </c:pt>
                <c:pt idx="13">
                  <c:v>0.2526041666666667</c:v>
                </c:pt>
                <c:pt idx="14">
                  <c:v>0.5284090909090909</c:v>
                </c:pt>
              </c:numCache>
            </c:numRef>
          </c:yVal>
          <c:smooth val="0"/>
          <c:extLst>
            <c:ext xmlns:c16="http://schemas.microsoft.com/office/drawing/2014/chart" uri="{C3380CC4-5D6E-409C-BE32-E72D297353CC}">
              <c16:uniqueId val="{00000000-F32D-48B7-BC20-E66FC6253BAD}"/>
            </c:ext>
          </c:extLst>
        </c:ser>
        <c:ser>
          <c:idx val="1"/>
          <c:order val="1"/>
          <c:tx>
            <c:strRef>
              <c:f>Sheet1!$B$1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9:$A$31</c:f>
              <c:numCache>
                <c:formatCode>General</c:formatCode>
                <c:ptCount val="13"/>
                <c:pt idx="0">
                  <c:v>737.4167</c:v>
                </c:pt>
                <c:pt idx="1">
                  <c:v>643.8621</c:v>
                </c:pt>
                <c:pt idx="2">
                  <c:v>1090.0</c:v>
                </c:pt>
                <c:pt idx="3">
                  <c:v>1452.0</c:v>
                </c:pt>
                <c:pt idx="4">
                  <c:v>792.7333</c:v>
                </c:pt>
                <c:pt idx="5">
                  <c:v>817.9655</c:v>
                </c:pt>
                <c:pt idx="6">
                  <c:v>1080.5606</c:v>
                </c:pt>
                <c:pt idx="7">
                  <c:v>1166.7143</c:v>
                </c:pt>
                <c:pt idx="8">
                  <c:v>1009.2885</c:v>
                </c:pt>
                <c:pt idx="9">
                  <c:v>907.75</c:v>
                </c:pt>
                <c:pt idx="10">
                  <c:v>1009.2885</c:v>
                </c:pt>
                <c:pt idx="11">
                  <c:v>996.6792</c:v>
                </c:pt>
                <c:pt idx="12">
                  <c:v>996.6792</c:v>
                </c:pt>
              </c:numCache>
            </c:numRef>
          </c:xVal>
          <c:yVal>
            <c:numRef>
              <c:f>Sheet1!$B$19:$B$31</c:f>
              <c:numCache>
                <c:formatCode>General</c:formatCode>
                <c:ptCount val="13"/>
                <c:pt idx="0">
                  <c:v>0.06315789473684211</c:v>
                </c:pt>
                <c:pt idx="1">
                  <c:v>0.15675675675675677</c:v>
                </c:pt>
                <c:pt idx="2">
                  <c:v>0.0539906103286385</c:v>
                </c:pt>
                <c:pt idx="3">
                  <c:v>0.023529411764705882</c:v>
                </c:pt>
                <c:pt idx="4">
                  <c:v>0.04457652303120357</c:v>
                </c:pt>
                <c:pt idx="5">
                  <c:v>0.12831858407079647</c:v>
                </c:pt>
                <c:pt idx="6">
                  <c:v>0.7415730337078652</c:v>
                </c:pt>
                <c:pt idx="7">
                  <c:v>0.052434456928838954</c:v>
                </c:pt>
                <c:pt idx="8">
                  <c:v>0.21666666666666667</c:v>
                </c:pt>
                <c:pt idx="9">
                  <c:v>0.09937888198757763</c:v>
                </c:pt>
                <c:pt idx="10">
                  <c:v>0.27807486631016043</c:v>
                </c:pt>
                <c:pt idx="11">
                  <c:v>0.3581081081081081</c:v>
                </c:pt>
                <c:pt idx="12">
                  <c:v>0.13451776649746192</c:v>
                </c:pt>
              </c:numCache>
            </c:numRef>
          </c:yVal>
          <c:smooth val="0"/>
          <c:extLst>
            <c:ext xmlns:c16="http://schemas.microsoft.com/office/drawing/2014/chart" uri="{C3380CC4-5D6E-409C-BE32-E72D297353CC}">
              <c16:uniqueId val="{00000002-F32D-48B7-BC20-E66FC6253BAD}"/>
            </c:ext>
          </c:extLst>
        </c:ser>
        <c:ser>
          <c:idx val="2"/>
          <c:order val="2"/>
          <c:tx>
            <c:strRef>
              <c:f>Sheet1!$B$33</c:f>
              <c:strCache>
                <c:ptCount val="1"/>
                <c:pt idx="0">
                  <c:v>Custom Linep3yQ</c:v>
                </c:pt>
              </c:strCache>
            </c:strRef>
          </c:tx>
          <c:spPr>
            <a:ln w="19050" cap="rnd">
              <a:solidFill>
                <a:srgbClr val="C00000"/>
              </a:solidFill>
              <a:prstDash val="sysDot"/>
              <a:round/>
            </a:ln>
            <a:effectLst/>
          </c:spPr>
          <c:marker>
            <c:symbol val="none"/>
          </c:marker>
          <c:xVal>
            <c:numRef>
              <c:f>Sheet1!$A$34:$A$35</c:f>
              <c:numCache>
                <c:formatCode>General</c:formatCode>
                <c:ptCount val="2"/>
                <c:pt idx="0">
                  <c:v>0</c:v>
                </c:pt>
                <c:pt idx="1">
                  <c:v>3181.033258438225</c:v>
                </c:pt>
              </c:numCache>
            </c:numRef>
          </c:xVal>
          <c:yVal>
            <c:numRef>
              <c:f>Sheet1!$B$34:$B$35</c:f>
              <c:numCache>
                <c:formatCode>General</c:formatCode>
                <c:ptCount val="2"/>
                <c:pt idx="0">
                  <c:v>0.2945572436159014</c:v>
                </c:pt>
                <c:pt idx="1">
                  <c:v>0.2945572436159014</c:v>
                </c:pt>
              </c:numCache>
            </c:numRef>
          </c:yVal>
          <c:smooth val="0"/>
          <c:extLst>
            <c:ext xmlns:c16="http://schemas.microsoft.com/office/drawing/2014/chart" uri="{C3380CC4-5D6E-409C-BE32-E72D297353CC}">
              <c16:uniqueId val="{00000003-F32D-48B7-BC20-E66FC6253BAD}"/>
            </c:ext>
          </c:extLst>
        </c:ser>
        <c:ser>
          <c:idx val="3"/>
          <c:order val="3"/>
          <c:tx>
            <c:strRef>
              <c:f>Sheet1!$B$3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8:$A$39</c:f>
              <c:numCache>
                <c:formatCode>General</c:formatCode>
                <c:ptCount val="2"/>
                <c:pt idx="0">
                  <c:v>3181.033258438225</c:v>
                </c:pt>
                <c:pt idx="1">
                  <c:v>3181.033258438225</c:v>
                </c:pt>
              </c:numCache>
            </c:numRef>
          </c:xVal>
          <c:yVal>
            <c:numRef>
              <c:f>Sheet1!$B$38:$B$39</c:f>
              <c:numCache>
                <c:formatCode>General</c:formatCode>
                <c:ptCount val="2"/>
                <c:pt idx="0">
                  <c:v>0.294557243615901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4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42:$A$43</c:f>
              <c:numCache>
                <c:formatCode>General</c:formatCode>
                <c:ptCount val="2"/>
                <c:pt idx="0">
                  <c:v>0</c:v>
                </c:pt>
                <c:pt idx="1">
                  <c:v>2852.831868247438</c:v>
                </c:pt>
              </c:numCache>
            </c:numRef>
          </c:xVal>
          <c:yVal>
            <c:numRef>
              <c:f>Sheet1!$B$42:$B$43</c:f>
              <c:numCache>
                <c:formatCode>General</c:formatCode>
                <c:ptCount val="2"/>
                <c:pt idx="0">
                  <c:v>0.2776255811202218</c:v>
                </c:pt>
                <c:pt idx="1">
                  <c:v>0.2776255811202218</c:v>
                </c:pt>
              </c:numCache>
            </c:numRef>
          </c:yVal>
          <c:smooth val="0"/>
          <c:extLst>
            <c:ext xmlns:c16="http://schemas.microsoft.com/office/drawing/2014/chart" uri="{C3380CC4-5D6E-409C-BE32-E72D297353CC}">
              <c16:uniqueId val="{0000000A-F32D-48B7-BC20-E66FC6253BAD}"/>
            </c:ext>
          </c:extLst>
        </c:ser>
        <c:ser>
          <c:idx val="5"/>
          <c:order val="5"/>
          <c:tx>
            <c:strRef>
              <c:f>Sheet1!$B$4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6:$A$47</c:f>
              <c:numCache>
                <c:formatCode>General</c:formatCode>
                <c:ptCount val="2"/>
                <c:pt idx="0">
                  <c:v>2852.831868247438</c:v>
                </c:pt>
                <c:pt idx="1">
                  <c:v>2852.831868247438</c:v>
                </c:pt>
              </c:numCache>
            </c:numRef>
          </c:xVal>
          <c:yVal>
            <c:numRef>
              <c:f>Sheet1!$B$46:$B$47</c:f>
              <c:numCache>
                <c:formatCode>General</c:formatCode>
                <c:ptCount val="2"/>
                <c:pt idx="0">
                  <c:v>0.27762558112022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49</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50:$A$51</c:f>
              <c:numCache>
                <c:formatCode>General</c:formatCode>
                <c:ptCount val="2"/>
                <c:pt idx="0">
                  <c:v>0</c:v>
                </c:pt>
                <c:pt idx="1">
                  <c:v>1684.4425811989422</c:v>
                </c:pt>
              </c:numCache>
            </c:numRef>
          </c:xVal>
          <c:yVal>
            <c:numRef>
              <c:f>Sheet1!$B$50:$B$51</c:f>
              <c:numCache>
                <c:formatCode>General</c:formatCode>
                <c:ptCount val="2"/>
                <c:pt idx="0">
                  <c:v>0.21734925791399493</c:v>
                </c:pt>
                <c:pt idx="1">
                  <c:v>0.21734925791399493</c:v>
                </c:pt>
              </c:numCache>
            </c:numRef>
          </c:yVal>
          <c:smooth val="0"/>
          <c:extLst>
            <c:ext xmlns:c16="http://schemas.microsoft.com/office/drawing/2014/chart" uri="{C3380CC4-5D6E-409C-BE32-E72D297353CC}">
              <c16:uniqueId val="{00000011-F32D-48B7-BC20-E66FC6253BAD}"/>
            </c:ext>
          </c:extLst>
        </c:ser>
        <c:ser>
          <c:idx val="7"/>
          <c:order val="7"/>
          <c:tx>
            <c:strRef>
              <c:f>Sheet1!$B$53</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4:$A$55</c:f>
              <c:numCache>
                <c:formatCode>General</c:formatCode>
                <c:ptCount val="2"/>
                <c:pt idx="0">
                  <c:v>1684.4425811989422</c:v>
                </c:pt>
                <c:pt idx="1">
                  <c:v>1684.4425811989422</c:v>
                </c:pt>
              </c:numCache>
            </c:numRef>
          </c:xVal>
          <c:yVal>
            <c:numRef>
              <c:f>Sheet1!$B$54:$B$55</c:f>
              <c:numCache>
                <c:formatCode>General</c:formatCode>
                <c:ptCount val="2"/>
                <c:pt idx="0">
                  <c:v>0.2173492579139949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57</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58:$A$73</c:f>
              <c:numCache>
                <c:formatCode>General</c:formatCode>
                <c:ptCount val="16"/>
                <c:pt idx="0">
                  <c:v>737.4167</c:v>
                </c:pt>
                <c:pt idx="1">
                  <c:v>643.8621</c:v>
                </c:pt>
                <c:pt idx="2">
                  <c:v>1090.0</c:v>
                </c:pt>
                <c:pt idx="3">
                  <c:v>1452.0</c:v>
                </c:pt>
                <c:pt idx="4">
                  <c:v>792.7333</c:v>
                </c:pt>
                <c:pt idx="5">
                  <c:v>817.9655</c:v>
                </c:pt>
                <c:pt idx="6">
                  <c:v>1080.5606</c:v>
                </c:pt>
                <c:pt idx="7">
                  <c:v>1166.7143</c:v>
                </c:pt>
                <c:pt idx="8">
                  <c:v>1009.2885</c:v>
                </c:pt>
                <c:pt idx="9">
                  <c:v>907.75</c:v>
                </c:pt>
                <c:pt idx="10">
                  <c:v>1009.2885</c:v>
                </c:pt>
                <c:pt idx="11">
                  <c:v>996.6792</c:v>
                </c:pt>
                <c:pt idx="12">
                  <c:v>996.6792</c:v>
                </c:pt>
                <c:pt idx="13">
                  <c:v>2852.831868247438</c:v>
                </c:pt>
                <c:pt idx="14">
                  <c:v>3181.033258438225</c:v>
                </c:pt>
                <c:pt idx="15">
                  <c:v>1684.4425811989422</c:v>
                </c:pt>
              </c:numCache>
            </c:numRef>
          </c:xVal>
          <c:yVal>
            <c:numRef>
              <c:f>Sheet1!$B$58:$B$73</c:f>
              <c:numCache>
                <c:formatCode>General</c:formatCode>
                <c:ptCount val="16"/>
                <c:pt idx="0">
                  <c:v>0.16849290606913253</c:v>
                </c:pt>
                <c:pt idx="1">
                  <c:v>0.16366649472700662</c:v>
                </c:pt>
                <c:pt idx="2">
                  <c:v>0.18668241292570809</c:v>
                </c:pt>
                <c:pt idx="3">
                  <c:v>0.20535772024196597</c:v>
                </c:pt>
                <c:pt idx="4">
                  <c:v>0.1713466477947969</c:v>
                </c:pt>
                <c:pt idx="5">
                  <c:v>0.17264835798613748</c:v>
                </c:pt>
                <c:pt idx="6">
                  <c:v>0.18619544139012498</c:v>
                </c:pt>
                <c:pt idx="7">
                  <c:v>0.19064004587612687</c:v>
                </c:pt>
                <c:pt idx="8">
                  <c:v>0.18251856743826017</c:v>
                </c:pt>
                <c:pt idx="9">
                  <c:v>0.17728027270916663</c:v>
                </c:pt>
                <c:pt idx="10">
                  <c:v>0.18251856743826017</c:v>
                </c:pt>
                <c:pt idx="11">
                  <c:v>0.18186806314946763</c:v>
                </c:pt>
                <c:pt idx="12">
                  <c:v>0.18186806314946763</c:v>
                </c:pt>
                <c:pt idx="13">
                  <c:v>0.2776255811202218</c:v>
                </c:pt>
                <c:pt idx="14">
                  <c:v>0.2945572436159014</c:v>
                </c:pt>
                <c:pt idx="15">
                  <c:v>0.217349257913994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817.0"/>
          <c:min val="51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898876404494382"/>
          <c:min val="0.0056112224448897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c:f>
              <c:numCache>
                <c:formatCode>General</c:formatCode>
                <c:ptCount val="9"/>
                <c:pt idx="0">
                  <c:v>2.82099443047407</c:v>
                </c:pt>
                <c:pt idx="1">
                  <c:v>1.7416574756751748</c:v>
                </c:pt>
                <c:pt idx="2">
                  <c:v>1.547842461750308</c:v>
                </c:pt>
                <c:pt idx="3">
                  <c:v>1.3987088389888673</c:v>
                </c:pt>
                <c:pt idx="4">
                  <c:v>1.839475359854826</c:v>
                </c:pt>
                <c:pt idx="5">
                  <c:v>1.7147207784371428</c:v>
                </c:pt>
                <c:pt idx="6">
                  <c:v>2.1364066339013217</c:v>
                </c:pt>
                <c:pt idx="7">
                  <c:v>2.354871445369559</c:v>
                </c:pt>
                <c:pt idx="8">
                  <c:v>3.2220433878692205</c:v>
                </c:pt>
              </c:numCache>
            </c:numRef>
          </c:xVal>
          <c:yVal>
            <c:numRef>
              <c:f>Sheet1!$B$2:$B$10</c:f>
              <c:numCache>
                <c:formatCode>General</c:formatCode>
                <c:ptCount val="9"/>
                <c:pt idx="0">
                  <c:v>0.03482587064676617</c:v>
                </c:pt>
                <c:pt idx="1">
                  <c:v>0.10408921933085502</c:v>
                </c:pt>
                <c:pt idx="2">
                  <c:v>0.0070140280561122245</c:v>
                </c:pt>
                <c:pt idx="3">
                  <c:v>0.011666666666666667</c:v>
                </c:pt>
                <c:pt idx="4">
                  <c:v>0.030878859857482184</c:v>
                </c:pt>
                <c:pt idx="5">
                  <c:v>0.06467661691542288</c:v>
                </c:pt>
                <c:pt idx="6">
                  <c:v>0.011583011583011582</c:v>
                </c:pt>
                <c:pt idx="7">
                  <c:v>0.012295081967213115</c:v>
                </c:pt>
                <c:pt idx="8">
                  <c:v>0.38492063492063494</c:v>
                </c:pt>
              </c:numCache>
            </c:numRef>
          </c:yVal>
          <c:smooth val="0"/>
          <c:extLst>
            <c:ext xmlns:c16="http://schemas.microsoft.com/office/drawing/2014/chart" uri="{C3380CC4-5D6E-409C-BE32-E72D297353CC}">
              <c16:uniqueId val="{00000000-096C-4121-9522-6AB7243CCAAE}"/>
            </c:ext>
          </c:extLst>
        </c:ser>
        <c:ser>
          <c:idx val="1"/>
          <c:order val="1"/>
          <c:tx>
            <c:strRef>
              <c:f>Sheet1!$B$1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3:$A$23</c:f>
              <c:numCache>
                <c:formatCode>General</c:formatCode>
                <c:ptCount val="11"/>
                <c:pt idx="0">
                  <c:v>0.8989976263613516</c:v>
                </c:pt>
                <c:pt idx="1">
                  <c:v>1.7835625565749316</c:v>
                </c:pt>
                <c:pt idx="2">
                  <c:v>1.4964865032273917</c:v>
                </c:pt>
                <c:pt idx="3">
                  <c:v>0.9941089573894167</c:v>
                </c:pt>
                <c:pt idx="4">
                  <c:v>1.1168670421573648</c:v>
                </c:pt>
                <c:pt idx="5">
                  <c:v>1.3790722306164434</c:v>
                </c:pt>
                <c:pt idx="6">
                  <c:v>1.5643795923840174</c:v>
                </c:pt>
                <c:pt idx="7">
                  <c:v>1.0028175191126698</c:v>
                </c:pt>
                <c:pt idx="8">
                  <c:v>1.279079493294736</c:v>
                </c:pt>
                <c:pt idx="9">
                  <c:v>1.4398039040634607</c:v>
                </c:pt>
                <c:pt idx="10">
                  <c:v>1.6559571339563863</c:v>
                </c:pt>
              </c:numCache>
            </c:numRef>
          </c:xVal>
          <c:yVal>
            <c:numRef>
              <c:f>Sheet1!$B$13:$B$23</c:f>
              <c:numCache>
                <c:formatCode>General</c:formatCode>
                <c:ptCount val="11"/>
                <c:pt idx="0">
                  <c:v>0.15675675675675677</c:v>
                </c:pt>
                <c:pt idx="1">
                  <c:v>0.0539906103286385</c:v>
                </c:pt>
                <c:pt idx="2">
                  <c:v>0.023529411764705882</c:v>
                </c:pt>
                <c:pt idx="3">
                  <c:v>0.04457652303120357</c:v>
                </c:pt>
                <c:pt idx="4">
                  <c:v>0.12831858407079647</c:v>
                </c:pt>
                <c:pt idx="5">
                  <c:v>0.7415730337078652</c:v>
                </c:pt>
                <c:pt idx="6">
                  <c:v>0.052434456928838954</c:v>
                </c:pt>
                <c:pt idx="7">
                  <c:v>0.21666666666666667</c:v>
                </c:pt>
                <c:pt idx="8">
                  <c:v>0.27807486631016043</c:v>
                </c:pt>
                <c:pt idx="9">
                  <c:v>0.3581081081081081</c:v>
                </c:pt>
                <c:pt idx="10">
                  <c:v>0.13451776649746192</c:v>
                </c:pt>
              </c:numCache>
            </c:numRef>
          </c:yVal>
          <c:smooth val="0"/>
          <c:extLst>
            <c:ext xmlns:c16="http://schemas.microsoft.com/office/drawing/2014/chart" uri="{C3380CC4-5D6E-409C-BE32-E72D297353CC}">
              <c16:uniqueId val="{00000002-096C-4121-9522-6AB7243CCAAE}"/>
            </c:ext>
          </c:extLst>
        </c:ser>
        <c:ser>
          <c:idx val="2"/>
          <c:order val="2"/>
          <c:tx>
            <c:strRef>
              <c:f>Sheet1!$B$2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6:$A$27</c:f>
              <c:numCache>
                <c:formatCode>General</c:formatCode>
                <c:ptCount val="2"/>
                <c:pt idx="0">
                  <c:v>0</c:v>
                </c:pt>
                <c:pt idx="1">
                  <c:v>-2.1093363050201086</c:v>
                </c:pt>
              </c:numCache>
            </c:numRef>
          </c:xVal>
          <c:yVal>
            <c:numRef>
              <c:f>Sheet1!$B$26:$B$27</c:f>
              <c:numCache>
                <c:formatCode>General</c:formatCode>
                <c:ptCount val="2"/>
                <c:pt idx="0">
                  <c:v>0.3221872559033828</c:v>
                </c:pt>
                <c:pt idx="1">
                  <c:v>0.3221872559033828</c:v>
                </c:pt>
              </c:numCache>
            </c:numRef>
          </c:yVal>
          <c:smooth val="0"/>
          <c:extLst>
            <c:ext xmlns:c16="http://schemas.microsoft.com/office/drawing/2014/chart" uri="{C3380CC4-5D6E-409C-BE32-E72D297353CC}">
              <c16:uniqueId val="{00000005-096C-4121-9522-6AB7243CCAAE}"/>
            </c:ext>
          </c:extLst>
        </c:ser>
        <c:ser>
          <c:idx val="3"/>
          <c:order val="3"/>
          <c:tx>
            <c:strRef>
              <c:f>Sheet1!$B$2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2.1093363050201086</c:v>
                </c:pt>
                <c:pt idx="1">
                  <c:v>-2.1093363050201086</c:v>
                </c:pt>
              </c:numCache>
            </c:numRef>
          </c:xVal>
          <c:yVal>
            <c:numRef>
              <c:f>Sheet1!$B$30:$B$31</c:f>
              <c:numCache>
                <c:formatCode>General</c:formatCode>
                <c:ptCount val="2"/>
                <c:pt idx="0">
                  <c:v>0.322187255903382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4:$A$35</c:f>
              <c:numCache>
                <c:formatCode>General</c:formatCode>
                <c:ptCount val="2"/>
                <c:pt idx="0">
                  <c:v>0</c:v>
                </c:pt>
                <c:pt idx="1">
                  <c:v>-2.1093363050201086</c:v>
                </c:pt>
              </c:numCache>
            </c:numRef>
          </c:xVal>
          <c:yVal>
            <c:numRef>
              <c:f>Sheet1!$B$34:$B$35</c:f>
              <c:numCache>
                <c:formatCode>General</c:formatCode>
                <c:ptCount val="2"/>
                <c:pt idx="0">
                  <c:v>0.3221872559033828</c:v>
                </c:pt>
                <c:pt idx="1">
                  <c:v>0.3221872559033828</c:v>
                </c:pt>
              </c:numCache>
            </c:numRef>
          </c:yVal>
          <c:smooth val="0"/>
          <c:extLst>
            <c:ext xmlns:c16="http://schemas.microsoft.com/office/drawing/2014/chart" uri="{C3380CC4-5D6E-409C-BE32-E72D297353CC}">
              <c16:uniqueId val="{0000000D-096C-4121-9522-6AB7243CCAAE}"/>
            </c:ext>
          </c:extLst>
        </c:ser>
        <c:ser>
          <c:idx val="5"/>
          <c:order val="5"/>
          <c:tx>
            <c:strRef>
              <c:f>Sheet1!$B$3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8:$A$39</c:f>
              <c:numCache>
                <c:formatCode>General</c:formatCode>
                <c:ptCount val="2"/>
                <c:pt idx="0">
                  <c:v>-2.1093363050201086</c:v>
                </c:pt>
                <c:pt idx="1">
                  <c:v>-2.1093363050201086</c:v>
                </c:pt>
              </c:numCache>
            </c:numRef>
          </c:xVal>
          <c:yVal>
            <c:numRef>
              <c:f>Sheet1!$B$38:$B$39</c:f>
              <c:numCache>
                <c:formatCode>General</c:formatCode>
                <c:ptCount val="2"/>
                <c:pt idx="0">
                  <c:v>0.322187255903382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4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42:$A$43</c:f>
              <c:numCache>
                <c:formatCode>General</c:formatCode>
                <c:ptCount val="2"/>
                <c:pt idx="0">
                  <c:v>0</c:v>
                </c:pt>
                <c:pt idx="1">
                  <c:v>-0.007476434990099998</c:v>
                </c:pt>
              </c:numCache>
            </c:numRef>
          </c:xVal>
          <c:yVal>
            <c:numRef>
              <c:f>Sheet1!$B$42:$B$43</c:f>
              <c:numCache>
                <c:formatCode>General</c:formatCode>
                <c:ptCount val="2"/>
                <c:pt idx="0">
                  <c:v>0.2468418518955993</c:v>
                </c:pt>
                <c:pt idx="1">
                  <c:v>0.2468418518955993</c:v>
                </c:pt>
              </c:numCache>
            </c:numRef>
          </c:yVal>
          <c:smooth val="0"/>
          <c:extLst>
            <c:ext xmlns:c16="http://schemas.microsoft.com/office/drawing/2014/chart" uri="{C3380CC4-5D6E-409C-BE32-E72D297353CC}">
              <c16:uniqueId val="{00000015-096C-4121-9522-6AB7243CCAAE}"/>
            </c:ext>
          </c:extLst>
        </c:ser>
        <c:ser>
          <c:idx val="7"/>
          <c:order val="7"/>
          <c:tx>
            <c:strRef>
              <c:f>Sheet1!$B$4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6:$A$47</c:f>
              <c:numCache>
                <c:formatCode>General</c:formatCode>
                <c:ptCount val="2"/>
                <c:pt idx="0">
                  <c:v>-0.007476434990099998</c:v>
                </c:pt>
                <c:pt idx="1">
                  <c:v>-0.007476434990099998</c:v>
                </c:pt>
              </c:numCache>
            </c:numRef>
          </c:xVal>
          <c:yVal>
            <c:numRef>
              <c:f>Sheet1!$B$46:$B$47</c:f>
              <c:numCache>
                <c:formatCode>General</c:formatCode>
                <c:ptCount val="2"/>
                <c:pt idx="0">
                  <c:v>0.246841851895599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50:$A$63</c:f>
              <c:numCache>
                <c:formatCode>General</c:formatCode>
                <c:ptCount val="14"/>
                <c:pt idx="0">
                  <c:v>0.8989976263613516</c:v>
                </c:pt>
                <c:pt idx="1">
                  <c:v>1.7835625565749316</c:v>
                </c:pt>
                <c:pt idx="2">
                  <c:v>1.4964865032273917</c:v>
                </c:pt>
                <c:pt idx="3">
                  <c:v>0.9941089573894167</c:v>
                </c:pt>
                <c:pt idx="4">
                  <c:v>1.1168670421573648</c:v>
                </c:pt>
                <c:pt idx="5">
                  <c:v>1.3790722306164434</c:v>
                </c:pt>
                <c:pt idx="6">
                  <c:v>1.5643795923840174</c:v>
                </c:pt>
                <c:pt idx="7">
                  <c:v>1.0028175191126698</c:v>
                </c:pt>
                <c:pt idx="8">
                  <c:v>1.279079493294736</c:v>
                </c:pt>
                <c:pt idx="9">
                  <c:v>1.4398039040634607</c:v>
                </c:pt>
                <c:pt idx="10">
                  <c:v>1.6559571339563863</c:v>
                </c:pt>
                <c:pt idx="11">
                  <c:v>-2.1093363050201086</c:v>
                </c:pt>
                <c:pt idx="12">
                  <c:v>-2.1093363050201086</c:v>
                </c:pt>
                <c:pt idx="13">
                  <c:v>-0.007476434990099998</c:v>
                </c:pt>
              </c:numCache>
            </c:numRef>
          </c:xVal>
          <c:yVal>
            <c:numRef>
              <c:f>Sheet1!$B$50:$B$63</c:f>
              <c:numCache>
                <c:formatCode>General</c:formatCode>
                <c:ptCount val="14"/>
                <c:pt idx="0">
                  <c:v>0.2143474618799003</c:v>
                </c:pt>
                <c:pt idx="1">
                  <c:v>0.18263844883465508</c:v>
                </c:pt>
                <c:pt idx="2">
                  <c:v>0.1929292686599185</c:v>
                </c:pt>
                <c:pt idx="3">
                  <c:v>0.21093800449208439</c:v>
                </c:pt>
                <c:pt idx="4">
                  <c:v>0.20653749348564385</c:v>
                </c:pt>
                <c:pt idx="5">
                  <c:v>0.19713821994743969</c:v>
                </c:pt>
                <c:pt idx="6">
                  <c:v>0.190495504019001</c:v>
                </c:pt>
                <c:pt idx="7">
                  <c:v>0.21062582854224057</c:v>
                </c:pt>
                <c:pt idx="8">
                  <c:v>0.20072266118387694</c:v>
                </c:pt>
                <c:pt idx="9">
                  <c:v>0.19496117068874244</c:v>
                </c:pt>
                <c:pt idx="10">
                  <c:v>0.18721272243770026</c:v>
                </c:pt>
                <c:pt idx="11">
                  <c:v>0.3221872559033828</c:v>
                </c:pt>
                <c:pt idx="12">
                  <c:v>0.3221872559033828</c:v>
                </c:pt>
                <c:pt idx="13">
                  <c:v>0.246841851895599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uv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898876404494382"/>
          <c:min val="0.0056112224448897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c:f>
              <c:numCache>
                <c:formatCode>General</c:formatCode>
                <c:ptCount val="9"/>
                <c:pt idx="0">
                  <c:v>1284.1429</c:v>
                </c:pt>
                <c:pt idx="1">
                  <c:v>1133.6607</c:v>
                </c:pt>
                <c:pt idx="2">
                  <c:v>1205.0</c:v>
                </c:pt>
                <c:pt idx="3">
                  <c:v>1028.2857</c:v>
                </c:pt>
                <c:pt idx="4">
                  <c:v>1291.6154</c:v>
                </c:pt>
                <c:pt idx="5">
                  <c:v>1145.2308</c:v>
                </c:pt>
                <c:pt idx="6">
                  <c:v>1235.1667</c:v>
                </c:pt>
                <c:pt idx="7">
                  <c:v>1478.1667</c:v>
                </c:pt>
                <c:pt idx="8">
                  <c:v>1833.7216</c:v>
                </c:pt>
              </c:numCache>
            </c:numRef>
          </c:xVal>
          <c:yVal>
            <c:numRef>
              <c:f>Sheet1!$B$2:$B$10</c:f>
              <c:numCache>
                <c:formatCode>General</c:formatCode>
                <c:ptCount val="9"/>
                <c:pt idx="0">
                  <c:v>0.03482587064676617</c:v>
                </c:pt>
                <c:pt idx="1">
                  <c:v>0.10408921933085502</c:v>
                </c:pt>
                <c:pt idx="2">
                  <c:v>0.0070140280561122245</c:v>
                </c:pt>
                <c:pt idx="3">
                  <c:v>0.011666666666666667</c:v>
                </c:pt>
                <c:pt idx="4">
                  <c:v>0.030878859857482184</c:v>
                </c:pt>
                <c:pt idx="5">
                  <c:v>0.06467661691542288</c:v>
                </c:pt>
                <c:pt idx="6">
                  <c:v>0.011583011583011582</c:v>
                </c:pt>
                <c:pt idx="7">
                  <c:v>0.012295081967213115</c:v>
                </c:pt>
                <c:pt idx="8">
                  <c:v>0.38492063492063494</c:v>
                </c:pt>
              </c:numCache>
            </c:numRef>
          </c:yVal>
          <c:smooth val="0"/>
          <c:extLst>
            <c:ext xmlns:c16="http://schemas.microsoft.com/office/drawing/2014/chart" uri="{C3380CC4-5D6E-409C-BE32-E72D297353CC}">
              <c16:uniqueId val="{00000000-F32D-48B7-BC20-E66FC6253BAD}"/>
            </c:ext>
          </c:extLst>
        </c:ser>
        <c:ser>
          <c:idx val="1"/>
          <c:order val="1"/>
          <c:tx>
            <c:strRef>
              <c:f>Sheet1!$B$1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3:$A$23</c:f>
              <c:numCache>
                <c:formatCode>General</c:formatCode>
                <c:ptCount val="11"/>
                <c:pt idx="0">
                  <c:v>643.8621</c:v>
                </c:pt>
                <c:pt idx="1">
                  <c:v>1090.0</c:v>
                </c:pt>
                <c:pt idx="2">
                  <c:v>1452.0</c:v>
                </c:pt>
                <c:pt idx="3">
                  <c:v>792.7333</c:v>
                </c:pt>
                <c:pt idx="4">
                  <c:v>817.9655</c:v>
                </c:pt>
                <c:pt idx="5">
                  <c:v>1080.5606</c:v>
                </c:pt>
                <c:pt idx="6">
                  <c:v>1166.7143</c:v>
                </c:pt>
                <c:pt idx="7">
                  <c:v>1009.2885</c:v>
                </c:pt>
                <c:pt idx="8">
                  <c:v>1009.2885</c:v>
                </c:pt>
                <c:pt idx="9">
                  <c:v>996.6792</c:v>
                </c:pt>
                <c:pt idx="10">
                  <c:v>996.6792</c:v>
                </c:pt>
              </c:numCache>
            </c:numRef>
          </c:xVal>
          <c:yVal>
            <c:numRef>
              <c:f>Sheet1!$B$13:$B$23</c:f>
              <c:numCache>
                <c:formatCode>General</c:formatCode>
                <c:ptCount val="11"/>
                <c:pt idx="0">
                  <c:v>0.15675675675675677</c:v>
                </c:pt>
                <c:pt idx="1">
                  <c:v>0.0539906103286385</c:v>
                </c:pt>
                <c:pt idx="2">
                  <c:v>0.023529411764705882</c:v>
                </c:pt>
                <c:pt idx="3">
                  <c:v>0.04457652303120357</c:v>
                </c:pt>
                <c:pt idx="4">
                  <c:v>0.12831858407079647</c:v>
                </c:pt>
                <c:pt idx="5">
                  <c:v>0.7415730337078652</c:v>
                </c:pt>
                <c:pt idx="6">
                  <c:v>0.052434456928838954</c:v>
                </c:pt>
                <c:pt idx="7">
                  <c:v>0.21666666666666667</c:v>
                </c:pt>
                <c:pt idx="8">
                  <c:v>0.27807486631016043</c:v>
                </c:pt>
                <c:pt idx="9">
                  <c:v>0.3581081081081081</c:v>
                </c:pt>
                <c:pt idx="10">
                  <c:v>0.13451776649746192</c:v>
                </c:pt>
              </c:numCache>
            </c:numRef>
          </c:yVal>
          <c:smooth val="0"/>
          <c:extLst>
            <c:ext xmlns:c16="http://schemas.microsoft.com/office/drawing/2014/chart" uri="{C3380CC4-5D6E-409C-BE32-E72D297353CC}">
              <c16:uniqueId val="{00000002-F32D-48B7-BC20-E66FC6253BAD}"/>
            </c:ext>
          </c:extLst>
        </c:ser>
        <c:ser>
          <c:idx val="2"/>
          <c:order val="2"/>
          <c:tx>
            <c:strRef>
              <c:f>Sheet1!$B$25</c:f>
              <c:strCache>
                <c:ptCount val="1"/>
                <c:pt idx="0">
                  <c:v>Custom Linep3yQ</c:v>
                </c:pt>
              </c:strCache>
            </c:strRef>
          </c:tx>
          <c:spPr>
            <a:ln w="19050" cap="rnd">
              <a:solidFill>
                <a:srgbClr val="C00000"/>
              </a:solidFill>
              <a:prstDash val="sysDot"/>
              <a:round/>
            </a:ln>
            <a:effectLst/>
          </c:spPr>
          <c:marker>
            <c:symbol val="none"/>
          </c:marker>
          <c:xVal>
            <c:numRef>
              <c:f>Sheet1!$A$26:$A$27</c:f>
              <c:numCache>
                <c:formatCode>General</c:formatCode>
                <c:ptCount val="2"/>
                <c:pt idx="0">
                  <c:v>0</c:v>
                </c:pt>
                <c:pt idx="1">
                  <c:v>-3397.02624663006</c:v>
                </c:pt>
              </c:numCache>
            </c:numRef>
          </c:xVal>
          <c:yVal>
            <c:numRef>
              <c:f>Sheet1!$B$26:$B$27</c:f>
              <c:numCache>
                <c:formatCode>General</c:formatCode>
                <c:ptCount val="2"/>
                <c:pt idx="0">
                  <c:v>0.3221872559033828</c:v>
                </c:pt>
                <c:pt idx="1">
                  <c:v>0.3221872559033828</c:v>
                </c:pt>
              </c:numCache>
            </c:numRef>
          </c:yVal>
          <c:smooth val="0"/>
          <c:extLst>
            <c:ext xmlns:c16="http://schemas.microsoft.com/office/drawing/2014/chart" uri="{C3380CC4-5D6E-409C-BE32-E72D297353CC}">
              <c16:uniqueId val="{00000003-F32D-48B7-BC20-E66FC6253BAD}"/>
            </c:ext>
          </c:extLst>
        </c:ser>
        <c:ser>
          <c:idx val="3"/>
          <c:order val="3"/>
          <c:tx>
            <c:strRef>
              <c:f>Sheet1!$B$2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3397.02624663006</c:v>
                </c:pt>
                <c:pt idx="1">
                  <c:v>-3397.02624663006</c:v>
                </c:pt>
              </c:numCache>
            </c:numRef>
          </c:xVal>
          <c:yVal>
            <c:numRef>
              <c:f>Sheet1!$B$30:$B$31</c:f>
              <c:numCache>
                <c:formatCode>General</c:formatCode>
                <c:ptCount val="2"/>
                <c:pt idx="0">
                  <c:v>0.322187255903382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4:$A$35</c:f>
              <c:numCache>
                <c:formatCode>General</c:formatCode>
                <c:ptCount val="2"/>
                <c:pt idx="0">
                  <c:v>0</c:v>
                </c:pt>
                <c:pt idx="1">
                  <c:v>-3397.02624663006</c:v>
                </c:pt>
              </c:numCache>
            </c:numRef>
          </c:xVal>
          <c:yVal>
            <c:numRef>
              <c:f>Sheet1!$B$34:$B$35</c:f>
              <c:numCache>
                <c:formatCode>General</c:formatCode>
                <c:ptCount val="2"/>
                <c:pt idx="0">
                  <c:v>0.3221872559033828</c:v>
                </c:pt>
                <c:pt idx="1">
                  <c:v>0.3221872559033828</c:v>
                </c:pt>
              </c:numCache>
            </c:numRef>
          </c:yVal>
          <c:smooth val="0"/>
          <c:extLst>
            <c:ext xmlns:c16="http://schemas.microsoft.com/office/drawing/2014/chart" uri="{C3380CC4-5D6E-409C-BE32-E72D297353CC}">
              <c16:uniqueId val="{0000000A-F32D-48B7-BC20-E66FC6253BAD}"/>
            </c:ext>
          </c:extLst>
        </c:ser>
        <c:ser>
          <c:idx val="5"/>
          <c:order val="5"/>
          <c:tx>
            <c:strRef>
              <c:f>Sheet1!$B$3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8:$A$39</c:f>
              <c:numCache>
                <c:formatCode>General</c:formatCode>
                <c:ptCount val="2"/>
                <c:pt idx="0">
                  <c:v>-3397.02624663006</c:v>
                </c:pt>
                <c:pt idx="1">
                  <c:v>-3397.02624663006</c:v>
                </c:pt>
              </c:numCache>
            </c:numRef>
          </c:xVal>
          <c:yVal>
            <c:numRef>
              <c:f>Sheet1!$B$38:$B$39</c:f>
              <c:numCache>
                <c:formatCode>General</c:formatCode>
                <c:ptCount val="2"/>
                <c:pt idx="0">
                  <c:v>0.322187255903382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4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42:$A$43</c:f>
              <c:numCache>
                <c:formatCode>General</c:formatCode>
                <c:ptCount val="2"/>
                <c:pt idx="0">
                  <c:v>0</c:v>
                </c:pt>
                <c:pt idx="1">
                  <c:v>-705.4586042510665</c:v>
                </c:pt>
              </c:numCache>
            </c:numRef>
          </c:xVal>
          <c:yVal>
            <c:numRef>
              <c:f>Sheet1!$B$42:$B$43</c:f>
              <c:numCache>
                <c:formatCode>General</c:formatCode>
                <c:ptCount val="2"/>
                <c:pt idx="0">
                  <c:v>0.2468418518955993</c:v>
                </c:pt>
                <c:pt idx="1">
                  <c:v>0.2468418518955993</c:v>
                </c:pt>
              </c:numCache>
            </c:numRef>
          </c:yVal>
          <c:smooth val="0"/>
          <c:extLst>
            <c:ext xmlns:c16="http://schemas.microsoft.com/office/drawing/2014/chart" uri="{C3380CC4-5D6E-409C-BE32-E72D297353CC}">
              <c16:uniqueId val="{00000011-F32D-48B7-BC20-E66FC6253BAD}"/>
            </c:ext>
          </c:extLst>
        </c:ser>
        <c:ser>
          <c:idx val="7"/>
          <c:order val="7"/>
          <c:tx>
            <c:strRef>
              <c:f>Sheet1!$B$4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6:$A$47</c:f>
              <c:numCache>
                <c:formatCode>General</c:formatCode>
                <c:ptCount val="2"/>
                <c:pt idx="0">
                  <c:v>-705.4586042510665</c:v>
                </c:pt>
                <c:pt idx="1">
                  <c:v>-705.4586042510665</c:v>
                </c:pt>
              </c:numCache>
            </c:numRef>
          </c:xVal>
          <c:yVal>
            <c:numRef>
              <c:f>Sheet1!$B$46:$B$47</c:f>
              <c:numCache>
                <c:formatCode>General</c:formatCode>
                <c:ptCount val="2"/>
                <c:pt idx="0">
                  <c:v>0.246841851895599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50:$A$63</c:f>
              <c:numCache>
                <c:formatCode>General</c:formatCode>
                <c:ptCount val="14"/>
                <c:pt idx="0">
                  <c:v>643.8621</c:v>
                </c:pt>
                <c:pt idx="1">
                  <c:v>1090.0</c:v>
                </c:pt>
                <c:pt idx="2">
                  <c:v>1452.0</c:v>
                </c:pt>
                <c:pt idx="3">
                  <c:v>792.7333</c:v>
                </c:pt>
                <c:pt idx="4">
                  <c:v>817.9655</c:v>
                </c:pt>
                <c:pt idx="5">
                  <c:v>1080.5606</c:v>
                </c:pt>
                <c:pt idx="6">
                  <c:v>1166.7143</c:v>
                </c:pt>
                <c:pt idx="7">
                  <c:v>1009.2885</c:v>
                </c:pt>
                <c:pt idx="8">
                  <c:v>1009.2885</c:v>
                </c:pt>
                <c:pt idx="9">
                  <c:v>996.6792</c:v>
                </c:pt>
                <c:pt idx="10">
                  <c:v>996.6792</c:v>
                </c:pt>
                <c:pt idx="11">
                  <c:v>-3397.02624663006</c:v>
                </c:pt>
                <c:pt idx="12">
                  <c:v>-3397.02624663006</c:v>
                </c:pt>
                <c:pt idx="13">
                  <c:v>-705.4586042510665</c:v>
                </c:pt>
              </c:numCache>
            </c:numRef>
          </c:xVal>
          <c:yVal>
            <c:numRef>
              <c:f>Sheet1!$B$50:$B$63</c:f>
              <c:numCache>
                <c:formatCode>General</c:formatCode>
                <c:ptCount val="14"/>
                <c:pt idx="0">
                  <c:v>0.20907014146293673</c:v>
                </c:pt>
                <c:pt idx="1">
                  <c:v>0.19658134504949293</c:v>
                </c:pt>
                <c:pt idx="2">
                  <c:v>0.1864478318427767</c:v>
                </c:pt>
                <c:pt idx="3">
                  <c:v>0.2049027705477442</c:v>
                </c:pt>
                <c:pt idx="4">
                  <c:v>0.20419644228273176</c:v>
                </c:pt>
                <c:pt idx="5">
                  <c:v>0.19684558340464067</c:v>
                </c:pt>
                <c:pt idx="6">
                  <c:v>0.19443387164564213</c:v>
                </c:pt>
                <c:pt idx="7">
                  <c:v>0.19884071259419978</c:v>
                </c:pt>
                <c:pt idx="8">
                  <c:v>0.19884071259419978</c:v>
                </c:pt>
                <c:pt idx="9">
                  <c:v>0.19919368637341925</c:v>
                </c:pt>
                <c:pt idx="10">
                  <c:v>0.19919368637341925</c:v>
                </c:pt>
                <c:pt idx="11">
                  <c:v>0.3221872559033828</c:v>
                </c:pt>
                <c:pt idx="12">
                  <c:v>0.3221872559033828</c:v>
                </c:pt>
                <c:pt idx="13">
                  <c:v>0.24684185189559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20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898876404494382"/>
          <c:min val="0.0056112224448897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32</c:f>
              <c:numCache>
                <c:formatCode>General</c:formatCode>
                <c:ptCount val="31"/>
                <c:pt idx="0">
                  <c:v>0.18889610070503482</c:v>
                </c:pt>
                <c:pt idx="1">
                  <c:v>0.0996423886997693</c:v>
                </c:pt>
                <c:pt idx="2">
                  <c:v>0.3179633469060707</c:v>
                </c:pt>
                <c:pt idx="3">
                  <c:v>0.1482735792076284</c:v>
                </c:pt>
                <c:pt idx="4">
                  <c:v>0.1008929881852916</c:v>
                </c:pt>
                <c:pt idx="5">
                  <c:v>0.6206949915063852</c:v>
                </c:pt>
                <c:pt idx="6">
                  <c:v>0.08107547022023935</c:v>
                </c:pt>
                <c:pt idx="7">
                  <c:v>0.1895697196555162</c:v>
                </c:pt>
                <c:pt idx="8">
                  <c:v>0.4624511843868974</c:v>
                </c:pt>
                <c:pt idx="9">
                  <c:v>0.1264972703136675</c:v>
                </c:pt>
                <c:pt idx="10">
                  <c:v>0.575442959392471</c:v>
                </c:pt>
                <c:pt idx="11">
                  <c:v>0.19609065987384766</c:v>
                </c:pt>
                <c:pt idx="12">
                  <c:v>0.12299727303443699</c:v>
                </c:pt>
                <c:pt idx="13">
                  <c:v>0.10570160305616606</c:v>
                </c:pt>
                <c:pt idx="14">
                  <c:v>0.10664966855863206</c:v>
                </c:pt>
                <c:pt idx="15">
                  <c:v>0.11318935010892181</c:v>
                </c:pt>
                <c:pt idx="16">
                  <c:v>0.1510969854653688</c:v>
                </c:pt>
                <c:pt idx="17">
                  <c:v>0.10354290411498684</c:v>
                </c:pt>
                <c:pt idx="18">
                  <c:v>0.10664335033708719</c:v>
                </c:pt>
                <c:pt idx="19">
                  <c:v>0.10718868734279675</c:v>
                </c:pt>
                <c:pt idx="20">
                  <c:v>0.10682330845803362</c:v>
                </c:pt>
                <c:pt idx="21">
                  <c:v>0.2511728788041725</c:v>
                </c:pt>
                <c:pt idx="22">
                  <c:v>0.169481621929088</c:v>
                </c:pt>
                <c:pt idx="23">
                  <c:v>0.18354293114538175</c:v>
                </c:pt>
                <c:pt idx="24">
                  <c:v>0.17071336385979707</c:v>
                </c:pt>
                <c:pt idx="25">
                  <c:v>0.17027275936489406</c:v>
                </c:pt>
                <c:pt idx="26">
                  <c:v>0.10935354092021912</c:v>
                </c:pt>
                <c:pt idx="27">
                  <c:v>0.2510145024360031</c:v>
                </c:pt>
                <c:pt idx="28">
                  <c:v>0.10730827013306293</c:v>
                </c:pt>
                <c:pt idx="29">
                  <c:v>0.5963442229881613</c:v>
                </c:pt>
                <c:pt idx="30">
                  <c:v>0.39336695542639993</c:v>
                </c:pt>
              </c:numCache>
            </c:numRef>
          </c:xVal>
          <c:yVal>
            <c:numRef>
              <c:f>Sheet1!$B$2:$B$32</c:f>
              <c:numCache>
                <c:formatCode>General</c:formatCode>
                <c:ptCount val="31"/>
                <c:pt idx="0">
                  <c:v>0.16055045871559634</c:v>
                </c:pt>
                <c:pt idx="1">
                  <c:v>0.14705882352941177</c:v>
                </c:pt>
                <c:pt idx="2">
                  <c:v>0.11392405063291139</c:v>
                </c:pt>
                <c:pt idx="3">
                  <c:v>0.17901234567901234</c:v>
                </c:pt>
                <c:pt idx="4">
                  <c:v>0.17094017094017094</c:v>
                </c:pt>
                <c:pt idx="5">
                  <c:v>0.2805755395683453</c:v>
                </c:pt>
                <c:pt idx="6">
                  <c:v>0.05185185185185185</c:v>
                </c:pt>
                <c:pt idx="7">
                  <c:v>0.4200743494423792</c:v>
                </c:pt>
                <c:pt idx="8">
                  <c:v>0.22244488977955912</c:v>
                </c:pt>
                <c:pt idx="9">
                  <c:v>0.3754227733934611</c:v>
                </c:pt>
                <c:pt idx="10">
                  <c:v>0.13636363636363635</c:v>
                </c:pt>
                <c:pt idx="11">
                  <c:v>0.01046337817638266</c:v>
                </c:pt>
                <c:pt idx="12">
                  <c:v>0.6925465838509317</c:v>
                </c:pt>
                <c:pt idx="13">
                  <c:v>0.4317718940936864</c:v>
                </c:pt>
                <c:pt idx="14">
                  <c:v>0.334916864608076</c:v>
                </c:pt>
                <c:pt idx="15">
                  <c:v>0.14634146341463414</c:v>
                </c:pt>
                <c:pt idx="16">
                  <c:v>0.32642487046632124</c:v>
                </c:pt>
                <c:pt idx="17">
                  <c:v>0.5853658536585366</c:v>
                </c:pt>
                <c:pt idx="18">
                  <c:v>0.47035573122529645</c:v>
                </c:pt>
                <c:pt idx="19">
                  <c:v>0.7533333333333333</c:v>
                </c:pt>
                <c:pt idx="20">
                  <c:v>0.6158357771260997</c:v>
                </c:pt>
                <c:pt idx="21">
                  <c:v>0.515625</c:v>
                </c:pt>
                <c:pt idx="22">
                  <c:v>0.6905737704918032</c:v>
                </c:pt>
                <c:pt idx="23">
                  <c:v>0.28903654485049834</c:v>
                </c:pt>
                <c:pt idx="24">
                  <c:v>0.6606060606060606</c:v>
                </c:pt>
                <c:pt idx="25">
                  <c:v>0.7676537585421412</c:v>
                </c:pt>
                <c:pt idx="26">
                  <c:v>0.24739583333333334</c:v>
                </c:pt>
                <c:pt idx="27">
                  <c:v>0.40896358543417366</c:v>
                </c:pt>
                <c:pt idx="28">
                  <c:v>0.06474820143884892</c:v>
                </c:pt>
                <c:pt idx="29">
                  <c:v>0.16030534351145037</c:v>
                </c:pt>
                <c:pt idx="30">
                  <c:v>0.08256880733944955</c:v>
                </c:pt>
              </c:numCache>
            </c:numRef>
          </c:yVal>
          <c:smooth val="0"/>
          <c:extLst>
            <c:ext xmlns:c16="http://schemas.microsoft.com/office/drawing/2014/chart" uri="{C3380CC4-5D6E-409C-BE32-E72D297353CC}">
              <c16:uniqueId val="{00000000-096C-4121-9522-6AB7243CCAAE}"/>
            </c:ext>
          </c:extLst>
        </c:ser>
        <c:ser>
          <c:idx val="1"/>
          <c:order val="1"/>
          <c:tx>
            <c:strRef>
              <c:f>Sheet1!$B$3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35:$A$38</c:f>
              <c:numCache>
                <c:formatCode>General</c:formatCode>
                <c:ptCount val="4"/>
                <c:pt idx="0">
                  <c:v>0.19521502269149635</c:v>
                </c:pt>
                <c:pt idx="1">
                  <c:v>0.22810054259509185</c:v>
                </c:pt>
                <c:pt idx="2">
                  <c:v>0.2829826361526799</c:v>
                </c:pt>
                <c:pt idx="3">
                  <c:v>1.597850863422292</c:v>
                </c:pt>
              </c:numCache>
            </c:numRef>
          </c:xVal>
          <c:yVal>
            <c:numRef>
              <c:f>Sheet1!$B$35:$B$38</c:f>
              <c:numCache>
                <c:formatCode>General</c:formatCode>
                <c:ptCount val="4"/>
                <c:pt idx="0">
                  <c:v>0.0502283105022831</c:v>
                </c:pt>
                <c:pt idx="1">
                  <c:v>0.8185745140388769</c:v>
                </c:pt>
                <c:pt idx="2">
                  <c:v>0.5727699530516432</c:v>
                </c:pt>
                <c:pt idx="3">
                  <c:v>0.6419019316493314</c:v>
                </c:pt>
              </c:numCache>
            </c:numRef>
          </c:yVal>
          <c:smooth val="0"/>
          <c:extLst>
            <c:ext xmlns:c16="http://schemas.microsoft.com/office/drawing/2014/chart" uri="{C3380CC4-5D6E-409C-BE32-E72D297353CC}">
              <c16:uniqueId val="{00000002-096C-4121-9522-6AB7243CCAAE}"/>
            </c:ext>
          </c:extLst>
        </c:ser>
        <c:ser>
          <c:idx val="2"/>
          <c:order val="2"/>
          <c:tx>
            <c:strRef>
              <c:f>Sheet1!$B$4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41:$A$42</c:f>
              <c:numCache>
                <c:formatCode>General</c:formatCode>
                <c:ptCount val="2"/>
                <c:pt idx="0">
                  <c:v>0</c:v>
                </c:pt>
                <c:pt idx="1">
                  <c:v>1.765621358629599</c:v>
                </c:pt>
              </c:numCache>
            </c:numRef>
          </c:xVal>
          <c:yVal>
            <c:numRef>
              <c:f>Sheet1!$B$41:$B$42</c:f>
              <c:numCache>
                <c:formatCode>General</c:formatCode>
                <c:ptCount val="2"/>
                <c:pt idx="0">
                  <c:v>0.6777487995799505</c:v>
                </c:pt>
                <c:pt idx="1">
                  <c:v>0.6777487995799505</c:v>
                </c:pt>
              </c:numCache>
            </c:numRef>
          </c:yVal>
          <c:smooth val="0"/>
          <c:extLst>
            <c:ext xmlns:c16="http://schemas.microsoft.com/office/drawing/2014/chart" uri="{C3380CC4-5D6E-409C-BE32-E72D297353CC}">
              <c16:uniqueId val="{00000005-096C-4121-9522-6AB7243CCAAE}"/>
            </c:ext>
          </c:extLst>
        </c:ser>
        <c:ser>
          <c:idx val="3"/>
          <c:order val="3"/>
          <c:tx>
            <c:strRef>
              <c:f>Sheet1!$B$4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5:$A$46</c:f>
              <c:numCache>
                <c:formatCode>General</c:formatCode>
                <c:ptCount val="2"/>
                <c:pt idx="0">
                  <c:v>1.765621358629599</c:v>
                </c:pt>
                <c:pt idx="1">
                  <c:v>1.765621358629599</c:v>
                </c:pt>
              </c:numCache>
            </c:numRef>
          </c:xVal>
          <c:yVal>
            <c:numRef>
              <c:f>Sheet1!$B$45:$B$46</c:f>
              <c:numCache>
                <c:formatCode>General</c:formatCode>
                <c:ptCount val="2"/>
                <c:pt idx="0">
                  <c:v>0.67774879957995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4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49:$A$50</c:f>
              <c:numCache>
                <c:formatCode>General</c:formatCode>
                <c:ptCount val="2"/>
                <c:pt idx="0">
                  <c:v>0</c:v>
                </c:pt>
                <c:pt idx="1">
                  <c:v>1.765621358629599</c:v>
                </c:pt>
              </c:numCache>
            </c:numRef>
          </c:xVal>
          <c:yVal>
            <c:numRef>
              <c:f>Sheet1!$B$49:$B$50</c:f>
              <c:numCache>
                <c:formatCode>General</c:formatCode>
                <c:ptCount val="2"/>
                <c:pt idx="0">
                  <c:v>0.6777487995799505</c:v>
                </c:pt>
                <c:pt idx="1">
                  <c:v>0.6777487995799505</c:v>
                </c:pt>
              </c:numCache>
            </c:numRef>
          </c:yVal>
          <c:smooth val="0"/>
          <c:extLst>
            <c:ext xmlns:c16="http://schemas.microsoft.com/office/drawing/2014/chart" uri="{C3380CC4-5D6E-409C-BE32-E72D297353CC}">
              <c16:uniqueId val="{0000000D-096C-4121-9522-6AB7243CCAAE}"/>
            </c:ext>
          </c:extLst>
        </c:ser>
        <c:ser>
          <c:idx val="5"/>
          <c:order val="5"/>
          <c:tx>
            <c:strRef>
              <c:f>Sheet1!$B$5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3:$A$54</c:f>
              <c:numCache>
                <c:formatCode>General</c:formatCode>
                <c:ptCount val="2"/>
                <c:pt idx="0">
                  <c:v>1.765621358629599</c:v>
                </c:pt>
                <c:pt idx="1">
                  <c:v>1.765621358629599</c:v>
                </c:pt>
              </c:numCache>
            </c:numRef>
          </c:xVal>
          <c:yVal>
            <c:numRef>
              <c:f>Sheet1!$B$53:$B$54</c:f>
              <c:numCache>
                <c:formatCode>General</c:formatCode>
                <c:ptCount val="2"/>
                <c:pt idx="0">
                  <c:v>0.67774879957995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56</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57:$A$63</c:f>
              <c:numCache>
                <c:formatCode>General</c:formatCode>
                <c:ptCount val="7"/>
                <c:pt idx="0">
                  <c:v>0.19521502269149635</c:v>
                </c:pt>
                <c:pt idx="1">
                  <c:v>0.22810054259509185</c:v>
                </c:pt>
                <c:pt idx="2">
                  <c:v>0.2829826361526799</c:v>
                </c:pt>
                <c:pt idx="3">
                  <c:v>1.597850863422292</c:v>
                </c:pt>
                <c:pt idx="4">
                  <c:v>1.765621358629599</c:v>
                </c:pt>
                <c:pt idx="5">
                  <c:v>1.765621358629599</c:v>
                </c:pt>
                <c:pt idx="6">
                  <c:v>0</c:v>
                </c:pt>
              </c:numCache>
            </c:numRef>
          </c:xVal>
          <c:yVal>
            <c:numRef>
              <c:f>Sheet1!$B$57:$B$63</c:f>
              <c:numCache>
                <c:formatCode>General</c:formatCode>
                <c:ptCount val="7"/>
                <c:pt idx="0">
                  <c:v>0.4706465530337241</c:v>
                </c:pt>
                <c:pt idx="1">
                  <c:v>0.47498343381102104</c:v>
                </c:pt>
                <c:pt idx="2">
                  <c:v>0.48222118152689925</c:v>
                </c:pt>
                <c:pt idx="3">
                  <c:v>0.6556235408704902</c:v>
                </c:pt>
                <c:pt idx="4">
                  <c:v>0.6777487995799505</c:v>
                </c:pt>
                <c:pt idx="5">
                  <c:v>0.6777487995799505</c:v>
                </c:pt>
                <c:pt idx="6">
                  <c:v>0.4449019614374158</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822894168466523"/>
          <c:min val="0.0083707025411061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32</c:f>
              <c:numCache>
                <c:formatCode>General</c:formatCode>
                <c:ptCount val="31"/>
                <c:pt idx="0">
                  <c:v>887.9286</c:v>
                </c:pt>
                <c:pt idx="1">
                  <c:v>455.1</c:v>
                </c:pt>
                <c:pt idx="2">
                  <c:v>616.6667</c:v>
                </c:pt>
                <c:pt idx="3">
                  <c:v>695.9138</c:v>
                </c:pt>
                <c:pt idx="4">
                  <c:v>455.7</c:v>
                </c:pt>
                <c:pt idx="5">
                  <c:v>782.9194</c:v>
                </c:pt>
                <c:pt idx="6">
                  <c:v>376.3571</c:v>
                </c:pt>
                <c:pt idx="7">
                  <c:v>722.2434</c:v>
                </c:pt>
                <c:pt idx="8">
                  <c:v>618.6622</c:v>
                </c:pt>
                <c:pt idx="9">
                  <c:v>497.3003</c:v>
                </c:pt>
                <c:pt idx="10">
                  <c:v>1007.3968</c:v>
                </c:pt>
                <c:pt idx="11">
                  <c:v>808.2857</c:v>
                </c:pt>
                <c:pt idx="12">
                  <c:v>504.4305</c:v>
                </c:pt>
                <c:pt idx="13">
                  <c:v>504.3491</c:v>
                </c:pt>
                <c:pt idx="14">
                  <c:v>495.5035</c:v>
                </c:pt>
                <c:pt idx="15">
                  <c:v>520.8889</c:v>
                </c:pt>
                <c:pt idx="16">
                  <c:v>493.6667</c:v>
                </c:pt>
                <c:pt idx="17">
                  <c:v>490.65</c:v>
                </c:pt>
                <c:pt idx="18">
                  <c:v>490.7647</c:v>
                </c:pt>
                <c:pt idx="19">
                  <c:v>493.2743</c:v>
                </c:pt>
                <c:pt idx="20">
                  <c:v>494.0667</c:v>
                </c:pt>
                <c:pt idx="21">
                  <c:v>1167.8283</c:v>
                </c:pt>
                <c:pt idx="22">
                  <c:v>782.1365</c:v>
                </c:pt>
                <c:pt idx="23">
                  <c:v>830.8046</c:v>
                </c:pt>
                <c:pt idx="24">
                  <c:v>802.2202</c:v>
                </c:pt>
                <c:pt idx="25">
                  <c:v>785.7804</c:v>
                </c:pt>
                <c:pt idx="26">
                  <c:v>500.1158</c:v>
                </c:pt>
                <c:pt idx="27">
                  <c:v>1167.7466</c:v>
                </c:pt>
                <c:pt idx="28">
                  <c:v>514.1111</c:v>
                </c:pt>
                <c:pt idx="29">
                  <c:v>795.881</c:v>
                </c:pt>
                <c:pt idx="30">
                  <c:v>504.7778</c:v>
                </c:pt>
              </c:numCache>
            </c:numRef>
          </c:xVal>
          <c:yVal>
            <c:numRef>
              <c:f>Sheet1!$B$2:$B$32</c:f>
              <c:numCache>
                <c:formatCode>General</c:formatCode>
                <c:ptCount val="31"/>
                <c:pt idx="0">
                  <c:v>0.16055045871559634</c:v>
                </c:pt>
                <c:pt idx="1">
                  <c:v>0.14705882352941177</c:v>
                </c:pt>
                <c:pt idx="2">
                  <c:v>0.11392405063291139</c:v>
                </c:pt>
                <c:pt idx="3">
                  <c:v>0.17901234567901234</c:v>
                </c:pt>
                <c:pt idx="4">
                  <c:v>0.17094017094017094</c:v>
                </c:pt>
                <c:pt idx="5">
                  <c:v>0.2805755395683453</c:v>
                </c:pt>
                <c:pt idx="6">
                  <c:v>0.05185185185185185</c:v>
                </c:pt>
                <c:pt idx="7">
                  <c:v>0.4200743494423792</c:v>
                </c:pt>
                <c:pt idx="8">
                  <c:v>0.22244488977955912</c:v>
                </c:pt>
                <c:pt idx="9">
                  <c:v>0.3754227733934611</c:v>
                </c:pt>
                <c:pt idx="10">
                  <c:v>0.13636363636363635</c:v>
                </c:pt>
                <c:pt idx="11">
                  <c:v>0.01046337817638266</c:v>
                </c:pt>
                <c:pt idx="12">
                  <c:v>0.6925465838509317</c:v>
                </c:pt>
                <c:pt idx="13">
                  <c:v>0.4317718940936864</c:v>
                </c:pt>
                <c:pt idx="14">
                  <c:v>0.334916864608076</c:v>
                </c:pt>
                <c:pt idx="15">
                  <c:v>0.14634146341463414</c:v>
                </c:pt>
                <c:pt idx="16">
                  <c:v>0.32642487046632124</c:v>
                </c:pt>
                <c:pt idx="17">
                  <c:v>0.5853658536585366</c:v>
                </c:pt>
                <c:pt idx="18">
                  <c:v>0.47035573122529645</c:v>
                </c:pt>
                <c:pt idx="19">
                  <c:v>0.7533333333333333</c:v>
                </c:pt>
                <c:pt idx="20">
                  <c:v>0.6158357771260997</c:v>
                </c:pt>
                <c:pt idx="21">
                  <c:v>0.515625</c:v>
                </c:pt>
                <c:pt idx="22">
                  <c:v>0.6905737704918032</c:v>
                </c:pt>
                <c:pt idx="23">
                  <c:v>0.28903654485049834</c:v>
                </c:pt>
                <c:pt idx="24">
                  <c:v>0.6606060606060606</c:v>
                </c:pt>
                <c:pt idx="25">
                  <c:v>0.7676537585421412</c:v>
                </c:pt>
                <c:pt idx="26">
                  <c:v>0.24739583333333334</c:v>
                </c:pt>
                <c:pt idx="27">
                  <c:v>0.40896358543417366</c:v>
                </c:pt>
                <c:pt idx="28">
                  <c:v>0.06474820143884892</c:v>
                </c:pt>
                <c:pt idx="29">
                  <c:v>0.16030534351145037</c:v>
                </c:pt>
                <c:pt idx="30">
                  <c:v>0.08256880733944955</c:v>
                </c:pt>
              </c:numCache>
            </c:numRef>
          </c:yVal>
          <c:smooth val="0"/>
          <c:extLst>
            <c:ext xmlns:c16="http://schemas.microsoft.com/office/drawing/2014/chart" uri="{C3380CC4-5D6E-409C-BE32-E72D297353CC}">
              <c16:uniqueId val="{00000000-F32D-48B7-BC20-E66FC6253BAD}"/>
            </c:ext>
          </c:extLst>
        </c:ser>
        <c:ser>
          <c:idx val="1"/>
          <c:order val="1"/>
          <c:tx>
            <c:strRef>
              <c:f>Sheet1!$B$3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35:$A$38</c:f>
              <c:numCache>
                <c:formatCode>General</c:formatCode>
                <c:ptCount val="4"/>
                <c:pt idx="0">
                  <c:v>725.8182</c:v>
                </c:pt>
                <c:pt idx="1">
                  <c:v>1035.2058</c:v>
                </c:pt>
                <c:pt idx="2">
                  <c:v>1018.5574</c:v>
                </c:pt>
                <c:pt idx="3">
                  <c:v>1017.831</c:v>
                </c:pt>
              </c:numCache>
            </c:numRef>
          </c:xVal>
          <c:yVal>
            <c:numRef>
              <c:f>Sheet1!$B$35:$B$38</c:f>
              <c:numCache>
                <c:formatCode>General</c:formatCode>
                <c:ptCount val="4"/>
                <c:pt idx="0">
                  <c:v>0.0502283105022831</c:v>
                </c:pt>
                <c:pt idx="1">
                  <c:v>0.8185745140388769</c:v>
                </c:pt>
                <c:pt idx="2">
                  <c:v>0.5727699530516432</c:v>
                </c:pt>
                <c:pt idx="3">
                  <c:v>0.6419019316493314</c:v>
                </c:pt>
              </c:numCache>
            </c:numRef>
          </c:yVal>
          <c:smooth val="0"/>
          <c:extLst>
            <c:ext xmlns:c16="http://schemas.microsoft.com/office/drawing/2014/chart" uri="{C3380CC4-5D6E-409C-BE32-E72D297353CC}">
              <c16:uniqueId val="{00000002-F32D-48B7-BC20-E66FC6253BAD}"/>
            </c:ext>
          </c:extLst>
        </c:ser>
        <c:ser>
          <c:idx val="2"/>
          <c:order val="2"/>
          <c:tx>
            <c:strRef>
              <c:f>Sheet1!$B$40</c:f>
              <c:strCache>
                <c:ptCount val="1"/>
                <c:pt idx="0">
                  <c:v>Custom Linep3yQ</c:v>
                </c:pt>
              </c:strCache>
            </c:strRef>
          </c:tx>
          <c:spPr>
            <a:ln w="19050" cap="rnd">
              <a:solidFill>
                <a:srgbClr val="C00000"/>
              </a:solidFill>
              <a:prstDash val="sysDot"/>
              <a:round/>
            </a:ln>
            <a:effectLst/>
          </c:spPr>
          <c:marker>
            <c:symbol val="none"/>
          </c:marker>
          <c:xVal>
            <c:numRef>
              <c:f>Sheet1!$A$41:$A$42</c:f>
              <c:numCache>
                <c:formatCode>General</c:formatCode>
                <c:ptCount val="2"/>
                <c:pt idx="0">
                  <c:v>0</c:v>
                </c:pt>
                <c:pt idx="1">
                  <c:v>1022.8389141644884</c:v>
                </c:pt>
              </c:numCache>
            </c:numRef>
          </c:xVal>
          <c:yVal>
            <c:numRef>
              <c:f>Sheet1!$B$41:$B$42</c:f>
              <c:numCache>
                <c:formatCode>General</c:formatCode>
                <c:ptCount val="2"/>
                <c:pt idx="0">
                  <c:v>0.6777487995799505</c:v>
                </c:pt>
                <c:pt idx="1">
                  <c:v>0.6777487995799505</c:v>
                </c:pt>
              </c:numCache>
            </c:numRef>
          </c:yVal>
          <c:smooth val="0"/>
          <c:extLst>
            <c:ext xmlns:c16="http://schemas.microsoft.com/office/drawing/2014/chart" uri="{C3380CC4-5D6E-409C-BE32-E72D297353CC}">
              <c16:uniqueId val="{00000003-F32D-48B7-BC20-E66FC6253BAD}"/>
            </c:ext>
          </c:extLst>
        </c:ser>
        <c:ser>
          <c:idx val="3"/>
          <c:order val="3"/>
          <c:tx>
            <c:strRef>
              <c:f>Sheet1!$B$4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5:$A$46</c:f>
              <c:numCache>
                <c:formatCode>General</c:formatCode>
                <c:ptCount val="2"/>
                <c:pt idx="0">
                  <c:v>1022.8389141644884</c:v>
                </c:pt>
                <c:pt idx="1">
                  <c:v>1022.8389141644884</c:v>
                </c:pt>
              </c:numCache>
            </c:numRef>
          </c:xVal>
          <c:yVal>
            <c:numRef>
              <c:f>Sheet1!$B$45:$B$46</c:f>
              <c:numCache>
                <c:formatCode>General</c:formatCode>
                <c:ptCount val="2"/>
                <c:pt idx="0">
                  <c:v>0.67774879957995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4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49:$A$50</c:f>
              <c:numCache>
                <c:formatCode>General</c:formatCode>
                <c:ptCount val="2"/>
                <c:pt idx="0">
                  <c:v>0</c:v>
                </c:pt>
                <c:pt idx="1">
                  <c:v>1022.8389141644884</c:v>
                </c:pt>
              </c:numCache>
            </c:numRef>
          </c:xVal>
          <c:yVal>
            <c:numRef>
              <c:f>Sheet1!$B$49:$B$50</c:f>
              <c:numCache>
                <c:formatCode>General</c:formatCode>
                <c:ptCount val="2"/>
                <c:pt idx="0">
                  <c:v>0.6777487995799505</c:v>
                </c:pt>
                <c:pt idx="1">
                  <c:v>0.6777487995799505</c:v>
                </c:pt>
              </c:numCache>
            </c:numRef>
          </c:yVal>
          <c:smooth val="0"/>
          <c:extLst>
            <c:ext xmlns:c16="http://schemas.microsoft.com/office/drawing/2014/chart" uri="{C3380CC4-5D6E-409C-BE32-E72D297353CC}">
              <c16:uniqueId val="{0000000A-F32D-48B7-BC20-E66FC6253BAD}"/>
            </c:ext>
          </c:extLst>
        </c:ser>
        <c:ser>
          <c:idx val="5"/>
          <c:order val="5"/>
          <c:tx>
            <c:strRef>
              <c:f>Sheet1!$B$5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3:$A$54</c:f>
              <c:numCache>
                <c:formatCode>General</c:formatCode>
                <c:ptCount val="2"/>
                <c:pt idx="0">
                  <c:v>1022.8389141644884</c:v>
                </c:pt>
                <c:pt idx="1">
                  <c:v>1022.8389141644884</c:v>
                </c:pt>
              </c:numCache>
            </c:numRef>
          </c:xVal>
          <c:yVal>
            <c:numRef>
              <c:f>Sheet1!$B$53:$B$54</c:f>
              <c:numCache>
                <c:formatCode>General</c:formatCode>
                <c:ptCount val="2"/>
                <c:pt idx="0">
                  <c:v>0.67774879957995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56</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57:$A$63</c:f>
              <c:numCache>
                <c:formatCode>General</c:formatCode>
                <c:ptCount val="7"/>
                <c:pt idx="0">
                  <c:v>725.8182</c:v>
                </c:pt>
                <c:pt idx="1">
                  <c:v>1035.2058</c:v>
                </c:pt>
                <c:pt idx="2">
                  <c:v>1018.5574</c:v>
                </c:pt>
                <c:pt idx="3">
                  <c:v>1017.831</c:v>
                </c:pt>
                <c:pt idx="4">
                  <c:v>1022.8389141644884</c:v>
                </c:pt>
                <c:pt idx="5">
                  <c:v>1022.8389141644884</c:v>
                </c:pt>
                <c:pt idx="6">
                  <c:v>0</c:v>
                </c:pt>
              </c:numCache>
            </c:numRef>
          </c:xVal>
          <c:yVal>
            <c:numRef>
              <c:f>Sheet1!$B$57:$B$63</c:f>
              <c:numCache>
                <c:formatCode>General</c:formatCode>
                <c:ptCount val="7"/>
                <c:pt idx="0">
                  <c:v>0.04365844507460537</c:v>
                </c:pt>
                <c:pt idx="1">
                  <c:v>0.7041500660560114</c:v>
                </c:pt>
                <c:pt idx="2">
                  <c:v>0.6686084712967293</c:v>
                </c:pt>
                <c:pt idx="3">
                  <c:v>0.6670577268147888</c:v>
                </c:pt>
                <c:pt idx="4">
                  <c:v>0.6777487995799503</c:v>
                </c:pt>
                <c:pt idx="5">
                  <c:v>0.6777487995799503</c:v>
                </c:pt>
                <c:pt idx="6">
                  <c:v>-1.5058439895924802</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822894168466523"/>
          <c:min val="0.0083707025411061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1</c:f>
              <c:numCache>
                <c:formatCode>General</c:formatCode>
                <c:ptCount val="40"/>
                <c:pt idx="0">
                  <c:v>1.0477574336445095</c:v>
                </c:pt>
                <c:pt idx="1">
                  <c:v>0.8259480539220013</c:v>
                </c:pt>
                <c:pt idx="2">
                  <c:v>1.008947745371563</c:v>
                </c:pt>
                <c:pt idx="3">
                  <c:v>0.9451498440979954</c:v>
                </c:pt>
                <c:pt idx="4">
                  <c:v>1.0072512785219048</c:v>
                </c:pt>
                <c:pt idx="5">
                  <c:v>1.1413435515936636</c:v>
                </c:pt>
                <c:pt idx="6">
                  <c:v>0.4975898436129025</c:v>
                </c:pt>
                <c:pt idx="7">
                  <c:v>0.6233401169581422</c:v>
                </c:pt>
                <c:pt idx="8">
                  <c:v>0.613533441005737</c:v>
                </c:pt>
                <c:pt idx="9">
                  <c:v>0.6922364279398762</c:v>
                </c:pt>
                <c:pt idx="10">
                  <c:v>0.40722795148674085</c:v>
                </c:pt>
                <c:pt idx="11">
                  <c:v>0.7250173890321759</c:v>
                </c:pt>
                <c:pt idx="12">
                  <c:v>0.5455263878542957</c:v>
                </c:pt>
                <c:pt idx="13">
                  <c:v>0.5403464512181959</c:v>
                </c:pt>
                <c:pt idx="14">
                  <c:v>0.5039402109721826</c:v>
                </c:pt>
                <c:pt idx="15">
                  <c:v>0.5610567717356624</c:v>
                </c:pt>
                <c:pt idx="16">
                  <c:v>1.073863243284096</c:v>
                </c:pt>
                <c:pt idx="17">
                  <c:v>0.5660919322366602</c:v>
                </c:pt>
                <c:pt idx="18">
                  <c:v>1.0220196466933293</c:v>
                </c:pt>
                <c:pt idx="19">
                  <c:v>0.5921560642961085</c:v>
                </c:pt>
                <c:pt idx="20">
                  <c:v>0.5353171799409264</c:v>
                </c:pt>
                <c:pt idx="21">
                  <c:v>0.43836642120765834</c:v>
                </c:pt>
                <c:pt idx="22">
                  <c:v>0.4755411632384678</c:v>
                </c:pt>
                <c:pt idx="23">
                  <c:v>0.41045295217020566</c:v>
                </c:pt>
                <c:pt idx="24">
                  <c:v>0.5492984971553738</c:v>
                </c:pt>
                <c:pt idx="25">
                  <c:v>1.2815909378496289</c:v>
                </c:pt>
                <c:pt idx="26">
                  <c:v>0.5086099435879482</c:v>
                </c:pt>
                <c:pt idx="27">
                  <c:v>0.6533097961867192</c:v>
                </c:pt>
                <c:pt idx="28">
                  <c:v>0.516509243075317</c:v>
                </c:pt>
                <c:pt idx="29">
                  <c:v>1.105021319260155</c:v>
                </c:pt>
                <c:pt idx="30">
                  <c:v>0.9159610683769741</c:v>
                </c:pt>
                <c:pt idx="31">
                  <c:v>0.9921041698834046</c:v>
                </c:pt>
                <c:pt idx="32">
                  <c:v>0.9547499447767023</c:v>
                </c:pt>
                <c:pt idx="33">
                  <c:v>0.5194772900242218</c:v>
                </c:pt>
                <c:pt idx="34">
                  <c:v>1.3282467580845847</c:v>
                </c:pt>
                <c:pt idx="35">
                  <c:v>1.2719075116687868</c:v>
                </c:pt>
                <c:pt idx="36">
                  <c:v>1.2913855371122018</c:v>
                </c:pt>
                <c:pt idx="37">
                  <c:v>0.5101944393281655</c:v>
                </c:pt>
                <c:pt idx="38">
                  <c:v>0.8328497861631455</c:v>
                </c:pt>
                <c:pt idx="39">
                  <c:v>0.42144459158361186</c:v>
                </c:pt>
              </c:numCache>
            </c:numRef>
          </c:xVal>
          <c:yVal>
            <c:numRef>
              <c:f>Sheet1!$B$2:$B$41</c:f>
              <c:numCache>
                <c:formatCode>General</c:formatCode>
                <c:ptCount val="40"/>
                <c:pt idx="0">
                  <c:v>0.46204620462046203</c:v>
                </c:pt>
                <c:pt idx="1">
                  <c:v>0.16055045871559634</c:v>
                </c:pt>
                <c:pt idx="2">
                  <c:v>0.2616822429906542</c:v>
                </c:pt>
                <c:pt idx="3">
                  <c:v>0.6196319018404908</c:v>
                </c:pt>
                <c:pt idx="4">
                  <c:v>0.9492957746478873</c:v>
                </c:pt>
                <c:pt idx="5">
                  <c:v>0.1952662721893491</c:v>
                </c:pt>
                <c:pt idx="6">
                  <c:v>0.14705882352941177</c:v>
                </c:pt>
                <c:pt idx="7">
                  <c:v>0.11392405063291139</c:v>
                </c:pt>
                <c:pt idx="8">
                  <c:v>0.17094017094017094</c:v>
                </c:pt>
                <c:pt idx="9">
                  <c:v>0.2805755395683453</c:v>
                </c:pt>
                <c:pt idx="10">
                  <c:v>0.05185185185185185</c:v>
                </c:pt>
                <c:pt idx="11">
                  <c:v>0.4200743494423792</c:v>
                </c:pt>
                <c:pt idx="12">
                  <c:v>0.2555635319454415</c:v>
                </c:pt>
                <c:pt idx="13">
                  <c:v>0.30166880616174585</c:v>
                </c:pt>
                <c:pt idx="14">
                  <c:v>0.22244488977955912</c:v>
                </c:pt>
                <c:pt idx="15">
                  <c:v>0.3754227733934611</c:v>
                </c:pt>
                <c:pt idx="16">
                  <c:v>0.13636363636363635</c:v>
                </c:pt>
                <c:pt idx="17">
                  <c:v>0.18833333333333332</c:v>
                </c:pt>
                <c:pt idx="18">
                  <c:v>0.01046337817638266</c:v>
                </c:pt>
                <c:pt idx="19">
                  <c:v>0.23105360443622922</c:v>
                </c:pt>
                <c:pt idx="20">
                  <c:v>0.334916864608076</c:v>
                </c:pt>
                <c:pt idx="21">
                  <c:v>0.14634146341463414</c:v>
                </c:pt>
                <c:pt idx="22">
                  <c:v>0.32642487046632124</c:v>
                </c:pt>
                <c:pt idx="23">
                  <c:v>0.5853658536585366</c:v>
                </c:pt>
                <c:pt idx="24">
                  <c:v>0.47035573122529645</c:v>
                </c:pt>
                <c:pt idx="25">
                  <c:v>0.5521235521235521</c:v>
                </c:pt>
                <c:pt idx="26">
                  <c:v>0.6158357771260997</c:v>
                </c:pt>
                <c:pt idx="27">
                  <c:v>0.17757009345794392</c:v>
                </c:pt>
                <c:pt idx="28">
                  <c:v>0.31290322580645163</c:v>
                </c:pt>
                <c:pt idx="29">
                  <c:v>0.515625</c:v>
                </c:pt>
                <c:pt idx="30">
                  <c:v>0.6905737704918032</c:v>
                </c:pt>
                <c:pt idx="31">
                  <c:v>0.28903654485049834</c:v>
                </c:pt>
                <c:pt idx="32">
                  <c:v>0.7676537585421412</c:v>
                </c:pt>
                <c:pt idx="33">
                  <c:v>0.24739583333333334</c:v>
                </c:pt>
                <c:pt idx="34">
                  <c:v>0.40896358543417366</c:v>
                </c:pt>
                <c:pt idx="35">
                  <c:v>0.5661157024793388</c:v>
                </c:pt>
                <c:pt idx="36">
                  <c:v>0.5201465201465202</c:v>
                </c:pt>
                <c:pt idx="37">
                  <c:v>0.06474820143884892</c:v>
                </c:pt>
                <c:pt idx="38">
                  <c:v>0.16030534351145037</c:v>
                </c:pt>
                <c:pt idx="39">
                  <c:v>0.08256880733944955</c:v>
                </c:pt>
              </c:numCache>
            </c:numRef>
          </c:yVal>
          <c:smooth val="0"/>
          <c:extLst>
            <c:ext xmlns:c16="http://schemas.microsoft.com/office/drawing/2014/chart" uri="{C3380CC4-5D6E-409C-BE32-E72D297353CC}">
              <c16:uniqueId val="{00000000-096C-4121-9522-6AB7243CCAAE}"/>
            </c:ext>
          </c:extLst>
        </c:ser>
        <c:ser>
          <c:idx val="1"/>
          <c:order val="1"/>
          <c:tx>
            <c:strRef>
              <c:f>Sheet1!$B$4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4:$A$47</c:f>
              <c:numCache>
                <c:formatCode>General</c:formatCode>
                <c:ptCount val="4"/>
                <c:pt idx="0">
                  <c:v>0.7571408125592513</c:v>
                </c:pt>
                <c:pt idx="1">
                  <c:v>1.1030602184179124</c:v>
                </c:pt>
                <c:pt idx="2">
                  <c:v>1.7729458659704092</c:v>
                </c:pt>
                <c:pt idx="3">
                  <c:v>1.0892060167542992</c:v>
                </c:pt>
              </c:numCache>
            </c:numRef>
          </c:xVal>
          <c:yVal>
            <c:numRef>
              <c:f>Sheet1!$B$44:$B$47</c:f>
              <c:numCache>
                <c:formatCode>General</c:formatCode>
                <c:ptCount val="4"/>
                <c:pt idx="0">
                  <c:v>0.0502283105022831</c:v>
                </c:pt>
                <c:pt idx="1">
                  <c:v>0.8185745140388769</c:v>
                </c:pt>
                <c:pt idx="2">
                  <c:v>0.5727699530516432</c:v>
                </c:pt>
                <c:pt idx="3">
                  <c:v>0.6419019316493314</c:v>
                </c:pt>
              </c:numCache>
            </c:numRef>
          </c:yVal>
          <c:smooth val="0"/>
          <c:extLst>
            <c:ext xmlns:c16="http://schemas.microsoft.com/office/drawing/2014/chart" uri="{C3380CC4-5D6E-409C-BE32-E72D297353CC}">
              <c16:uniqueId val="{00000002-096C-4121-9522-6AB7243CCAAE}"/>
            </c:ext>
          </c:extLst>
        </c:ser>
        <c:ser>
          <c:idx val="2"/>
          <c:order val="2"/>
          <c:tx>
            <c:strRef>
              <c:f>Sheet1!$B$4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0:$A$51</c:f>
              <c:numCache>
                <c:formatCode>General</c:formatCode>
                <c:ptCount val="2"/>
                <c:pt idx="0">
                  <c:v>0</c:v>
                </c:pt>
                <c:pt idx="1">
                  <c:v>1.9133413554285632</c:v>
                </c:pt>
              </c:numCache>
            </c:numRef>
          </c:xVal>
          <c:yVal>
            <c:numRef>
              <c:f>Sheet1!$B$50:$B$51</c:f>
              <c:numCache>
                <c:formatCode>General</c:formatCode>
                <c:ptCount val="2"/>
                <c:pt idx="0">
                  <c:v>0.7844638382441891</c:v>
                </c:pt>
                <c:pt idx="1">
                  <c:v>0.7844638382441891</c:v>
                </c:pt>
              </c:numCache>
            </c:numRef>
          </c:yVal>
          <c:smooth val="0"/>
          <c:extLst>
            <c:ext xmlns:c16="http://schemas.microsoft.com/office/drawing/2014/chart" uri="{C3380CC4-5D6E-409C-BE32-E72D297353CC}">
              <c16:uniqueId val="{00000005-096C-4121-9522-6AB7243CCAAE}"/>
            </c:ext>
          </c:extLst>
        </c:ser>
        <c:ser>
          <c:idx val="3"/>
          <c:order val="3"/>
          <c:tx>
            <c:strRef>
              <c:f>Sheet1!$B$5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4:$A$55</c:f>
              <c:numCache>
                <c:formatCode>General</c:formatCode>
                <c:ptCount val="2"/>
                <c:pt idx="0">
                  <c:v>1.9133413554285632</c:v>
                </c:pt>
                <c:pt idx="1">
                  <c:v>1.9133413554285632</c:v>
                </c:pt>
              </c:numCache>
            </c:numRef>
          </c:xVal>
          <c:yVal>
            <c:numRef>
              <c:f>Sheet1!$B$54:$B$55</c:f>
              <c:numCache>
                <c:formatCode>General</c:formatCode>
                <c:ptCount val="2"/>
                <c:pt idx="0">
                  <c:v>0.784463838244189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5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58:$A$59</c:f>
              <c:numCache>
                <c:formatCode>General</c:formatCode>
                <c:ptCount val="2"/>
                <c:pt idx="0">
                  <c:v>0</c:v>
                </c:pt>
                <c:pt idx="1">
                  <c:v>1.6166903167580993</c:v>
                </c:pt>
              </c:numCache>
            </c:numRef>
          </c:xVal>
          <c:yVal>
            <c:numRef>
              <c:f>Sheet1!$B$58:$B$59</c:f>
              <c:numCache>
                <c:formatCode>General</c:formatCode>
                <c:ptCount val="2"/>
                <c:pt idx="0">
                  <c:v>0.6777487995799505</c:v>
                </c:pt>
                <c:pt idx="1">
                  <c:v>0.6777487995799505</c:v>
                </c:pt>
              </c:numCache>
            </c:numRef>
          </c:yVal>
          <c:smooth val="0"/>
          <c:extLst>
            <c:ext xmlns:c16="http://schemas.microsoft.com/office/drawing/2014/chart" uri="{C3380CC4-5D6E-409C-BE32-E72D297353CC}">
              <c16:uniqueId val="{0000000D-096C-4121-9522-6AB7243CCAAE}"/>
            </c:ext>
          </c:extLst>
        </c:ser>
        <c:ser>
          <c:idx val="5"/>
          <c:order val="5"/>
          <c:tx>
            <c:strRef>
              <c:f>Sheet1!$B$6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2:$A$63</c:f>
              <c:numCache>
                <c:formatCode>General</c:formatCode>
                <c:ptCount val="2"/>
                <c:pt idx="0">
                  <c:v>1.6166903167580993</c:v>
                </c:pt>
                <c:pt idx="1">
                  <c:v>1.6166903167580993</c:v>
                </c:pt>
              </c:numCache>
            </c:numRef>
          </c:xVal>
          <c:yVal>
            <c:numRef>
              <c:f>Sheet1!$B$62:$B$63</c:f>
              <c:numCache>
                <c:formatCode>General</c:formatCode>
                <c:ptCount val="2"/>
                <c:pt idx="0">
                  <c:v>0.67774879957995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65</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66:$A$72</c:f>
              <c:numCache>
                <c:formatCode>General</c:formatCode>
                <c:ptCount val="7"/>
                <c:pt idx="0">
                  <c:v>0.7571408125592513</c:v>
                </c:pt>
                <c:pt idx="1">
                  <c:v>1.1030602184179124</c:v>
                </c:pt>
                <c:pt idx="2">
                  <c:v>1.7729458659704092</c:v>
                </c:pt>
                <c:pt idx="3">
                  <c:v>1.0892060167542992</c:v>
                </c:pt>
                <c:pt idx="4">
                  <c:v>1.6166903167580993</c:v>
                </c:pt>
                <c:pt idx="5">
                  <c:v>1.9133413554285632</c:v>
                </c:pt>
                <c:pt idx="6">
                  <c:v>0</c:v>
                </c:pt>
              </c:numCache>
            </c:numRef>
          </c:xVal>
          <c:yVal>
            <c:numRef>
              <c:f>Sheet1!$B$66:$B$72</c:f>
              <c:numCache>
                <c:formatCode>General</c:formatCode>
                <c:ptCount val="7"/>
                <c:pt idx="0">
                  <c:v>0.36854085281020266</c:v>
                </c:pt>
                <c:pt idx="1">
                  <c:v>0.4929793275122058</c:v>
                </c:pt>
                <c:pt idx="2">
                  <c:v>0.733959008889943</c:v>
                </c:pt>
                <c:pt idx="3">
                  <c:v>0.487995520029782</c:v>
                </c:pt>
                <c:pt idx="4">
                  <c:v>0.6777487995799505</c:v>
                </c:pt>
                <c:pt idx="5">
                  <c:v>0.7844638382441891</c:v>
                </c:pt>
                <c:pt idx="6">
                  <c:v>0.09617264722880005</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391549295774648"/>
          <c:min val="0.0083707025411061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1</c:f>
              <c:numCache>
                <c:formatCode>General</c:formatCode>
                <c:ptCount val="40"/>
                <c:pt idx="0">
                  <c:v>889.3714</c:v>
                </c:pt>
                <c:pt idx="1">
                  <c:v>887.9286</c:v>
                </c:pt>
                <c:pt idx="2">
                  <c:v>887.9286</c:v>
                </c:pt>
                <c:pt idx="3">
                  <c:v>1060.9307</c:v>
                </c:pt>
                <c:pt idx="4">
                  <c:v>1323.9199</c:v>
                </c:pt>
                <c:pt idx="5">
                  <c:v>1067.8182</c:v>
                </c:pt>
                <c:pt idx="6">
                  <c:v>455.1</c:v>
                </c:pt>
                <c:pt idx="7">
                  <c:v>616.6667</c:v>
                </c:pt>
                <c:pt idx="8">
                  <c:v>455.7</c:v>
                </c:pt>
                <c:pt idx="9">
                  <c:v>782.9194</c:v>
                </c:pt>
                <c:pt idx="10">
                  <c:v>376.3571</c:v>
                </c:pt>
                <c:pt idx="11">
                  <c:v>722.2434</c:v>
                </c:pt>
                <c:pt idx="12">
                  <c:v>580.8933</c:v>
                </c:pt>
                <c:pt idx="13">
                  <c:v>521.6255</c:v>
                </c:pt>
                <c:pt idx="14">
                  <c:v>618.6622</c:v>
                </c:pt>
                <c:pt idx="15">
                  <c:v>497.3003</c:v>
                </c:pt>
                <c:pt idx="16">
                  <c:v>1007.3968</c:v>
                </c:pt>
                <c:pt idx="17">
                  <c:v>492.7965</c:v>
                </c:pt>
                <c:pt idx="18">
                  <c:v>808.2857</c:v>
                </c:pt>
                <c:pt idx="19">
                  <c:v>529.904</c:v>
                </c:pt>
                <c:pt idx="20">
                  <c:v>495.5035</c:v>
                </c:pt>
                <c:pt idx="21">
                  <c:v>520.8889</c:v>
                </c:pt>
                <c:pt idx="22">
                  <c:v>493.6667</c:v>
                </c:pt>
                <c:pt idx="23">
                  <c:v>490.65</c:v>
                </c:pt>
                <c:pt idx="24">
                  <c:v>490.7647</c:v>
                </c:pt>
                <c:pt idx="25">
                  <c:v>1151.5629</c:v>
                </c:pt>
                <c:pt idx="26">
                  <c:v>494.0667</c:v>
                </c:pt>
                <c:pt idx="27">
                  <c:v>496.8421</c:v>
                </c:pt>
                <c:pt idx="28">
                  <c:v>497.134</c:v>
                </c:pt>
                <c:pt idx="29">
                  <c:v>1167.8283</c:v>
                </c:pt>
                <c:pt idx="30">
                  <c:v>782.1365</c:v>
                </c:pt>
                <c:pt idx="31">
                  <c:v>830.8046</c:v>
                </c:pt>
                <c:pt idx="32">
                  <c:v>785.7804</c:v>
                </c:pt>
                <c:pt idx="33">
                  <c:v>500.1158</c:v>
                </c:pt>
                <c:pt idx="34">
                  <c:v>1167.7466</c:v>
                </c:pt>
                <c:pt idx="35">
                  <c:v>1162.7664</c:v>
                </c:pt>
                <c:pt idx="36">
                  <c:v>1166.1901</c:v>
                </c:pt>
                <c:pt idx="37">
                  <c:v>514.1111</c:v>
                </c:pt>
                <c:pt idx="38">
                  <c:v>795.881</c:v>
                </c:pt>
                <c:pt idx="39">
                  <c:v>504.7778</c:v>
                </c:pt>
              </c:numCache>
            </c:numRef>
          </c:xVal>
          <c:yVal>
            <c:numRef>
              <c:f>Sheet1!$B$2:$B$41</c:f>
              <c:numCache>
                <c:formatCode>General</c:formatCode>
                <c:ptCount val="40"/>
                <c:pt idx="0">
                  <c:v>0.46204620462046203</c:v>
                </c:pt>
                <c:pt idx="1">
                  <c:v>0.16055045871559634</c:v>
                </c:pt>
                <c:pt idx="2">
                  <c:v>0.2616822429906542</c:v>
                </c:pt>
                <c:pt idx="3">
                  <c:v>0.6196319018404908</c:v>
                </c:pt>
                <c:pt idx="4">
                  <c:v>0.9492957746478873</c:v>
                </c:pt>
                <c:pt idx="5">
                  <c:v>0.1952662721893491</c:v>
                </c:pt>
                <c:pt idx="6">
                  <c:v>0.14705882352941177</c:v>
                </c:pt>
                <c:pt idx="7">
                  <c:v>0.11392405063291139</c:v>
                </c:pt>
                <c:pt idx="8">
                  <c:v>0.17094017094017094</c:v>
                </c:pt>
                <c:pt idx="9">
                  <c:v>0.2805755395683453</c:v>
                </c:pt>
                <c:pt idx="10">
                  <c:v>0.05185185185185185</c:v>
                </c:pt>
                <c:pt idx="11">
                  <c:v>0.4200743494423792</c:v>
                </c:pt>
                <c:pt idx="12">
                  <c:v>0.2555635319454415</c:v>
                </c:pt>
                <c:pt idx="13">
                  <c:v>0.30166880616174585</c:v>
                </c:pt>
                <c:pt idx="14">
                  <c:v>0.22244488977955912</c:v>
                </c:pt>
                <c:pt idx="15">
                  <c:v>0.3754227733934611</c:v>
                </c:pt>
                <c:pt idx="16">
                  <c:v>0.13636363636363635</c:v>
                </c:pt>
                <c:pt idx="17">
                  <c:v>0.18833333333333332</c:v>
                </c:pt>
                <c:pt idx="18">
                  <c:v>0.01046337817638266</c:v>
                </c:pt>
                <c:pt idx="19">
                  <c:v>0.23105360443622922</c:v>
                </c:pt>
                <c:pt idx="20">
                  <c:v>0.334916864608076</c:v>
                </c:pt>
                <c:pt idx="21">
                  <c:v>0.14634146341463414</c:v>
                </c:pt>
                <c:pt idx="22">
                  <c:v>0.32642487046632124</c:v>
                </c:pt>
                <c:pt idx="23">
                  <c:v>0.5853658536585366</c:v>
                </c:pt>
                <c:pt idx="24">
                  <c:v>0.47035573122529645</c:v>
                </c:pt>
                <c:pt idx="25">
                  <c:v>0.5521235521235521</c:v>
                </c:pt>
                <c:pt idx="26">
                  <c:v>0.6158357771260997</c:v>
                </c:pt>
                <c:pt idx="27">
                  <c:v>0.17757009345794392</c:v>
                </c:pt>
                <c:pt idx="28">
                  <c:v>0.31290322580645163</c:v>
                </c:pt>
                <c:pt idx="29">
                  <c:v>0.515625</c:v>
                </c:pt>
                <c:pt idx="30">
                  <c:v>0.6905737704918032</c:v>
                </c:pt>
                <c:pt idx="31">
                  <c:v>0.28903654485049834</c:v>
                </c:pt>
                <c:pt idx="32">
                  <c:v>0.7676537585421412</c:v>
                </c:pt>
                <c:pt idx="33">
                  <c:v>0.24739583333333334</c:v>
                </c:pt>
                <c:pt idx="34">
                  <c:v>0.40896358543417366</c:v>
                </c:pt>
                <c:pt idx="35">
                  <c:v>0.5661157024793388</c:v>
                </c:pt>
                <c:pt idx="36">
                  <c:v>0.5201465201465202</c:v>
                </c:pt>
                <c:pt idx="37">
                  <c:v>0.06474820143884892</c:v>
                </c:pt>
                <c:pt idx="38">
                  <c:v>0.16030534351145037</c:v>
                </c:pt>
                <c:pt idx="39">
                  <c:v>0.08256880733944955</c:v>
                </c:pt>
              </c:numCache>
            </c:numRef>
          </c:yVal>
          <c:smooth val="0"/>
          <c:extLst>
            <c:ext xmlns:c16="http://schemas.microsoft.com/office/drawing/2014/chart" uri="{C3380CC4-5D6E-409C-BE32-E72D297353CC}">
              <c16:uniqueId val="{00000000-F32D-48B7-BC20-E66FC6253BAD}"/>
            </c:ext>
          </c:extLst>
        </c:ser>
        <c:ser>
          <c:idx val="1"/>
          <c:order val="1"/>
          <c:tx>
            <c:strRef>
              <c:f>Sheet1!$B$4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4:$A$47</c:f>
              <c:numCache>
                <c:formatCode>General</c:formatCode>
                <c:ptCount val="4"/>
                <c:pt idx="0">
                  <c:v>725.8182</c:v>
                </c:pt>
                <c:pt idx="1">
                  <c:v>1035.2058</c:v>
                </c:pt>
                <c:pt idx="2">
                  <c:v>1018.5574</c:v>
                </c:pt>
                <c:pt idx="3">
                  <c:v>1017.831</c:v>
                </c:pt>
              </c:numCache>
            </c:numRef>
          </c:xVal>
          <c:yVal>
            <c:numRef>
              <c:f>Sheet1!$B$44:$B$47</c:f>
              <c:numCache>
                <c:formatCode>General</c:formatCode>
                <c:ptCount val="4"/>
                <c:pt idx="0">
                  <c:v>0.0502283105022831</c:v>
                </c:pt>
                <c:pt idx="1">
                  <c:v>0.8185745140388769</c:v>
                </c:pt>
                <c:pt idx="2">
                  <c:v>0.5727699530516432</c:v>
                </c:pt>
                <c:pt idx="3">
                  <c:v>0.6419019316493314</c:v>
                </c:pt>
              </c:numCache>
            </c:numRef>
          </c:yVal>
          <c:smooth val="0"/>
          <c:extLst>
            <c:ext xmlns:c16="http://schemas.microsoft.com/office/drawing/2014/chart" uri="{C3380CC4-5D6E-409C-BE32-E72D297353CC}">
              <c16:uniqueId val="{00000002-F32D-48B7-BC20-E66FC6253BAD}"/>
            </c:ext>
          </c:extLst>
        </c:ser>
        <c:ser>
          <c:idx val="2"/>
          <c:order val="2"/>
          <c:tx>
            <c:strRef>
              <c:f>Sheet1!$B$49</c:f>
              <c:strCache>
                <c:ptCount val="1"/>
                <c:pt idx="0">
                  <c:v>Custom Linep3yQ</c:v>
                </c:pt>
              </c:strCache>
            </c:strRef>
          </c:tx>
          <c:spPr>
            <a:ln w="19050" cap="rnd">
              <a:solidFill>
                <a:srgbClr val="C00000"/>
              </a:solidFill>
              <a:prstDash val="sysDot"/>
              <a:round/>
            </a:ln>
            <a:effectLst/>
          </c:spPr>
          <c:marker>
            <c:symbol val="none"/>
          </c:marker>
          <c:xVal>
            <c:numRef>
              <c:f>Sheet1!$A$50:$A$51</c:f>
              <c:numCache>
                <c:formatCode>General</c:formatCode>
                <c:ptCount val="2"/>
                <c:pt idx="0">
                  <c:v>0</c:v>
                </c:pt>
                <c:pt idx="1">
                  <c:v>1072.8263911398633</c:v>
                </c:pt>
              </c:numCache>
            </c:numRef>
          </c:xVal>
          <c:yVal>
            <c:numRef>
              <c:f>Sheet1!$B$50:$B$51</c:f>
              <c:numCache>
                <c:formatCode>General</c:formatCode>
                <c:ptCount val="2"/>
                <c:pt idx="0">
                  <c:v>0.7844638382441891</c:v>
                </c:pt>
                <c:pt idx="1">
                  <c:v>0.7844638382441891</c:v>
                </c:pt>
              </c:numCache>
            </c:numRef>
          </c:yVal>
          <c:smooth val="0"/>
          <c:extLst>
            <c:ext xmlns:c16="http://schemas.microsoft.com/office/drawing/2014/chart" uri="{C3380CC4-5D6E-409C-BE32-E72D297353CC}">
              <c16:uniqueId val="{00000003-F32D-48B7-BC20-E66FC6253BAD}"/>
            </c:ext>
          </c:extLst>
        </c:ser>
        <c:ser>
          <c:idx val="3"/>
          <c:order val="3"/>
          <c:tx>
            <c:strRef>
              <c:f>Sheet1!$B$5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4:$A$55</c:f>
              <c:numCache>
                <c:formatCode>General</c:formatCode>
                <c:ptCount val="2"/>
                <c:pt idx="0">
                  <c:v>1072.8263911398633</c:v>
                </c:pt>
                <c:pt idx="1">
                  <c:v>1072.8263911398633</c:v>
                </c:pt>
              </c:numCache>
            </c:numRef>
          </c:xVal>
          <c:yVal>
            <c:numRef>
              <c:f>Sheet1!$B$54:$B$55</c:f>
              <c:numCache>
                <c:formatCode>General</c:formatCode>
                <c:ptCount val="2"/>
                <c:pt idx="0">
                  <c:v>0.784463838244189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5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58:$A$59</c:f>
              <c:numCache>
                <c:formatCode>General</c:formatCode>
                <c:ptCount val="2"/>
                <c:pt idx="0">
                  <c:v>0</c:v>
                </c:pt>
                <c:pt idx="1">
                  <c:v>1022.8389141644884</c:v>
                </c:pt>
              </c:numCache>
            </c:numRef>
          </c:xVal>
          <c:yVal>
            <c:numRef>
              <c:f>Sheet1!$B$58:$B$59</c:f>
              <c:numCache>
                <c:formatCode>General</c:formatCode>
                <c:ptCount val="2"/>
                <c:pt idx="0">
                  <c:v>0.6777487995799505</c:v>
                </c:pt>
                <c:pt idx="1">
                  <c:v>0.6777487995799505</c:v>
                </c:pt>
              </c:numCache>
            </c:numRef>
          </c:yVal>
          <c:smooth val="0"/>
          <c:extLst>
            <c:ext xmlns:c16="http://schemas.microsoft.com/office/drawing/2014/chart" uri="{C3380CC4-5D6E-409C-BE32-E72D297353CC}">
              <c16:uniqueId val="{0000000A-F32D-48B7-BC20-E66FC6253BAD}"/>
            </c:ext>
          </c:extLst>
        </c:ser>
        <c:ser>
          <c:idx val="5"/>
          <c:order val="5"/>
          <c:tx>
            <c:strRef>
              <c:f>Sheet1!$B$6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2:$A$63</c:f>
              <c:numCache>
                <c:formatCode>General</c:formatCode>
                <c:ptCount val="2"/>
                <c:pt idx="0">
                  <c:v>1022.8389141644884</c:v>
                </c:pt>
                <c:pt idx="1">
                  <c:v>1022.8389141644884</c:v>
                </c:pt>
              </c:numCache>
            </c:numRef>
          </c:xVal>
          <c:yVal>
            <c:numRef>
              <c:f>Sheet1!$B$62:$B$63</c:f>
              <c:numCache>
                <c:formatCode>General</c:formatCode>
                <c:ptCount val="2"/>
                <c:pt idx="0">
                  <c:v>0.67774879957995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65</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66:$A$72</c:f>
              <c:numCache>
                <c:formatCode>General</c:formatCode>
                <c:ptCount val="7"/>
                <c:pt idx="0">
                  <c:v>725.8182</c:v>
                </c:pt>
                <c:pt idx="1">
                  <c:v>1035.2058</c:v>
                </c:pt>
                <c:pt idx="2">
                  <c:v>1018.5574</c:v>
                </c:pt>
                <c:pt idx="3">
                  <c:v>1017.831</c:v>
                </c:pt>
                <c:pt idx="4">
                  <c:v>1022.8389141644884</c:v>
                </c:pt>
                <c:pt idx="5">
                  <c:v>1072.8263911398633</c:v>
                </c:pt>
                <c:pt idx="6">
                  <c:v>0</c:v>
                </c:pt>
              </c:numCache>
            </c:numRef>
          </c:xVal>
          <c:yVal>
            <c:numRef>
              <c:f>Sheet1!$B$66:$B$72</c:f>
              <c:numCache>
                <c:formatCode>General</c:formatCode>
                <c:ptCount val="7"/>
                <c:pt idx="0">
                  <c:v>0.04365844507460537</c:v>
                </c:pt>
                <c:pt idx="1">
                  <c:v>0.7041500660560114</c:v>
                </c:pt>
                <c:pt idx="2">
                  <c:v>0.6686084712967293</c:v>
                </c:pt>
                <c:pt idx="3">
                  <c:v>0.6670577268147888</c:v>
                </c:pt>
                <c:pt idx="4">
                  <c:v>0.6777487995799503</c:v>
                </c:pt>
                <c:pt idx="5">
                  <c:v>0.7844638382441891</c:v>
                </c:pt>
                <c:pt idx="6">
                  <c:v>-1.5058439895924802</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8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391549295774648"/>
          <c:min val="0.0083707025411061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9</c:f>
              <c:numCache>
                <c:formatCode>General</c:formatCode>
                <c:ptCount val="28"/>
                <c:pt idx="0">
                  <c:v>1.911822878768174</c:v>
                </c:pt>
                <c:pt idx="1">
                  <c:v>1.6078063828165274</c:v>
                </c:pt>
                <c:pt idx="2">
                  <c:v>1.563267916593657</c:v>
                </c:pt>
                <c:pt idx="3">
                  <c:v>2.297334073898436</c:v>
                </c:pt>
                <c:pt idx="4">
                  <c:v>2.315374274154029</c:v>
                </c:pt>
                <c:pt idx="5">
                  <c:v>0.7727675170679124</c:v>
                </c:pt>
                <c:pt idx="6">
                  <c:v>1.0890133915727649</c:v>
                </c:pt>
                <c:pt idx="7">
                  <c:v>1.109591800145366</c:v>
                </c:pt>
                <c:pt idx="8">
                  <c:v>0.8135643141282415</c:v>
                </c:pt>
                <c:pt idx="9">
                  <c:v>0.7399450203467841</c:v>
                </c:pt>
                <c:pt idx="10">
                  <c:v>0.7946818445144077</c:v>
                </c:pt>
                <c:pt idx="11">
                  <c:v>0.7108518553036406</c:v>
                </c:pt>
                <c:pt idx="12">
                  <c:v>1.401411682613328</c:v>
                </c:pt>
                <c:pt idx="13">
                  <c:v>0.6703183953377718</c:v>
                </c:pt>
                <c:pt idx="14">
                  <c:v>1.1039150274952498</c:v>
                </c:pt>
                <c:pt idx="15">
                  <c:v>0.9017348945298534</c:v>
                </c:pt>
                <c:pt idx="16">
                  <c:v>0.7823651877138145</c:v>
                </c:pt>
                <c:pt idx="17">
                  <c:v>0.7240882265068592</c:v>
                </c:pt>
                <c:pt idx="18">
                  <c:v>0.7056794762371413</c:v>
                </c:pt>
                <c:pt idx="19">
                  <c:v>0.8359252376486586</c:v>
                </c:pt>
                <c:pt idx="20">
                  <c:v>1.9918012839195258</c:v>
                </c:pt>
                <c:pt idx="21">
                  <c:v>0.6265691749799642</c:v>
                </c:pt>
                <c:pt idx="22">
                  <c:v>0.9966599839615077</c:v>
                </c:pt>
                <c:pt idx="23">
                  <c:v>1.2460238146558762</c:v>
                </c:pt>
                <c:pt idx="24">
                  <c:v>2.7859620979220514</c:v>
                </c:pt>
                <c:pt idx="25">
                  <c:v>1.818065318088537</c:v>
                </c:pt>
                <c:pt idx="26">
                  <c:v>1.3196501409384844</c:v>
                </c:pt>
                <c:pt idx="27">
                  <c:v>0.5653432483309994</c:v>
                </c:pt>
              </c:numCache>
            </c:numRef>
          </c:xVal>
          <c:yVal>
            <c:numRef>
              <c:f>Sheet1!$B$2:$B$29</c:f>
              <c:numCache>
                <c:formatCode>General</c:formatCode>
                <c:ptCount val="28"/>
                <c:pt idx="0">
                  <c:v>0.46204620462046203</c:v>
                </c:pt>
                <c:pt idx="1">
                  <c:v>0.2616822429906542</c:v>
                </c:pt>
                <c:pt idx="2">
                  <c:v>0.8897058823529411</c:v>
                </c:pt>
                <c:pt idx="3">
                  <c:v>0.6196319018404908</c:v>
                </c:pt>
                <c:pt idx="4">
                  <c:v>0.1952662721893491</c:v>
                </c:pt>
                <c:pt idx="5">
                  <c:v>0.05185185185185185</c:v>
                </c:pt>
                <c:pt idx="6">
                  <c:v>0.25</c:v>
                </c:pt>
                <c:pt idx="7">
                  <c:v>0.4200743494423792</c:v>
                </c:pt>
                <c:pt idx="8">
                  <c:v>0.2555635319454415</c:v>
                </c:pt>
                <c:pt idx="9">
                  <c:v>0.30166880616174585</c:v>
                </c:pt>
                <c:pt idx="10">
                  <c:v>0.22244488977955912</c:v>
                </c:pt>
                <c:pt idx="11">
                  <c:v>0.3754227733934611</c:v>
                </c:pt>
                <c:pt idx="12">
                  <c:v>0.13636363636363635</c:v>
                </c:pt>
                <c:pt idx="13">
                  <c:v>0.18833333333333332</c:v>
                </c:pt>
                <c:pt idx="14">
                  <c:v>0.01046337817638266</c:v>
                </c:pt>
                <c:pt idx="15">
                  <c:v>0.6925465838509317</c:v>
                </c:pt>
                <c:pt idx="16">
                  <c:v>0.23105360443622922</c:v>
                </c:pt>
                <c:pt idx="17">
                  <c:v>0.4317718940936864</c:v>
                </c:pt>
                <c:pt idx="18">
                  <c:v>0.334916864608076</c:v>
                </c:pt>
                <c:pt idx="19">
                  <c:v>0.7533333333333333</c:v>
                </c:pt>
                <c:pt idx="20">
                  <c:v>0.5521235521235521</c:v>
                </c:pt>
                <c:pt idx="21">
                  <c:v>0.17757009345794392</c:v>
                </c:pt>
                <c:pt idx="22">
                  <c:v>0.31290322580645163</c:v>
                </c:pt>
                <c:pt idx="23">
                  <c:v>0.6905737704918032</c:v>
                </c:pt>
                <c:pt idx="24">
                  <c:v>0.40896358543417366</c:v>
                </c:pt>
                <c:pt idx="25">
                  <c:v>0.5661157024793388</c:v>
                </c:pt>
                <c:pt idx="26">
                  <c:v>0.16030534351145037</c:v>
                </c:pt>
                <c:pt idx="27">
                  <c:v>0.08256880733944955</c:v>
                </c:pt>
              </c:numCache>
            </c:numRef>
          </c:yVal>
          <c:smooth val="0"/>
          <c:extLst>
            <c:ext xmlns:c16="http://schemas.microsoft.com/office/drawing/2014/chart" uri="{C3380CC4-5D6E-409C-BE32-E72D297353CC}">
              <c16:uniqueId val="{00000000-096C-4121-9522-6AB7243CCAAE}"/>
            </c:ext>
          </c:extLst>
        </c:ser>
        <c:ser>
          <c:idx val="1"/>
          <c:order val="1"/>
          <c:tx>
            <c:strRef>
              <c:f>Sheet1!$B$3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32:$A$35</c:f>
              <c:numCache>
                <c:formatCode>General</c:formatCode>
                <c:ptCount val="4"/>
                <c:pt idx="0">
                  <c:v>1.0846983506811474</c:v>
                </c:pt>
                <c:pt idx="1">
                  <c:v>1.8507852116081769</c:v>
                </c:pt>
                <c:pt idx="2">
                  <c:v>1.6666613214333168</c:v>
                </c:pt>
                <c:pt idx="3">
                  <c:v>1.276387549518391</c:v>
                </c:pt>
              </c:numCache>
            </c:numRef>
          </c:xVal>
          <c:yVal>
            <c:numRef>
              <c:f>Sheet1!$B$32:$B$35</c:f>
              <c:numCache>
                <c:formatCode>General</c:formatCode>
                <c:ptCount val="4"/>
                <c:pt idx="0">
                  <c:v>0.0502283105022831</c:v>
                </c:pt>
                <c:pt idx="1">
                  <c:v>0.8185745140388769</c:v>
                </c:pt>
                <c:pt idx="2">
                  <c:v>0.5727699530516432</c:v>
                </c:pt>
                <c:pt idx="3">
                  <c:v>0.6419019316493314</c:v>
                </c:pt>
              </c:numCache>
            </c:numRef>
          </c:yVal>
          <c:smooth val="0"/>
          <c:extLst>
            <c:ext xmlns:c16="http://schemas.microsoft.com/office/drawing/2014/chart" uri="{C3380CC4-5D6E-409C-BE32-E72D297353CC}">
              <c16:uniqueId val="{00000002-096C-4121-9522-6AB7243CCAAE}"/>
            </c:ext>
          </c:extLst>
        </c:ser>
        <c:ser>
          <c:idx val="2"/>
          <c:order val="2"/>
          <c:tx>
            <c:strRef>
              <c:f>Sheet1!$B$3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38:$A$39</c:f>
              <c:numCache>
                <c:formatCode>General</c:formatCode>
                <c:ptCount val="2"/>
                <c:pt idx="0">
                  <c:v>0</c:v>
                </c:pt>
                <c:pt idx="1">
                  <c:v>1.6756392268607037</c:v>
                </c:pt>
              </c:numCache>
            </c:numRef>
          </c:xVal>
          <c:yVal>
            <c:numRef>
              <c:f>Sheet1!$B$38:$B$39</c:f>
              <c:numCache>
                <c:formatCode>General</c:formatCode>
                <c:ptCount val="2"/>
                <c:pt idx="0">
                  <c:v>0.6777487995799505</c:v>
                </c:pt>
                <c:pt idx="1">
                  <c:v>0.6777487995799505</c:v>
                </c:pt>
              </c:numCache>
            </c:numRef>
          </c:yVal>
          <c:smooth val="0"/>
          <c:extLst>
            <c:ext xmlns:c16="http://schemas.microsoft.com/office/drawing/2014/chart" uri="{C3380CC4-5D6E-409C-BE32-E72D297353CC}">
              <c16:uniqueId val="{00000005-096C-4121-9522-6AB7243CCAAE}"/>
            </c:ext>
          </c:extLst>
        </c:ser>
        <c:ser>
          <c:idx val="3"/>
          <c:order val="3"/>
          <c:tx>
            <c:strRef>
              <c:f>Sheet1!$B$4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2:$A$43</c:f>
              <c:numCache>
                <c:formatCode>General</c:formatCode>
                <c:ptCount val="2"/>
                <c:pt idx="0">
                  <c:v>1.6756392268607037</c:v>
                </c:pt>
                <c:pt idx="1">
                  <c:v>1.6756392268607037</c:v>
                </c:pt>
              </c:numCache>
            </c:numRef>
          </c:xVal>
          <c:yVal>
            <c:numRef>
              <c:f>Sheet1!$B$42:$B$43</c:f>
              <c:numCache>
                <c:formatCode>General</c:formatCode>
                <c:ptCount val="2"/>
                <c:pt idx="0">
                  <c:v>0.67774879957995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4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46:$A$47</c:f>
              <c:numCache>
                <c:formatCode>General</c:formatCode>
                <c:ptCount val="2"/>
                <c:pt idx="0">
                  <c:v>0</c:v>
                </c:pt>
                <c:pt idx="1">
                  <c:v>1.6756392268607037</c:v>
                </c:pt>
              </c:numCache>
            </c:numRef>
          </c:xVal>
          <c:yVal>
            <c:numRef>
              <c:f>Sheet1!$B$46:$B$47</c:f>
              <c:numCache>
                <c:formatCode>General</c:formatCode>
                <c:ptCount val="2"/>
                <c:pt idx="0">
                  <c:v>0.6777487995799505</c:v>
                </c:pt>
                <c:pt idx="1">
                  <c:v>0.6777487995799505</c:v>
                </c:pt>
              </c:numCache>
            </c:numRef>
          </c:yVal>
          <c:smooth val="0"/>
          <c:extLst>
            <c:ext xmlns:c16="http://schemas.microsoft.com/office/drawing/2014/chart" uri="{C3380CC4-5D6E-409C-BE32-E72D297353CC}">
              <c16:uniqueId val="{0000000D-096C-4121-9522-6AB7243CCAAE}"/>
            </c:ext>
          </c:extLst>
        </c:ser>
        <c:ser>
          <c:idx val="5"/>
          <c:order val="5"/>
          <c:tx>
            <c:strRef>
              <c:f>Sheet1!$B$4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0:$A$51</c:f>
              <c:numCache>
                <c:formatCode>General</c:formatCode>
                <c:ptCount val="2"/>
                <c:pt idx="0">
                  <c:v>1.6756392268607037</c:v>
                </c:pt>
                <c:pt idx="1">
                  <c:v>1.6756392268607037</c:v>
                </c:pt>
              </c:numCache>
            </c:numRef>
          </c:xVal>
          <c:yVal>
            <c:numRef>
              <c:f>Sheet1!$B$50:$B$51</c:f>
              <c:numCache>
                <c:formatCode>General</c:formatCode>
                <c:ptCount val="2"/>
                <c:pt idx="0">
                  <c:v>0.67774879957995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53</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54:$A$60</c:f>
              <c:numCache>
                <c:formatCode>General</c:formatCode>
                <c:ptCount val="7"/>
                <c:pt idx="0">
                  <c:v>1.0846983506811474</c:v>
                </c:pt>
                <c:pt idx="1">
                  <c:v>1.8507852116081769</c:v>
                </c:pt>
                <c:pt idx="2">
                  <c:v>1.6666613214333168</c:v>
                </c:pt>
                <c:pt idx="3">
                  <c:v>1.276387549518391</c:v>
                </c:pt>
                <c:pt idx="4">
                  <c:v>1.6756392268607037</c:v>
                </c:pt>
                <c:pt idx="5">
                  <c:v>1.6756392268607037</c:v>
                </c:pt>
                <c:pt idx="6">
                  <c:v>0</c:v>
                </c:pt>
              </c:numCache>
            </c:numRef>
          </c:xVal>
          <c:yVal>
            <c:numRef>
              <c:f>Sheet1!$B$54:$B$60</c:f>
              <c:numCache>
                <c:formatCode>General</c:formatCode>
                <c:ptCount val="7"/>
                <c:pt idx="0">
                  <c:v>0.22772878288640075</c:v>
                </c:pt>
                <c:pt idx="1">
                  <c:v>0.8111279617889241</c:v>
                </c:pt>
                <c:pt idx="2">
                  <c:v>0.6709118429347679</c:v>
                </c:pt>
                <c:pt idx="3">
                  <c:v>0.37370612163204264</c:v>
                </c:pt>
                <c:pt idx="4">
                  <c:v>0.6777487995799504</c:v>
                </c:pt>
                <c:pt idx="5">
                  <c:v>0.6777487995799504</c:v>
                </c:pt>
                <c:pt idx="6">
                  <c:v>-0.5983030412053828</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uv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676470588235294"/>
          <c:min val="0.0083707025411061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07.1989</c:v>
                </c:pt>
                <c:pt idx="1">
                  <c:v>967.3737</c:v>
                </c:pt>
                <c:pt idx="2">
                  <c:v>969.8427</c:v>
                </c:pt>
                <c:pt idx="3">
                  <c:v>993.1112</c:v>
                </c:pt>
                <c:pt idx="4">
                  <c:v>985.1591</c:v>
                </c:pt>
                <c:pt idx="5">
                  <c:v>977.8358</c:v>
                </c:pt>
                <c:pt idx="6">
                  <c:v>973.1877</c:v>
                </c:pt>
                <c:pt idx="7">
                  <c:v>970.7594</c:v>
                </c:pt>
                <c:pt idx="8">
                  <c:v>961.1026</c:v>
                </c:pt>
                <c:pt idx="9">
                  <c:v>891.7999</c:v>
                </c:pt>
                <c:pt idx="10">
                  <c:v>827.4697</c:v>
                </c:pt>
                <c:pt idx="11">
                  <c:v>804.2089</c:v>
                </c:pt>
                <c:pt idx="12">
                  <c:v>798.3868</c:v>
                </c:pt>
                <c:pt idx="13">
                  <c:v>788.2821</c:v>
                </c:pt>
                <c:pt idx="14">
                  <c:v>927.6461</c:v>
                </c:pt>
                <c:pt idx="15">
                  <c:v>937.3125</c:v>
                </c:pt>
                <c:pt idx="16">
                  <c:v>972.5432</c:v>
                </c:pt>
                <c:pt idx="17">
                  <c:v>989.3265</c:v>
                </c:pt>
                <c:pt idx="18">
                  <c:v>1011.2152</c:v>
                </c:pt>
                <c:pt idx="19">
                  <c:v>1035.9308</c:v>
                </c:pt>
                <c:pt idx="20">
                  <c:v>1057.7028</c:v>
                </c:pt>
                <c:pt idx="21">
                  <c:v>1061.0735</c:v>
                </c:pt>
                <c:pt idx="22">
                  <c:v>1064.5703</c:v>
                </c:pt>
                <c:pt idx="23">
                  <c:v>1069.5638</c:v>
                </c:pt>
                <c:pt idx="24">
                  <c:v>1070.0113</c:v>
                </c:pt>
                <c:pt idx="25">
                  <c:v>1086.2875</c:v>
                </c:pt>
                <c:pt idx="26">
                  <c:v>1078.104</c:v>
                </c:pt>
                <c:pt idx="27">
                  <c:v>1127.3386</c:v>
                </c:pt>
                <c:pt idx="28">
                  <c:v>1115.8192</c:v>
                </c:pt>
                <c:pt idx="29">
                  <c:v>1164.0638</c:v>
                </c:pt>
                <c:pt idx="30">
                  <c:v>1142.2934</c:v>
                </c:pt>
                <c:pt idx="31">
                  <c:v>1142.2038</c:v>
                </c:pt>
                <c:pt idx="32">
                  <c:v>1145.5557</c:v>
                </c:pt>
                <c:pt idx="33">
                  <c:v>1148.5402</c:v>
                </c:pt>
                <c:pt idx="34">
                  <c:v>1091.9651</c:v>
                </c:pt>
                <c:pt idx="35">
                  <c:v>1122.3973</c:v>
                </c:pt>
                <c:pt idx="36">
                  <c:v>1142.1061</c:v>
                </c:pt>
                <c:pt idx="37">
                  <c:v>1180.8306</c:v>
                </c:pt>
                <c:pt idx="38">
                  <c:v>1165.8931</c:v>
                </c:pt>
                <c:pt idx="39">
                  <c:v>1227.83</c:v>
                </c:pt>
                <c:pt idx="40">
                  <c:v>1275.119</c:v>
                </c:pt>
                <c:pt idx="41">
                  <c:v>1240.357</c:v>
                </c:pt>
                <c:pt idx="42">
                  <c:v>1227.1817</c:v>
                </c:pt>
                <c:pt idx="43">
                  <c:v>1208.8023</c:v>
                </c:pt>
                <c:pt idx="44">
                  <c:v>1208.3801</c:v>
                </c:pt>
                <c:pt idx="45">
                  <c:v>1204.9294</c:v>
                </c:pt>
                <c:pt idx="46">
                  <c:v>1151.3308</c:v>
                </c:pt>
                <c:pt idx="47">
                  <c:v>1105.7971</c:v>
                </c:pt>
                <c:pt idx="48">
                  <c:v>1061.9282</c:v>
                </c:pt>
                <c:pt idx="49">
                  <c:v>970.5209</c:v>
                </c:pt>
                <c:pt idx="50">
                  <c:v>1014.583</c:v>
                </c:pt>
                <c:pt idx="51">
                  <c:v>1020.8391</c:v>
                </c:pt>
                <c:pt idx="52">
                  <c:v>1018.4755</c:v>
                </c:pt>
                <c:pt idx="53">
                  <c:v>1184.652</c:v>
                </c:pt>
                <c:pt idx="54">
                  <c:v>1211.4411</c:v>
                </c:pt>
                <c:pt idx="55">
                  <c:v>1197.5581</c:v>
                </c:pt>
                <c:pt idx="56">
                  <c:v>1193.6275</c:v>
                </c:pt>
                <c:pt idx="57">
                  <c:v>1202.6755</c:v>
                </c:pt>
                <c:pt idx="58">
                  <c:v>1196.5798</c:v>
                </c:pt>
                <c:pt idx="59">
                  <c:v>1197.3709</c:v>
                </c:pt>
                <c:pt idx="60">
                  <c:v>1194.6336</c:v>
                </c:pt>
                <c:pt idx="61">
                  <c:v>1153.1838</c:v>
                </c:pt>
                <c:pt idx="62">
                  <c:v>1052.5735</c:v>
                </c:pt>
                <c:pt idx="63">
                  <c:v>1064.2463</c:v>
                </c:pt>
                <c:pt idx="64">
                  <c:v>1047.0266</c:v>
                </c:pt>
                <c:pt idx="65">
                  <c:v>1046.5803</c:v>
                </c:pt>
                <c:pt idx="66">
                  <c:v>1152.0354</c:v>
                </c:pt>
                <c:pt idx="67">
                  <c:v>1177.6028</c:v>
                </c:pt>
                <c:pt idx="68">
                  <c:v>1167.4989</c:v>
                </c:pt>
                <c:pt idx="69">
                  <c:v>1204.287</c:v>
                </c:pt>
                <c:pt idx="70">
                  <c:v>1268.5501</c:v>
                </c:pt>
                <c:pt idx="71">
                  <c:v>1213.3093</c:v>
                </c:pt>
                <c:pt idx="72">
                  <c:v>1236.7037</c:v>
                </c:pt>
                <c:pt idx="73">
                  <c:v>1249.7564</c:v>
                </c:pt>
                <c:pt idx="74">
                  <c:v>1242.2268</c:v>
                </c:pt>
                <c:pt idx="75">
                  <c:v>1238.0357</c:v>
                </c:pt>
                <c:pt idx="76">
                  <c:v>1189.3666</c:v>
                </c:pt>
                <c:pt idx="77">
                  <c:v>1184.4511</c:v>
                </c:pt>
                <c:pt idx="78">
                  <c:v>1223.5735</c:v>
                </c:pt>
                <c:pt idx="79">
                  <c:v>1213.7445</c:v>
                </c:pt>
                <c:pt idx="80">
                  <c:v>1226.6799</c:v>
                </c:pt>
                <c:pt idx="81">
                  <c:v>1299.2252</c:v>
                </c:pt>
                <c:pt idx="82">
                  <c:v>1304.3208</c:v>
                </c:pt>
                <c:pt idx="83">
                  <c:v>1296.0373</c:v>
                </c:pt>
                <c:pt idx="84">
                  <c:v>1332.7107</c:v>
                </c:pt>
                <c:pt idx="85">
                  <c:v>1358.6059</c:v>
                </c:pt>
                <c:pt idx="86">
                  <c:v>1345.7529</c:v>
                </c:pt>
                <c:pt idx="87">
                  <c:v>1340.2444</c:v>
                </c:pt>
                <c:pt idx="88">
                  <c:v>1339.8151</c:v>
                </c:pt>
                <c:pt idx="89">
                  <c:v>1361.8312</c:v>
                </c:pt>
                <c:pt idx="90">
                  <c:v>1331.8981</c:v>
                </c:pt>
                <c:pt idx="91">
                  <c:v>1327.9891</c:v>
                </c:pt>
                <c:pt idx="92">
                  <c:v>1311.2646</c:v>
                </c:pt>
                <c:pt idx="93">
                  <c:v>1292.338</c:v>
                </c:pt>
                <c:pt idx="94">
                  <c:v>1286.6086</c:v>
                </c:pt>
                <c:pt idx="95">
                  <c:v>1292.6419</c:v>
                </c:pt>
                <c:pt idx="96">
                  <c:v>1202.3451</c:v>
                </c:pt>
                <c:pt idx="97">
                  <c:v>1219.8691</c:v>
                </c:pt>
                <c:pt idx="98">
                  <c:v>1167.0973</c:v>
                </c:pt>
                <c:pt idx="99">
                  <c:v>1127.0741</c:v>
                </c:pt>
                <c:pt idx="100">
                  <c:v>1072.815</c:v>
                </c:pt>
                <c:pt idx="101">
                  <c:v>1208.7308</c:v>
                </c:pt>
                <c:pt idx="102">
                  <c:v>1232.956</c:v>
                </c:pt>
                <c:pt idx="103">
                  <c:v>1149.7074</c:v>
                </c:pt>
                <c:pt idx="104">
                  <c:v>1156.9572</c:v>
                </c:pt>
              </c:numCache>
            </c:numRef>
          </c:xVal>
          <c:yVal>
            <c:numRef>
              <c:f>Sheet1!$B$2:$B$106</c:f>
              <c:numCache>
                <c:formatCode>General</c:formatCode>
                <c:ptCount val="105"/>
                <c:pt idx="0">
                  <c:v>0.26012847965738756</c:v>
                </c:pt>
                <c:pt idx="1">
                  <c:v>0.27238736212376147</c:v>
                </c:pt>
                <c:pt idx="2">
                  <c:v>0.26337257810327247</c:v>
                </c:pt>
                <c:pt idx="3">
                  <c:v>0.25908312725889293</c:v>
                </c:pt>
                <c:pt idx="4">
                  <c:v>0.2348164988632673</c:v>
                </c:pt>
                <c:pt idx="5">
                  <c:v>0.21423004119808484</c:v>
                </c:pt>
                <c:pt idx="6">
                  <c:v>0.2182611471746302</c:v>
                </c:pt>
                <c:pt idx="7">
                  <c:v>0.20495495495495494</c:v>
                </c:pt>
                <c:pt idx="8">
                  <c:v>0.22227421619092186</c:v>
                </c:pt>
                <c:pt idx="9">
                  <c:v>0.21707438841737395</c:v>
                </c:pt>
                <c:pt idx="10">
                  <c:v>0.23554804804804805</c:v>
                </c:pt>
                <c:pt idx="11">
                  <c:v>0.2366526167896031</c:v>
                </c:pt>
                <c:pt idx="12">
                  <c:v>0.25389600370313226</c:v>
                </c:pt>
                <c:pt idx="13">
                  <c:v>0.2606355270012155</c:v>
                </c:pt>
                <c:pt idx="14">
                  <c:v>0.2704267438603044</c:v>
                </c:pt>
                <c:pt idx="15">
                  <c:v>0.25789701427953265</c:v>
                </c:pt>
                <c:pt idx="16">
                  <c:v>0.22777026196039848</c:v>
                </c:pt>
                <c:pt idx="17">
                  <c:v>0.23955773955773957</c:v>
                </c:pt>
                <c:pt idx="18">
                  <c:v>0.21729383506805444</c:v>
                </c:pt>
                <c:pt idx="19">
                  <c:v>0.1964573268921095</c:v>
                </c:pt>
                <c:pt idx="20">
                  <c:v>0.21371726233540733</c:v>
                </c:pt>
                <c:pt idx="21">
                  <c:v>0.1863013698630137</c:v>
                </c:pt>
                <c:pt idx="22">
                  <c:v>0.1838928706148623</c:v>
                </c:pt>
                <c:pt idx="23">
                  <c:v>0.1673461463793438</c:v>
                </c:pt>
                <c:pt idx="24">
                  <c:v>0.17663092858440851</c:v>
                </c:pt>
                <c:pt idx="25">
                  <c:v>0.16515276630883569</c:v>
                </c:pt>
                <c:pt idx="26">
                  <c:v>0.16782505509408374</c:v>
                </c:pt>
                <c:pt idx="27">
                  <c:v>0.1683377308707124</c:v>
                </c:pt>
                <c:pt idx="28">
                  <c:v>0.16349876803942273</c:v>
                </c:pt>
                <c:pt idx="29">
                  <c:v>0.14938879187172566</c:v>
                </c:pt>
                <c:pt idx="30">
                  <c:v>0.15433070866141732</c:v>
                </c:pt>
                <c:pt idx="31">
                  <c:v>0.13553553553553555</c:v>
                </c:pt>
                <c:pt idx="32">
                  <c:v>0.14569805194805194</c:v>
                </c:pt>
                <c:pt idx="33">
                  <c:v>0.14377110360760617</c:v>
                </c:pt>
                <c:pt idx="34">
                  <c:v>0.16295242611032085</c:v>
                </c:pt>
                <c:pt idx="35">
                  <c:v>0.18948267447535383</c:v>
                </c:pt>
                <c:pt idx="36">
                  <c:v>0.1787432776677045</c:v>
                </c:pt>
                <c:pt idx="37">
                  <c:v>0.15249472944483486</c:v>
                </c:pt>
                <c:pt idx="38">
                  <c:v>0.15046916890080428</c:v>
                </c:pt>
                <c:pt idx="39">
                  <c:v>0.14069506726457398</c:v>
                </c:pt>
                <c:pt idx="40">
                  <c:v>0.1510353227771011</c:v>
                </c:pt>
                <c:pt idx="41">
                  <c:v>0.14417435037720033</c:v>
                </c:pt>
                <c:pt idx="42">
                  <c:v>0.15697020798201236</c:v>
                </c:pt>
                <c:pt idx="43">
                  <c:v>0.17312378167641326</c:v>
                </c:pt>
                <c:pt idx="44">
                  <c:v>0.15548665915069523</c:v>
                </c:pt>
                <c:pt idx="45">
                  <c:v>0.15145937417828031</c:v>
                </c:pt>
                <c:pt idx="46">
                  <c:v>0.1591240875912409</c:v>
                </c:pt>
                <c:pt idx="47">
                  <c:v>0.1676552686671319</c:v>
                </c:pt>
                <c:pt idx="48">
                  <c:v>0.1735267800076697</c:v>
                </c:pt>
                <c:pt idx="49">
                  <c:v>0.2121083647772078</c:v>
                </c:pt>
                <c:pt idx="50">
                  <c:v>0.18334377828842002</c:v>
                </c:pt>
                <c:pt idx="51">
                  <c:v>0.17443813484763657</c:v>
                </c:pt>
                <c:pt idx="52">
                  <c:v>0.19078901874005946</c:v>
                </c:pt>
                <c:pt idx="53">
                  <c:v>0.18180143672867932</c:v>
                </c:pt>
                <c:pt idx="54">
                  <c:v>0.1655494617103392</c:v>
                </c:pt>
                <c:pt idx="55">
                  <c:v>0.17623596095308072</c:v>
                </c:pt>
                <c:pt idx="56">
                  <c:v>0.1935966487133453</c:v>
                </c:pt>
                <c:pt idx="57">
                  <c:v>0.18437865562854314</c:v>
                </c:pt>
                <c:pt idx="58">
                  <c:v>0.1921921921921922</c:v>
                </c:pt>
                <c:pt idx="59">
                  <c:v>0.19312725899552247</c:v>
                </c:pt>
                <c:pt idx="60">
                  <c:v>0.1935066396578888</c:v>
                </c:pt>
                <c:pt idx="61">
                  <c:v>0.18492792590932855</c:v>
                </c:pt>
                <c:pt idx="62">
                  <c:v>0.20797134583142812</c:v>
                </c:pt>
                <c:pt idx="63">
                  <c:v>0.2189074255806346</c:v>
                </c:pt>
                <c:pt idx="64">
                  <c:v>0.2224744608399546</c:v>
                </c:pt>
                <c:pt idx="65">
                  <c:v>0.22872707212798235</c:v>
                </c:pt>
                <c:pt idx="66">
                  <c:v>0.2179420697829469</c:v>
                </c:pt>
                <c:pt idx="67">
                  <c:v>0.21630960608154803</c:v>
                </c:pt>
                <c:pt idx="68">
                  <c:v>0.19613577949127006</c:v>
                </c:pt>
                <c:pt idx="69">
                  <c:v>0.17736670293797607</c:v>
                </c:pt>
                <c:pt idx="70">
                  <c:v>0.1681854885223209</c:v>
                </c:pt>
                <c:pt idx="71">
                  <c:v>0.17558314958802368</c:v>
                </c:pt>
                <c:pt idx="72">
                  <c:v>0.17655571635311143</c:v>
                </c:pt>
                <c:pt idx="73">
                  <c:v>0.1785470280118424</c:v>
                </c:pt>
                <c:pt idx="74">
                  <c:v>0.1659024103468548</c:v>
                </c:pt>
                <c:pt idx="75">
                  <c:v>0.15557404326123128</c:v>
                </c:pt>
                <c:pt idx="76">
                  <c:v>0.1574769053117783</c:v>
                </c:pt>
                <c:pt idx="77">
                  <c:v>0.15460621912234815</c:v>
                </c:pt>
                <c:pt idx="78">
                  <c:v>0.1562448711636304</c:v>
                </c:pt>
                <c:pt idx="79">
                  <c:v>0.15875943000838222</c:v>
                </c:pt>
                <c:pt idx="80">
                  <c:v>0.14628495780241602</c:v>
                </c:pt>
                <c:pt idx="81">
                  <c:v>0.13667796610169491</c:v>
                </c:pt>
                <c:pt idx="82">
                  <c:v>0.1436801084378177</c:v>
                </c:pt>
                <c:pt idx="83">
                  <c:v>0.13094227504244482</c:v>
                </c:pt>
                <c:pt idx="84">
                  <c:v>0.1255043533658951</c:v>
                </c:pt>
                <c:pt idx="85">
                  <c:v>0.11232449297971919</c:v>
                </c:pt>
                <c:pt idx="86">
                  <c:v>0.12296718972895863</c:v>
                </c:pt>
                <c:pt idx="87">
                  <c:v>0.15997935750225778</c:v>
                </c:pt>
                <c:pt idx="88">
                  <c:v>0.1499921222624862</c:v>
                </c:pt>
                <c:pt idx="89">
                  <c:v>0.1237597911227154</c:v>
                </c:pt>
                <c:pt idx="90">
                  <c:v>0.11240379452299983</c:v>
                </c:pt>
                <c:pt idx="91">
                  <c:v>0.13977406845388635</c:v>
                </c:pt>
                <c:pt idx="92">
                  <c:v>0.14038248337028825</c:v>
                </c:pt>
                <c:pt idx="93">
                  <c:v>0.1275278058645096</c:v>
                </c:pt>
                <c:pt idx="94">
                  <c:v>0.12302466400827057</c:v>
                </c:pt>
                <c:pt idx="95">
                  <c:v>0.1428111933097459</c:v>
                </c:pt>
                <c:pt idx="96">
                  <c:v>0.14006570983918382</c:v>
                </c:pt>
                <c:pt idx="97">
                  <c:v>0.13938150373735894</c:v>
                </c:pt>
                <c:pt idx="98">
                  <c:v>0.162250593443254</c:v>
                </c:pt>
                <c:pt idx="99">
                  <c:v>0.16527112086389098</c:v>
                </c:pt>
                <c:pt idx="100">
                  <c:v>0.2001013171225937</c:v>
                </c:pt>
                <c:pt idx="101">
                  <c:v>0.1658822032820252</c:v>
                </c:pt>
                <c:pt idx="102">
                  <c:v>0.13617322936134563</c:v>
                </c:pt>
                <c:pt idx="103">
                  <c:v>0.15280477645098584</c:v>
                </c:pt>
                <c:pt idx="104">
                  <c:v>0.167021924482338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51.9671</c:v>
                </c:pt>
                <c:pt idx="1">
                  <c:v>1272.6494</c:v>
                </c:pt>
                <c:pt idx="2">
                  <c:v>1273.7144</c:v>
                </c:pt>
                <c:pt idx="3">
                  <c:v>1272.1069</c:v>
                </c:pt>
                <c:pt idx="4">
                  <c:v>1251.6705</c:v>
                </c:pt>
                <c:pt idx="5">
                  <c:v>1293.8531</c:v>
                </c:pt>
                <c:pt idx="6">
                  <c:v>1236.3245</c:v>
                </c:pt>
                <c:pt idx="7">
                  <c:v>1200.569</c:v>
                </c:pt>
                <c:pt idx="8">
                  <c:v>1231.1529</c:v>
                </c:pt>
                <c:pt idx="9">
                  <c:v>1112.9883</c:v>
                </c:pt>
                <c:pt idx="10">
                  <c:v>1121.1351</c:v>
                </c:pt>
                <c:pt idx="11">
                  <c:v>1233.9023</c:v>
                </c:pt>
                <c:pt idx="12">
                  <c:v>1177.6031</c:v>
                </c:pt>
                <c:pt idx="13">
                  <c:v>1117.96</c:v>
                </c:pt>
                <c:pt idx="14">
                  <c:v>1212.7448</c:v>
                </c:pt>
                <c:pt idx="15">
                  <c:v>1146.9242</c:v>
                </c:pt>
                <c:pt idx="16">
                  <c:v>1170.3937</c:v>
                </c:pt>
                <c:pt idx="17">
                  <c:v>1118.2818</c:v>
                </c:pt>
                <c:pt idx="18">
                  <c:v>1085.2199</c:v>
                </c:pt>
                <c:pt idx="19">
                  <c:v>1081.292</c:v>
                </c:pt>
                <c:pt idx="20">
                  <c:v>1037.0035</c:v>
                </c:pt>
                <c:pt idx="21">
                  <c:v>1129.6023</c:v>
                </c:pt>
                <c:pt idx="22">
                  <c:v>1158.3785</c:v>
                </c:pt>
                <c:pt idx="23">
                  <c:v>1080.4809</c:v>
                </c:pt>
                <c:pt idx="24">
                  <c:v>1075.2676</c:v>
                </c:pt>
                <c:pt idx="25">
                  <c:v>1090.9566</c:v>
                </c:pt>
                <c:pt idx="26">
                  <c:v>1115.6676</c:v>
                </c:pt>
                <c:pt idx="27">
                  <c:v>1200.7747</c:v>
                </c:pt>
                <c:pt idx="28">
                  <c:v>1298.3181</c:v>
                </c:pt>
                <c:pt idx="29">
                  <c:v>1306.0954</c:v>
                </c:pt>
                <c:pt idx="30">
                  <c:v>1380.2576</c:v>
                </c:pt>
                <c:pt idx="31">
                  <c:v>1355.6533</c:v>
                </c:pt>
                <c:pt idx="32">
                  <c:v>1342.0672</c:v>
                </c:pt>
                <c:pt idx="33">
                  <c:v>1400.2967</c:v>
                </c:pt>
                <c:pt idx="34">
                  <c:v>1439.8929</c:v>
                </c:pt>
                <c:pt idx="35">
                  <c:v>1417.5724</c:v>
                </c:pt>
                <c:pt idx="36">
                  <c:v>1272.4854</c:v>
                </c:pt>
                <c:pt idx="37">
                  <c:v>1308.3391</c:v>
                </c:pt>
                <c:pt idx="38">
                  <c:v>1304.0604</c:v>
                </c:pt>
                <c:pt idx="39">
                  <c:v>1362.1294</c:v>
                </c:pt>
                <c:pt idx="40">
                  <c:v>1371.6543</c:v>
                </c:pt>
                <c:pt idx="41">
                  <c:v>1370.2283</c:v>
                </c:pt>
                <c:pt idx="42">
                  <c:v>1365.7477</c:v>
                </c:pt>
                <c:pt idx="43">
                  <c:v>1346.3663</c:v>
                </c:pt>
                <c:pt idx="44">
                  <c:v>1264.0702</c:v>
                </c:pt>
                <c:pt idx="45">
                  <c:v>1250.7009</c:v>
                </c:pt>
                <c:pt idx="46">
                  <c:v>1203.2856</c:v>
                </c:pt>
                <c:pt idx="47">
                  <c:v>1215.0359</c:v>
                </c:pt>
                <c:pt idx="48">
                  <c:v>1157.8543</c:v>
                </c:pt>
                <c:pt idx="49">
                  <c:v>1137.9812</c:v>
                </c:pt>
                <c:pt idx="50">
                  <c:v>1062.9681</c:v>
                </c:pt>
                <c:pt idx="51">
                  <c:v>1057.8405</c:v>
                </c:pt>
              </c:numCache>
            </c:numRef>
          </c:xVal>
          <c:yVal>
            <c:numRef>
              <c:f>Sheet1!$B$109:$B$160</c:f>
              <c:numCache>
                <c:formatCode>General</c:formatCode>
                <c:ptCount val="52"/>
                <c:pt idx="0">
                  <c:v>0.1769493496112201</c:v>
                </c:pt>
                <c:pt idx="1">
                  <c:v>0.15590686083638347</c:v>
                </c:pt>
                <c:pt idx="2">
                  <c:v>0.16194158075601375</c:v>
                </c:pt>
                <c:pt idx="3">
                  <c:v>0.16526839915421868</c:v>
                </c:pt>
                <c:pt idx="4">
                  <c:v>0.15186813186813186</c:v>
                </c:pt>
                <c:pt idx="5">
                  <c:v>0.13581900197349872</c:v>
                </c:pt>
                <c:pt idx="6">
                  <c:v>0.14691242806035154</c:v>
                </c:pt>
                <c:pt idx="7">
                  <c:v>0.15263437998935603</c:v>
                </c:pt>
                <c:pt idx="8">
                  <c:v>0.15743562795585916</c:v>
                </c:pt>
                <c:pt idx="9">
                  <c:v>0.1817742558948589</c:v>
                </c:pt>
                <c:pt idx="10">
                  <c:v>0.17085878548329142</c:v>
                </c:pt>
                <c:pt idx="11">
                  <c:v>0.17358925143953935</c:v>
                </c:pt>
                <c:pt idx="12">
                  <c:v>0.18205886933499454</c:v>
                </c:pt>
                <c:pt idx="13">
                  <c:v>0.1822017644802455</c:v>
                </c:pt>
                <c:pt idx="14">
                  <c:v>0.17596236099230111</c:v>
                </c:pt>
                <c:pt idx="15">
                  <c:v>0.1706055471327923</c:v>
                </c:pt>
                <c:pt idx="16">
                  <c:v>0.16709664615995237</c:v>
                </c:pt>
                <c:pt idx="17">
                  <c:v>0.16556088598550578</c:v>
                </c:pt>
                <c:pt idx="18">
                  <c:v>0.16476655808903365</c:v>
                </c:pt>
                <c:pt idx="19">
                  <c:v>0.17328439550661773</c:v>
                </c:pt>
                <c:pt idx="20">
                  <c:v>0.17410987397528446</c:v>
                </c:pt>
                <c:pt idx="21">
                  <c:v>0.15474851357865982</c:v>
                </c:pt>
                <c:pt idx="22">
                  <c:v>0.1512164096040706</c:v>
                </c:pt>
                <c:pt idx="23">
                  <c:v>0.1667995535002392</c:v>
                </c:pt>
                <c:pt idx="24">
                  <c:v>0.1742128935532234</c:v>
                </c:pt>
                <c:pt idx="25">
                  <c:v>0.18850393700787402</c:v>
                </c:pt>
                <c:pt idx="26">
                  <c:v>0.17250118802471093</c:v>
                </c:pt>
                <c:pt idx="27">
                  <c:v>0.1400374585794554</c:v>
                </c:pt>
                <c:pt idx="28">
                  <c:v>0.11744658539782409</c:v>
                </c:pt>
                <c:pt idx="29">
                  <c:v>0.10954567041317081</c:v>
                </c:pt>
                <c:pt idx="30">
                  <c:v>0.11512340566506543</c:v>
                </c:pt>
                <c:pt idx="31">
                  <c:v>0.09841628959276018</c:v>
                </c:pt>
                <c:pt idx="32">
                  <c:v>0.09037261844545608</c:v>
                </c:pt>
                <c:pt idx="33">
                  <c:v>0.11124141397218965</c:v>
                </c:pt>
                <c:pt idx="34">
                  <c:v>0.13885104450499547</c:v>
                </c:pt>
                <c:pt idx="35">
                  <c:v>0.15230312035661217</c:v>
                </c:pt>
                <c:pt idx="36">
                  <c:v>0.12056184159188452</c:v>
                </c:pt>
                <c:pt idx="37">
                  <c:v>0.1283714578354387</c:v>
                </c:pt>
                <c:pt idx="38">
                  <c:v>0.11926070038910506</c:v>
                </c:pt>
                <c:pt idx="39">
                  <c:v>0.1382540809084457</c:v>
                </c:pt>
                <c:pt idx="40">
                  <c:v>0.12350984197393956</c:v>
                </c:pt>
                <c:pt idx="41">
                  <c:v>0.1278409090909091</c:v>
                </c:pt>
                <c:pt idx="42">
                  <c:v>0.12382310984308131</c:v>
                </c:pt>
                <c:pt idx="43">
                  <c:v>0.13285699492596045</c:v>
                </c:pt>
                <c:pt idx="44">
                  <c:v>0.13854291076608088</c:v>
                </c:pt>
                <c:pt idx="45">
                  <c:v>0.1601690294438386</c:v>
                </c:pt>
                <c:pt idx="46">
                  <c:v>0.1502052441987099</c:v>
                </c:pt>
                <c:pt idx="47">
                  <c:v>0.15892282958199358</c:v>
                </c:pt>
                <c:pt idx="48">
                  <c:v>0.14972565157750342</c:v>
                </c:pt>
                <c:pt idx="49">
                  <c:v>0.15564247766944947</c:v>
                </c:pt>
                <c:pt idx="50">
                  <c:v>0.20848355529394452</c:v>
                </c:pt>
                <c:pt idx="51">
                  <c:v>0.187917860553963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45.0923858062769</c:v>
                </c:pt>
              </c:numCache>
            </c:numRef>
          </c:xVal>
          <c:yVal>
            <c:numRef>
              <c:f>Sheet1!$B$163:$B$164</c:f>
              <c:numCache>
                <c:formatCode>General</c:formatCode>
                <c:ptCount val="2"/>
                <c:pt idx="0">
                  <c:v>0.23883426728057483</c:v>
                </c:pt>
                <c:pt idx="1">
                  <c:v>0.2388342672805748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45.0923858062769</c:v>
                </c:pt>
                <c:pt idx="1">
                  <c:v>745.0923858062769</c:v>
                </c:pt>
              </c:numCache>
            </c:numRef>
          </c:xVal>
          <c:yVal>
            <c:numRef>
              <c:f>Sheet1!$B$167:$B$168</c:f>
              <c:numCache>
                <c:formatCode>General</c:formatCode>
                <c:ptCount val="2"/>
                <c:pt idx="0">
                  <c:v>0.2388342672805748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5.0940997205062</c:v>
                </c:pt>
              </c:numCache>
            </c:numRef>
          </c:xVal>
          <c:yVal>
            <c:numRef>
              <c:f>Sheet1!$B$171:$B$172</c:f>
              <c:numCache>
                <c:formatCode>General</c:formatCode>
                <c:ptCount val="2"/>
                <c:pt idx="0">
                  <c:v>0.17544238627371528</c:v>
                </c:pt>
                <c:pt idx="1">
                  <c:v>0.1754423862737152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5.0940997205062</c:v>
                </c:pt>
                <c:pt idx="1">
                  <c:v>1095.0940997205062</c:v>
                </c:pt>
              </c:numCache>
            </c:numRef>
          </c:xVal>
          <c:yVal>
            <c:numRef>
              <c:f>Sheet1!$B$175:$B$176</c:f>
              <c:numCache>
                <c:formatCode>General</c:formatCode>
                <c:ptCount val="2"/>
                <c:pt idx="0">
                  <c:v>0.1754423862737152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33.0641350188582</c:v>
                </c:pt>
              </c:numCache>
            </c:numRef>
          </c:xVal>
          <c:yVal>
            <c:numRef>
              <c:f>Sheet1!$B$179:$B$180</c:f>
              <c:numCache>
                <c:formatCode>General</c:formatCode>
                <c:ptCount val="2"/>
                <c:pt idx="0">
                  <c:v>0.15045342275598617</c:v>
                </c:pt>
                <c:pt idx="1">
                  <c:v>0.1504534227559861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33.0641350188582</c:v>
                </c:pt>
                <c:pt idx="1">
                  <c:v>1233.0641350188582</c:v>
                </c:pt>
              </c:numCache>
            </c:numRef>
          </c:xVal>
          <c:yVal>
            <c:numRef>
              <c:f>Sheet1!$B$183:$B$184</c:f>
              <c:numCache>
                <c:formatCode>General</c:formatCode>
                <c:ptCount val="2"/>
                <c:pt idx="0">
                  <c:v>0.1504534227559861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51.9671</c:v>
                </c:pt>
                <c:pt idx="1">
                  <c:v>1272.6494</c:v>
                </c:pt>
                <c:pt idx="2">
                  <c:v>1273.7144</c:v>
                </c:pt>
                <c:pt idx="3">
                  <c:v>1272.1069</c:v>
                </c:pt>
                <c:pt idx="4">
                  <c:v>1251.6705</c:v>
                </c:pt>
                <c:pt idx="5">
                  <c:v>1293.8531</c:v>
                </c:pt>
                <c:pt idx="6">
                  <c:v>1236.3245</c:v>
                </c:pt>
                <c:pt idx="7">
                  <c:v>1200.569</c:v>
                </c:pt>
                <c:pt idx="8">
                  <c:v>1231.1529</c:v>
                </c:pt>
                <c:pt idx="9">
                  <c:v>1112.9883</c:v>
                </c:pt>
                <c:pt idx="10">
                  <c:v>1121.1351</c:v>
                </c:pt>
                <c:pt idx="11">
                  <c:v>1233.9023</c:v>
                </c:pt>
                <c:pt idx="12">
                  <c:v>1177.6031</c:v>
                </c:pt>
                <c:pt idx="13">
                  <c:v>1117.96</c:v>
                </c:pt>
                <c:pt idx="14">
                  <c:v>1212.7448</c:v>
                </c:pt>
                <c:pt idx="15">
                  <c:v>1146.9242</c:v>
                </c:pt>
                <c:pt idx="16">
                  <c:v>1170.3937</c:v>
                </c:pt>
                <c:pt idx="17">
                  <c:v>1118.2818</c:v>
                </c:pt>
                <c:pt idx="18">
                  <c:v>1085.2199</c:v>
                </c:pt>
                <c:pt idx="19">
                  <c:v>1081.292</c:v>
                </c:pt>
                <c:pt idx="20">
                  <c:v>1037.0035</c:v>
                </c:pt>
                <c:pt idx="21">
                  <c:v>1129.6023</c:v>
                </c:pt>
                <c:pt idx="22">
                  <c:v>1158.3785</c:v>
                </c:pt>
                <c:pt idx="23">
                  <c:v>1080.4809</c:v>
                </c:pt>
                <c:pt idx="24">
                  <c:v>1075.2676</c:v>
                </c:pt>
                <c:pt idx="25">
                  <c:v>1090.9566</c:v>
                </c:pt>
                <c:pt idx="26">
                  <c:v>1115.6676</c:v>
                </c:pt>
                <c:pt idx="27">
                  <c:v>1200.7747</c:v>
                </c:pt>
                <c:pt idx="28">
                  <c:v>1298.3181</c:v>
                </c:pt>
                <c:pt idx="29">
                  <c:v>1306.0954</c:v>
                </c:pt>
                <c:pt idx="30">
                  <c:v>1380.2576</c:v>
                </c:pt>
                <c:pt idx="31">
                  <c:v>1355.6533</c:v>
                </c:pt>
                <c:pt idx="32">
                  <c:v>1342.0672</c:v>
                </c:pt>
                <c:pt idx="33">
                  <c:v>1400.2967</c:v>
                </c:pt>
                <c:pt idx="34">
                  <c:v>1439.8929</c:v>
                </c:pt>
                <c:pt idx="35">
                  <c:v>1417.5724</c:v>
                </c:pt>
                <c:pt idx="36">
                  <c:v>1272.4854</c:v>
                </c:pt>
                <c:pt idx="37">
                  <c:v>1308.3391</c:v>
                </c:pt>
                <c:pt idx="38">
                  <c:v>1304.0604</c:v>
                </c:pt>
                <c:pt idx="39">
                  <c:v>1362.1294</c:v>
                </c:pt>
                <c:pt idx="40">
                  <c:v>1371.6543</c:v>
                </c:pt>
                <c:pt idx="41">
                  <c:v>1370.2283</c:v>
                </c:pt>
                <c:pt idx="42">
                  <c:v>1365.7477</c:v>
                </c:pt>
                <c:pt idx="43">
                  <c:v>1346.3663</c:v>
                </c:pt>
                <c:pt idx="44">
                  <c:v>1264.0702</c:v>
                </c:pt>
                <c:pt idx="45">
                  <c:v>1250.7009</c:v>
                </c:pt>
                <c:pt idx="46">
                  <c:v>1203.2856</c:v>
                </c:pt>
                <c:pt idx="47">
                  <c:v>1215.0359</c:v>
                </c:pt>
                <c:pt idx="48">
                  <c:v>1157.8543</c:v>
                </c:pt>
                <c:pt idx="49">
                  <c:v>1137.9812</c:v>
                </c:pt>
                <c:pt idx="50">
                  <c:v>1062.9681</c:v>
                </c:pt>
                <c:pt idx="51">
                  <c:v>1057.8405</c:v>
                </c:pt>
                <c:pt idx="52">
                  <c:v>1095.0940997205062</c:v>
                </c:pt>
                <c:pt idx="53">
                  <c:v>745.0923858062769</c:v>
                </c:pt>
                <c:pt idx="54">
                  <c:v>1233.0641350188582</c:v>
                </c:pt>
              </c:numCache>
            </c:numRef>
          </c:xVal>
          <c:yVal>
            <c:numRef>
              <c:f>Sheet1!$B$187:$B$241</c:f>
              <c:numCache>
                <c:formatCode>General</c:formatCode>
                <c:ptCount val="55"/>
                <c:pt idx="0">
                  <c:v>0.14702974093065937</c:v>
                </c:pt>
                <c:pt idx="1">
                  <c:v>0.14328378812978404</c:v>
                </c:pt>
                <c:pt idx="2">
                  <c:v>0.1430908966364331</c:v>
                </c:pt>
                <c:pt idx="3">
                  <c:v>0.14338204506419053</c:v>
                </c:pt>
                <c:pt idx="4">
                  <c:v>0.1470834607587607</c:v>
                </c:pt>
                <c:pt idx="5">
                  <c:v>0.13944340000061464</c:v>
                </c:pt>
                <c:pt idx="6">
                  <c:v>0.14986290945074526</c:v>
                </c:pt>
                <c:pt idx="7">
                  <c:v>0.15633890174230364</c:v>
                </c:pt>
                <c:pt idx="8">
                  <c:v>0.1507995832977065</c:v>
                </c:pt>
                <c:pt idx="9">
                  <c:v>0.17220141067349704</c:v>
                </c:pt>
                <c:pt idx="10">
                  <c:v>0.17072587225281022</c:v>
                </c:pt>
                <c:pt idx="11">
                  <c:v>0.1503016153429468</c:v>
                </c:pt>
                <c:pt idx="12">
                  <c:v>0.1604984573734289</c:v>
                </c:pt>
                <c:pt idx="13">
                  <c:v>0.17130094246927835</c:v>
                </c:pt>
                <c:pt idx="14">
                  <c:v>0.15413363578479902</c:v>
                </c:pt>
                <c:pt idx="15">
                  <c:v>0.1660549821014705</c:v>
                </c:pt>
                <c:pt idx="16">
                  <c:v>0.16180421505621229</c:v>
                </c:pt>
                <c:pt idx="17">
                  <c:v>0.17124265844809497</c:v>
                </c:pt>
                <c:pt idx="18">
                  <c:v>0.17723078921243257</c:v>
                </c:pt>
                <c:pt idx="19">
                  <c:v>0.17794220564129</c:v>
                </c:pt>
                <c:pt idx="20">
                  <c:v>0.1859636844237062</c:v>
                </c:pt>
                <c:pt idx="21">
                  <c:v>0.16919230337722233</c:v>
                </c:pt>
                <c:pt idx="22">
                  <c:v>0.16398039333875714</c:v>
                </c:pt>
                <c:pt idx="23">
                  <c:v>0.17808911107815098</c:v>
                </c:pt>
                <c:pt idx="24">
                  <c:v>0.1790333375779505</c:v>
                </c:pt>
                <c:pt idx="25">
                  <c:v>0.1761917651467928</c:v>
                </c:pt>
                <c:pt idx="26">
                  <c:v>0.1717161391447316</c:v>
                </c:pt>
                <c:pt idx="27">
                  <c:v>0.15630164561067708</c:v>
                </c:pt>
                <c:pt idx="28">
                  <c:v>0.1386347046787255</c:v>
                </c:pt>
                <c:pt idx="29">
                  <c:v>0.13722608964469893</c:v>
                </c:pt>
                <c:pt idx="30">
                  <c:v>0.12379392297034086</c:v>
                </c:pt>
                <c:pt idx="31">
                  <c:v>0.12825022359931235</c:v>
                </c:pt>
                <c:pt idx="32">
                  <c:v>0.13071092136251916</c:v>
                </c:pt>
                <c:pt idx="33">
                  <c:v>0.1201644657643231</c:v>
                </c:pt>
                <c:pt idx="34">
                  <c:v>0.11299285060092157</c:v>
                </c:pt>
                <c:pt idx="35">
                  <c:v>0.11703551217588848</c:v>
                </c:pt>
                <c:pt idx="36">
                  <c:v>0.14331349160857237</c:v>
                </c:pt>
                <c:pt idx="37">
                  <c:v>0.13681971345349564</c:v>
                </c:pt>
                <c:pt idx="38">
                  <c:v>0.13759466634795636</c:v>
                </c:pt>
                <c:pt idx="39">
                  <c:v>0.1270772803128428</c:v>
                </c:pt>
                <c:pt idx="40">
                  <c:v>0.1253521421109476</c:v>
                </c:pt>
                <c:pt idx="41">
                  <c:v>0.12561041748138746</c:v>
                </c:pt>
                <c:pt idx="42">
                  <c:v>0.12642193825613698</c:v>
                </c:pt>
                <c:pt idx="43">
                  <c:v>0.1299322736450872</c:v>
                </c:pt>
                <c:pt idx="44">
                  <c:v>0.14483764230795906</c:v>
                </c:pt>
                <c:pt idx="45">
                  <c:v>0.1472590735211579</c:v>
                </c:pt>
                <c:pt idx="46">
                  <c:v>0.1558468744833016</c:v>
                </c:pt>
                <c:pt idx="47">
                  <c:v>0.1537186745637508</c:v>
                </c:pt>
                <c:pt idx="48">
                  <c:v>0.1640753357996159</c:v>
                </c:pt>
                <c:pt idx="49">
                  <c:v>0.1676747272892991</c:v>
                </c:pt>
                <c:pt idx="50">
                  <c:v>0.1812610079276875</c:v>
                </c:pt>
                <c:pt idx="51">
                  <c:v>0.1821897125486324</c:v>
                </c:pt>
                <c:pt idx="52">
                  <c:v>0.17544238627371528</c:v>
                </c:pt>
                <c:pt idx="53">
                  <c:v>0.23883426728057483</c:v>
                </c:pt>
                <c:pt idx="54">
                  <c:v>0.1504534227559861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28.0"/>
          <c:min val="59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68648345485137"/>
          <c:min val="0.072298094756364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9</c:f>
              <c:numCache>
                <c:formatCode>General</c:formatCode>
                <c:ptCount val="28"/>
                <c:pt idx="0">
                  <c:v>889.3714</c:v>
                </c:pt>
                <c:pt idx="1">
                  <c:v>887.9286</c:v>
                </c:pt>
                <c:pt idx="2">
                  <c:v>892.157</c:v>
                </c:pt>
                <c:pt idx="3">
                  <c:v>1060.9307</c:v>
                </c:pt>
                <c:pt idx="4">
                  <c:v>1067.8182</c:v>
                </c:pt>
                <c:pt idx="5">
                  <c:v>376.3571</c:v>
                </c:pt>
                <c:pt idx="6">
                  <c:v>786.9495</c:v>
                </c:pt>
                <c:pt idx="7">
                  <c:v>722.2434</c:v>
                </c:pt>
                <c:pt idx="8">
                  <c:v>580.8933</c:v>
                </c:pt>
                <c:pt idx="9">
                  <c:v>521.6255</c:v>
                </c:pt>
                <c:pt idx="10">
                  <c:v>618.6622</c:v>
                </c:pt>
                <c:pt idx="11">
                  <c:v>497.3003</c:v>
                </c:pt>
                <c:pt idx="12">
                  <c:v>1007.3968</c:v>
                </c:pt>
                <c:pt idx="13">
                  <c:v>492.7965</c:v>
                </c:pt>
                <c:pt idx="14">
                  <c:v>808.2857</c:v>
                </c:pt>
                <c:pt idx="15">
                  <c:v>504.4305</c:v>
                </c:pt>
                <c:pt idx="16">
                  <c:v>529.904</c:v>
                </c:pt>
                <c:pt idx="17">
                  <c:v>504.3491</c:v>
                </c:pt>
                <c:pt idx="18">
                  <c:v>495.5035</c:v>
                </c:pt>
                <c:pt idx="19">
                  <c:v>493.2743</c:v>
                </c:pt>
                <c:pt idx="20">
                  <c:v>1151.5629</c:v>
                </c:pt>
                <c:pt idx="21">
                  <c:v>496.8421</c:v>
                </c:pt>
                <c:pt idx="22">
                  <c:v>497.134</c:v>
                </c:pt>
                <c:pt idx="23">
                  <c:v>782.1365</c:v>
                </c:pt>
                <c:pt idx="24">
                  <c:v>1167.7466</c:v>
                </c:pt>
                <c:pt idx="25">
                  <c:v>1162.7664</c:v>
                </c:pt>
                <c:pt idx="26">
                  <c:v>795.881</c:v>
                </c:pt>
                <c:pt idx="27">
                  <c:v>504.7778</c:v>
                </c:pt>
              </c:numCache>
            </c:numRef>
          </c:xVal>
          <c:yVal>
            <c:numRef>
              <c:f>Sheet1!$B$2:$B$29</c:f>
              <c:numCache>
                <c:formatCode>General</c:formatCode>
                <c:ptCount val="28"/>
                <c:pt idx="0">
                  <c:v>0.46204620462046203</c:v>
                </c:pt>
                <c:pt idx="1">
                  <c:v>0.2616822429906542</c:v>
                </c:pt>
                <c:pt idx="2">
                  <c:v>0.8897058823529411</c:v>
                </c:pt>
                <c:pt idx="3">
                  <c:v>0.6196319018404908</c:v>
                </c:pt>
                <c:pt idx="4">
                  <c:v>0.1952662721893491</c:v>
                </c:pt>
                <c:pt idx="5">
                  <c:v>0.05185185185185185</c:v>
                </c:pt>
                <c:pt idx="6">
                  <c:v>0.25</c:v>
                </c:pt>
                <c:pt idx="7">
                  <c:v>0.4200743494423792</c:v>
                </c:pt>
                <c:pt idx="8">
                  <c:v>0.2555635319454415</c:v>
                </c:pt>
                <c:pt idx="9">
                  <c:v>0.30166880616174585</c:v>
                </c:pt>
                <c:pt idx="10">
                  <c:v>0.22244488977955912</c:v>
                </c:pt>
                <c:pt idx="11">
                  <c:v>0.3754227733934611</c:v>
                </c:pt>
                <c:pt idx="12">
                  <c:v>0.13636363636363635</c:v>
                </c:pt>
                <c:pt idx="13">
                  <c:v>0.18833333333333332</c:v>
                </c:pt>
                <c:pt idx="14">
                  <c:v>0.01046337817638266</c:v>
                </c:pt>
                <c:pt idx="15">
                  <c:v>0.6925465838509317</c:v>
                </c:pt>
                <c:pt idx="16">
                  <c:v>0.23105360443622922</c:v>
                </c:pt>
                <c:pt idx="17">
                  <c:v>0.4317718940936864</c:v>
                </c:pt>
                <c:pt idx="18">
                  <c:v>0.334916864608076</c:v>
                </c:pt>
                <c:pt idx="19">
                  <c:v>0.7533333333333333</c:v>
                </c:pt>
                <c:pt idx="20">
                  <c:v>0.5521235521235521</c:v>
                </c:pt>
                <c:pt idx="21">
                  <c:v>0.17757009345794392</c:v>
                </c:pt>
                <c:pt idx="22">
                  <c:v>0.31290322580645163</c:v>
                </c:pt>
                <c:pt idx="23">
                  <c:v>0.6905737704918032</c:v>
                </c:pt>
                <c:pt idx="24">
                  <c:v>0.40896358543417366</c:v>
                </c:pt>
                <c:pt idx="25">
                  <c:v>0.5661157024793388</c:v>
                </c:pt>
                <c:pt idx="26">
                  <c:v>0.16030534351145037</c:v>
                </c:pt>
                <c:pt idx="27">
                  <c:v>0.08256880733944955</c:v>
                </c:pt>
              </c:numCache>
            </c:numRef>
          </c:yVal>
          <c:smooth val="0"/>
          <c:extLst>
            <c:ext xmlns:c16="http://schemas.microsoft.com/office/drawing/2014/chart" uri="{C3380CC4-5D6E-409C-BE32-E72D297353CC}">
              <c16:uniqueId val="{00000000-F32D-48B7-BC20-E66FC6253BAD}"/>
            </c:ext>
          </c:extLst>
        </c:ser>
        <c:ser>
          <c:idx val="1"/>
          <c:order val="1"/>
          <c:tx>
            <c:strRef>
              <c:f>Sheet1!$B$3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32:$A$35</c:f>
              <c:numCache>
                <c:formatCode>General</c:formatCode>
                <c:ptCount val="4"/>
                <c:pt idx="0">
                  <c:v>725.8182</c:v>
                </c:pt>
                <c:pt idx="1">
                  <c:v>1035.2058</c:v>
                </c:pt>
                <c:pt idx="2">
                  <c:v>1018.5574</c:v>
                </c:pt>
                <c:pt idx="3">
                  <c:v>1017.831</c:v>
                </c:pt>
              </c:numCache>
            </c:numRef>
          </c:xVal>
          <c:yVal>
            <c:numRef>
              <c:f>Sheet1!$B$32:$B$35</c:f>
              <c:numCache>
                <c:formatCode>General</c:formatCode>
                <c:ptCount val="4"/>
                <c:pt idx="0">
                  <c:v>0.0502283105022831</c:v>
                </c:pt>
                <c:pt idx="1">
                  <c:v>0.8185745140388769</c:v>
                </c:pt>
                <c:pt idx="2">
                  <c:v>0.5727699530516432</c:v>
                </c:pt>
                <c:pt idx="3">
                  <c:v>0.6419019316493314</c:v>
                </c:pt>
              </c:numCache>
            </c:numRef>
          </c:yVal>
          <c:smooth val="0"/>
          <c:extLst>
            <c:ext xmlns:c16="http://schemas.microsoft.com/office/drawing/2014/chart" uri="{C3380CC4-5D6E-409C-BE32-E72D297353CC}">
              <c16:uniqueId val="{00000002-F32D-48B7-BC20-E66FC6253BAD}"/>
            </c:ext>
          </c:extLst>
        </c:ser>
        <c:ser>
          <c:idx val="2"/>
          <c:order val="2"/>
          <c:tx>
            <c:strRef>
              <c:f>Sheet1!$B$37</c:f>
              <c:strCache>
                <c:ptCount val="1"/>
                <c:pt idx="0">
                  <c:v>Custom Linep3yQ</c:v>
                </c:pt>
              </c:strCache>
            </c:strRef>
          </c:tx>
          <c:spPr>
            <a:ln w="19050" cap="rnd">
              <a:solidFill>
                <a:srgbClr val="C00000"/>
              </a:solidFill>
              <a:prstDash val="sysDot"/>
              <a:round/>
            </a:ln>
            <a:effectLst/>
          </c:spPr>
          <c:marker>
            <c:symbol val="none"/>
          </c:marker>
          <c:xVal>
            <c:numRef>
              <c:f>Sheet1!$A$38:$A$39</c:f>
              <c:numCache>
                <c:formatCode>General</c:formatCode>
                <c:ptCount val="2"/>
                <c:pt idx="0">
                  <c:v>0</c:v>
                </c:pt>
                <c:pt idx="1">
                  <c:v>1022.8389141644884</c:v>
                </c:pt>
              </c:numCache>
            </c:numRef>
          </c:xVal>
          <c:yVal>
            <c:numRef>
              <c:f>Sheet1!$B$38:$B$39</c:f>
              <c:numCache>
                <c:formatCode>General</c:formatCode>
                <c:ptCount val="2"/>
                <c:pt idx="0">
                  <c:v>0.6777487995799505</c:v>
                </c:pt>
                <c:pt idx="1">
                  <c:v>0.6777487995799505</c:v>
                </c:pt>
              </c:numCache>
            </c:numRef>
          </c:yVal>
          <c:smooth val="0"/>
          <c:extLst>
            <c:ext xmlns:c16="http://schemas.microsoft.com/office/drawing/2014/chart" uri="{C3380CC4-5D6E-409C-BE32-E72D297353CC}">
              <c16:uniqueId val="{00000003-F32D-48B7-BC20-E66FC6253BAD}"/>
            </c:ext>
          </c:extLst>
        </c:ser>
        <c:ser>
          <c:idx val="3"/>
          <c:order val="3"/>
          <c:tx>
            <c:strRef>
              <c:f>Sheet1!$B$4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2:$A$43</c:f>
              <c:numCache>
                <c:formatCode>General</c:formatCode>
                <c:ptCount val="2"/>
                <c:pt idx="0">
                  <c:v>1022.8389141644884</c:v>
                </c:pt>
                <c:pt idx="1">
                  <c:v>1022.8389141644884</c:v>
                </c:pt>
              </c:numCache>
            </c:numRef>
          </c:xVal>
          <c:yVal>
            <c:numRef>
              <c:f>Sheet1!$B$42:$B$43</c:f>
              <c:numCache>
                <c:formatCode>General</c:formatCode>
                <c:ptCount val="2"/>
                <c:pt idx="0">
                  <c:v>0.67774879957995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4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46:$A$47</c:f>
              <c:numCache>
                <c:formatCode>General</c:formatCode>
                <c:ptCount val="2"/>
                <c:pt idx="0">
                  <c:v>0</c:v>
                </c:pt>
                <c:pt idx="1">
                  <c:v>1022.8389141644884</c:v>
                </c:pt>
              </c:numCache>
            </c:numRef>
          </c:xVal>
          <c:yVal>
            <c:numRef>
              <c:f>Sheet1!$B$46:$B$47</c:f>
              <c:numCache>
                <c:formatCode>General</c:formatCode>
                <c:ptCount val="2"/>
                <c:pt idx="0">
                  <c:v>0.6777487995799505</c:v>
                </c:pt>
                <c:pt idx="1">
                  <c:v>0.6777487995799505</c:v>
                </c:pt>
              </c:numCache>
            </c:numRef>
          </c:yVal>
          <c:smooth val="0"/>
          <c:extLst>
            <c:ext xmlns:c16="http://schemas.microsoft.com/office/drawing/2014/chart" uri="{C3380CC4-5D6E-409C-BE32-E72D297353CC}">
              <c16:uniqueId val="{0000000A-F32D-48B7-BC20-E66FC6253BAD}"/>
            </c:ext>
          </c:extLst>
        </c:ser>
        <c:ser>
          <c:idx val="5"/>
          <c:order val="5"/>
          <c:tx>
            <c:strRef>
              <c:f>Sheet1!$B$4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0:$A$51</c:f>
              <c:numCache>
                <c:formatCode>General</c:formatCode>
                <c:ptCount val="2"/>
                <c:pt idx="0">
                  <c:v>1022.8389141644884</c:v>
                </c:pt>
                <c:pt idx="1">
                  <c:v>1022.8389141644884</c:v>
                </c:pt>
              </c:numCache>
            </c:numRef>
          </c:xVal>
          <c:yVal>
            <c:numRef>
              <c:f>Sheet1!$B$50:$B$51</c:f>
              <c:numCache>
                <c:formatCode>General</c:formatCode>
                <c:ptCount val="2"/>
                <c:pt idx="0">
                  <c:v>0.67774879957995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53</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54:$A$60</c:f>
              <c:numCache>
                <c:formatCode>General</c:formatCode>
                <c:ptCount val="7"/>
                <c:pt idx="0">
                  <c:v>725.8182</c:v>
                </c:pt>
                <c:pt idx="1">
                  <c:v>1035.2058</c:v>
                </c:pt>
                <c:pt idx="2">
                  <c:v>1018.5574</c:v>
                </c:pt>
                <c:pt idx="3">
                  <c:v>1017.831</c:v>
                </c:pt>
                <c:pt idx="4">
                  <c:v>1022.8389141644884</c:v>
                </c:pt>
                <c:pt idx="5">
                  <c:v>1022.8389141644884</c:v>
                </c:pt>
                <c:pt idx="6">
                  <c:v>0</c:v>
                </c:pt>
              </c:numCache>
            </c:numRef>
          </c:xVal>
          <c:yVal>
            <c:numRef>
              <c:f>Sheet1!$B$54:$B$60</c:f>
              <c:numCache>
                <c:formatCode>General</c:formatCode>
                <c:ptCount val="7"/>
                <c:pt idx="0">
                  <c:v>0.04365844507460537</c:v>
                </c:pt>
                <c:pt idx="1">
                  <c:v>0.7041500660560114</c:v>
                </c:pt>
                <c:pt idx="2">
                  <c:v>0.6686084712967293</c:v>
                </c:pt>
                <c:pt idx="3">
                  <c:v>0.6670577268147888</c:v>
                </c:pt>
                <c:pt idx="4">
                  <c:v>0.6777487995799503</c:v>
                </c:pt>
                <c:pt idx="5">
                  <c:v>0.6777487995799503</c:v>
                </c:pt>
                <c:pt idx="6">
                  <c:v>-1.5058439895924802</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676470588235294"/>
          <c:min val="0.0083707025411061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8</c:f>
              <c:numCache>
                <c:formatCode>General</c:formatCode>
                <c:ptCount val="57"/>
                <c:pt idx="0">
                  <c:v>0.5996989365662583</c:v>
                </c:pt>
                <c:pt idx="1">
                  <c:v>0.5739445921587571</c:v>
                </c:pt>
                <c:pt idx="2">
                  <c:v>0.5624083323693551</c:v>
                </c:pt>
                <c:pt idx="3">
                  <c:v>1.8840716302429925</c:v>
                </c:pt>
                <c:pt idx="4">
                  <c:v>1.1597627222713167</c:v>
                </c:pt>
                <c:pt idx="5">
                  <c:v>1.4415864117727595</c:v>
                </c:pt>
                <c:pt idx="6">
                  <c:v>1.7464823970169994</c:v>
                </c:pt>
                <c:pt idx="7">
                  <c:v>0.830317236163304</c:v>
                </c:pt>
                <c:pt idx="8">
                  <c:v>0.21562485652845118</c:v>
                </c:pt>
                <c:pt idx="9">
                  <c:v>0.8744278501850733</c:v>
                </c:pt>
                <c:pt idx="10">
                  <c:v>0.8228087466530097</c:v>
                </c:pt>
                <c:pt idx="11">
                  <c:v>1.3422914923257967</c:v>
                </c:pt>
                <c:pt idx="12">
                  <c:v>0.5935139809014875</c:v>
                </c:pt>
                <c:pt idx="13">
                  <c:v>1.4409880175768017</c:v>
                </c:pt>
                <c:pt idx="14">
                  <c:v>0.0808889847245677</c:v>
                </c:pt>
                <c:pt idx="15">
                  <c:v>1.596182459804469</c:v>
                </c:pt>
                <c:pt idx="16">
                  <c:v>2.986594869036099</c:v>
                </c:pt>
                <c:pt idx="17">
                  <c:v>1.0956887991411624</c:v>
                </c:pt>
                <c:pt idx="18">
                  <c:v>1.0917815042392058</c:v>
                </c:pt>
                <c:pt idx="19">
                  <c:v>1.2369006765542978</c:v>
                </c:pt>
                <c:pt idx="20">
                  <c:v>2.875343160675801</c:v>
                </c:pt>
                <c:pt idx="21">
                  <c:v>0.6864327628596675</c:v>
                </c:pt>
                <c:pt idx="22">
                  <c:v>0.7415910088348702</c:v>
                </c:pt>
                <c:pt idx="23">
                  <c:v>0.7154175462317195</c:v>
                </c:pt>
                <c:pt idx="24">
                  <c:v>1.873724514642428</c:v>
                </c:pt>
                <c:pt idx="25">
                  <c:v>0.8581907377793345</c:v>
                </c:pt>
                <c:pt idx="26">
                  <c:v>0.8458970675103747</c:v>
                </c:pt>
                <c:pt idx="27">
                  <c:v>1.4127181570877247</c:v>
                </c:pt>
                <c:pt idx="28">
                  <c:v>0.8475699931560033</c:v>
                </c:pt>
                <c:pt idx="29">
                  <c:v>0.7484852781348105</c:v>
                </c:pt>
                <c:pt idx="30">
                  <c:v>1.0759600181514506</c:v>
                </c:pt>
                <c:pt idx="31">
                  <c:v>6.462837933866616</c:v>
                </c:pt>
                <c:pt idx="32">
                  <c:v>0.7729665116975757</c:v>
                </c:pt>
                <c:pt idx="33">
                  <c:v>5.195303280623083</c:v>
                </c:pt>
                <c:pt idx="34">
                  <c:v>4.6359193565956796</c:v>
                </c:pt>
                <c:pt idx="35">
                  <c:v>1.054110170520522</c:v>
                </c:pt>
                <c:pt idx="36">
                  <c:v>1.193510565809836</c:v>
                </c:pt>
                <c:pt idx="37">
                  <c:v>0.8440132377669166</c:v>
                </c:pt>
                <c:pt idx="38">
                  <c:v>0.8738118631043676</c:v>
                </c:pt>
                <c:pt idx="39">
                  <c:v>0.7512912433151238</c:v>
                </c:pt>
                <c:pt idx="40">
                  <c:v>0.852508408664733</c:v>
                </c:pt>
                <c:pt idx="41">
                  <c:v>0.9082747269190484</c:v>
                </c:pt>
                <c:pt idx="42">
                  <c:v>1.0147413607514855</c:v>
                </c:pt>
                <c:pt idx="43">
                  <c:v>1.7503519022796235</c:v>
                </c:pt>
                <c:pt idx="44">
                  <c:v>1.368985973145866</c:v>
                </c:pt>
                <c:pt idx="45">
                  <c:v>0.8917046893856797</c:v>
                </c:pt>
                <c:pt idx="46">
                  <c:v>0.7866578748754808</c:v>
                </c:pt>
                <c:pt idx="47">
                  <c:v>0.8087006535032485</c:v>
                </c:pt>
                <c:pt idx="48">
                  <c:v>0.808596827523744</c:v>
                </c:pt>
                <c:pt idx="49">
                  <c:v>0.8704844839026817</c:v>
                </c:pt>
                <c:pt idx="50">
                  <c:v>3.4530116646317874</c:v>
                </c:pt>
                <c:pt idx="51">
                  <c:v>0.8458190492878915</c:v>
                </c:pt>
                <c:pt idx="52">
                  <c:v>0.4390095844579661</c:v>
                </c:pt>
                <c:pt idx="53">
                  <c:v>0.746346831564268</c:v>
                </c:pt>
                <c:pt idx="54">
                  <c:v>0.5873519882722822</c:v>
                </c:pt>
                <c:pt idx="55">
                  <c:v>1.0220383602198242</c:v>
                </c:pt>
                <c:pt idx="56">
                  <c:v>1.2070172788601303</c:v>
                </c:pt>
              </c:numCache>
            </c:numRef>
          </c:xVal>
          <c:yVal>
            <c:numRef>
              <c:f>Sheet1!$B$2:$B$58</c:f>
              <c:numCache>
                <c:formatCode>General</c:formatCode>
                <c:ptCount val="57"/>
                <c:pt idx="0">
                  <c:v>0.04395604395604396</c:v>
                </c:pt>
                <c:pt idx="1">
                  <c:v>0.0440251572327044</c:v>
                </c:pt>
                <c:pt idx="2">
                  <c:v>0.0847457627118644</c:v>
                </c:pt>
                <c:pt idx="3">
                  <c:v>0.09523809523809523</c:v>
                </c:pt>
                <c:pt idx="4">
                  <c:v>0.24193548387096775</c:v>
                </c:pt>
                <c:pt idx="5">
                  <c:v>0.23728813559322035</c:v>
                </c:pt>
                <c:pt idx="6">
                  <c:v>0.40540540540540543</c:v>
                </c:pt>
                <c:pt idx="7">
                  <c:v>0.19230769230769232</c:v>
                </c:pt>
                <c:pt idx="8">
                  <c:v>0.2158273381294964</c:v>
                </c:pt>
                <c:pt idx="9">
                  <c:v>0.2857142857142857</c:v>
                </c:pt>
                <c:pt idx="10">
                  <c:v>0.45</c:v>
                </c:pt>
                <c:pt idx="11">
                  <c:v>0.45217391304347826</c:v>
                </c:pt>
                <c:pt idx="12">
                  <c:v>0.058333333333333334</c:v>
                </c:pt>
                <c:pt idx="13">
                  <c:v>0.04</c:v>
                </c:pt>
                <c:pt idx="14">
                  <c:v>0.35555555555555557</c:v>
                </c:pt>
                <c:pt idx="15">
                  <c:v>0.12280701754385964</c:v>
                </c:pt>
                <c:pt idx="16">
                  <c:v>0.019417475728155338</c:v>
                </c:pt>
                <c:pt idx="17">
                  <c:v>0.22507122507122507</c:v>
                </c:pt>
                <c:pt idx="18">
                  <c:v>0.08762886597938144</c:v>
                </c:pt>
                <c:pt idx="19">
                  <c:v>0.1485884101040119</c:v>
                </c:pt>
                <c:pt idx="20">
                  <c:v>0.021367521367521368</c:v>
                </c:pt>
                <c:pt idx="21">
                  <c:v>0.22950819672131148</c:v>
                </c:pt>
                <c:pt idx="22">
                  <c:v>0.10091743119266056</c:v>
                </c:pt>
                <c:pt idx="23">
                  <c:v>0.6190476190476191</c:v>
                </c:pt>
                <c:pt idx="24">
                  <c:v>0.35251798561151076</c:v>
                </c:pt>
                <c:pt idx="25">
                  <c:v>0.20967741935483872</c:v>
                </c:pt>
                <c:pt idx="26">
                  <c:v>0.03783783783783784</c:v>
                </c:pt>
                <c:pt idx="27">
                  <c:v>0.02556818181818182</c:v>
                </c:pt>
                <c:pt idx="28">
                  <c:v>0.3341121495327103</c:v>
                </c:pt>
                <c:pt idx="29">
                  <c:v>0.75</c:v>
                </c:pt>
                <c:pt idx="30">
                  <c:v>0.12030075187969924</c:v>
                </c:pt>
                <c:pt idx="31">
                  <c:v>0.0070921985815602835</c:v>
                </c:pt>
                <c:pt idx="32">
                  <c:v>0.24050632911392406</c:v>
                </c:pt>
                <c:pt idx="33">
                  <c:v>0.007692307692307693</c:v>
                </c:pt>
                <c:pt idx="34">
                  <c:v>0.006060606060606061</c:v>
                </c:pt>
                <c:pt idx="35">
                  <c:v>0.031088082901554404</c:v>
                </c:pt>
                <c:pt idx="36">
                  <c:v>0.37777777777777777</c:v>
                </c:pt>
                <c:pt idx="37">
                  <c:v>0.22695035460992907</c:v>
                </c:pt>
                <c:pt idx="38">
                  <c:v>0.24468085106382978</c:v>
                </c:pt>
                <c:pt idx="39">
                  <c:v>0.15625</c:v>
                </c:pt>
                <c:pt idx="40">
                  <c:v>0.31521739130434784</c:v>
                </c:pt>
                <c:pt idx="41">
                  <c:v>0.5454545454545454</c:v>
                </c:pt>
                <c:pt idx="42">
                  <c:v>0.25757575757575757</c:v>
                </c:pt>
                <c:pt idx="43">
                  <c:v>0.041666666666666664</c:v>
                </c:pt>
                <c:pt idx="44">
                  <c:v>0.25882352941176473</c:v>
                </c:pt>
                <c:pt idx="45">
                  <c:v>0.5707762557077626</c:v>
                </c:pt>
                <c:pt idx="46">
                  <c:v>0.061224489795918366</c:v>
                </c:pt>
                <c:pt idx="47">
                  <c:v>0.07936507936507936</c:v>
                </c:pt>
                <c:pt idx="48">
                  <c:v>0.23319327731092437</c:v>
                </c:pt>
                <c:pt idx="49">
                  <c:v>0.05825242718446602</c:v>
                </c:pt>
                <c:pt idx="50">
                  <c:v>0.022058823529411766</c:v>
                </c:pt>
                <c:pt idx="51">
                  <c:v>0.14516129032258066</c:v>
                </c:pt>
                <c:pt idx="52">
                  <c:v>0.3475783475783476</c:v>
                </c:pt>
                <c:pt idx="53">
                  <c:v>0.28169014084507044</c:v>
                </c:pt>
                <c:pt idx="54">
                  <c:v>0.36507936507936506</c:v>
                </c:pt>
                <c:pt idx="55">
                  <c:v>0.12376237623762376</c:v>
                </c:pt>
                <c:pt idx="56">
                  <c:v>0.1487603305785124</c:v>
                </c:pt>
              </c:numCache>
            </c:numRef>
          </c:yVal>
          <c:smooth val="0"/>
          <c:extLst>
            <c:ext xmlns:c16="http://schemas.microsoft.com/office/drawing/2014/chart" uri="{C3380CC4-5D6E-409C-BE32-E72D297353CC}">
              <c16:uniqueId val="{00000000-096C-4121-9522-6AB7243CCAAE}"/>
            </c:ext>
          </c:extLst>
        </c:ser>
        <c:ser>
          <c:idx val="1"/>
          <c:order val="1"/>
          <c:tx>
            <c:strRef>
              <c:f>Sheet1!$B$6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1:$A$74</c:f>
              <c:numCache>
                <c:formatCode>General</c:formatCode>
                <c:ptCount val="14"/>
                <c:pt idx="0">
                  <c:v>2.002585839022875</c:v>
                </c:pt>
                <c:pt idx="1">
                  <c:v>1.122274895448314</c:v>
                </c:pt>
                <c:pt idx="2">
                  <c:v>0.7465665315252342</c:v>
                </c:pt>
                <c:pt idx="3">
                  <c:v>0.7706983889016735</c:v>
                </c:pt>
                <c:pt idx="4">
                  <c:v>1.3416638257703954</c:v>
                </c:pt>
                <c:pt idx="5">
                  <c:v>0.5771738812003455</c:v>
                </c:pt>
                <c:pt idx="6">
                  <c:v>1.868619722663578</c:v>
                </c:pt>
                <c:pt idx="7">
                  <c:v>1.7852472667255668</c:v>
                </c:pt>
                <c:pt idx="8">
                  <c:v>1.1193763021832612</c:v>
                </c:pt>
                <c:pt idx="9">
                  <c:v>0.6243707491733278</c:v>
                </c:pt>
                <c:pt idx="10">
                  <c:v>0.5732723999548549</c:v>
                </c:pt>
                <c:pt idx="11">
                  <c:v>0.8480268429832074</c:v>
                </c:pt>
                <c:pt idx="12">
                  <c:v>0.5068451752269262</c:v>
                </c:pt>
                <c:pt idx="13">
                  <c:v>1.6099831417807398</c:v>
                </c:pt>
              </c:numCache>
            </c:numRef>
          </c:xVal>
          <c:yVal>
            <c:numRef>
              <c:f>Sheet1!$B$61:$B$74</c:f>
              <c:numCache>
                <c:formatCode>General</c:formatCode>
                <c:ptCount val="14"/>
                <c:pt idx="0">
                  <c:v>0.05732484076433121</c:v>
                </c:pt>
                <c:pt idx="1">
                  <c:v>0.49707602339181284</c:v>
                </c:pt>
                <c:pt idx="2">
                  <c:v>0.06796116504854369</c:v>
                </c:pt>
                <c:pt idx="3">
                  <c:v>0.49206349206349204</c:v>
                </c:pt>
                <c:pt idx="4">
                  <c:v>0.12244897959183673</c:v>
                </c:pt>
                <c:pt idx="5">
                  <c:v>0.10909090909090909</c:v>
                </c:pt>
                <c:pt idx="6">
                  <c:v>0.0967741935483871</c:v>
                </c:pt>
                <c:pt idx="7">
                  <c:v>0.047619047619047616</c:v>
                </c:pt>
                <c:pt idx="8">
                  <c:v>0.3157894736842105</c:v>
                </c:pt>
                <c:pt idx="9">
                  <c:v>0.23387096774193547</c:v>
                </c:pt>
                <c:pt idx="10">
                  <c:v>0.2616822429906542</c:v>
                </c:pt>
                <c:pt idx="11">
                  <c:v>0.37</c:v>
                </c:pt>
                <c:pt idx="12">
                  <c:v>0.10476190476190476</c:v>
                </c:pt>
                <c:pt idx="13">
                  <c:v>0.0684931506849315</c:v>
                </c:pt>
              </c:numCache>
            </c:numRef>
          </c:yVal>
          <c:smooth val="0"/>
          <c:extLst>
            <c:ext xmlns:c16="http://schemas.microsoft.com/office/drawing/2014/chart" uri="{C3380CC4-5D6E-409C-BE32-E72D297353CC}">
              <c16:uniqueId val="{00000002-096C-4121-9522-6AB7243CCAAE}"/>
            </c:ext>
          </c:extLst>
        </c:ser>
        <c:ser>
          <c:idx val="2"/>
          <c:order val="2"/>
          <c:tx>
            <c:strRef>
              <c:f>Sheet1!$B$7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7:$A$78</c:f>
              <c:numCache>
                <c:formatCode>General</c:formatCode>
                <c:ptCount val="2"/>
                <c:pt idx="0">
                  <c:v>0</c:v>
                </c:pt>
                <c:pt idx="1">
                  <c:v>-0.3077772060496803</c:v>
                </c:pt>
              </c:numCache>
            </c:numRef>
          </c:xVal>
          <c:yVal>
            <c:numRef>
              <c:f>Sheet1!$B$77:$B$78</c:f>
              <c:numCache>
                <c:formatCode>General</c:formatCode>
                <c:ptCount val="2"/>
                <c:pt idx="0">
                  <c:v>0.37</c:v>
                </c:pt>
                <c:pt idx="1">
                  <c:v>0.37</c:v>
                </c:pt>
              </c:numCache>
            </c:numRef>
          </c:yVal>
          <c:smooth val="0"/>
          <c:extLst>
            <c:ext xmlns:c16="http://schemas.microsoft.com/office/drawing/2014/chart" uri="{C3380CC4-5D6E-409C-BE32-E72D297353CC}">
              <c16:uniqueId val="{00000005-096C-4121-9522-6AB7243CCAAE}"/>
            </c:ext>
          </c:extLst>
        </c:ser>
        <c:ser>
          <c:idx val="3"/>
          <c:order val="3"/>
          <c:tx>
            <c:strRef>
              <c:f>Sheet1!$B$8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1:$A$82</c:f>
              <c:numCache>
                <c:formatCode>General</c:formatCode>
                <c:ptCount val="2"/>
                <c:pt idx="0">
                  <c:v>-0.3077772060496803</c:v>
                </c:pt>
                <c:pt idx="1">
                  <c:v>-0.3077772060496803</c:v>
                </c:pt>
              </c:numCache>
            </c:numRef>
          </c:xVal>
          <c:yVal>
            <c:numRef>
              <c:f>Sheet1!$B$81:$B$82</c:f>
              <c:numCache>
                <c:formatCode>General</c:formatCode>
                <c:ptCount val="2"/>
                <c:pt idx="0">
                  <c:v>0.3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8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85:$A$86</c:f>
              <c:numCache>
                <c:formatCode>General</c:formatCode>
                <c:ptCount val="2"/>
                <c:pt idx="0">
                  <c:v>0</c:v>
                </c:pt>
                <c:pt idx="1">
                  <c:v>-0.3077772060496803</c:v>
                </c:pt>
              </c:numCache>
            </c:numRef>
          </c:xVal>
          <c:yVal>
            <c:numRef>
              <c:f>Sheet1!$B$85:$B$86</c:f>
              <c:numCache>
                <c:formatCode>General</c:formatCode>
                <c:ptCount val="2"/>
                <c:pt idx="0">
                  <c:v>0.37</c:v>
                </c:pt>
                <c:pt idx="1">
                  <c:v>0.37</c:v>
                </c:pt>
              </c:numCache>
            </c:numRef>
          </c:yVal>
          <c:smooth val="0"/>
          <c:extLst>
            <c:ext xmlns:c16="http://schemas.microsoft.com/office/drawing/2014/chart" uri="{C3380CC4-5D6E-409C-BE32-E72D297353CC}">
              <c16:uniqueId val="{0000000D-096C-4121-9522-6AB7243CCAAE}"/>
            </c:ext>
          </c:extLst>
        </c:ser>
        <c:ser>
          <c:idx val="5"/>
          <c:order val="5"/>
          <c:tx>
            <c:strRef>
              <c:f>Sheet1!$B$8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9:$A$90</c:f>
              <c:numCache>
                <c:formatCode>General</c:formatCode>
                <c:ptCount val="2"/>
                <c:pt idx="0">
                  <c:v>-0.3077772060496803</c:v>
                </c:pt>
                <c:pt idx="1">
                  <c:v>-0.3077772060496803</c:v>
                </c:pt>
              </c:numCache>
            </c:numRef>
          </c:xVal>
          <c:yVal>
            <c:numRef>
              <c:f>Sheet1!$B$89:$B$90</c:f>
              <c:numCache>
                <c:formatCode>General</c:formatCode>
                <c:ptCount val="2"/>
                <c:pt idx="0">
                  <c:v>0.3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92</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93:$A$94</c:f>
              <c:numCache>
                <c:formatCode>General</c:formatCode>
                <c:ptCount val="2"/>
                <c:pt idx="0">
                  <c:v>0</c:v>
                </c:pt>
                <c:pt idx="1">
                  <c:v>2.2495710869685066</c:v>
                </c:pt>
              </c:numCache>
            </c:numRef>
          </c:xVal>
          <c:yVal>
            <c:numRef>
              <c:f>Sheet1!$B$93:$B$94</c:f>
              <c:numCache>
                <c:formatCode>General</c:formatCode>
                <c:ptCount val="2"/>
                <c:pt idx="0">
                  <c:v>0.0684931506849315</c:v>
                </c:pt>
                <c:pt idx="1">
                  <c:v>0.0684931506849315</c:v>
                </c:pt>
              </c:numCache>
            </c:numRef>
          </c:yVal>
          <c:smooth val="0"/>
          <c:extLst>
            <c:ext xmlns:c16="http://schemas.microsoft.com/office/drawing/2014/chart" uri="{C3380CC4-5D6E-409C-BE32-E72D297353CC}">
              <c16:uniqueId val="{00000015-096C-4121-9522-6AB7243CCAAE}"/>
            </c:ext>
          </c:extLst>
        </c:ser>
        <c:ser>
          <c:idx val="7"/>
          <c:order val="7"/>
          <c:tx>
            <c:strRef>
              <c:f>Sheet1!$B$96</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97:$A$98</c:f>
              <c:numCache>
                <c:formatCode>General</c:formatCode>
                <c:ptCount val="2"/>
                <c:pt idx="0">
                  <c:v>2.2495710869685066</c:v>
                </c:pt>
                <c:pt idx="1">
                  <c:v>2.2495710869685066</c:v>
                </c:pt>
              </c:numCache>
            </c:numRef>
          </c:xVal>
          <c:yVal>
            <c:numRef>
              <c:f>Sheet1!$B$97:$B$98</c:f>
              <c:numCache>
                <c:formatCode>General</c:formatCode>
                <c:ptCount val="2"/>
                <c:pt idx="0">
                  <c:v>0.06849315068493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00</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01:$A$117</c:f>
              <c:numCache>
                <c:formatCode>General</c:formatCode>
                <c:ptCount val="17"/>
                <c:pt idx="0">
                  <c:v>2.002585839022875</c:v>
                </c:pt>
                <c:pt idx="1">
                  <c:v>1.122274895448314</c:v>
                </c:pt>
                <c:pt idx="2">
                  <c:v>0.7465665315252342</c:v>
                </c:pt>
                <c:pt idx="3">
                  <c:v>0.7706983889016735</c:v>
                </c:pt>
                <c:pt idx="4">
                  <c:v>1.3416638257703954</c:v>
                </c:pt>
                <c:pt idx="5">
                  <c:v>0.5771738812003455</c:v>
                </c:pt>
                <c:pt idx="6">
                  <c:v>1.868619722663578</c:v>
                </c:pt>
                <c:pt idx="7">
                  <c:v>1.7852472667255668</c:v>
                </c:pt>
                <c:pt idx="8">
                  <c:v>1.1193763021832612</c:v>
                </c:pt>
                <c:pt idx="9">
                  <c:v>0.6243707491733278</c:v>
                </c:pt>
                <c:pt idx="10">
                  <c:v>0.5732723999548549</c:v>
                </c:pt>
                <c:pt idx="11">
                  <c:v>0.8480268429832074</c:v>
                </c:pt>
                <c:pt idx="12">
                  <c:v>0.5068451752269262</c:v>
                </c:pt>
                <c:pt idx="13">
                  <c:v>1.6099831417807398</c:v>
                </c:pt>
                <c:pt idx="14">
                  <c:v>-0.3077772060496803</c:v>
                </c:pt>
                <c:pt idx="15">
                  <c:v>-0.3077772060496803</c:v>
                </c:pt>
                <c:pt idx="16">
                  <c:v>2.2495710869685066</c:v>
                </c:pt>
              </c:numCache>
            </c:numRef>
          </c:xVal>
          <c:yVal>
            <c:numRef>
              <c:f>Sheet1!$B$101:$B$117</c:f>
              <c:numCache>
                <c:formatCode>General</c:formatCode>
                <c:ptCount val="17"/>
                <c:pt idx="0">
                  <c:v>0.0976122754199911</c:v>
                </c:pt>
                <c:pt idx="1">
                  <c:v>0.20139938167351282</c:v>
                </c:pt>
                <c:pt idx="2">
                  <c:v>0.2456947345501737</c:v>
                </c:pt>
                <c:pt idx="3">
                  <c:v>0.24284963116493877</c:v>
                </c:pt>
                <c:pt idx="4">
                  <c:v>0.17553381407108556</c:v>
                </c:pt>
                <c:pt idx="5">
                  <c:v>0.2656658289982865</c:v>
                </c:pt>
                <c:pt idx="6">
                  <c:v>0.11340664405125686</c:v>
                </c:pt>
                <c:pt idx="7">
                  <c:v>0.12323610943075039</c:v>
                </c:pt>
                <c:pt idx="8">
                  <c:v>0.20174112070263836</c:v>
                </c:pt>
                <c:pt idx="9">
                  <c:v>0.2601014015798848</c:v>
                </c:pt>
                <c:pt idx="10">
                  <c:v>0.2661258067499292</c:v>
                </c:pt>
                <c:pt idx="11">
                  <c:v>0.2337327429349778</c:v>
                </c:pt>
                <c:pt idx="12">
                  <c:v>0.2739574592828051</c:v>
                </c:pt>
                <c:pt idx="13">
                  <c:v>0.14389944037176644</c:v>
                </c:pt>
                <c:pt idx="14">
                  <c:v>0.37</c:v>
                </c:pt>
                <c:pt idx="15">
                  <c:v>0.37</c:v>
                </c:pt>
                <c:pt idx="16">
                  <c:v>0.06849315068493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999999999999999"/>
          <c:min val="0.004848484848484848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8</c:f>
              <c:numCache>
                <c:formatCode>General</c:formatCode>
                <c:ptCount val="57"/>
                <c:pt idx="0">
                  <c:v>629.85</c:v>
                </c:pt>
                <c:pt idx="1">
                  <c:v>599.8571</c:v>
                </c:pt>
                <c:pt idx="2">
                  <c:v>587.8</c:v>
                </c:pt>
                <c:pt idx="3">
                  <c:v>1810.5333</c:v>
                </c:pt>
                <c:pt idx="4">
                  <c:v>1305.5667</c:v>
                </c:pt>
                <c:pt idx="5">
                  <c:v>1517.2857</c:v>
                </c:pt>
                <c:pt idx="6">
                  <c:v>1697.7</c:v>
                </c:pt>
                <c:pt idx="7">
                  <c:v>714.0333</c:v>
                </c:pt>
                <c:pt idx="8">
                  <c:v>303.4</c:v>
                </c:pt>
                <c:pt idx="9">
                  <c:v>925.4167</c:v>
                </c:pt>
                <c:pt idx="10">
                  <c:v>925.4167</c:v>
                </c:pt>
                <c:pt idx="11">
                  <c:v>1563.5865</c:v>
                </c:pt>
                <c:pt idx="12">
                  <c:v>798.4286</c:v>
                </c:pt>
                <c:pt idx="13">
                  <c:v>1861.0</c:v>
                </c:pt>
                <c:pt idx="14">
                  <c:v>146.375</c:v>
                </c:pt>
                <c:pt idx="15">
                  <c:v>1773.0714</c:v>
                </c:pt>
                <c:pt idx="16">
                  <c:v>3436.5</c:v>
                </c:pt>
                <c:pt idx="17">
                  <c:v>1577.8861</c:v>
                </c:pt>
                <c:pt idx="18">
                  <c:v>1334.0</c:v>
                </c:pt>
                <c:pt idx="19">
                  <c:v>1639.58</c:v>
                </c:pt>
                <c:pt idx="20">
                  <c:v>3800.4</c:v>
                </c:pt>
                <c:pt idx="21">
                  <c:v>800.5102</c:v>
                </c:pt>
                <c:pt idx="22">
                  <c:v>984.4545</c:v>
                </c:pt>
                <c:pt idx="23">
                  <c:v>867.9744</c:v>
                </c:pt>
                <c:pt idx="24">
                  <c:v>1894.9184</c:v>
                </c:pt>
                <c:pt idx="25">
                  <c:v>1117.3077</c:v>
                </c:pt>
                <c:pt idx="26">
                  <c:v>1129.8571</c:v>
                </c:pt>
                <c:pt idx="27">
                  <c:v>1835.7778</c:v>
                </c:pt>
                <c:pt idx="28">
                  <c:v>1310.4895</c:v>
                </c:pt>
                <c:pt idx="29">
                  <c:v>1099.623</c:v>
                </c:pt>
                <c:pt idx="30">
                  <c:v>1335.625</c:v>
                </c:pt>
                <c:pt idx="31">
                  <c:v>7344.0</c:v>
                </c:pt>
                <c:pt idx="32">
                  <c:v>1120.8421</c:v>
                </c:pt>
                <c:pt idx="33">
                  <c:v>7044.0</c:v>
                </c:pt>
                <c:pt idx="34">
                  <c:v>7171.0</c:v>
                </c:pt>
                <c:pt idx="35">
                  <c:v>1276.1667</c:v>
                </c:pt>
                <c:pt idx="36">
                  <c:v>1331.3824</c:v>
                </c:pt>
                <c:pt idx="37">
                  <c:v>1101.4063</c:v>
                </c:pt>
                <c:pt idx="38">
                  <c:v>1186.9565</c:v>
                </c:pt>
                <c:pt idx="39">
                  <c:v>1097.4</c:v>
                </c:pt>
                <c:pt idx="40">
                  <c:v>1128.2069</c:v>
                </c:pt>
                <c:pt idx="41">
                  <c:v>1214.0</c:v>
                </c:pt>
                <c:pt idx="42">
                  <c:v>1160.4706</c:v>
                </c:pt>
                <c:pt idx="43">
                  <c:v>2249.7273</c:v>
                </c:pt>
                <c:pt idx="44">
                  <c:v>1653.4091</c:v>
                </c:pt>
                <c:pt idx="45">
                  <c:v>1140.016</c:v>
                </c:pt>
                <c:pt idx="46">
                  <c:v>1094.8333</c:v>
                </c:pt>
                <c:pt idx="47">
                  <c:v>1145.8</c:v>
                </c:pt>
                <c:pt idx="48">
                  <c:v>1147.036</c:v>
                </c:pt>
                <c:pt idx="49">
                  <c:v>1141.8333</c:v>
                </c:pt>
                <c:pt idx="50">
                  <c:v>3874.3333</c:v>
                </c:pt>
                <c:pt idx="51">
                  <c:v>1112.6111</c:v>
                </c:pt>
                <c:pt idx="52">
                  <c:v>597.5082</c:v>
                </c:pt>
                <c:pt idx="53">
                  <c:v>1016.7</c:v>
                </c:pt>
                <c:pt idx="54">
                  <c:v>796.3098</c:v>
                </c:pt>
                <c:pt idx="55">
                  <c:v>1397.76</c:v>
                </c:pt>
                <c:pt idx="56">
                  <c:v>1729.2222</c:v>
                </c:pt>
              </c:numCache>
            </c:numRef>
          </c:xVal>
          <c:yVal>
            <c:numRef>
              <c:f>Sheet1!$B$2:$B$58</c:f>
              <c:numCache>
                <c:formatCode>General</c:formatCode>
                <c:ptCount val="57"/>
                <c:pt idx="0">
                  <c:v>0.04395604395604396</c:v>
                </c:pt>
                <c:pt idx="1">
                  <c:v>0.0440251572327044</c:v>
                </c:pt>
                <c:pt idx="2">
                  <c:v>0.0847457627118644</c:v>
                </c:pt>
                <c:pt idx="3">
                  <c:v>0.09523809523809523</c:v>
                </c:pt>
                <c:pt idx="4">
                  <c:v>0.24193548387096775</c:v>
                </c:pt>
                <c:pt idx="5">
                  <c:v>0.23728813559322035</c:v>
                </c:pt>
                <c:pt idx="6">
                  <c:v>0.40540540540540543</c:v>
                </c:pt>
                <c:pt idx="7">
                  <c:v>0.19230769230769232</c:v>
                </c:pt>
                <c:pt idx="8">
                  <c:v>0.2158273381294964</c:v>
                </c:pt>
                <c:pt idx="9">
                  <c:v>0.2857142857142857</c:v>
                </c:pt>
                <c:pt idx="10">
                  <c:v>0.45</c:v>
                </c:pt>
                <c:pt idx="11">
                  <c:v>0.45217391304347826</c:v>
                </c:pt>
                <c:pt idx="12">
                  <c:v>0.058333333333333334</c:v>
                </c:pt>
                <c:pt idx="13">
                  <c:v>0.04</c:v>
                </c:pt>
                <c:pt idx="14">
                  <c:v>0.35555555555555557</c:v>
                </c:pt>
                <c:pt idx="15">
                  <c:v>0.12280701754385964</c:v>
                </c:pt>
                <c:pt idx="16">
                  <c:v>0.019417475728155338</c:v>
                </c:pt>
                <c:pt idx="17">
                  <c:v>0.22507122507122507</c:v>
                </c:pt>
                <c:pt idx="18">
                  <c:v>0.08762886597938144</c:v>
                </c:pt>
                <c:pt idx="19">
                  <c:v>0.1485884101040119</c:v>
                </c:pt>
                <c:pt idx="20">
                  <c:v>0.021367521367521368</c:v>
                </c:pt>
                <c:pt idx="21">
                  <c:v>0.22950819672131148</c:v>
                </c:pt>
                <c:pt idx="22">
                  <c:v>0.10091743119266056</c:v>
                </c:pt>
                <c:pt idx="23">
                  <c:v>0.6190476190476191</c:v>
                </c:pt>
                <c:pt idx="24">
                  <c:v>0.35251798561151076</c:v>
                </c:pt>
                <c:pt idx="25">
                  <c:v>0.20967741935483872</c:v>
                </c:pt>
                <c:pt idx="26">
                  <c:v>0.03783783783783784</c:v>
                </c:pt>
                <c:pt idx="27">
                  <c:v>0.02556818181818182</c:v>
                </c:pt>
                <c:pt idx="28">
                  <c:v>0.3341121495327103</c:v>
                </c:pt>
                <c:pt idx="29">
                  <c:v>0.75</c:v>
                </c:pt>
                <c:pt idx="30">
                  <c:v>0.12030075187969924</c:v>
                </c:pt>
                <c:pt idx="31">
                  <c:v>0.0070921985815602835</c:v>
                </c:pt>
                <c:pt idx="32">
                  <c:v>0.24050632911392406</c:v>
                </c:pt>
                <c:pt idx="33">
                  <c:v>0.007692307692307693</c:v>
                </c:pt>
                <c:pt idx="34">
                  <c:v>0.006060606060606061</c:v>
                </c:pt>
                <c:pt idx="35">
                  <c:v>0.031088082901554404</c:v>
                </c:pt>
                <c:pt idx="36">
                  <c:v>0.37777777777777777</c:v>
                </c:pt>
                <c:pt idx="37">
                  <c:v>0.22695035460992907</c:v>
                </c:pt>
                <c:pt idx="38">
                  <c:v>0.24468085106382978</c:v>
                </c:pt>
                <c:pt idx="39">
                  <c:v>0.15625</c:v>
                </c:pt>
                <c:pt idx="40">
                  <c:v>0.31521739130434784</c:v>
                </c:pt>
                <c:pt idx="41">
                  <c:v>0.5454545454545454</c:v>
                </c:pt>
                <c:pt idx="42">
                  <c:v>0.25757575757575757</c:v>
                </c:pt>
                <c:pt idx="43">
                  <c:v>0.041666666666666664</c:v>
                </c:pt>
                <c:pt idx="44">
                  <c:v>0.25882352941176473</c:v>
                </c:pt>
                <c:pt idx="45">
                  <c:v>0.5707762557077626</c:v>
                </c:pt>
                <c:pt idx="46">
                  <c:v>0.061224489795918366</c:v>
                </c:pt>
                <c:pt idx="47">
                  <c:v>0.07936507936507936</c:v>
                </c:pt>
                <c:pt idx="48">
                  <c:v>0.23319327731092437</c:v>
                </c:pt>
                <c:pt idx="49">
                  <c:v>0.05825242718446602</c:v>
                </c:pt>
                <c:pt idx="50">
                  <c:v>0.022058823529411766</c:v>
                </c:pt>
                <c:pt idx="51">
                  <c:v>0.14516129032258066</c:v>
                </c:pt>
                <c:pt idx="52">
                  <c:v>0.3475783475783476</c:v>
                </c:pt>
                <c:pt idx="53">
                  <c:v>0.28169014084507044</c:v>
                </c:pt>
                <c:pt idx="54">
                  <c:v>0.36507936507936506</c:v>
                </c:pt>
                <c:pt idx="55">
                  <c:v>0.12376237623762376</c:v>
                </c:pt>
                <c:pt idx="56">
                  <c:v>0.1487603305785124</c:v>
                </c:pt>
              </c:numCache>
            </c:numRef>
          </c:yVal>
          <c:smooth val="0"/>
          <c:extLst>
            <c:ext xmlns:c16="http://schemas.microsoft.com/office/drawing/2014/chart" uri="{C3380CC4-5D6E-409C-BE32-E72D297353CC}">
              <c16:uniqueId val="{00000000-F32D-48B7-BC20-E66FC6253BAD}"/>
            </c:ext>
          </c:extLst>
        </c:ser>
        <c:ser>
          <c:idx val="1"/>
          <c:order val="1"/>
          <c:tx>
            <c:strRef>
              <c:f>Sheet1!$B$60</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1:$A$74</c:f>
              <c:numCache>
                <c:formatCode>General</c:formatCode>
                <c:ptCount val="14"/>
                <c:pt idx="0">
                  <c:v>2802.5556</c:v>
                </c:pt>
                <c:pt idx="1">
                  <c:v>1588.2</c:v>
                </c:pt>
                <c:pt idx="2">
                  <c:v>1001.2857</c:v>
                </c:pt>
                <c:pt idx="3">
                  <c:v>1093.129</c:v>
                </c:pt>
                <c:pt idx="4">
                  <c:v>2398.3333</c:v>
                </c:pt>
                <c:pt idx="5">
                  <c:v>825.5</c:v>
                </c:pt>
                <c:pt idx="6">
                  <c:v>2360.0</c:v>
                </c:pt>
                <c:pt idx="7">
                  <c:v>2354.6667</c:v>
                </c:pt>
                <c:pt idx="8">
                  <c:v>1454.2</c:v>
                </c:pt>
                <c:pt idx="9">
                  <c:v>761.7586</c:v>
                </c:pt>
                <c:pt idx="10">
                  <c:v>774.6071</c:v>
                </c:pt>
                <c:pt idx="11">
                  <c:v>1034.3514</c:v>
                </c:pt>
                <c:pt idx="12">
                  <c:v>723.1818</c:v>
                </c:pt>
                <c:pt idx="13">
                  <c:v>2428.6</c:v>
                </c:pt>
              </c:numCache>
            </c:numRef>
          </c:xVal>
          <c:yVal>
            <c:numRef>
              <c:f>Sheet1!$B$61:$B$74</c:f>
              <c:numCache>
                <c:formatCode>General</c:formatCode>
                <c:ptCount val="14"/>
                <c:pt idx="0">
                  <c:v>0.05732484076433121</c:v>
                </c:pt>
                <c:pt idx="1">
                  <c:v>0.49707602339181284</c:v>
                </c:pt>
                <c:pt idx="2">
                  <c:v>0.06796116504854369</c:v>
                </c:pt>
                <c:pt idx="3">
                  <c:v>0.49206349206349204</c:v>
                </c:pt>
                <c:pt idx="4">
                  <c:v>0.12244897959183673</c:v>
                </c:pt>
                <c:pt idx="5">
                  <c:v>0.10909090909090909</c:v>
                </c:pt>
                <c:pt idx="6">
                  <c:v>0.0967741935483871</c:v>
                </c:pt>
                <c:pt idx="7">
                  <c:v>0.047619047619047616</c:v>
                </c:pt>
                <c:pt idx="8">
                  <c:v>0.3157894736842105</c:v>
                </c:pt>
                <c:pt idx="9">
                  <c:v>0.23387096774193547</c:v>
                </c:pt>
                <c:pt idx="10">
                  <c:v>0.2616822429906542</c:v>
                </c:pt>
                <c:pt idx="11">
                  <c:v>0.37</c:v>
                </c:pt>
                <c:pt idx="12">
                  <c:v>0.10476190476190476</c:v>
                </c:pt>
                <c:pt idx="13">
                  <c:v>0.0684931506849315</c:v>
                </c:pt>
              </c:numCache>
            </c:numRef>
          </c:yVal>
          <c:smooth val="0"/>
          <c:extLst>
            <c:ext xmlns:c16="http://schemas.microsoft.com/office/drawing/2014/chart" uri="{C3380CC4-5D6E-409C-BE32-E72D297353CC}">
              <c16:uniqueId val="{00000002-F32D-48B7-BC20-E66FC6253BAD}"/>
            </c:ext>
          </c:extLst>
        </c:ser>
        <c:ser>
          <c:idx val="2"/>
          <c:order val="2"/>
          <c:tx>
            <c:strRef>
              <c:f>Sheet1!$B$76</c:f>
              <c:strCache>
                <c:ptCount val="1"/>
                <c:pt idx="0">
                  <c:v>Custom Linep3yQ</c:v>
                </c:pt>
              </c:strCache>
            </c:strRef>
          </c:tx>
          <c:spPr>
            <a:ln w="19050" cap="rnd">
              <a:solidFill>
                <a:srgbClr val="C00000"/>
              </a:solidFill>
              <a:prstDash val="sysDot"/>
              <a:round/>
            </a:ln>
            <a:effectLst/>
          </c:spPr>
          <c:marker>
            <c:symbol val="none"/>
          </c:marker>
          <c:xVal>
            <c:numRef>
              <c:f>Sheet1!$A$77:$A$78</c:f>
              <c:numCache>
                <c:formatCode>General</c:formatCode>
                <c:ptCount val="2"/>
                <c:pt idx="0">
                  <c:v>0</c:v>
                </c:pt>
                <c:pt idx="1">
                  <c:v>-419.68686285053195</c:v>
                </c:pt>
              </c:numCache>
            </c:numRef>
          </c:xVal>
          <c:yVal>
            <c:numRef>
              <c:f>Sheet1!$B$77:$B$78</c:f>
              <c:numCache>
                <c:formatCode>General</c:formatCode>
                <c:ptCount val="2"/>
                <c:pt idx="0">
                  <c:v>0.37</c:v>
                </c:pt>
                <c:pt idx="1">
                  <c:v>0.37</c:v>
                </c:pt>
              </c:numCache>
            </c:numRef>
          </c:yVal>
          <c:smooth val="0"/>
          <c:extLst>
            <c:ext xmlns:c16="http://schemas.microsoft.com/office/drawing/2014/chart" uri="{C3380CC4-5D6E-409C-BE32-E72D297353CC}">
              <c16:uniqueId val="{00000003-F32D-48B7-BC20-E66FC6253BAD}"/>
            </c:ext>
          </c:extLst>
        </c:ser>
        <c:ser>
          <c:idx val="3"/>
          <c:order val="3"/>
          <c:tx>
            <c:strRef>
              <c:f>Sheet1!$B$8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1:$A$82</c:f>
              <c:numCache>
                <c:formatCode>General</c:formatCode>
                <c:ptCount val="2"/>
                <c:pt idx="0">
                  <c:v>-419.68686285053195</c:v>
                </c:pt>
                <c:pt idx="1">
                  <c:v>-419.68686285053195</c:v>
                </c:pt>
              </c:numCache>
            </c:numRef>
          </c:xVal>
          <c:yVal>
            <c:numRef>
              <c:f>Sheet1!$B$81:$B$82</c:f>
              <c:numCache>
                <c:formatCode>General</c:formatCode>
                <c:ptCount val="2"/>
                <c:pt idx="0">
                  <c:v>0.3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8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85:$A$86</c:f>
              <c:numCache>
                <c:formatCode>General</c:formatCode>
                <c:ptCount val="2"/>
                <c:pt idx="0">
                  <c:v>0</c:v>
                </c:pt>
                <c:pt idx="1">
                  <c:v>-419.68686285053195</c:v>
                </c:pt>
              </c:numCache>
            </c:numRef>
          </c:xVal>
          <c:yVal>
            <c:numRef>
              <c:f>Sheet1!$B$85:$B$86</c:f>
              <c:numCache>
                <c:formatCode>General</c:formatCode>
                <c:ptCount val="2"/>
                <c:pt idx="0">
                  <c:v>0.37</c:v>
                </c:pt>
                <c:pt idx="1">
                  <c:v>0.37</c:v>
                </c:pt>
              </c:numCache>
            </c:numRef>
          </c:yVal>
          <c:smooth val="0"/>
          <c:extLst>
            <c:ext xmlns:c16="http://schemas.microsoft.com/office/drawing/2014/chart" uri="{C3380CC4-5D6E-409C-BE32-E72D297353CC}">
              <c16:uniqueId val="{0000000A-F32D-48B7-BC20-E66FC6253BAD}"/>
            </c:ext>
          </c:extLst>
        </c:ser>
        <c:ser>
          <c:idx val="5"/>
          <c:order val="5"/>
          <c:tx>
            <c:strRef>
              <c:f>Sheet1!$B$8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9:$A$90</c:f>
              <c:numCache>
                <c:formatCode>General</c:formatCode>
                <c:ptCount val="2"/>
                <c:pt idx="0">
                  <c:v>-419.68686285053195</c:v>
                </c:pt>
                <c:pt idx="1">
                  <c:v>-419.68686285053195</c:v>
                </c:pt>
              </c:numCache>
            </c:numRef>
          </c:xVal>
          <c:yVal>
            <c:numRef>
              <c:f>Sheet1!$B$89:$B$90</c:f>
              <c:numCache>
                <c:formatCode>General</c:formatCode>
                <c:ptCount val="2"/>
                <c:pt idx="0">
                  <c:v>0.3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92</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93:$A$94</c:f>
              <c:numCache>
                <c:formatCode>General</c:formatCode>
                <c:ptCount val="2"/>
                <c:pt idx="0">
                  <c:v>0</c:v>
                </c:pt>
                <c:pt idx="1">
                  <c:v>3128.0831751814303</c:v>
                </c:pt>
              </c:numCache>
            </c:numRef>
          </c:xVal>
          <c:yVal>
            <c:numRef>
              <c:f>Sheet1!$B$93:$B$94</c:f>
              <c:numCache>
                <c:formatCode>General</c:formatCode>
                <c:ptCount val="2"/>
                <c:pt idx="0">
                  <c:v>0.0684931506849315</c:v>
                </c:pt>
                <c:pt idx="1">
                  <c:v>0.0684931506849315</c:v>
                </c:pt>
              </c:numCache>
            </c:numRef>
          </c:yVal>
          <c:smooth val="0"/>
          <c:extLst>
            <c:ext xmlns:c16="http://schemas.microsoft.com/office/drawing/2014/chart" uri="{C3380CC4-5D6E-409C-BE32-E72D297353CC}">
              <c16:uniqueId val="{00000011-F32D-48B7-BC20-E66FC6253BAD}"/>
            </c:ext>
          </c:extLst>
        </c:ser>
        <c:ser>
          <c:idx val="7"/>
          <c:order val="7"/>
          <c:tx>
            <c:strRef>
              <c:f>Sheet1!$B$96</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97:$A$98</c:f>
              <c:numCache>
                <c:formatCode>General</c:formatCode>
                <c:ptCount val="2"/>
                <c:pt idx="0">
                  <c:v>3128.0831751814303</c:v>
                </c:pt>
                <c:pt idx="1">
                  <c:v>3128.0831751814303</c:v>
                </c:pt>
              </c:numCache>
            </c:numRef>
          </c:xVal>
          <c:yVal>
            <c:numRef>
              <c:f>Sheet1!$B$97:$B$98</c:f>
              <c:numCache>
                <c:formatCode>General</c:formatCode>
                <c:ptCount val="2"/>
                <c:pt idx="0">
                  <c:v>0.06849315068493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00</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01:$A$117</c:f>
              <c:numCache>
                <c:formatCode>General</c:formatCode>
                <c:ptCount val="17"/>
                <c:pt idx="0">
                  <c:v>2802.5556</c:v>
                </c:pt>
                <c:pt idx="1">
                  <c:v>1588.2</c:v>
                </c:pt>
                <c:pt idx="2">
                  <c:v>1001.2857</c:v>
                </c:pt>
                <c:pt idx="3">
                  <c:v>1093.129</c:v>
                </c:pt>
                <c:pt idx="4">
                  <c:v>2398.3333</c:v>
                </c:pt>
                <c:pt idx="5">
                  <c:v>825.5</c:v>
                </c:pt>
                <c:pt idx="6">
                  <c:v>2360.0</c:v>
                </c:pt>
                <c:pt idx="7">
                  <c:v>2354.6667</c:v>
                </c:pt>
                <c:pt idx="8">
                  <c:v>1454.2</c:v>
                </c:pt>
                <c:pt idx="9">
                  <c:v>761.7586</c:v>
                </c:pt>
                <c:pt idx="10">
                  <c:v>774.6071</c:v>
                </c:pt>
                <c:pt idx="11">
                  <c:v>1034.3514</c:v>
                </c:pt>
                <c:pt idx="12">
                  <c:v>723.1818</c:v>
                </c:pt>
                <c:pt idx="13">
                  <c:v>2428.6</c:v>
                </c:pt>
                <c:pt idx="14">
                  <c:v>-419.68686285053195</c:v>
                </c:pt>
                <c:pt idx="15">
                  <c:v>-419.68686285053195</c:v>
                </c:pt>
                <c:pt idx="16">
                  <c:v>3128.0831751814303</c:v>
                </c:pt>
              </c:numCache>
            </c:numRef>
          </c:xVal>
          <c:yVal>
            <c:numRef>
              <c:f>Sheet1!$B$101:$B$117</c:f>
              <c:numCache>
                <c:formatCode>General</c:formatCode>
                <c:ptCount val="17"/>
                <c:pt idx="0">
                  <c:v>0.09615807611864782</c:v>
                </c:pt>
                <c:pt idx="1">
                  <c:v>0.19935995419392882</c:v>
                </c:pt>
                <c:pt idx="2">
                  <c:v>0.2492388018965613</c:v>
                </c:pt>
                <c:pt idx="3">
                  <c:v>0.24143350907407057</c:v>
                </c:pt>
                <c:pt idx="4">
                  <c:v>0.13051086414870236</c:v>
                </c:pt>
                <c:pt idx="5">
                  <c:v>0.26417793041771104</c:v>
                </c:pt>
                <c:pt idx="6">
                  <c:v>0.13376861546373983</c:v>
                </c:pt>
                <c:pt idx="7">
                  <c:v>0.13422186538191774</c:v>
                </c:pt>
                <c:pt idx="8">
                  <c:v>0.21074792956299504</c:v>
                </c:pt>
                <c:pt idx="9">
                  <c:v>0.26959498633703793</c:v>
                </c:pt>
                <c:pt idx="10">
                  <c:v>0.2685030579674152</c:v>
                </c:pt>
                <c:pt idx="11">
                  <c:v>0.24642871699237523</c:v>
                </c:pt>
                <c:pt idx="12">
                  <c:v>0.2728734314729886</c:v>
                </c:pt>
                <c:pt idx="13">
                  <c:v>0.12793865195390444</c:v>
                </c:pt>
                <c:pt idx="14">
                  <c:v>0.37</c:v>
                </c:pt>
                <c:pt idx="15">
                  <c:v>0.37</c:v>
                </c:pt>
                <c:pt idx="16">
                  <c:v>0.06849315068493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81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999999999999999"/>
          <c:min val="0.004848484848484848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6</c:f>
              <c:numCache>
                <c:formatCode>General</c:formatCode>
                <c:ptCount val="25"/>
                <c:pt idx="0">
                  <c:v>1.0663003188682603</c:v>
                </c:pt>
                <c:pt idx="1">
                  <c:v>0.9852524249912523</c:v>
                </c:pt>
                <c:pt idx="2">
                  <c:v>1.3457252887309166</c:v>
                </c:pt>
                <c:pt idx="3">
                  <c:v>1.1995890980944797</c:v>
                </c:pt>
                <c:pt idx="4">
                  <c:v>1.2610285173325804</c:v>
                </c:pt>
                <c:pt idx="5">
                  <c:v>0.8821476608935158</c:v>
                </c:pt>
                <c:pt idx="6">
                  <c:v>0.7545688171159463</c:v>
                </c:pt>
                <c:pt idx="7">
                  <c:v>1.1713760318001267</c:v>
                </c:pt>
                <c:pt idx="8">
                  <c:v>1.0016646946813748</c:v>
                </c:pt>
                <c:pt idx="9">
                  <c:v>0.7534845814128359</c:v>
                </c:pt>
                <c:pt idx="10">
                  <c:v>1.1647307176040496</c:v>
                </c:pt>
                <c:pt idx="11">
                  <c:v>0.8172734822781417</c:v>
                </c:pt>
                <c:pt idx="12">
                  <c:v>1.0963851556345174</c:v>
                </c:pt>
                <c:pt idx="13">
                  <c:v>0.882095055875082</c:v>
                </c:pt>
                <c:pt idx="14">
                  <c:v>1.0256781749233057</c:v>
                </c:pt>
                <c:pt idx="15">
                  <c:v>0.804656610857386</c:v>
                </c:pt>
                <c:pt idx="16">
                  <c:v>0.9101547944731102</c:v>
                </c:pt>
                <c:pt idx="17">
                  <c:v>0.7219266464817704</c:v>
                </c:pt>
                <c:pt idx="18">
                  <c:v>0.7860509352135945</c:v>
                </c:pt>
                <c:pt idx="19">
                  <c:v>0.703436599067321</c:v>
                </c:pt>
                <c:pt idx="20">
                  <c:v>1.1944414781421793</c:v>
                </c:pt>
                <c:pt idx="21">
                  <c:v>0.7801132592182783</c:v>
                </c:pt>
                <c:pt idx="22">
                  <c:v>0.9466593916644839</c:v>
                </c:pt>
                <c:pt idx="23">
                  <c:v>0.5110733963989805</c:v>
                </c:pt>
                <c:pt idx="24">
                  <c:v>0.7810406239335944</c:v>
                </c:pt>
              </c:numCache>
            </c:numRef>
          </c:xVal>
          <c:yVal>
            <c:numRef>
              <c:f>Sheet1!$B$2:$B$26</c:f>
              <c:numCache>
                <c:formatCode>General</c:formatCode>
                <c:ptCount val="25"/>
                <c:pt idx="0">
                  <c:v>0.12307692307692308</c:v>
                </c:pt>
                <c:pt idx="1">
                  <c:v>0.6163522012578616</c:v>
                </c:pt>
                <c:pt idx="2">
                  <c:v>0.04736842105263158</c:v>
                </c:pt>
                <c:pt idx="3">
                  <c:v>0.24193548387096775</c:v>
                </c:pt>
                <c:pt idx="4">
                  <c:v>0.379746835443038</c:v>
                </c:pt>
                <c:pt idx="5">
                  <c:v>0.45217391304347826</c:v>
                </c:pt>
                <c:pt idx="6">
                  <c:v>0.5123152709359606</c:v>
                </c:pt>
                <c:pt idx="7">
                  <c:v>0.4528301886792453</c:v>
                </c:pt>
                <c:pt idx="8">
                  <c:v>0.4177215189873418</c:v>
                </c:pt>
                <c:pt idx="9">
                  <c:v>0.362962962962963</c:v>
                </c:pt>
                <c:pt idx="10">
                  <c:v>0.46601941747572817</c:v>
                </c:pt>
                <c:pt idx="11">
                  <c:v>0.50997150997151</c:v>
                </c:pt>
                <c:pt idx="12">
                  <c:v>0.12371134020618557</c:v>
                </c:pt>
                <c:pt idx="13">
                  <c:v>0.1901931649331352</c:v>
                </c:pt>
                <c:pt idx="14">
                  <c:v>0.43559718969555034</c:v>
                </c:pt>
                <c:pt idx="15">
                  <c:v>0.22043010752688172</c:v>
                </c:pt>
                <c:pt idx="16">
                  <c:v>0.03977272727272727</c:v>
                </c:pt>
                <c:pt idx="17">
                  <c:v>0.2616822429906542</c:v>
                </c:pt>
                <c:pt idx="18">
                  <c:v>0.4153846153846154</c:v>
                </c:pt>
                <c:pt idx="19">
                  <c:v>0.12121212121212122</c:v>
                </c:pt>
                <c:pt idx="20">
                  <c:v>0.023809523809523808</c:v>
                </c:pt>
                <c:pt idx="21">
                  <c:v>0.23319327731092437</c:v>
                </c:pt>
                <c:pt idx="22">
                  <c:v>0.04411764705882353</c:v>
                </c:pt>
                <c:pt idx="23">
                  <c:v>0.1111111111111111</c:v>
                </c:pt>
                <c:pt idx="24">
                  <c:v>0.0297029702970297</c:v>
                </c:pt>
              </c:numCache>
            </c:numRef>
          </c:yVal>
          <c:smooth val="0"/>
          <c:extLst>
            <c:ext xmlns:c16="http://schemas.microsoft.com/office/drawing/2014/chart" uri="{C3380CC4-5D6E-409C-BE32-E72D297353CC}">
              <c16:uniqueId val="{00000000-096C-4121-9522-6AB7243CCAAE}"/>
            </c:ext>
          </c:extLst>
        </c:ser>
        <c:ser>
          <c:idx val="1"/>
          <c:order val="1"/>
          <c:tx>
            <c:strRef>
              <c:f>Sheet1!$B$2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9:$A$37</c:f>
              <c:numCache>
                <c:formatCode>General</c:formatCode>
                <c:ptCount val="9"/>
                <c:pt idx="0">
                  <c:v>0.7193000570788165</c:v>
                </c:pt>
                <c:pt idx="1">
                  <c:v>0.8080974232407288</c:v>
                </c:pt>
                <c:pt idx="2">
                  <c:v>0.9914431833393208</c:v>
                </c:pt>
                <c:pt idx="3">
                  <c:v>0.42358936680319215</c:v>
                </c:pt>
                <c:pt idx="4">
                  <c:v>0.5652802738369362</c:v>
                </c:pt>
                <c:pt idx="5">
                  <c:v>1.1828187908636154</c:v>
                </c:pt>
                <c:pt idx="6">
                  <c:v>1.1325863184514415</c:v>
                </c:pt>
                <c:pt idx="7">
                  <c:v>1.023416351610878</c:v>
                </c:pt>
                <c:pt idx="8">
                  <c:v>0.8026333837010174</c:v>
                </c:pt>
              </c:numCache>
            </c:numRef>
          </c:xVal>
          <c:yVal>
            <c:numRef>
              <c:f>Sheet1!$B$29:$B$37</c:f>
              <c:numCache>
                <c:formatCode>General</c:formatCode>
                <c:ptCount val="9"/>
                <c:pt idx="0">
                  <c:v>0.4394904458598726</c:v>
                </c:pt>
                <c:pt idx="1">
                  <c:v>0.049707602339181284</c:v>
                </c:pt>
                <c:pt idx="2">
                  <c:v>0.23157894736842105</c:v>
                </c:pt>
                <c:pt idx="3">
                  <c:v>0.03015075376884422</c:v>
                </c:pt>
                <c:pt idx="4">
                  <c:v>0.13690476190476192</c:v>
                </c:pt>
                <c:pt idx="5">
                  <c:v>0.3069306930693069</c:v>
                </c:pt>
                <c:pt idx="6">
                  <c:v>0.40384615384615385</c:v>
                </c:pt>
                <c:pt idx="7">
                  <c:v>0.1917808219178082</c:v>
                </c:pt>
                <c:pt idx="8">
                  <c:v>0.5</c:v>
                </c:pt>
              </c:numCache>
            </c:numRef>
          </c:yVal>
          <c:smooth val="0"/>
          <c:extLst>
            <c:ext xmlns:c16="http://schemas.microsoft.com/office/drawing/2014/chart" uri="{C3380CC4-5D6E-409C-BE32-E72D297353CC}">
              <c16:uniqueId val="{00000002-096C-4121-9522-6AB7243CCAAE}"/>
            </c:ext>
          </c:extLst>
        </c:ser>
        <c:ser>
          <c:idx val="2"/>
          <c:order val="2"/>
          <c:tx>
            <c:strRef>
              <c:f>Sheet1!$B$3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40:$A$41</c:f>
              <c:numCache>
                <c:formatCode>General</c:formatCode>
                <c:ptCount val="2"/>
                <c:pt idx="0">
                  <c:v>0</c:v>
                </c:pt>
                <c:pt idx="1">
                  <c:v>1.7234871988132276</c:v>
                </c:pt>
              </c:numCache>
            </c:numRef>
          </c:xVal>
          <c:yVal>
            <c:numRef>
              <c:f>Sheet1!$B$40:$B$41</c:f>
              <c:numCache>
                <c:formatCode>General</c:formatCode>
                <c:ptCount val="2"/>
                <c:pt idx="0">
                  <c:v>0.5</c:v>
                </c:pt>
                <c:pt idx="1">
                  <c:v>0.5</c:v>
                </c:pt>
              </c:numCache>
            </c:numRef>
          </c:yVal>
          <c:smooth val="0"/>
          <c:extLst>
            <c:ext xmlns:c16="http://schemas.microsoft.com/office/drawing/2014/chart" uri="{C3380CC4-5D6E-409C-BE32-E72D297353CC}">
              <c16:uniqueId val="{00000005-096C-4121-9522-6AB7243CCAAE}"/>
            </c:ext>
          </c:extLst>
        </c:ser>
        <c:ser>
          <c:idx val="3"/>
          <c:order val="3"/>
          <c:tx>
            <c:strRef>
              <c:f>Sheet1!$B$4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4:$A$45</c:f>
              <c:numCache>
                <c:formatCode>General</c:formatCode>
                <c:ptCount val="2"/>
                <c:pt idx="0">
                  <c:v>1.7234871988132276</c:v>
                </c:pt>
                <c:pt idx="1">
                  <c:v>1.7234871988132276</c:v>
                </c:pt>
              </c:numCache>
            </c:numRef>
          </c:xVal>
          <c:yVal>
            <c:numRef>
              <c:f>Sheet1!$B$44:$B$45</c:f>
              <c:numCache>
                <c:formatCode>General</c:formatCode>
                <c:ptCount val="2"/>
                <c:pt idx="0">
                  <c:v>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4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48:$A$49</c:f>
              <c:numCache>
                <c:formatCode>General</c:formatCode>
                <c:ptCount val="2"/>
                <c:pt idx="0">
                  <c:v>0</c:v>
                </c:pt>
                <c:pt idx="1">
                  <c:v>1.7234871988132276</c:v>
                </c:pt>
              </c:numCache>
            </c:numRef>
          </c:xVal>
          <c:yVal>
            <c:numRef>
              <c:f>Sheet1!$B$48:$B$49</c:f>
              <c:numCache>
                <c:formatCode>General</c:formatCode>
                <c:ptCount val="2"/>
                <c:pt idx="0">
                  <c:v>0.5</c:v>
                </c:pt>
                <c:pt idx="1">
                  <c:v>0.5</c:v>
                </c:pt>
              </c:numCache>
            </c:numRef>
          </c:yVal>
          <c:smooth val="0"/>
          <c:extLst>
            <c:ext xmlns:c16="http://schemas.microsoft.com/office/drawing/2014/chart" uri="{C3380CC4-5D6E-409C-BE32-E72D297353CC}">
              <c16:uniqueId val="{0000000D-096C-4121-9522-6AB7243CCAAE}"/>
            </c:ext>
          </c:extLst>
        </c:ser>
        <c:ser>
          <c:idx val="5"/>
          <c:order val="5"/>
          <c:tx>
            <c:strRef>
              <c:f>Sheet1!$B$5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2:$A$53</c:f>
              <c:numCache>
                <c:formatCode>General</c:formatCode>
                <c:ptCount val="2"/>
                <c:pt idx="0">
                  <c:v>1.7234871988132276</c:v>
                </c:pt>
                <c:pt idx="1">
                  <c:v>1.7234871988132276</c:v>
                </c:pt>
              </c:numCache>
            </c:numRef>
          </c:xVal>
          <c:yVal>
            <c:numRef>
              <c:f>Sheet1!$B$52:$B$53</c:f>
              <c:numCache>
                <c:formatCode>General</c:formatCode>
                <c:ptCount val="2"/>
                <c:pt idx="0">
                  <c:v>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5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56:$A$57</c:f>
              <c:numCache>
                <c:formatCode>General</c:formatCode>
                <c:ptCount val="2"/>
                <c:pt idx="0">
                  <c:v>0</c:v>
                </c:pt>
                <c:pt idx="1">
                  <c:v>1.1751354369747578</c:v>
                </c:pt>
              </c:numCache>
            </c:numRef>
          </c:xVal>
          <c:yVal>
            <c:numRef>
              <c:f>Sheet1!$B$56:$B$57</c:f>
              <c:numCache>
                <c:formatCode>General</c:formatCode>
                <c:ptCount val="2"/>
                <c:pt idx="0">
                  <c:v>0.3458904109589041</c:v>
                </c:pt>
                <c:pt idx="1">
                  <c:v>0.3458904109589041</c:v>
                </c:pt>
              </c:numCache>
            </c:numRef>
          </c:yVal>
          <c:smooth val="0"/>
          <c:extLst>
            <c:ext xmlns:c16="http://schemas.microsoft.com/office/drawing/2014/chart" uri="{C3380CC4-5D6E-409C-BE32-E72D297353CC}">
              <c16:uniqueId val="{00000015-096C-4121-9522-6AB7243CCAAE}"/>
            </c:ext>
          </c:extLst>
        </c:ser>
        <c:ser>
          <c:idx val="7"/>
          <c:order val="7"/>
          <c:tx>
            <c:strRef>
              <c:f>Sheet1!$B$5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0:$A$61</c:f>
              <c:numCache>
                <c:formatCode>General</c:formatCode>
                <c:ptCount val="2"/>
                <c:pt idx="0">
                  <c:v>1.1751354369747578</c:v>
                </c:pt>
                <c:pt idx="1">
                  <c:v>1.1751354369747578</c:v>
                </c:pt>
              </c:numCache>
            </c:numRef>
          </c:xVal>
          <c:yVal>
            <c:numRef>
              <c:f>Sheet1!$B$60:$B$61</c:f>
              <c:numCache>
                <c:formatCode>General</c:formatCode>
                <c:ptCount val="2"/>
                <c:pt idx="0">
                  <c:v>0.345890410958904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6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64:$A$75</c:f>
              <c:numCache>
                <c:formatCode>General</c:formatCode>
                <c:ptCount val="12"/>
                <c:pt idx="0">
                  <c:v>0.7193000570788165</c:v>
                </c:pt>
                <c:pt idx="1">
                  <c:v>0.8080974232407288</c:v>
                </c:pt>
                <c:pt idx="2">
                  <c:v>0.9914431833393208</c:v>
                </c:pt>
                <c:pt idx="3">
                  <c:v>0.42358936680319215</c:v>
                </c:pt>
                <c:pt idx="4">
                  <c:v>0.5652802738369362</c:v>
                </c:pt>
                <c:pt idx="5">
                  <c:v>1.1828187908636154</c:v>
                </c:pt>
                <c:pt idx="6">
                  <c:v>1.1325863184514415</c:v>
                </c:pt>
                <c:pt idx="7">
                  <c:v>1.023416351610878</c:v>
                </c:pt>
                <c:pt idx="8">
                  <c:v>0.8026333837010174</c:v>
                </c:pt>
                <c:pt idx="9">
                  <c:v>1.7234871988132276</c:v>
                </c:pt>
                <c:pt idx="10">
                  <c:v>1.7234871988132276</c:v>
                </c:pt>
                <c:pt idx="11">
                  <c:v>1.1751354369747578</c:v>
                </c:pt>
              </c:numCache>
            </c:numRef>
          </c:xVal>
          <c:yVal>
            <c:numRef>
              <c:f>Sheet1!$B$64:$B$75</c:f>
              <c:numCache>
                <c:formatCode>General</c:formatCode>
                <c:ptCount val="12"/>
                <c:pt idx="0">
                  <c:v>0.21778176254199844</c:v>
                </c:pt>
                <c:pt idx="1">
                  <c:v>0.242737505478364</c:v>
                </c:pt>
                <c:pt idx="2">
                  <c:v>0.2942652686909579</c:v>
                </c:pt>
                <c:pt idx="3">
                  <c:v>0.13467479339386326</c:v>
                </c:pt>
                <c:pt idx="4">
                  <c:v>0.17449581517853063</c:v>
                </c:pt>
                <c:pt idx="5">
                  <c:v>0.34804975208384054</c:v>
                </c:pt>
                <c:pt idx="6">
                  <c:v>0.3339323438457346</c:v>
                </c:pt>
                <c:pt idx="7">
                  <c:v>0.30325105512510997</c:v>
                </c:pt>
                <c:pt idx="8">
                  <c:v>0.24120188373595178</c:v>
                </c:pt>
                <c:pt idx="9">
                  <c:v>0.5000000000000001</c:v>
                </c:pt>
                <c:pt idx="10">
                  <c:v>0.5000000000000001</c:v>
                </c:pt>
                <c:pt idx="11">
                  <c:v>0.345890410958904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396226415094339"/>
          <c:min val="0.019047619047619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6</c:f>
              <c:numCache>
                <c:formatCode>General</c:formatCode>
                <c:ptCount val="25"/>
                <c:pt idx="0">
                  <c:v>1119.9107</c:v>
                </c:pt>
                <c:pt idx="1">
                  <c:v>1029.7347</c:v>
                </c:pt>
                <c:pt idx="2">
                  <c:v>1437.8889</c:v>
                </c:pt>
                <c:pt idx="3">
                  <c:v>1350.4</c:v>
                </c:pt>
                <c:pt idx="4">
                  <c:v>1353.3667</c:v>
                </c:pt>
                <c:pt idx="5">
                  <c:v>1027.5817</c:v>
                </c:pt>
                <c:pt idx="6">
                  <c:v>1027.5817</c:v>
                </c:pt>
                <c:pt idx="7">
                  <c:v>1331.2083</c:v>
                </c:pt>
                <c:pt idx="8">
                  <c:v>1173.697</c:v>
                </c:pt>
                <c:pt idx="9">
                  <c:v>1363.4898</c:v>
                </c:pt>
                <c:pt idx="10">
                  <c:v>1340.1875</c:v>
                </c:pt>
                <c:pt idx="11">
                  <c:v>1176.9441</c:v>
                </c:pt>
                <c:pt idx="12">
                  <c:v>1339.625</c:v>
                </c:pt>
                <c:pt idx="13">
                  <c:v>1169.2656</c:v>
                </c:pt>
                <c:pt idx="14">
                  <c:v>1196.1344</c:v>
                </c:pt>
                <c:pt idx="15">
                  <c:v>1047.6098</c:v>
                </c:pt>
                <c:pt idx="16">
                  <c:v>1182.7143</c:v>
                </c:pt>
                <c:pt idx="17">
                  <c:v>1116.2232</c:v>
                </c:pt>
                <c:pt idx="18">
                  <c:v>1065.7593</c:v>
                </c:pt>
                <c:pt idx="19">
                  <c:v>1088.1</c:v>
                </c:pt>
                <c:pt idx="20">
                  <c:v>1692.3333</c:v>
                </c:pt>
                <c:pt idx="21">
                  <c:v>1106.6306</c:v>
                </c:pt>
                <c:pt idx="22">
                  <c:v>1062.1667</c:v>
                </c:pt>
                <c:pt idx="23">
                  <c:v>695.5897</c:v>
                </c:pt>
                <c:pt idx="24">
                  <c:v>1068.1667</c:v>
                </c:pt>
              </c:numCache>
            </c:numRef>
          </c:xVal>
          <c:yVal>
            <c:numRef>
              <c:f>Sheet1!$B$2:$B$26</c:f>
              <c:numCache>
                <c:formatCode>General</c:formatCode>
                <c:ptCount val="25"/>
                <c:pt idx="0">
                  <c:v>0.12307692307692308</c:v>
                </c:pt>
                <c:pt idx="1">
                  <c:v>0.6163522012578616</c:v>
                </c:pt>
                <c:pt idx="2">
                  <c:v>0.04736842105263158</c:v>
                </c:pt>
                <c:pt idx="3">
                  <c:v>0.24193548387096775</c:v>
                </c:pt>
                <c:pt idx="4">
                  <c:v>0.379746835443038</c:v>
                </c:pt>
                <c:pt idx="5">
                  <c:v>0.45217391304347826</c:v>
                </c:pt>
                <c:pt idx="6">
                  <c:v>0.5123152709359606</c:v>
                </c:pt>
                <c:pt idx="7">
                  <c:v>0.4528301886792453</c:v>
                </c:pt>
                <c:pt idx="8">
                  <c:v>0.4177215189873418</c:v>
                </c:pt>
                <c:pt idx="9">
                  <c:v>0.362962962962963</c:v>
                </c:pt>
                <c:pt idx="10">
                  <c:v>0.46601941747572817</c:v>
                </c:pt>
                <c:pt idx="11">
                  <c:v>0.50997150997151</c:v>
                </c:pt>
                <c:pt idx="12">
                  <c:v>0.12371134020618557</c:v>
                </c:pt>
                <c:pt idx="13">
                  <c:v>0.1901931649331352</c:v>
                </c:pt>
                <c:pt idx="14">
                  <c:v>0.43559718969555034</c:v>
                </c:pt>
                <c:pt idx="15">
                  <c:v>0.22043010752688172</c:v>
                </c:pt>
                <c:pt idx="16">
                  <c:v>0.03977272727272727</c:v>
                </c:pt>
                <c:pt idx="17">
                  <c:v>0.2616822429906542</c:v>
                </c:pt>
                <c:pt idx="18">
                  <c:v>0.4153846153846154</c:v>
                </c:pt>
                <c:pt idx="19">
                  <c:v>0.12121212121212122</c:v>
                </c:pt>
                <c:pt idx="20">
                  <c:v>0.023809523809523808</c:v>
                </c:pt>
                <c:pt idx="21">
                  <c:v>0.23319327731092437</c:v>
                </c:pt>
                <c:pt idx="22">
                  <c:v>0.04411764705882353</c:v>
                </c:pt>
                <c:pt idx="23">
                  <c:v>0.1111111111111111</c:v>
                </c:pt>
                <c:pt idx="24">
                  <c:v>0.0297029702970297</c:v>
                </c:pt>
              </c:numCache>
            </c:numRef>
          </c:yVal>
          <c:smooth val="0"/>
          <c:extLst>
            <c:ext xmlns:c16="http://schemas.microsoft.com/office/drawing/2014/chart" uri="{C3380CC4-5D6E-409C-BE32-E72D297353CC}">
              <c16:uniqueId val="{00000000-F32D-48B7-BC20-E66FC6253BAD}"/>
            </c:ext>
          </c:extLst>
        </c:ser>
        <c:ser>
          <c:idx val="1"/>
          <c:order val="1"/>
          <c:tx>
            <c:strRef>
              <c:f>Sheet1!$B$2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9:$A$37</c:f>
              <c:numCache>
                <c:formatCode>General</c:formatCode>
                <c:ptCount val="9"/>
                <c:pt idx="0">
                  <c:v>1006.6377</c:v>
                </c:pt>
                <c:pt idx="1">
                  <c:v>1143.5882</c:v>
                </c:pt>
                <c:pt idx="2">
                  <c:v>1288.0</c:v>
                </c:pt>
                <c:pt idx="3">
                  <c:v>643.1667</c:v>
                </c:pt>
                <c:pt idx="4">
                  <c:v>708.5652</c:v>
                </c:pt>
                <c:pt idx="5">
                  <c:v>1495.7419</c:v>
                </c:pt>
                <c:pt idx="6">
                  <c:v>1608.8571</c:v>
                </c:pt>
                <c:pt idx="7">
                  <c:v>1543.7857</c:v>
                </c:pt>
                <c:pt idx="8">
                  <c:v>995.9677</c:v>
                </c:pt>
              </c:numCache>
            </c:numRef>
          </c:xVal>
          <c:yVal>
            <c:numRef>
              <c:f>Sheet1!$B$29:$B$37</c:f>
              <c:numCache>
                <c:formatCode>General</c:formatCode>
                <c:ptCount val="9"/>
                <c:pt idx="0">
                  <c:v>0.4394904458598726</c:v>
                </c:pt>
                <c:pt idx="1">
                  <c:v>0.049707602339181284</c:v>
                </c:pt>
                <c:pt idx="2">
                  <c:v>0.23157894736842105</c:v>
                </c:pt>
                <c:pt idx="3">
                  <c:v>0.03015075376884422</c:v>
                </c:pt>
                <c:pt idx="4">
                  <c:v>0.13690476190476192</c:v>
                </c:pt>
                <c:pt idx="5">
                  <c:v>0.3069306930693069</c:v>
                </c:pt>
                <c:pt idx="6">
                  <c:v>0.40384615384615385</c:v>
                </c:pt>
                <c:pt idx="7">
                  <c:v>0.1917808219178082</c:v>
                </c:pt>
                <c:pt idx="8">
                  <c:v>0.5</c:v>
                </c:pt>
              </c:numCache>
            </c:numRef>
          </c:yVal>
          <c:smooth val="0"/>
          <c:extLst>
            <c:ext xmlns:c16="http://schemas.microsoft.com/office/drawing/2014/chart" uri="{C3380CC4-5D6E-409C-BE32-E72D297353CC}">
              <c16:uniqueId val="{00000002-F32D-48B7-BC20-E66FC6253BAD}"/>
            </c:ext>
          </c:extLst>
        </c:ser>
        <c:ser>
          <c:idx val="2"/>
          <c:order val="2"/>
          <c:tx>
            <c:strRef>
              <c:f>Sheet1!$B$39</c:f>
              <c:strCache>
                <c:ptCount val="1"/>
                <c:pt idx="0">
                  <c:v>Custom Linep3yQ</c:v>
                </c:pt>
              </c:strCache>
            </c:strRef>
          </c:tx>
          <c:spPr>
            <a:ln w="19050" cap="rnd">
              <a:solidFill>
                <a:srgbClr val="C00000"/>
              </a:solidFill>
              <a:prstDash val="sysDot"/>
              <a:round/>
            </a:ln>
            <a:effectLst/>
          </c:spPr>
          <c:marker>
            <c:symbol val="none"/>
          </c:marker>
          <c:xVal>
            <c:numRef>
              <c:f>Sheet1!$A$40:$A$41</c:f>
              <c:numCache>
                <c:formatCode>General</c:formatCode>
                <c:ptCount val="2"/>
                <c:pt idx="0">
                  <c:v>0</c:v>
                </c:pt>
                <c:pt idx="1">
                  <c:v>2679.784549697356</c:v>
                </c:pt>
              </c:numCache>
            </c:numRef>
          </c:xVal>
          <c:yVal>
            <c:numRef>
              <c:f>Sheet1!$B$40:$B$41</c:f>
              <c:numCache>
                <c:formatCode>General</c:formatCode>
                <c:ptCount val="2"/>
                <c:pt idx="0">
                  <c:v>0.5</c:v>
                </c:pt>
                <c:pt idx="1">
                  <c:v>0.5</c:v>
                </c:pt>
              </c:numCache>
            </c:numRef>
          </c:yVal>
          <c:smooth val="0"/>
          <c:extLst>
            <c:ext xmlns:c16="http://schemas.microsoft.com/office/drawing/2014/chart" uri="{C3380CC4-5D6E-409C-BE32-E72D297353CC}">
              <c16:uniqueId val="{00000003-F32D-48B7-BC20-E66FC6253BAD}"/>
            </c:ext>
          </c:extLst>
        </c:ser>
        <c:ser>
          <c:idx val="3"/>
          <c:order val="3"/>
          <c:tx>
            <c:strRef>
              <c:f>Sheet1!$B$4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4:$A$45</c:f>
              <c:numCache>
                <c:formatCode>General</c:formatCode>
                <c:ptCount val="2"/>
                <c:pt idx="0">
                  <c:v>2679.784549697356</c:v>
                </c:pt>
                <c:pt idx="1">
                  <c:v>2679.784549697356</c:v>
                </c:pt>
              </c:numCache>
            </c:numRef>
          </c:xVal>
          <c:yVal>
            <c:numRef>
              <c:f>Sheet1!$B$44:$B$45</c:f>
              <c:numCache>
                <c:formatCode>General</c:formatCode>
                <c:ptCount val="2"/>
                <c:pt idx="0">
                  <c:v>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4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48:$A$49</c:f>
              <c:numCache>
                <c:formatCode>General</c:formatCode>
                <c:ptCount val="2"/>
                <c:pt idx="0">
                  <c:v>0</c:v>
                </c:pt>
                <c:pt idx="1">
                  <c:v>2679.784549697356</c:v>
                </c:pt>
              </c:numCache>
            </c:numRef>
          </c:xVal>
          <c:yVal>
            <c:numRef>
              <c:f>Sheet1!$B$48:$B$49</c:f>
              <c:numCache>
                <c:formatCode>General</c:formatCode>
                <c:ptCount val="2"/>
                <c:pt idx="0">
                  <c:v>0.5</c:v>
                </c:pt>
                <c:pt idx="1">
                  <c:v>0.5</c:v>
                </c:pt>
              </c:numCache>
            </c:numRef>
          </c:yVal>
          <c:smooth val="0"/>
          <c:extLst>
            <c:ext xmlns:c16="http://schemas.microsoft.com/office/drawing/2014/chart" uri="{C3380CC4-5D6E-409C-BE32-E72D297353CC}">
              <c16:uniqueId val="{0000000A-F32D-48B7-BC20-E66FC6253BAD}"/>
            </c:ext>
          </c:extLst>
        </c:ser>
        <c:ser>
          <c:idx val="5"/>
          <c:order val="5"/>
          <c:tx>
            <c:strRef>
              <c:f>Sheet1!$B$5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2:$A$53</c:f>
              <c:numCache>
                <c:formatCode>General</c:formatCode>
                <c:ptCount val="2"/>
                <c:pt idx="0">
                  <c:v>2679.784549697356</c:v>
                </c:pt>
                <c:pt idx="1">
                  <c:v>2679.784549697356</c:v>
                </c:pt>
              </c:numCache>
            </c:numRef>
          </c:xVal>
          <c:yVal>
            <c:numRef>
              <c:f>Sheet1!$B$52:$B$53</c:f>
              <c:numCache>
                <c:formatCode>General</c:formatCode>
                <c:ptCount val="2"/>
                <c:pt idx="0">
                  <c:v>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5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56:$A$57</c:f>
              <c:numCache>
                <c:formatCode>General</c:formatCode>
                <c:ptCount val="2"/>
                <c:pt idx="0">
                  <c:v>0</c:v>
                </c:pt>
                <c:pt idx="1">
                  <c:v>1725.4091730190955</c:v>
                </c:pt>
              </c:numCache>
            </c:numRef>
          </c:xVal>
          <c:yVal>
            <c:numRef>
              <c:f>Sheet1!$B$56:$B$57</c:f>
              <c:numCache>
                <c:formatCode>General</c:formatCode>
                <c:ptCount val="2"/>
                <c:pt idx="0">
                  <c:v>0.3458904109589041</c:v>
                </c:pt>
                <c:pt idx="1">
                  <c:v>0.3458904109589041</c:v>
                </c:pt>
              </c:numCache>
            </c:numRef>
          </c:yVal>
          <c:smooth val="0"/>
          <c:extLst>
            <c:ext xmlns:c16="http://schemas.microsoft.com/office/drawing/2014/chart" uri="{C3380CC4-5D6E-409C-BE32-E72D297353CC}">
              <c16:uniqueId val="{00000011-F32D-48B7-BC20-E66FC6253BAD}"/>
            </c:ext>
          </c:extLst>
        </c:ser>
        <c:ser>
          <c:idx val="7"/>
          <c:order val="7"/>
          <c:tx>
            <c:strRef>
              <c:f>Sheet1!$B$5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0:$A$61</c:f>
              <c:numCache>
                <c:formatCode>General</c:formatCode>
                <c:ptCount val="2"/>
                <c:pt idx="0">
                  <c:v>1725.4091730190955</c:v>
                </c:pt>
                <c:pt idx="1">
                  <c:v>1725.4091730190955</c:v>
                </c:pt>
              </c:numCache>
            </c:numRef>
          </c:xVal>
          <c:yVal>
            <c:numRef>
              <c:f>Sheet1!$B$60:$B$61</c:f>
              <c:numCache>
                <c:formatCode>General</c:formatCode>
                <c:ptCount val="2"/>
                <c:pt idx="0">
                  <c:v>0.345890410958904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6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64:$A$75</c:f>
              <c:numCache>
                <c:formatCode>General</c:formatCode>
                <c:ptCount val="12"/>
                <c:pt idx="0">
                  <c:v>1006.6377</c:v>
                </c:pt>
                <c:pt idx="1">
                  <c:v>1143.5882</c:v>
                </c:pt>
                <c:pt idx="2">
                  <c:v>1288.0</c:v>
                </c:pt>
                <c:pt idx="3">
                  <c:v>643.1667</c:v>
                </c:pt>
                <c:pt idx="4">
                  <c:v>708.5652</c:v>
                </c:pt>
                <c:pt idx="5">
                  <c:v>1495.7419</c:v>
                </c:pt>
                <c:pt idx="6">
                  <c:v>1608.8571</c:v>
                </c:pt>
                <c:pt idx="7">
                  <c:v>1543.7857</c:v>
                </c:pt>
                <c:pt idx="8">
                  <c:v>995.9677</c:v>
                </c:pt>
                <c:pt idx="9">
                  <c:v>2679.784549697356</c:v>
                </c:pt>
                <c:pt idx="10">
                  <c:v>2679.784549697356</c:v>
                </c:pt>
                <c:pt idx="11">
                  <c:v>1725.4091730190955</c:v>
                </c:pt>
              </c:numCache>
            </c:numRef>
          </c:xVal>
          <c:yVal>
            <c:numRef>
              <c:f>Sheet1!$B$64:$B$75</c:f>
              <c:numCache>
                <c:formatCode>General</c:formatCode>
                <c:ptCount val="12"/>
                <c:pt idx="0">
                  <c:v>0.22982541281637692</c:v>
                </c:pt>
                <c:pt idx="1">
                  <c:v>0.2519397567000495</c:v>
                </c:pt>
                <c:pt idx="2">
                  <c:v>0.2752589282697783</c:v>
                </c:pt>
                <c:pt idx="3">
                  <c:v>0.17113323801057223</c:v>
                </c:pt>
                <c:pt idx="4">
                  <c:v>0.18169358586236073</c:v>
                </c:pt>
                <c:pt idx="5">
                  <c:v>0.30880444884580777</c:v>
                </c:pt>
                <c:pt idx="6">
                  <c:v>0.32706994208073864</c:v>
                </c:pt>
                <c:pt idx="7">
                  <c:v>0.31656241332697715</c:v>
                </c:pt>
                <c:pt idx="8">
                  <c:v>0.2281024541616894</c:v>
                </c:pt>
                <c:pt idx="9">
                  <c:v>0.5</c:v>
                </c:pt>
                <c:pt idx="10">
                  <c:v>0.5</c:v>
                </c:pt>
                <c:pt idx="11">
                  <c:v>0.345890410958904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216.0"/>
          <c:min val="51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396226415094339"/>
          <c:min val="0.019047619047619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4</c:f>
              <c:numCache>
                <c:formatCode>General</c:formatCode>
                <c:ptCount val="1"/>
                <c:pt idx="0">
                  <c:v>0.5529825855361604</c:v>
                </c:pt>
              </c:numCache>
            </c:numRef>
          </c:xVal>
          <c:yVal>
            <c:numRef>
              <c:f>Sheet1!$B$4:$B$4</c:f>
              <c:numCache>
                <c:formatCode>General</c:formatCode>
                <c:ptCount val="1"/>
                <c:pt idx="0">
                  <c:v>0.5</c:v>
                </c:pt>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5</c:v>
                </c:pt>
              </c:numCache>
            </c:numRef>
          </c:xVal>
          <c:yVal>
            <c:numRef>
              <c:f>Sheet1!$B$7:$B$8</c:f>
              <c:numCache>
                <c:formatCode>General</c:formatCode>
                <c:ptCount val="2"/>
                <c:pt idx="0">
                  <c:v>0.5</c:v>
                </c:pt>
                <c:pt idx="1">
                  <c:v>0.5</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5</c:v>
                </c:pt>
                <c:pt idx="1">
                  <c:v>0.5</c:v>
                </c:pt>
              </c:numCache>
            </c:numRef>
          </c:xVal>
          <c:yVal>
            <c:numRef>
              <c:f>Sheet1!$B$11:$B$12</c:f>
              <c:numCache>
                <c:formatCode>General</c:formatCode>
                <c:ptCount val="2"/>
                <c:pt idx="0">
                  <c:v>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6</c:f>
              <c:numCache>
                <c:formatCode>General</c:formatCode>
                <c:ptCount val="2"/>
                <c:pt idx="0">
                  <c:v>0</c:v>
                </c:pt>
                <c:pt idx="1">
                  <c:v>0.5</c:v>
                </c:pt>
              </c:numCache>
            </c:numRef>
          </c:xVal>
          <c:yVal>
            <c:numRef>
              <c:f>Sheet1!$B$15:$B$16</c:f>
              <c:numCache>
                <c:formatCode>General</c:formatCode>
                <c:ptCount val="2"/>
                <c:pt idx="0">
                  <c:v>0.5</c:v>
                </c:pt>
                <c:pt idx="1">
                  <c:v>0.5</c:v>
                </c:pt>
              </c:numCache>
            </c:numRef>
          </c:yVal>
          <c:smooth val="0"/>
          <c:extLst>
            <c:ext xmlns:c16="http://schemas.microsoft.com/office/drawing/2014/chart" uri="{C3380CC4-5D6E-409C-BE32-E72D297353CC}">
              <c16:uniqueId val="{0000000D-096C-4121-9522-6AB7243CCAAE}"/>
            </c:ext>
          </c:extLst>
        </c:ser>
        <c:ser>
          <c:idx val="5"/>
          <c:order val="5"/>
          <c:tx>
            <c:strRef>
              <c:f>Sheet1!$B$1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9:$A$20</c:f>
              <c:numCache>
                <c:formatCode>General</c:formatCode>
                <c:ptCount val="2"/>
                <c:pt idx="0">
                  <c:v>0.5</c:v>
                </c:pt>
                <c:pt idx="1">
                  <c:v>0.5</c:v>
                </c:pt>
              </c:numCache>
            </c:numRef>
          </c:xVal>
          <c:yVal>
            <c:numRef>
              <c:f>Sheet1!$B$19:$B$20</c:f>
              <c:numCache>
                <c:formatCode>General</c:formatCode>
                <c:ptCount val="2"/>
                <c:pt idx="0">
                  <c:v>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2</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3:$A$24</c:f>
              <c:numCache>
                <c:formatCode>General</c:formatCode>
                <c:ptCount val="2"/>
                <c:pt idx="0">
                  <c:v>0</c:v>
                </c:pt>
                <c:pt idx="1">
                  <c:v>0.5</c:v>
                </c:pt>
              </c:numCache>
            </c:numRef>
          </c:xVal>
          <c:yVal>
            <c:numRef>
              <c:f>Sheet1!$B$23:$B$24</c:f>
              <c:numCache>
                <c:formatCode>General</c:formatCode>
                <c:ptCount val="2"/>
                <c:pt idx="0">
                  <c:v>0.5</c:v>
                </c:pt>
                <c:pt idx="1">
                  <c:v>0.5</c:v>
                </c:pt>
              </c:numCache>
            </c:numRef>
          </c:yVal>
          <c:smooth val="0"/>
          <c:extLst>
            <c:ext xmlns:c16="http://schemas.microsoft.com/office/drawing/2014/chart" uri="{C3380CC4-5D6E-409C-BE32-E72D297353CC}">
              <c16:uniqueId val="{00000015-096C-4121-9522-6AB7243CCAAE}"/>
            </c:ext>
          </c:extLst>
        </c:ser>
        <c:ser>
          <c:idx val="7"/>
          <c:order val="7"/>
          <c:tx>
            <c:strRef>
              <c:f>Sheet1!$B$26</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5</c:v>
                </c:pt>
                <c:pt idx="1">
                  <c:v>0.5</c:v>
                </c:pt>
              </c:numCache>
            </c:numRef>
          </c:xVal>
          <c:yVal>
            <c:numRef>
              <c:f>Sheet1!$B$27:$B$28</c:f>
              <c:numCache>
                <c:formatCode>General</c:formatCode>
                <c:ptCount val="2"/>
                <c:pt idx="0">
                  <c:v>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0</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1:$A$34</c:f>
              <c:numCache>
                <c:formatCode>General</c:formatCode>
                <c:ptCount val="4"/>
                <c:pt idx="0">
                  <c:v>0.5529825855361604</c:v>
                </c:pt>
                <c:pt idx="1">
                  <c:v>0.5</c:v>
                </c:pt>
                <c:pt idx="2">
                  <c:v>0.5</c:v>
                </c:pt>
                <c:pt idx="3">
                  <c:v>0.5</c:v>
                </c:pt>
              </c:numCache>
            </c:numRef>
          </c:xVal>
          <c:yVal>
            <c:numRef>
              <c:f>Sheet1!$B$31:$B$34</c:f>
              <c:numCache>
                <c:formatCode>General</c:formatCode>
                <c:ptCount val="4"/>
                <c:pt idx="0">
                  <c:v>0.5529825855361604</c:v>
                </c:pt>
                <c:pt idx="1">
                  <c:v>0.5</c:v>
                </c:pt>
                <c:pt idx="2">
                  <c:v>0.5</c:v>
                </c:pt>
                <c:pt idx="3">
                  <c:v>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
          <c:min val="0.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4</c:f>
              <c:numCache>
                <c:formatCode>General</c:formatCode>
                <c:ptCount val="1"/>
                <c:pt idx="0">
                  <c:v>995.9677</c:v>
                </c:pt>
              </c:numCache>
            </c:numRef>
          </c:xVal>
          <c:yVal>
            <c:numRef>
              <c:f>Sheet1!$B$4:$B$4</c:f>
              <c:numCache>
                <c:formatCode>General</c:formatCode>
                <c:ptCount val="1"/>
                <c:pt idx="0">
                  <c:v>0.5</c:v>
                </c:pt>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5</c:v>
                </c:pt>
              </c:numCache>
            </c:numRef>
          </c:xVal>
          <c:yVal>
            <c:numRef>
              <c:f>Sheet1!$B$7:$B$8</c:f>
              <c:numCache>
                <c:formatCode>General</c:formatCode>
                <c:ptCount val="2"/>
                <c:pt idx="0">
                  <c:v>0.5</c:v>
                </c:pt>
                <c:pt idx="1">
                  <c:v>0.5</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5</c:v>
                </c:pt>
                <c:pt idx="1">
                  <c:v>0.5</c:v>
                </c:pt>
              </c:numCache>
            </c:numRef>
          </c:xVal>
          <c:yVal>
            <c:numRef>
              <c:f>Sheet1!$B$11:$B$12</c:f>
              <c:numCache>
                <c:formatCode>General</c:formatCode>
                <c:ptCount val="2"/>
                <c:pt idx="0">
                  <c:v>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6</c:f>
              <c:numCache>
                <c:formatCode>General</c:formatCode>
                <c:ptCount val="2"/>
                <c:pt idx="0">
                  <c:v>0</c:v>
                </c:pt>
                <c:pt idx="1">
                  <c:v>0.5</c:v>
                </c:pt>
              </c:numCache>
            </c:numRef>
          </c:xVal>
          <c:yVal>
            <c:numRef>
              <c:f>Sheet1!$B$15:$B$16</c:f>
              <c:numCache>
                <c:formatCode>General</c:formatCode>
                <c:ptCount val="2"/>
                <c:pt idx="0">
                  <c:v>0.5</c:v>
                </c:pt>
                <c:pt idx="1">
                  <c:v>0.5</c:v>
                </c:pt>
              </c:numCache>
            </c:numRef>
          </c:yVal>
          <c:smooth val="0"/>
          <c:extLst>
            <c:ext xmlns:c16="http://schemas.microsoft.com/office/drawing/2014/chart" uri="{C3380CC4-5D6E-409C-BE32-E72D297353CC}">
              <c16:uniqueId val="{0000000A-F32D-48B7-BC20-E66FC6253BAD}"/>
            </c:ext>
          </c:extLst>
        </c:ser>
        <c:ser>
          <c:idx val="5"/>
          <c:order val="5"/>
          <c:tx>
            <c:strRef>
              <c:f>Sheet1!$B$1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9:$A$20</c:f>
              <c:numCache>
                <c:formatCode>General</c:formatCode>
                <c:ptCount val="2"/>
                <c:pt idx="0">
                  <c:v>0.5</c:v>
                </c:pt>
                <c:pt idx="1">
                  <c:v>0.5</c:v>
                </c:pt>
              </c:numCache>
            </c:numRef>
          </c:xVal>
          <c:yVal>
            <c:numRef>
              <c:f>Sheet1!$B$19:$B$20</c:f>
              <c:numCache>
                <c:formatCode>General</c:formatCode>
                <c:ptCount val="2"/>
                <c:pt idx="0">
                  <c:v>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2</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3:$A$24</c:f>
              <c:numCache>
                <c:formatCode>General</c:formatCode>
                <c:ptCount val="2"/>
                <c:pt idx="0">
                  <c:v>0</c:v>
                </c:pt>
                <c:pt idx="1">
                  <c:v>0.5</c:v>
                </c:pt>
              </c:numCache>
            </c:numRef>
          </c:xVal>
          <c:yVal>
            <c:numRef>
              <c:f>Sheet1!$B$23:$B$24</c:f>
              <c:numCache>
                <c:formatCode>General</c:formatCode>
                <c:ptCount val="2"/>
                <c:pt idx="0">
                  <c:v>0.5</c:v>
                </c:pt>
                <c:pt idx="1">
                  <c:v>0.5</c:v>
                </c:pt>
              </c:numCache>
            </c:numRef>
          </c:yVal>
          <c:smooth val="0"/>
          <c:extLst>
            <c:ext xmlns:c16="http://schemas.microsoft.com/office/drawing/2014/chart" uri="{C3380CC4-5D6E-409C-BE32-E72D297353CC}">
              <c16:uniqueId val="{00000011-F32D-48B7-BC20-E66FC6253BAD}"/>
            </c:ext>
          </c:extLst>
        </c:ser>
        <c:ser>
          <c:idx val="7"/>
          <c:order val="7"/>
          <c:tx>
            <c:strRef>
              <c:f>Sheet1!$B$26</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0.5</c:v>
                </c:pt>
                <c:pt idx="1">
                  <c:v>0.5</c:v>
                </c:pt>
              </c:numCache>
            </c:numRef>
          </c:xVal>
          <c:yVal>
            <c:numRef>
              <c:f>Sheet1!$B$27:$B$28</c:f>
              <c:numCache>
                <c:formatCode>General</c:formatCode>
                <c:ptCount val="2"/>
                <c:pt idx="0">
                  <c:v>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0</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1:$A$34</c:f>
              <c:numCache>
                <c:formatCode>General</c:formatCode>
                <c:ptCount val="4"/>
                <c:pt idx="0">
                  <c:v>995.9677</c:v>
                </c:pt>
                <c:pt idx="1">
                  <c:v>0.5</c:v>
                </c:pt>
                <c:pt idx="2">
                  <c:v>0.5</c:v>
                </c:pt>
                <c:pt idx="3">
                  <c:v>0.5</c:v>
                </c:pt>
              </c:numCache>
            </c:numRef>
          </c:xVal>
          <c:yVal>
            <c:numRef>
              <c:f>Sheet1!$B$31:$B$34</c:f>
              <c:numCache>
                <c:formatCode>General</c:formatCode>
                <c:ptCount val="4"/>
                <c:pt idx="0">
                  <c:v>995.9677</c:v>
                </c:pt>
                <c:pt idx="1">
                  <c:v>0.5</c:v>
                </c:pt>
                <c:pt idx="2">
                  <c:v>0.5</c:v>
                </c:pt>
                <c:pt idx="3">
                  <c:v>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19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
          <c:min val="0.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c:f>
              <c:numCache>
                <c:formatCode>General</c:formatCode>
                <c:ptCount val="6"/>
                <c:pt idx="0">
                  <c:v>1.5043598625405727</c:v>
                </c:pt>
                <c:pt idx="1">
                  <c:v>1.587003264957123</c:v>
                </c:pt>
                <c:pt idx="2">
                  <c:v>1.3293770860450165</c:v>
                </c:pt>
                <c:pt idx="3">
                  <c:v>1.4913036915067515</c:v>
                </c:pt>
                <c:pt idx="4">
                  <c:v>1.4468736481755233</c:v>
                </c:pt>
                <c:pt idx="5">
                  <c:v>1.273214611100477</c:v>
                </c:pt>
              </c:numCache>
            </c:numRef>
          </c:xVal>
          <c:yVal>
            <c:numRef>
              <c:f>Sheet1!$B$2:$B$7</c:f>
              <c:numCache>
                <c:formatCode>General</c:formatCode>
                <c:ptCount val="6"/>
                <c:pt idx="0">
                  <c:v>0.011682242990654205</c:v>
                </c:pt>
                <c:pt idx="1">
                  <c:v>0.022556390977443608</c:v>
                </c:pt>
                <c:pt idx="2">
                  <c:v>0.0379746835443038</c:v>
                </c:pt>
                <c:pt idx="3">
                  <c:v>0.030303030303030304</c:v>
                </c:pt>
                <c:pt idx="4">
                  <c:v>0.011363636363636364</c:v>
                </c:pt>
                <c:pt idx="5">
                  <c:v>0.030612244897959183</c:v>
                </c:pt>
              </c:numCache>
            </c:numRef>
          </c:yVal>
          <c:smooth val="0"/>
          <c:extLst>
            <c:ext xmlns:c16="http://schemas.microsoft.com/office/drawing/2014/chart" uri="{C3380CC4-5D6E-409C-BE32-E72D297353CC}">
              <c16:uniqueId val="{00000000-096C-4121-9522-6AB7243CCAAE}"/>
            </c:ext>
          </c:extLst>
        </c:ser>
        <c:ser>
          <c:idx val="1"/>
          <c:order val="1"/>
          <c:tx>
            <c:strRef>
              <c:f>Sheet1!$B$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A$11</c:f>
              <c:numCache>
                <c:formatCode>General</c:formatCode>
                <c:ptCount val="2"/>
                <c:pt idx="0">
                  <c:v>1.1144623869926067</c:v>
                </c:pt>
                <c:pt idx="1">
                  <c:v>0.7187469306364419</c:v>
                </c:pt>
              </c:numCache>
            </c:numRef>
          </c:xVal>
          <c:yVal>
            <c:numRef>
              <c:f>Sheet1!$B$10:$B$11</c:f>
              <c:numCache>
                <c:formatCode>General</c:formatCode>
                <c:ptCount val="2"/>
                <c:pt idx="0">
                  <c:v>0.01818181818181818</c:v>
                </c:pt>
                <c:pt idx="1">
                  <c:v>0.015</c:v>
                </c:pt>
              </c:numCache>
            </c:numRef>
          </c:yVal>
          <c:smooth val="0"/>
          <c:extLst>
            <c:ext xmlns:c16="http://schemas.microsoft.com/office/drawing/2014/chart" uri="{C3380CC4-5D6E-409C-BE32-E72D297353CC}">
              <c16:uniqueId val="{00000002-096C-4121-9522-6AB7243CCAAE}"/>
            </c:ext>
          </c:extLst>
        </c:ser>
        <c:ser>
          <c:idx val="2"/>
          <c:order val="2"/>
          <c:tx>
            <c:strRef>
              <c:f>Sheet1!$B$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A$15</c:f>
              <c:numCache>
                <c:formatCode>General</c:formatCode>
                <c:ptCount val="2"/>
                <c:pt idx="0">
                  <c:v>0</c:v>
                </c:pt>
                <c:pt idx="1">
                  <c:v>2.6188412237940146</c:v>
                </c:pt>
              </c:numCache>
            </c:numRef>
          </c:xVal>
          <c:yVal>
            <c:numRef>
              <c:f>Sheet1!$B$14:$B$15</c:f>
              <c:numCache>
                <c:formatCode>General</c:formatCode>
                <c:ptCount val="2"/>
                <c:pt idx="0">
                  <c:v>0.030278034941592574</c:v>
                </c:pt>
                <c:pt idx="1">
                  <c:v>0.030278034941592574</c:v>
                </c:pt>
              </c:numCache>
            </c:numRef>
          </c:yVal>
          <c:smooth val="0"/>
          <c:extLst>
            <c:ext xmlns:c16="http://schemas.microsoft.com/office/drawing/2014/chart" uri="{C3380CC4-5D6E-409C-BE32-E72D297353CC}">
              <c16:uniqueId val="{00000005-096C-4121-9522-6AB7243CCAAE}"/>
            </c:ext>
          </c:extLst>
        </c:ser>
        <c:ser>
          <c:idx val="3"/>
          <c:order val="3"/>
          <c:tx>
            <c:strRef>
              <c:f>Sheet1!$B$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A$19</c:f>
              <c:numCache>
                <c:formatCode>General</c:formatCode>
                <c:ptCount val="2"/>
                <c:pt idx="0">
                  <c:v>2.6188412237940146</c:v>
                </c:pt>
                <c:pt idx="1">
                  <c:v>2.6188412237940146</c:v>
                </c:pt>
              </c:numCache>
            </c:numRef>
          </c:xVal>
          <c:yVal>
            <c:numRef>
              <c:f>Sheet1!$B$18:$B$19</c:f>
              <c:numCache>
                <c:formatCode>General</c:formatCode>
                <c:ptCount val="2"/>
                <c:pt idx="0">
                  <c:v>0.0302780349415925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2:$A$23</c:f>
              <c:numCache>
                <c:formatCode>General</c:formatCode>
                <c:ptCount val="2"/>
                <c:pt idx="0">
                  <c:v>0</c:v>
                </c:pt>
                <c:pt idx="1">
                  <c:v>1.114462386992606</c:v>
                </c:pt>
              </c:numCache>
            </c:numRef>
          </c:xVal>
          <c:yVal>
            <c:numRef>
              <c:f>Sheet1!$B$22:$B$23</c:f>
              <c:numCache>
                <c:formatCode>General</c:formatCode>
                <c:ptCount val="2"/>
                <c:pt idx="0">
                  <c:v>0.01818181818181818</c:v>
                </c:pt>
                <c:pt idx="1">
                  <c:v>0.01818181818181818</c:v>
                </c:pt>
              </c:numCache>
            </c:numRef>
          </c:yVal>
          <c:smooth val="0"/>
          <c:extLst>
            <c:ext xmlns:c16="http://schemas.microsoft.com/office/drawing/2014/chart" uri="{C3380CC4-5D6E-409C-BE32-E72D297353CC}">
              <c16:uniqueId val="{0000000D-096C-4121-9522-6AB7243CCAAE}"/>
            </c:ext>
          </c:extLst>
        </c:ser>
        <c:ser>
          <c:idx val="5"/>
          <c:order val="5"/>
          <c:tx>
            <c:strRef>
              <c:f>Sheet1!$B$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6:$A$27</c:f>
              <c:numCache>
                <c:formatCode>General</c:formatCode>
                <c:ptCount val="2"/>
                <c:pt idx="0">
                  <c:v>1.114462386992606</c:v>
                </c:pt>
                <c:pt idx="1">
                  <c:v>1.114462386992606</c:v>
                </c:pt>
              </c:numCache>
            </c:numRef>
          </c:xVal>
          <c:yVal>
            <c:numRef>
              <c:f>Sheet1!$B$26:$B$27</c:f>
              <c:numCache>
                <c:formatCode>General</c:formatCode>
                <c:ptCount val="2"/>
                <c:pt idx="0">
                  <c:v>0.018181818181818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9</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0:$A$34</c:f>
              <c:numCache>
                <c:formatCode>General</c:formatCode>
                <c:ptCount val="5"/>
                <c:pt idx="0">
                  <c:v>1.1144623869926067</c:v>
                </c:pt>
                <c:pt idx="1">
                  <c:v>0.7187469306364419</c:v>
                </c:pt>
                <c:pt idx="2">
                  <c:v>1.114462386992606</c:v>
                </c:pt>
                <c:pt idx="3">
                  <c:v>2.6188412237940146</c:v>
                </c:pt>
                <c:pt idx="4">
                  <c:v>0</c:v>
                </c:pt>
              </c:numCache>
            </c:numRef>
          </c:xVal>
          <c:yVal>
            <c:numRef>
              <c:f>Sheet1!$B$30:$B$34</c:f>
              <c:numCache>
                <c:formatCode>General</c:formatCode>
                <c:ptCount val="5"/>
                <c:pt idx="0">
                  <c:v>0.018181818181818188</c:v>
                </c:pt>
                <c:pt idx="1">
                  <c:v>0.015000000000000003</c:v>
                </c:pt>
                <c:pt idx="2">
                  <c:v>0.01818181818181818</c:v>
                </c:pt>
                <c:pt idx="3">
                  <c:v>0.030278034941592574</c:v>
                </c:pt>
                <c:pt idx="4">
                  <c:v>0.009220791694407073</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556962025316456"/>
          <c:min val="0.00909090909090909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c:f>
              <c:numCache>
                <c:formatCode>General</c:formatCode>
                <c:ptCount val="6"/>
                <c:pt idx="0">
                  <c:v>2326.0</c:v>
                </c:pt>
                <c:pt idx="1">
                  <c:v>1970.0</c:v>
                </c:pt>
                <c:pt idx="2">
                  <c:v>1927.6667</c:v>
                </c:pt>
                <c:pt idx="3">
                  <c:v>2306.8</c:v>
                </c:pt>
                <c:pt idx="4">
                  <c:v>1859.6667</c:v>
                </c:pt>
                <c:pt idx="5">
                  <c:v>1772.0</c:v>
                </c:pt>
              </c:numCache>
            </c:numRef>
          </c:xVal>
          <c:yVal>
            <c:numRef>
              <c:f>Sheet1!$B$2:$B$7</c:f>
              <c:numCache>
                <c:formatCode>General</c:formatCode>
                <c:ptCount val="6"/>
                <c:pt idx="0">
                  <c:v>0.011682242990654205</c:v>
                </c:pt>
                <c:pt idx="1">
                  <c:v>0.022556390977443608</c:v>
                </c:pt>
                <c:pt idx="2">
                  <c:v>0.0379746835443038</c:v>
                </c:pt>
                <c:pt idx="3">
                  <c:v>0.030303030303030304</c:v>
                </c:pt>
                <c:pt idx="4">
                  <c:v>0.011363636363636364</c:v>
                </c:pt>
                <c:pt idx="5">
                  <c:v>0.030612244897959183</c:v>
                </c:pt>
              </c:numCache>
            </c:numRef>
          </c:yVal>
          <c:smooth val="0"/>
          <c:extLst>
            <c:ext xmlns:c16="http://schemas.microsoft.com/office/drawing/2014/chart" uri="{C3380CC4-5D6E-409C-BE32-E72D297353CC}">
              <c16:uniqueId val="{00000000-F32D-48B7-BC20-E66FC6253BAD}"/>
            </c:ext>
          </c:extLst>
        </c:ser>
        <c:ser>
          <c:idx val="1"/>
          <c:order val="1"/>
          <c:tx>
            <c:strRef>
              <c:f>Sheet1!$B$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A$11</c:f>
              <c:numCache>
                <c:formatCode>General</c:formatCode>
                <c:ptCount val="2"/>
                <c:pt idx="0">
                  <c:v>1715.6667</c:v>
                </c:pt>
                <c:pt idx="1">
                  <c:v>876.6667</c:v>
                </c:pt>
              </c:numCache>
            </c:numRef>
          </c:xVal>
          <c:yVal>
            <c:numRef>
              <c:f>Sheet1!$B$10:$B$11</c:f>
              <c:numCache>
                <c:formatCode>General</c:formatCode>
                <c:ptCount val="2"/>
                <c:pt idx="0">
                  <c:v>0.01818181818181818</c:v>
                </c:pt>
                <c:pt idx="1">
                  <c:v>0.015</c:v>
                </c:pt>
              </c:numCache>
            </c:numRef>
          </c:yVal>
          <c:smooth val="0"/>
          <c:extLst>
            <c:ext xmlns:c16="http://schemas.microsoft.com/office/drawing/2014/chart" uri="{C3380CC4-5D6E-409C-BE32-E72D297353CC}">
              <c16:uniqueId val="{00000002-F32D-48B7-BC20-E66FC6253BAD}"/>
            </c:ext>
          </c:extLst>
        </c:ser>
        <c:ser>
          <c:idx val="2"/>
          <c:order val="2"/>
          <c:tx>
            <c:strRef>
              <c:f>Sheet1!$B$13</c:f>
              <c:strCache>
                <c:ptCount val="1"/>
                <c:pt idx="0">
                  <c:v>Custom Linep3yQ</c:v>
                </c:pt>
              </c:strCache>
            </c:strRef>
          </c:tx>
          <c:spPr>
            <a:ln w="19050" cap="rnd">
              <a:solidFill>
                <a:srgbClr val="C00000"/>
              </a:solidFill>
              <a:prstDash val="sysDot"/>
              <a:round/>
            </a:ln>
            <a:effectLst/>
          </c:spPr>
          <c:marker>
            <c:symbol val="none"/>
          </c:marker>
          <c:xVal>
            <c:numRef>
              <c:f>Sheet1!$A$14:$A$15</c:f>
              <c:numCache>
                <c:formatCode>General</c:formatCode>
                <c:ptCount val="2"/>
                <c:pt idx="0">
                  <c:v>0</c:v>
                </c:pt>
                <c:pt idx="1">
                  <c:v>4905.266256455941</c:v>
                </c:pt>
              </c:numCache>
            </c:numRef>
          </c:xVal>
          <c:yVal>
            <c:numRef>
              <c:f>Sheet1!$B$14:$B$15</c:f>
              <c:numCache>
                <c:formatCode>General</c:formatCode>
                <c:ptCount val="2"/>
                <c:pt idx="0">
                  <c:v>0.030278034941592574</c:v>
                </c:pt>
                <c:pt idx="1">
                  <c:v>0.030278034941592574</c:v>
                </c:pt>
              </c:numCache>
            </c:numRef>
          </c:yVal>
          <c:smooth val="0"/>
          <c:extLst>
            <c:ext xmlns:c16="http://schemas.microsoft.com/office/drawing/2014/chart" uri="{C3380CC4-5D6E-409C-BE32-E72D297353CC}">
              <c16:uniqueId val="{00000003-F32D-48B7-BC20-E66FC6253BAD}"/>
            </c:ext>
          </c:extLst>
        </c:ser>
        <c:ser>
          <c:idx val="3"/>
          <c:order val="3"/>
          <c:tx>
            <c:strRef>
              <c:f>Sheet1!$B$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A$19</c:f>
              <c:numCache>
                <c:formatCode>General</c:formatCode>
                <c:ptCount val="2"/>
                <c:pt idx="0">
                  <c:v>4905.266256455941</c:v>
                </c:pt>
                <c:pt idx="1">
                  <c:v>4905.266256455941</c:v>
                </c:pt>
              </c:numCache>
            </c:numRef>
          </c:xVal>
          <c:yVal>
            <c:numRef>
              <c:f>Sheet1!$B$18:$B$19</c:f>
              <c:numCache>
                <c:formatCode>General</c:formatCode>
                <c:ptCount val="2"/>
                <c:pt idx="0">
                  <c:v>0.0302780349415925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2:$A$23</c:f>
              <c:numCache>
                <c:formatCode>General</c:formatCode>
                <c:ptCount val="2"/>
                <c:pt idx="0">
                  <c:v>0</c:v>
                </c:pt>
                <c:pt idx="1">
                  <c:v>1715.6667000000014</c:v>
                </c:pt>
              </c:numCache>
            </c:numRef>
          </c:xVal>
          <c:yVal>
            <c:numRef>
              <c:f>Sheet1!$B$22:$B$23</c:f>
              <c:numCache>
                <c:formatCode>General</c:formatCode>
                <c:ptCount val="2"/>
                <c:pt idx="0">
                  <c:v>0.01818181818181818</c:v>
                </c:pt>
                <c:pt idx="1">
                  <c:v>0.01818181818181818</c:v>
                </c:pt>
              </c:numCache>
            </c:numRef>
          </c:yVal>
          <c:smooth val="0"/>
          <c:extLst>
            <c:ext xmlns:c16="http://schemas.microsoft.com/office/drawing/2014/chart" uri="{C3380CC4-5D6E-409C-BE32-E72D297353CC}">
              <c16:uniqueId val="{0000000A-F32D-48B7-BC20-E66FC6253BAD}"/>
            </c:ext>
          </c:extLst>
        </c:ser>
        <c:ser>
          <c:idx val="5"/>
          <c:order val="5"/>
          <c:tx>
            <c:strRef>
              <c:f>Sheet1!$B$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6:$A$27</c:f>
              <c:numCache>
                <c:formatCode>General</c:formatCode>
                <c:ptCount val="2"/>
                <c:pt idx="0">
                  <c:v>1715.6667000000014</c:v>
                </c:pt>
                <c:pt idx="1">
                  <c:v>1715.6667000000014</c:v>
                </c:pt>
              </c:numCache>
            </c:numRef>
          </c:xVal>
          <c:yVal>
            <c:numRef>
              <c:f>Sheet1!$B$26:$B$27</c:f>
              <c:numCache>
                <c:formatCode>General</c:formatCode>
                <c:ptCount val="2"/>
                <c:pt idx="0">
                  <c:v>0.018181818181818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9</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0:$A$34</c:f>
              <c:numCache>
                <c:formatCode>General</c:formatCode>
                <c:ptCount val="5"/>
                <c:pt idx="0">
                  <c:v>1715.6667</c:v>
                </c:pt>
                <c:pt idx="1">
                  <c:v>876.6667</c:v>
                </c:pt>
                <c:pt idx="2">
                  <c:v>1715.6667000000014</c:v>
                </c:pt>
                <c:pt idx="3">
                  <c:v>4905.266256455941</c:v>
                </c:pt>
                <c:pt idx="4">
                  <c:v>0</c:v>
                </c:pt>
              </c:numCache>
            </c:numRef>
          </c:xVal>
          <c:yVal>
            <c:numRef>
              <c:f>Sheet1!$B$30:$B$34</c:f>
              <c:numCache>
                <c:formatCode>General</c:formatCode>
                <c:ptCount val="5"/>
                <c:pt idx="0">
                  <c:v>0.018181818181818174</c:v>
                </c:pt>
                <c:pt idx="1">
                  <c:v>0.014999999999999996</c:v>
                </c:pt>
                <c:pt idx="2">
                  <c:v>0.01818181818181818</c:v>
                </c:pt>
                <c:pt idx="3">
                  <c:v>0.03027803494159257</c:v>
                </c:pt>
                <c:pt idx="4">
                  <c:v>0.011675334868349764</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8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556962025316456"/>
          <c:min val="0.00909090909090909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3</c:f>
              <c:numCache>
                <c:formatCode>General</c:formatCode>
                <c:ptCount val="12"/>
                <c:pt idx="0">
                  <c:v>1.6512783837487288</c:v>
                </c:pt>
                <c:pt idx="1">
                  <c:v>1.4603863861599267</c:v>
                </c:pt>
                <c:pt idx="2">
                  <c:v>0.4878042286506066</c:v>
                </c:pt>
                <c:pt idx="3">
                  <c:v>0.8433129142084496</c:v>
                </c:pt>
                <c:pt idx="4">
                  <c:v>1.318661598534037</c:v>
                </c:pt>
                <c:pt idx="5">
                  <c:v>1.4777116814247944</c:v>
                </c:pt>
                <c:pt idx="6">
                  <c:v>2.039551851851852</c:v>
                </c:pt>
                <c:pt idx="7">
                  <c:v>1.0794770652147305</c:v>
                </c:pt>
                <c:pt idx="8">
                  <c:v>0.6132776844539544</c:v>
                </c:pt>
                <c:pt idx="9">
                  <c:v>1.6626125346451017</c:v>
                </c:pt>
                <c:pt idx="10">
                  <c:v>2.368215951144314</c:v>
                </c:pt>
                <c:pt idx="11">
                  <c:v>1.348579381088646</c:v>
                </c:pt>
              </c:numCache>
            </c:numRef>
          </c:xVal>
          <c:yVal>
            <c:numRef>
              <c:f>Sheet1!$B$2:$B$13</c:f>
              <c:numCache>
                <c:formatCode>General</c:formatCode>
                <c:ptCount val="12"/>
                <c:pt idx="0">
                  <c:v>0.11666666666666667</c:v>
                </c:pt>
                <c:pt idx="1">
                  <c:v>0.14</c:v>
                </c:pt>
                <c:pt idx="2">
                  <c:v>0.20588235294117646</c:v>
                </c:pt>
                <c:pt idx="3">
                  <c:v>0.12962962962962962</c:v>
                </c:pt>
                <c:pt idx="4">
                  <c:v>0.10526315789473684</c:v>
                </c:pt>
                <c:pt idx="5">
                  <c:v>0.19696969696969696</c:v>
                </c:pt>
                <c:pt idx="6">
                  <c:v>0.75</c:v>
                </c:pt>
                <c:pt idx="7">
                  <c:v>0.05084745762711865</c:v>
                </c:pt>
                <c:pt idx="8">
                  <c:v>0.0967741935483871</c:v>
                </c:pt>
                <c:pt idx="9">
                  <c:v>0.10526315789473684</c:v>
                </c:pt>
                <c:pt idx="10">
                  <c:v>0.025423728813559324</c:v>
                </c:pt>
                <c:pt idx="11">
                  <c:v>0.40860215053763443</c:v>
                </c:pt>
              </c:numCache>
            </c:numRef>
          </c:yVal>
          <c:smooth val="0"/>
          <c:extLst>
            <c:ext xmlns:c16="http://schemas.microsoft.com/office/drawing/2014/chart" uri="{C3380CC4-5D6E-409C-BE32-E72D297353CC}">
              <c16:uniqueId val="{00000000-096C-4121-9522-6AB7243CCAAE}"/>
            </c:ext>
          </c:extLst>
        </c:ser>
        <c:ser>
          <c:idx val="1"/>
          <c:order val="1"/>
          <c:tx>
            <c:strRef>
              <c:f>Sheet1!$B$1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6:$A$18</c:f>
              <c:numCache>
                <c:formatCode>General</c:formatCode>
                <c:ptCount val="3"/>
                <c:pt idx="0">
                  <c:v>2.1910983465992144</c:v>
                </c:pt>
                <c:pt idx="1">
                  <c:v>1.1643436962134253</c:v>
                </c:pt>
                <c:pt idx="2">
                  <c:v>2.6657857856633997</c:v>
                </c:pt>
              </c:numCache>
            </c:numRef>
          </c:xVal>
          <c:yVal>
            <c:numRef>
              <c:f>Sheet1!$B$16:$B$18</c:f>
              <c:numCache>
                <c:formatCode>General</c:formatCode>
                <c:ptCount val="3"/>
                <c:pt idx="0">
                  <c:v>0.27205882352941174</c:v>
                </c:pt>
                <c:pt idx="1">
                  <c:v>0.696969696969697</c:v>
                </c:pt>
                <c:pt idx="2">
                  <c:v>0.4864864864864865</c:v>
                </c:pt>
              </c:numCache>
            </c:numRef>
          </c:yVal>
          <c:smooth val="0"/>
          <c:extLst>
            <c:ext xmlns:c16="http://schemas.microsoft.com/office/drawing/2014/chart" uri="{C3380CC4-5D6E-409C-BE32-E72D297353CC}">
              <c16:uniqueId val="{00000002-096C-4121-9522-6AB7243CCAAE}"/>
            </c:ext>
          </c:extLst>
        </c:ser>
        <c:ser>
          <c:idx val="2"/>
          <c:order val="2"/>
          <c:tx>
            <c:strRef>
              <c:f>Sheet1!$B$2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1:$A$22</c:f>
              <c:numCache>
                <c:formatCode>General</c:formatCode>
                <c:ptCount val="2"/>
                <c:pt idx="0">
                  <c:v>0</c:v>
                </c:pt>
                <c:pt idx="1">
                  <c:v>1.4282206488102565</c:v>
                </c:pt>
              </c:numCache>
            </c:numRef>
          </c:xVal>
          <c:yVal>
            <c:numRef>
              <c:f>Sheet1!$B$21:$B$22</c:f>
              <c:numCache>
                <c:formatCode>General</c:formatCode>
                <c:ptCount val="2"/>
                <c:pt idx="0">
                  <c:v>0.5917280917280918</c:v>
                </c:pt>
                <c:pt idx="1">
                  <c:v>0.5917280917280918</c:v>
                </c:pt>
              </c:numCache>
            </c:numRef>
          </c:yVal>
          <c:smooth val="0"/>
          <c:extLst>
            <c:ext xmlns:c16="http://schemas.microsoft.com/office/drawing/2014/chart" uri="{C3380CC4-5D6E-409C-BE32-E72D297353CC}">
              <c16:uniqueId val="{00000005-096C-4121-9522-6AB7243CCAAE}"/>
            </c:ext>
          </c:extLst>
        </c:ser>
        <c:ser>
          <c:idx val="3"/>
          <c:order val="3"/>
          <c:tx>
            <c:strRef>
              <c:f>Sheet1!$B$2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5:$A$26</c:f>
              <c:numCache>
                <c:formatCode>General</c:formatCode>
                <c:ptCount val="2"/>
                <c:pt idx="0">
                  <c:v>1.4282206488102565</c:v>
                </c:pt>
                <c:pt idx="1">
                  <c:v>1.4282206488102565</c:v>
                </c:pt>
              </c:numCache>
            </c:numRef>
          </c:xVal>
          <c:yVal>
            <c:numRef>
              <c:f>Sheet1!$B$25:$B$26</c:f>
              <c:numCache>
                <c:formatCode>General</c:formatCode>
                <c:ptCount val="2"/>
                <c:pt idx="0">
                  <c:v>0.591728091728091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9:$A$30</c:f>
              <c:numCache>
                <c:formatCode>General</c:formatCode>
                <c:ptCount val="2"/>
                <c:pt idx="0">
                  <c:v>0</c:v>
                </c:pt>
                <c:pt idx="1">
                  <c:v>1.4282206488102565</c:v>
                </c:pt>
              </c:numCache>
            </c:numRef>
          </c:xVal>
          <c:yVal>
            <c:numRef>
              <c:f>Sheet1!$B$29:$B$30</c:f>
              <c:numCache>
                <c:formatCode>General</c:formatCode>
                <c:ptCount val="2"/>
                <c:pt idx="0">
                  <c:v>0.5917280917280918</c:v>
                </c:pt>
                <c:pt idx="1">
                  <c:v>0.5917280917280918</c:v>
                </c:pt>
              </c:numCache>
            </c:numRef>
          </c:yVal>
          <c:smooth val="0"/>
          <c:extLst>
            <c:ext xmlns:c16="http://schemas.microsoft.com/office/drawing/2014/chart" uri="{C3380CC4-5D6E-409C-BE32-E72D297353CC}">
              <c16:uniqueId val="{0000000D-096C-4121-9522-6AB7243CCAAE}"/>
            </c:ext>
          </c:extLst>
        </c:ser>
        <c:ser>
          <c:idx val="5"/>
          <c:order val="5"/>
          <c:tx>
            <c:strRef>
              <c:f>Sheet1!$B$3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3:$A$34</c:f>
              <c:numCache>
                <c:formatCode>General</c:formatCode>
                <c:ptCount val="2"/>
                <c:pt idx="0">
                  <c:v>1.4282206488102565</c:v>
                </c:pt>
                <c:pt idx="1">
                  <c:v>1.4282206488102565</c:v>
                </c:pt>
              </c:numCache>
            </c:numRef>
          </c:xVal>
          <c:yVal>
            <c:numRef>
              <c:f>Sheet1!$B$33:$B$34</c:f>
              <c:numCache>
                <c:formatCode>General</c:formatCode>
                <c:ptCount val="2"/>
                <c:pt idx="0">
                  <c:v>0.591728091728091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6</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7:$A$42</c:f>
              <c:numCache>
                <c:formatCode>General</c:formatCode>
                <c:ptCount val="6"/>
                <c:pt idx="0">
                  <c:v>2.1910983465992144</c:v>
                </c:pt>
                <c:pt idx="1">
                  <c:v>1.1643436962134253</c:v>
                </c:pt>
                <c:pt idx="2">
                  <c:v>2.6657857856633997</c:v>
                </c:pt>
                <c:pt idx="3">
                  <c:v>1.4282206488102565</c:v>
                </c:pt>
                <c:pt idx="4">
                  <c:v>1.4282206488102565</c:v>
                </c:pt>
                <c:pt idx="5">
                  <c:v>0</c:v>
                </c:pt>
              </c:numCache>
            </c:numRef>
          </c:xVal>
          <c:yVal>
            <c:numRef>
              <c:f>Sheet1!$B$37:$B$42</c:f>
              <c:numCache>
                <c:formatCode>General</c:formatCode>
                <c:ptCount val="6"/>
                <c:pt idx="0">
                  <c:v>0.4512965895900504</c:v>
                </c:pt>
                <c:pt idx="1">
                  <c:v>0.6403028985944909</c:v>
                </c:pt>
                <c:pt idx="2">
                  <c:v>0.36391551880105405</c:v>
                </c:pt>
                <c:pt idx="3">
                  <c:v>0.5917280917280918</c:v>
                </c:pt>
                <c:pt idx="4">
                  <c:v>0.5917280917280918</c:v>
                </c:pt>
                <c:pt idx="5">
                  <c:v>0.8546367750967294</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999999999999999"/>
          <c:min val="0.0203389830508474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0238878101110173</c:v>
                </c:pt>
                <c:pt idx="1">
                  <c:v>0.10988440627684426</c:v>
                </c:pt>
                <c:pt idx="2">
                  <c:v>0.1078656511830032</c:v>
                </c:pt>
                <c:pt idx="3">
                  <c:v>0.11128350590523729</c:v>
                </c:pt>
                <c:pt idx="4">
                  <c:v>0.10632431334678831</c:v>
                </c:pt>
                <c:pt idx="5">
                  <c:v>0.10390827341514255</c:v>
                </c:pt>
                <c:pt idx="6">
                  <c:v>0.1053525703726879</c:v>
                </c:pt>
                <c:pt idx="7">
                  <c:v>0.10189502335249677</c:v>
                </c:pt>
                <c:pt idx="8">
                  <c:v>0.10146544377788683</c:v>
                </c:pt>
                <c:pt idx="9">
                  <c:v>0.09635438841184386</c:v>
                </c:pt>
                <c:pt idx="10">
                  <c:v>0.08731495950384377</c:v>
                </c:pt>
                <c:pt idx="11">
                  <c:v>0.0867839705629267</c:v>
                </c:pt>
                <c:pt idx="12">
                  <c:v>0.08438413969644798</c:v>
                </c:pt>
                <c:pt idx="13">
                  <c:v>0.08278002056788406</c:v>
                </c:pt>
                <c:pt idx="14">
                  <c:v>0.09289985546758682</c:v>
                </c:pt>
                <c:pt idx="15">
                  <c:v>0.08924238481644811</c:v>
                </c:pt>
                <c:pt idx="16">
                  <c:v>0.09197974606111278</c:v>
                </c:pt>
                <c:pt idx="17">
                  <c:v>0.08990399132495613</c:v>
                </c:pt>
                <c:pt idx="18">
                  <c:v>0.0921787799889768</c:v>
                </c:pt>
                <c:pt idx="19">
                  <c:v>0.0966854390812672</c:v>
                </c:pt>
                <c:pt idx="20">
                  <c:v>0.0990771870130488</c:v>
                </c:pt>
                <c:pt idx="21">
                  <c:v>0.09571400975177917</c:v>
                </c:pt>
                <c:pt idx="22">
                  <c:v>0.0935536675357019</c:v>
                </c:pt>
                <c:pt idx="23">
                  <c:v>0.09647836109973394</c:v>
                </c:pt>
                <c:pt idx="24">
                  <c:v>0.09278977311405692</c:v>
                </c:pt>
                <c:pt idx="25">
                  <c:v>0.09589215118786698</c:v>
                </c:pt>
                <c:pt idx="26">
                  <c:v>0.10367429233566716</c:v>
                </c:pt>
                <c:pt idx="27">
                  <c:v>0.1061669170257341</c:v>
                </c:pt>
                <c:pt idx="28">
                  <c:v>0.10561295462291315</c:v>
                </c:pt>
                <c:pt idx="29">
                  <c:v>0.10960952513324947</c:v>
                </c:pt>
                <c:pt idx="30">
                  <c:v>0.10262549572362847</c:v>
                </c:pt>
                <c:pt idx="31">
                  <c:v>0.10510217462595524</c:v>
                </c:pt>
                <c:pt idx="32">
                  <c:v>0.10249376270110425</c:v>
                </c:pt>
                <c:pt idx="33">
                  <c:v>0.11045576531265075</c:v>
                </c:pt>
                <c:pt idx="34">
                  <c:v>0.10179169076023419</c:v>
                </c:pt>
                <c:pt idx="35">
                  <c:v>0.1103680620491839</c:v>
                </c:pt>
                <c:pt idx="36">
                  <c:v>0.10711841339465789</c:v>
                </c:pt>
                <c:pt idx="37">
                  <c:v>0.11196217202691745</c:v>
                </c:pt>
                <c:pt idx="38">
                  <c:v>0.1118177127440722</c:v>
                </c:pt>
                <c:pt idx="39">
                  <c:v>0.11684199246186772</c:v>
                </c:pt>
                <c:pt idx="40">
                  <c:v>0.12386866130805474</c:v>
                </c:pt>
                <c:pt idx="41">
                  <c:v>0.12077811730787538</c:v>
                </c:pt>
                <c:pt idx="42">
                  <c:v>0.11574463884568732</c:v>
                </c:pt>
                <c:pt idx="43">
                  <c:v>0.11686523486981662</c:v>
                </c:pt>
                <c:pt idx="44">
                  <c:v>0.11490620032618912</c:v>
                </c:pt>
                <c:pt idx="45">
                  <c:v>0.11922784552267716</c:v>
                </c:pt>
                <c:pt idx="46">
                  <c:v>0.11599720699335737</c:v>
                </c:pt>
                <c:pt idx="47">
                  <c:v>0.10923150809586094</c:v>
                </c:pt>
                <c:pt idx="48">
                  <c:v>0.1110865967166419</c:v>
                </c:pt>
                <c:pt idx="49">
                  <c:v>0.11272532441777493</c:v>
                </c:pt>
                <c:pt idx="50">
                  <c:v>0.10473708393900208</c:v>
                </c:pt>
                <c:pt idx="51">
                  <c:v>0.10508805595016397</c:v>
                </c:pt>
                <c:pt idx="52">
                  <c:v>0.10665849445017947</c:v>
                </c:pt>
                <c:pt idx="53">
                  <c:v>0.12148053393221994</c:v>
                </c:pt>
                <c:pt idx="54">
                  <c:v>0.1230899541531386</c:v>
                </c:pt>
                <c:pt idx="55">
                  <c:v>0.12021482747790717</c:v>
                </c:pt>
                <c:pt idx="56">
                  <c:v>0.11941790913222819</c:v>
                </c:pt>
                <c:pt idx="57">
                  <c:v>0.11883730852903361</c:v>
                </c:pt>
                <c:pt idx="58">
                  <c:v>0.11806578496631122</c:v>
                </c:pt>
                <c:pt idx="59">
                  <c:v>0.12038155143177448</c:v>
                </c:pt>
                <c:pt idx="60">
                  <c:v>0.1194833603196839</c:v>
                </c:pt>
                <c:pt idx="61">
                  <c:v>0.11297317660524236</c:v>
                </c:pt>
                <c:pt idx="62">
                  <c:v>0.101688064366784</c:v>
                </c:pt>
                <c:pt idx="63">
                  <c:v>0.10449265280320325</c:v>
                </c:pt>
                <c:pt idx="64">
                  <c:v>0.10618077065404374</c:v>
                </c:pt>
                <c:pt idx="65">
                  <c:v>0.10533049781704323</c:v>
                </c:pt>
                <c:pt idx="66">
                  <c:v>0.1148858415868263</c:v>
                </c:pt>
                <c:pt idx="67">
                  <c:v>0.11423544482280101</c:v>
                </c:pt>
                <c:pt idx="68">
                  <c:v>0.11359714438986135</c:v>
                </c:pt>
                <c:pt idx="69">
                  <c:v>0.11415555217867934</c:v>
                </c:pt>
                <c:pt idx="70">
                  <c:v>0.11788361208926432</c:v>
                </c:pt>
                <c:pt idx="71">
                  <c:v>0.1121086328298555</c:v>
                </c:pt>
                <c:pt idx="72">
                  <c:v>0.11524960891946363</c:v>
                </c:pt>
                <c:pt idx="73">
                  <c:v>0.11400552660568401</c:v>
                </c:pt>
                <c:pt idx="74">
                  <c:v>0.11355797997089606</c:v>
                </c:pt>
                <c:pt idx="75">
                  <c:v>0.11019246160573218</c:v>
                </c:pt>
                <c:pt idx="76">
                  <c:v>0.10542409339869042</c:v>
                </c:pt>
                <c:pt idx="77">
                  <c:v>0.10584748903483766</c:v>
                </c:pt>
                <c:pt idx="78">
                  <c:v>0.1074219452177477</c:v>
                </c:pt>
                <c:pt idx="79">
                  <c:v>0.10581371011548259</c:v>
                </c:pt>
                <c:pt idx="80">
                  <c:v>0.10681452388898907</c:v>
                </c:pt>
                <c:pt idx="81">
                  <c:v>0.1166804865819594</c:v>
                </c:pt>
                <c:pt idx="82">
                  <c:v>0.11304455461805772</c:v>
                </c:pt>
                <c:pt idx="83">
                  <c:v>0.11357614296616506</c:v>
                </c:pt>
                <c:pt idx="84">
                  <c:v>0.11686364247992183</c:v>
                </c:pt>
                <c:pt idx="85">
                  <c:v>0.1160728126222151</c:v>
                </c:pt>
                <c:pt idx="86">
                  <c:v>0.11615017415713347</c:v>
                </c:pt>
                <c:pt idx="87">
                  <c:v>0.11623110685925449</c:v>
                </c:pt>
                <c:pt idx="88">
                  <c:v>0.11621565632078235</c:v>
                </c:pt>
                <c:pt idx="89">
                  <c:v>0.11644439134727692</c:v>
                </c:pt>
                <c:pt idx="90">
                  <c:v>0.11542658438444127</c:v>
                </c:pt>
                <c:pt idx="91">
                  <c:v>0.1181050665603997</c:v>
                </c:pt>
                <c:pt idx="92">
                  <c:v>0.11338485800971249</c:v>
                </c:pt>
                <c:pt idx="93">
                  <c:v>0.11326833285389479</c:v>
                </c:pt>
                <c:pt idx="94">
                  <c:v>0.1116221660914757</c:v>
                </c:pt>
                <c:pt idx="95">
                  <c:v>0.11220024881851136</c:v>
                </c:pt>
                <c:pt idx="96">
                  <c:v>0.10719345693500586</c:v>
                </c:pt>
                <c:pt idx="97">
                  <c:v>0.10659131739256895</c:v>
                </c:pt>
                <c:pt idx="98">
                  <c:v>0.10361941473104809</c:v>
                </c:pt>
                <c:pt idx="99">
                  <c:v>0.10166911672828174</c:v>
                </c:pt>
                <c:pt idx="100">
                  <c:v>0.10010751889894914</c:v>
                </c:pt>
                <c:pt idx="101">
                  <c:v>0.10793467524496426</c:v>
                </c:pt>
                <c:pt idx="102">
                  <c:v>0.1116702905859754</c:v>
                </c:pt>
                <c:pt idx="103">
                  <c:v>0.10325385125091052</c:v>
                </c:pt>
                <c:pt idx="104">
                  <c:v>0.1042736322083009</c:v>
                </c:pt>
              </c:numCache>
            </c:numRef>
          </c:xVal>
          <c:yVal>
            <c:numRef>
              <c:f>Sheet1!$B$2:$B$106</c:f>
              <c:numCache>
                <c:formatCode>General</c:formatCode>
                <c:ptCount val="105"/>
                <c:pt idx="0">
                  <c:v>0.26012847965738756</c:v>
                </c:pt>
                <c:pt idx="1">
                  <c:v>0.27238736212376147</c:v>
                </c:pt>
                <c:pt idx="2">
                  <c:v>0.26337257810327247</c:v>
                </c:pt>
                <c:pt idx="3">
                  <c:v>0.25908312725889293</c:v>
                </c:pt>
                <c:pt idx="4">
                  <c:v>0.2348164988632673</c:v>
                </c:pt>
                <c:pt idx="5">
                  <c:v>0.21423004119808484</c:v>
                </c:pt>
                <c:pt idx="6">
                  <c:v>0.2182611471746302</c:v>
                </c:pt>
                <c:pt idx="7">
                  <c:v>0.20495495495495494</c:v>
                </c:pt>
                <c:pt idx="8">
                  <c:v>0.22227421619092186</c:v>
                </c:pt>
                <c:pt idx="9">
                  <c:v>0.21707438841737395</c:v>
                </c:pt>
                <c:pt idx="10">
                  <c:v>0.23554804804804805</c:v>
                </c:pt>
                <c:pt idx="11">
                  <c:v>0.2366526167896031</c:v>
                </c:pt>
                <c:pt idx="12">
                  <c:v>0.25389600370313226</c:v>
                </c:pt>
                <c:pt idx="13">
                  <c:v>0.2606355270012155</c:v>
                </c:pt>
                <c:pt idx="14">
                  <c:v>0.2704267438603044</c:v>
                </c:pt>
                <c:pt idx="15">
                  <c:v>0.25789701427953265</c:v>
                </c:pt>
                <c:pt idx="16">
                  <c:v>0.22777026196039848</c:v>
                </c:pt>
                <c:pt idx="17">
                  <c:v>0.23955773955773957</c:v>
                </c:pt>
                <c:pt idx="18">
                  <c:v>0.21729383506805444</c:v>
                </c:pt>
                <c:pt idx="19">
                  <c:v>0.1964573268921095</c:v>
                </c:pt>
                <c:pt idx="20">
                  <c:v>0.21371726233540733</c:v>
                </c:pt>
                <c:pt idx="21">
                  <c:v>0.1863013698630137</c:v>
                </c:pt>
                <c:pt idx="22">
                  <c:v>0.1838928706148623</c:v>
                </c:pt>
                <c:pt idx="23">
                  <c:v>0.1673461463793438</c:v>
                </c:pt>
                <c:pt idx="24">
                  <c:v>0.17663092858440851</c:v>
                </c:pt>
                <c:pt idx="25">
                  <c:v>0.16515276630883569</c:v>
                </c:pt>
                <c:pt idx="26">
                  <c:v>0.16782505509408374</c:v>
                </c:pt>
                <c:pt idx="27">
                  <c:v>0.1683377308707124</c:v>
                </c:pt>
                <c:pt idx="28">
                  <c:v>0.16349876803942273</c:v>
                </c:pt>
                <c:pt idx="29">
                  <c:v>0.14938879187172566</c:v>
                </c:pt>
                <c:pt idx="30">
                  <c:v>0.15433070866141732</c:v>
                </c:pt>
                <c:pt idx="31">
                  <c:v>0.13553553553553555</c:v>
                </c:pt>
                <c:pt idx="32">
                  <c:v>0.14569805194805194</c:v>
                </c:pt>
                <c:pt idx="33">
                  <c:v>0.14377110360760617</c:v>
                </c:pt>
                <c:pt idx="34">
                  <c:v>0.16295242611032085</c:v>
                </c:pt>
                <c:pt idx="35">
                  <c:v>0.18948267447535383</c:v>
                </c:pt>
                <c:pt idx="36">
                  <c:v>0.1787432776677045</c:v>
                </c:pt>
                <c:pt idx="37">
                  <c:v>0.15249472944483486</c:v>
                </c:pt>
                <c:pt idx="38">
                  <c:v>0.15046916890080428</c:v>
                </c:pt>
                <c:pt idx="39">
                  <c:v>0.14069506726457398</c:v>
                </c:pt>
                <c:pt idx="40">
                  <c:v>0.1510353227771011</c:v>
                </c:pt>
                <c:pt idx="41">
                  <c:v>0.14417435037720033</c:v>
                </c:pt>
                <c:pt idx="42">
                  <c:v>0.15697020798201236</c:v>
                </c:pt>
                <c:pt idx="43">
                  <c:v>0.17312378167641326</c:v>
                </c:pt>
                <c:pt idx="44">
                  <c:v>0.15548665915069523</c:v>
                </c:pt>
                <c:pt idx="45">
                  <c:v>0.15145937417828031</c:v>
                </c:pt>
                <c:pt idx="46">
                  <c:v>0.1591240875912409</c:v>
                </c:pt>
                <c:pt idx="47">
                  <c:v>0.1676552686671319</c:v>
                </c:pt>
                <c:pt idx="48">
                  <c:v>0.1735267800076697</c:v>
                </c:pt>
                <c:pt idx="49">
                  <c:v>0.2121083647772078</c:v>
                </c:pt>
                <c:pt idx="50">
                  <c:v>0.18334377828842002</c:v>
                </c:pt>
                <c:pt idx="51">
                  <c:v>0.17443813484763657</c:v>
                </c:pt>
                <c:pt idx="52">
                  <c:v>0.19078901874005946</c:v>
                </c:pt>
                <c:pt idx="53">
                  <c:v>0.18180143672867932</c:v>
                </c:pt>
                <c:pt idx="54">
                  <c:v>0.1655494617103392</c:v>
                </c:pt>
                <c:pt idx="55">
                  <c:v>0.17623596095308072</c:v>
                </c:pt>
                <c:pt idx="56">
                  <c:v>0.1935966487133453</c:v>
                </c:pt>
                <c:pt idx="57">
                  <c:v>0.18437865562854314</c:v>
                </c:pt>
                <c:pt idx="58">
                  <c:v>0.1921921921921922</c:v>
                </c:pt>
                <c:pt idx="59">
                  <c:v>0.19312725899552247</c:v>
                </c:pt>
                <c:pt idx="60">
                  <c:v>0.1935066396578888</c:v>
                </c:pt>
                <c:pt idx="61">
                  <c:v>0.18492792590932855</c:v>
                </c:pt>
                <c:pt idx="62">
                  <c:v>0.20797134583142812</c:v>
                </c:pt>
                <c:pt idx="63">
                  <c:v>0.2189074255806346</c:v>
                </c:pt>
                <c:pt idx="64">
                  <c:v>0.2224744608399546</c:v>
                </c:pt>
                <c:pt idx="65">
                  <c:v>0.22872707212798235</c:v>
                </c:pt>
                <c:pt idx="66">
                  <c:v>0.2179420697829469</c:v>
                </c:pt>
                <c:pt idx="67">
                  <c:v>0.21630960608154803</c:v>
                </c:pt>
                <c:pt idx="68">
                  <c:v>0.19613577949127006</c:v>
                </c:pt>
                <c:pt idx="69">
                  <c:v>0.17736670293797607</c:v>
                </c:pt>
                <c:pt idx="70">
                  <c:v>0.1681854885223209</c:v>
                </c:pt>
                <c:pt idx="71">
                  <c:v>0.17558314958802368</c:v>
                </c:pt>
                <c:pt idx="72">
                  <c:v>0.17655571635311143</c:v>
                </c:pt>
                <c:pt idx="73">
                  <c:v>0.1785470280118424</c:v>
                </c:pt>
                <c:pt idx="74">
                  <c:v>0.1659024103468548</c:v>
                </c:pt>
                <c:pt idx="75">
                  <c:v>0.15557404326123128</c:v>
                </c:pt>
                <c:pt idx="76">
                  <c:v>0.1574769053117783</c:v>
                </c:pt>
                <c:pt idx="77">
                  <c:v>0.15460621912234815</c:v>
                </c:pt>
                <c:pt idx="78">
                  <c:v>0.1562448711636304</c:v>
                </c:pt>
                <c:pt idx="79">
                  <c:v>0.15875943000838222</c:v>
                </c:pt>
                <c:pt idx="80">
                  <c:v>0.14628495780241602</c:v>
                </c:pt>
                <c:pt idx="81">
                  <c:v>0.13667796610169491</c:v>
                </c:pt>
                <c:pt idx="82">
                  <c:v>0.1436801084378177</c:v>
                </c:pt>
                <c:pt idx="83">
                  <c:v>0.13094227504244482</c:v>
                </c:pt>
                <c:pt idx="84">
                  <c:v>0.1255043533658951</c:v>
                </c:pt>
                <c:pt idx="85">
                  <c:v>0.11232449297971919</c:v>
                </c:pt>
                <c:pt idx="86">
                  <c:v>0.12296718972895863</c:v>
                </c:pt>
                <c:pt idx="87">
                  <c:v>0.15997935750225778</c:v>
                </c:pt>
                <c:pt idx="88">
                  <c:v>0.1499921222624862</c:v>
                </c:pt>
                <c:pt idx="89">
                  <c:v>0.1237597911227154</c:v>
                </c:pt>
                <c:pt idx="90">
                  <c:v>0.11240379452299983</c:v>
                </c:pt>
                <c:pt idx="91">
                  <c:v>0.13977406845388635</c:v>
                </c:pt>
                <c:pt idx="92">
                  <c:v>0.14038248337028825</c:v>
                </c:pt>
                <c:pt idx="93">
                  <c:v>0.1275278058645096</c:v>
                </c:pt>
                <c:pt idx="94">
                  <c:v>0.12302466400827057</c:v>
                </c:pt>
                <c:pt idx="95">
                  <c:v>0.1428111933097459</c:v>
                </c:pt>
                <c:pt idx="96">
                  <c:v>0.14006570983918382</c:v>
                </c:pt>
                <c:pt idx="97">
                  <c:v>0.13938150373735894</c:v>
                </c:pt>
                <c:pt idx="98">
                  <c:v>0.162250593443254</c:v>
                </c:pt>
                <c:pt idx="99">
                  <c:v>0.16527112086389098</c:v>
                </c:pt>
                <c:pt idx="100">
                  <c:v>0.2001013171225937</c:v>
                </c:pt>
                <c:pt idx="101">
                  <c:v>0.1658822032820252</c:v>
                </c:pt>
                <c:pt idx="102">
                  <c:v>0.13617322936134563</c:v>
                </c:pt>
                <c:pt idx="103">
                  <c:v>0.15280477645098584</c:v>
                </c:pt>
                <c:pt idx="104">
                  <c:v>0.167021924482338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514405695601458</c:v>
                </c:pt>
                <c:pt idx="1">
                  <c:v>0.11556792122856263</c:v>
                </c:pt>
                <c:pt idx="2">
                  <c:v>0.11825679295288469</c:v>
                </c:pt>
                <c:pt idx="3">
                  <c:v>0.11812782390107292</c:v>
                </c:pt>
                <c:pt idx="4">
                  <c:v>0.11728862965401184</c:v>
                </c:pt>
                <c:pt idx="5">
                  <c:v>0.11088050375424109</c:v>
                </c:pt>
                <c:pt idx="6">
                  <c:v>0.10651564105486527</c:v>
                </c:pt>
                <c:pt idx="7">
                  <c:v>0.10536595279258755</c:v>
                </c:pt>
                <c:pt idx="8">
                  <c:v>0.10980774926128675</c:v>
                </c:pt>
                <c:pt idx="9">
                  <c:v>0.10034749992259728</c:v>
                </c:pt>
                <c:pt idx="10">
                  <c:v>0.10213828845311006</c:v>
                </c:pt>
                <c:pt idx="11">
                  <c:v>0.11441191195374892</c:v>
                </c:pt>
                <c:pt idx="12">
                  <c:v>0.11051450494835934</c:v>
                </c:pt>
                <c:pt idx="13">
                  <c:v>0.10291964669827346</c:v>
                </c:pt>
                <c:pt idx="14">
                  <c:v>0.10881186143470734</c:v>
                </c:pt>
                <c:pt idx="15">
                  <c:v>0.10036076786539294</c:v>
                </c:pt>
                <c:pt idx="16">
                  <c:v>0.10262029137445505</c:v>
                </c:pt>
                <c:pt idx="17">
                  <c:v>0.09908037157897033</c:v>
                </c:pt>
                <c:pt idx="18">
                  <c:v>0.09412609143542</c:v>
                </c:pt>
                <c:pt idx="19">
                  <c:v>0.0959098973555158</c:v>
                </c:pt>
                <c:pt idx="20">
                  <c:v>0.08940774500728188</c:v>
                </c:pt>
                <c:pt idx="21">
                  <c:v>0.09908454957045804</c:v>
                </c:pt>
                <c:pt idx="22">
                  <c:v>0.10249266268890898</c:v>
                </c:pt>
                <c:pt idx="23">
                  <c:v>0.09640580837016717</c:v>
                </c:pt>
                <c:pt idx="24">
                  <c:v>0.09334517483184773</c:v>
                </c:pt>
                <c:pt idx="25">
                  <c:v>0.09259658005922157</c:v>
                </c:pt>
                <c:pt idx="26">
                  <c:v>0.09589612325161127</c:v>
                </c:pt>
                <c:pt idx="27">
                  <c:v>0.10411523350591756</c:v>
                </c:pt>
                <c:pt idx="28">
                  <c:v>0.11092839845574579</c:v>
                </c:pt>
                <c:pt idx="29">
                  <c:v>0.11293125727120201</c:v>
                </c:pt>
                <c:pt idx="30">
                  <c:v>0.11980964827752694</c:v>
                </c:pt>
                <c:pt idx="31">
                  <c:v>0.11560939862681117</c:v>
                </c:pt>
                <c:pt idx="32">
                  <c:v>0.11342457294532758</c:v>
                </c:pt>
                <c:pt idx="33">
                  <c:v>0.12087629938551482</c:v>
                </c:pt>
                <c:pt idx="34">
                  <c:v>0.12588032407047797</c:v>
                </c:pt>
                <c:pt idx="35">
                  <c:v>0.12458165332458714</c:v>
                </c:pt>
                <c:pt idx="36">
                  <c:v>0.1137065798289308</c:v>
                </c:pt>
                <c:pt idx="37">
                  <c:v>0.1134474506181032</c:v>
                </c:pt>
                <c:pt idx="38">
                  <c:v>0.11550619787824942</c:v>
                </c:pt>
                <c:pt idx="39">
                  <c:v>0.12169449362661516</c:v>
                </c:pt>
                <c:pt idx="40">
                  <c:v>0.12277467954647024</c:v>
                </c:pt>
                <c:pt idx="41">
                  <c:v>0.12132646167386683</c:v>
                </c:pt>
                <c:pt idx="42">
                  <c:v>0.12157694992219417</c:v>
                </c:pt>
                <c:pt idx="43">
                  <c:v>0.12087102212141404</c:v>
                </c:pt>
                <c:pt idx="44">
                  <c:v>0.11544703284724064</c:v>
                </c:pt>
                <c:pt idx="45">
                  <c:v>0.11685027384538475</c:v>
                </c:pt>
                <c:pt idx="46">
                  <c:v>0.11253449619186394</c:v>
                </c:pt>
                <c:pt idx="47">
                  <c:v>0.11350970426513612</c:v>
                </c:pt>
                <c:pt idx="48">
                  <c:v>0.11022269556885371</c:v>
                </c:pt>
                <c:pt idx="49">
                  <c:v>0.1103447925449206</c:v>
                </c:pt>
                <c:pt idx="50">
                  <c:v>0.1063815535455544</c:v>
                </c:pt>
                <c:pt idx="51">
                  <c:v>0.10131552472919775</c:v>
                </c:pt>
              </c:numCache>
            </c:numRef>
          </c:xVal>
          <c:yVal>
            <c:numRef>
              <c:f>Sheet1!$B$109:$B$160</c:f>
              <c:numCache>
                <c:formatCode>General</c:formatCode>
                <c:ptCount val="52"/>
                <c:pt idx="0">
                  <c:v>0.1769493496112201</c:v>
                </c:pt>
                <c:pt idx="1">
                  <c:v>0.15590686083638347</c:v>
                </c:pt>
                <c:pt idx="2">
                  <c:v>0.16194158075601375</c:v>
                </c:pt>
                <c:pt idx="3">
                  <c:v>0.16526839915421868</c:v>
                </c:pt>
                <c:pt idx="4">
                  <c:v>0.15186813186813186</c:v>
                </c:pt>
                <c:pt idx="5">
                  <c:v>0.13581900197349872</c:v>
                </c:pt>
                <c:pt idx="6">
                  <c:v>0.14691242806035154</c:v>
                </c:pt>
                <c:pt idx="7">
                  <c:v>0.15263437998935603</c:v>
                </c:pt>
                <c:pt idx="8">
                  <c:v>0.15743562795585916</c:v>
                </c:pt>
                <c:pt idx="9">
                  <c:v>0.1817742558948589</c:v>
                </c:pt>
                <c:pt idx="10">
                  <c:v>0.17085878548329142</c:v>
                </c:pt>
                <c:pt idx="11">
                  <c:v>0.17358925143953935</c:v>
                </c:pt>
                <c:pt idx="12">
                  <c:v>0.18205886933499454</c:v>
                </c:pt>
                <c:pt idx="13">
                  <c:v>0.1822017644802455</c:v>
                </c:pt>
                <c:pt idx="14">
                  <c:v>0.17596236099230111</c:v>
                </c:pt>
                <c:pt idx="15">
                  <c:v>0.1706055471327923</c:v>
                </c:pt>
                <c:pt idx="16">
                  <c:v>0.16709664615995237</c:v>
                </c:pt>
                <c:pt idx="17">
                  <c:v>0.16556088598550578</c:v>
                </c:pt>
                <c:pt idx="18">
                  <c:v>0.16476655808903365</c:v>
                </c:pt>
                <c:pt idx="19">
                  <c:v>0.17328439550661773</c:v>
                </c:pt>
                <c:pt idx="20">
                  <c:v>0.17410987397528446</c:v>
                </c:pt>
                <c:pt idx="21">
                  <c:v>0.15474851357865982</c:v>
                </c:pt>
                <c:pt idx="22">
                  <c:v>0.1512164096040706</c:v>
                </c:pt>
                <c:pt idx="23">
                  <c:v>0.1667995535002392</c:v>
                </c:pt>
                <c:pt idx="24">
                  <c:v>0.1742128935532234</c:v>
                </c:pt>
                <c:pt idx="25">
                  <c:v>0.18850393700787402</c:v>
                </c:pt>
                <c:pt idx="26">
                  <c:v>0.17250118802471093</c:v>
                </c:pt>
                <c:pt idx="27">
                  <c:v>0.1400374585794554</c:v>
                </c:pt>
                <c:pt idx="28">
                  <c:v>0.11744658539782409</c:v>
                </c:pt>
                <c:pt idx="29">
                  <c:v>0.10954567041317081</c:v>
                </c:pt>
                <c:pt idx="30">
                  <c:v>0.11512340566506543</c:v>
                </c:pt>
                <c:pt idx="31">
                  <c:v>0.09841628959276018</c:v>
                </c:pt>
                <c:pt idx="32">
                  <c:v>0.09037261844545608</c:v>
                </c:pt>
                <c:pt idx="33">
                  <c:v>0.11124141397218965</c:v>
                </c:pt>
                <c:pt idx="34">
                  <c:v>0.13885104450499547</c:v>
                </c:pt>
                <c:pt idx="35">
                  <c:v>0.15230312035661217</c:v>
                </c:pt>
                <c:pt idx="36">
                  <c:v>0.12056184159188452</c:v>
                </c:pt>
                <c:pt idx="37">
                  <c:v>0.1283714578354387</c:v>
                </c:pt>
                <c:pt idx="38">
                  <c:v>0.11926070038910506</c:v>
                </c:pt>
                <c:pt idx="39">
                  <c:v>0.1382540809084457</c:v>
                </c:pt>
                <c:pt idx="40">
                  <c:v>0.12350984197393956</c:v>
                </c:pt>
                <c:pt idx="41">
                  <c:v>0.1278409090909091</c:v>
                </c:pt>
                <c:pt idx="42">
                  <c:v>0.12382310984308131</c:v>
                </c:pt>
                <c:pt idx="43">
                  <c:v>0.13285699492596045</c:v>
                </c:pt>
                <c:pt idx="44">
                  <c:v>0.13854291076608088</c:v>
                </c:pt>
                <c:pt idx="45">
                  <c:v>0.1601690294438386</c:v>
                </c:pt>
                <c:pt idx="46">
                  <c:v>0.1502052441987099</c:v>
                </c:pt>
                <c:pt idx="47">
                  <c:v>0.15892282958199358</c:v>
                </c:pt>
                <c:pt idx="48">
                  <c:v>0.14972565157750342</c:v>
                </c:pt>
                <c:pt idx="49">
                  <c:v>0.15564247766944947</c:v>
                </c:pt>
                <c:pt idx="50">
                  <c:v>0.20848355529394452</c:v>
                </c:pt>
                <c:pt idx="51">
                  <c:v>0.187917860553963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53949110663481896</c:v>
                </c:pt>
              </c:numCache>
            </c:numRef>
          </c:xVal>
          <c:yVal>
            <c:numRef>
              <c:f>Sheet1!$B$163:$B$164</c:f>
              <c:numCache>
                <c:formatCode>General</c:formatCode>
                <c:ptCount val="2"/>
                <c:pt idx="0">
                  <c:v>0.23883426728057483</c:v>
                </c:pt>
                <c:pt idx="1">
                  <c:v>0.2388342672805748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53949110663481896</c:v>
                </c:pt>
                <c:pt idx="1">
                  <c:v>0.053949110663481896</c:v>
                </c:pt>
              </c:numCache>
            </c:numRef>
          </c:xVal>
          <c:yVal>
            <c:numRef>
              <c:f>Sheet1!$B$167:$B$168</c:f>
              <c:numCache>
                <c:formatCode>General</c:formatCode>
                <c:ptCount val="2"/>
                <c:pt idx="0">
                  <c:v>0.2388342672805748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9452302359356929</c:v>
                </c:pt>
              </c:numCache>
            </c:numRef>
          </c:xVal>
          <c:yVal>
            <c:numRef>
              <c:f>Sheet1!$B$171:$B$172</c:f>
              <c:numCache>
                <c:formatCode>General</c:formatCode>
                <c:ptCount val="2"/>
                <c:pt idx="0">
                  <c:v>0.17544238627371528</c:v>
                </c:pt>
                <c:pt idx="1">
                  <c:v>0.1754423862737152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9452302359356929</c:v>
                </c:pt>
                <c:pt idx="1">
                  <c:v>0.09452302359356929</c:v>
                </c:pt>
              </c:numCache>
            </c:numRef>
          </c:xVal>
          <c:yVal>
            <c:numRef>
              <c:f>Sheet1!$B$175:$B$176</c:f>
              <c:numCache>
                <c:formatCode>General</c:formatCode>
                <c:ptCount val="2"/>
                <c:pt idx="0">
                  <c:v>0.1754423862737152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1051718584080973</c:v>
                </c:pt>
              </c:numCache>
            </c:numRef>
          </c:xVal>
          <c:yVal>
            <c:numRef>
              <c:f>Sheet1!$B$179:$B$180</c:f>
              <c:numCache>
                <c:formatCode>General</c:formatCode>
                <c:ptCount val="2"/>
                <c:pt idx="0">
                  <c:v>0.15045342275598617</c:v>
                </c:pt>
                <c:pt idx="1">
                  <c:v>0.1504534227559861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1051718584080973</c:v>
                </c:pt>
                <c:pt idx="1">
                  <c:v>0.11051718584080973</c:v>
                </c:pt>
              </c:numCache>
            </c:numRef>
          </c:xVal>
          <c:yVal>
            <c:numRef>
              <c:f>Sheet1!$B$183:$B$184</c:f>
              <c:numCache>
                <c:formatCode>General</c:formatCode>
                <c:ptCount val="2"/>
                <c:pt idx="0">
                  <c:v>0.1504534227559861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514405695601458</c:v>
                </c:pt>
                <c:pt idx="1">
                  <c:v>0.11556792122856263</c:v>
                </c:pt>
                <c:pt idx="2">
                  <c:v>0.11825679295288469</c:v>
                </c:pt>
                <c:pt idx="3">
                  <c:v>0.11812782390107292</c:v>
                </c:pt>
                <c:pt idx="4">
                  <c:v>0.11728862965401184</c:v>
                </c:pt>
                <c:pt idx="5">
                  <c:v>0.11088050375424109</c:v>
                </c:pt>
                <c:pt idx="6">
                  <c:v>0.10651564105486527</c:v>
                </c:pt>
                <c:pt idx="7">
                  <c:v>0.10536595279258755</c:v>
                </c:pt>
                <c:pt idx="8">
                  <c:v>0.10980774926128675</c:v>
                </c:pt>
                <c:pt idx="9">
                  <c:v>0.10034749992259728</c:v>
                </c:pt>
                <c:pt idx="10">
                  <c:v>0.10213828845311006</c:v>
                </c:pt>
                <c:pt idx="11">
                  <c:v>0.11441191195374892</c:v>
                </c:pt>
                <c:pt idx="12">
                  <c:v>0.11051450494835934</c:v>
                </c:pt>
                <c:pt idx="13">
                  <c:v>0.10291964669827346</c:v>
                </c:pt>
                <c:pt idx="14">
                  <c:v>0.10881186143470734</c:v>
                </c:pt>
                <c:pt idx="15">
                  <c:v>0.10036076786539294</c:v>
                </c:pt>
                <c:pt idx="16">
                  <c:v>0.10262029137445505</c:v>
                </c:pt>
                <c:pt idx="17">
                  <c:v>0.09908037157897033</c:v>
                </c:pt>
                <c:pt idx="18">
                  <c:v>0.09412609143542</c:v>
                </c:pt>
                <c:pt idx="19">
                  <c:v>0.0959098973555158</c:v>
                </c:pt>
                <c:pt idx="20">
                  <c:v>0.08940774500728188</c:v>
                </c:pt>
                <c:pt idx="21">
                  <c:v>0.09908454957045804</c:v>
                </c:pt>
                <c:pt idx="22">
                  <c:v>0.10249266268890898</c:v>
                </c:pt>
                <c:pt idx="23">
                  <c:v>0.09640580837016717</c:v>
                </c:pt>
                <c:pt idx="24">
                  <c:v>0.09334517483184773</c:v>
                </c:pt>
                <c:pt idx="25">
                  <c:v>0.09259658005922157</c:v>
                </c:pt>
                <c:pt idx="26">
                  <c:v>0.09589612325161127</c:v>
                </c:pt>
                <c:pt idx="27">
                  <c:v>0.10411523350591756</c:v>
                </c:pt>
                <c:pt idx="28">
                  <c:v>0.11092839845574579</c:v>
                </c:pt>
                <c:pt idx="29">
                  <c:v>0.11293125727120201</c:v>
                </c:pt>
                <c:pt idx="30">
                  <c:v>0.11980964827752694</c:v>
                </c:pt>
                <c:pt idx="31">
                  <c:v>0.11560939862681117</c:v>
                </c:pt>
                <c:pt idx="32">
                  <c:v>0.11342457294532758</c:v>
                </c:pt>
                <c:pt idx="33">
                  <c:v>0.12087629938551482</c:v>
                </c:pt>
                <c:pt idx="34">
                  <c:v>0.12588032407047797</c:v>
                </c:pt>
                <c:pt idx="35">
                  <c:v>0.12458165332458714</c:v>
                </c:pt>
                <c:pt idx="36">
                  <c:v>0.1137065798289308</c:v>
                </c:pt>
                <c:pt idx="37">
                  <c:v>0.1134474506181032</c:v>
                </c:pt>
                <c:pt idx="38">
                  <c:v>0.11550619787824942</c:v>
                </c:pt>
                <c:pt idx="39">
                  <c:v>0.12169449362661516</c:v>
                </c:pt>
                <c:pt idx="40">
                  <c:v>0.12277467954647024</c:v>
                </c:pt>
                <c:pt idx="41">
                  <c:v>0.12132646167386683</c:v>
                </c:pt>
                <c:pt idx="42">
                  <c:v>0.12157694992219417</c:v>
                </c:pt>
                <c:pt idx="43">
                  <c:v>0.12087102212141404</c:v>
                </c:pt>
                <c:pt idx="44">
                  <c:v>0.11544703284724064</c:v>
                </c:pt>
                <c:pt idx="45">
                  <c:v>0.11685027384538475</c:v>
                </c:pt>
                <c:pt idx="46">
                  <c:v>0.11253449619186394</c:v>
                </c:pt>
                <c:pt idx="47">
                  <c:v>0.11350970426513612</c:v>
                </c:pt>
                <c:pt idx="48">
                  <c:v>0.11022269556885371</c:v>
                </c:pt>
                <c:pt idx="49">
                  <c:v>0.1103447925449206</c:v>
                </c:pt>
                <c:pt idx="50">
                  <c:v>0.1063815535455544</c:v>
                </c:pt>
                <c:pt idx="51">
                  <c:v>0.10131552472919775</c:v>
                </c:pt>
                <c:pt idx="52">
                  <c:v>0.09452302359356929</c:v>
                </c:pt>
                <c:pt idx="53">
                  <c:v>0.053949110663481896</c:v>
                </c:pt>
                <c:pt idx="54">
                  <c:v>0.11051718584080973</c:v>
                </c:pt>
              </c:numCache>
            </c:numRef>
          </c:xVal>
          <c:yVal>
            <c:numRef>
              <c:f>Sheet1!$B$187:$B$241</c:f>
              <c:numCache>
                <c:formatCode>General</c:formatCode>
                <c:ptCount val="55"/>
                <c:pt idx="0">
                  <c:v>0.14322449061738435</c:v>
                </c:pt>
                <c:pt idx="1">
                  <c:v>0.14256225344112963</c:v>
                </c:pt>
                <c:pt idx="2">
                  <c:v>0.13836121331259585</c:v>
                </c:pt>
                <c:pt idx="3">
                  <c:v>0.13856271201448606</c:v>
                </c:pt>
                <c:pt idx="4">
                  <c:v>0.13987385254813395</c:v>
                </c:pt>
                <c:pt idx="5">
                  <c:v>0.14988578201658825</c:v>
                </c:pt>
                <c:pt idx="6">
                  <c:v>0.15670535737593025</c:v>
                </c:pt>
                <c:pt idx="7">
                  <c:v>0.1585016076326623</c:v>
                </c:pt>
                <c:pt idx="8">
                  <c:v>0.15156183247009303</c:v>
                </c:pt>
                <c:pt idx="9">
                  <c:v>0.16634233937872586</c:v>
                </c:pt>
                <c:pt idx="10">
                  <c:v>0.16354444671231427</c:v>
                </c:pt>
                <c:pt idx="11">
                  <c:v>0.14436837952312936</c:v>
                </c:pt>
                <c:pt idx="12">
                  <c:v>0.15045761132945457</c:v>
                </c:pt>
                <c:pt idx="13">
                  <c:v>0.16232366800688167</c:v>
                </c:pt>
                <c:pt idx="14">
                  <c:v>0.15311778796069317</c:v>
                </c:pt>
                <c:pt idx="15">
                  <c:v>0.16632160980668884</c:v>
                </c:pt>
                <c:pt idx="16">
                  <c:v>0.16279137485830034</c:v>
                </c:pt>
                <c:pt idx="17">
                  <c:v>0.16832207570137306</c:v>
                </c:pt>
                <c:pt idx="18">
                  <c:v>0.1760625452458251</c:v>
                </c:pt>
                <c:pt idx="19">
                  <c:v>0.17327556207215658</c:v>
                </c:pt>
                <c:pt idx="20">
                  <c:v>0.18343439660847424</c:v>
                </c:pt>
                <c:pt idx="21">
                  <c:v>0.16831554808990773</c:v>
                </c:pt>
                <c:pt idx="22">
                  <c:v>0.1629907793983835</c:v>
                </c:pt>
                <c:pt idx="23">
                  <c:v>0.17250076048757837</c:v>
                </c:pt>
                <c:pt idx="24">
                  <c:v>0.17728263393914964</c:v>
                </c:pt>
                <c:pt idx="25">
                  <c:v>0.17845222364153904</c:v>
                </c:pt>
                <c:pt idx="26">
                  <c:v>0.17329708246032316</c:v>
                </c:pt>
                <c:pt idx="27">
                  <c:v>0.16045570676848347</c:v>
                </c:pt>
                <c:pt idx="28">
                  <c:v>0.14981095227995733</c:v>
                </c:pt>
                <c:pt idx="29">
                  <c:v>0.14668172518466305</c:v>
                </c:pt>
                <c:pt idx="30">
                  <c:v>0.13593506279242767</c:v>
                </c:pt>
                <c:pt idx="31">
                  <c:v>0.1424974499724877</c:v>
                </c:pt>
                <c:pt idx="32">
                  <c:v>0.1459109785089142</c:v>
                </c:pt>
                <c:pt idx="33">
                  <c:v>0.13426854814716993</c:v>
                </c:pt>
                <c:pt idx="34">
                  <c:v>0.12645035871271332</c:v>
                </c:pt>
                <c:pt idx="35">
                  <c:v>0.1284793762623013</c:v>
                </c:pt>
                <c:pt idx="36">
                  <c:v>0.14547037651818945</c:v>
                </c:pt>
                <c:pt idx="37">
                  <c:v>0.14587523488436402</c:v>
                </c:pt>
                <c:pt idx="38">
                  <c:v>0.1426586887858089</c:v>
                </c:pt>
                <c:pt idx="39">
                  <c:v>0.13299021760848853</c:v>
                </c:pt>
                <c:pt idx="40">
                  <c:v>0.13130255644022196</c:v>
                </c:pt>
                <c:pt idx="41">
                  <c:v>0.1335652234699036</c:v>
                </c:pt>
                <c:pt idx="42">
                  <c:v>0.13317386557304647</c:v>
                </c:pt>
                <c:pt idx="43">
                  <c:v>0.13427679324047645</c:v>
                </c:pt>
                <c:pt idx="44">
                  <c:v>0.1427511270628846</c:v>
                </c:pt>
                <c:pt idx="45">
                  <c:v>0.14055873101442914</c:v>
                </c:pt>
                <c:pt idx="46">
                  <c:v>0.14730161686661372</c:v>
                </c:pt>
                <c:pt idx="47">
                  <c:v>0.14577797101455303</c:v>
                </c:pt>
                <c:pt idx="48">
                  <c:v>0.15091352854636633</c:v>
                </c:pt>
                <c:pt idx="49">
                  <c:v>0.15072276664002848</c:v>
                </c:pt>
                <c:pt idx="50">
                  <c:v>0.1569148530548259</c:v>
                </c:pt>
                <c:pt idx="51">
                  <c:v>0.1648299165207816</c:v>
                </c:pt>
                <c:pt idx="52">
                  <c:v>0.17544238627371528</c:v>
                </c:pt>
                <c:pt idx="53">
                  <c:v>0.23883426728057483</c:v>
                </c:pt>
                <c:pt idx="54">
                  <c:v>0.1504534227559861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68648345485137"/>
          <c:min val="0.072298094756364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3</c:f>
              <c:numCache>
                <c:formatCode>General</c:formatCode>
                <c:ptCount val="12"/>
                <c:pt idx="0">
                  <c:v>1184.7143</c:v>
                </c:pt>
                <c:pt idx="1">
                  <c:v>1211.0</c:v>
                </c:pt>
                <c:pt idx="2">
                  <c:v>355.4286</c:v>
                </c:pt>
                <c:pt idx="3">
                  <c:v>340.2857</c:v>
                </c:pt>
                <c:pt idx="4">
                  <c:v>1234.5</c:v>
                </c:pt>
                <c:pt idx="5">
                  <c:v>1371.8462</c:v>
                </c:pt>
                <c:pt idx="6">
                  <c:v>1486.8333</c:v>
                </c:pt>
                <c:pt idx="7">
                  <c:v>432.1667</c:v>
                </c:pt>
                <c:pt idx="8">
                  <c:v>429.6667</c:v>
                </c:pt>
                <c:pt idx="9">
                  <c:v>1132.5</c:v>
                </c:pt>
                <c:pt idx="10">
                  <c:v>1130.8333</c:v>
                </c:pt>
                <c:pt idx="11">
                  <c:v>1216.0263</c:v>
                </c:pt>
              </c:numCache>
            </c:numRef>
          </c:xVal>
          <c:yVal>
            <c:numRef>
              <c:f>Sheet1!$B$2:$B$13</c:f>
              <c:numCache>
                <c:formatCode>General</c:formatCode>
                <c:ptCount val="12"/>
                <c:pt idx="0">
                  <c:v>0.11666666666666667</c:v>
                </c:pt>
                <c:pt idx="1">
                  <c:v>0.14</c:v>
                </c:pt>
                <c:pt idx="2">
                  <c:v>0.20588235294117646</c:v>
                </c:pt>
                <c:pt idx="3">
                  <c:v>0.12962962962962962</c:v>
                </c:pt>
                <c:pt idx="4">
                  <c:v>0.10526315789473684</c:v>
                </c:pt>
                <c:pt idx="5">
                  <c:v>0.19696969696969696</c:v>
                </c:pt>
                <c:pt idx="6">
                  <c:v>0.75</c:v>
                </c:pt>
                <c:pt idx="7">
                  <c:v>0.05084745762711865</c:v>
                </c:pt>
                <c:pt idx="8">
                  <c:v>0.0967741935483871</c:v>
                </c:pt>
                <c:pt idx="9">
                  <c:v>0.10526315789473684</c:v>
                </c:pt>
                <c:pt idx="10">
                  <c:v>0.025423728813559324</c:v>
                </c:pt>
                <c:pt idx="11">
                  <c:v>0.40860215053763443</c:v>
                </c:pt>
              </c:numCache>
            </c:numRef>
          </c:yVal>
          <c:smooth val="0"/>
          <c:extLst>
            <c:ext xmlns:c16="http://schemas.microsoft.com/office/drawing/2014/chart" uri="{C3380CC4-5D6E-409C-BE32-E72D297353CC}">
              <c16:uniqueId val="{00000000-F32D-48B7-BC20-E66FC6253BAD}"/>
            </c:ext>
          </c:extLst>
        </c:ser>
        <c:ser>
          <c:idx val="1"/>
          <c:order val="1"/>
          <c:tx>
            <c:strRef>
              <c:f>Sheet1!$B$1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6:$A$18</c:f>
              <c:numCache>
                <c:formatCode>General</c:formatCode>
                <c:ptCount val="3"/>
                <c:pt idx="0">
                  <c:v>1333.6486</c:v>
                </c:pt>
                <c:pt idx="1">
                  <c:v>1082.3739</c:v>
                </c:pt>
                <c:pt idx="2">
                  <c:v>1221.0</c:v>
                </c:pt>
              </c:numCache>
            </c:numRef>
          </c:xVal>
          <c:yVal>
            <c:numRef>
              <c:f>Sheet1!$B$16:$B$18</c:f>
              <c:numCache>
                <c:formatCode>General</c:formatCode>
                <c:ptCount val="3"/>
                <c:pt idx="0">
                  <c:v>0.27205882352941174</c:v>
                </c:pt>
                <c:pt idx="1">
                  <c:v>0.696969696969697</c:v>
                </c:pt>
                <c:pt idx="2">
                  <c:v>0.4864864864864865</c:v>
                </c:pt>
              </c:numCache>
            </c:numRef>
          </c:yVal>
          <c:smooth val="0"/>
          <c:extLst>
            <c:ext xmlns:c16="http://schemas.microsoft.com/office/drawing/2014/chart" uri="{C3380CC4-5D6E-409C-BE32-E72D297353CC}">
              <c16:uniqueId val="{00000002-F32D-48B7-BC20-E66FC6253BAD}"/>
            </c:ext>
          </c:extLst>
        </c:ser>
        <c:ser>
          <c:idx val="2"/>
          <c:order val="2"/>
          <c:tx>
            <c:strRef>
              <c:f>Sheet1!$B$20</c:f>
              <c:strCache>
                <c:ptCount val="1"/>
                <c:pt idx="0">
                  <c:v>Custom Linep3yQ</c:v>
                </c:pt>
              </c:strCache>
            </c:strRef>
          </c:tx>
          <c:spPr>
            <a:ln w="19050" cap="rnd">
              <a:solidFill>
                <a:srgbClr val="C00000"/>
              </a:solidFill>
              <a:prstDash val="sysDot"/>
              <a:round/>
            </a:ln>
            <a:effectLst/>
          </c:spPr>
          <c:marker>
            <c:symbol val="none"/>
          </c:marker>
          <c:xVal>
            <c:numRef>
              <c:f>Sheet1!$A$21:$A$22</c:f>
              <c:numCache>
                <c:formatCode>General</c:formatCode>
                <c:ptCount val="2"/>
                <c:pt idx="0">
                  <c:v>0</c:v>
                </c:pt>
                <c:pt idx="1">
                  <c:v>1149.0830450178296</c:v>
                </c:pt>
              </c:numCache>
            </c:numRef>
          </c:xVal>
          <c:yVal>
            <c:numRef>
              <c:f>Sheet1!$B$21:$B$22</c:f>
              <c:numCache>
                <c:formatCode>General</c:formatCode>
                <c:ptCount val="2"/>
                <c:pt idx="0">
                  <c:v>0.5917280917280918</c:v>
                </c:pt>
                <c:pt idx="1">
                  <c:v>0.5917280917280918</c:v>
                </c:pt>
              </c:numCache>
            </c:numRef>
          </c:yVal>
          <c:smooth val="0"/>
          <c:extLst>
            <c:ext xmlns:c16="http://schemas.microsoft.com/office/drawing/2014/chart" uri="{C3380CC4-5D6E-409C-BE32-E72D297353CC}">
              <c16:uniqueId val="{00000003-F32D-48B7-BC20-E66FC6253BAD}"/>
            </c:ext>
          </c:extLst>
        </c:ser>
        <c:ser>
          <c:idx val="3"/>
          <c:order val="3"/>
          <c:tx>
            <c:strRef>
              <c:f>Sheet1!$B$2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5:$A$26</c:f>
              <c:numCache>
                <c:formatCode>General</c:formatCode>
                <c:ptCount val="2"/>
                <c:pt idx="0">
                  <c:v>1149.0830450178296</c:v>
                </c:pt>
                <c:pt idx="1">
                  <c:v>1149.0830450178296</c:v>
                </c:pt>
              </c:numCache>
            </c:numRef>
          </c:xVal>
          <c:yVal>
            <c:numRef>
              <c:f>Sheet1!$B$25:$B$26</c:f>
              <c:numCache>
                <c:formatCode>General</c:formatCode>
                <c:ptCount val="2"/>
                <c:pt idx="0">
                  <c:v>0.591728091728091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9:$A$30</c:f>
              <c:numCache>
                <c:formatCode>General</c:formatCode>
                <c:ptCount val="2"/>
                <c:pt idx="0">
                  <c:v>0</c:v>
                </c:pt>
                <c:pt idx="1">
                  <c:v>1149.0830450178296</c:v>
                </c:pt>
              </c:numCache>
            </c:numRef>
          </c:xVal>
          <c:yVal>
            <c:numRef>
              <c:f>Sheet1!$B$29:$B$30</c:f>
              <c:numCache>
                <c:formatCode>General</c:formatCode>
                <c:ptCount val="2"/>
                <c:pt idx="0">
                  <c:v>0.5917280917280918</c:v>
                </c:pt>
                <c:pt idx="1">
                  <c:v>0.5917280917280918</c:v>
                </c:pt>
              </c:numCache>
            </c:numRef>
          </c:yVal>
          <c:smooth val="0"/>
          <c:extLst>
            <c:ext xmlns:c16="http://schemas.microsoft.com/office/drawing/2014/chart" uri="{C3380CC4-5D6E-409C-BE32-E72D297353CC}">
              <c16:uniqueId val="{0000000A-F32D-48B7-BC20-E66FC6253BAD}"/>
            </c:ext>
          </c:extLst>
        </c:ser>
        <c:ser>
          <c:idx val="5"/>
          <c:order val="5"/>
          <c:tx>
            <c:strRef>
              <c:f>Sheet1!$B$3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3:$A$34</c:f>
              <c:numCache>
                <c:formatCode>General</c:formatCode>
                <c:ptCount val="2"/>
                <c:pt idx="0">
                  <c:v>1149.0830450178296</c:v>
                </c:pt>
                <c:pt idx="1">
                  <c:v>1149.0830450178296</c:v>
                </c:pt>
              </c:numCache>
            </c:numRef>
          </c:xVal>
          <c:yVal>
            <c:numRef>
              <c:f>Sheet1!$B$33:$B$34</c:f>
              <c:numCache>
                <c:formatCode>General</c:formatCode>
                <c:ptCount val="2"/>
                <c:pt idx="0">
                  <c:v>0.591728091728091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6</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7:$A$42</c:f>
              <c:numCache>
                <c:formatCode>General</c:formatCode>
                <c:ptCount val="6"/>
                <c:pt idx="0">
                  <c:v>1333.6486</c:v>
                </c:pt>
                <c:pt idx="1">
                  <c:v>1082.3739</c:v>
                </c:pt>
                <c:pt idx="2">
                  <c:v>1221.0</c:v>
                </c:pt>
                <c:pt idx="3">
                  <c:v>1149.0830450178296</c:v>
                </c:pt>
                <c:pt idx="4">
                  <c:v>1149.0830450178296</c:v>
                </c:pt>
                <c:pt idx="5">
                  <c:v>0</c:v>
                </c:pt>
              </c:numCache>
            </c:numRef>
          </c:xVal>
          <c:yVal>
            <c:numRef>
              <c:f>Sheet1!$B$37:$B$42</c:f>
              <c:numCache>
                <c:formatCode>General</c:formatCode>
                <c:ptCount val="6"/>
                <c:pt idx="0">
                  <c:v>0.28083127060431323</c:v>
                </c:pt>
                <c:pt idx="1">
                  <c:v>0.7040982527146955</c:v>
                </c:pt>
                <c:pt idx="2">
                  <c:v>0.4705854836665897</c:v>
                </c:pt>
                <c:pt idx="3">
                  <c:v>0.5917280917280918</c:v>
                </c:pt>
                <c:pt idx="4">
                  <c:v>0.5917280917280918</c:v>
                </c:pt>
                <c:pt idx="5">
                  <c:v>2.5273344725491818</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8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999999999999999"/>
          <c:min val="0.0203389830508474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3</c:f>
              <c:numCache>
                <c:formatCode>General</c:formatCode>
                <c:ptCount val="2"/>
                <c:pt idx="0">
                  <c:v>1.4639954558313089</c:v>
                </c:pt>
                <c:pt idx="1">
                  <c:v>1.181967233137466</c:v>
                </c:pt>
              </c:numCache>
            </c:numRef>
          </c:xVal>
          <c:yVal>
            <c:numRef>
              <c:f>Sheet1!$B$2:$B$3</c:f>
              <c:numCache>
                <c:formatCode>General</c:formatCode>
                <c:ptCount val="2"/>
                <c:pt idx="0">
                  <c:v>0.36015325670498083</c:v>
                </c:pt>
                <c:pt idx="1">
                  <c:v>0.9182389937106918</c:v>
                </c:pt>
              </c:numCache>
            </c:numRef>
          </c:yVal>
          <c:smooth val="0"/>
          <c:extLst>
            <c:ext xmlns:c16="http://schemas.microsoft.com/office/drawing/2014/chart" uri="{C3380CC4-5D6E-409C-BE32-E72D297353CC}">
              <c16:uniqueId val="{00000000-096C-4121-9522-6AB7243CCAAE}"/>
            </c:ext>
          </c:extLst>
        </c:ser>
        <c:ser>
          <c:idx val="1"/>
          <c:order val="1"/>
          <c:tx>
            <c:strRef>
              <c:f>Sheet1!$B$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A$5</c:f>
              <c:numCache>
                <c:formatCode>General</c:formatCode>
                <c:ptCount val="0"/>
              </c:numCache>
            </c:numRef>
          </c:xVal>
          <c:yVal>
            <c:numRef>
              <c:f>Sheet1!$B$6:$B$5</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8:$A$9</c:f>
              <c:numCache>
                <c:formatCode>General</c:formatCode>
                <c:ptCount val="2"/>
                <c:pt idx="0">
                  <c:v>0</c:v>
                </c:pt>
                <c:pt idx="1">
                  <c:v>0.6391961252078363</c:v>
                </c:pt>
              </c:numCache>
            </c:numRef>
          </c:xVal>
          <c:yVal>
            <c:numRef>
              <c:f>Sheet1!$B$8:$B$9</c:f>
              <c:numCache>
                <c:formatCode>General</c:formatCode>
                <c:ptCount val="2"/>
                <c:pt idx="0">
                  <c:v>0.6391961252078363</c:v>
                </c:pt>
                <c:pt idx="1">
                  <c:v>0.6391961252078363</c:v>
                </c:pt>
              </c:numCache>
            </c:numRef>
          </c:yVal>
          <c:smooth val="0"/>
          <c:extLst>
            <c:ext xmlns:c16="http://schemas.microsoft.com/office/drawing/2014/chart" uri="{C3380CC4-5D6E-409C-BE32-E72D297353CC}">
              <c16:uniqueId val="{00000005-096C-4121-9522-6AB7243CCAAE}"/>
            </c:ext>
          </c:extLst>
        </c:ser>
        <c:ser>
          <c:idx val="3"/>
          <c:order val="3"/>
          <c:tx>
            <c:strRef>
              <c:f>Sheet1!$B$1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A$13</c:f>
              <c:numCache>
                <c:formatCode>General</c:formatCode>
                <c:ptCount val="2"/>
                <c:pt idx="0">
                  <c:v>0.6391961252078363</c:v>
                </c:pt>
                <c:pt idx="1">
                  <c:v>0.6391961252078363</c:v>
                </c:pt>
              </c:numCache>
            </c:numRef>
          </c:xVal>
          <c:yVal>
            <c:numRef>
              <c:f>Sheet1!$B$12:$B$13</c:f>
              <c:numCache>
                <c:formatCode>General</c:formatCode>
                <c:ptCount val="2"/>
                <c:pt idx="0">
                  <c:v>0.639196125207836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5</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A$18</c:f>
              <c:numCache>
                <c:formatCode>General</c:formatCode>
                <c:ptCount val="3"/>
                <c:pt idx="0">
                  <c:v>0</c:v>
                </c:pt>
                <c:pt idx="1">
                  <c:v>0.6391961252078363</c:v>
                </c:pt>
                <c:pt idx="2">
                  <c:v>0</c:v>
                </c:pt>
              </c:numCache>
            </c:numRef>
          </c:xVal>
          <c:yVal>
            <c:numRef>
              <c:f>Sheet1!$B$16:$B$18</c:f>
              <c:numCache>
                <c:formatCode>General</c:formatCode>
                <c:ptCount val="3"/>
                <c:pt idx="0">
                  <c:v>0</c:v>
                </c:pt>
                <c:pt idx="1">
                  <c:v>0.6391961252078363</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opperto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018867924528302"/>
          <c:min val="0.2881226053639846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3</c:f>
              <c:numCache>
                <c:formatCode>General</c:formatCode>
                <c:ptCount val="2"/>
                <c:pt idx="0">
                  <c:v>1630.1809</c:v>
                </c:pt>
                <c:pt idx="1">
                  <c:v>1219.3356</c:v>
                </c:pt>
              </c:numCache>
            </c:numRef>
          </c:xVal>
          <c:yVal>
            <c:numRef>
              <c:f>Sheet1!$B$2:$B$3</c:f>
              <c:numCache>
                <c:formatCode>General</c:formatCode>
                <c:ptCount val="2"/>
                <c:pt idx="0">
                  <c:v>0.36015325670498083</c:v>
                </c:pt>
                <c:pt idx="1">
                  <c:v>0.9182389937106918</c:v>
                </c:pt>
              </c:numCache>
            </c:numRef>
          </c:yVal>
          <c:smooth val="0"/>
          <c:extLst>
            <c:ext xmlns:c16="http://schemas.microsoft.com/office/drawing/2014/chart" uri="{C3380CC4-5D6E-409C-BE32-E72D297353CC}">
              <c16:uniqueId val="{00000000-F32D-48B7-BC20-E66FC6253BAD}"/>
            </c:ext>
          </c:extLst>
        </c:ser>
        <c:ser>
          <c:idx val="1"/>
          <c:order val="1"/>
          <c:tx>
            <c:strRef>
              <c:f>Sheet1!$B$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A$5</c:f>
              <c:numCache>
                <c:formatCode>General</c:formatCode>
                <c:ptCount val="0"/>
              </c:numCache>
            </c:numRef>
          </c:xVal>
          <c:yVal>
            <c:numRef>
              <c:f>Sheet1!$B$6:$B$5</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7</c:f>
              <c:strCache>
                <c:ptCount val="1"/>
                <c:pt idx="0">
                  <c:v>Custom Linep3yQ</c:v>
                </c:pt>
              </c:strCache>
            </c:strRef>
          </c:tx>
          <c:spPr>
            <a:ln w="19050" cap="rnd">
              <a:solidFill>
                <a:srgbClr val="C00000"/>
              </a:solidFill>
              <a:prstDash val="sysDot"/>
              <a:round/>
            </a:ln>
            <a:effectLst/>
          </c:spPr>
          <c:marker>
            <c:symbol val="none"/>
          </c:marker>
          <c:xVal>
            <c:numRef>
              <c:f>Sheet1!$A$8:$A$9</c:f>
              <c:numCache>
                <c:formatCode>General</c:formatCode>
                <c:ptCount val="2"/>
                <c:pt idx="0">
                  <c:v>0</c:v>
                </c:pt>
                <c:pt idx="1">
                  <c:v>0.6391961252078363</c:v>
                </c:pt>
              </c:numCache>
            </c:numRef>
          </c:xVal>
          <c:yVal>
            <c:numRef>
              <c:f>Sheet1!$B$8:$B$9</c:f>
              <c:numCache>
                <c:formatCode>General</c:formatCode>
                <c:ptCount val="2"/>
                <c:pt idx="0">
                  <c:v>0.6391961252078363</c:v>
                </c:pt>
                <c:pt idx="1">
                  <c:v>0.6391961252078363</c:v>
                </c:pt>
              </c:numCache>
            </c:numRef>
          </c:yVal>
          <c:smooth val="0"/>
          <c:extLst>
            <c:ext xmlns:c16="http://schemas.microsoft.com/office/drawing/2014/chart" uri="{C3380CC4-5D6E-409C-BE32-E72D297353CC}">
              <c16:uniqueId val="{00000003-F32D-48B7-BC20-E66FC6253BAD}"/>
            </c:ext>
          </c:extLst>
        </c:ser>
        <c:ser>
          <c:idx val="3"/>
          <c:order val="3"/>
          <c:tx>
            <c:strRef>
              <c:f>Sheet1!$B$1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A$13</c:f>
              <c:numCache>
                <c:formatCode>General</c:formatCode>
                <c:ptCount val="2"/>
                <c:pt idx="0">
                  <c:v>0.6391961252078363</c:v>
                </c:pt>
                <c:pt idx="1">
                  <c:v>0.6391961252078363</c:v>
                </c:pt>
              </c:numCache>
            </c:numRef>
          </c:xVal>
          <c:yVal>
            <c:numRef>
              <c:f>Sheet1!$B$12:$B$13</c:f>
              <c:numCache>
                <c:formatCode>General</c:formatCode>
                <c:ptCount val="2"/>
                <c:pt idx="0">
                  <c:v>0.639196125207836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5</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A$18</c:f>
              <c:numCache>
                <c:formatCode>General</c:formatCode>
                <c:ptCount val="3"/>
                <c:pt idx="0">
                  <c:v>0</c:v>
                </c:pt>
                <c:pt idx="1">
                  <c:v>0.6391961252078363</c:v>
                </c:pt>
                <c:pt idx="2">
                  <c:v>0</c:v>
                </c:pt>
              </c:numCache>
            </c:numRef>
          </c:xVal>
          <c:yVal>
            <c:numRef>
              <c:f>Sheet1!$B$16:$B$18</c:f>
              <c:numCache>
                <c:formatCode>General</c:formatCode>
                <c:ptCount val="3"/>
                <c:pt idx="0">
                  <c:v>0</c:v>
                </c:pt>
                <c:pt idx="1">
                  <c:v>0.6391961252078363</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956.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018867924528302"/>
          <c:min val="0.2881226053639846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0.40101241940915827</c:v>
                </c:pt>
                <c:pt idx="1">
                  <c:v>0.3943275419678441</c:v>
                </c:pt>
                <c:pt idx="2">
                  <c:v>0.4096358870450351</c:v>
                </c:pt>
                <c:pt idx="3">
                  <c:v>0.3890188407071862</c:v>
                </c:pt>
                <c:pt idx="4">
                  <c:v>0.3673576827967985</c:v>
                </c:pt>
                <c:pt idx="5">
                  <c:v>0.32519346288703826</c:v>
                </c:pt>
                <c:pt idx="6">
                  <c:v>0.35857480447243234</c:v>
                </c:pt>
                <c:pt idx="7">
                  <c:v>0.34188431875438047</c:v>
                </c:pt>
                <c:pt idx="8">
                  <c:v>0.3329761229089327</c:v>
                </c:pt>
                <c:pt idx="9">
                  <c:v>0.34078754897145885</c:v>
                </c:pt>
                <c:pt idx="10">
                  <c:v>0.3183539767220468</c:v>
                </c:pt>
                <c:pt idx="11">
                  <c:v>0.32731326923076925</c:v>
                </c:pt>
                <c:pt idx="12">
                  <c:v>0.31309638178399285</c:v>
                </c:pt>
                <c:pt idx="13">
                  <c:v>0.31074382534543465</c:v>
                </c:pt>
                <c:pt idx="14">
                  <c:v>0.33764772689130285</c:v>
                </c:pt>
                <c:pt idx="15">
                  <c:v>0.33257097352396403</c:v>
                </c:pt>
                <c:pt idx="16">
                  <c:v>0.3341327854531631</c:v>
                </c:pt>
                <c:pt idx="17">
                  <c:v>0.33704816680645105</c:v>
                </c:pt>
                <c:pt idx="18">
                  <c:v>0.3391273426690388</c:v>
                </c:pt>
                <c:pt idx="19">
                  <c:v>0.33045837615621787</c:v>
                </c:pt>
                <c:pt idx="20">
                  <c:v>0.31682619448234384</c:v>
                </c:pt>
                <c:pt idx="21">
                  <c:v>0.3345648604269294</c:v>
                </c:pt>
                <c:pt idx="22">
                  <c:v>0.30804475087794314</c:v>
                </c:pt>
                <c:pt idx="23">
                  <c:v>0.33049015129121545</c:v>
                </c:pt>
                <c:pt idx="24">
                  <c:v>0.32474685322055313</c:v>
                </c:pt>
                <c:pt idx="25">
                  <c:v>0.2875768474892288</c:v>
                </c:pt>
                <c:pt idx="26">
                  <c:v>0.30773657454381614</c:v>
                </c:pt>
                <c:pt idx="27">
                  <c:v>0.3305879890185312</c:v>
                </c:pt>
                <c:pt idx="28">
                  <c:v>0.3473439393284577</c:v>
                </c:pt>
                <c:pt idx="29">
                  <c:v>0.3488843859043955</c:v>
                </c:pt>
                <c:pt idx="30">
                  <c:v>0.2625769990579854</c:v>
                </c:pt>
                <c:pt idx="31">
                  <c:v>0.3710446589484501</c:v>
                </c:pt>
                <c:pt idx="32">
                  <c:v>0.31655494584837546</c:v>
                </c:pt>
                <c:pt idx="33">
                  <c:v>0.38327427939529246</c:v>
                </c:pt>
                <c:pt idx="34">
                  <c:v>0.3679452434175387</c:v>
                </c:pt>
                <c:pt idx="35">
                  <c:v>0.31970415791872825</c:v>
                </c:pt>
                <c:pt idx="36">
                  <c:v>0.32318920044868393</c:v>
                </c:pt>
                <c:pt idx="37">
                  <c:v>0.1926252534205446</c:v>
                </c:pt>
                <c:pt idx="38">
                  <c:v>0.1902823003536798</c:v>
                </c:pt>
                <c:pt idx="39">
                  <c:v>0.15185879181352727</c:v>
                </c:pt>
                <c:pt idx="40">
                  <c:v>0.2081805428749869</c:v>
                </c:pt>
                <c:pt idx="41">
                  <c:v>0.1625621897771545</c:v>
                </c:pt>
                <c:pt idx="42">
                  <c:v>0.14976116520059513</c:v>
                </c:pt>
                <c:pt idx="43">
                  <c:v>0.11050593662448421</c:v>
                </c:pt>
                <c:pt idx="44">
                  <c:v>0.14532170715937395</c:v>
                </c:pt>
                <c:pt idx="45">
                  <c:v>0.10445743069539634</c:v>
                </c:pt>
                <c:pt idx="46">
                  <c:v>0.10266472672830532</c:v>
                </c:pt>
                <c:pt idx="47">
                  <c:v>0.05341464372110863</c:v>
                </c:pt>
                <c:pt idx="48">
                  <c:v>0.05948145500811993</c:v>
                </c:pt>
              </c:numCache>
            </c:numRef>
          </c:xVal>
          <c:yVal>
            <c:numRef>
              <c:f>Sheet1!$B$2:$B$50</c:f>
              <c:numCache>
                <c:formatCode>General</c:formatCode>
                <c:ptCount val="49"/>
                <c:pt idx="0">
                  <c:v>0.3686274509803922</c:v>
                </c:pt>
                <c:pt idx="1">
                  <c:v>0.3835125448028674</c:v>
                </c:pt>
                <c:pt idx="2">
                  <c:v>0.31313131313131315</c:v>
                </c:pt>
                <c:pt idx="3">
                  <c:v>0.30405405405405406</c:v>
                </c:pt>
                <c:pt idx="4">
                  <c:v>0.32489451476793246</c:v>
                </c:pt>
                <c:pt idx="5">
                  <c:v>0.2840909090909091</c:v>
                </c:pt>
                <c:pt idx="6">
                  <c:v>0.2727272727272727</c:v>
                </c:pt>
                <c:pt idx="7">
                  <c:v>0.2795031055900621</c:v>
                </c:pt>
                <c:pt idx="8">
                  <c:v>0.26582278481012656</c:v>
                </c:pt>
                <c:pt idx="9">
                  <c:v>0.20903954802259886</c:v>
                </c:pt>
                <c:pt idx="10">
                  <c:v>0.1878453038674033</c:v>
                </c:pt>
                <c:pt idx="11">
                  <c:v>0.14838709677419354</c:v>
                </c:pt>
                <c:pt idx="12">
                  <c:v>0.1282051282051282</c:v>
                </c:pt>
                <c:pt idx="13">
                  <c:v>0.10457516339869281</c:v>
                </c:pt>
                <c:pt idx="14">
                  <c:v>0.553623188405797</c:v>
                </c:pt>
                <c:pt idx="15">
                  <c:v>0.610062893081761</c:v>
                </c:pt>
                <c:pt idx="16">
                  <c:v>0.5169811320754717</c:v>
                </c:pt>
                <c:pt idx="17">
                  <c:v>0.40609137055837563</c:v>
                </c:pt>
                <c:pt idx="18">
                  <c:v>0.38011695906432746</c:v>
                </c:pt>
                <c:pt idx="19">
                  <c:v>0.2777777777777778</c:v>
                </c:pt>
                <c:pt idx="20">
                  <c:v>0.25609756097560976</c:v>
                </c:pt>
                <c:pt idx="21">
                  <c:v>0.19166666666666668</c:v>
                </c:pt>
                <c:pt idx="22">
                  <c:v>0.18269230769230768</c:v>
                </c:pt>
                <c:pt idx="23">
                  <c:v>0.1717171717171717</c:v>
                </c:pt>
                <c:pt idx="24">
                  <c:v>0.2033898305084746</c:v>
                </c:pt>
                <c:pt idx="25">
                  <c:v>0.12087912087912088</c:v>
                </c:pt>
                <c:pt idx="26">
                  <c:v>0.13043478260869565</c:v>
                </c:pt>
                <c:pt idx="27">
                  <c:v>0.14423076923076922</c:v>
                </c:pt>
                <c:pt idx="28">
                  <c:v>0.1388888888888889</c:v>
                </c:pt>
                <c:pt idx="29">
                  <c:v>0.1111111111111111</c:v>
                </c:pt>
                <c:pt idx="30">
                  <c:v>0.08421052631578947</c:v>
                </c:pt>
                <c:pt idx="31">
                  <c:v>0.06578947368421052</c:v>
                </c:pt>
                <c:pt idx="32">
                  <c:v>0.08433734939759036</c:v>
                </c:pt>
                <c:pt idx="33">
                  <c:v>0.12244897959183673</c:v>
                </c:pt>
                <c:pt idx="34">
                  <c:v>0.06382978723404255</c:v>
                </c:pt>
                <c:pt idx="35">
                  <c:v>0.01904761904761905</c:v>
                </c:pt>
                <c:pt idx="36">
                  <c:v>0.03571428571428571</c:v>
                </c:pt>
                <c:pt idx="37">
                  <c:v>0.1978021978021978</c:v>
                </c:pt>
                <c:pt idx="38">
                  <c:v>0.15294117647058825</c:v>
                </c:pt>
                <c:pt idx="39">
                  <c:v>0.1595744680851064</c:v>
                </c:pt>
                <c:pt idx="40">
                  <c:v>0.010869565217391304</c:v>
                </c:pt>
                <c:pt idx="41">
                  <c:v>0.020202020202020204</c:v>
                </c:pt>
                <c:pt idx="42">
                  <c:v>0.01904761904761905</c:v>
                </c:pt>
                <c:pt idx="43">
                  <c:v>0.009433962264150943</c:v>
                </c:pt>
                <c:pt idx="44">
                  <c:v>0.028169014084507043</c:v>
                </c:pt>
                <c:pt idx="45">
                  <c:v>0.010638297872340425</c:v>
                </c:pt>
                <c:pt idx="46">
                  <c:v>0.008264462809917356</c:v>
                </c:pt>
                <c:pt idx="47">
                  <c:v>0.022727272727272728</c:v>
                </c:pt>
                <c:pt idx="48">
                  <c:v>0.017241379310344827</c:v>
                </c:pt>
              </c:numCache>
            </c:numRef>
          </c:yVal>
          <c:smooth val="0"/>
          <c:extLst>
            <c:ext xmlns:c16="http://schemas.microsoft.com/office/drawing/2014/chart" uri="{C3380CC4-5D6E-409C-BE32-E72D297353CC}">
              <c16:uniqueId val="{00000000-096C-4121-9522-6AB7243CCAAE}"/>
            </c:ext>
          </c:extLst>
        </c:ser>
        <c:ser>
          <c:idx val="1"/>
          <c:order val="1"/>
          <c:tx>
            <c:strRef>
              <c:f>Sheet1!$B$5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5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5:$A$56</c:f>
              <c:numCache>
                <c:formatCode>General</c:formatCode>
                <c:ptCount val="2"/>
                <c:pt idx="0">
                  <c:v>0</c:v>
                </c:pt>
                <c:pt idx="1">
                  <c:v>0.31070710555054776</c:v>
                </c:pt>
              </c:numCache>
            </c:numRef>
          </c:xVal>
          <c:yVal>
            <c:numRef>
              <c:f>Sheet1!$B$55:$B$56</c:f>
              <c:numCache>
                <c:formatCode>General</c:formatCode>
                <c:ptCount val="2"/>
                <c:pt idx="0">
                  <c:v>0.31070710555054776</c:v>
                </c:pt>
                <c:pt idx="1">
                  <c:v>0.31070710555054776</c:v>
                </c:pt>
              </c:numCache>
            </c:numRef>
          </c:yVal>
          <c:smooth val="0"/>
          <c:extLst>
            <c:ext xmlns:c16="http://schemas.microsoft.com/office/drawing/2014/chart" uri="{C3380CC4-5D6E-409C-BE32-E72D297353CC}">
              <c16:uniqueId val="{00000005-096C-4121-9522-6AB7243CCAAE}"/>
            </c:ext>
          </c:extLst>
        </c:ser>
        <c:ser>
          <c:idx val="3"/>
          <c:order val="3"/>
          <c:tx>
            <c:strRef>
              <c:f>Sheet1!$B$5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9:$A$60</c:f>
              <c:numCache>
                <c:formatCode>General</c:formatCode>
                <c:ptCount val="2"/>
                <c:pt idx="0">
                  <c:v>0.31070710555054776</c:v>
                </c:pt>
                <c:pt idx="1">
                  <c:v>0.31070710555054776</c:v>
                </c:pt>
              </c:numCache>
            </c:numRef>
          </c:xVal>
          <c:yVal>
            <c:numRef>
              <c:f>Sheet1!$B$59:$B$60</c:f>
              <c:numCache>
                <c:formatCode>General</c:formatCode>
                <c:ptCount val="2"/>
                <c:pt idx="0">
                  <c:v>0.3107071055505477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2</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3:$A$65</c:f>
              <c:numCache>
                <c:formatCode>General</c:formatCode>
                <c:ptCount val="3"/>
                <c:pt idx="0">
                  <c:v>0</c:v>
                </c:pt>
                <c:pt idx="1">
                  <c:v>0.31070710555054776</c:v>
                </c:pt>
                <c:pt idx="2">
                  <c:v>0</c:v>
                </c:pt>
              </c:numCache>
            </c:numRef>
          </c:xVal>
          <c:yVal>
            <c:numRef>
              <c:f>Sheet1!$B$63:$B$65</c:f>
              <c:numCache>
                <c:formatCode>General</c:formatCode>
                <c:ptCount val="3"/>
                <c:pt idx="0">
                  <c:v>0</c:v>
                </c:pt>
                <c:pt idx="1">
                  <c:v>0.31070710555054776</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320754716981132"/>
          <c:min val="0.00661157024793388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556.5426</c:v>
                </c:pt>
                <c:pt idx="1">
                  <c:v>549.8131</c:v>
                </c:pt>
                <c:pt idx="2">
                  <c:v>551.9785</c:v>
                </c:pt>
                <c:pt idx="3">
                  <c:v>552.8444</c:v>
                </c:pt>
                <c:pt idx="4">
                  <c:v>545.3247</c:v>
                </c:pt>
                <c:pt idx="5">
                  <c:v>542.32</c:v>
                </c:pt>
                <c:pt idx="6">
                  <c:v>530.8222</c:v>
                </c:pt>
                <c:pt idx="7">
                  <c:v>511.4</c:v>
                </c:pt>
                <c:pt idx="8">
                  <c:v>500.7857</c:v>
                </c:pt>
                <c:pt idx="9">
                  <c:v>515.5676</c:v>
                </c:pt>
                <c:pt idx="10">
                  <c:v>499.4412</c:v>
                </c:pt>
                <c:pt idx="11">
                  <c:v>510.6087</c:v>
                </c:pt>
                <c:pt idx="12">
                  <c:v>482.6</c:v>
                </c:pt>
                <c:pt idx="13">
                  <c:v>483.4375</c:v>
                </c:pt>
                <c:pt idx="14">
                  <c:v>515.0419</c:v>
                </c:pt>
                <c:pt idx="15">
                  <c:v>513.933</c:v>
                </c:pt>
                <c:pt idx="16">
                  <c:v>512.2701</c:v>
                </c:pt>
                <c:pt idx="17">
                  <c:v>514.55</c:v>
                </c:pt>
                <c:pt idx="18">
                  <c:v>505.0769</c:v>
                </c:pt>
                <c:pt idx="19">
                  <c:v>502.4</c:v>
                </c:pt>
                <c:pt idx="20">
                  <c:v>506.5952</c:v>
                </c:pt>
                <c:pt idx="21">
                  <c:v>489.0</c:v>
                </c:pt>
                <c:pt idx="22">
                  <c:v>492.4737</c:v>
                </c:pt>
                <c:pt idx="23">
                  <c:v>491.9412</c:v>
                </c:pt>
                <c:pt idx="24">
                  <c:v>479.4583</c:v>
                </c:pt>
                <c:pt idx="25">
                  <c:v>456.5455</c:v>
                </c:pt>
                <c:pt idx="26">
                  <c:v>459.25</c:v>
                </c:pt>
                <c:pt idx="27">
                  <c:v>481.6667</c:v>
                </c:pt>
                <c:pt idx="28">
                  <c:v>520.8</c:v>
                </c:pt>
                <c:pt idx="29">
                  <c:v>496.0</c:v>
                </c:pt>
                <c:pt idx="30">
                  <c:v>418.5</c:v>
                </c:pt>
                <c:pt idx="31">
                  <c:v>558.0</c:v>
                </c:pt>
                <c:pt idx="32">
                  <c:v>438.4286</c:v>
                </c:pt>
                <c:pt idx="33">
                  <c:v>488.25</c:v>
                </c:pt>
                <c:pt idx="34">
                  <c:v>465.0</c:v>
                </c:pt>
                <c:pt idx="35">
                  <c:v>418.5</c:v>
                </c:pt>
                <c:pt idx="36">
                  <c:v>465.0</c:v>
                </c:pt>
                <c:pt idx="37">
                  <c:v>293.0</c:v>
                </c:pt>
                <c:pt idx="38">
                  <c:v>294.2308</c:v>
                </c:pt>
                <c:pt idx="39">
                  <c:v>234.2</c:v>
                </c:pt>
                <c:pt idx="40">
                  <c:v>306.0</c:v>
                </c:pt>
                <c:pt idx="41">
                  <c:v>229.5</c:v>
                </c:pt>
                <c:pt idx="42">
                  <c:v>229.5</c:v>
                </c:pt>
                <c:pt idx="43">
                  <c:v>153.0</c:v>
                </c:pt>
                <c:pt idx="44">
                  <c:v>221.5</c:v>
                </c:pt>
                <c:pt idx="45">
                  <c:v>153.0</c:v>
                </c:pt>
                <c:pt idx="46">
                  <c:v>153.0</c:v>
                </c:pt>
                <c:pt idx="47">
                  <c:v>83.0</c:v>
                </c:pt>
                <c:pt idx="48">
                  <c:v>83.0</c:v>
                </c:pt>
              </c:numCache>
            </c:numRef>
          </c:xVal>
          <c:yVal>
            <c:numRef>
              <c:f>Sheet1!$B$2:$B$50</c:f>
              <c:numCache>
                <c:formatCode>General</c:formatCode>
                <c:ptCount val="49"/>
                <c:pt idx="0">
                  <c:v>0.3686274509803922</c:v>
                </c:pt>
                <c:pt idx="1">
                  <c:v>0.3835125448028674</c:v>
                </c:pt>
                <c:pt idx="2">
                  <c:v>0.31313131313131315</c:v>
                </c:pt>
                <c:pt idx="3">
                  <c:v>0.30405405405405406</c:v>
                </c:pt>
                <c:pt idx="4">
                  <c:v>0.32489451476793246</c:v>
                </c:pt>
                <c:pt idx="5">
                  <c:v>0.2840909090909091</c:v>
                </c:pt>
                <c:pt idx="6">
                  <c:v>0.2727272727272727</c:v>
                </c:pt>
                <c:pt idx="7">
                  <c:v>0.2795031055900621</c:v>
                </c:pt>
                <c:pt idx="8">
                  <c:v>0.26582278481012656</c:v>
                </c:pt>
                <c:pt idx="9">
                  <c:v>0.20903954802259886</c:v>
                </c:pt>
                <c:pt idx="10">
                  <c:v>0.1878453038674033</c:v>
                </c:pt>
                <c:pt idx="11">
                  <c:v>0.14838709677419354</c:v>
                </c:pt>
                <c:pt idx="12">
                  <c:v>0.1282051282051282</c:v>
                </c:pt>
                <c:pt idx="13">
                  <c:v>0.10457516339869281</c:v>
                </c:pt>
                <c:pt idx="14">
                  <c:v>0.553623188405797</c:v>
                </c:pt>
                <c:pt idx="15">
                  <c:v>0.610062893081761</c:v>
                </c:pt>
                <c:pt idx="16">
                  <c:v>0.5169811320754717</c:v>
                </c:pt>
                <c:pt idx="17">
                  <c:v>0.40609137055837563</c:v>
                </c:pt>
                <c:pt idx="18">
                  <c:v>0.38011695906432746</c:v>
                </c:pt>
                <c:pt idx="19">
                  <c:v>0.2777777777777778</c:v>
                </c:pt>
                <c:pt idx="20">
                  <c:v>0.25609756097560976</c:v>
                </c:pt>
                <c:pt idx="21">
                  <c:v>0.19166666666666668</c:v>
                </c:pt>
                <c:pt idx="22">
                  <c:v>0.18269230769230768</c:v>
                </c:pt>
                <c:pt idx="23">
                  <c:v>0.1717171717171717</c:v>
                </c:pt>
                <c:pt idx="24">
                  <c:v>0.2033898305084746</c:v>
                </c:pt>
                <c:pt idx="25">
                  <c:v>0.12087912087912088</c:v>
                </c:pt>
                <c:pt idx="26">
                  <c:v>0.13043478260869565</c:v>
                </c:pt>
                <c:pt idx="27">
                  <c:v>0.14423076923076922</c:v>
                </c:pt>
                <c:pt idx="28">
                  <c:v>0.1388888888888889</c:v>
                </c:pt>
                <c:pt idx="29">
                  <c:v>0.1111111111111111</c:v>
                </c:pt>
                <c:pt idx="30">
                  <c:v>0.08421052631578947</c:v>
                </c:pt>
                <c:pt idx="31">
                  <c:v>0.06578947368421052</c:v>
                </c:pt>
                <c:pt idx="32">
                  <c:v>0.08433734939759036</c:v>
                </c:pt>
                <c:pt idx="33">
                  <c:v>0.12244897959183673</c:v>
                </c:pt>
                <c:pt idx="34">
                  <c:v>0.06382978723404255</c:v>
                </c:pt>
                <c:pt idx="35">
                  <c:v>0.01904761904761905</c:v>
                </c:pt>
                <c:pt idx="36">
                  <c:v>0.03571428571428571</c:v>
                </c:pt>
                <c:pt idx="37">
                  <c:v>0.1978021978021978</c:v>
                </c:pt>
                <c:pt idx="38">
                  <c:v>0.15294117647058825</c:v>
                </c:pt>
                <c:pt idx="39">
                  <c:v>0.1595744680851064</c:v>
                </c:pt>
                <c:pt idx="40">
                  <c:v>0.010869565217391304</c:v>
                </c:pt>
                <c:pt idx="41">
                  <c:v>0.020202020202020204</c:v>
                </c:pt>
                <c:pt idx="42">
                  <c:v>0.01904761904761905</c:v>
                </c:pt>
                <c:pt idx="43">
                  <c:v>0.009433962264150943</c:v>
                </c:pt>
                <c:pt idx="44">
                  <c:v>0.028169014084507043</c:v>
                </c:pt>
                <c:pt idx="45">
                  <c:v>0.010638297872340425</c:v>
                </c:pt>
                <c:pt idx="46">
                  <c:v>0.008264462809917356</c:v>
                </c:pt>
                <c:pt idx="47">
                  <c:v>0.022727272727272728</c:v>
                </c:pt>
                <c:pt idx="48">
                  <c:v>0.017241379310344827</c:v>
                </c:pt>
              </c:numCache>
            </c:numRef>
          </c:yVal>
          <c:smooth val="0"/>
          <c:extLst>
            <c:ext xmlns:c16="http://schemas.microsoft.com/office/drawing/2014/chart" uri="{C3380CC4-5D6E-409C-BE32-E72D297353CC}">
              <c16:uniqueId val="{00000000-F32D-48B7-BC20-E66FC6253BAD}"/>
            </c:ext>
          </c:extLst>
        </c:ser>
        <c:ser>
          <c:idx val="1"/>
          <c:order val="1"/>
          <c:tx>
            <c:strRef>
              <c:f>Sheet1!$B$5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54</c:f>
              <c:strCache>
                <c:ptCount val="1"/>
                <c:pt idx="0">
                  <c:v>Custom Linep3yQ</c:v>
                </c:pt>
              </c:strCache>
            </c:strRef>
          </c:tx>
          <c:spPr>
            <a:ln w="19050" cap="rnd">
              <a:solidFill>
                <a:srgbClr val="C00000"/>
              </a:solidFill>
              <a:prstDash val="sysDot"/>
              <a:round/>
            </a:ln>
            <a:effectLst/>
          </c:spPr>
          <c:marker>
            <c:symbol val="none"/>
          </c:marker>
          <c:xVal>
            <c:numRef>
              <c:f>Sheet1!$A$55:$A$56</c:f>
              <c:numCache>
                <c:formatCode>General</c:formatCode>
                <c:ptCount val="2"/>
                <c:pt idx="0">
                  <c:v>0</c:v>
                </c:pt>
                <c:pt idx="1">
                  <c:v>0.31070710555054776</c:v>
                </c:pt>
              </c:numCache>
            </c:numRef>
          </c:xVal>
          <c:yVal>
            <c:numRef>
              <c:f>Sheet1!$B$55:$B$56</c:f>
              <c:numCache>
                <c:formatCode>General</c:formatCode>
                <c:ptCount val="2"/>
                <c:pt idx="0">
                  <c:v>0.31070710555054776</c:v>
                </c:pt>
                <c:pt idx="1">
                  <c:v>0.31070710555054776</c:v>
                </c:pt>
              </c:numCache>
            </c:numRef>
          </c:yVal>
          <c:smooth val="0"/>
          <c:extLst>
            <c:ext xmlns:c16="http://schemas.microsoft.com/office/drawing/2014/chart" uri="{C3380CC4-5D6E-409C-BE32-E72D297353CC}">
              <c16:uniqueId val="{00000003-F32D-48B7-BC20-E66FC6253BAD}"/>
            </c:ext>
          </c:extLst>
        </c:ser>
        <c:ser>
          <c:idx val="3"/>
          <c:order val="3"/>
          <c:tx>
            <c:strRef>
              <c:f>Sheet1!$B$5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9:$A$60</c:f>
              <c:numCache>
                <c:formatCode>General</c:formatCode>
                <c:ptCount val="2"/>
                <c:pt idx="0">
                  <c:v>0.31070710555054776</c:v>
                </c:pt>
                <c:pt idx="1">
                  <c:v>0.31070710555054776</c:v>
                </c:pt>
              </c:numCache>
            </c:numRef>
          </c:xVal>
          <c:yVal>
            <c:numRef>
              <c:f>Sheet1!$B$59:$B$60</c:f>
              <c:numCache>
                <c:formatCode>General</c:formatCode>
                <c:ptCount val="2"/>
                <c:pt idx="0">
                  <c:v>0.3107071055505477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2</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3:$A$65</c:f>
              <c:numCache>
                <c:formatCode>General</c:formatCode>
                <c:ptCount val="3"/>
                <c:pt idx="0">
                  <c:v>0</c:v>
                </c:pt>
                <c:pt idx="1">
                  <c:v>0.31070710555054776</c:v>
                </c:pt>
                <c:pt idx="2">
                  <c:v>0</c:v>
                </c:pt>
              </c:numCache>
            </c:numRef>
          </c:xVal>
          <c:yVal>
            <c:numRef>
              <c:f>Sheet1!$B$63:$B$65</c:f>
              <c:numCache>
                <c:formatCode>General</c:formatCode>
                <c:ptCount val="3"/>
                <c:pt idx="0">
                  <c:v>0</c:v>
                </c:pt>
                <c:pt idx="1">
                  <c:v>0.31070710555054776</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320754716981132"/>
          <c:min val="0.00661157024793388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1.1408379074391082</c:v>
                </c:pt>
                <c:pt idx="1">
                  <c:v>1.1251440162305013</c:v>
                </c:pt>
                <c:pt idx="2">
                  <c:v>1.1210232335021908</c:v>
                </c:pt>
                <c:pt idx="3">
                  <c:v>1.1319729863484127</c:v>
                </c:pt>
                <c:pt idx="4">
                  <c:v>1.0966553426495544</c:v>
                </c:pt>
                <c:pt idx="5">
                  <c:v>1.0338681810443648</c:v>
                </c:pt>
                <c:pt idx="6">
                  <c:v>0.9597948135638577</c:v>
                </c:pt>
                <c:pt idx="7">
                  <c:v>0.9210945787982544</c:v>
                </c:pt>
                <c:pt idx="8">
                  <c:v>0.908265140466816</c:v>
                </c:pt>
                <c:pt idx="9">
                  <c:v>0.9321395556293213</c:v>
                </c:pt>
                <c:pt idx="10">
                  <c:v>0.89760120858844</c:v>
                </c:pt>
                <c:pt idx="11">
                  <c:v>0.9209930899639438</c:v>
                </c:pt>
                <c:pt idx="12">
                  <c:v>0.8703676951830216</c:v>
                </c:pt>
                <c:pt idx="13">
                  <c:v>0.869276932413297</c:v>
                </c:pt>
                <c:pt idx="14">
                  <c:v>0.9574269654190644</c:v>
                </c:pt>
                <c:pt idx="15">
                  <c:v>0.9589658388257144</c:v>
                </c:pt>
                <c:pt idx="16">
                  <c:v>0.9214626262408228</c:v>
                </c:pt>
                <c:pt idx="17">
                  <c:v>0.9267195460830226</c:v>
                </c:pt>
                <c:pt idx="18">
                  <c:v>0.9123970277366208</c:v>
                </c:pt>
                <c:pt idx="19">
                  <c:v>1.003623351982136</c:v>
                </c:pt>
                <c:pt idx="20">
                  <c:v>0.8881025734882916</c:v>
                </c:pt>
                <c:pt idx="21">
                  <c:v>0.887155297532656</c:v>
                </c:pt>
                <c:pt idx="22">
                  <c:v>0.8836710931532378</c:v>
                </c:pt>
                <c:pt idx="23">
                  <c:v>0.8664848005331984</c:v>
                </c:pt>
                <c:pt idx="24">
                  <c:v>0.9118361298423043</c:v>
                </c:pt>
                <c:pt idx="25">
                  <c:v>0.8042921489883313</c:v>
                </c:pt>
                <c:pt idx="26">
                  <c:v>0.8260238243796907</c:v>
                </c:pt>
                <c:pt idx="27">
                  <c:v>0.8653165693080798</c:v>
                </c:pt>
                <c:pt idx="28">
                  <c:v>0.9191593363062466</c:v>
                </c:pt>
                <c:pt idx="29">
                  <c:v>0.9528566488646406</c:v>
                </c:pt>
                <c:pt idx="30">
                  <c:v>0.7651558449679073</c:v>
                </c:pt>
                <c:pt idx="31">
                  <c:v>1.0045004500450045</c:v>
                </c:pt>
                <c:pt idx="32">
                  <c:v>0.8019860298171541</c:v>
                </c:pt>
                <c:pt idx="33">
                  <c:v>0.8843328815522818</c:v>
                </c:pt>
                <c:pt idx="34">
                  <c:v>0.8375177702359153</c:v>
                </c:pt>
                <c:pt idx="35">
                  <c:v>0.7624584063908773</c:v>
                </c:pt>
                <c:pt idx="36">
                  <c:v>0.8405639913232104</c:v>
                </c:pt>
                <c:pt idx="37">
                  <c:v>0.5519376118356523</c:v>
                </c:pt>
                <c:pt idx="38">
                  <c:v>0.5512807973886039</c:v>
                </c:pt>
                <c:pt idx="39">
                  <c:v>0.4196818983240858</c:v>
                </c:pt>
                <c:pt idx="40">
                  <c:v>0.576271186440678</c:v>
                </c:pt>
                <c:pt idx="41">
                  <c:v>0.41379310344827586</c:v>
                </c:pt>
                <c:pt idx="42">
                  <c:v>0.40311935336494004</c:v>
                </c:pt>
                <c:pt idx="43">
                  <c:v>0.28041000708172725</c:v>
                </c:pt>
                <c:pt idx="44">
                  <c:v>0.3919820470452782</c:v>
                </c:pt>
                <c:pt idx="45">
                  <c:v>0.2703180212014134</c:v>
                </c:pt>
                <c:pt idx="46">
                  <c:v>0.27048666916174413</c:v>
                </c:pt>
                <c:pt idx="47">
                  <c:v>0.0</c:v>
                </c:pt>
                <c:pt idx="48">
                  <c:v>0.125</c:v>
                </c:pt>
              </c:numCache>
            </c:numRef>
          </c:xVal>
          <c:yVal>
            <c:numRef>
              <c:f>Sheet1!$B$2:$B$50</c:f>
              <c:numCache>
                <c:formatCode>General</c:formatCode>
                <c:ptCount val="49"/>
                <c:pt idx="0">
                  <c:v>0.3686274509803922</c:v>
                </c:pt>
                <c:pt idx="1">
                  <c:v>0.3835125448028674</c:v>
                </c:pt>
                <c:pt idx="2">
                  <c:v>0.31313131313131315</c:v>
                </c:pt>
                <c:pt idx="3">
                  <c:v>0.30405405405405406</c:v>
                </c:pt>
                <c:pt idx="4">
                  <c:v>0.32489451476793246</c:v>
                </c:pt>
                <c:pt idx="5">
                  <c:v>0.2840909090909091</c:v>
                </c:pt>
                <c:pt idx="6">
                  <c:v>0.2727272727272727</c:v>
                </c:pt>
                <c:pt idx="7">
                  <c:v>0.2795031055900621</c:v>
                </c:pt>
                <c:pt idx="8">
                  <c:v>0.26582278481012656</c:v>
                </c:pt>
                <c:pt idx="9">
                  <c:v>0.20903954802259886</c:v>
                </c:pt>
                <c:pt idx="10">
                  <c:v>0.1878453038674033</c:v>
                </c:pt>
                <c:pt idx="11">
                  <c:v>0.14838709677419354</c:v>
                </c:pt>
                <c:pt idx="12">
                  <c:v>0.1282051282051282</c:v>
                </c:pt>
                <c:pt idx="13">
                  <c:v>0.10457516339869281</c:v>
                </c:pt>
                <c:pt idx="14">
                  <c:v>0.553623188405797</c:v>
                </c:pt>
                <c:pt idx="15">
                  <c:v>0.610062893081761</c:v>
                </c:pt>
                <c:pt idx="16">
                  <c:v>0.5169811320754717</c:v>
                </c:pt>
                <c:pt idx="17">
                  <c:v>0.40609137055837563</c:v>
                </c:pt>
                <c:pt idx="18">
                  <c:v>0.38011695906432746</c:v>
                </c:pt>
                <c:pt idx="19">
                  <c:v>0.2777777777777778</c:v>
                </c:pt>
                <c:pt idx="20">
                  <c:v>0.25609756097560976</c:v>
                </c:pt>
                <c:pt idx="21">
                  <c:v>0.19166666666666668</c:v>
                </c:pt>
                <c:pt idx="22">
                  <c:v>0.18269230769230768</c:v>
                </c:pt>
                <c:pt idx="23">
                  <c:v>0.1717171717171717</c:v>
                </c:pt>
                <c:pt idx="24">
                  <c:v>0.2033898305084746</c:v>
                </c:pt>
                <c:pt idx="25">
                  <c:v>0.12087912087912088</c:v>
                </c:pt>
                <c:pt idx="26">
                  <c:v>0.13043478260869565</c:v>
                </c:pt>
                <c:pt idx="27">
                  <c:v>0.14423076923076922</c:v>
                </c:pt>
                <c:pt idx="28">
                  <c:v>0.1388888888888889</c:v>
                </c:pt>
                <c:pt idx="29">
                  <c:v>0.1111111111111111</c:v>
                </c:pt>
                <c:pt idx="30">
                  <c:v>0.08421052631578947</c:v>
                </c:pt>
                <c:pt idx="31">
                  <c:v>0.06578947368421052</c:v>
                </c:pt>
                <c:pt idx="32">
                  <c:v>0.08433734939759036</c:v>
                </c:pt>
                <c:pt idx="33">
                  <c:v>0.12244897959183673</c:v>
                </c:pt>
                <c:pt idx="34">
                  <c:v>0.06382978723404255</c:v>
                </c:pt>
                <c:pt idx="35">
                  <c:v>0.01904761904761905</c:v>
                </c:pt>
                <c:pt idx="36">
                  <c:v>0.03571428571428571</c:v>
                </c:pt>
                <c:pt idx="37">
                  <c:v>0.1978021978021978</c:v>
                </c:pt>
                <c:pt idx="38">
                  <c:v>0.15294117647058825</c:v>
                </c:pt>
                <c:pt idx="39">
                  <c:v>0.1595744680851064</c:v>
                </c:pt>
                <c:pt idx="40">
                  <c:v>0.010869565217391304</c:v>
                </c:pt>
                <c:pt idx="41">
                  <c:v>0.020202020202020204</c:v>
                </c:pt>
                <c:pt idx="42">
                  <c:v>0.01904761904761905</c:v>
                </c:pt>
                <c:pt idx="43">
                  <c:v>0.009433962264150943</c:v>
                </c:pt>
                <c:pt idx="44">
                  <c:v>0.028169014084507043</c:v>
                </c:pt>
                <c:pt idx="45">
                  <c:v>0.010638297872340425</c:v>
                </c:pt>
                <c:pt idx="46">
                  <c:v>0.008264462809917356</c:v>
                </c:pt>
                <c:pt idx="47">
                  <c:v>0.022727272727272728</c:v>
                </c:pt>
                <c:pt idx="48">
                  <c:v>0.017241379310344827</c:v>
                </c:pt>
              </c:numCache>
            </c:numRef>
          </c:yVal>
          <c:smooth val="0"/>
          <c:extLst>
            <c:ext xmlns:c16="http://schemas.microsoft.com/office/drawing/2014/chart" uri="{C3380CC4-5D6E-409C-BE32-E72D297353CC}">
              <c16:uniqueId val="{00000000-096C-4121-9522-6AB7243CCAAE}"/>
            </c:ext>
          </c:extLst>
        </c:ser>
        <c:ser>
          <c:idx val="1"/>
          <c:order val="1"/>
          <c:tx>
            <c:strRef>
              <c:f>Sheet1!$B$5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5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5:$A$56</c:f>
              <c:numCache>
                <c:formatCode>General</c:formatCode>
                <c:ptCount val="2"/>
                <c:pt idx="0">
                  <c:v>0</c:v>
                </c:pt>
                <c:pt idx="1">
                  <c:v>0.31070710555054776</c:v>
                </c:pt>
              </c:numCache>
            </c:numRef>
          </c:xVal>
          <c:yVal>
            <c:numRef>
              <c:f>Sheet1!$B$55:$B$56</c:f>
              <c:numCache>
                <c:formatCode>General</c:formatCode>
                <c:ptCount val="2"/>
                <c:pt idx="0">
                  <c:v>0.31070710555054776</c:v>
                </c:pt>
                <c:pt idx="1">
                  <c:v>0.31070710555054776</c:v>
                </c:pt>
              </c:numCache>
            </c:numRef>
          </c:yVal>
          <c:smooth val="0"/>
          <c:extLst>
            <c:ext xmlns:c16="http://schemas.microsoft.com/office/drawing/2014/chart" uri="{C3380CC4-5D6E-409C-BE32-E72D297353CC}">
              <c16:uniqueId val="{00000005-096C-4121-9522-6AB7243CCAAE}"/>
            </c:ext>
          </c:extLst>
        </c:ser>
        <c:ser>
          <c:idx val="3"/>
          <c:order val="3"/>
          <c:tx>
            <c:strRef>
              <c:f>Sheet1!$B$5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9:$A$60</c:f>
              <c:numCache>
                <c:formatCode>General</c:formatCode>
                <c:ptCount val="2"/>
                <c:pt idx="0">
                  <c:v>0.31070710555054776</c:v>
                </c:pt>
                <c:pt idx="1">
                  <c:v>0.31070710555054776</c:v>
                </c:pt>
              </c:numCache>
            </c:numRef>
          </c:xVal>
          <c:yVal>
            <c:numRef>
              <c:f>Sheet1!$B$59:$B$60</c:f>
              <c:numCache>
                <c:formatCode>General</c:formatCode>
                <c:ptCount val="2"/>
                <c:pt idx="0">
                  <c:v>0.3107071055505477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2</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3:$A$65</c:f>
              <c:numCache>
                <c:formatCode>General</c:formatCode>
                <c:ptCount val="3"/>
                <c:pt idx="0">
                  <c:v>0</c:v>
                </c:pt>
                <c:pt idx="1">
                  <c:v>0.31070710555054776</c:v>
                </c:pt>
                <c:pt idx="2">
                  <c:v>0</c:v>
                </c:pt>
              </c:numCache>
            </c:numRef>
          </c:xVal>
          <c:yVal>
            <c:numRef>
              <c:f>Sheet1!$B$63:$B$65</c:f>
              <c:numCache>
                <c:formatCode>General</c:formatCode>
                <c:ptCount val="3"/>
                <c:pt idx="0">
                  <c:v>0</c:v>
                </c:pt>
                <c:pt idx="1">
                  <c:v>0.31070710555054776</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320754716981132"/>
          <c:min val="0.00661157024793388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0</c:f>
              <c:numCache>
                <c:formatCode>General</c:formatCode>
                <c:ptCount val="49"/>
                <c:pt idx="0">
                  <c:v>556.5426</c:v>
                </c:pt>
                <c:pt idx="1">
                  <c:v>549.8131</c:v>
                </c:pt>
                <c:pt idx="2">
                  <c:v>551.9785</c:v>
                </c:pt>
                <c:pt idx="3">
                  <c:v>552.8444</c:v>
                </c:pt>
                <c:pt idx="4">
                  <c:v>545.3247</c:v>
                </c:pt>
                <c:pt idx="5">
                  <c:v>542.32</c:v>
                </c:pt>
                <c:pt idx="6">
                  <c:v>530.8222</c:v>
                </c:pt>
                <c:pt idx="7">
                  <c:v>511.4</c:v>
                </c:pt>
                <c:pt idx="8">
                  <c:v>500.7857</c:v>
                </c:pt>
                <c:pt idx="9">
                  <c:v>515.5676</c:v>
                </c:pt>
                <c:pt idx="10">
                  <c:v>499.4412</c:v>
                </c:pt>
                <c:pt idx="11">
                  <c:v>510.6087</c:v>
                </c:pt>
                <c:pt idx="12">
                  <c:v>482.6</c:v>
                </c:pt>
                <c:pt idx="13">
                  <c:v>483.4375</c:v>
                </c:pt>
                <c:pt idx="14">
                  <c:v>515.0419</c:v>
                </c:pt>
                <c:pt idx="15">
                  <c:v>513.933</c:v>
                </c:pt>
                <c:pt idx="16">
                  <c:v>512.2701</c:v>
                </c:pt>
                <c:pt idx="17">
                  <c:v>514.55</c:v>
                </c:pt>
                <c:pt idx="18">
                  <c:v>505.0769</c:v>
                </c:pt>
                <c:pt idx="19">
                  <c:v>502.4</c:v>
                </c:pt>
                <c:pt idx="20">
                  <c:v>506.5952</c:v>
                </c:pt>
                <c:pt idx="21">
                  <c:v>489.0</c:v>
                </c:pt>
                <c:pt idx="22">
                  <c:v>492.4737</c:v>
                </c:pt>
                <c:pt idx="23">
                  <c:v>491.9412</c:v>
                </c:pt>
                <c:pt idx="24">
                  <c:v>479.4583</c:v>
                </c:pt>
                <c:pt idx="25">
                  <c:v>456.5455</c:v>
                </c:pt>
                <c:pt idx="26">
                  <c:v>459.25</c:v>
                </c:pt>
                <c:pt idx="27">
                  <c:v>481.6667</c:v>
                </c:pt>
                <c:pt idx="28">
                  <c:v>520.8</c:v>
                </c:pt>
                <c:pt idx="29">
                  <c:v>496.0</c:v>
                </c:pt>
                <c:pt idx="30">
                  <c:v>418.5</c:v>
                </c:pt>
                <c:pt idx="31">
                  <c:v>558.0</c:v>
                </c:pt>
                <c:pt idx="32">
                  <c:v>438.4286</c:v>
                </c:pt>
                <c:pt idx="33">
                  <c:v>488.25</c:v>
                </c:pt>
                <c:pt idx="34">
                  <c:v>465.0</c:v>
                </c:pt>
                <c:pt idx="35">
                  <c:v>418.5</c:v>
                </c:pt>
                <c:pt idx="36">
                  <c:v>465.0</c:v>
                </c:pt>
                <c:pt idx="37">
                  <c:v>293.0</c:v>
                </c:pt>
                <c:pt idx="38">
                  <c:v>294.2308</c:v>
                </c:pt>
                <c:pt idx="39">
                  <c:v>234.2</c:v>
                </c:pt>
                <c:pt idx="40">
                  <c:v>306.0</c:v>
                </c:pt>
                <c:pt idx="41">
                  <c:v>229.5</c:v>
                </c:pt>
                <c:pt idx="42">
                  <c:v>229.5</c:v>
                </c:pt>
                <c:pt idx="43">
                  <c:v>153.0</c:v>
                </c:pt>
                <c:pt idx="44">
                  <c:v>221.5</c:v>
                </c:pt>
                <c:pt idx="45">
                  <c:v>153.0</c:v>
                </c:pt>
                <c:pt idx="46">
                  <c:v>153.0</c:v>
                </c:pt>
                <c:pt idx="47">
                  <c:v>83.0</c:v>
                </c:pt>
                <c:pt idx="48">
                  <c:v>83.0</c:v>
                </c:pt>
              </c:numCache>
            </c:numRef>
          </c:xVal>
          <c:yVal>
            <c:numRef>
              <c:f>Sheet1!$B$2:$B$50</c:f>
              <c:numCache>
                <c:formatCode>General</c:formatCode>
                <c:ptCount val="49"/>
                <c:pt idx="0">
                  <c:v>0.3686274509803922</c:v>
                </c:pt>
                <c:pt idx="1">
                  <c:v>0.3835125448028674</c:v>
                </c:pt>
                <c:pt idx="2">
                  <c:v>0.31313131313131315</c:v>
                </c:pt>
                <c:pt idx="3">
                  <c:v>0.30405405405405406</c:v>
                </c:pt>
                <c:pt idx="4">
                  <c:v>0.32489451476793246</c:v>
                </c:pt>
                <c:pt idx="5">
                  <c:v>0.2840909090909091</c:v>
                </c:pt>
                <c:pt idx="6">
                  <c:v>0.2727272727272727</c:v>
                </c:pt>
                <c:pt idx="7">
                  <c:v>0.2795031055900621</c:v>
                </c:pt>
                <c:pt idx="8">
                  <c:v>0.26582278481012656</c:v>
                </c:pt>
                <c:pt idx="9">
                  <c:v>0.20903954802259886</c:v>
                </c:pt>
                <c:pt idx="10">
                  <c:v>0.1878453038674033</c:v>
                </c:pt>
                <c:pt idx="11">
                  <c:v>0.14838709677419354</c:v>
                </c:pt>
                <c:pt idx="12">
                  <c:v>0.1282051282051282</c:v>
                </c:pt>
                <c:pt idx="13">
                  <c:v>0.10457516339869281</c:v>
                </c:pt>
                <c:pt idx="14">
                  <c:v>0.553623188405797</c:v>
                </c:pt>
                <c:pt idx="15">
                  <c:v>0.610062893081761</c:v>
                </c:pt>
                <c:pt idx="16">
                  <c:v>0.5169811320754717</c:v>
                </c:pt>
                <c:pt idx="17">
                  <c:v>0.40609137055837563</c:v>
                </c:pt>
                <c:pt idx="18">
                  <c:v>0.38011695906432746</c:v>
                </c:pt>
                <c:pt idx="19">
                  <c:v>0.2777777777777778</c:v>
                </c:pt>
                <c:pt idx="20">
                  <c:v>0.25609756097560976</c:v>
                </c:pt>
                <c:pt idx="21">
                  <c:v>0.19166666666666668</c:v>
                </c:pt>
                <c:pt idx="22">
                  <c:v>0.18269230769230768</c:v>
                </c:pt>
                <c:pt idx="23">
                  <c:v>0.1717171717171717</c:v>
                </c:pt>
                <c:pt idx="24">
                  <c:v>0.2033898305084746</c:v>
                </c:pt>
                <c:pt idx="25">
                  <c:v>0.12087912087912088</c:v>
                </c:pt>
                <c:pt idx="26">
                  <c:v>0.13043478260869565</c:v>
                </c:pt>
                <c:pt idx="27">
                  <c:v>0.14423076923076922</c:v>
                </c:pt>
                <c:pt idx="28">
                  <c:v>0.1388888888888889</c:v>
                </c:pt>
                <c:pt idx="29">
                  <c:v>0.1111111111111111</c:v>
                </c:pt>
                <c:pt idx="30">
                  <c:v>0.08421052631578947</c:v>
                </c:pt>
                <c:pt idx="31">
                  <c:v>0.06578947368421052</c:v>
                </c:pt>
                <c:pt idx="32">
                  <c:v>0.08433734939759036</c:v>
                </c:pt>
                <c:pt idx="33">
                  <c:v>0.12244897959183673</c:v>
                </c:pt>
                <c:pt idx="34">
                  <c:v>0.06382978723404255</c:v>
                </c:pt>
                <c:pt idx="35">
                  <c:v>0.01904761904761905</c:v>
                </c:pt>
                <c:pt idx="36">
                  <c:v>0.03571428571428571</c:v>
                </c:pt>
                <c:pt idx="37">
                  <c:v>0.1978021978021978</c:v>
                </c:pt>
                <c:pt idx="38">
                  <c:v>0.15294117647058825</c:v>
                </c:pt>
                <c:pt idx="39">
                  <c:v>0.1595744680851064</c:v>
                </c:pt>
                <c:pt idx="40">
                  <c:v>0.010869565217391304</c:v>
                </c:pt>
                <c:pt idx="41">
                  <c:v>0.020202020202020204</c:v>
                </c:pt>
                <c:pt idx="42">
                  <c:v>0.01904761904761905</c:v>
                </c:pt>
                <c:pt idx="43">
                  <c:v>0.009433962264150943</c:v>
                </c:pt>
                <c:pt idx="44">
                  <c:v>0.028169014084507043</c:v>
                </c:pt>
                <c:pt idx="45">
                  <c:v>0.010638297872340425</c:v>
                </c:pt>
                <c:pt idx="46">
                  <c:v>0.008264462809917356</c:v>
                </c:pt>
                <c:pt idx="47">
                  <c:v>0.022727272727272728</c:v>
                </c:pt>
                <c:pt idx="48">
                  <c:v>0.017241379310344827</c:v>
                </c:pt>
              </c:numCache>
            </c:numRef>
          </c:yVal>
          <c:smooth val="0"/>
          <c:extLst>
            <c:ext xmlns:c16="http://schemas.microsoft.com/office/drawing/2014/chart" uri="{C3380CC4-5D6E-409C-BE32-E72D297353CC}">
              <c16:uniqueId val="{00000000-F32D-48B7-BC20-E66FC6253BAD}"/>
            </c:ext>
          </c:extLst>
        </c:ser>
        <c:ser>
          <c:idx val="1"/>
          <c:order val="1"/>
          <c:tx>
            <c:strRef>
              <c:f>Sheet1!$B$5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3:$A$52</c:f>
              <c:numCache>
                <c:formatCode>General</c:formatCode>
                <c:ptCount val="0"/>
              </c:numCache>
            </c:numRef>
          </c:xVal>
          <c:yVal>
            <c:numRef>
              <c:f>Sheet1!$B$53:$B$52</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54</c:f>
              <c:strCache>
                <c:ptCount val="1"/>
                <c:pt idx="0">
                  <c:v>Custom Linep3yQ</c:v>
                </c:pt>
              </c:strCache>
            </c:strRef>
          </c:tx>
          <c:spPr>
            <a:ln w="19050" cap="rnd">
              <a:solidFill>
                <a:srgbClr val="C00000"/>
              </a:solidFill>
              <a:prstDash val="sysDot"/>
              <a:round/>
            </a:ln>
            <a:effectLst/>
          </c:spPr>
          <c:marker>
            <c:symbol val="none"/>
          </c:marker>
          <c:xVal>
            <c:numRef>
              <c:f>Sheet1!$A$55:$A$56</c:f>
              <c:numCache>
                <c:formatCode>General</c:formatCode>
                <c:ptCount val="2"/>
                <c:pt idx="0">
                  <c:v>0</c:v>
                </c:pt>
                <c:pt idx="1">
                  <c:v>0.31070710555054776</c:v>
                </c:pt>
              </c:numCache>
            </c:numRef>
          </c:xVal>
          <c:yVal>
            <c:numRef>
              <c:f>Sheet1!$B$55:$B$56</c:f>
              <c:numCache>
                <c:formatCode>General</c:formatCode>
                <c:ptCount val="2"/>
                <c:pt idx="0">
                  <c:v>0.31070710555054776</c:v>
                </c:pt>
                <c:pt idx="1">
                  <c:v>0.31070710555054776</c:v>
                </c:pt>
              </c:numCache>
            </c:numRef>
          </c:yVal>
          <c:smooth val="0"/>
          <c:extLst>
            <c:ext xmlns:c16="http://schemas.microsoft.com/office/drawing/2014/chart" uri="{C3380CC4-5D6E-409C-BE32-E72D297353CC}">
              <c16:uniqueId val="{00000003-F32D-48B7-BC20-E66FC6253BAD}"/>
            </c:ext>
          </c:extLst>
        </c:ser>
        <c:ser>
          <c:idx val="3"/>
          <c:order val="3"/>
          <c:tx>
            <c:strRef>
              <c:f>Sheet1!$B$5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9:$A$60</c:f>
              <c:numCache>
                <c:formatCode>General</c:formatCode>
                <c:ptCount val="2"/>
                <c:pt idx="0">
                  <c:v>0.31070710555054776</c:v>
                </c:pt>
                <c:pt idx="1">
                  <c:v>0.31070710555054776</c:v>
                </c:pt>
              </c:numCache>
            </c:numRef>
          </c:xVal>
          <c:yVal>
            <c:numRef>
              <c:f>Sheet1!$B$59:$B$60</c:f>
              <c:numCache>
                <c:formatCode>General</c:formatCode>
                <c:ptCount val="2"/>
                <c:pt idx="0">
                  <c:v>0.3107071055505477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2</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3:$A$65</c:f>
              <c:numCache>
                <c:formatCode>General</c:formatCode>
                <c:ptCount val="3"/>
                <c:pt idx="0">
                  <c:v>0</c:v>
                </c:pt>
                <c:pt idx="1">
                  <c:v>0.31070710555054776</c:v>
                </c:pt>
                <c:pt idx="2">
                  <c:v>0</c:v>
                </c:pt>
              </c:numCache>
            </c:numRef>
          </c:xVal>
          <c:yVal>
            <c:numRef>
              <c:f>Sheet1!$B$63:$B$65</c:f>
              <c:numCache>
                <c:formatCode>General</c:formatCode>
                <c:ptCount val="3"/>
                <c:pt idx="0">
                  <c:v>0</c:v>
                </c:pt>
                <c:pt idx="1">
                  <c:v>0.31070710555054776</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320754716981132"/>
          <c:min val="0.00661157024793388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8</c:f>
              <c:numCache>
                <c:formatCode>General</c:formatCode>
                <c:ptCount val="47"/>
                <c:pt idx="0">
                  <c:v>0.2785498498498499</c:v>
                </c:pt>
                <c:pt idx="1">
                  <c:v>0.273797669438773</c:v>
                </c:pt>
                <c:pt idx="2">
                  <c:v>0.2629835184382211</c:v>
                </c:pt>
                <c:pt idx="3">
                  <c:v>0.27814070626066684</c:v>
                </c:pt>
                <c:pt idx="4">
                  <c:v>0.3149352413782947</c:v>
                </c:pt>
                <c:pt idx="5">
                  <c:v>0.2680108722510502</c:v>
                </c:pt>
                <c:pt idx="6">
                  <c:v>0.266968420234173</c:v>
                </c:pt>
                <c:pt idx="7">
                  <c:v>0.2523095898859081</c:v>
                </c:pt>
                <c:pt idx="8">
                  <c:v>0.2596089683773976</c:v>
                </c:pt>
                <c:pt idx="9">
                  <c:v>0.26699513205592956</c:v>
                </c:pt>
                <c:pt idx="10">
                  <c:v>0.25988615074068205</c:v>
                </c:pt>
                <c:pt idx="11">
                  <c:v>0.25618936898462585</c:v>
                </c:pt>
                <c:pt idx="12">
                  <c:v>0.23537636539386064</c:v>
                </c:pt>
                <c:pt idx="13">
                  <c:v>0.24887387387387389</c:v>
                </c:pt>
                <c:pt idx="14">
                  <c:v>0.2545763544102606</c:v>
                </c:pt>
                <c:pt idx="15">
                  <c:v>0.2719443518737133</c:v>
                </c:pt>
                <c:pt idx="16">
                  <c:v>0.25725763226704207</c:v>
                </c:pt>
                <c:pt idx="17">
                  <c:v>0.22818181818181815</c:v>
                </c:pt>
                <c:pt idx="18">
                  <c:v>0.22536577207995084</c:v>
                </c:pt>
                <c:pt idx="19">
                  <c:v>0.23296237722525673</c:v>
                </c:pt>
                <c:pt idx="20">
                  <c:v>0.25997016318901534</c:v>
                </c:pt>
                <c:pt idx="21">
                  <c:v>0.2482233502538071</c:v>
                </c:pt>
                <c:pt idx="22">
                  <c:v>0.2760502802690583</c:v>
                </c:pt>
                <c:pt idx="23">
                  <c:v>0.31993337306530983</c:v>
                </c:pt>
                <c:pt idx="24">
                  <c:v>0.24916170192399187</c:v>
                </c:pt>
                <c:pt idx="25">
                  <c:v>0.26491361427431637</c:v>
                </c:pt>
                <c:pt idx="26">
                  <c:v>0.25017023015116435</c:v>
                </c:pt>
                <c:pt idx="27">
                  <c:v>0.33202364375818566</c:v>
                </c:pt>
                <c:pt idx="28">
                  <c:v>0.2681081081081081</c:v>
                </c:pt>
                <c:pt idx="29">
                  <c:v>0.27869641773401493</c:v>
                </c:pt>
                <c:pt idx="30">
                  <c:v>0.2147714188046259</c:v>
                </c:pt>
                <c:pt idx="31">
                  <c:v>0.2861938692657173</c:v>
                </c:pt>
                <c:pt idx="32">
                  <c:v>0.2382505162482339</c:v>
                </c:pt>
                <c:pt idx="33">
                  <c:v>0.27681187332158885</c:v>
                </c:pt>
                <c:pt idx="34">
                  <c:v>0.24226515102809515</c:v>
                </c:pt>
                <c:pt idx="35">
                  <c:v>0.21303623983146466</c:v>
                </c:pt>
                <c:pt idx="36">
                  <c:v>0.23493922122346947</c:v>
                </c:pt>
                <c:pt idx="37">
                  <c:v>0.14789361633609666</c:v>
                </c:pt>
                <c:pt idx="38">
                  <c:v>0.1503530038555734</c:v>
                </c:pt>
                <c:pt idx="39">
                  <c:v>0.11407268768159633</c:v>
                </c:pt>
                <c:pt idx="40">
                  <c:v>0.15506140178142241</c:v>
                </c:pt>
                <c:pt idx="41">
                  <c:v>0.12338709677419354</c:v>
                </c:pt>
                <c:pt idx="42">
                  <c:v>0.12726824452671684</c:v>
                </c:pt>
                <c:pt idx="43">
                  <c:v>0.07857032814666462</c:v>
                </c:pt>
                <c:pt idx="44">
                  <c:v>0.06251764041772509</c:v>
                </c:pt>
                <c:pt idx="45">
                  <c:v>0.08894056096497602</c:v>
                </c:pt>
                <c:pt idx="46">
                  <c:v>0.12789968652037617</c:v>
                </c:pt>
              </c:numCache>
            </c:numRef>
          </c:xVal>
          <c:yVal>
            <c:numRef>
              <c:f>Sheet1!$B$2:$B$48</c:f>
              <c:numCache>
                <c:formatCode>General</c:formatCode>
                <c:ptCount val="47"/>
                <c:pt idx="0">
                  <c:v>0.3686274509803922</c:v>
                </c:pt>
                <c:pt idx="1">
                  <c:v>0.3835125448028674</c:v>
                </c:pt>
                <c:pt idx="2">
                  <c:v>0.31313131313131315</c:v>
                </c:pt>
                <c:pt idx="3">
                  <c:v>0.30405405405405406</c:v>
                </c:pt>
                <c:pt idx="4">
                  <c:v>0.32489451476793246</c:v>
                </c:pt>
                <c:pt idx="5">
                  <c:v>0.2840909090909091</c:v>
                </c:pt>
                <c:pt idx="6">
                  <c:v>0.2727272727272727</c:v>
                </c:pt>
                <c:pt idx="7">
                  <c:v>0.2795031055900621</c:v>
                </c:pt>
                <c:pt idx="8">
                  <c:v>0.26582278481012656</c:v>
                </c:pt>
                <c:pt idx="9">
                  <c:v>0.20903954802259886</c:v>
                </c:pt>
                <c:pt idx="10">
                  <c:v>0.1878453038674033</c:v>
                </c:pt>
                <c:pt idx="11">
                  <c:v>0.14838709677419354</c:v>
                </c:pt>
                <c:pt idx="12">
                  <c:v>0.1282051282051282</c:v>
                </c:pt>
                <c:pt idx="13">
                  <c:v>0.10457516339869281</c:v>
                </c:pt>
                <c:pt idx="14">
                  <c:v>0.553623188405797</c:v>
                </c:pt>
                <c:pt idx="15">
                  <c:v>0.610062893081761</c:v>
                </c:pt>
                <c:pt idx="16">
                  <c:v>0.5169811320754717</c:v>
                </c:pt>
                <c:pt idx="17">
                  <c:v>0.40609137055837563</c:v>
                </c:pt>
                <c:pt idx="18">
                  <c:v>0.38011695906432746</c:v>
                </c:pt>
                <c:pt idx="19">
                  <c:v>0.2777777777777778</c:v>
                </c:pt>
                <c:pt idx="20">
                  <c:v>0.25609756097560976</c:v>
                </c:pt>
                <c:pt idx="21">
                  <c:v>0.19166666666666668</c:v>
                </c:pt>
                <c:pt idx="22">
                  <c:v>0.18269230769230768</c:v>
                </c:pt>
                <c:pt idx="23">
                  <c:v>0.1717171717171717</c:v>
                </c:pt>
                <c:pt idx="24">
                  <c:v>0.2033898305084746</c:v>
                </c:pt>
                <c:pt idx="25">
                  <c:v>0.12087912087912088</c:v>
                </c:pt>
                <c:pt idx="26">
                  <c:v>0.13043478260869565</c:v>
                </c:pt>
                <c:pt idx="27">
                  <c:v>0.14423076923076922</c:v>
                </c:pt>
                <c:pt idx="28">
                  <c:v>0.1388888888888889</c:v>
                </c:pt>
                <c:pt idx="29">
                  <c:v>0.1111111111111111</c:v>
                </c:pt>
                <c:pt idx="30">
                  <c:v>0.08421052631578947</c:v>
                </c:pt>
                <c:pt idx="31">
                  <c:v>0.06578947368421052</c:v>
                </c:pt>
                <c:pt idx="32">
                  <c:v>0.08433734939759036</c:v>
                </c:pt>
                <c:pt idx="33">
                  <c:v>0.12244897959183673</c:v>
                </c:pt>
                <c:pt idx="34">
                  <c:v>0.06382978723404255</c:v>
                </c:pt>
                <c:pt idx="35">
                  <c:v>0.01904761904761905</c:v>
                </c:pt>
                <c:pt idx="36">
                  <c:v>0.03571428571428571</c:v>
                </c:pt>
                <c:pt idx="37">
                  <c:v>0.1978021978021978</c:v>
                </c:pt>
                <c:pt idx="38">
                  <c:v>0.15294117647058825</c:v>
                </c:pt>
                <c:pt idx="39">
                  <c:v>0.1595744680851064</c:v>
                </c:pt>
                <c:pt idx="40">
                  <c:v>0.010869565217391304</c:v>
                </c:pt>
                <c:pt idx="41">
                  <c:v>0.020202020202020204</c:v>
                </c:pt>
                <c:pt idx="42">
                  <c:v>0.01904761904761905</c:v>
                </c:pt>
                <c:pt idx="43">
                  <c:v>0.009433962264150943</c:v>
                </c:pt>
                <c:pt idx="44">
                  <c:v>0.028169014084507043</c:v>
                </c:pt>
                <c:pt idx="45">
                  <c:v>0.010638297872340425</c:v>
                </c:pt>
                <c:pt idx="46">
                  <c:v>0.008264462809917356</c:v>
                </c:pt>
              </c:numCache>
            </c:numRef>
          </c:yVal>
          <c:smooth val="0"/>
          <c:extLst>
            <c:ext xmlns:c16="http://schemas.microsoft.com/office/drawing/2014/chart" uri="{C3380CC4-5D6E-409C-BE32-E72D297353CC}">
              <c16:uniqueId val="{00000000-096C-4121-9522-6AB7243CCAAE}"/>
            </c:ext>
          </c:extLst>
        </c:ser>
        <c:ser>
          <c:idx val="1"/>
          <c:order val="1"/>
          <c:tx>
            <c:strRef>
              <c:f>Sheet1!$B$5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1:$A$50</c:f>
              <c:numCache>
                <c:formatCode>General</c:formatCode>
                <c:ptCount val="0"/>
              </c:numCache>
            </c:numRef>
          </c:xVal>
          <c:yVal>
            <c:numRef>
              <c:f>Sheet1!$B$51:$B$50</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5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3:$A$54</c:f>
              <c:numCache>
                <c:formatCode>General</c:formatCode>
                <c:ptCount val="2"/>
                <c:pt idx="0">
                  <c:v>0</c:v>
                </c:pt>
                <c:pt idx="1">
                  <c:v>0.31070710555054776</c:v>
                </c:pt>
              </c:numCache>
            </c:numRef>
          </c:xVal>
          <c:yVal>
            <c:numRef>
              <c:f>Sheet1!$B$53:$B$54</c:f>
              <c:numCache>
                <c:formatCode>General</c:formatCode>
                <c:ptCount val="2"/>
                <c:pt idx="0">
                  <c:v>0.31070710555054776</c:v>
                </c:pt>
                <c:pt idx="1">
                  <c:v>0.31070710555054776</c:v>
                </c:pt>
              </c:numCache>
            </c:numRef>
          </c:yVal>
          <c:smooth val="0"/>
          <c:extLst>
            <c:ext xmlns:c16="http://schemas.microsoft.com/office/drawing/2014/chart" uri="{C3380CC4-5D6E-409C-BE32-E72D297353CC}">
              <c16:uniqueId val="{00000005-096C-4121-9522-6AB7243CCAAE}"/>
            </c:ext>
          </c:extLst>
        </c:ser>
        <c:ser>
          <c:idx val="3"/>
          <c:order val="3"/>
          <c:tx>
            <c:strRef>
              <c:f>Sheet1!$B$5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7:$A$58</c:f>
              <c:numCache>
                <c:formatCode>General</c:formatCode>
                <c:ptCount val="2"/>
                <c:pt idx="0">
                  <c:v>0.31070710555054776</c:v>
                </c:pt>
                <c:pt idx="1">
                  <c:v>0.31070710555054776</c:v>
                </c:pt>
              </c:numCache>
            </c:numRef>
          </c:xVal>
          <c:yVal>
            <c:numRef>
              <c:f>Sheet1!$B$57:$B$58</c:f>
              <c:numCache>
                <c:formatCode>General</c:formatCode>
                <c:ptCount val="2"/>
                <c:pt idx="0">
                  <c:v>0.3107071055505477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0</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1:$A$63</c:f>
              <c:numCache>
                <c:formatCode>General</c:formatCode>
                <c:ptCount val="3"/>
                <c:pt idx="0">
                  <c:v>0</c:v>
                </c:pt>
                <c:pt idx="1">
                  <c:v>0.31070710555054776</c:v>
                </c:pt>
                <c:pt idx="2">
                  <c:v>0</c:v>
                </c:pt>
              </c:numCache>
            </c:numRef>
          </c:xVal>
          <c:yVal>
            <c:numRef>
              <c:f>Sheet1!$B$61:$B$63</c:f>
              <c:numCache>
                <c:formatCode>General</c:formatCode>
                <c:ptCount val="3"/>
                <c:pt idx="0">
                  <c:v>0</c:v>
                </c:pt>
                <c:pt idx="1">
                  <c:v>0.31070710555054776</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320754716981132"/>
          <c:min val="0.00661157024793388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8</c:f>
              <c:numCache>
                <c:formatCode>General</c:formatCode>
                <c:ptCount val="47"/>
                <c:pt idx="0">
                  <c:v>556.5426</c:v>
                </c:pt>
                <c:pt idx="1">
                  <c:v>549.8131</c:v>
                </c:pt>
                <c:pt idx="2">
                  <c:v>551.9785</c:v>
                </c:pt>
                <c:pt idx="3">
                  <c:v>552.8444</c:v>
                </c:pt>
                <c:pt idx="4">
                  <c:v>545.3247</c:v>
                </c:pt>
                <c:pt idx="5">
                  <c:v>542.32</c:v>
                </c:pt>
                <c:pt idx="6">
                  <c:v>530.8222</c:v>
                </c:pt>
                <c:pt idx="7">
                  <c:v>511.4</c:v>
                </c:pt>
                <c:pt idx="8">
                  <c:v>500.7857</c:v>
                </c:pt>
                <c:pt idx="9">
                  <c:v>515.5676</c:v>
                </c:pt>
                <c:pt idx="10">
                  <c:v>499.4412</c:v>
                </c:pt>
                <c:pt idx="11">
                  <c:v>510.6087</c:v>
                </c:pt>
                <c:pt idx="12">
                  <c:v>482.6</c:v>
                </c:pt>
                <c:pt idx="13">
                  <c:v>483.4375</c:v>
                </c:pt>
                <c:pt idx="14">
                  <c:v>515.0419</c:v>
                </c:pt>
                <c:pt idx="15">
                  <c:v>513.933</c:v>
                </c:pt>
                <c:pt idx="16">
                  <c:v>512.2701</c:v>
                </c:pt>
                <c:pt idx="17">
                  <c:v>514.55</c:v>
                </c:pt>
                <c:pt idx="18">
                  <c:v>505.0769</c:v>
                </c:pt>
                <c:pt idx="19">
                  <c:v>502.4</c:v>
                </c:pt>
                <c:pt idx="20">
                  <c:v>506.5952</c:v>
                </c:pt>
                <c:pt idx="21">
                  <c:v>489.0</c:v>
                </c:pt>
                <c:pt idx="22">
                  <c:v>492.4737</c:v>
                </c:pt>
                <c:pt idx="23">
                  <c:v>491.9412</c:v>
                </c:pt>
                <c:pt idx="24">
                  <c:v>479.4583</c:v>
                </c:pt>
                <c:pt idx="25">
                  <c:v>456.5455</c:v>
                </c:pt>
                <c:pt idx="26">
                  <c:v>459.25</c:v>
                </c:pt>
                <c:pt idx="27">
                  <c:v>481.6667</c:v>
                </c:pt>
                <c:pt idx="28">
                  <c:v>520.8</c:v>
                </c:pt>
                <c:pt idx="29">
                  <c:v>496.0</c:v>
                </c:pt>
                <c:pt idx="30">
                  <c:v>418.5</c:v>
                </c:pt>
                <c:pt idx="31">
                  <c:v>558.0</c:v>
                </c:pt>
                <c:pt idx="32">
                  <c:v>438.4286</c:v>
                </c:pt>
                <c:pt idx="33">
                  <c:v>488.25</c:v>
                </c:pt>
                <c:pt idx="34">
                  <c:v>465.0</c:v>
                </c:pt>
                <c:pt idx="35">
                  <c:v>418.5</c:v>
                </c:pt>
                <c:pt idx="36">
                  <c:v>465.0</c:v>
                </c:pt>
                <c:pt idx="37">
                  <c:v>293.0</c:v>
                </c:pt>
                <c:pt idx="38">
                  <c:v>294.2308</c:v>
                </c:pt>
                <c:pt idx="39">
                  <c:v>234.2</c:v>
                </c:pt>
                <c:pt idx="40">
                  <c:v>306.0</c:v>
                </c:pt>
                <c:pt idx="41">
                  <c:v>229.5</c:v>
                </c:pt>
                <c:pt idx="42">
                  <c:v>229.5</c:v>
                </c:pt>
                <c:pt idx="43">
                  <c:v>153.0</c:v>
                </c:pt>
                <c:pt idx="44">
                  <c:v>221.5</c:v>
                </c:pt>
                <c:pt idx="45">
                  <c:v>153.0</c:v>
                </c:pt>
                <c:pt idx="46">
                  <c:v>153.0</c:v>
                </c:pt>
              </c:numCache>
            </c:numRef>
          </c:xVal>
          <c:yVal>
            <c:numRef>
              <c:f>Sheet1!$B$2:$B$48</c:f>
              <c:numCache>
                <c:formatCode>General</c:formatCode>
                <c:ptCount val="47"/>
                <c:pt idx="0">
                  <c:v>0.3686274509803922</c:v>
                </c:pt>
                <c:pt idx="1">
                  <c:v>0.3835125448028674</c:v>
                </c:pt>
                <c:pt idx="2">
                  <c:v>0.31313131313131315</c:v>
                </c:pt>
                <c:pt idx="3">
                  <c:v>0.30405405405405406</c:v>
                </c:pt>
                <c:pt idx="4">
                  <c:v>0.32489451476793246</c:v>
                </c:pt>
                <c:pt idx="5">
                  <c:v>0.2840909090909091</c:v>
                </c:pt>
                <c:pt idx="6">
                  <c:v>0.2727272727272727</c:v>
                </c:pt>
                <c:pt idx="7">
                  <c:v>0.2795031055900621</c:v>
                </c:pt>
                <c:pt idx="8">
                  <c:v>0.26582278481012656</c:v>
                </c:pt>
                <c:pt idx="9">
                  <c:v>0.20903954802259886</c:v>
                </c:pt>
                <c:pt idx="10">
                  <c:v>0.1878453038674033</c:v>
                </c:pt>
                <c:pt idx="11">
                  <c:v>0.14838709677419354</c:v>
                </c:pt>
                <c:pt idx="12">
                  <c:v>0.1282051282051282</c:v>
                </c:pt>
                <c:pt idx="13">
                  <c:v>0.10457516339869281</c:v>
                </c:pt>
                <c:pt idx="14">
                  <c:v>0.553623188405797</c:v>
                </c:pt>
                <c:pt idx="15">
                  <c:v>0.610062893081761</c:v>
                </c:pt>
                <c:pt idx="16">
                  <c:v>0.5169811320754717</c:v>
                </c:pt>
                <c:pt idx="17">
                  <c:v>0.40609137055837563</c:v>
                </c:pt>
                <c:pt idx="18">
                  <c:v>0.38011695906432746</c:v>
                </c:pt>
                <c:pt idx="19">
                  <c:v>0.2777777777777778</c:v>
                </c:pt>
                <c:pt idx="20">
                  <c:v>0.25609756097560976</c:v>
                </c:pt>
                <c:pt idx="21">
                  <c:v>0.19166666666666668</c:v>
                </c:pt>
                <c:pt idx="22">
                  <c:v>0.18269230769230768</c:v>
                </c:pt>
                <c:pt idx="23">
                  <c:v>0.1717171717171717</c:v>
                </c:pt>
                <c:pt idx="24">
                  <c:v>0.2033898305084746</c:v>
                </c:pt>
                <c:pt idx="25">
                  <c:v>0.12087912087912088</c:v>
                </c:pt>
                <c:pt idx="26">
                  <c:v>0.13043478260869565</c:v>
                </c:pt>
                <c:pt idx="27">
                  <c:v>0.14423076923076922</c:v>
                </c:pt>
                <c:pt idx="28">
                  <c:v>0.1388888888888889</c:v>
                </c:pt>
                <c:pt idx="29">
                  <c:v>0.1111111111111111</c:v>
                </c:pt>
                <c:pt idx="30">
                  <c:v>0.08421052631578947</c:v>
                </c:pt>
                <c:pt idx="31">
                  <c:v>0.06578947368421052</c:v>
                </c:pt>
                <c:pt idx="32">
                  <c:v>0.08433734939759036</c:v>
                </c:pt>
                <c:pt idx="33">
                  <c:v>0.12244897959183673</c:v>
                </c:pt>
                <c:pt idx="34">
                  <c:v>0.06382978723404255</c:v>
                </c:pt>
                <c:pt idx="35">
                  <c:v>0.01904761904761905</c:v>
                </c:pt>
                <c:pt idx="36">
                  <c:v>0.03571428571428571</c:v>
                </c:pt>
                <c:pt idx="37">
                  <c:v>0.1978021978021978</c:v>
                </c:pt>
                <c:pt idx="38">
                  <c:v>0.15294117647058825</c:v>
                </c:pt>
                <c:pt idx="39">
                  <c:v>0.1595744680851064</c:v>
                </c:pt>
                <c:pt idx="40">
                  <c:v>0.010869565217391304</c:v>
                </c:pt>
                <c:pt idx="41">
                  <c:v>0.020202020202020204</c:v>
                </c:pt>
                <c:pt idx="42">
                  <c:v>0.01904761904761905</c:v>
                </c:pt>
                <c:pt idx="43">
                  <c:v>0.009433962264150943</c:v>
                </c:pt>
                <c:pt idx="44">
                  <c:v>0.028169014084507043</c:v>
                </c:pt>
                <c:pt idx="45">
                  <c:v>0.010638297872340425</c:v>
                </c:pt>
                <c:pt idx="46">
                  <c:v>0.008264462809917356</c:v>
                </c:pt>
              </c:numCache>
            </c:numRef>
          </c:yVal>
          <c:smooth val="0"/>
          <c:extLst>
            <c:ext xmlns:c16="http://schemas.microsoft.com/office/drawing/2014/chart" uri="{C3380CC4-5D6E-409C-BE32-E72D297353CC}">
              <c16:uniqueId val="{00000000-F32D-48B7-BC20-E66FC6253BAD}"/>
            </c:ext>
          </c:extLst>
        </c:ser>
        <c:ser>
          <c:idx val="1"/>
          <c:order val="1"/>
          <c:tx>
            <c:strRef>
              <c:f>Sheet1!$B$50</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1:$A$50</c:f>
              <c:numCache>
                <c:formatCode>General</c:formatCode>
                <c:ptCount val="0"/>
              </c:numCache>
            </c:numRef>
          </c:xVal>
          <c:yVal>
            <c:numRef>
              <c:f>Sheet1!$B$51:$B$50</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52</c:f>
              <c:strCache>
                <c:ptCount val="1"/>
                <c:pt idx="0">
                  <c:v>Custom Linep3yQ</c:v>
                </c:pt>
              </c:strCache>
            </c:strRef>
          </c:tx>
          <c:spPr>
            <a:ln w="19050" cap="rnd">
              <a:solidFill>
                <a:srgbClr val="C00000"/>
              </a:solidFill>
              <a:prstDash val="sysDot"/>
              <a:round/>
            </a:ln>
            <a:effectLst/>
          </c:spPr>
          <c:marker>
            <c:symbol val="none"/>
          </c:marker>
          <c:xVal>
            <c:numRef>
              <c:f>Sheet1!$A$53:$A$54</c:f>
              <c:numCache>
                <c:formatCode>General</c:formatCode>
                <c:ptCount val="2"/>
                <c:pt idx="0">
                  <c:v>0</c:v>
                </c:pt>
                <c:pt idx="1">
                  <c:v>0.31070710555054776</c:v>
                </c:pt>
              </c:numCache>
            </c:numRef>
          </c:xVal>
          <c:yVal>
            <c:numRef>
              <c:f>Sheet1!$B$53:$B$54</c:f>
              <c:numCache>
                <c:formatCode>General</c:formatCode>
                <c:ptCount val="2"/>
                <c:pt idx="0">
                  <c:v>0.31070710555054776</c:v>
                </c:pt>
                <c:pt idx="1">
                  <c:v>0.31070710555054776</c:v>
                </c:pt>
              </c:numCache>
            </c:numRef>
          </c:yVal>
          <c:smooth val="0"/>
          <c:extLst>
            <c:ext xmlns:c16="http://schemas.microsoft.com/office/drawing/2014/chart" uri="{C3380CC4-5D6E-409C-BE32-E72D297353CC}">
              <c16:uniqueId val="{00000003-F32D-48B7-BC20-E66FC6253BAD}"/>
            </c:ext>
          </c:extLst>
        </c:ser>
        <c:ser>
          <c:idx val="3"/>
          <c:order val="3"/>
          <c:tx>
            <c:strRef>
              <c:f>Sheet1!$B$5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7:$A$58</c:f>
              <c:numCache>
                <c:formatCode>General</c:formatCode>
                <c:ptCount val="2"/>
                <c:pt idx="0">
                  <c:v>0.31070710555054776</c:v>
                </c:pt>
                <c:pt idx="1">
                  <c:v>0.31070710555054776</c:v>
                </c:pt>
              </c:numCache>
            </c:numRef>
          </c:xVal>
          <c:yVal>
            <c:numRef>
              <c:f>Sheet1!$B$57:$B$58</c:f>
              <c:numCache>
                <c:formatCode>General</c:formatCode>
                <c:ptCount val="2"/>
                <c:pt idx="0">
                  <c:v>0.3107071055505477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0</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1:$A$63</c:f>
              <c:numCache>
                <c:formatCode>General</c:formatCode>
                <c:ptCount val="3"/>
                <c:pt idx="0">
                  <c:v>0</c:v>
                </c:pt>
                <c:pt idx="1">
                  <c:v>0.31070710555054776</c:v>
                </c:pt>
                <c:pt idx="2">
                  <c:v>0</c:v>
                </c:pt>
              </c:numCache>
            </c:numRef>
          </c:xVal>
          <c:yVal>
            <c:numRef>
              <c:f>Sheet1!$B$61:$B$63</c:f>
              <c:numCache>
                <c:formatCode>General</c:formatCode>
                <c:ptCount val="3"/>
                <c:pt idx="0">
                  <c:v>0</c:v>
                </c:pt>
                <c:pt idx="1">
                  <c:v>0.31070710555054776</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320754716981132"/>
          <c:min val="0.00661157024793388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0697704586001976</c:v>
                </c:pt>
                <c:pt idx="1">
                  <c:v>0.3953055570647371</c:v>
                </c:pt>
                <c:pt idx="2">
                  <c:v>0.4827818742363577</c:v>
                </c:pt>
                <c:pt idx="3">
                  <c:v>0.48235485812069895</c:v>
                </c:pt>
                <c:pt idx="4">
                  <c:v>0.45106057681872186</c:v>
                </c:pt>
                <c:pt idx="5">
                  <c:v>0.4758142793937301</c:v>
                </c:pt>
                <c:pt idx="6">
                  <c:v>0.4235861285285464</c:v>
                </c:pt>
                <c:pt idx="7">
                  <c:v>0.403622543024677</c:v>
                </c:pt>
                <c:pt idx="8">
                  <c:v>0.38358188328446585</c:v>
                </c:pt>
                <c:pt idx="9">
                  <c:v>0.40335438794205974</c:v>
                </c:pt>
                <c:pt idx="10">
                  <c:v>0.4290285701136315</c:v>
                </c:pt>
                <c:pt idx="11">
                  <c:v>0.4680244796236419</c:v>
                </c:pt>
                <c:pt idx="12">
                  <c:v>0.5008468159163539</c:v>
                </c:pt>
                <c:pt idx="13">
                  <c:v>0.5053594442976326</c:v>
                </c:pt>
                <c:pt idx="14">
                  <c:v>0.5172374221152392</c:v>
                </c:pt>
                <c:pt idx="15">
                  <c:v>0.5138887603435308</c:v>
                </c:pt>
                <c:pt idx="16">
                  <c:v>0.49428379427984764</c:v>
                </c:pt>
                <c:pt idx="17">
                  <c:v>0.4689378855874888</c:v>
                </c:pt>
                <c:pt idx="18">
                  <c:v>0.46992867058694304</c:v>
                </c:pt>
                <c:pt idx="19">
                  <c:v>0.4597301953201231</c:v>
                </c:pt>
                <c:pt idx="20">
                  <c:v>0.5020757923804986</c:v>
                </c:pt>
                <c:pt idx="21">
                  <c:v>0.46242118868896925</c:v>
                </c:pt>
                <c:pt idx="22">
                  <c:v>0.42354114263858483</c:v>
                </c:pt>
                <c:pt idx="23">
                  <c:v>0.41007259371186344</c:v>
                </c:pt>
                <c:pt idx="24">
                  <c:v>0.40813030392647254</c:v>
                </c:pt>
                <c:pt idx="25">
                  <c:v>0.37968093154645455</c:v>
                </c:pt>
                <c:pt idx="26">
                  <c:v>0.3731905432204047</c:v>
                </c:pt>
                <c:pt idx="27">
                  <c:v>0.39850592373638183</c:v>
                </c:pt>
                <c:pt idx="28">
                  <c:v>0.3976626058869784</c:v>
                </c:pt>
                <c:pt idx="29">
                  <c:v>0.39067468189368565</c:v>
                </c:pt>
                <c:pt idx="30">
                  <c:v>0.37819401891211835</c:v>
                </c:pt>
                <c:pt idx="31">
                  <c:v>0.37974389314200796</c:v>
                </c:pt>
                <c:pt idx="32">
                  <c:v>0.36711990585141385</c:v>
                </c:pt>
                <c:pt idx="33">
                  <c:v>0.381263878263526</c:v>
                </c:pt>
                <c:pt idx="34">
                  <c:v>0.38898666429713696</c:v>
                </c:pt>
                <c:pt idx="35">
                  <c:v>0.42021100493734836</c:v>
                </c:pt>
                <c:pt idx="36">
                  <c:v>0.4621889131796824</c:v>
                </c:pt>
                <c:pt idx="37">
                  <c:v>0.43817609573829075</c:v>
                </c:pt>
                <c:pt idx="38">
                  <c:v>0.45800949895733717</c:v>
                </c:pt>
                <c:pt idx="39">
                  <c:v>0.4649750740703344</c:v>
                </c:pt>
                <c:pt idx="40">
                  <c:v>0.4634431762627034</c:v>
                </c:pt>
                <c:pt idx="41">
                  <c:v>0.45676615245110963</c:v>
                </c:pt>
                <c:pt idx="42">
                  <c:v>0.4785807984810618</c:v>
                </c:pt>
                <c:pt idx="43">
                  <c:v>0.4762814085888855</c:v>
                </c:pt>
                <c:pt idx="44">
                  <c:v>0.4737837087449597</c:v>
                </c:pt>
                <c:pt idx="45">
                  <c:v>0.48192694832440236</c:v>
                </c:pt>
                <c:pt idx="46">
                  <c:v>0.48659808471585797</c:v>
                </c:pt>
                <c:pt idx="47">
                  <c:v>0.47042692221017246</c:v>
                </c:pt>
                <c:pt idx="48">
                  <c:v>0.4931620426355724</c:v>
                </c:pt>
                <c:pt idx="49">
                  <c:v>0.5367864794414249</c:v>
                </c:pt>
                <c:pt idx="50">
                  <c:v>0.4621275482519919</c:v>
                </c:pt>
                <c:pt idx="51">
                  <c:v>0.46047438045323896</c:v>
                </c:pt>
                <c:pt idx="52">
                  <c:v>0.4822956768241682</c:v>
                </c:pt>
                <c:pt idx="53">
                  <c:v>0.46086968901215936</c:v>
                </c:pt>
                <c:pt idx="54">
                  <c:v>0.4317741552325538</c:v>
                </c:pt>
                <c:pt idx="55">
                  <c:v>0.43183973265644127</c:v>
                </c:pt>
                <c:pt idx="56">
                  <c:v>0.4337086211714268</c:v>
                </c:pt>
                <c:pt idx="57">
                  <c:v>0.45071191042458086</c:v>
                </c:pt>
                <c:pt idx="58">
                  <c:v>0.4073200736307425</c:v>
                </c:pt>
                <c:pt idx="59">
                  <c:v>0.42172142678836205</c:v>
                </c:pt>
                <c:pt idx="60">
                  <c:v>0.40954155273905146</c:v>
                </c:pt>
                <c:pt idx="61">
                  <c:v>0.4125618156691324</c:v>
                </c:pt>
                <c:pt idx="62">
                  <c:v>0.3929079309318798</c:v>
                </c:pt>
                <c:pt idx="63">
                  <c:v>0.3930810250916363</c:v>
                </c:pt>
                <c:pt idx="64">
                  <c:v>0.40953996455418684</c:v>
                </c:pt>
                <c:pt idx="65">
                  <c:v>0.4638420589791857</c:v>
                </c:pt>
                <c:pt idx="66">
                  <c:v>0.4780619259794943</c:v>
                </c:pt>
                <c:pt idx="67">
                  <c:v>0.5007172410476722</c:v>
                </c:pt>
                <c:pt idx="68">
                  <c:v>0.5059213896646091</c:v>
                </c:pt>
                <c:pt idx="69">
                  <c:v>0.5067498336745526</c:v>
                </c:pt>
                <c:pt idx="70">
                  <c:v>0.4882345744840892</c:v>
                </c:pt>
                <c:pt idx="71">
                  <c:v>0.482570357202844</c:v>
                </c:pt>
                <c:pt idx="72">
                  <c:v>0.5053322553480062</c:v>
                </c:pt>
                <c:pt idx="73">
                  <c:v>0.49303986038623465</c:v>
                </c:pt>
                <c:pt idx="74">
                  <c:v>0.48158272329072493</c:v>
                </c:pt>
                <c:pt idx="75">
                  <c:v>0.45698859580271</c:v>
                </c:pt>
                <c:pt idx="76">
                  <c:v>0.45113795079701974</c:v>
                </c:pt>
                <c:pt idx="77">
                  <c:v>0.4539128994859996</c:v>
                </c:pt>
                <c:pt idx="78">
                  <c:v>0.465875324584962</c:v>
                </c:pt>
                <c:pt idx="79">
                  <c:v>0.4692722738166859</c:v>
                </c:pt>
                <c:pt idx="80">
                  <c:v>0.4878184318024246</c:v>
                </c:pt>
                <c:pt idx="81">
                  <c:v>0.5092091054399068</c:v>
                </c:pt>
                <c:pt idx="82">
                  <c:v>0.48952289827338763</c:v>
                </c:pt>
                <c:pt idx="83">
                  <c:v>0.4614555355258515</c:v>
                </c:pt>
                <c:pt idx="84">
                  <c:v>0.467517529878293</c:v>
                </c:pt>
                <c:pt idx="85">
                  <c:v>0.4592680168314906</c:v>
                </c:pt>
                <c:pt idx="86">
                  <c:v>0.465976927498438</c:v>
                </c:pt>
                <c:pt idx="87">
                  <c:v>0.48432204803010837</c:v>
                </c:pt>
                <c:pt idx="88">
                  <c:v>0.4573792312891852</c:v>
                </c:pt>
                <c:pt idx="89">
                  <c:v>0.4310701589405456</c:v>
                </c:pt>
                <c:pt idx="90">
                  <c:v>0.4552037095790945</c:v>
                </c:pt>
                <c:pt idx="91">
                  <c:v>0.4866770920041731</c:v>
                </c:pt>
                <c:pt idx="92">
                  <c:v>0.4797899542159686</c:v>
                </c:pt>
                <c:pt idx="93">
                  <c:v>0.5081480532726406</c:v>
                </c:pt>
                <c:pt idx="94">
                  <c:v>0.5093586829798109</c:v>
                </c:pt>
                <c:pt idx="95">
                  <c:v>0.5298098064098984</c:v>
                </c:pt>
                <c:pt idx="96">
                  <c:v>0.5400564804377591</c:v>
                </c:pt>
                <c:pt idx="97">
                  <c:v>0.5688216257133322</c:v>
                </c:pt>
                <c:pt idx="98">
                  <c:v>0.5830938774755964</c:v>
                </c:pt>
                <c:pt idx="99">
                  <c:v>0.5636247045456395</c:v>
                </c:pt>
                <c:pt idx="100">
                  <c:v>0.572679061419107</c:v>
                </c:pt>
                <c:pt idx="101">
                  <c:v>0.5153786128803265</c:v>
                </c:pt>
                <c:pt idx="102">
                  <c:v>0.5046290002951508</c:v>
                </c:pt>
                <c:pt idx="103">
                  <c:v>0.5149210434108767</c:v>
                </c:pt>
                <c:pt idx="104">
                  <c:v>0.5029697054246498</c:v>
                </c:pt>
              </c:numCache>
            </c:numRef>
          </c:xVal>
          <c:yVal>
            <c:numRef>
              <c:f>Sheet1!$B$2:$B$106</c:f>
              <c:numCache>
                <c:formatCode>General</c:formatCode>
                <c:ptCount val="105"/>
                <c:pt idx="0">
                  <c:v>0.14163554157656771</c:v>
                </c:pt>
                <c:pt idx="1">
                  <c:v>0.1250515463917526</c:v>
                </c:pt>
                <c:pt idx="2">
                  <c:v>0.12751433512332758</c:v>
                </c:pt>
                <c:pt idx="3">
                  <c:v>0.12668172444269862</c:v>
                </c:pt>
                <c:pt idx="4">
                  <c:v>0.12281565345803594</c:v>
                </c:pt>
                <c:pt idx="5">
                  <c:v>0.14012161987320482</c:v>
                </c:pt>
                <c:pt idx="6">
                  <c:v>0.1696271186440678</c:v>
                </c:pt>
                <c:pt idx="7">
                  <c:v>0.18247813892097015</c:v>
                </c:pt>
                <c:pt idx="8">
                  <c:v>0.1789798511526593</c:v>
                </c:pt>
                <c:pt idx="9">
                  <c:v>0.15191965420798373</c:v>
                </c:pt>
                <c:pt idx="10">
                  <c:v>0.1666872148933547</c:v>
                </c:pt>
                <c:pt idx="11">
                  <c:v>0.15078778926637124</c:v>
                </c:pt>
                <c:pt idx="12">
                  <c:v>0.13318385650224215</c:v>
                </c:pt>
                <c:pt idx="13">
                  <c:v>0.12108813446864979</c:v>
                </c:pt>
                <c:pt idx="14">
                  <c:v>0.09653465346534654</c:v>
                </c:pt>
                <c:pt idx="15">
                  <c:v>0.08507179626117584</c:v>
                </c:pt>
                <c:pt idx="16">
                  <c:v>0.08976179208076984</c:v>
                </c:pt>
                <c:pt idx="17">
                  <c:v>0.08260869565217391</c:v>
                </c:pt>
                <c:pt idx="18">
                  <c:v>0.07696457471677756</c:v>
                </c:pt>
                <c:pt idx="19">
                  <c:v>0.07254775702940545</c:v>
                </c:pt>
                <c:pt idx="20">
                  <c:v>0.06646997570288095</c:v>
                </c:pt>
                <c:pt idx="21">
                  <c:v>0.06817677104152788</c:v>
                </c:pt>
                <c:pt idx="22">
                  <c:v>0.0822879013395705</c:v>
                </c:pt>
                <c:pt idx="23">
                  <c:v>0.09319727891156462</c:v>
                </c:pt>
                <c:pt idx="24">
                  <c:v>0.09057527539779682</c:v>
                </c:pt>
                <c:pt idx="25">
                  <c:v>0.1037037037037037</c:v>
                </c:pt>
                <c:pt idx="26">
                  <c:v>0.12445464982778416</c:v>
                </c:pt>
                <c:pt idx="27">
                  <c:v>0.12218579234972678</c:v>
                </c:pt>
                <c:pt idx="28">
                  <c:v>0.16037534655576882</c:v>
                </c:pt>
                <c:pt idx="29">
                  <c:v>0.15294771968854282</c:v>
                </c:pt>
                <c:pt idx="30">
                  <c:v>0.1438423645320197</c:v>
                </c:pt>
                <c:pt idx="31">
                  <c:v>0.16059067835717583</c:v>
                </c:pt>
                <c:pt idx="32">
                  <c:v>0.17548932384341637</c:v>
                </c:pt>
                <c:pt idx="33">
                  <c:v>0.16313887454827053</c:v>
                </c:pt>
                <c:pt idx="34">
                  <c:v>0.16279442397051755</c:v>
                </c:pt>
                <c:pt idx="35">
                  <c:v>0.1569269128876422</c:v>
                </c:pt>
                <c:pt idx="36">
                  <c:v>0.13662436989396837</c:v>
                </c:pt>
                <c:pt idx="37">
                  <c:v>0.1353484790142472</c:v>
                </c:pt>
                <c:pt idx="38">
                  <c:v>0.13179794851945037</c:v>
                </c:pt>
                <c:pt idx="39">
                  <c:v>0.1223595057791949</c:v>
                </c:pt>
                <c:pt idx="40">
                  <c:v>0.12189616252821671</c:v>
                </c:pt>
                <c:pt idx="41">
                  <c:v>0.12644686075061382</c:v>
                </c:pt>
                <c:pt idx="42">
                  <c:v>0.1215926493108729</c:v>
                </c:pt>
                <c:pt idx="43">
                  <c:v>0.11488944864259726</c:v>
                </c:pt>
                <c:pt idx="44">
                  <c:v>0.12874056120070848</c:v>
                </c:pt>
                <c:pt idx="45">
                  <c:v>0.1531594608786977</c:v>
                </c:pt>
                <c:pt idx="46">
                  <c:v>0.15876995069775215</c:v>
                </c:pt>
                <c:pt idx="47">
                  <c:v>0.1564378227376619</c:v>
                </c:pt>
                <c:pt idx="48">
                  <c:v>0.15073094867807155</c:v>
                </c:pt>
                <c:pt idx="49">
                  <c:v>0.15255923313438235</c:v>
                </c:pt>
                <c:pt idx="50">
                  <c:v>0.1529775997086141</c:v>
                </c:pt>
                <c:pt idx="51">
                  <c:v>0.14106753812636166</c:v>
                </c:pt>
                <c:pt idx="52">
                  <c:v>0.1386390478786227</c:v>
                </c:pt>
                <c:pt idx="53">
                  <c:v>0.12826158758119563</c:v>
                </c:pt>
                <c:pt idx="54">
                  <c:v>0.13059921995036047</c:v>
                </c:pt>
                <c:pt idx="55">
                  <c:v>0.12580954665387384</c:v>
                </c:pt>
                <c:pt idx="56">
                  <c:v>0.12915313514863852</c:v>
                </c:pt>
                <c:pt idx="57">
                  <c:v>0.1269622401357658</c:v>
                </c:pt>
                <c:pt idx="58">
                  <c:v>0.1528197644115501</c:v>
                </c:pt>
                <c:pt idx="59">
                  <c:v>0.13807725435632412</c:v>
                </c:pt>
                <c:pt idx="60">
                  <c:v>0.14190755912814965</c:v>
                </c:pt>
                <c:pt idx="61">
                  <c:v>0.1562639821029083</c:v>
                </c:pt>
                <c:pt idx="62">
                  <c:v>0.17758022549869903</c:v>
                </c:pt>
                <c:pt idx="63">
                  <c:v>0.18087082129591417</c:v>
                </c:pt>
                <c:pt idx="64">
                  <c:v>0.17451044033322513</c:v>
                </c:pt>
                <c:pt idx="65">
                  <c:v>0.16851195748449957</c:v>
                </c:pt>
                <c:pt idx="66">
                  <c:v>0.1676754091010984</c:v>
                </c:pt>
                <c:pt idx="67">
                  <c:v>0.1579381929700401</c:v>
                </c:pt>
                <c:pt idx="68">
                  <c:v>0.14289547833087346</c:v>
                </c:pt>
                <c:pt idx="69">
                  <c:v>0.13320825515947468</c:v>
                </c:pt>
                <c:pt idx="70">
                  <c:v>0.13493589743589743</c:v>
                </c:pt>
                <c:pt idx="71">
                  <c:v>0.13415726312018628</c:v>
                </c:pt>
                <c:pt idx="72">
                  <c:v>0.12701921441931643</c:v>
                </c:pt>
                <c:pt idx="73">
                  <c:v>0.1339546783625731</c:v>
                </c:pt>
                <c:pt idx="74">
                  <c:v>0.13998979418268412</c:v>
                </c:pt>
                <c:pt idx="75">
                  <c:v>0.15561959654178675</c:v>
                </c:pt>
                <c:pt idx="76">
                  <c:v>0.16498464238701185</c:v>
                </c:pt>
                <c:pt idx="77">
                  <c:v>0.15454134658834162</c:v>
                </c:pt>
                <c:pt idx="78">
                  <c:v>0.16553398058252428</c:v>
                </c:pt>
                <c:pt idx="79">
                  <c:v>0.14758380496299522</c:v>
                </c:pt>
                <c:pt idx="80">
                  <c:v>0.1394845137535196</c:v>
                </c:pt>
                <c:pt idx="81">
                  <c:v>0.14211469534050178</c:v>
                </c:pt>
                <c:pt idx="82">
                  <c:v>0.14853358561967833</c:v>
                </c:pt>
                <c:pt idx="83">
                  <c:v>0.14887063655030802</c:v>
                </c:pt>
                <c:pt idx="84">
                  <c:v>0.14924980257962622</c:v>
                </c:pt>
                <c:pt idx="85">
                  <c:v>0.1578826237054085</c:v>
                </c:pt>
                <c:pt idx="86">
                  <c:v>0.17418677859391396</c:v>
                </c:pt>
                <c:pt idx="87">
                  <c:v>0.1725151253241141</c:v>
                </c:pt>
                <c:pt idx="88">
                  <c:v>0.16112700858463572</c:v>
                </c:pt>
                <c:pt idx="89">
                  <c:v>0.18039673278879814</c:v>
                </c:pt>
                <c:pt idx="90">
                  <c:v>0.1560317842523477</c:v>
                </c:pt>
                <c:pt idx="91">
                  <c:v>0.1484988452655889</c:v>
                </c:pt>
                <c:pt idx="92">
                  <c:v>0.15676782722025692</c:v>
                </c:pt>
                <c:pt idx="93">
                  <c:v>0.15562431743720423</c:v>
                </c:pt>
                <c:pt idx="94">
                  <c:v>0.15969024696525744</c:v>
                </c:pt>
                <c:pt idx="95">
                  <c:v>0.1585923217550274</c:v>
                </c:pt>
                <c:pt idx="96">
                  <c:v>0.15127545975875026</c:v>
                </c:pt>
                <c:pt idx="97">
                  <c:v>0.1533891439373481</c:v>
                </c:pt>
                <c:pt idx="98">
                  <c:v>0.14894786432160803</c:v>
                </c:pt>
                <c:pt idx="99">
                  <c:v>0.1511102247041617</c:v>
                </c:pt>
                <c:pt idx="100">
                  <c:v>0.15323639301221853</c:v>
                </c:pt>
                <c:pt idx="101">
                  <c:v>0.15513869132290184</c:v>
                </c:pt>
                <c:pt idx="102">
                  <c:v>0.15776112185686653</c:v>
                </c:pt>
                <c:pt idx="103">
                  <c:v>0.15422612513721184</c:v>
                </c:pt>
                <c:pt idx="104">
                  <c:v>0.152528872958980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9783502321738154</c:v>
                </c:pt>
                <c:pt idx="1">
                  <c:v>0.4832268803026377</c:v>
                </c:pt>
                <c:pt idx="2">
                  <c:v>0.48964347577961675</c:v>
                </c:pt>
                <c:pt idx="3">
                  <c:v>0.4402599729968783</c:v>
                </c:pt>
                <c:pt idx="4">
                  <c:v>0.46702789348920365</c:v>
                </c:pt>
                <c:pt idx="5">
                  <c:v>0.48312773025070194</c:v>
                </c:pt>
                <c:pt idx="6">
                  <c:v>0.5039962244542079</c:v>
                </c:pt>
                <c:pt idx="7">
                  <c:v>0.4736459535607782</c:v>
                </c:pt>
                <c:pt idx="8">
                  <c:v>0.5028611920202225</c:v>
                </c:pt>
                <c:pt idx="9">
                  <c:v>0.4976470630515227</c:v>
                </c:pt>
                <c:pt idx="10">
                  <c:v>0.4896530003309487</c:v>
                </c:pt>
                <c:pt idx="11">
                  <c:v>0.4861014498535397</c:v>
                </c:pt>
                <c:pt idx="12">
                  <c:v>0.48665007825861567</c:v>
                </c:pt>
                <c:pt idx="13">
                  <c:v>0.4648986751747814</c:v>
                </c:pt>
                <c:pt idx="14">
                  <c:v>0.45868574478220864</c:v>
                </c:pt>
                <c:pt idx="15">
                  <c:v>0.4556688882994169</c:v>
                </c:pt>
                <c:pt idx="16">
                  <c:v>0.46509579973384974</c:v>
                </c:pt>
                <c:pt idx="17">
                  <c:v>0.41091229323171413</c:v>
                </c:pt>
                <c:pt idx="18">
                  <c:v>0.44366712758859456</c:v>
                </c:pt>
                <c:pt idx="19">
                  <c:v>0.4892678647299589</c:v>
                </c:pt>
                <c:pt idx="20">
                  <c:v>0.46889312551988227</c:v>
                </c:pt>
                <c:pt idx="21">
                  <c:v>0.4521076987404042</c:v>
                </c:pt>
                <c:pt idx="22">
                  <c:v>0.44231953513673467</c:v>
                </c:pt>
                <c:pt idx="23">
                  <c:v>0.4484928338557941</c:v>
                </c:pt>
                <c:pt idx="24">
                  <c:v>0.4523159729232586</c:v>
                </c:pt>
                <c:pt idx="25">
                  <c:v>0.4617212768854849</c:v>
                </c:pt>
                <c:pt idx="26">
                  <c:v>0.44170344385929283</c:v>
                </c:pt>
                <c:pt idx="27">
                  <c:v>0.45676798410114344</c:v>
                </c:pt>
                <c:pt idx="28">
                  <c:v>0.46941079826559523</c:v>
                </c:pt>
                <c:pt idx="29">
                  <c:v>0.43205259482778224</c:v>
                </c:pt>
                <c:pt idx="30">
                  <c:v>0.44592253496646633</c:v>
                </c:pt>
                <c:pt idx="31">
                  <c:v>0.46560538698779336</c:v>
                </c:pt>
                <c:pt idx="32">
                  <c:v>0.46377211543748026</c:v>
                </c:pt>
                <c:pt idx="33">
                  <c:v>0.4727521692002975</c:v>
                </c:pt>
                <c:pt idx="34">
                  <c:v>0.4889161660109724</c:v>
                </c:pt>
                <c:pt idx="35">
                  <c:v>0.47958678021542633</c:v>
                </c:pt>
                <c:pt idx="36">
                  <c:v>0.44040494928090507</c:v>
                </c:pt>
                <c:pt idx="37">
                  <c:v>0.4346027472245967</c:v>
                </c:pt>
                <c:pt idx="38">
                  <c:v>0.4449608567453255</c:v>
                </c:pt>
                <c:pt idx="39">
                  <c:v>0.4748478352959018</c:v>
                </c:pt>
                <c:pt idx="40">
                  <c:v>0.48564897714097277</c:v>
                </c:pt>
                <c:pt idx="41">
                  <c:v>0.49209239625424545</c:v>
                </c:pt>
                <c:pt idx="42">
                  <c:v>0.4806438421961659</c:v>
                </c:pt>
                <c:pt idx="43">
                  <c:v>0.5499910750284288</c:v>
                </c:pt>
                <c:pt idx="44">
                  <c:v>0.5932389305708866</c:v>
                </c:pt>
                <c:pt idx="45">
                  <c:v>0.6077835221412312</c:v>
                </c:pt>
                <c:pt idx="46">
                  <c:v>0.5669147180002978</c:v>
                </c:pt>
                <c:pt idx="47">
                  <c:v>0.575084774120543</c:v>
                </c:pt>
                <c:pt idx="48">
                  <c:v>0.6132293706221089</c:v>
                </c:pt>
                <c:pt idx="49">
                  <c:v>0.6400455110048994</c:v>
                </c:pt>
                <c:pt idx="50">
                  <c:v>0.6545088643820971</c:v>
                </c:pt>
                <c:pt idx="51">
                  <c:v>0.6053391573753063</c:v>
                </c:pt>
              </c:numCache>
            </c:numRef>
          </c:xVal>
          <c:yVal>
            <c:numRef>
              <c:f>Sheet1!$B$109:$B$160</c:f>
              <c:numCache>
                <c:formatCode>General</c:formatCode>
                <c:ptCount val="52"/>
                <c:pt idx="0">
                  <c:v>0.1536774044567602</c:v>
                </c:pt>
                <c:pt idx="1">
                  <c:v>0.151123046875</c:v>
                </c:pt>
                <c:pt idx="2">
                  <c:v>0.17841079460269865</c:v>
                </c:pt>
                <c:pt idx="3">
                  <c:v>0.20530098831985624</c:v>
                </c:pt>
                <c:pt idx="4">
                  <c:v>0.17649790989317232</c:v>
                </c:pt>
                <c:pt idx="5">
                  <c:v>0.18107392246568746</c:v>
                </c:pt>
                <c:pt idx="6">
                  <c:v>0.2081946755407654</c:v>
                </c:pt>
                <c:pt idx="7">
                  <c:v>0.22451888809693513</c:v>
                </c:pt>
                <c:pt idx="8">
                  <c:v>0.1910931174089069</c:v>
                </c:pt>
                <c:pt idx="9">
                  <c:v>0.19284149013878743</c:v>
                </c:pt>
                <c:pt idx="10">
                  <c:v>0.2099576580522704</c:v>
                </c:pt>
                <c:pt idx="11">
                  <c:v>0.19953912223735204</c:v>
                </c:pt>
                <c:pt idx="12">
                  <c:v>0.1943785134291068</c:v>
                </c:pt>
                <c:pt idx="13">
                  <c:v>0.18854509545753786</c:v>
                </c:pt>
                <c:pt idx="14">
                  <c:v>0.19723233794610343</c:v>
                </c:pt>
                <c:pt idx="15">
                  <c:v>0.18796992481203006</c:v>
                </c:pt>
                <c:pt idx="16">
                  <c:v>0.18683839096683133</c:v>
                </c:pt>
                <c:pt idx="17">
                  <c:v>0.21081376297105406</c:v>
                </c:pt>
                <c:pt idx="18">
                  <c:v>0.18598779718072797</c:v>
                </c:pt>
                <c:pt idx="19">
                  <c:v>0.1615177275554634</c:v>
                </c:pt>
                <c:pt idx="20">
                  <c:v>0.15236818588025022</c:v>
                </c:pt>
                <c:pt idx="21">
                  <c:v>0.1649957032368949</c:v>
                </c:pt>
                <c:pt idx="22">
                  <c:v>0.17030201342281878</c:v>
                </c:pt>
                <c:pt idx="23">
                  <c:v>0.17312814442142646</c:v>
                </c:pt>
                <c:pt idx="24">
                  <c:v>0.1747290510177108</c:v>
                </c:pt>
                <c:pt idx="25">
                  <c:v>0.18630527817403708</c:v>
                </c:pt>
                <c:pt idx="26">
                  <c:v>0.17228648781688408</c:v>
                </c:pt>
                <c:pt idx="27">
                  <c:v>0.17630057803468208</c:v>
                </c:pt>
                <c:pt idx="28">
                  <c:v>0.16915113871635612</c:v>
                </c:pt>
                <c:pt idx="29">
                  <c:v>0.1754254254254254</c:v>
                </c:pt>
                <c:pt idx="30">
                  <c:v>0.17612323491655968</c:v>
                </c:pt>
                <c:pt idx="31">
                  <c:v>0.17221494102228047</c:v>
                </c:pt>
                <c:pt idx="32">
                  <c:v>0.17115251897860592</c:v>
                </c:pt>
                <c:pt idx="33">
                  <c:v>0.19745461351300767</c:v>
                </c:pt>
                <c:pt idx="34">
                  <c:v>0.21060335013823386</c:v>
                </c:pt>
                <c:pt idx="35">
                  <c:v>0.20055932880543348</c:v>
                </c:pt>
                <c:pt idx="36">
                  <c:v>0.1940652818991098</c:v>
                </c:pt>
                <c:pt idx="37">
                  <c:v>0.18773135906927552</c:v>
                </c:pt>
                <c:pt idx="38">
                  <c:v>0.18181818181818182</c:v>
                </c:pt>
                <c:pt idx="39">
                  <c:v>0.1794871794871795</c:v>
                </c:pt>
                <c:pt idx="40">
                  <c:v>0.16887486855941114</c:v>
                </c:pt>
                <c:pt idx="41">
                  <c:v>0.1781150159744409</c:v>
                </c:pt>
                <c:pt idx="42">
                  <c:v>0.17142215232532015</c:v>
                </c:pt>
                <c:pt idx="43">
                  <c:v>0.15548970679975047</c:v>
                </c:pt>
                <c:pt idx="44">
                  <c:v>0.15451819011605164</c:v>
                </c:pt>
                <c:pt idx="45">
                  <c:v>0.1724002358954197</c:v>
                </c:pt>
                <c:pt idx="46">
                  <c:v>0.20424094139578236</c:v>
                </c:pt>
                <c:pt idx="47">
                  <c:v>0.1982805528349113</c:v>
                </c:pt>
                <c:pt idx="48">
                  <c:v>0.19576479142052167</c:v>
                </c:pt>
                <c:pt idx="49">
                  <c:v>0.2023936170212766</c:v>
                </c:pt>
                <c:pt idx="50">
                  <c:v>0.1888550333997422</c:v>
                </c:pt>
                <c:pt idx="51">
                  <c:v>0.1839577836411609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1804587742730457</c:v>
                </c:pt>
              </c:numCache>
            </c:numRef>
          </c:xVal>
          <c:yVal>
            <c:numRef>
              <c:f>Sheet1!$B$163:$B$164</c:f>
              <c:numCache>
                <c:formatCode>General</c:formatCode>
                <c:ptCount val="2"/>
                <c:pt idx="0">
                  <c:v>0.19274280637067534</c:v>
                </c:pt>
                <c:pt idx="1">
                  <c:v>0.1927428063706753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1804587742730457</c:v>
                </c:pt>
                <c:pt idx="1">
                  <c:v>1.1804587742730457</c:v>
                </c:pt>
              </c:numCache>
            </c:numRef>
          </c:xVal>
          <c:yVal>
            <c:numRef>
              <c:f>Sheet1!$B$167:$B$168</c:f>
              <c:numCache>
                <c:formatCode>General</c:formatCode>
                <c:ptCount val="2"/>
                <c:pt idx="0">
                  <c:v>0.192742806370675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1804587742730457</c:v>
                </c:pt>
              </c:numCache>
            </c:numRef>
          </c:xVal>
          <c:yVal>
            <c:numRef>
              <c:f>Sheet1!$B$171:$B$172</c:f>
              <c:numCache>
                <c:formatCode>General</c:formatCode>
                <c:ptCount val="2"/>
                <c:pt idx="0">
                  <c:v>0.19274280637067534</c:v>
                </c:pt>
                <c:pt idx="1">
                  <c:v>0.1927428063706753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1804587742730457</c:v>
                </c:pt>
                <c:pt idx="1">
                  <c:v>1.1804587742730457</c:v>
                </c:pt>
              </c:numCache>
            </c:numRef>
          </c:xVal>
          <c:yVal>
            <c:numRef>
              <c:f>Sheet1!$B$175:$B$176</c:f>
              <c:numCache>
                <c:formatCode>General</c:formatCode>
                <c:ptCount val="2"/>
                <c:pt idx="0">
                  <c:v>0.192742806370675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3007508616684024</c:v>
                </c:pt>
              </c:numCache>
            </c:numRef>
          </c:xVal>
          <c:yVal>
            <c:numRef>
              <c:f>Sheet1!$B$179:$B$180</c:f>
              <c:numCache>
                <c:formatCode>General</c:formatCode>
                <c:ptCount val="2"/>
                <c:pt idx="0">
                  <c:v>0.18106154375930528</c:v>
                </c:pt>
                <c:pt idx="1">
                  <c:v>0.1810615437593052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3007508616684024</c:v>
                </c:pt>
                <c:pt idx="1">
                  <c:v>0.3007508616684024</c:v>
                </c:pt>
              </c:numCache>
            </c:numRef>
          </c:xVal>
          <c:yVal>
            <c:numRef>
              <c:f>Sheet1!$B$183:$B$184</c:f>
              <c:numCache>
                <c:formatCode>General</c:formatCode>
                <c:ptCount val="2"/>
                <c:pt idx="0">
                  <c:v>0.1810615437593052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9783502321738154</c:v>
                </c:pt>
                <c:pt idx="1">
                  <c:v>0.4832268803026377</c:v>
                </c:pt>
                <c:pt idx="2">
                  <c:v>0.48964347577961675</c:v>
                </c:pt>
                <c:pt idx="3">
                  <c:v>0.4402599729968783</c:v>
                </c:pt>
                <c:pt idx="4">
                  <c:v>0.46702789348920365</c:v>
                </c:pt>
                <c:pt idx="5">
                  <c:v>0.48312773025070194</c:v>
                </c:pt>
                <c:pt idx="6">
                  <c:v>0.5039962244542079</c:v>
                </c:pt>
                <c:pt idx="7">
                  <c:v>0.4736459535607782</c:v>
                </c:pt>
                <c:pt idx="8">
                  <c:v>0.5028611920202225</c:v>
                </c:pt>
                <c:pt idx="9">
                  <c:v>0.4976470630515227</c:v>
                </c:pt>
                <c:pt idx="10">
                  <c:v>0.4896530003309487</c:v>
                </c:pt>
                <c:pt idx="11">
                  <c:v>0.4861014498535397</c:v>
                </c:pt>
                <c:pt idx="12">
                  <c:v>0.48665007825861567</c:v>
                </c:pt>
                <c:pt idx="13">
                  <c:v>0.4648986751747814</c:v>
                </c:pt>
                <c:pt idx="14">
                  <c:v>0.45868574478220864</c:v>
                </c:pt>
                <c:pt idx="15">
                  <c:v>0.4556688882994169</c:v>
                </c:pt>
                <c:pt idx="16">
                  <c:v>0.46509579973384974</c:v>
                </c:pt>
                <c:pt idx="17">
                  <c:v>0.41091229323171413</c:v>
                </c:pt>
                <c:pt idx="18">
                  <c:v>0.44366712758859456</c:v>
                </c:pt>
                <c:pt idx="19">
                  <c:v>0.4892678647299589</c:v>
                </c:pt>
                <c:pt idx="20">
                  <c:v>0.46889312551988227</c:v>
                </c:pt>
                <c:pt idx="21">
                  <c:v>0.4521076987404042</c:v>
                </c:pt>
                <c:pt idx="22">
                  <c:v>0.44231953513673467</c:v>
                </c:pt>
                <c:pt idx="23">
                  <c:v>0.4484928338557941</c:v>
                </c:pt>
                <c:pt idx="24">
                  <c:v>0.4523159729232586</c:v>
                </c:pt>
                <c:pt idx="25">
                  <c:v>0.4617212768854849</c:v>
                </c:pt>
                <c:pt idx="26">
                  <c:v>0.44170344385929283</c:v>
                </c:pt>
                <c:pt idx="27">
                  <c:v>0.45676798410114344</c:v>
                </c:pt>
                <c:pt idx="28">
                  <c:v>0.46941079826559523</c:v>
                </c:pt>
                <c:pt idx="29">
                  <c:v>0.43205259482778224</c:v>
                </c:pt>
                <c:pt idx="30">
                  <c:v>0.44592253496646633</c:v>
                </c:pt>
                <c:pt idx="31">
                  <c:v>0.46560538698779336</c:v>
                </c:pt>
                <c:pt idx="32">
                  <c:v>0.46377211543748026</c:v>
                </c:pt>
                <c:pt idx="33">
                  <c:v>0.4727521692002975</c:v>
                </c:pt>
                <c:pt idx="34">
                  <c:v>0.4889161660109724</c:v>
                </c:pt>
                <c:pt idx="35">
                  <c:v>0.47958678021542633</c:v>
                </c:pt>
                <c:pt idx="36">
                  <c:v>0.44040494928090507</c:v>
                </c:pt>
                <c:pt idx="37">
                  <c:v>0.4346027472245967</c:v>
                </c:pt>
                <c:pt idx="38">
                  <c:v>0.4449608567453255</c:v>
                </c:pt>
                <c:pt idx="39">
                  <c:v>0.4748478352959018</c:v>
                </c:pt>
                <c:pt idx="40">
                  <c:v>0.48564897714097277</c:v>
                </c:pt>
                <c:pt idx="41">
                  <c:v>0.49209239625424545</c:v>
                </c:pt>
                <c:pt idx="42">
                  <c:v>0.4806438421961659</c:v>
                </c:pt>
                <c:pt idx="43">
                  <c:v>0.5499910750284288</c:v>
                </c:pt>
                <c:pt idx="44">
                  <c:v>0.5932389305708866</c:v>
                </c:pt>
                <c:pt idx="45">
                  <c:v>0.6077835221412312</c:v>
                </c:pt>
                <c:pt idx="46">
                  <c:v>0.5669147180002978</c:v>
                </c:pt>
                <c:pt idx="47">
                  <c:v>0.575084774120543</c:v>
                </c:pt>
                <c:pt idx="48">
                  <c:v>0.6132293706221089</c:v>
                </c:pt>
                <c:pt idx="49">
                  <c:v>0.6400455110048994</c:v>
                </c:pt>
                <c:pt idx="50">
                  <c:v>0.6545088643820971</c:v>
                </c:pt>
                <c:pt idx="51">
                  <c:v>0.6053391573753063</c:v>
                </c:pt>
                <c:pt idx="52">
                  <c:v>1.1804587742730457</c:v>
                </c:pt>
                <c:pt idx="53">
                  <c:v>1.1804587742730457</c:v>
                </c:pt>
                <c:pt idx="54">
                  <c:v>0.3007508616684024</c:v>
                </c:pt>
              </c:numCache>
            </c:numRef>
          </c:xVal>
          <c:yVal>
            <c:numRef>
              <c:f>Sheet1!$B$187:$B$241</c:f>
              <c:numCache>
                <c:formatCode>General</c:formatCode>
                <c:ptCount val="55"/>
                <c:pt idx="0">
                  <c:v>0.18367853948551055</c:v>
                </c:pt>
                <c:pt idx="1">
                  <c:v>0.18348456424531256</c:v>
                </c:pt>
                <c:pt idx="2">
                  <c:v>0.18356976745397258</c:v>
                </c:pt>
                <c:pt idx="3">
                  <c:v>0.18291402518269242</c:v>
                </c:pt>
                <c:pt idx="4">
                  <c:v>0.1832694648739251</c:v>
                </c:pt>
                <c:pt idx="5">
                  <c:v>0.18348324767446217</c:v>
                </c:pt>
                <c:pt idx="6">
                  <c:v>0.18376035142401612</c:v>
                </c:pt>
                <c:pt idx="7">
                  <c:v>0.18335734324419573</c:v>
                </c:pt>
                <c:pt idx="8">
                  <c:v>0.18374527981701583</c:v>
                </c:pt>
                <c:pt idx="9">
                  <c:v>0.18367604364339474</c:v>
                </c:pt>
                <c:pt idx="10">
                  <c:v>0.1835698939263889</c:v>
                </c:pt>
                <c:pt idx="11">
                  <c:v>0.18352273441672698</c:v>
                </c:pt>
                <c:pt idx="12">
                  <c:v>0.18353001941710487</c:v>
                </c:pt>
                <c:pt idx="13">
                  <c:v>0.18324119190066734</c:v>
                </c:pt>
                <c:pt idx="14">
                  <c:v>0.18315869307297472</c:v>
                </c:pt>
                <c:pt idx="15">
                  <c:v>0.18311863353465369</c:v>
                </c:pt>
                <c:pt idx="16">
                  <c:v>0.18324380943281482</c:v>
                </c:pt>
                <c:pt idx="17">
                  <c:v>0.18252432997879656</c:v>
                </c:pt>
                <c:pt idx="18">
                  <c:v>0.1829592673215582</c:v>
                </c:pt>
                <c:pt idx="19">
                  <c:v>0.1835647798765643</c:v>
                </c:pt>
                <c:pt idx="20">
                  <c:v>0.18329423248698087</c:v>
                </c:pt>
                <c:pt idx="21">
                  <c:v>0.18307134603177727</c:v>
                </c:pt>
                <c:pt idx="22">
                  <c:v>0.18294137322159873</c:v>
                </c:pt>
                <c:pt idx="23">
                  <c:v>0.18302334579736226</c:v>
                </c:pt>
                <c:pt idx="24">
                  <c:v>0.1830741116149785</c:v>
                </c:pt>
                <c:pt idx="25">
                  <c:v>0.18319900059681934</c:v>
                </c:pt>
                <c:pt idx="26">
                  <c:v>0.18293319241078498</c:v>
                </c:pt>
                <c:pt idx="27">
                  <c:v>0.18313322795458678</c:v>
                </c:pt>
                <c:pt idx="28">
                  <c:v>0.18330110644048608</c:v>
                </c:pt>
                <c:pt idx="29">
                  <c:v>0.18280504294168906</c:v>
                </c:pt>
                <c:pt idx="30">
                  <c:v>0.1829892159050585</c:v>
                </c:pt>
                <c:pt idx="31">
                  <c:v>0.18325057602255607</c:v>
                </c:pt>
                <c:pt idx="32">
                  <c:v>0.1832262327989584</c:v>
                </c:pt>
                <c:pt idx="33">
                  <c:v>0.18334547506649365</c:v>
                </c:pt>
                <c:pt idx="34">
                  <c:v>0.1835601098206995</c:v>
                </c:pt>
                <c:pt idx="35">
                  <c:v>0.1834362289235073</c:v>
                </c:pt>
                <c:pt idx="36">
                  <c:v>0.18291595026034818</c:v>
                </c:pt>
                <c:pt idx="37">
                  <c:v>0.18283890531739286</c:v>
                </c:pt>
                <c:pt idx="38">
                  <c:v>0.1829764461940126</c:v>
                </c:pt>
                <c:pt idx="39">
                  <c:v>0.18337330251428371</c:v>
                </c:pt>
                <c:pt idx="40">
                  <c:v>0.1835167262263899</c:v>
                </c:pt>
                <c:pt idx="41">
                  <c:v>0.18360228561456726</c:v>
                </c:pt>
                <c:pt idx="42">
                  <c:v>0.18345026519442925</c:v>
                </c:pt>
                <c:pt idx="43">
                  <c:v>0.18437109724161074</c:v>
                </c:pt>
                <c:pt idx="44">
                  <c:v>0.18494536689490315</c:v>
                </c:pt>
                <c:pt idx="45">
                  <c:v>0.185138498264161</c:v>
                </c:pt>
                <c:pt idx="46">
                  <c:v>0.18459581901012384</c:v>
                </c:pt>
                <c:pt idx="47">
                  <c:v>0.1847043056677096</c:v>
                </c:pt>
                <c:pt idx="48">
                  <c:v>0.18521081134141698</c:v>
                </c:pt>
                <c:pt idx="49">
                  <c:v>0.18556689132381396</c:v>
                </c:pt>
                <c:pt idx="50">
                  <c:v>0.1857589439660823</c:v>
                </c:pt>
                <c:pt idx="51">
                  <c:v>0.18510604059686073</c:v>
                </c:pt>
                <c:pt idx="52">
                  <c:v>0.19274280637067534</c:v>
                </c:pt>
                <c:pt idx="53">
                  <c:v>0.19274280637067534</c:v>
                </c:pt>
                <c:pt idx="54">
                  <c:v>0.1810615437593052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94226657163221"/>
          <c:min val="0.0531759805623047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07.1989</c:v>
                </c:pt>
                <c:pt idx="1">
                  <c:v>967.3737</c:v>
                </c:pt>
                <c:pt idx="2">
                  <c:v>969.8427</c:v>
                </c:pt>
                <c:pt idx="3">
                  <c:v>993.1112</c:v>
                </c:pt>
                <c:pt idx="4">
                  <c:v>985.1591</c:v>
                </c:pt>
                <c:pt idx="5">
                  <c:v>977.8358</c:v>
                </c:pt>
                <c:pt idx="6">
                  <c:v>973.1877</c:v>
                </c:pt>
                <c:pt idx="7">
                  <c:v>970.7594</c:v>
                </c:pt>
                <c:pt idx="8">
                  <c:v>961.1026</c:v>
                </c:pt>
                <c:pt idx="9">
                  <c:v>891.7999</c:v>
                </c:pt>
                <c:pt idx="10">
                  <c:v>827.4697</c:v>
                </c:pt>
                <c:pt idx="11">
                  <c:v>804.2089</c:v>
                </c:pt>
                <c:pt idx="12">
                  <c:v>798.3868</c:v>
                </c:pt>
                <c:pt idx="13">
                  <c:v>788.2821</c:v>
                </c:pt>
                <c:pt idx="14">
                  <c:v>927.6461</c:v>
                </c:pt>
                <c:pt idx="15">
                  <c:v>937.3125</c:v>
                </c:pt>
                <c:pt idx="16">
                  <c:v>972.5432</c:v>
                </c:pt>
                <c:pt idx="17">
                  <c:v>989.3265</c:v>
                </c:pt>
                <c:pt idx="18">
                  <c:v>1011.2152</c:v>
                </c:pt>
                <c:pt idx="19">
                  <c:v>1035.9308</c:v>
                </c:pt>
                <c:pt idx="20">
                  <c:v>1057.7028</c:v>
                </c:pt>
                <c:pt idx="21">
                  <c:v>1061.0735</c:v>
                </c:pt>
                <c:pt idx="22">
                  <c:v>1064.5703</c:v>
                </c:pt>
                <c:pt idx="23">
                  <c:v>1069.5638</c:v>
                </c:pt>
                <c:pt idx="24">
                  <c:v>1070.0113</c:v>
                </c:pt>
                <c:pt idx="25">
                  <c:v>1086.2875</c:v>
                </c:pt>
                <c:pt idx="26">
                  <c:v>1078.104</c:v>
                </c:pt>
                <c:pt idx="27">
                  <c:v>1127.3386</c:v>
                </c:pt>
                <c:pt idx="28">
                  <c:v>1115.8192</c:v>
                </c:pt>
                <c:pt idx="29">
                  <c:v>1164.0638</c:v>
                </c:pt>
                <c:pt idx="30">
                  <c:v>1142.2934</c:v>
                </c:pt>
                <c:pt idx="31">
                  <c:v>1142.2038</c:v>
                </c:pt>
                <c:pt idx="32">
                  <c:v>1145.5557</c:v>
                </c:pt>
                <c:pt idx="33">
                  <c:v>1148.5402</c:v>
                </c:pt>
                <c:pt idx="34">
                  <c:v>1091.9651</c:v>
                </c:pt>
                <c:pt idx="35">
                  <c:v>1122.3973</c:v>
                </c:pt>
                <c:pt idx="36">
                  <c:v>1142.1061</c:v>
                </c:pt>
                <c:pt idx="37">
                  <c:v>1180.8306</c:v>
                </c:pt>
                <c:pt idx="38">
                  <c:v>1165.8931</c:v>
                </c:pt>
                <c:pt idx="39">
                  <c:v>1227.83</c:v>
                </c:pt>
                <c:pt idx="40">
                  <c:v>1275.119</c:v>
                </c:pt>
                <c:pt idx="41">
                  <c:v>1240.357</c:v>
                </c:pt>
                <c:pt idx="42">
                  <c:v>1227.1817</c:v>
                </c:pt>
                <c:pt idx="43">
                  <c:v>1208.8023</c:v>
                </c:pt>
                <c:pt idx="44">
                  <c:v>1208.3801</c:v>
                </c:pt>
                <c:pt idx="45">
                  <c:v>1204.9294</c:v>
                </c:pt>
                <c:pt idx="46">
                  <c:v>1151.3308</c:v>
                </c:pt>
                <c:pt idx="47">
                  <c:v>1105.7971</c:v>
                </c:pt>
                <c:pt idx="48">
                  <c:v>1061.9282</c:v>
                </c:pt>
                <c:pt idx="49">
                  <c:v>970.5209</c:v>
                </c:pt>
                <c:pt idx="50">
                  <c:v>1014.583</c:v>
                </c:pt>
                <c:pt idx="51">
                  <c:v>1020.8391</c:v>
                </c:pt>
                <c:pt idx="52">
                  <c:v>1018.4755</c:v>
                </c:pt>
                <c:pt idx="53">
                  <c:v>1184.652</c:v>
                </c:pt>
                <c:pt idx="54">
                  <c:v>1211.4411</c:v>
                </c:pt>
                <c:pt idx="55">
                  <c:v>1197.5581</c:v>
                </c:pt>
                <c:pt idx="56">
                  <c:v>1193.6275</c:v>
                </c:pt>
                <c:pt idx="57">
                  <c:v>1202.6755</c:v>
                </c:pt>
                <c:pt idx="58">
                  <c:v>1196.5798</c:v>
                </c:pt>
                <c:pt idx="59">
                  <c:v>1197.3709</c:v>
                </c:pt>
                <c:pt idx="60">
                  <c:v>1194.6336</c:v>
                </c:pt>
                <c:pt idx="61">
                  <c:v>1153.1838</c:v>
                </c:pt>
                <c:pt idx="62">
                  <c:v>1052.5735</c:v>
                </c:pt>
                <c:pt idx="63">
                  <c:v>1064.2463</c:v>
                </c:pt>
                <c:pt idx="64">
                  <c:v>1047.0266</c:v>
                </c:pt>
                <c:pt idx="65">
                  <c:v>1046.5803</c:v>
                </c:pt>
                <c:pt idx="66">
                  <c:v>1152.0354</c:v>
                </c:pt>
                <c:pt idx="67">
                  <c:v>1177.6028</c:v>
                </c:pt>
                <c:pt idx="68">
                  <c:v>1167.4989</c:v>
                </c:pt>
                <c:pt idx="69">
                  <c:v>1204.287</c:v>
                </c:pt>
                <c:pt idx="70">
                  <c:v>1268.5501</c:v>
                </c:pt>
                <c:pt idx="71">
                  <c:v>1213.3093</c:v>
                </c:pt>
                <c:pt idx="72">
                  <c:v>1236.7037</c:v>
                </c:pt>
                <c:pt idx="73">
                  <c:v>1249.7564</c:v>
                </c:pt>
                <c:pt idx="74">
                  <c:v>1242.2268</c:v>
                </c:pt>
                <c:pt idx="75">
                  <c:v>1238.0357</c:v>
                </c:pt>
                <c:pt idx="76">
                  <c:v>1189.3666</c:v>
                </c:pt>
                <c:pt idx="77">
                  <c:v>1184.4511</c:v>
                </c:pt>
                <c:pt idx="78">
                  <c:v>1223.5735</c:v>
                </c:pt>
                <c:pt idx="79">
                  <c:v>1213.7445</c:v>
                </c:pt>
                <c:pt idx="80">
                  <c:v>1226.6799</c:v>
                </c:pt>
                <c:pt idx="81">
                  <c:v>1299.2252</c:v>
                </c:pt>
                <c:pt idx="82">
                  <c:v>1304.3208</c:v>
                </c:pt>
                <c:pt idx="83">
                  <c:v>1296.0373</c:v>
                </c:pt>
                <c:pt idx="84">
                  <c:v>1332.7107</c:v>
                </c:pt>
                <c:pt idx="85">
                  <c:v>1358.6059</c:v>
                </c:pt>
                <c:pt idx="86">
                  <c:v>1345.7529</c:v>
                </c:pt>
                <c:pt idx="87">
                  <c:v>1340.2444</c:v>
                </c:pt>
                <c:pt idx="88">
                  <c:v>1339.8151</c:v>
                </c:pt>
                <c:pt idx="89">
                  <c:v>1361.8312</c:v>
                </c:pt>
                <c:pt idx="90">
                  <c:v>1331.8981</c:v>
                </c:pt>
                <c:pt idx="91">
                  <c:v>1327.9891</c:v>
                </c:pt>
                <c:pt idx="92">
                  <c:v>1311.2646</c:v>
                </c:pt>
                <c:pt idx="93">
                  <c:v>1292.338</c:v>
                </c:pt>
                <c:pt idx="94">
                  <c:v>1286.6086</c:v>
                </c:pt>
                <c:pt idx="95">
                  <c:v>1292.6419</c:v>
                </c:pt>
                <c:pt idx="96">
                  <c:v>1202.3451</c:v>
                </c:pt>
                <c:pt idx="97">
                  <c:v>1219.8691</c:v>
                </c:pt>
                <c:pt idx="98">
                  <c:v>1167.0973</c:v>
                </c:pt>
                <c:pt idx="99">
                  <c:v>1127.0741</c:v>
                </c:pt>
                <c:pt idx="100">
                  <c:v>1072.815</c:v>
                </c:pt>
                <c:pt idx="101">
                  <c:v>1208.7308</c:v>
                </c:pt>
                <c:pt idx="102">
                  <c:v>1232.956</c:v>
                </c:pt>
                <c:pt idx="103">
                  <c:v>1149.7074</c:v>
                </c:pt>
                <c:pt idx="104">
                  <c:v>1156.9572</c:v>
                </c:pt>
              </c:numCache>
            </c:numRef>
          </c:xVal>
          <c:yVal>
            <c:numRef>
              <c:f>Sheet1!$B$2:$B$106</c:f>
              <c:numCache>
                <c:formatCode>General</c:formatCode>
                <c:ptCount val="105"/>
                <c:pt idx="0">
                  <c:v>0.26012847965738756</c:v>
                </c:pt>
                <c:pt idx="1">
                  <c:v>0.27238736212376147</c:v>
                </c:pt>
                <c:pt idx="2">
                  <c:v>0.26337257810327247</c:v>
                </c:pt>
                <c:pt idx="3">
                  <c:v>0.25908312725889293</c:v>
                </c:pt>
                <c:pt idx="4">
                  <c:v>0.2348164988632673</c:v>
                </c:pt>
                <c:pt idx="5">
                  <c:v>0.21423004119808484</c:v>
                </c:pt>
                <c:pt idx="6">
                  <c:v>0.2182611471746302</c:v>
                </c:pt>
                <c:pt idx="7">
                  <c:v>0.20495495495495494</c:v>
                </c:pt>
                <c:pt idx="8">
                  <c:v>0.22227421619092186</c:v>
                </c:pt>
                <c:pt idx="9">
                  <c:v>0.21707438841737395</c:v>
                </c:pt>
                <c:pt idx="10">
                  <c:v>0.23554804804804805</c:v>
                </c:pt>
                <c:pt idx="11">
                  <c:v>0.2366526167896031</c:v>
                </c:pt>
                <c:pt idx="12">
                  <c:v>0.25389600370313226</c:v>
                </c:pt>
                <c:pt idx="13">
                  <c:v>0.2606355270012155</c:v>
                </c:pt>
                <c:pt idx="14">
                  <c:v>0.2704267438603044</c:v>
                </c:pt>
                <c:pt idx="15">
                  <c:v>0.25789701427953265</c:v>
                </c:pt>
                <c:pt idx="16">
                  <c:v>0.22777026196039848</c:v>
                </c:pt>
                <c:pt idx="17">
                  <c:v>0.23955773955773957</c:v>
                </c:pt>
                <c:pt idx="18">
                  <c:v>0.21729383506805444</c:v>
                </c:pt>
                <c:pt idx="19">
                  <c:v>0.1964573268921095</c:v>
                </c:pt>
                <c:pt idx="20">
                  <c:v>0.21371726233540733</c:v>
                </c:pt>
                <c:pt idx="21">
                  <c:v>0.1863013698630137</c:v>
                </c:pt>
                <c:pt idx="22">
                  <c:v>0.1838928706148623</c:v>
                </c:pt>
                <c:pt idx="23">
                  <c:v>0.1673461463793438</c:v>
                </c:pt>
                <c:pt idx="24">
                  <c:v>0.17663092858440851</c:v>
                </c:pt>
                <c:pt idx="25">
                  <c:v>0.16515276630883569</c:v>
                </c:pt>
                <c:pt idx="26">
                  <c:v>0.16782505509408374</c:v>
                </c:pt>
                <c:pt idx="27">
                  <c:v>0.1683377308707124</c:v>
                </c:pt>
                <c:pt idx="28">
                  <c:v>0.16349876803942273</c:v>
                </c:pt>
                <c:pt idx="29">
                  <c:v>0.14938879187172566</c:v>
                </c:pt>
                <c:pt idx="30">
                  <c:v>0.15433070866141732</c:v>
                </c:pt>
                <c:pt idx="31">
                  <c:v>0.13553553553553555</c:v>
                </c:pt>
                <c:pt idx="32">
                  <c:v>0.14569805194805194</c:v>
                </c:pt>
                <c:pt idx="33">
                  <c:v>0.14377110360760617</c:v>
                </c:pt>
                <c:pt idx="34">
                  <c:v>0.16295242611032085</c:v>
                </c:pt>
                <c:pt idx="35">
                  <c:v>0.18948267447535383</c:v>
                </c:pt>
                <c:pt idx="36">
                  <c:v>0.1787432776677045</c:v>
                </c:pt>
                <c:pt idx="37">
                  <c:v>0.15249472944483486</c:v>
                </c:pt>
                <c:pt idx="38">
                  <c:v>0.15046916890080428</c:v>
                </c:pt>
                <c:pt idx="39">
                  <c:v>0.14069506726457398</c:v>
                </c:pt>
                <c:pt idx="40">
                  <c:v>0.1510353227771011</c:v>
                </c:pt>
                <c:pt idx="41">
                  <c:v>0.14417435037720033</c:v>
                </c:pt>
                <c:pt idx="42">
                  <c:v>0.15697020798201236</c:v>
                </c:pt>
                <c:pt idx="43">
                  <c:v>0.17312378167641326</c:v>
                </c:pt>
                <c:pt idx="44">
                  <c:v>0.15548665915069523</c:v>
                </c:pt>
                <c:pt idx="45">
                  <c:v>0.15145937417828031</c:v>
                </c:pt>
                <c:pt idx="46">
                  <c:v>0.1591240875912409</c:v>
                </c:pt>
                <c:pt idx="47">
                  <c:v>0.1676552686671319</c:v>
                </c:pt>
                <c:pt idx="48">
                  <c:v>0.1735267800076697</c:v>
                </c:pt>
                <c:pt idx="49">
                  <c:v>0.2121083647772078</c:v>
                </c:pt>
                <c:pt idx="50">
                  <c:v>0.18334377828842002</c:v>
                </c:pt>
                <c:pt idx="51">
                  <c:v>0.17443813484763657</c:v>
                </c:pt>
                <c:pt idx="52">
                  <c:v>0.19078901874005946</c:v>
                </c:pt>
                <c:pt idx="53">
                  <c:v>0.18180143672867932</c:v>
                </c:pt>
                <c:pt idx="54">
                  <c:v>0.1655494617103392</c:v>
                </c:pt>
                <c:pt idx="55">
                  <c:v>0.17623596095308072</c:v>
                </c:pt>
                <c:pt idx="56">
                  <c:v>0.1935966487133453</c:v>
                </c:pt>
                <c:pt idx="57">
                  <c:v>0.18437865562854314</c:v>
                </c:pt>
                <c:pt idx="58">
                  <c:v>0.1921921921921922</c:v>
                </c:pt>
                <c:pt idx="59">
                  <c:v>0.19312725899552247</c:v>
                </c:pt>
                <c:pt idx="60">
                  <c:v>0.1935066396578888</c:v>
                </c:pt>
                <c:pt idx="61">
                  <c:v>0.18492792590932855</c:v>
                </c:pt>
                <c:pt idx="62">
                  <c:v>0.20797134583142812</c:v>
                </c:pt>
                <c:pt idx="63">
                  <c:v>0.2189074255806346</c:v>
                </c:pt>
                <c:pt idx="64">
                  <c:v>0.2224744608399546</c:v>
                </c:pt>
                <c:pt idx="65">
                  <c:v>0.22872707212798235</c:v>
                </c:pt>
                <c:pt idx="66">
                  <c:v>0.2179420697829469</c:v>
                </c:pt>
                <c:pt idx="67">
                  <c:v>0.21630960608154803</c:v>
                </c:pt>
                <c:pt idx="68">
                  <c:v>0.19613577949127006</c:v>
                </c:pt>
                <c:pt idx="69">
                  <c:v>0.17736670293797607</c:v>
                </c:pt>
                <c:pt idx="70">
                  <c:v>0.1681854885223209</c:v>
                </c:pt>
                <c:pt idx="71">
                  <c:v>0.17558314958802368</c:v>
                </c:pt>
                <c:pt idx="72">
                  <c:v>0.17655571635311143</c:v>
                </c:pt>
                <c:pt idx="73">
                  <c:v>0.1785470280118424</c:v>
                </c:pt>
                <c:pt idx="74">
                  <c:v>0.1659024103468548</c:v>
                </c:pt>
                <c:pt idx="75">
                  <c:v>0.15557404326123128</c:v>
                </c:pt>
                <c:pt idx="76">
                  <c:v>0.1574769053117783</c:v>
                </c:pt>
                <c:pt idx="77">
                  <c:v>0.15460621912234815</c:v>
                </c:pt>
                <c:pt idx="78">
                  <c:v>0.1562448711636304</c:v>
                </c:pt>
                <c:pt idx="79">
                  <c:v>0.15875943000838222</c:v>
                </c:pt>
                <c:pt idx="80">
                  <c:v>0.14628495780241602</c:v>
                </c:pt>
                <c:pt idx="81">
                  <c:v>0.13667796610169491</c:v>
                </c:pt>
                <c:pt idx="82">
                  <c:v>0.1436801084378177</c:v>
                </c:pt>
                <c:pt idx="83">
                  <c:v>0.13094227504244482</c:v>
                </c:pt>
                <c:pt idx="84">
                  <c:v>0.1255043533658951</c:v>
                </c:pt>
                <c:pt idx="85">
                  <c:v>0.11232449297971919</c:v>
                </c:pt>
                <c:pt idx="86">
                  <c:v>0.12296718972895863</c:v>
                </c:pt>
                <c:pt idx="87">
                  <c:v>0.15997935750225778</c:v>
                </c:pt>
                <c:pt idx="88">
                  <c:v>0.1499921222624862</c:v>
                </c:pt>
                <c:pt idx="89">
                  <c:v>0.1237597911227154</c:v>
                </c:pt>
                <c:pt idx="90">
                  <c:v>0.11240379452299983</c:v>
                </c:pt>
                <c:pt idx="91">
                  <c:v>0.13977406845388635</c:v>
                </c:pt>
                <c:pt idx="92">
                  <c:v>0.14038248337028825</c:v>
                </c:pt>
                <c:pt idx="93">
                  <c:v>0.1275278058645096</c:v>
                </c:pt>
                <c:pt idx="94">
                  <c:v>0.12302466400827057</c:v>
                </c:pt>
                <c:pt idx="95">
                  <c:v>0.1428111933097459</c:v>
                </c:pt>
                <c:pt idx="96">
                  <c:v>0.14006570983918382</c:v>
                </c:pt>
                <c:pt idx="97">
                  <c:v>0.13938150373735894</c:v>
                </c:pt>
                <c:pt idx="98">
                  <c:v>0.162250593443254</c:v>
                </c:pt>
                <c:pt idx="99">
                  <c:v>0.16527112086389098</c:v>
                </c:pt>
                <c:pt idx="100">
                  <c:v>0.2001013171225937</c:v>
                </c:pt>
                <c:pt idx="101">
                  <c:v>0.1658822032820252</c:v>
                </c:pt>
                <c:pt idx="102">
                  <c:v>0.13617322936134563</c:v>
                </c:pt>
                <c:pt idx="103">
                  <c:v>0.15280477645098584</c:v>
                </c:pt>
                <c:pt idx="104">
                  <c:v>0.167021924482338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51.9671</c:v>
                </c:pt>
                <c:pt idx="1">
                  <c:v>1272.6494</c:v>
                </c:pt>
                <c:pt idx="2">
                  <c:v>1273.7144</c:v>
                </c:pt>
                <c:pt idx="3">
                  <c:v>1272.1069</c:v>
                </c:pt>
                <c:pt idx="4">
                  <c:v>1251.6705</c:v>
                </c:pt>
                <c:pt idx="5">
                  <c:v>1293.8531</c:v>
                </c:pt>
                <c:pt idx="6">
                  <c:v>1236.3245</c:v>
                </c:pt>
                <c:pt idx="7">
                  <c:v>1200.569</c:v>
                </c:pt>
                <c:pt idx="8">
                  <c:v>1231.1529</c:v>
                </c:pt>
                <c:pt idx="9">
                  <c:v>1112.9883</c:v>
                </c:pt>
                <c:pt idx="10">
                  <c:v>1121.1351</c:v>
                </c:pt>
                <c:pt idx="11">
                  <c:v>1233.9023</c:v>
                </c:pt>
                <c:pt idx="12">
                  <c:v>1177.6031</c:v>
                </c:pt>
                <c:pt idx="13">
                  <c:v>1117.96</c:v>
                </c:pt>
                <c:pt idx="14">
                  <c:v>1212.7448</c:v>
                </c:pt>
                <c:pt idx="15">
                  <c:v>1146.9242</c:v>
                </c:pt>
                <c:pt idx="16">
                  <c:v>1170.3937</c:v>
                </c:pt>
                <c:pt idx="17">
                  <c:v>1118.2818</c:v>
                </c:pt>
                <c:pt idx="18">
                  <c:v>1085.2199</c:v>
                </c:pt>
                <c:pt idx="19">
                  <c:v>1081.292</c:v>
                </c:pt>
                <c:pt idx="20">
                  <c:v>1037.0035</c:v>
                </c:pt>
                <c:pt idx="21">
                  <c:v>1129.6023</c:v>
                </c:pt>
                <c:pt idx="22">
                  <c:v>1158.3785</c:v>
                </c:pt>
                <c:pt idx="23">
                  <c:v>1080.4809</c:v>
                </c:pt>
                <c:pt idx="24">
                  <c:v>1075.2676</c:v>
                </c:pt>
                <c:pt idx="25">
                  <c:v>1090.9566</c:v>
                </c:pt>
                <c:pt idx="26">
                  <c:v>1115.6676</c:v>
                </c:pt>
                <c:pt idx="27">
                  <c:v>1200.7747</c:v>
                </c:pt>
                <c:pt idx="28">
                  <c:v>1298.3181</c:v>
                </c:pt>
                <c:pt idx="29">
                  <c:v>1306.0954</c:v>
                </c:pt>
                <c:pt idx="30">
                  <c:v>1380.2576</c:v>
                </c:pt>
                <c:pt idx="31">
                  <c:v>1355.6533</c:v>
                </c:pt>
                <c:pt idx="32">
                  <c:v>1342.0672</c:v>
                </c:pt>
                <c:pt idx="33">
                  <c:v>1400.2967</c:v>
                </c:pt>
                <c:pt idx="34">
                  <c:v>1439.8929</c:v>
                </c:pt>
                <c:pt idx="35">
                  <c:v>1417.5724</c:v>
                </c:pt>
                <c:pt idx="36">
                  <c:v>1272.4854</c:v>
                </c:pt>
                <c:pt idx="37">
                  <c:v>1308.3391</c:v>
                </c:pt>
                <c:pt idx="38">
                  <c:v>1304.0604</c:v>
                </c:pt>
                <c:pt idx="39">
                  <c:v>1362.1294</c:v>
                </c:pt>
                <c:pt idx="40">
                  <c:v>1371.6543</c:v>
                </c:pt>
                <c:pt idx="41">
                  <c:v>1370.2283</c:v>
                </c:pt>
                <c:pt idx="42">
                  <c:v>1365.7477</c:v>
                </c:pt>
                <c:pt idx="43">
                  <c:v>1346.3663</c:v>
                </c:pt>
                <c:pt idx="44">
                  <c:v>1264.0702</c:v>
                </c:pt>
                <c:pt idx="45">
                  <c:v>1250.7009</c:v>
                </c:pt>
                <c:pt idx="46">
                  <c:v>1203.2856</c:v>
                </c:pt>
                <c:pt idx="47">
                  <c:v>1215.0359</c:v>
                </c:pt>
                <c:pt idx="48">
                  <c:v>1157.8543</c:v>
                </c:pt>
                <c:pt idx="49">
                  <c:v>1137.9812</c:v>
                </c:pt>
                <c:pt idx="50">
                  <c:v>1062.9681</c:v>
                </c:pt>
                <c:pt idx="51">
                  <c:v>1057.8405</c:v>
                </c:pt>
              </c:numCache>
            </c:numRef>
          </c:xVal>
          <c:yVal>
            <c:numRef>
              <c:f>Sheet1!$B$109:$B$160</c:f>
              <c:numCache>
                <c:formatCode>General</c:formatCode>
                <c:ptCount val="52"/>
                <c:pt idx="0">
                  <c:v>0.1769493496112201</c:v>
                </c:pt>
                <c:pt idx="1">
                  <c:v>0.15590686083638347</c:v>
                </c:pt>
                <c:pt idx="2">
                  <c:v>0.16194158075601375</c:v>
                </c:pt>
                <c:pt idx="3">
                  <c:v>0.16526839915421868</c:v>
                </c:pt>
                <c:pt idx="4">
                  <c:v>0.15186813186813186</c:v>
                </c:pt>
                <c:pt idx="5">
                  <c:v>0.13581900197349872</c:v>
                </c:pt>
                <c:pt idx="6">
                  <c:v>0.14691242806035154</c:v>
                </c:pt>
                <c:pt idx="7">
                  <c:v>0.15263437998935603</c:v>
                </c:pt>
                <c:pt idx="8">
                  <c:v>0.15743562795585916</c:v>
                </c:pt>
                <c:pt idx="9">
                  <c:v>0.1817742558948589</c:v>
                </c:pt>
                <c:pt idx="10">
                  <c:v>0.17085878548329142</c:v>
                </c:pt>
                <c:pt idx="11">
                  <c:v>0.17358925143953935</c:v>
                </c:pt>
                <c:pt idx="12">
                  <c:v>0.18205886933499454</c:v>
                </c:pt>
                <c:pt idx="13">
                  <c:v>0.1822017644802455</c:v>
                </c:pt>
                <c:pt idx="14">
                  <c:v>0.17596236099230111</c:v>
                </c:pt>
                <c:pt idx="15">
                  <c:v>0.1706055471327923</c:v>
                </c:pt>
                <c:pt idx="16">
                  <c:v>0.16709664615995237</c:v>
                </c:pt>
                <c:pt idx="17">
                  <c:v>0.16556088598550578</c:v>
                </c:pt>
                <c:pt idx="18">
                  <c:v>0.16476655808903365</c:v>
                </c:pt>
                <c:pt idx="19">
                  <c:v>0.17328439550661773</c:v>
                </c:pt>
                <c:pt idx="20">
                  <c:v>0.17410987397528446</c:v>
                </c:pt>
                <c:pt idx="21">
                  <c:v>0.15474851357865982</c:v>
                </c:pt>
                <c:pt idx="22">
                  <c:v>0.1512164096040706</c:v>
                </c:pt>
                <c:pt idx="23">
                  <c:v>0.1667995535002392</c:v>
                </c:pt>
                <c:pt idx="24">
                  <c:v>0.1742128935532234</c:v>
                </c:pt>
                <c:pt idx="25">
                  <c:v>0.18850393700787402</c:v>
                </c:pt>
                <c:pt idx="26">
                  <c:v>0.17250118802471093</c:v>
                </c:pt>
                <c:pt idx="27">
                  <c:v>0.1400374585794554</c:v>
                </c:pt>
                <c:pt idx="28">
                  <c:v>0.11744658539782409</c:v>
                </c:pt>
                <c:pt idx="29">
                  <c:v>0.10954567041317081</c:v>
                </c:pt>
                <c:pt idx="30">
                  <c:v>0.11512340566506543</c:v>
                </c:pt>
                <c:pt idx="31">
                  <c:v>0.09841628959276018</c:v>
                </c:pt>
                <c:pt idx="32">
                  <c:v>0.09037261844545608</c:v>
                </c:pt>
                <c:pt idx="33">
                  <c:v>0.11124141397218965</c:v>
                </c:pt>
                <c:pt idx="34">
                  <c:v>0.13885104450499547</c:v>
                </c:pt>
                <c:pt idx="35">
                  <c:v>0.15230312035661217</c:v>
                </c:pt>
                <c:pt idx="36">
                  <c:v>0.12056184159188452</c:v>
                </c:pt>
                <c:pt idx="37">
                  <c:v>0.1283714578354387</c:v>
                </c:pt>
                <c:pt idx="38">
                  <c:v>0.11926070038910506</c:v>
                </c:pt>
                <c:pt idx="39">
                  <c:v>0.1382540809084457</c:v>
                </c:pt>
                <c:pt idx="40">
                  <c:v>0.12350984197393956</c:v>
                </c:pt>
                <c:pt idx="41">
                  <c:v>0.1278409090909091</c:v>
                </c:pt>
                <c:pt idx="42">
                  <c:v>0.12382310984308131</c:v>
                </c:pt>
                <c:pt idx="43">
                  <c:v>0.13285699492596045</c:v>
                </c:pt>
                <c:pt idx="44">
                  <c:v>0.13854291076608088</c:v>
                </c:pt>
                <c:pt idx="45">
                  <c:v>0.1601690294438386</c:v>
                </c:pt>
                <c:pt idx="46">
                  <c:v>0.1502052441987099</c:v>
                </c:pt>
                <c:pt idx="47">
                  <c:v>0.15892282958199358</c:v>
                </c:pt>
                <c:pt idx="48">
                  <c:v>0.14972565157750342</c:v>
                </c:pt>
                <c:pt idx="49">
                  <c:v>0.15564247766944947</c:v>
                </c:pt>
                <c:pt idx="50">
                  <c:v>0.20848355529394452</c:v>
                </c:pt>
                <c:pt idx="51">
                  <c:v>0.187917860553963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45.0923858062769</c:v>
                </c:pt>
              </c:numCache>
            </c:numRef>
          </c:xVal>
          <c:yVal>
            <c:numRef>
              <c:f>Sheet1!$B$163:$B$164</c:f>
              <c:numCache>
                <c:formatCode>General</c:formatCode>
                <c:ptCount val="2"/>
                <c:pt idx="0">
                  <c:v>0.23883426728057483</c:v>
                </c:pt>
                <c:pt idx="1">
                  <c:v>0.2388342672805748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45.0923858062769</c:v>
                </c:pt>
                <c:pt idx="1">
                  <c:v>745.0923858062769</c:v>
                </c:pt>
              </c:numCache>
            </c:numRef>
          </c:xVal>
          <c:yVal>
            <c:numRef>
              <c:f>Sheet1!$B$167:$B$168</c:f>
              <c:numCache>
                <c:formatCode>General</c:formatCode>
                <c:ptCount val="2"/>
                <c:pt idx="0">
                  <c:v>0.2388342672805748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5.0940997205062</c:v>
                </c:pt>
              </c:numCache>
            </c:numRef>
          </c:xVal>
          <c:yVal>
            <c:numRef>
              <c:f>Sheet1!$B$171:$B$172</c:f>
              <c:numCache>
                <c:formatCode>General</c:formatCode>
                <c:ptCount val="2"/>
                <c:pt idx="0">
                  <c:v>0.17544238627371528</c:v>
                </c:pt>
                <c:pt idx="1">
                  <c:v>0.1754423862737152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5.0940997205062</c:v>
                </c:pt>
                <c:pt idx="1">
                  <c:v>1095.0940997205062</c:v>
                </c:pt>
              </c:numCache>
            </c:numRef>
          </c:xVal>
          <c:yVal>
            <c:numRef>
              <c:f>Sheet1!$B$175:$B$176</c:f>
              <c:numCache>
                <c:formatCode>General</c:formatCode>
                <c:ptCount val="2"/>
                <c:pt idx="0">
                  <c:v>0.1754423862737152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33.0641350188582</c:v>
                </c:pt>
              </c:numCache>
            </c:numRef>
          </c:xVal>
          <c:yVal>
            <c:numRef>
              <c:f>Sheet1!$B$179:$B$180</c:f>
              <c:numCache>
                <c:formatCode>General</c:formatCode>
                <c:ptCount val="2"/>
                <c:pt idx="0">
                  <c:v>0.15045342275598617</c:v>
                </c:pt>
                <c:pt idx="1">
                  <c:v>0.1504534227559861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33.0641350188582</c:v>
                </c:pt>
                <c:pt idx="1">
                  <c:v>1233.0641350188582</c:v>
                </c:pt>
              </c:numCache>
            </c:numRef>
          </c:xVal>
          <c:yVal>
            <c:numRef>
              <c:f>Sheet1!$B$183:$B$184</c:f>
              <c:numCache>
                <c:formatCode>General</c:formatCode>
                <c:ptCount val="2"/>
                <c:pt idx="0">
                  <c:v>0.1504534227559861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51.9671</c:v>
                </c:pt>
                <c:pt idx="1">
                  <c:v>1272.6494</c:v>
                </c:pt>
                <c:pt idx="2">
                  <c:v>1273.7144</c:v>
                </c:pt>
                <c:pt idx="3">
                  <c:v>1272.1069</c:v>
                </c:pt>
                <c:pt idx="4">
                  <c:v>1251.6705</c:v>
                </c:pt>
                <c:pt idx="5">
                  <c:v>1293.8531</c:v>
                </c:pt>
                <c:pt idx="6">
                  <c:v>1236.3245</c:v>
                </c:pt>
                <c:pt idx="7">
                  <c:v>1200.569</c:v>
                </c:pt>
                <c:pt idx="8">
                  <c:v>1231.1529</c:v>
                </c:pt>
                <c:pt idx="9">
                  <c:v>1112.9883</c:v>
                </c:pt>
                <c:pt idx="10">
                  <c:v>1121.1351</c:v>
                </c:pt>
                <c:pt idx="11">
                  <c:v>1233.9023</c:v>
                </c:pt>
                <c:pt idx="12">
                  <c:v>1177.6031</c:v>
                </c:pt>
                <c:pt idx="13">
                  <c:v>1117.96</c:v>
                </c:pt>
                <c:pt idx="14">
                  <c:v>1212.7448</c:v>
                </c:pt>
                <c:pt idx="15">
                  <c:v>1146.9242</c:v>
                </c:pt>
                <c:pt idx="16">
                  <c:v>1170.3937</c:v>
                </c:pt>
                <c:pt idx="17">
                  <c:v>1118.2818</c:v>
                </c:pt>
                <c:pt idx="18">
                  <c:v>1085.2199</c:v>
                </c:pt>
                <c:pt idx="19">
                  <c:v>1081.292</c:v>
                </c:pt>
                <c:pt idx="20">
                  <c:v>1037.0035</c:v>
                </c:pt>
                <c:pt idx="21">
                  <c:v>1129.6023</c:v>
                </c:pt>
                <c:pt idx="22">
                  <c:v>1158.3785</c:v>
                </c:pt>
                <c:pt idx="23">
                  <c:v>1080.4809</c:v>
                </c:pt>
                <c:pt idx="24">
                  <c:v>1075.2676</c:v>
                </c:pt>
                <c:pt idx="25">
                  <c:v>1090.9566</c:v>
                </c:pt>
                <c:pt idx="26">
                  <c:v>1115.6676</c:v>
                </c:pt>
                <c:pt idx="27">
                  <c:v>1200.7747</c:v>
                </c:pt>
                <c:pt idx="28">
                  <c:v>1298.3181</c:v>
                </c:pt>
                <c:pt idx="29">
                  <c:v>1306.0954</c:v>
                </c:pt>
                <c:pt idx="30">
                  <c:v>1380.2576</c:v>
                </c:pt>
                <c:pt idx="31">
                  <c:v>1355.6533</c:v>
                </c:pt>
                <c:pt idx="32">
                  <c:v>1342.0672</c:v>
                </c:pt>
                <c:pt idx="33">
                  <c:v>1400.2967</c:v>
                </c:pt>
                <c:pt idx="34">
                  <c:v>1439.8929</c:v>
                </c:pt>
                <c:pt idx="35">
                  <c:v>1417.5724</c:v>
                </c:pt>
                <c:pt idx="36">
                  <c:v>1272.4854</c:v>
                </c:pt>
                <c:pt idx="37">
                  <c:v>1308.3391</c:v>
                </c:pt>
                <c:pt idx="38">
                  <c:v>1304.0604</c:v>
                </c:pt>
                <c:pt idx="39">
                  <c:v>1362.1294</c:v>
                </c:pt>
                <c:pt idx="40">
                  <c:v>1371.6543</c:v>
                </c:pt>
                <c:pt idx="41">
                  <c:v>1370.2283</c:v>
                </c:pt>
                <c:pt idx="42">
                  <c:v>1365.7477</c:v>
                </c:pt>
                <c:pt idx="43">
                  <c:v>1346.3663</c:v>
                </c:pt>
                <c:pt idx="44">
                  <c:v>1264.0702</c:v>
                </c:pt>
                <c:pt idx="45">
                  <c:v>1250.7009</c:v>
                </c:pt>
                <c:pt idx="46">
                  <c:v>1203.2856</c:v>
                </c:pt>
                <c:pt idx="47">
                  <c:v>1215.0359</c:v>
                </c:pt>
                <c:pt idx="48">
                  <c:v>1157.8543</c:v>
                </c:pt>
                <c:pt idx="49">
                  <c:v>1137.9812</c:v>
                </c:pt>
                <c:pt idx="50">
                  <c:v>1062.9681</c:v>
                </c:pt>
                <c:pt idx="51">
                  <c:v>1057.8405</c:v>
                </c:pt>
                <c:pt idx="52">
                  <c:v>1095.0940997205062</c:v>
                </c:pt>
                <c:pt idx="53">
                  <c:v>745.0923858062769</c:v>
                </c:pt>
                <c:pt idx="54">
                  <c:v>1233.0641350188582</c:v>
                </c:pt>
              </c:numCache>
            </c:numRef>
          </c:xVal>
          <c:yVal>
            <c:numRef>
              <c:f>Sheet1!$B$187:$B$241</c:f>
              <c:numCache>
                <c:formatCode>General</c:formatCode>
                <c:ptCount val="55"/>
                <c:pt idx="0">
                  <c:v>0.14702974093065937</c:v>
                </c:pt>
                <c:pt idx="1">
                  <c:v>0.14328378812978404</c:v>
                </c:pt>
                <c:pt idx="2">
                  <c:v>0.1430908966364331</c:v>
                </c:pt>
                <c:pt idx="3">
                  <c:v>0.14338204506419053</c:v>
                </c:pt>
                <c:pt idx="4">
                  <c:v>0.1470834607587607</c:v>
                </c:pt>
                <c:pt idx="5">
                  <c:v>0.13944340000061464</c:v>
                </c:pt>
                <c:pt idx="6">
                  <c:v>0.14986290945074526</c:v>
                </c:pt>
                <c:pt idx="7">
                  <c:v>0.15633890174230364</c:v>
                </c:pt>
                <c:pt idx="8">
                  <c:v>0.1507995832977065</c:v>
                </c:pt>
                <c:pt idx="9">
                  <c:v>0.17220141067349704</c:v>
                </c:pt>
                <c:pt idx="10">
                  <c:v>0.17072587225281022</c:v>
                </c:pt>
                <c:pt idx="11">
                  <c:v>0.1503016153429468</c:v>
                </c:pt>
                <c:pt idx="12">
                  <c:v>0.1604984573734289</c:v>
                </c:pt>
                <c:pt idx="13">
                  <c:v>0.17130094246927835</c:v>
                </c:pt>
                <c:pt idx="14">
                  <c:v>0.15413363578479902</c:v>
                </c:pt>
                <c:pt idx="15">
                  <c:v>0.1660549821014705</c:v>
                </c:pt>
                <c:pt idx="16">
                  <c:v>0.16180421505621229</c:v>
                </c:pt>
                <c:pt idx="17">
                  <c:v>0.17124265844809497</c:v>
                </c:pt>
                <c:pt idx="18">
                  <c:v>0.17723078921243257</c:v>
                </c:pt>
                <c:pt idx="19">
                  <c:v>0.17794220564129</c:v>
                </c:pt>
                <c:pt idx="20">
                  <c:v>0.1859636844237062</c:v>
                </c:pt>
                <c:pt idx="21">
                  <c:v>0.16919230337722233</c:v>
                </c:pt>
                <c:pt idx="22">
                  <c:v>0.16398039333875714</c:v>
                </c:pt>
                <c:pt idx="23">
                  <c:v>0.17808911107815098</c:v>
                </c:pt>
                <c:pt idx="24">
                  <c:v>0.1790333375779505</c:v>
                </c:pt>
                <c:pt idx="25">
                  <c:v>0.1761917651467928</c:v>
                </c:pt>
                <c:pt idx="26">
                  <c:v>0.1717161391447316</c:v>
                </c:pt>
                <c:pt idx="27">
                  <c:v>0.15630164561067708</c:v>
                </c:pt>
                <c:pt idx="28">
                  <c:v>0.1386347046787255</c:v>
                </c:pt>
                <c:pt idx="29">
                  <c:v>0.13722608964469893</c:v>
                </c:pt>
                <c:pt idx="30">
                  <c:v>0.12379392297034086</c:v>
                </c:pt>
                <c:pt idx="31">
                  <c:v>0.12825022359931235</c:v>
                </c:pt>
                <c:pt idx="32">
                  <c:v>0.13071092136251916</c:v>
                </c:pt>
                <c:pt idx="33">
                  <c:v>0.1201644657643231</c:v>
                </c:pt>
                <c:pt idx="34">
                  <c:v>0.11299285060092157</c:v>
                </c:pt>
                <c:pt idx="35">
                  <c:v>0.11703551217588848</c:v>
                </c:pt>
                <c:pt idx="36">
                  <c:v>0.14331349160857237</c:v>
                </c:pt>
                <c:pt idx="37">
                  <c:v>0.13681971345349564</c:v>
                </c:pt>
                <c:pt idx="38">
                  <c:v>0.13759466634795636</c:v>
                </c:pt>
                <c:pt idx="39">
                  <c:v>0.1270772803128428</c:v>
                </c:pt>
                <c:pt idx="40">
                  <c:v>0.1253521421109476</c:v>
                </c:pt>
                <c:pt idx="41">
                  <c:v>0.12561041748138746</c:v>
                </c:pt>
                <c:pt idx="42">
                  <c:v>0.12642193825613698</c:v>
                </c:pt>
                <c:pt idx="43">
                  <c:v>0.1299322736450872</c:v>
                </c:pt>
                <c:pt idx="44">
                  <c:v>0.14483764230795906</c:v>
                </c:pt>
                <c:pt idx="45">
                  <c:v>0.1472590735211579</c:v>
                </c:pt>
                <c:pt idx="46">
                  <c:v>0.1558468744833016</c:v>
                </c:pt>
                <c:pt idx="47">
                  <c:v>0.1537186745637508</c:v>
                </c:pt>
                <c:pt idx="48">
                  <c:v>0.1640753357996159</c:v>
                </c:pt>
                <c:pt idx="49">
                  <c:v>0.1676747272892991</c:v>
                </c:pt>
                <c:pt idx="50">
                  <c:v>0.1812610079276875</c:v>
                </c:pt>
                <c:pt idx="51">
                  <c:v>0.1821897125486324</c:v>
                </c:pt>
                <c:pt idx="52">
                  <c:v>0.17544238627371528</c:v>
                </c:pt>
                <c:pt idx="53">
                  <c:v>0.23883426728057483</c:v>
                </c:pt>
                <c:pt idx="54">
                  <c:v>0.1504534227559861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28.0"/>
          <c:min val="59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68648345485137"/>
          <c:min val="0.072298094756364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0.4157</c:v>
                </c:pt>
                <c:pt idx="1">
                  <c:v>833.0948</c:v>
                </c:pt>
                <c:pt idx="2">
                  <c:v>877.0721</c:v>
                </c:pt>
                <c:pt idx="3">
                  <c:v>894.9039</c:v>
                </c:pt>
                <c:pt idx="4">
                  <c:v>903.5401</c:v>
                </c:pt>
                <c:pt idx="5">
                  <c:v>895.4072</c:v>
                </c:pt>
                <c:pt idx="6">
                  <c:v>841.8521</c:v>
                </c:pt>
                <c:pt idx="7">
                  <c:v>858.8852</c:v>
                </c:pt>
                <c:pt idx="8">
                  <c:v>850.4341</c:v>
                </c:pt>
                <c:pt idx="9">
                  <c:v>850.9649</c:v>
                </c:pt>
                <c:pt idx="10">
                  <c:v>827.7996</c:v>
                </c:pt>
                <c:pt idx="11">
                  <c:v>865.698</c:v>
                </c:pt>
                <c:pt idx="12">
                  <c:v>870.6397</c:v>
                </c:pt>
                <c:pt idx="13">
                  <c:v>877.0027</c:v>
                </c:pt>
                <c:pt idx="14">
                  <c:v>900.9844</c:v>
                </c:pt>
                <c:pt idx="15">
                  <c:v>916.1449</c:v>
                </c:pt>
                <c:pt idx="16">
                  <c:v>920.5272</c:v>
                </c:pt>
                <c:pt idx="17">
                  <c:v>917.2086</c:v>
                </c:pt>
                <c:pt idx="18">
                  <c:v>945.465</c:v>
                </c:pt>
                <c:pt idx="19">
                  <c:v>928.1686</c:v>
                </c:pt>
                <c:pt idx="20">
                  <c:v>980.1253</c:v>
                </c:pt>
                <c:pt idx="21">
                  <c:v>1007.3453</c:v>
                </c:pt>
                <c:pt idx="22">
                  <c:v>977.8036</c:v>
                </c:pt>
                <c:pt idx="23">
                  <c:v>972.1144</c:v>
                </c:pt>
                <c:pt idx="24">
                  <c:v>1006.0563</c:v>
                </c:pt>
                <c:pt idx="25">
                  <c:v>972.2673</c:v>
                </c:pt>
                <c:pt idx="26">
                  <c:v>944.7288</c:v>
                </c:pt>
                <c:pt idx="27">
                  <c:v>1002.3166</c:v>
                </c:pt>
                <c:pt idx="28">
                  <c:v>988.2793</c:v>
                </c:pt>
                <c:pt idx="29">
                  <c:v>947.8739</c:v>
                </c:pt>
                <c:pt idx="30">
                  <c:v>948.0548</c:v>
                </c:pt>
                <c:pt idx="31">
                  <c:v>961.7687</c:v>
                </c:pt>
                <c:pt idx="32">
                  <c:v>938.4373</c:v>
                </c:pt>
                <c:pt idx="33">
                  <c:v>924.5707</c:v>
                </c:pt>
                <c:pt idx="34">
                  <c:v>909.6762</c:v>
                </c:pt>
                <c:pt idx="35">
                  <c:v>965.3873</c:v>
                </c:pt>
                <c:pt idx="36">
                  <c:v>1073.4796</c:v>
                </c:pt>
                <c:pt idx="37">
                  <c:v>1104.4395</c:v>
                </c:pt>
                <c:pt idx="38">
                  <c:v>1131.7548</c:v>
                </c:pt>
                <c:pt idx="39">
                  <c:v>1138.3583</c:v>
                </c:pt>
                <c:pt idx="40">
                  <c:v>1124.7606</c:v>
                </c:pt>
                <c:pt idx="41">
                  <c:v>1155.3412</c:v>
                </c:pt>
                <c:pt idx="42">
                  <c:v>1175.1574</c:v>
                </c:pt>
                <c:pt idx="43">
                  <c:v>1179.9659</c:v>
                </c:pt>
                <c:pt idx="44">
                  <c:v>1092.4663</c:v>
                </c:pt>
                <c:pt idx="45">
                  <c:v>1060.7269</c:v>
                </c:pt>
                <c:pt idx="46">
                  <c:v>1056.8816</c:v>
                </c:pt>
                <c:pt idx="47">
                  <c:v>1032.0557</c:v>
                </c:pt>
                <c:pt idx="48">
                  <c:v>1044.1246</c:v>
                </c:pt>
                <c:pt idx="49">
                  <c:v>1013.8239</c:v>
                </c:pt>
                <c:pt idx="50">
                  <c:v>988.881</c:v>
                </c:pt>
                <c:pt idx="51">
                  <c:v>1005.217</c:v>
                </c:pt>
                <c:pt idx="52">
                  <c:v>1018.3611</c:v>
                </c:pt>
                <c:pt idx="53">
                  <c:v>1100.6695</c:v>
                </c:pt>
                <c:pt idx="54">
                  <c:v>1078.7167</c:v>
                </c:pt>
                <c:pt idx="55">
                  <c:v>1080.286</c:v>
                </c:pt>
                <c:pt idx="56">
                  <c:v>1095.8056</c:v>
                </c:pt>
                <c:pt idx="57">
                  <c:v>1086.4695</c:v>
                </c:pt>
                <c:pt idx="58">
                  <c:v>1015.0648</c:v>
                </c:pt>
                <c:pt idx="59">
                  <c:v>1023.2639</c:v>
                </c:pt>
                <c:pt idx="60">
                  <c:v>1033.1318</c:v>
                </c:pt>
                <c:pt idx="61">
                  <c:v>1048.796</c:v>
                </c:pt>
                <c:pt idx="62">
                  <c:v>981.119</c:v>
                </c:pt>
                <c:pt idx="63">
                  <c:v>1018.5602</c:v>
                </c:pt>
                <c:pt idx="64">
                  <c:v>1023.682</c:v>
                </c:pt>
                <c:pt idx="65">
                  <c:v>1012.5565</c:v>
                </c:pt>
                <c:pt idx="66">
                  <c:v>1010.6297</c:v>
                </c:pt>
                <c:pt idx="67">
                  <c:v>1032.932</c:v>
                </c:pt>
                <c:pt idx="68">
                  <c:v>1047.1183</c:v>
                </c:pt>
                <c:pt idx="69">
                  <c:v>1084.2574</c:v>
                </c:pt>
                <c:pt idx="70">
                  <c:v>1056.3848</c:v>
                </c:pt>
                <c:pt idx="71">
                  <c:v>1132.2764</c:v>
                </c:pt>
                <c:pt idx="72">
                  <c:v>1235.1901</c:v>
                </c:pt>
                <c:pt idx="73">
                  <c:v>1196.09</c:v>
                </c:pt>
                <c:pt idx="74">
                  <c:v>1184.045</c:v>
                </c:pt>
                <c:pt idx="75">
                  <c:v>1165.6574</c:v>
                </c:pt>
                <c:pt idx="76">
                  <c:v>1125.8896</c:v>
                </c:pt>
                <c:pt idx="77">
                  <c:v>1121.1374</c:v>
                </c:pt>
                <c:pt idx="78">
                  <c:v>1151.6452</c:v>
                </c:pt>
                <c:pt idx="79">
                  <c:v>1176.8083</c:v>
                </c:pt>
                <c:pt idx="80">
                  <c:v>1166.2966</c:v>
                </c:pt>
                <c:pt idx="81">
                  <c:v>1166.6583</c:v>
                </c:pt>
                <c:pt idx="82">
                  <c:v>1153.699</c:v>
                </c:pt>
                <c:pt idx="83">
                  <c:v>1131.0397</c:v>
                </c:pt>
                <c:pt idx="84">
                  <c:v>1142.2522</c:v>
                </c:pt>
                <c:pt idx="85">
                  <c:v>1115.0029</c:v>
                </c:pt>
                <c:pt idx="86">
                  <c:v>1085.4207</c:v>
                </c:pt>
                <c:pt idx="87">
                  <c:v>1097.8587</c:v>
                </c:pt>
                <c:pt idx="88">
                  <c:v>1154.7131</c:v>
                </c:pt>
                <c:pt idx="89">
                  <c:v>1140.1216</c:v>
                </c:pt>
                <c:pt idx="90">
                  <c:v>1232.591</c:v>
                </c:pt>
                <c:pt idx="91">
                  <c:v>1238.8507</c:v>
                </c:pt>
                <c:pt idx="92">
                  <c:v>1178.6829</c:v>
                </c:pt>
                <c:pt idx="93">
                  <c:v>1226.7099</c:v>
                </c:pt>
                <c:pt idx="94">
                  <c:v>1238.0328</c:v>
                </c:pt>
                <c:pt idx="95">
                  <c:v>1197.976</c:v>
                </c:pt>
                <c:pt idx="96">
                  <c:v>1121.4882</c:v>
                </c:pt>
                <c:pt idx="97">
                  <c:v>1112.1444</c:v>
                </c:pt>
                <c:pt idx="98">
                  <c:v>1110.7206</c:v>
                </c:pt>
                <c:pt idx="99">
                  <c:v>1066.4263</c:v>
                </c:pt>
                <c:pt idx="100">
                  <c:v>1083.0188</c:v>
                </c:pt>
                <c:pt idx="101">
                  <c:v>1097.3645</c:v>
                </c:pt>
                <c:pt idx="102">
                  <c:v>1094.7418</c:v>
                </c:pt>
                <c:pt idx="103">
                  <c:v>1076.4669</c:v>
                </c:pt>
                <c:pt idx="104">
                  <c:v>1102.8747</c:v>
                </c:pt>
              </c:numCache>
            </c:numRef>
          </c:xVal>
          <c:yVal>
            <c:numRef>
              <c:f>Sheet1!$B$2:$B$106</c:f>
              <c:numCache>
                <c:formatCode>General</c:formatCode>
                <c:ptCount val="105"/>
                <c:pt idx="0">
                  <c:v>0.14163554157656771</c:v>
                </c:pt>
                <c:pt idx="1">
                  <c:v>0.1250515463917526</c:v>
                </c:pt>
                <c:pt idx="2">
                  <c:v>0.12751433512332758</c:v>
                </c:pt>
                <c:pt idx="3">
                  <c:v>0.12668172444269862</c:v>
                </c:pt>
                <c:pt idx="4">
                  <c:v>0.12281565345803594</c:v>
                </c:pt>
                <c:pt idx="5">
                  <c:v>0.14012161987320482</c:v>
                </c:pt>
                <c:pt idx="6">
                  <c:v>0.1696271186440678</c:v>
                </c:pt>
                <c:pt idx="7">
                  <c:v>0.18247813892097015</c:v>
                </c:pt>
                <c:pt idx="8">
                  <c:v>0.1789798511526593</c:v>
                </c:pt>
                <c:pt idx="9">
                  <c:v>0.15191965420798373</c:v>
                </c:pt>
                <c:pt idx="10">
                  <c:v>0.1666872148933547</c:v>
                </c:pt>
                <c:pt idx="11">
                  <c:v>0.15078778926637124</c:v>
                </c:pt>
                <c:pt idx="12">
                  <c:v>0.13318385650224215</c:v>
                </c:pt>
                <c:pt idx="13">
                  <c:v>0.12108813446864979</c:v>
                </c:pt>
                <c:pt idx="14">
                  <c:v>0.09653465346534654</c:v>
                </c:pt>
                <c:pt idx="15">
                  <c:v>0.08507179626117584</c:v>
                </c:pt>
                <c:pt idx="16">
                  <c:v>0.08976179208076984</c:v>
                </c:pt>
                <c:pt idx="17">
                  <c:v>0.08260869565217391</c:v>
                </c:pt>
                <c:pt idx="18">
                  <c:v>0.07696457471677756</c:v>
                </c:pt>
                <c:pt idx="19">
                  <c:v>0.07254775702940545</c:v>
                </c:pt>
                <c:pt idx="20">
                  <c:v>0.06646997570288095</c:v>
                </c:pt>
                <c:pt idx="21">
                  <c:v>0.06817677104152788</c:v>
                </c:pt>
                <c:pt idx="22">
                  <c:v>0.0822879013395705</c:v>
                </c:pt>
                <c:pt idx="23">
                  <c:v>0.09319727891156462</c:v>
                </c:pt>
                <c:pt idx="24">
                  <c:v>0.09057527539779682</c:v>
                </c:pt>
                <c:pt idx="25">
                  <c:v>0.1037037037037037</c:v>
                </c:pt>
                <c:pt idx="26">
                  <c:v>0.12445464982778416</c:v>
                </c:pt>
                <c:pt idx="27">
                  <c:v>0.12218579234972678</c:v>
                </c:pt>
                <c:pt idx="28">
                  <c:v>0.16037534655576882</c:v>
                </c:pt>
                <c:pt idx="29">
                  <c:v>0.15294771968854282</c:v>
                </c:pt>
                <c:pt idx="30">
                  <c:v>0.1438423645320197</c:v>
                </c:pt>
                <c:pt idx="31">
                  <c:v>0.16059067835717583</c:v>
                </c:pt>
                <c:pt idx="32">
                  <c:v>0.17548932384341637</c:v>
                </c:pt>
                <c:pt idx="33">
                  <c:v>0.16313887454827053</c:v>
                </c:pt>
                <c:pt idx="34">
                  <c:v>0.16279442397051755</c:v>
                </c:pt>
                <c:pt idx="35">
                  <c:v>0.1569269128876422</c:v>
                </c:pt>
                <c:pt idx="36">
                  <c:v>0.13662436989396837</c:v>
                </c:pt>
                <c:pt idx="37">
                  <c:v>0.1353484790142472</c:v>
                </c:pt>
                <c:pt idx="38">
                  <c:v>0.13179794851945037</c:v>
                </c:pt>
                <c:pt idx="39">
                  <c:v>0.1223595057791949</c:v>
                </c:pt>
                <c:pt idx="40">
                  <c:v>0.12189616252821671</c:v>
                </c:pt>
                <c:pt idx="41">
                  <c:v>0.12644686075061382</c:v>
                </c:pt>
                <c:pt idx="42">
                  <c:v>0.1215926493108729</c:v>
                </c:pt>
                <c:pt idx="43">
                  <c:v>0.11488944864259726</c:v>
                </c:pt>
                <c:pt idx="44">
                  <c:v>0.12874056120070848</c:v>
                </c:pt>
                <c:pt idx="45">
                  <c:v>0.1531594608786977</c:v>
                </c:pt>
                <c:pt idx="46">
                  <c:v>0.15876995069775215</c:v>
                </c:pt>
                <c:pt idx="47">
                  <c:v>0.1564378227376619</c:v>
                </c:pt>
                <c:pt idx="48">
                  <c:v>0.15073094867807155</c:v>
                </c:pt>
                <c:pt idx="49">
                  <c:v>0.15255923313438235</c:v>
                </c:pt>
                <c:pt idx="50">
                  <c:v>0.1529775997086141</c:v>
                </c:pt>
                <c:pt idx="51">
                  <c:v>0.14106753812636166</c:v>
                </c:pt>
                <c:pt idx="52">
                  <c:v>0.1386390478786227</c:v>
                </c:pt>
                <c:pt idx="53">
                  <c:v>0.12826158758119563</c:v>
                </c:pt>
                <c:pt idx="54">
                  <c:v>0.13059921995036047</c:v>
                </c:pt>
                <c:pt idx="55">
                  <c:v>0.12580954665387384</c:v>
                </c:pt>
                <c:pt idx="56">
                  <c:v>0.12915313514863852</c:v>
                </c:pt>
                <c:pt idx="57">
                  <c:v>0.1269622401357658</c:v>
                </c:pt>
                <c:pt idx="58">
                  <c:v>0.1528197644115501</c:v>
                </c:pt>
                <c:pt idx="59">
                  <c:v>0.13807725435632412</c:v>
                </c:pt>
                <c:pt idx="60">
                  <c:v>0.14190755912814965</c:v>
                </c:pt>
                <c:pt idx="61">
                  <c:v>0.1562639821029083</c:v>
                </c:pt>
                <c:pt idx="62">
                  <c:v>0.17758022549869903</c:v>
                </c:pt>
                <c:pt idx="63">
                  <c:v>0.18087082129591417</c:v>
                </c:pt>
                <c:pt idx="64">
                  <c:v>0.17451044033322513</c:v>
                </c:pt>
                <c:pt idx="65">
                  <c:v>0.16851195748449957</c:v>
                </c:pt>
                <c:pt idx="66">
                  <c:v>0.1676754091010984</c:v>
                </c:pt>
                <c:pt idx="67">
                  <c:v>0.1579381929700401</c:v>
                </c:pt>
                <c:pt idx="68">
                  <c:v>0.14289547833087346</c:v>
                </c:pt>
                <c:pt idx="69">
                  <c:v>0.13320825515947468</c:v>
                </c:pt>
                <c:pt idx="70">
                  <c:v>0.13493589743589743</c:v>
                </c:pt>
                <c:pt idx="71">
                  <c:v>0.13415726312018628</c:v>
                </c:pt>
                <c:pt idx="72">
                  <c:v>0.12701921441931643</c:v>
                </c:pt>
                <c:pt idx="73">
                  <c:v>0.1339546783625731</c:v>
                </c:pt>
                <c:pt idx="74">
                  <c:v>0.13998979418268412</c:v>
                </c:pt>
                <c:pt idx="75">
                  <c:v>0.15561959654178675</c:v>
                </c:pt>
                <c:pt idx="76">
                  <c:v>0.16498464238701185</c:v>
                </c:pt>
                <c:pt idx="77">
                  <c:v>0.15454134658834162</c:v>
                </c:pt>
                <c:pt idx="78">
                  <c:v>0.16553398058252428</c:v>
                </c:pt>
                <c:pt idx="79">
                  <c:v>0.14758380496299522</c:v>
                </c:pt>
                <c:pt idx="80">
                  <c:v>0.1394845137535196</c:v>
                </c:pt>
                <c:pt idx="81">
                  <c:v>0.14211469534050178</c:v>
                </c:pt>
                <c:pt idx="82">
                  <c:v>0.14853358561967833</c:v>
                </c:pt>
                <c:pt idx="83">
                  <c:v>0.14887063655030802</c:v>
                </c:pt>
                <c:pt idx="84">
                  <c:v>0.14924980257962622</c:v>
                </c:pt>
                <c:pt idx="85">
                  <c:v>0.1578826237054085</c:v>
                </c:pt>
                <c:pt idx="86">
                  <c:v>0.17418677859391396</c:v>
                </c:pt>
                <c:pt idx="87">
                  <c:v>0.1725151253241141</c:v>
                </c:pt>
                <c:pt idx="88">
                  <c:v>0.16112700858463572</c:v>
                </c:pt>
                <c:pt idx="89">
                  <c:v>0.18039673278879814</c:v>
                </c:pt>
                <c:pt idx="90">
                  <c:v>0.1560317842523477</c:v>
                </c:pt>
                <c:pt idx="91">
                  <c:v>0.1484988452655889</c:v>
                </c:pt>
                <c:pt idx="92">
                  <c:v>0.15676782722025692</c:v>
                </c:pt>
                <c:pt idx="93">
                  <c:v>0.15562431743720423</c:v>
                </c:pt>
                <c:pt idx="94">
                  <c:v>0.15969024696525744</c:v>
                </c:pt>
                <c:pt idx="95">
                  <c:v>0.1585923217550274</c:v>
                </c:pt>
                <c:pt idx="96">
                  <c:v>0.15127545975875026</c:v>
                </c:pt>
                <c:pt idx="97">
                  <c:v>0.1533891439373481</c:v>
                </c:pt>
                <c:pt idx="98">
                  <c:v>0.14894786432160803</c:v>
                </c:pt>
                <c:pt idx="99">
                  <c:v>0.1511102247041617</c:v>
                </c:pt>
                <c:pt idx="100">
                  <c:v>0.15323639301221853</c:v>
                </c:pt>
                <c:pt idx="101">
                  <c:v>0.15513869132290184</c:v>
                </c:pt>
                <c:pt idx="102">
                  <c:v>0.15776112185686653</c:v>
                </c:pt>
                <c:pt idx="103">
                  <c:v>0.15422612513721184</c:v>
                </c:pt>
                <c:pt idx="104">
                  <c:v>0.152528872958980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8.8242</c:v>
                </c:pt>
                <c:pt idx="1">
                  <c:v>1159.4467</c:v>
                </c:pt>
                <c:pt idx="2">
                  <c:v>1156.0528</c:v>
                </c:pt>
                <c:pt idx="3">
                  <c:v>1075.5449</c:v>
                </c:pt>
                <c:pt idx="4">
                  <c:v>1149.6842</c:v>
                </c:pt>
                <c:pt idx="5">
                  <c:v>1165.0073</c:v>
                </c:pt>
                <c:pt idx="6">
                  <c:v>1084.2562</c:v>
                </c:pt>
                <c:pt idx="7">
                  <c:v>1077.3117</c:v>
                </c:pt>
                <c:pt idx="8">
                  <c:v>1157.7246</c:v>
                </c:pt>
                <c:pt idx="9">
                  <c:v>1121.6394</c:v>
                </c:pt>
                <c:pt idx="10">
                  <c:v>1120.3102</c:v>
                </c:pt>
                <c:pt idx="11">
                  <c:v>1005.242</c:v>
                </c:pt>
                <c:pt idx="12">
                  <c:v>1035.6266</c:v>
                </c:pt>
                <c:pt idx="13">
                  <c:v>1090.2277</c:v>
                </c:pt>
                <c:pt idx="14">
                  <c:v>1085.3301</c:v>
                </c:pt>
                <c:pt idx="15">
                  <c:v>1107.1248</c:v>
                </c:pt>
                <c:pt idx="16">
                  <c:v>1142.1265</c:v>
                </c:pt>
                <c:pt idx="17">
                  <c:v>1020.4231</c:v>
                </c:pt>
                <c:pt idx="18">
                  <c:v>1122.3824</c:v>
                </c:pt>
                <c:pt idx="19">
                  <c:v>1292.9602</c:v>
                </c:pt>
                <c:pt idx="20">
                  <c:v>1294.5396</c:v>
                </c:pt>
                <c:pt idx="21">
                  <c:v>1240.1094</c:v>
                </c:pt>
                <c:pt idx="22">
                  <c:v>1226.3448</c:v>
                </c:pt>
                <c:pt idx="23">
                  <c:v>1213.6256</c:v>
                </c:pt>
                <c:pt idx="24">
                  <c:v>1218.5068</c:v>
                </c:pt>
                <c:pt idx="25">
                  <c:v>1166.0184</c:v>
                </c:pt>
                <c:pt idx="26">
                  <c:v>1149.4314</c:v>
                </c:pt>
                <c:pt idx="27">
                  <c:v>1164.8134</c:v>
                </c:pt>
                <c:pt idx="28">
                  <c:v>1196.1065</c:v>
                </c:pt>
                <c:pt idx="29">
                  <c:v>1191.5178</c:v>
                </c:pt>
                <c:pt idx="30">
                  <c:v>1201.9796</c:v>
                </c:pt>
                <c:pt idx="31">
                  <c:v>1210.3866</c:v>
                </c:pt>
                <c:pt idx="32">
                  <c:v>1216.379</c:v>
                </c:pt>
                <c:pt idx="33">
                  <c:v>1193.2512</c:v>
                </c:pt>
                <c:pt idx="34">
                  <c:v>1199.5961</c:v>
                </c:pt>
                <c:pt idx="35">
                  <c:v>1254.2799</c:v>
                </c:pt>
                <c:pt idx="36">
                  <c:v>1302.3394</c:v>
                </c:pt>
                <c:pt idx="37">
                  <c:v>1289.369</c:v>
                </c:pt>
                <c:pt idx="38">
                  <c:v>1305.2104</c:v>
                </c:pt>
                <c:pt idx="39">
                  <c:v>1249.3002</c:v>
                </c:pt>
                <c:pt idx="40">
                  <c:v>1277.2453</c:v>
                </c:pt>
                <c:pt idx="41">
                  <c:v>1315.8935</c:v>
                </c:pt>
                <c:pt idx="42">
                  <c:v>1307.2805</c:v>
                </c:pt>
                <c:pt idx="43">
                  <c:v>1321.8315</c:v>
                </c:pt>
                <c:pt idx="44">
                  <c:v>1232.6608</c:v>
                </c:pt>
                <c:pt idx="45">
                  <c:v>1181.1152</c:v>
                </c:pt>
                <c:pt idx="46">
                  <c:v>1159.8625</c:v>
                </c:pt>
                <c:pt idx="47">
                  <c:v>1140.1246</c:v>
                </c:pt>
                <c:pt idx="48">
                  <c:v>1145.6402</c:v>
                </c:pt>
                <c:pt idx="49">
                  <c:v>1165.5856</c:v>
                </c:pt>
                <c:pt idx="50">
                  <c:v>1136.1855</c:v>
                </c:pt>
                <c:pt idx="51">
                  <c:v>1115.4624</c:v>
                </c:pt>
              </c:numCache>
            </c:numRef>
          </c:xVal>
          <c:yVal>
            <c:numRef>
              <c:f>Sheet1!$B$109:$B$160</c:f>
              <c:numCache>
                <c:formatCode>General</c:formatCode>
                <c:ptCount val="52"/>
                <c:pt idx="0">
                  <c:v>0.1536774044567602</c:v>
                </c:pt>
                <c:pt idx="1">
                  <c:v>0.151123046875</c:v>
                </c:pt>
                <c:pt idx="2">
                  <c:v>0.17841079460269865</c:v>
                </c:pt>
                <c:pt idx="3">
                  <c:v>0.20530098831985624</c:v>
                </c:pt>
                <c:pt idx="4">
                  <c:v>0.17649790989317232</c:v>
                </c:pt>
                <c:pt idx="5">
                  <c:v>0.18107392246568746</c:v>
                </c:pt>
                <c:pt idx="6">
                  <c:v>0.2081946755407654</c:v>
                </c:pt>
                <c:pt idx="7">
                  <c:v>0.22451888809693513</c:v>
                </c:pt>
                <c:pt idx="8">
                  <c:v>0.1910931174089069</c:v>
                </c:pt>
                <c:pt idx="9">
                  <c:v>0.19284149013878743</c:v>
                </c:pt>
                <c:pt idx="10">
                  <c:v>0.2099576580522704</c:v>
                </c:pt>
                <c:pt idx="11">
                  <c:v>0.19953912223735204</c:v>
                </c:pt>
                <c:pt idx="12">
                  <c:v>0.1943785134291068</c:v>
                </c:pt>
                <c:pt idx="13">
                  <c:v>0.18854509545753786</c:v>
                </c:pt>
                <c:pt idx="14">
                  <c:v>0.19723233794610343</c:v>
                </c:pt>
                <c:pt idx="15">
                  <c:v>0.18796992481203006</c:v>
                </c:pt>
                <c:pt idx="16">
                  <c:v>0.18683839096683133</c:v>
                </c:pt>
                <c:pt idx="17">
                  <c:v>0.21081376297105406</c:v>
                </c:pt>
                <c:pt idx="18">
                  <c:v>0.18598779718072797</c:v>
                </c:pt>
                <c:pt idx="19">
                  <c:v>0.1615177275554634</c:v>
                </c:pt>
                <c:pt idx="20">
                  <c:v>0.15236818588025022</c:v>
                </c:pt>
                <c:pt idx="21">
                  <c:v>0.1649957032368949</c:v>
                </c:pt>
                <c:pt idx="22">
                  <c:v>0.17030201342281878</c:v>
                </c:pt>
                <c:pt idx="23">
                  <c:v>0.17312814442142646</c:v>
                </c:pt>
                <c:pt idx="24">
                  <c:v>0.1747290510177108</c:v>
                </c:pt>
                <c:pt idx="25">
                  <c:v>0.18630527817403708</c:v>
                </c:pt>
                <c:pt idx="26">
                  <c:v>0.17228648781688408</c:v>
                </c:pt>
                <c:pt idx="27">
                  <c:v>0.17630057803468208</c:v>
                </c:pt>
                <c:pt idx="28">
                  <c:v>0.16915113871635612</c:v>
                </c:pt>
                <c:pt idx="29">
                  <c:v>0.1754254254254254</c:v>
                </c:pt>
                <c:pt idx="30">
                  <c:v>0.17612323491655968</c:v>
                </c:pt>
                <c:pt idx="31">
                  <c:v>0.17221494102228047</c:v>
                </c:pt>
                <c:pt idx="32">
                  <c:v>0.17115251897860592</c:v>
                </c:pt>
                <c:pt idx="33">
                  <c:v>0.19745461351300767</c:v>
                </c:pt>
                <c:pt idx="34">
                  <c:v>0.21060335013823386</c:v>
                </c:pt>
                <c:pt idx="35">
                  <c:v>0.20055932880543348</c:v>
                </c:pt>
                <c:pt idx="36">
                  <c:v>0.1940652818991098</c:v>
                </c:pt>
                <c:pt idx="37">
                  <c:v>0.18773135906927552</c:v>
                </c:pt>
                <c:pt idx="38">
                  <c:v>0.18181818181818182</c:v>
                </c:pt>
                <c:pt idx="39">
                  <c:v>0.1794871794871795</c:v>
                </c:pt>
                <c:pt idx="40">
                  <c:v>0.16887486855941114</c:v>
                </c:pt>
                <c:pt idx="41">
                  <c:v>0.1781150159744409</c:v>
                </c:pt>
                <c:pt idx="42">
                  <c:v>0.17142215232532015</c:v>
                </c:pt>
                <c:pt idx="43">
                  <c:v>0.15548970679975047</c:v>
                </c:pt>
                <c:pt idx="44">
                  <c:v>0.15451819011605164</c:v>
                </c:pt>
                <c:pt idx="45">
                  <c:v>0.1724002358954197</c:v>
                </c:pt>
                <c:pt idx="46">
                  <c:v>0.20424094139578236</c:v>
                </c:pt>
                <c:pt idx="47">
                  <c:v>0.1982805528349113</c:v>
                </c:pt>
                <c:pt idx="48">
                  <c:v>0.19576479142052167</c:v>
                </c:pt>
                <c:pt idx="49">
                  <c:v>0.2023936170212766</c:v>
                </c:pt>
                <c:pt idx="50">
                  <c:v>0.1888550333997422</c:v>
                </c:pt>
                <c:pt idx="51">
                  <c:v>0.1839577836411609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01.162936177173</c:v>
                </c:pt>
              </c:numCache>
            </c:numRef>
          </c:xVal>
          <c:yVal>
            <c:numRef>
              <c:f>Sheet1!$B$163:$B$164</c:f>
              <c:numCache>
                <c:formatCode>General</c:formatCode>
                <c:ptCount val="2"/>
                <c:pt idx="0">
                  <c:v>0.19274280637067534</c:v>
                </c:pt>
                <c:pt idx="1">
                  <c:v>0.1927428063706753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01.162936177173</c:v>
                </c:pt>
                <c:pt idx="1">
                  <c:v>1101.162936177173</c:v>
                </c:pt>
              </c:numCache>
            </c:numRef>
          </c:xVal>
          <c:yVal>
            <c:numRef>
              <c:f>Sheet1!$B$167:$B$168</c:f>
              <c:numCache>
                <c:formatCode>General</c:formatCode>
                <c:ptCount val="2"/>
                <c:pt idx="0">
                  <c:v>0.192742806370675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1.162936177173</c:v>
                </c:pt>
              </c:numCache>
            </c:numRef>
          </c:xVal>
          <c:yVal>
            <c:numRef>
              <c:f>Sheet1!$B$171:$B$172</c:f>
              <c:numCache>
                <c:formatCode>General</c:formatCode>
                <c:ptCount val="2"/>
                <c:pt idx="0">
                  <c:v>0.19274280637067534</c:v>
                </c:pt>
                <c:pt idx="1">
                  <c:v>0.1927428063706753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1.162936177173</c:v>
                </c:pt>
                <c:pt idx="1">
                  <c:v>1101.162936177173</c:v>
                </c:pt>
              </c:numCache>
            </c:numRef>
          </c:xVal>
          <c:yVal>
            <c:numRef>
              <c:f>Sheet1!$B$175:$B$176</c:f>
              <c:numCache>
                <c:formatCode>General</c:formatCode>
                <c:ptCount val="2"/>
                <c:pt idx="0">
                  <c:v>0.192742806370675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99.9065776189468</c:v>
                </c:pt>
              </c:numCache>
            </c:numRef>
          </c:xVal>
          <c:yVal>
            <c:numRef>
              <c:f>Sheet1!$B$179:$B$180</c:f>
              <c:numCache>
                <c:formatCode>General</c:formatCode>
                <c:ptCount val="2"/>
                <c:pt idx="0">
                  <c:v>0.18106154375930528</c:v>
                </c:pt>
                <c:pt idx="1">
                  <c:v>0.1810615437593052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99.9065776189468</c:v>
                </c:pt>
                <c:pt idx="1">
                  <c:v>1199.9065776189468</c:v>
                </c:pt>
              </c:numCache>
            </c:numRef>
          </c:xVal>
          <c:yVal>
            <c:numRef>
              <c:f>Sheet1!$B$183:$B$184</c:f>
              <c:numCache>
                <c:formatCode>General</c:formatCode>
                <c:ptCount val="2"/>
                <c:pt idx="0">
                  <c:v>0.1810615437593052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8.8242</c:v>
                </c:pt>
                <c:pt idx="1">
                  <c:v>1159.4467</c:v>
                </c:pt>
                <c:pt idx="2">
                  <c:v>1156.0528</c:v>
                </c:pt>
                <c:pt idx="3">
                  <c:v>1075.5449</c:v>
                </c:pt>
                <c:pt idx="4">
                  <c:v>1149.6842</c:v>
                </c:pt>
                <c:pt idx="5">
                  <c:v>1165.0073</c:v>
                </c:pt>
                <c:pt idx="6">
                  <c:v>1084.2562</c:v>
                </c:pt>
                <c:pt idx="7">
                  <c:v>1077.3117</c:v>
                </c:pt>
                <c:pt idx="8">
                  <c:v>1157.7246</c:v>
                </c:pt>
                <c:pt idx="9">
                  <c:v>1121.6394</c:v>
                </c:pt>
                <c:pt idx="10">
                  <c:v>1120.3102</c:v>
                </c:pt>
                <c:pt idx="11">
                  <c:v>1005.242</c:v>
                </c:pt>
                <c:pt idx="12">
                  <c:v>1035.6266</c:v>
                </c:pt>
                <c:pt idx="13">
                  <c:v>1090.2277</c:v>
                </c:pt>
                <c:pt idx="14">
                  <c:v>1085.3301</c:v>
                </c:pt>
                <c:pt idx="15">
                  <c:v>1107.1248</c:v>
                </c:pt>
                <c:pt idx="16">
                  <c:v>1142.1265</c:v>
                </c:pt>
                <c:pt idx="17">
                  <c:v>1020.4231</c:v>
                </c:pt>
                <c:pt idx="18">
                  <c:v>1122.3824</c:v>
                </c:pt>
                <c:pt idx="19">
                  <c:v>1292.9602</c:v>
                </c:pt>
                <c:pt idx="20">
                  <c:v>1294.5396</c:v>
                </c:pt>
                <c:pt idx="21">
                  <c:v>1240.1094</c:v>
                </c:pt>
                <c:pt idx="22">
                  <c:v>1226.3448</c:v>
                </c:pt>
                <c:pt idx="23">
                  <c:v>1213.6256</c:v>
                </c:pt>
                <c:pt idx="24">
                  <c:v>1218.5068</c:v>
                </c:pt>
                <c:pt idx="25">
                  <c:v>1166.0184</c:v>
                </c:pt>
                <c:pt idx="26">
                  <c:v>1149.4314</c:v>
                </c:pt>
                <c:pt idx="27">
                  <c:v>1164.8134</c:v>
                </c:pt>
                <c:pt idx="28">
                  <c:v>1196.1065</c:v>
                </c:pt>
                <c:pt idx="29">
                  <c:v>1191.5178</c:v>
                </c:pt>
                <c:pt idx="30">
                  <c:v>1201.9796</c:v>
                </c:pt>
                <c:pt idx="31">
                  <c:v>1210.3866</c:v>
                </c:pt>
                <c:pt idx="32">
                  <c:v>1216.379</c:v>
                </c:pt>
                <c:pt idx="33">
                  <c:v>1193.2512</c:v>
                </c:pt>
                <c:pt idx="34">
                  <c:v>1199.5961</c:v>
                </c:pt>
                <c:pt idx="35">
                  <c:v>1254.2799</c:v>
                </c:pt>
                <c:pt idx="36">
                  <c:v>1302.3394</c:v>
                </c:pt>
                <c:pt idx="37">
                  <c:v>1289.369</c:v>
                </c:pt>
                <c:pt idx="38">
                  <c:v>1305.2104</c:v>
                </c:pt>
                <c:pt idx="39">
                  <c:v>1249.3002</c:v>
                </c:pt>
                <c:pt idx="40">
                  <c:v>1277.2453</c:v>
                </c:pt>
                <c:pt idx="41">
                  <c:v>1315.8935</c:v>
                </c:pt>
                <c:pt idx="42">
                  <c:v>1307.2805</c:v>
                </c:pt>
                <c:pt idx="43">
                  <c:v>1321.8315</c:v>
                </c:pt>
                <c:pt idx="44">
                  <c:v>1232.6608</c:v>
                </c:pt>
                <c:pt idx="45">
                  <c:v>1181.1152</c:v>
                </c:pt>
                <c:pt idx="46">
                  <c:v>1159.8625</c:v>
                </c:pt>
                <c:pt idx="47">
                  <c:v>1140.1246</c:v>
                </c:pt>
                <c:pt idx="48">
                  <c:v>1145.6402</c:v>
                </c:pt>
                <c:pt idx="49">
                  <c:v>1165.5856</c:v>
                </c:pt>
                <c:pt idx="50">
                  <c:v>1136.1855</c:v>
                </c:pt>
                <c:pt idx="51">
                  <c:v>1115.4624</c:v>
                </c:pt>
                <c:pt idx="52">
                  <c:v>1101.162936177173</c:v>
                </c:pt>
                <c:pt idx="53">
                  <c:v>1101.162936177173</c:v>
                </c:pt>
                <c:pt idx="54">
                  <c:v>1199.9065776189468</c:v>
                </c:pt>
              </c:numCache>
            </c:numRef>
          </c:xVal>
          <c:yVal>
            <c:numRef>
              <c:f>Sheet1!$B$187:$B$241</c:f>
              <c:numCache>
                <c:formatCode>General</c:formatCode>
                <c:ptCount val="55"/>
                <c:pt idx="0">
                  <c:v>0.18828752088021722</c:v>
                </c:pt>
                <c:pt idx="1">
                  <c:v>0.18584790213934843</c:v>
                </c:pt>
                <c:pt idx="2">
                  <c:v>0.18624939672267415</c:v>
                </c:pt>
                <c:pt idx="3">
                  <c:v>0.1957733914676367</c:v>
                </c:pt>
                <c:pt idx="4">
                  <c:v>0.1870027949970394</c:v>
                </c:pt>
                <c:pt idx="5">
                  <c:v>0.18519008936347378</c:v>
                </c:pt>
                <c:pt idx="6">
                  <c:v>0.1947428543970909</c:v>
                </c:pt>
                <c:pt idx="7">
                  <c:v>0.19556438099890755</c:v>
                </c:pt>
                <c:pt idx="8">
                  <c:v>0.1860516246479507</c:v>
                </c:pt>
                <c:pt idx="9">
                  <c:v>0.19032046354662924</c:v>
                </c:pt>
                <c:pt idx="10">
                  <c:v>0.19047770642360162</c:v>
                </c:pt>
                <c:pt idx="11">
                  <c:v>0.2040901460986186</c:v>
                </c:pt>
                <c:pt idx="12">
                  <c:v>0.20049568181961258</c:v>
                </c:pt>
                <c:pt idx="13">
                  <c:v>0.19403643260966952</c:v>
                </c:pt>
                <c:pt idx="14">
                  <c:v>0.19461581322527283</c:v>
                </c:pt>
                <c:pt idx="15">
                  <c:v>0.1920375245322621</c:v>
                </c:pt>
                <c:pt idx="16">
                  <c:v>0.18789686247469067</c:v>
                </c:pt>
                <c:pt idx="17">
                  <c:v>0.2022942389066194</c:v>
                </c:pt>
                <c:pt idx="18">
                  <c:v>0.19023256747561626</c:v>
                </c:pt>
                <c:pt idx="19">
                  <c:v>0.17005340405429645</c:v>
                </c:pt>
                <c:pt idx="20">
                  <c:v>0.16986656279647958</c:v>
                </c:pt>
                <c:pt idx="21">
                  <c:v>0.1763055947271008</c:v>
                </c:pt>
                <c:pt idx="22">
                  <c:v>0.1779339315495308</c:v>
                </c:pt>
                <c:pt idx="23">
                  <c:v>0.1794385987183444</c:v>
                </c:pt>
                <c:pt idx="24">
                  <c:v>0.17886115820444312</c:v>
                </c:pt>
                <c:pt idx="25">
                  <c:v>0.18507047736158788</c:v>
                </c:pt>
                <c:pt idx="26">
                  <c:v>0.18703270095498298</c:v>
                </c:pt>
                <c:pt idx="27">
                  <c:v>0.18521302751713384</c:v>
                </c:pt>
                <c:pt idx="28">
                  <c:v>0.18151108870176802</c:v>
                </c:pt>
                <c:pt idx="29">
                  <c:v>0.18205392679202018</c:v>
                </c:pt>
                <c:pt idx="30">
                  <c:v>0.18081630752455888</c:v>
                </c:pt>
                <c:pt idx="31">
                  <c:v>0.1798217688044966</c:v>
                </c:pt>
                <c:pt idx="32">
                  <c:v>0.17911287457039396</c:v>
                </c:pt>
                <c:pt idx="33">
                  <c:v>0.18184886750602566</c:v>
                </c:pt>
                <c:pt idx="34">
                  <c:v>0.18109827291521763</c:v>
                </c:pt>
                <c:pt idx="35">
                  <c:v>0.1746292403875454</c:v>
                </c:pt>
                <c:pt idx="36">
                  <c:v>0.16894385515894636</c:v>
                </c:pt>
                <c:pt idx="37">
                  <c:v>0.17047823900748874</c:v>
                </c:pt>
                <c:pt idx="38">
                  <c:v>0.1686042190622057</c:v>
                </c:pt>
                <c:pt idx="39">
                  <c:v>0.17521833334154732</c:v>
                </c:pt>
                <c:pt idx="40">
                  <c:v>0.1719124591907192</c:v>
                </c:pt>
                <c:pt idx="41">
                  <c:v>0.16734042025165535</c:v>
                </c:pt>
                <c:pt idx="42">
                  <c:v>0.1683593285418773</c:v>
                </c:pt>
                <c:pt idx="43">
                  <c:v>0.16663796147685697</c:v>
                </c:pt>
                <c:pt idx="44">
                  <c:v>0.1771867557964782</c:v>
                </c:pt>
                <c:pt idx="45">
                  <c:v>0.1832845427655327</c:v>
                </c:pt>
                <c:pt idx="46">
                  <c:v>0.18579871346326876</c:v>
                </c:pt>
                <c:pt idx="47">
                  <c:v>0.18813368501111183</c:v>
                </c:pt>
                <c:pt idx="48">
                  <c:v>0.18748119568502936</c:v>
                </c:pt>
                <c:pt idx="49">
                  <c:v>0.18512167711870012</c:v>
                </c:pt>
                <c:pt idx="50">
                  <c:v>0.18859967614614184</c:v>
                </c:pt>
                <c:pt idx="51">
                  <c:v>0.19105119575476825</c:v>
                </c:pt>
                <c:pt idx="52">
                  <c:v>0.19274280637067534</c:v>
                </c:pt>
                <c:pt idx="53">
                  <c:v>0.19274280637067534</c:v>
                </c:pt>
                <c:pt idx="54">
                  <c:v>0.1810615437593052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86.0"/>
          <c:min val="59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94226657163221"/>
          <c:min val="0.0531759805623047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951715570110811</c:v>
                </c:pt>
                <c:pt idx="1">
                  <c:v>2.204593129491215</c:v>
                </c:pt>
                <c:pt idx="2">
                  <c:v>2.2975291411195617</c:v>
                </c:pt>
                <c:pt idx="3">
                  <c:v>2.31776379890942</c:v>
                </c:pt>
                <c:pt idx="4">
                  <c:v>2.3670473946474884</c:v>
                </c:pt>
                <c:pt idx="5">
                  <c:v>1.9431229862830162</c:v>
                </c:pt>
                <c:pt idx="6">
                  <c:v>1.6798663772744786</c:v>
                </c:pt>
                <c:pt idx="7">
                  <c:v>1.7081664052033847</c:v>
                </c:pt>
                <c:pt idx="8">
                  <c:v>1.7121168074247808</c:v>
                </c:pt>
                <c:pt idx="9">
                  <c:v>1.820652355306725</c:v>
                </c:pt>
                <c:pt idx="10">
                  <c:v>1.7015348558905343</c:v>
                </c:pt>
                <c:pt idx="11">
                  <c:v>1.7244877022647276</c:v>
                </c:pt>
                <c:pt idx="12">
                  <c:v>1.7316748386747742</c:v>
                </c:pt>
                <c:pt idx="13">
                  <c:v>1.7298740036242426</c:v>
                </c:pt>
                <c:pt idx="14">
                  <c:v>1.7621398576534033</c:v>
                </c:pt>
                <c:pt idx="15">
                  <c:v>1.7763014876304821</c:v>
                </c:pt>
                <c:pt idx="16">
                  <c:v>1.7353137507250682</c:v>
                </c:pt>
                <c:pt idx="17">
                  <c:v>2.1078757100397327</c:v>
                </c:pt>
                <c:pt idx="18">
                  <c:v>2.1627025564296405</c:v>
                </c:pt>
                <c:pt idx="19">
                  <c:v>2.0982517820032087</c:v>
                </c:pt>
                <c:pt idx="20">
                  <c:v>2.2398578831889764</c:v>
                </c:pt>
                <c:pt idx="21">
                  <c:v>2.315381828897001</c:v>
                </c:pt>
                <c:pt idx="22">
                  <c:v>2.251353040236398</c:v>
                </c:pt>
                <c:pt idx="23">
                  <c:v>2.345508192750096</c:v>
                </c:pt>
                <c:pt idx="24">
                  <c:v>2.5607919887840533</c:v>
                </c:pt>
                <c:pt idx="25">
                  <c:v>2.5505284202115255</c:v>
                </c:pt>
                <c:pt idx="26">
                  <c:v>2.0304482732903932</c:v>
                </c:pt>
                <c:pt idx="27">
                  <c:v>2.0308835889169043</c:v>
                </c:pt>
                <c:pt idx="28">
                  <c:v>1.951605759085485</c:v>
                </c:pt>
                <c:pt idx="29">
                  <c:v>1.9013240030361045</c:v>
                </c:pt>
                <c:pt idx="30">
                  <c:v>1.8872662478159838</c:v>
                </c:pt>
                <c:pt idx="31">
                  <c:v>1.8638382869028445</c:v>
                </c:pt>
                <c:pt idx="32">
                  <c:v>1.7799212230288828</c:v>
                </c:pt>
                <c:pt idx="33">
                  <c:v>1.7442880585115315</c:v>
                </c:pt>
                <c:pt idx="34">
                  <c:v>1.7626357179755567</c:v>
                </c:pt>
                <c:pt idx="35">
                  <c:v>1.910614559414878</c:v>
                </c:pt>
                <c:pt idx="36">
                  <c:v>2.1279346133825148</c:v>
                </c:pt>
                <c:pt idx="37">
                  <c:v>2.1959606029648784</c:v>
                </c:pt>
                <c:pt idx="38">
                  <c:v>2.260346471148275</c:v>
                </c:pt>
                <c:pt idx="39">
                  <c:v>2.271264656318972</c:v>
                </c:pt>
                <c:pt idx="40">
                  <c:v>2.234457382112749</c:v>
                </c:pt>
                <c:pt idx="41">
                  <c:v>2.3060647359726887</c:v>
                </c:pt>
                <c:pt idx="42">
                  <c:v>2.35152583580544</c:v>
                </c:pt>
                <c:pt idx="43">
                  <c:v>2.363732208645059</c:v>
                </c:pt>
                <c:pt idx="44">
                  <c:v>2.188652872152084</c:v>
                </c:pt>
                <c:pt idx="45">
                  <c:v>2.132920379962679</c:v>
                </c:pt>
                <c:pt idx="46">
                  <c:v>2.166592525504901</c:v>
                </c:pt>
                <c:pt idx="47">
                  <c:v>2.1313076952782724</c:v>
                </c:pt>
                <c:pt idx="48">
                  <c:v>2.130430879236532</c:v>
                </c:pt>
                <c:pt idx="49">
                  <c:v>2.07466213354059</c:v>
                </c:pt>
                <c:pt idx="50">
                  <c:v>2.0069506894370344</c:v>
                </c:pt>
                <c:pt idx="51">
                  <c:v>2.058643730612223</c:v>
                </c:pt>
                <c:pt idx="52">
                  <c:v>2.0889449891507734</c:v>
                </c:pt>
                <c:pt idx="53">
                  <c:v>2.239364301586662</c:v>
                </c:pt>
                <c:pt idx="54">
                  <c:v>2.296485603278514</c:v>
                </c:pt>
                <c:pt idx="55">
                  <c:v>2.31351228181913</c:v>
                </c:pt>
                <c:pt idx="56">
                  <c:v>2.356004221779748</c:v>
                </c:pt>
                <c:pt idx="57">
                  <c:v>2.3243956936392562</c:v>
                </c:pt>
                <c:pt idx="58">
                  <c:v>2.1657598792884643</c:v>
                </c:pt>
                <c:pt idx="59">
                  <c:v>2.2667126390135546</c:v>
                </c:pt>
                <c:pt idx="60">
                  <c:v>2.295863240007547</c:v>
                </c:pt>
                <c:pt idx="61">
                  <c:v>2.2190996912333594</c:v>
                </c:pt>
                <c:pt idx="62">
                  <c:v>2.1227970268002534</c:v>
                </c:pt>
                <c:pt idx="63">
                  <c:v>2.2303860255797128</c:v>
                </c:pt>
                <c:pt idx="64">
                  <c:v>2.1820129652685725</c:v>
                </c:pt>
                <c:pt idx="65">
                  <c:v>2.148495511115006</c:v>
                </c:pt>
                <c:pt idx="66">
                  <c:v>2.138423630727563</c:v>
                </c:pt>
                <c:pt idx="67">
                  <c:v>2.1919655883311</c:v>
                </c:pt>
                <c:pt idx="68">
                  <c:v>2.1796832343427646</c:v>
                </c:pt>
                <c:pt idx="69">
                  <c:v>2.23930228009706</c:v>
                </c:pt>
                <c:pt idx="70">
                  <c:v>2.2005004731644022</c:v>
                </c:pt>
                <c:pt idx="71">
                  <c:v>2.346291495339749</c:v>
                </c:pt>
                <c:pt idx="72">
                  <c:v>2.5618914758973483</c:v>
                </c:pt>
                <c:pt idx="73">
                  <c:v>2.456691237892309</c:v>
                </c:pt>
                <c:pt idx="74">
                  <c:v>2.448440977238222</c:v>
                </c:pt>
                <c:pt idx="75">
                  <c:v>2.44648041925606</c:v>
                </c:pt>
                <c:pt idx="76">
                  <c:v>2.4518976957523786</c:v>
                </c:pt>
                <c:pt idx="77">
                  <c:v>2.519643733227376</c:v>
                </c:pt>
                <c:pt idx="78">
                  <c:v>2.53389735786221</c:v>
                </c:pt>
                <c:pt idx="79">
                  <c:v>2.6559125685526643</c:v>
                </c:pt>
                <c:pt idx="80">
                  <c:v>2.569371016670228</c:v>
                </c:pt>
                <c:pt idx="81">
                  <c:v>2.588483046349858</c:v>
                </c:pt>
                <c:pt idx="82">
                  <c:v>2.522646329794585</c:v>
                </c:pt>
                <c:pt idx="83">
                  <c:v>2.484399900100317</c:v>
                </c:pt>
                <c:pt idx="84">
                  <c:v>2.5162372715206986</c:v>
                </c:pt>
                <c:pt idx="85">
                  <c:v>2.39370557970246</c:v>
                </c:pt>
                <c:pt idx="86">
                  <c:v>2.3138458672077333</c:v>
                </c:pt>
                <c:pt idx="87">
                  <c:v>2.356594064353602</c:v>
                </c:pt>
                <c:pt idx="88">
                  <c:v>2.442928324234073</c:v>
                </c:pt>
                <c:pt idx="89">
                  <c:v>2.403472098665077</c:v>
                </c:pt>
                <c:pt idx="90">
                  <c:v>2.5928372295944047</c:v>
                </c:pt>
                <c:pt idx="91">
                  <c:v>2.630570144463097</c:v>
                </c:pt>
                <c:pt idx="92">
                  <c:v>2.490065893587908</c:v>
                </c:pt>
                <c:pt idx="93">
                  <c:v>2.303317655678289</c:v>
                </c:pt>
                <c:pt idx="94">
                  <c:v>2.223052842253979</c:v>
                </c:pt>
                <c:pt idx="95">
                  <c:v>2.179491447871724</c:v>
                </c:pt>
                <c:pt idx="96">
                  <c:v>2.0285739815963084</c:v>
                </c:pt>
                <c:pt idx="97">
                  <c:v>2.0321372201560375</c:v>
                </c:pt>
                <c:pt idx="98">
                  <c:v>2.1307733833030427</c:v>
                </c:pt>
                <c:pt idx="99">
                  <c:v>2.375658168507177</c:v>
                </c:pt>
                <c:pt idx="100">
                  <c:v>2.0639736883179403</c:v>
                </c:pt>
                <c:pt idx="101">
                  <c:v>1.85826581647211</c:v>
                </c:pt>
                <c:pt idx="102">
                  <c:v>1.8021081901842109</c:v>
                </c:pt>
                <c:pt idx="103">
                  <c:v>1.784706690642544</c:v>
                </c:pt>
                <c:pt idx="104">
                  <c:v>1.8106345410800522</c:v>
                </c:pt>
              </c:numCache>
            </c:numRef>
          </c:xVal>
          <c:yVal>
            <c:numRef>
              <c:f>Sheet1!$B$2:$B$106</c:f>
              <c:numCache>
                <c:formatCode>General</c:formatCode>
                <c:ptCount val="105"/>
                <c:pt idx="0">
                  <c:v>0.14163554157656771</c:v>
                </c:pt>
                <c:pt idx="1">
                  <c:v>0.1250515463917526</c:v>
                </c:pt>
                <c:pt idx="2">
                  <c:v>0.12751433512332758</c:v>
                </c:pt>
                <c:pt idx="3">
                  <c:v>0.12668172444269862</c:v>
                </c:pt>
                <c:pt idx="4">
                  <c:v>0.12281565345803594</c:v>
                </c:pt>
                <c:pt idx="5">
                  <c:v>0.14012161987320482</c:v>
                </c:pt>
                <c:pt idx="6">
                  <c:v>0.1696271186440678</c:v>
                </c:pt>
                <c:pt idx="7">
                  <c:v>0.18247813892097015</c:v>
                </c:pt>
                <c:pt idx="8">
                  <c:v>0.1789798511526593</c:v>
                </c:pt>
                <c:pt idx="9">
                  <c:v>0.15191965420798373</c:v>
                </c:pt>
                <c:pt idx="10">
                  <c:v>0.1666872148933547</c:v>
                </c:pt>
                <c:pt idx="11">
                  <c:v>0.15078778926637124</c:v>
                </c:pt>
                <c:pt idx="12">
                  <c:v>0.13318385650224215</c:v>
                </c:pt>
                <c:pt idx="13">
                  <c:v>0.12108813446864979</c:v>
                </c:pt>
                <c:pt idx="14">
                  <c:v>0.09653465346534654</c:v>
                </c:pt>
                <c:pt idx="15">
                  <c:v>0.08507179626117584</c:v>
                </c:pt>
                <c:pt idx="16">
                  <c:v>0.08976179208076984</c:v>
                </c:pt>
                <c:pt idx="17">
                  <c:v>0.08260869565217391</c:v>
                </c:pt>
                <c:pt idx="18">
                  <c:v>0.07696457471677756</c:v>
                </c:pt>
                <c:pt idx="19">
                  <c:v>0.07254775702940545</c:v>
                </c:pt>
                <c:pt idx="20">
                  <c:v>0.06646997570288095</c:v>
                </c:pt>
                <c:pt idx="21">
                  <c:v>0.06817677104152788</c:v>
                </c:pt>
                <c:pt idx="22">
                  <c:v>0.0822879013395705</c:v>
                </c:pt>
                <c:pt idx="23">
                  <c:v>0.09319727891156462</c:v>
                </c:pt>
                <c:pt idx="24">
                  <c:v>0.09057527539779682</c:v>
                </c:pt>
                <c:pt idx="25">
                  <c:v>0.1037037037037037</c:v>
                </c:pt>
                <c:pt idx="26">
                  <c:v>0.12445464982778416</c:v>
                </c:pt>
                <c:pt idx="27">
                  <c:v>0.12218579234972678</c:v>
                </c:pt>
                <c:pt idx="28">
                  <c:v>0.16037534655576882</c:v>
                </c:pt>
                <c:pt idx="29">
                  <c:v>0.15294771968854282</c:v>
                </c:pt>
                <c:pt idx="30">
                  <c:v>0.1438423645320197</c:v>
                </c:pt>
                <c:pt idx="31">
                  <c:v>0.16059067835717583</c:v>
                </c:pt>
                <c:pt idx="32">
                  <c:v>0.17548932384341637</c:v>
                </c:pt>
                <c:pt idx="33">
                  <c:v>0.16313887454827053</c:v>
                </c:pt>
                <c:pt idx="34">
                  <c:v>0.16279442397051755</c:v>
                </c:pt>
                <c:pt idx="35">
                  <c:v>0.1569269128876422</c:v>
                </c:pt>
                <c:pt idx="36">
                  <c:v>0.13662436989396837</c:v>
                </c:pt>
                <c:pt idx="37">
                  <c:v>0.1353484790142472</c:v>
                </c:pt>
                <c:pt idx="38">
                  <c:v>0.13179794851945037</c:v>
                </c:pt>
                <c:pt idx="39">
                  <c:v>0.1223595057791949</c:v>
                </c:pt>
                <c:pt idx="40">
                  <c:v>0.12189616252821671</c:v>
                </c:pt>
                <c:pt idx="41">
                  <c:v>0.12644686075061382</c:v>
                </c:pt>
                <c:pt idx="42">
                  <c:v>0.1215926493108729</c:v>
                </c:pt>
                <c:pt idx="43">
                  <c:v>0.11488944864259726</c:v>
                </c:pt>
                <c:pt idx="44">
                  <c:v>0.12874056120070848</c:v>
                </c:pt>
                <c:pt idx="45">
                  <c:v>0.1531594608786977</c:v>
                </c:pt>
                <c:pt idx="46">
                  <c:v>0.15876995069775215</c:v>
                </c:pt>
                <c:pt idx="47">
                  <c:v>0.1564378227376619</c:v>
                </c:pt>
                <c:pt idx="48">
                  <c:v>0.15073094867807155</c:v>
                </c:pt>
                <c:pt idx="49">
                  <c:v>0.15255923313438235</c:v>
                </c:pt>
                <c:pt idx="50">
                  <c:v>0.1529775997086141</c:v>
                </c:pt>
                <c:pt idx="51">
                  <c:v>0.14106753812636166</c:v>
                </c:pt>
                <c:pt idx="52">
                  <c:v>0.1386390478786227</c:v>
                </c:pt>
                <c:pt idx="53">
                  <c:v>0.12826158758119563</c:v>
                </c:pt>
                <c:pt idx="54">
                  <c:v>0.13059921995036047</c:v>
                </c:pt>
                <c:pt idx="55">
                  <c:v>0.12580954665387384</c:v>
                </c:pt>
                <c:pt idx="56">
                  <c:v>0.12915313514863852</c:v>
                </c:pt>
                <c:pt idx="57">
                  <c:v>0.1269622401357658</c:v>
                </c:pt>
                <c:pt idx="58">
                  <c:v>0.1528197644115501</c:v>
                </c:pt>
                <c:pt idx="59">
                  <c:v>0.13807725435632412</c:v>
                </c:pt>
                <c:pt idx="60">
                  <c:v>0.14190755912814965</c:v>
                </c:pt>
                <c:pt idx="61">
                  <c:v>0.1562639821029083</c:v>
                </c:pt>
                <c:pt idx="62">
                  <c:v>0.17758022549869903</c:v>
                </c:pt>
                <c:pt idx="63">
                  <c:v>0.18087082129591417</c:v>
                </c:pt>
                <c:pt idx="64">
                  <c:v>0.17451044033322513</c:v>
                </c:pt>
                <c:pt idx="65">
                  <c:v>0.16851195748449957</c:v>
                </c:pt>
                <c:pt idx="66">
                  <c:v>0.1676754091010984</c:v>
                </c:pt>
                <c:pt idx="67">
                  <c:v>0.1579381929700401</c:v>
                </c:pt>
                <c:pt idx="68">
                  <c:v>0.14289547833087346</c:v>
                </c:pt>
                <c:pt idx="69">
                  <c:v>0.13320825515947468</c:v>
                </c:pt>
                <c:pt idx="70">
                  <c:v>0.13493589743589743</c:v>
                </c:pt>
                <c:pt idx="71">
                  <c:v>0.13415726312018628</c:v>
                </c:pt>
                <c:pt idx="72">
                  <c:v>0.12701921441931643</c:v>
                </c:pt>
                <c:pt idx="73">
                  <c:v>0.1339546783625731</c:v>
                </c:pt>
                <c:pt idx="74">
                  <c:v>0.13998979418268412</c:v>
                </c:pt>
                <c:pt idx="75">
                  <c:v>0.15561959654178675</c:v>
                </c:pt>
                <c:pt idx="76">
                  <c:v>0.16498464238701185</c:v>
                </c:pt>
                <c:pt idx="77">
                  <c:v>0.15454134658834162</c:v>
                </c:pt>
                <c:pt idx="78">
                  <c:v>0.16553398058252428</c:v>
                </c:pt>
                <c:pt idx="79">
                  <c:v>0.14758380496299522</c:v>
                </c:pt>
                <c:pt idx="80">
                  <c:v>0.1394845137535196</c:v>
                </c:pt>
                <c:pt idx="81">
                  <c:v>0.14211469534050178</c:v>
                </c:pt>
                <c:pt idx="82">
                  <c:v>0.14853358561967833</c:v>
                </c:pt>
                <c:pt idx="83">
                  <c:v>0.14887063655030802</c:v>
                </c:pt>
                <c:pt idx="84">
                  <c:v>0.14924980257962622</c:v>
                </c:pt>
                <c:pt idx="85">
                  <c:v>0.1578826237054085</c:v>
                </c:pt>
                <c:pt idx="86">
                  <c:v>0.17418677859391396</c:v>
                </c:pt>
                <c:pt idx="87">
                  <c:v>0.1725151253241141</c:v>
                </c:pt>
                <c:pt idx="88">
                  <c:v>0.16112700858463572</c:v>
                </c:pt>
                <c:pt idx="89">
                  <c:v>0.18039673278879814</c:v>
                </c:pt>
                <c:pt idx="90">
                  <c:v>0.1560317842523477</c:v>
                </c:pt>
                <c:pt idx="91">
                  <c:v>0.1484988452655889</c:v>
                </c:pt>
                <c:pt idx="92">
                  <c:v>0.15676782722025692</c:v>
                </c:pt>
                <c:pt idx="93">
                  <c:v>0.15562431743720423</c:v>
                </c:pt>
                <c:pt idx="94">
                  <c:v>0.15969024696525744</c:v>
                </c:pt>
                <c:pt idx="95">
                  <c:v>0.1585923217550274</c:v>
                </c:pt>
                <c:pt idx="96">
                  <c:v>0.15127545975875026</c:v>
                </c:pt>
                <c:pt idx="97">
                  <c:v>0.1533891439373481</c:v>
                </c:pt>
                <c:pt idx="98">
                  <c:v>0.14894786432160803</c:v>
                </c:pt>
                <c:pt idx="99">
                  <c:v>0.1511102247041617</c:v>
                </c:pt>
                <c:pt idx="100">
                  <c:v>0.15323639301221853</c:v>
                </c:pt>
                <c:pt idx="101">
                  <c:v>0.15513869132290184</c:v>
                </c:pt>
                <c:pt idx="102">
                  <c:v>0.15776112185686653</c:v>
                </c:pt>
                <c:pt idx="103">
                  <c:v>0.15422612513721184</c:v>
                </c:pt>
                <c:pt idx="104">
                  <c:v>0.152528872958980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7791278740514216</c:v>
                </c:pt>
                <c:pt idx="1">
                  <c:v>1.8008520231122296</c:v>
                </c:pt>
                <c:pt idx="2">
                  <c:v>1.7525367417100157</c:v>
                </c:pt>
                <c:pt idx="3">
                  <c:v>1.6273906172099777</c:v>
                </c:pt>
                <c:pt idx="4">
                  <c:v>1.7035465282631543</c:v>
                </c:pt>
                <c:pt idx="5">
                  <c:v>1.6756802356121099</c:v>
                </c:pt>
                <c:pt idx="6">
                  <c:v>1.7066837714465608</c:v>
                </c:pt>
                <c:pt idx="7">
                  <c:v>1.5602630389822556</c:v>
                </c:pt>
                <c:pt idx="8">
                  <c:v>1.669751345457535</c:v>
                </c:pt>
                <c:pt idx="9">
                  <c:v>1.69111107794141</c:v>
                </c:pt>
                <c:pt idx="10">
                  <c:v>1.6484803306877642</c:v>
                </c:pt>
                <c:pt idx="11">
                  <c:v>1.8007573541437634</c:v>
                </c:pt>
                <c:pt idx="12">
                  <c:v>1.7662898360101023</c:v>
                </c:pt>
                <c:pt idx="13">
                  <c:v>1.6619205624593847</c:v>
                </c:pt>
                <c:pt idx="14">
                  <c:v>1.6495729665393561</c:v>
                </c:pt>
                <c:pt idx="15">
                  <c:v>1.747902831978059</c:v>
                </c:pt>
                <c:pt idx="16">
                  <c:v>1.6968089263063313</c:v>
                </c:pt>
                <c:pt idx="17">
                  <c:v>1.6003960749465267</c:v>
                </c:pt>
                <c:pt idx="18">
                  <c:v>1.699448488218143</c:v>
                </c:pt>
                <c:pt idx="19">
                  <c:v>1.962578412581896</c:v>
                </c:pt>
                <c:pt idx="20">
                  <c:v>1.879161627778864</c:v>
                </c:pt>
                <c:pt idx="21">
                  <c:v>1.8366497487640363</c:v>
                </c:pt>
                <c:pt idx="22">
                  <c:v>1.7842112889906416</c:v>
                </c:pt>
                <c:pt idx="23">
                  <c:v>1.7533609469336335</c:v>
                </c:pt>
                <c:pt idx="24">
                  <c:v>1.7466581462907267</c:v>
                </c:pt>
                <c:pt idx="25">
                  <c:v>1.717367585095252</c:v>
                </c:pt>
                <c:pt idx="26">
                  <c:v>1.640941909759226</c:v>
                </c:pt>
                <c:pt idx="27">
                  <c:v>1.6665632707301459</c:v>
                </c:pt>
                <c:pt idx="28">
                  <c:v>1.7264236061344935</c:v>
                </c:pt>
                <c:pt idx="29">
                  <c:v>1.716717218899139</c:v>
                </c:pt>
                <c:pt idx="30">
                  <c:v>1.7100650703606972</c:v>
                </c:pt>
                <c:pt idx="31">
                  <c:v>1.6988597414627984</c:v>
                </c:pt>
                <c:pt idx="32">
                  <c:v>1.6858693326148444</c:v>
                </c:pt>
                <c:pt idx="33">
                  <c:v>1.6282734301249318</c:v>
                </c:pt>
                <c:pt idx="34">
                  <c:v>1.684692769377927</c:v>
                </c:pt>
                <c:pt idx="35">
                  <c:v>1.6682257683098791</c:v>
                </c:pt>
                <c:pt idx="36">
                  <c:v>1.7274421948450218</c:v>
                </c:pt>
                <c:pt idx="37">
                  <c:v>1.7193413753434863</c:v>
                </c:pt>
                <c:pt idx="38">
                  <c:v>1.7405249030297187</c:v>
                </c:pt>
                <c:pt idx="39">
                  <c:v>1.7780410752613796</c:v>
                </c:pt>
                <c:pt idx="40">
                  <c:v>1.7376735265059282</c:v>
                </c:pt>
                <c:pt idx="41">
                  <c:v>1.7630807801540354</c:v>
                </c:pt>
                <c:pt idx="42">
                  <c:v>1.7860104101928576</c:v>
                </c:pt>
                <c:pt idx="43">
                  <c:v>1.8511967650064085</c:v>
                </c:pt>
                <c:pt idx="44">
                  <c:v>1.762300467845822</c:v>
                </c:pt>
                <c:pt idx="45">
                  <c:v>1.7924635851238515</c:v>
                </c:pt>
                <c:pt idx="46">
                  <c:v>1.7251794957148747</c:v>
                </c:pt>
                <c:pt idx="47">
                  <c:v>1.7574803445764844</c:v>
                </c:pt>
                <c:pt idx="48">
                  <c:v>1.738200082324919</c:v>
                </c:pt>
                <c:pt idx="49">
                  <c:v>1.8172848437413518</c:v>
                </c:pt>
                <c:pt idx="50">
                  <c:v>1.8288947488384553</c:v>
                </c:pt>
                <c:pt idx="51">
                  <c:v>1.8541703616959206</c:v>
                </c:pt>
              </c:numCache>
            </c:numRef>
          </c:xVal>
          <c:yVal>
            <c:numRef>
              <c:f>Sheet1!$B$109:$B$160</c:f>
              <c:numCache>
                <c:formatCode>General</c:formatCode>
                <c:ptCount val="52"/>
                <c:pt idx="0">
                  <c:v>0.1536774044567602</c:v>
                </c:pt>
                <c:pt idx="1">
                  <c:v>0.151123046875</c:v>
                </c:pt>
                <c:pt idx="2">
                  <c:v>0.17841079460269865</c:v>
                </c:pt>
                <c:pt idx="3">
                  <c:v>0.20530098831985624</c:v>
                </c:pt>
                <c:pt idx="4">
                  <c:v>0.17649790989317232</c:v>
                </c:pt>
                <c:pt idx="5">
                  <c:v>0.18107392246568746</c:v>
                </c:pt>
                <c:pt idx="6">
                  <c:v>0.2081946755407654</c:v>
                </c:pt>
                <c:pt idx="7">
                  <c:v>0.22451888809693513</c:v>
                </c:pt>
                <c:pt idx="8">
                  <c:v>0.1910931174089069</c:v>
                </c:pt>
                <c:pt idx="9">
                  <c:v>0.19284149013878743</c:v>
                </c:pt>
                <c:pt idx="10">
                  <c:v>0.2099576580522704</c:v>
                </c:pt>
                <c:pt idx="11">
                  <c:v>0.19953912223735204</c:v>
                </c:pt>
                <c:pt idx="12">
                  <c:v>0.1943785134291068</c:v>
                </c:pt>
                <c:pt idx="13">
                  <c:v>0.18854509545753786</c:v>
                </c:pt>
                <c:pt idx="14">
                  <c:v>0.19723233794610343</c:v>
                </c:pt>
                <c:pt idx="15">
                  <c:v>0.18796992481203006</c:v>
                </c:pt>
                <c:pt idx="16">
                  <c:v>0.18683839096683133</c:v>
                </c:pt>
                <c:pt idx="17">
                  <c:v>0.21081376297105406</c:v>
                </c:pt>
                <c:pt idx="18">
                  <c:v>0.18598779718072797</c:v>
                </c:pt>
                <c:pt idx="19">
                  <c:v>0.1615177275554634</c:v>
                </c:pt>
                <c:pt idx="20">
                  <c:v>0.15236818588025022</c:v>
                </c:pt>
                <c:pt idx="21">
                  <c:v>0.1649957032368949</c:v>
                </c:pt>
                <c:pt idx="22">
                  <c:v>0.17030201342281878</c:v>
                </c:pt>
                <c:pt idx="23">
                  <c:v>0.17312814442142646</c:v>
                </c:pt>
                <c:pt idx="24">
                  <c:v>0.1747290510177108</c:v>
                </c:pt>
                <c:pt idx="25">
                  <c:v>0.18630527817403708</c:v>
                </c:pt>
                <c:pt idx="26">
                  <c:v>0.17228648781688408</c:v>
                </c:pt>
                <c:pt idx="27">
                  <c:v>0.17630057803468208</c:v>
                </c:pt>
                <c:pt idx="28">
                  <c:v>0.16915113871635612</c:v>
                </c:pt>
                <c:pt idx="29">
                  <c:v>0.1754254254254254</c:v>
                </c:pt>
                <c:pt idx="30">
                  <c:v>0.17612323491655968</c:v>
                </c:pt>
                <c:pt idx="31">
                  <c:v>0.17221494102228047</c:v>
                </c:pt>
                <c:pt idx="32">
                  <c:v>0.17115251897860592</c:v>
                </c:pt>
                <c:pt idx="33">
                  <c:v>0.19745461351300767</c:v>
                </c:pt>
                <c:pt idx="34">
                  <c:v>0.21060335013823386</c:v>
                </c:pt>
                <c:pt idx="35">
                  <c:v>0.20055932880543348</c:v>
                </c:pt>
                <c:pt idx="36">
                  <c:v>0.1940652818991098</c:v>
                </c:pt>
                <c:pt idx="37">
                  <c:v>0.18773135906927552</c:v>
                </c:pt>
                <c:pt idx="38">
                  <c:v>0.18181818181818182</c:v>
                </c:pt>
                <c:pt idx="39">
                  <c:v>0.1794871794871795</c:v>
                </c:pt>
                <c:pt idx="40">
                  <c:v>0.16887486855941114</c:v>
                </c:pt>
                <c:pt idx="41">
                  <c:v>0.1781150159744409</c:v>
                </c:pt>
                <c:pt idx="42">
                  <c:v>0.17142215232532015</c:v>
                </c:pt>
                <c:pt idx="43">
                  <c:v>0.15548970679975047</c:v>
                </c:pt>
                <c:pt idx="44">
                  <c:v>0.15451819011605164</c:v>
                </c:pt>
                <c:pt idx="45">
                  <c:v>0.1724002358954197</c:v>
                </c:pt>
                <c:pt idx="46">
                  <c:v>0.20424094139578236</c:v>
                </c:pt>
                <c:pt idx="47">
                  <c:v>0.1982805528349113</c:v>
                </c:pt>
                <c:pt idx="48">
                  <c:v>0.19576479142052167</c:v>
                </c:pt>
                <c:pt idx="49">
                  <c:v>0.2023936170212766</c:v>
                </c:pt>
                <c:pt idx="50">
                  <c:v>0.1888550333997422</c:v>
                </c:pt>
                <c:pt idx="51">
                  <c:v>0.1839577836411609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663926289676703</c:v>
                </c:pt>
              </c:numCache>
            </c:numRef>
          </c:xVal>
          <c:yVal>
            <c:numRef>
              <c:f>Sheet1!$B$163:$B$164</c:f>
              <c:numCache>
                <c:formatCode>General</c:formatCode>
                <c:ptCount val="2"/>
                <c:pt idx="0">
                  <c:v>0.19274280637067534</c:v>
                </c:pt>
                <c:pt idx="1">
                  <c:v>0.1927428063706753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663926289676703</c:v>
                </c:pt>
                <c:pt idx="1">
                  <c:v>1.663926289676703</c:v>
                </c:pt>
              </c:numCache>
            </c:numRef>
          </c:xVal>
          <c:yVal>
            <c:numRef>
              <c:f>Sheet1!$B$167:$B$168</c:f>
              <c:numCache>
                <c:formatCode>General</c:formatCode>
                <c:ptCount val="2"/>
                <c:pt idx="0">
                  <c:v>0.192742806370675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663926289676703</c:v>
                </c:pt>
              </c:numCache>
            </c:numRef>
          </c:xVal>
          <c:yVal>
            <c:numRef>
              <c:f>Sheet1!$B$171:$B$172</c:f>
              <c:numCache>
                <c:formatCode>General</c:formatCode>
                <c:ptCount val="2"/>
                <c:pt idx="0">
                  <c:v>0.19274280637067534</c:v>
                </c:pt>
                <c:pt idx="1">
                  <c:v>0.1927428063706753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663926289676703</c:v>
                </c:pt>
                <c:pt idx="1">
                  <c:v>1.663926289676703</c:v>
                </c:pt>
              </c:numCache>
            </c:numRef>
          </c:xVal>
          <c:yVal>
            <c:numRef>
              <c:f>Sheet1!$B$175:$B$176</c:f>
              <c:numCache>
                <c:formatCode>General</c:formatCode>
                <c:ptCount val="2"/>
                <c:pt idx="0">
                  <c:v>0.192742806370675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7521673684140509</c:v>
                </c:pt>
              </c:numCache>
            </c:numRef>
          </c:xVal>
          <c:yVal>
            <c:numRef>
              <c:f>Sheet1!$B$179:$B$180</c:f>
              <c:numCache>
                <c:formatCode>General</c:formatCode>
                <c:ptCount val="2"/>
                <c:pt idx="0">
                  <c:v>0.18106154375930528</c:v>
                </c:pt>
                <c:pt idx="1">
                  <c:v>0.1810615437593052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7521673684140509</c:v>
                </c:pt>
                <c:pt idx="1">
                  <c:v>1.7521673684140509</c:v>
                </c:pt>
              </c:numCache>
            </c:numRef>
          </c:xVal>
          <c:yVal>
            <c:numRef>
              <c:f>Sheet1!$B$183:$B$184</c:f>
              <c:numCache>
                <c:formatCode>General</c:formatCode>
                <c:ptCount val="2"/>
                <c:pt idx="0">
                  <c:v>0.1810615437593052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7791278740514216</c:v>
                </c:pt>
                <c:pt idx="1">
                  <c:v>1.8008520231122296</c:v>
                </c:pt>
                <c:pt idx="2">
                  <c:v>1.7525367417100157</c:v>
                </c:pt>
                <c:pt idx="3">
                  <c:v>1.6273906172099777</c:v>
                </c:pt>
                <c:pt idx="4">
                  <c:v>1.7035465282631543</c:v>
                </c:pt>
                <c:pt idx="5">
                  <c:v>1.6756802356121099</c:v>
                </c:pt>
                <c:pt idx="6">
                  <c:v>1.7066837714465608</c:v>
                </c:pt>
                <c:pt idx="7">
                  <c:v>1.5602630389822556</c:v>
                </c:pt>
                <c:pt idx="8">
                  <c:v>1.669751345457535</c:v>
                </c:pt>
                <c:pt idx="9">
                  <c:v>1.69111107794141</c:v>
                </c:pt>
                <c:pt idx="10">
                  <c:v>1.6484803306877642</c:v>
                </c:pt>
                <c:pt idx="11">
                  <c:v>1.8007573541437634</c:v>
                </c:pt>
                <c:pt idx="12">
                  <c:v>1.7662898360101023</c:v>
                </c:pt>
                <c:pt idx="13">
                  <c:v>1.6619205624593847</c:v>
                </c:pt>
                <c:pt idx="14">
                  <c:v>1.6495729665393561</c:v>
                </c:pt>
                <c:pt idx="15">
                  <c:v>1.747902831978059</c:v>
                </c:pt>
                <c:pt idx="16">
                  <c:v>1.6968089263063313</c:v>
                </c:pt>
                <c:pt idx="17">
                  <c:v>1.6003960749465267</c:v>
                </c:pt>
                <c:pt idx="18">
                  <c:v>1.699448488218143</c:v>
                </c:pt>
                <c:pt idx="19">
                  <c:v>1.962578412581896</c:v>
                </c:pt>
                <c:pt idx="20">
                  <c:v>1.879161627778864</c:v>
                </c:pt>
                <c:pt idx="21">
                  <c:v>1.8366497487640363</c:v>
                </c:pt>
                <c:pt idx="22">
                  <c:v>1.7842112889906416</c:v>
                </c:pt>
                <c:pt idx="23">
                  <c:v>1.7533609469336335</c:v>
                </c:pt>
                <c:pt idx="24">
                  <c:v>1.7466581462907267</c:v>
                </c:pt>
                <c:pt idx="25">
                  <c:v>1.717367585095252</c:v>
                </c:pt>
                <c:pt idx="26">
                  <c:v>1.640941909759226</c:v>
                </c:pt>
                <c:pt idx="27">
                  <c:v>1.6665632707301459</c:v>
                </c:pt>
                <c:pt idx="28">
                  <c:v>1.7264236061344935</c:v>
                </c:pt>
                <c:pt idx="29">
                  <c:v>1.716717218899139</c:v>
                </c:pt>
                <c:pt idx="30">
                  <c:v>1.7100650703606972</c:v>
                </c:pt>
                <c:pt idx="31">
                  <c:v>1.6988597414627984</c:v>
                </c:pt>
                <c:pt idx="32">
                  <c:v>1.6858693326148444</c:v>
                </c:pt>
                <c:pt idx="33">
                  <c:v>1.6282734301249318</c:v>
                </c:pt>
                <c:pt idx="34">
                  <c:v>1.684692769377927</c:v>
                </c:pt>
                <c:pt idx="35">
                  <c:v>1.6682257683098791</c:v>
                </c:pt>
                <c:pt idx="36">
                  <c:v>1.7274421948450218</c:v>
                </c:pt>
                <c:pt idx="37">
                  <c:v>1.7193413753434863</c:v>
                </c:pt>
                <c:pt idx="38">
                  <c:v>1.7405249030297187</c:v>
                </c:pt>
                <c:pt idx="39">
                  <c:v>1.7780410752613796</c:v>
                </c:pt>
                <c:pt idx="40">
                  <c:v>1.7376735265059282</c:v>
                </c:pt>
                <c:pt idx="41">
                  <c:v>1.7630807801540354</c:v>
                </c:pt>
                <c:pt idx="42">
                  <c:v>1.7860104101928576</c:v>
                </c:pt>
                <c:pt idx="43">
                  <c:v>1.8511967650064085</c:v>
                </c:pt>
                <c:pt idx="44">
                  <c:v>1.762300467845822</c:v>
                </c:pt>
                <c:pt idx="45">
                  <c:v>1.7924635851238515</c:v>
                </c:pt>
                <c:pt idx="46">
                  <c:v>1.7251794957148747</c:v>
                </c:pt>
                <c:pt idx="47">
                  <c:v>1.7574803445764844</c:v>
                </c:pt>
                <c:pt idx="48">
                  <c:v>1.738200082324919</c:v>
                </c:pt>
                <c:pt idx="49">
                  <c:v>1.8172848437413518</c:v>
                </c:pt>
                <c:pt idx="50">
                  <c:v>1.8288947488384553</c:v>
                </c:pt>
                <c:pt idx="51">
                  <c:v>1.8541703616959206</c:v>
                </c:pt>
                <c:pt idx="52">
                  <c:v>1.663926289676703</c:v>
                </c:pt>
                <c:pt idx="53">
                  <c:v>1.663926289676703</c:v>
                </c:pt>
                <c:pt idx="54">
                  <c:v>1.7521673684140509</c:v>
                </c:pt>
              </c:numCache>
            </c:numRef>
          </c:xVal>
          <c:yVal>
            <c:numRef>
              <c:f>Sheet1!$B$187:$B$241</c:f>
              <c:numCache>
                <c:formatCode>General</c:formatCode>
                <c:ptCount val="55"/>
                <c:pt idx="0">
                  <c:v>0.17749253994620753</c:v>
                </c:pt>
                <c:pt idx="1">
                  <c:v>0.17461671959338537</c:v>
                </c:pt>
                <c:pt idx="2">
                  <c:v>0.18101264650494783</c:v>
                </c:pt>
                <c:pt idx="3">
                  <c:v>0.1975793608515782</c:v>
                </c:pt>
                <c:pt idx="4">
                  <c:v>0.18749792022154907</c:v>
                </c:pt>
                <c:pt idx="5">
                  <c:v>0.1911868311813872</c:v>
                </c:pt>
                <c:pt idx="6">
                  <c:v>0.18708261521819364</c:v>
                </c:pt>
                <c:pt idx="7">
                  <c:v>0.20646564013287885</c:v>
                </c:pt>
                <c:pt idx="8">
                  <c:v>0.19197169151945834</c:v>
                </c:pt>
                <c:pt idx="9">
                  <c:v>0.18914411225566188</c:v>
                </c:pt>
                <c:pt idx="10">
                  <c:v>0.19478752642414723</c:v>
                </c:pt>
                <c:pt idx="11">
                  <c:v>0.17462925177338165</c:v>
                </c:pt>
                <c:pt idx="12">
                  <c:v>0.17919202612567486</c:v>
                </c:pt>
                <c:pt idx="13">
                  <c:v>0.19300832246235874</c:v>
                </c:pt>
                <c:pt idx="14">
                  <c:v>0.1946428844217638</c:v>
                </c:pt>
                <c:pt idx="15">
                  <c:v>0.18162607867589273</c:v>
                </c:pt>
                <c:pt idx="16">
                  <c:v>0.18838983699041356</c:v>
                </c:pt>
                <c:pt idx="17">
                  <c:v>0.2011528703979845</c:v>
                </c:pt>
                <c:pt idx="18">
                  <c:v>0.18804041451833997</c:v>
                </c:pt>
                <c:pt idx="19">
                  <c:v>0.15320754765650263</c:v>
                </c:pt>
                <c:pt idx="20">
                  <c:v>0.16425017523340169</c:v>
                </c:pt>
                <c:pt idx="21">
                  <c:v>0.16987785374754494</c:v>
                </c:pt>
                <c:pt idx="22">
                  <c:v>0.1768196027414807</c:v>
                </c:pt>
                <c:pt idx="23">
                  <c:v>0.18090353907108023</c:v>
                </c:pt>
                <c:pt idx="24">
                  <c:v>0.18179084887805244</c:v>
                </c:pt>
                <c:pt idx="25">
                  <c:v>0.18566830303267773</c:v>
                </c:pt>
                <c:pt idx="26">
                  <c:v>0.19578545477907378</c:v>
                </c:pt>
                <c:pt idx="27">
                  <c:v>0.19239372554995965</c:v>
                </c:pt>
                <c:pt idx="28">
                  <c:v>0.18446947634688496</c:v>
                </c:pt>
                <c:pt idx="29">
                  <c:v>0.18575439783613049</c:v>
                </c:pt>
                <c:pt idx="30">
                  <c:v>0.18663500236997435</c:v>
                </c:pt>
                <c:pt idx="31">
                  <c:v>0.18811835220404352</c:v>
                </c:pt>
                <c:pt idx="32">
                  <c:v>0.18983800907308168</c:v>
                </c:pt>
                <c:pt idx="33">
                  <c:v>0.1974624949922319</c:v>
                </c:pt>
                <c:pt idx="34">
                  <c:v>0.18999376129581033</c:v>
                </c:pt>
                <c:pt idx="35">
                  <c:v>0.1921736458422145</c:v>
                </c:pt>
                <c:pt idx="36">
                  <c:v>0.1843346366283444</c:v>
                </c:pt>
                <c:pt idx="37">
                  <c:v>0.18540701472388432</c:v>
                </c:pt>
                <c:pt idx="38">
                  <c:v>0.18260276126870328</c:v>
                </c:pt>
                <c:pt idx="39">
                  <c:v>0.17763640924442847</c:v>
                </c:pt>
                <c:pt idx="40">
                  <c:v>0.18298022353973278</c:v>
                </c:pt>
                <c:pt idx="41">
                  <c:v>0.1796168376162602</c:v>
                </c:pt>
                <c:pt idx="42">
                  <c:v>0.17658143694009332</c:v>
                </c:pt>
                <c:pt idx="43">
                  <c:v>0.16795213480382248</c:v>
                </c:pt>
                <c:pt idx="44">
                  <c:v>0.17972013455144678</c:v>
                </c:pt>
                <c:pt idx="45">
                  <c:v>0.1757271723263251</c:v>
                </c:pt>
                <c:pt idx="46">
                  <c:v>0.18463417039570054</c:v>
                </c:pt>
                <c:pt idx="47">
                  <c:v>0.18035821747760752</c:v>
                </c:pt>
                <c:pt idx="48">
                  <c:v>0.18291051862577218</c:v>
                </c:pt>
                <c:pt idx="49">
                  <c:v>0.17244135981808528</c:v>
                </c:pt>
                <c:pt idx="50">
                  <c:v>0.17090445260578768</c:v>
                </c:pt>
                <c:pt idx="51">
                  <c:v>0.167558493153839</c:v>
                </c:pt>
                <c:pt idx="52">
                  <c:v>0.19274280637067534</c:v>
                </c:pt>
                <c:pt idx="53">
                  <c:v>0.19274280637067534</c:v>
                </c:pt>
                <c:pt idx="54">
                  <c:v>0.1810615437593052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94226657163221"/>
          <c:min val="0.0531759805623047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0.4157</c:v>
                </c:pt>
                <c:pt idx="1">
                  <c:v>833.0948</c:v>
                </c:pt>
                <c:pt idx="2">
                  <c:v>877.0721</c:v>
                </c:pt>
                <c:pt idx="3">
                  <c:v>894.9039</c:v>
                </c:pt>
                <c:pt idx="4">
                  <c:v>903.5401</c:v>
                </c:pt>
                <c:pt idx="5">
                  <c:v>895.4072</c:v>
                </c:pt>
                <c:pt idx="6">
                  <c:v>841.8521</c:v>
                </c:pt>
                <c:pt idx="7">
                  <c:v>858.8852</c:v>
                </c:pt>
                <c:pt idx="8">
                  <c:v>850.4341</c:v>
                </c:pt>
                <c:pt idx="9">
                  <c:v>850.9649</c:v>
                </c:pt>
                <c:pt idx="10">
                  <c:v>827.7996</c:v>
                </c:pt>
                <c:pt idx="11">
                  <c:v>865.698</c:v>
                </c:pt>
                <c:pt idx="12">
                  <c:v>870.6397</c:v>
                </c:pt>
                <c:pt idx="13">
                  <c:v>877.0027</c:v>
                </c:pt>
                <c:pt idx="14">
                  <c:v>900.9844</c:v>
                </c:pt>
                <c:pt idx="15">
                  <c:v>916.1449</c:v>
                </c:pt>
                <c:pt idx="16">
                  <c:v>920.5272</c:v>
                </c:pt>
                <c:pt idx="17">
                  <c:v>917.2086</c:v>
                </c:pt>
                <c:pt idx="18">
                  <c:v>945.465</c:v>
                </c:pt>
                <c:pt idx="19">
                  <c:v>928.1686</c:v>
                </c:pt>
                <c:pt idx="20">
                  <c:v>980.1253</c:v>
                </c:pt>
                <c:pt idx="21">
                  <c:v>1007.3453</c:v>
                </c:pt>
                <c:pt idx="22">
                  <c:v>977.8036</c:v>
                </c:pt>
                <c:pt idx="23">
                  <c:v>972.1144</c:v>
                </c:pt>
                <c:pt idx="24">
                  <c:v>1006.0563</c:v>
                </c:pt>
                <c:pt idx="25">
                  <c:v>972.2673</c:v>
                </c:pt>
                <c:pt idx="26">
                  <c:v>944.7288</c:v>
                </c:pt>
                <c:pt idx="27">
                  <c:v>1002.3166</c:v>
                </c:pt>
                <c:pt idx="28">
                  <c:v>988.2793</c:v>
                </c:pt>
                <c:pt idx="29">
                  <c:v>947.8739</c:v>
                </c:pt>
                <c:pt idx="30">
                  <c:v>948.0548</c:v>
                </c:pt>
                <c:pt idx="31">
                  <c:v>961.7687</c:v>
                </c:pt>
                <c:pt idx="32">
                  <c:v>938.4373</c:v>
                </c:pt>
                <c:pt idx="33">
                  <c:v>924.5707</c:v>
                </c:pt>
                <c:pt idx="34">
                  <c:v>909.6762</c:v>
                </c:pt>
                <c:pt idx="35">
                  <c:v>965.3873</c:v>
                </c:pt>
                <c:pt idx="36">
                  <c:v>1073.4796</c:v>
                </c:pt>
                <c:pt idx="37">
                  <c:v>1104.4395</c:v>
                </c:pt>
                <c:pt idx="38">
                  <c:v>1131.7548</c:v>
                </c:pt>
                <c:pt idx="39">
                  <c:v>1138.3583</c:v>
                </c:pt>
                <c:pt idx="40">
                  <c:v>1124.7606</c:v>
                </c:pt>
                <c:pt idx="41">
                  <c:v>1155.3412</c:v>
                </c:pt>
                <c:pt idx="42">
                  <c:v>1175.1574</c:v>
                </c:pt>
                <c:pt idx="43">
                  <c:v>1179.9659</c:v>
                </c:pt>
                <c:pt idx="44">
                  <c:v>1092.4663</c:v>
                </c:pt>
                <c:pt idx="45">
                  <c:v>1060.7269</c:v>
                </c:pt>
                <c:pt idx="46">
                  <c:v>1056.8816</c:v>
                </c:pt>
                <c:pt idx="47">
                  <c:v>1032.0557</c:v>
                </c:pt>
                <c:pt idx="48">
                  <c:v>1044.1246</c:v>
                </c:pt>
                <c:pt idx="49">
                  <c:v>1013.8239</c:v>
                </c:pt>
                <c:pt idx="50">
                  <c:v>988.881</c:v>
                </c:pt>
                <c:pt idx="51">
                  <c:v>1005.217</c:v>
                </c:pt>
                <c:pt idx="52">
                  <c:v>1018.3611</c:v>
                </c:pt>
                <c:pt idx="53">
                  <c:v>1100.6695</c:v>
                </c:pt>
                <c:pt idx="54">
                  <c:v>1078.7167</c:v>
                </c:pt>
                <c:pt idx="55">
                  <c:v>1080.286</c:v>
                </c:pt>
                <c:pt idx="56">
                  <c:v>1095.8056</c:v>
                </c:pt>
                <c:pt idx="57">
                  <c:v>1086.4695</c:v>
                </c:pt>
                <c:pt idx="58">
                  <c:v>1015.0648</c:v>
                </c:pt>
                <c:pt idx="59">
                  <c:v>1023.2639</c:v>
                </c:pt>
                <c:pt idx="60">
                  <c:v>1033.1318</c:v>
                </c:pt>
                <c:pt idx="61">
                  <c:v>1048.796</c:v>
                </c:pt>
                <c:pt idx="62">
                  <c:v>981.119</c:v>
                </c:pt>
                <c:pt idx="63">
                  <c:v>1018.5602</c:v>
                </c:pt>
                <c:pt idx="64">
                  <c:v>1023.682</c:v>
                </c:pt>
                <c:pt idx="65">
                  <c:v>1012.5565</c:v>
                </c:pt>
                <c:pt idx="66">
                  <c:v>1010.6297</c:v>
                </c:pt>
                <c:pt idx="67">
                  <c:v>1032.932</c:v>
                </c:pt>
                <c:pt idx="68">
                  <c:v>1047.1183</c:v>
                </c:pt>
                <c:pt idx="69">
                  <c:v>1084.2574</c:v>
                </c:pt>
                <c:pt idx="70">
                  <c:v>1056.3848</c:v>
                </c:pt>
                <c:pt idx="71">
                  <c:v>1132.2764</c:v>
                </c:pt>
                <c:pt idx="72">
                  <c:v>1235.1901</c:v>
                </c:pt>
                <c:pt idx="73">
                  <c:v>1196.09</c:v>
                </c:pt>
                <c:pt idx="74">
                  <c:v>1184.045</c:v>
                </c:pt>
                <c:pt idx="75">
                  <c:v>1165.6574</c:v>
                </c:pt>
                <c:pt idx="76">
                  <c:v>1125.8896</c:v>
                </c:pt>
                <c:pt idx="77">
                  <c:v>1121.1374</c:v>
                </c:pt>
                <c:pt idx="78">
                  <c:v>1151.6452</c:v>
                </c:pt>
                <c:pt idx="79">
                  <c:v>1176.8083</c:v>
                </c:pt>
                <c:pt idx="80">
                  <c:v>1166.2966</c:v>
                </c:pt>
                <c:pt idx="81">
                  <c:v>1166.6583</c:v>
                </c:pt>
                <c:pt idx="82">
                  <c:v>1153.699</c:v>
                </c:pt>
                <c:pt idx="83">
                  <c:v>1131.0397</c:v>
                </c:pt>
                <c:pt idx="84">
                  <c:v>1142.2522</c:v>
                </c:pt>
                <c:pt idx="85">
                  <c:v>1115.0029</c:v>
                </c:pt>
                <c:pt idx="86">
                  <c:v>1085.4207</c:v>
                </c:pt>
                <c:pt idx="87">
                  <c:v>1097.8587</c:v>
                </c:pt>
                <c:pt idx="88">
                  <c:v>1154.7131</c:v>
                </c:pt>
                <c:pt idx="89">
                  <c:v>1140.1216</c:v>
                </c:pt>
                <c:pt idx="90">
                  <c:v>1232.591</c:v>
                </c:pt>
                <c:pt idx="91">
                  <c:v>1238.8507</c:v>
                </c:pt>
                <c:pt idx="92">
                  <c:v>1178.6829</c:v>
                </c:pt>
                <c:pt idx="93">
                  <c:v>1226.7099</c:v>
                </c:pt>
                <c:pt idx="94">
                  <c:v>1238.0328</c:v>
                </c:pt>
                <c:pt idx="95">
                  <c:v>1197.976</c:v>
                </c:pt>
                <c:pt idx="96">
                  <c:v>1121.4882</c:v>
                </c:pt>
                <c:pt idx="97">
                  <c:v>1112.1444</c:v>
                </c:pt>
                <c:pt idx="98">
                  <c:v>1110.7206</c:v>
                </c:pt>
                <c:pt idx="99">
                  <c:v>1066.4263</c:v>
                </c:pt>
                <c:pt idx="100">
                  <c:v>1083.0188</c:v>
                </c:pt>
                <c:pt idx="101">
                  <c:v>1097.3645</c:v>
                </c:pt>
                <c:pt idx="102">
                  <c:v>1094.7418</c:v>
                </c:pt>
                <c:pt idx="103">
                  <c:v>1076.4669</c:v>
                </c:pt>
                <c:pt idx="104">
                  <c:v>1102.8747</c:v>
                </c:pt>
              </c:numCache>
            </c:numRef>
          </c:xVal>
          <c:yVal>
            <c:numRef>
              <c:f>Sheet1!$B$2:$B$106</c:f>
              <c:numCache>
                <c:formatCode>General</c:formatCode>
                <c:ptCount val="105"/>
                <c:pt idx="0">
                  <c:v>0.14163554157656771</c:v>
                </c:pt>
                <c:pt idx="1">
                  <c:v>0.1250515463917526</c:v>
                </c:pt>
                <c:pt idx="2">
                  <c:v>0.12751433512332758</c:v>
                </c:pt>
                <c:pt idx="3">
                  <c:v>0.12668172444269862</c:v>
                </c:pt>
                <c:pt idx="4">
                  <c:v>0.12281565345803594</c:v>
                </c:pt>
                <c:pt idx="5">
                  <c:v>0.14012161987320482</c:v>
                </c:pt>
                <c:pt idx="6">
                  <c:v>0.1696271186440678</c:v>
                </c:pt>
                <c:pt idx="7">
                  <c:v>0.18247813892097015</c:v>
                </c:pt>
                <c:pt idx="8">
                  <c:v>0.1789798511526593</c:v>
                </c:pt>
                <c:pt idx="9">
                  <c:v>0.15191965420798373</c:v>
                </c:pt>
                <c:pt idx="10">
                  <c:v>0.1666872148933547</c:v>
                </c:pt>
                <c:pt idx="11">
                  <c:v>0.15078778926637124</c:v>
                </c:pt>
                <c:pt idx="12">
                  <c:v>0.13318385650224215</c:v>
                </c:pt>
                <c:pt idx="13">
                  <c:v>0.12108813446864979</c:v>
                </c:pt>
                <c:pt idx="14">
                  <c:v>0.09653465346534654</c:v>
                </c:pt>
                <c:pt idx="15">
                  <c:v>0.08507179626117584</c:v>
                </c:pt>
                <c:pt idx="16">
                  <c:v>0.08976179208076984</c:v>
                </c:pt>
                <c:pt idx="17">
                  <c:v>0.08260869565217391</c:v>
                </c:pt>
                <c:pt idx="18">
                  <c:v>0.07696457471677756</c:v>
                </c:pt>
                <c:pt idx="19">
                  <c:v>0.07254775702940545</c:v>
                </c:pt>
                <c:pt idx="20">
                  <c:v>0.06646997570288095</c:v>
                </c:pt>
                <c:pt idx="21">
                  <c:v>0.06817677104152788</c:v>
                </c:pt>
                <c:pt idx="22">
                  <c:v>0.0822879013395705</c:v>
                </c:pt>
                <c:pt idx="23">
                  <c:v>0.09319727891156462</c:v>
                </c:pt>
                <c:pt idx="24">
                  <c:v>0.09057527539779682</c:v>
                </c:pt>
                <c:pt idx="25">
                  <c:v>0.1037037037037037</c:v>
                </c:pt>
                <c:pt idx="26">
                  <c:v>0.12445464982778416</c:v>
                </c:pt>
                <c:pt idx="27">
                  <c:v>0.12218579234972678</c:v>
                </c:pt>
                <c:pt idx="28">
                  <c:v>0.16037534655576882</c:v>
                </c:pt>
                <c:pt idx="29">
                  <c:v>0.15294771968854282</c:v>
                </c:pt>
                <c:pt idx="30">
                  <c:v>0.1438423645320197</c:v>
                </c:pt>
                <c:pt idx="31">
                  <c:v>0.16059067835717583</c:v>
                </c:pt>
                <c:pt idx="32">
                  <c:v>0.17548932384341637</c:v>
                </c:pt>
                <c:pt idx="33">
                  <c:v>0.16313887454827053</c:v>
                </c:pt>
                <c:pt idx="34">
                  <c:v>0.16279442397051755</c:v>
                </c:pt>
                <c:pt idx="35">
                  <c:v>0.1569269128876422</c:v>
                </c:pt>
                <c:pt idx="36">
                  <c:v>0.13662436989396837</c:v>
                </c:pt>
                <c:pt idx="37">
                  <c:v>0.1353484790142472</c:v>
                </c:pt>
                <c:pt idx="38">
                  <c:v>0.13179794851945037</c:v>
                </c:pt>
                <c:pt idx="39">
                  <c:v>0.1223595057791949</c:v>
                </c:pt>
                <c:pt idx="40">
                  <c:v>0.12189616252821671</c:v>
                </c:pt>
                <c:pt idx="41">
                  <c:v>0.12644686075061382</c:v>
                </c:pt>
                <c:pt idx="42">
                  <c:v>0.1215926493108729</c:v>
                </c:pt>
                <c:pt idx="43">
                  <c:v>0.11488944864259726</c:v>
                </c:pt>
                <c:pt idx="44">
                  <c:v>0.12874056120070848</c:v>
                </c:pt>
                <c:pt idx="45">
                  <c:v>0.1531594608786977</c:v>
                </c:pt>
                <c:pt idx="46">
                  <c:v>0.15876995069775215</c:v>
                </c:pt>
                <c:pt idx="47">
                  <c:v>0.1564378227376619</c:v>
                </c:pt>
                <c:pt idx="48">
                  <c:v>0.15073094867807155</c:v>
                </c:pt>
                <c:pt idx="49">
                  <c:v>0.15255923313438235</c:v>
                </c:pt>
                <c:pt idx="50">
                  <c:v>0.1529775997086141</c:v>
                </c:pt>
                <c:pt idx="51">
                  <c:v>0.14106753812636166</c:v>
                </c:pt>
                <c:pt idx="52">
                  <c:v>0.1386390478786227</c:v>
                </c:pt>
                <c:pt idx="53">
                  <c:v>0.12826158758119563</c:v>
                </c:pt>
                <c:pt idx="54">
                  <c:v>0.13059921995036047</c:v>
                </c:pt>
                <c:pt idx="55">
                  <c:v>0.12580954665387384</c:v>
                </c:pt>
                <c:pt idx="56">
                  <c:v>0.12915313514863852</c:v>
                </c:pt>
                <c:pt idx="57">
                  <c:v>0.1269622401357658</c:v>
                </c:pt>
                <c:pt idx="58">
                  <c:v>0.1528197644115501</c:v>
                </c:pt>
                <c:pt idx="59">
                  <c:v>0.13807725435632412</c:v>
                </c:pt>
                <c:pt idx="60">
                  <c:v>0.14190755912814965</c:v>
                </c:pt>
                <c:pt idx="61">
                  <c:v>0.1562639821029083</c:v>
                </c:pt>
                <c:pt idx="62">
                  <c:v>0.17758022549869903</c:v>
                </c:pt>
                <c:pt idx="63">
                  <c:v>0.18087082129591417</c:v>
                </c:pt>
                <c:pt idx="64">
                  <c:v>0.17451044033322513</c:v>
                </c:pt>
                <c:pt idx="65">
                  <c:v>0.16851195748449957</c:v>
                </c:pt>
                <c:pt idx="66">
                  <c:v>0.1676754091010984</c:v>
                </c:pt>
                <c:pt idx="67">
                  <c:v>0.1579381929700401</c:v>
                </c:pt>
                <c:pt idx="68">
                  <c:v>0.14289547833087346</c:v>
                </c:pt>
                <c:pt idx="69">
                  <c:v>0.13320825515947468</c:v>
                </c:pt>
                <c:pt idx="70">
                  <c:v>0.13493589743589743</c:v>
                </c:pt>
                <c:pt idx="71">
                  <c:v>0.13415726312018628</c:v>
                </c:pt>
                <c:pt idx="72">
                  <c:v>0.12701921441931643</c:v>
                </c:pt>
                <c:pt idx="73">
                  <c:v>0.1339546783625731</c:v>
                </c:pt>
                <c:pt idx="74">
                  <c:v>0.13998979418268412</c:v>
                </c:pt>
                <c:pt idx="75">
                  <c:v>0.15561959654178675</c:v>
                </c:pt>
                <c:pt idx="76">
                  <c:v>0.16498464238701185</c:v>
                </c:pt>
                <c:pt idx="77">
                  <c:v>0.15454134658834162</c:v>
                </c:pt>
                <c:pt idx="78">
                  <c:v>0.16553398058252428</c:v>
                </c:pt>
                <c:pt idx="79">
                  <c:v>0.14758380496299522</c:v>
                </c:pt>
                <c:pt idx="80">
                  <c:v>0.1394845137535196</c:v>
                </c:pt>
                <c:pt idx="81">
                  <c:v>0.14211469534050178</c:v>
                </c:pt>
                <c:pt idx="82">
                  <c:v>0.14853358561967833</c:v>
                </c:pt>
                <c:pt idx="83">
                  <c:v>0.14887063655030802</c:v>
                </c:pt>
                <c:pt idx="84">
                  <c:v>0.14924980257962622</c:v>
                </c:pt>
                <c:pt idx="85">
                  <c:v>0.1578826237054085</c:v>
                </c:pt>
                <c:pt idx="86">
                  <c:v>0.17418677859391396</c:v>
                </c:pt>
                <c:pt idx="87">
                  <c:v>0.1725151253241141</c:v>
                </c:pt>
                <c:pt idx="88">
                  <c:v>0.16112700858463572</c:v>
                </c:pt>
                <c:pt idx="89">
                  <c:v>0.18039673278879814</c:v>
                </c:pt>
                <c:pt idx="90">
                  <c:v>0.1560317842523477</c:v>
                </c:pt>
                <c:pt idx="91">
                  <c:v>0.1484988452655889</c:v>
                </c:pt>
                <c:pt idx="92">
                  <c:v>0.15676782722025692</c:v>
                </c:pt>
                <c:pt idx="93">
                  <c:v>0.15562431743720423</c:v>
                </c:pt>
                <c:pt idx="94">
                  <c:v>0.15969024696525744</c:v>
                </c:pt>
                <c:pt idx="95">
                  <c:v>0.1585923217550274</c:v>
                </c:pt>
                <c:pt idx="96">
                  <c:v>0.15127545975875026</c:v>
                </c:pt>
                <c:pt idx="97">
                  <c:v>0.1533891439373481</c:v>
                </c:pt>
                <c:pt idx="98">
                  <c:v>0.14894786432160803</c:v>
                </c:pt>
                <c:pt idx="99">
                  <c:v>0.1511102247041617</c:v>
                </c:pt>
                <c:pt idx="100">
                  <c:v>0.15323639301221853</c:v>
                </c:pt>
                <c:pt idx="101">
                  <c:v>0.15513869132290184</c:v>
                </c:pt>
                <c:pt idx="102">
                  <c:v>0.15776112185686653</c:v>
                </c:pt>
                <c:pt idx="103">
                  <c:v>0.15422612513721184</c:v>
                </c:pt>
                <c:pt idx="104">
                  <c:v>0.152528872958980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8.8242</c:v>
                </c:pt>
                <c:pt idx="1">
                  <c:v>1159.4467</c:v>
                </c:pt>
                <c:pt idx="2">
                  <c:v>1156.0528</c:v>
                </c:pt>
                <c:pt idx="3">
                  <c:v>1075.5449</c:v>
                </c:pt>
                <c:pt idx="4">
                  <c:v>1149.6842</c:v>
                </c:pt>
                <c:pt idx="5">
                  <c:v>1165.0073</c:v>
                </c:pt>
                <c:pt idx="6">
                  <c:v>1084.2562</c:v>
                </c:pt>
                <c:pt idx="7">
                  <c:v>1077.3117</c:v>
                </c:pt>
                <c:pt idx="8">
                  <c:v>1157.7246</c:v>
                </c:pt>
                <c:pt idx="9">
                  <c:v>1121.6394</c:v>
                </c:pt>
                <c:pt idx="10">
                  <c:v>1120.3102</c:v>
                </c:pt>
                <c:pt idx="11">
                  <c:v>1005.242</c:v>
                </c:pt>
                <c:pt idx="12">
                  <c:v>1035.6266</c:v>
                </c:pt>
                <c:pt idx="13">
                  <c:v>1090.2277</c:v>
                </c:pt>
                <c:pt idx="14">
                  <c:v>1085.3301</c:v>
                </c:pt>
                <c:pt idx="15">
                  <c:v>1107.1248</c:v>
                </c:pt>
                <c:pt idx="16">
                  <c:v>1142.1265</c:v>
                </c:pt>
                <c:pt idx="17">
                  <c:v>1020.4231</c:v>
                </c:pt>
                <c:pt idx="18">
                  <c:v>1122.3824</c:v>
                </c:pt>
                <c:pt idx="19">
                  <c:v>1292.9602</c:v>
                </c:pt>
                <c:pt idx="20">
                  <c:v>1294.5396</c:v>
                </c:pt>
                <c:pt idx="21">
                  <c:v>1240.1094</c:v>
                </c:pt>
                <c:pt idx="22">
                  <c:v>1226.3448</c:v>
                </c:pt>
                <c:pt idx="23">
                  <c:v>1213.6256</c:v>
                </c:pt>
                <c:pt idx="24">
                  <c:v>1218.5068</c:v>
                </c:pt>
                <c:pt idx="25">
                  <c:v>1166.0184</c:v>
                </c:pt>
                <c:pt idx="26">
                  <c:v>1149.4314</c:v>
                </c:pt>
                <c:pt idx="27">
                  <c:v>1164.8134</c:v>
                </c:pt>
                <c:pt idx="28">
                  <c:v>1196.1065</c:v>
                </c:pt>
                <c:pt idx="29">
                  <c:v>1191.5178</c:v>
                </c:pt>
                <c:pt idx="30">
                  <c:v>1201.9796</c:v>
                </c:pt>
                <c:pt idx="31">
                  <c:v>1210.3866</c:v>
                </c:pt>
                <c:pt idx="32">
                  <c:v>1216.379</c:v>
                </c:pt>
                <c:pt idx="33">
                  <c:v>1193.2512</c:v>
                </c:pt>
                <c:pt idx="34">
                  <c:v>1199.5961</c:v>
                </c:pt>
                <c:pt idx="35">
                  <c:v>1254.2799</c:v>
                </c:pt>
                <c:pt idx="36">
                  <c:v>1302.3394</c:v>
                </c:pt>
                <c:pt idx="37">
                  <c:v>1289.369</c:v>
                </c:pt>
                <c:pt idx="38">
                  <c:v>1305.2104</c:v>
                </c:pt>
                <c:pt idx="39">
                  <c:v>1249.3002</c:v>
                </c:pt>
                <c:pt idx="40">
                  <c:v>1277.2453</c:v>
                </c:pt>
                <c:pt idx="41">
                  <c:v>1315.8935</c:v>
                </c:pt>
                <c:pt idx="42">
                  <c:v>1307.2805</c:v>
                </c:pt>
                <c:pt idx="43">
                  <c:v>1321.8315</c:v>
                </c:pt>
                <c:pt idx="44">
                  <c:v>1232.6608</c:v>
                </c:pt>
                <c:pt idx="45">
                  <c:v>1181.1152</c:v>
                </c:pt>
                <c:pt idx="46">
                  <c:v>1159.8625</c:v>
                </c:pt>
                <c:pt idx="47">
                  <c:v>1140.1246</c:v>
                </c:pt>
                <c:pt idx="48">
                  <c:v>1145.6402</c:v>
                </c:pt>
                <c:pt idx="49">
                  <c:v>1165.5856</c:v>
                </c:pt>
                <c:pt idx="50">
                  <c:v>1136.1855</c:v>
                </c:pt>
                <c:pt idx="51">
                  <c:v>1115.4624</c:v>
                </c:pt>
              </c:numCache>
            </c:numRef>
          </c:xVal>
          <c:yVal>
            <c:numRef>
              <c:f>Sheet1!$B$109:$B$160</c:f>
              <c:numCache>
                <c:formatCode>General</c:formatCode>
                <c:ptCount val="52"/>
                <c:pt idx="0">
                  <c:v>0.1536774044567602</c:v>
                </c:pt>
                <c:pt idx="1">
                  <c:v>0.151123046875</c:v>
                </c:pt>
                <c:pt idx="2">
                  <c:v>0.17841079460269865</c:v>
                </c:pt>
                <c:pt idx="3">
                  <c:v>0.20530098831985624</c:v>
                </c:pt>
                <c:pt idx="4">
                  <c:v>0.17649790989317232</c:v>
                </c:pt>
                <c:pt idx="5">
                  <c:v>0.18107392246568746</c:v>
                </c:pt>
                <c:pt idx="6">
                  <c:v>0.2081946755407654</c:v>
                </c:pt>
                <c:pt idx="7">
                  <c:v>0.22451888809693513</c:v>
                </c:pt>
                <c:pt idx="8">
                  <c:v>0.1910931174089069</c:v>
                </c:pt>
                <c:pt idx="9">
                  <c:v>0.19284149013878743</c:v>
                </c:pt>
                <c:pt idx="10">
                  <c:v>0.2099576580522704</c:v>
                </c:pt>
                <c:pt idx="11">
                  <c:v>0.19953912223735204</c:v>
                </c:pt>
                <c:pt idx="12">
                  <c:v>0.1943785134291068</c:v>
                </c:pt>
                <c:pt idx="13">
                  <c:v>0.18854509545753786</c:v>
                </c:pt>
                <c:pt idx="14">
                  <c:v>0.19723233794610343</c:v>
                </c:pt>
                <c:pt idx="15">
                  <c:v>0.18796992481203006</c:v>
                </c:pt>
                <c:pt idx="16">
                  <c:v>0.18683839096683133</c:v>
                </c:pt>
                <c:pt idx="17">
                  <c:v>0.21081376297105406</c:v>
                </c:pt>
                <c:pt idx="18">
                  <c:v>0.18598779718072797</c:v>
                </c:pt>
                <c:pt idx="19">
                  <c:v>0.1615177275554634</c:v>
                </c:pt>
                <c:pt idx="20">
                  <c:v>0.15236818588025022</c:v>
                </c:pt>
                <c:pt idx="21">
                  <c:v>0.1649957032368949</c:v>
                </c:pt>
                <c:pt idx="22">
                  <c:v>0.17030201342281878</c:v>
                </c:pt>
                <c:pt idx="23">
                  <c:v>0.17312814442142646</c:v>
                </c:pt>
                <c:pt idx="24">
                  <c:v>0.1747290510177108</c:v>
                </c:pt>
                <c:pt idx="25">
                  <c:v>0.18630527817403708</c:v>
                </c:pt>
                <c:pt idx="26">
                  <c:v>0.17228648781688408</c:v>
                </c:pt>
                <c:pt idx="27">
                  <c:v>0.17630057803468208</c:v>
                </c:pt>
                <c:pt idx="28">
                  <c:v>0.16915113871635612</c:v>
                </c:pt>
                <c:pt idx="29">
                  <c:v>0.1754254254254254</c:v>
                </c:pt>
                <c:pt idx="30">
                  <c:v>0.17612323491655968</c:v>
                </c:pt>
                <c:pt idx="31">
                  <c:v>0.17221494102228047</c:v>
                </c:pt>
                <c:pt idx="32">
                  <c:v>0.17115251897860592</c:v>
                </c:pt>
                <c:pt idx="33">
                  <c:v>0.19745461351300767</c:v>
                </c:pt>
                <c:pt idx="34">
                  <c:v>0.21060335013823386</c:v>
                </c:pt>
                <c:pt idx="35">
                  <c:v>0.20055932880543348</c:v>
                </c:pt>
                <c:pt idx="36">
                  <c:v>0.1940652818991098</c:v>
                </c:pt>
                <c:pt idx="37">
                  <c:v>0.18773135906927552</c:v>
                </c:pt>
                <c:pt idx="38">
                  <c:v>0.18181818181818182</c:v>
                </c:pt>
                <c:pt idx="39">
                  <c:v>0.1794871794871795</c:v>
                </c:pt>
                <c:pt idx="40">
                  <c:v>0.16887486855941114</c:v>
                </c:pt>
                <c:pt idx="41">
                  <c:v>0.1781150159744409</c:v>
                </c:pt>
                <c:pt idx="42">
                  <c:v>0.17142215232532015</c:v>
                </c:pt>
                <c:pt idx="43">
                  <c:v>0.15548970679975047</c:v>
                </c:pt>
                <c:pt idx="44">
                  <c:v>0.15451819011605164</c:v>
                </c:pt>
                <c:pt idx="45">
                  <c:v>0.1724002358954197</c:v>
                </c:pt>
                <c:pt idx="46">
                  <c:v>0.20424094139578236</c:v>
                </c:pt>
                <c:pt idx="47">
                  <c:v>0.1982805528349113</c:v>
                </c:pt>
                <c:pt idx="48">
                  <c:v>0.19576479142052167</c:v>
                </c:pt>
                <c:pt idx="49">
                  <c:v>0.2023936170212766</c:v>
                </c:pt>
                <c:pt idx="50">
                  <c:v>0.1888550333997422</c:v>
                </c:pt>
                <c:pt idx="51">
                  <c:v>0.1839577836411609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01.162936177173</c:v>
                </c:pt>
              </c:numCache>
            </c:numRef>
          </c:xVal>
          <c:yVal>
            <c:numRef>
              <c:f>Sheet1!$B$163:$B$164</c:f>
              <c:numCache>
                <c:formatCode>General</c:formatCode>
                <c:ptCount val="2"/>
                <c:pt idx="0">
                  <c:v>0.19274280637067534</c:v>
                </c:pt>
                <c:pt idx="1">
                  <c:v>0.1927428063706753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01.162936177173</c:v>
                </c:pt>
                <c:pt idx="1">
                  <c:v>1101.162936177173</c:v>
                </c:pt>
              </c:numCache>
            </c:numRef>
          </c:xVal>
          <c:yVal>
            <c:numRef>
              <c:f>Sheet1!$B$167:$B$168</c:f>
              <c:numCache>
                <c:formatCode>General</c:formatCode>
                <c:ptCount val="2"/>
                <c:pt idx="0">
                  <c:v>0.192742806370675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1.162936177173</c:v>
                </c:pt>
              </c:numCache>
            </c:numRef>
          </c:xVal>
          <c:yVal>
            <c:numRef>
              <c:f>Sheet1!$B$171:$B$172</c:f>
              <c:numCache>
                <c:formatCode>General</c:formatCode>
                <c:ptCount val="2"/>
                <c:pt idx="0">
                  <c:v>0.19274280637067534</c:v>
                </c:pt>
                <c:pt idx="1">
                  <c:v>0.1927428063706753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1.162936177173</c:v>
                </c:pt>
                <c:pt idx="1">
                  <c:v>1101.162936177173</c:v>
                </c:pt>
              </c:numCache>
            </c:numRef>
          </c:xVal>
          <c:yVal>
            <c:numRef>
              <c:f>Sheet1!$B$175:$B$176</c:f>
              <c:numCache>
                <c:formatCode>General</c:formatCode>
                <c:ptCount val="2"/>
                <c:pt idx="0">
                  <c:v>0.192742806370675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99.9065776189468</c:v>
                </c:pt>
              </c:numCache>
            </c:numRef>
          </c:xVal>
          <c:yVal>
            <c:numRef>
              <c:f>Sheet1!$B$179:$B$180</c:f>
              <c:numCache>
                <c:formatCode>General</c:formatCode>
                <c:ptCount val="2"/>
                <c:pt idx="0">
                  <c:v>0.18106154375930528</c:v>
                </c:pt>
                <c:pt idx="1">
                  <c:v>0.1810615437593052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99.9065776189468</c:v>
                </c:pt>
                <c:pt idx="1">
                  <c:v>1199.9065776189468</c:v>
                </c:pt>
              </c:numCache>
            </c:numRef>
          </c:xVal>
          <c:yVal>
            <c:numRef>
              <c:f>Sheet1!$B$183:$B$184</c:f>
              <c:numCache>
                <c:formatCode>General</c:formatCode>
                <c:ptCount val="2"/>
                <c:pt idx="0">
                  <c:v>0.1810615437593052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8.8242</c:v>
                </c:pt>
                <c:pt idx="1">
                  <c:v>1159.4467</c:v>
                </c:pt>
                <c:pt idx="2">
                  <c:v>1156.0528</c:v>
                </c:pt>
                <c:pt idx="3">
                  <c:v>1075.5449</c:v>
                </c:pt>
                <c:pt idx="4">
                  <c:v>1149.6842</c:v>
                </c:pt>
                <c:pt idx="5">
                  <c:v>1165.0073</c:v>
                </c:pt>
                <c:pt idx="6">
                  <c:v>1084.2562</c:v>
                </c:pt>
                <c:pt idx="7">
                  <c:v>1077.3117</c:v>
                </c:pt>
                <c:pt idx="8">
                  <c:v>1157.7246</c:v>
                </c:pt>
                <c:pt idx="9">
                  <c:v>1121.6394</c:v>
                </c:pt>
                <c:pt idx="10">
                  <c:v>1120.3102</c:v>
                </c:pt>
                <c:pt idx="11">
                  <c:v>1005.242</c:v>
                </c:pt>
                <c:pt idx="12">
                  <c:v>1035.6266</c:v>
                </c:pt>
                <c:pt idx="13">
                  <c:v>1090.2277</c:v>
                </c:pt>
                <c:pt idx="14">
                  <c:v>1085.3301</c:v>
                </c:pt>
                <c:pt idx="15">
                  <c:v>1107.1248</c:v>
                </c:pt>
                <c:pt idx="16">
                  <c:v>1142.1265</c:v>
                </c:pt>
                <c:pt idx="17">
                  <c:v>1020.4231</c:v>
                </c:pt>
                <c:pt idx="18">
                  <c:v>1122.3824</c:v>
                </c:pt>
                <c:pt idx="19">
                  <c:v>1292.9602</c:v>
                </c:pt>
                <c:pt idx="20">
                  <c:v>1294.5396</c:v>
                </c:pt>
                <c:pt idx="21">
                  <c:v>1240.1094</c:v>
                </c:pt>
                <c:pt idx="22">
                  <c:v>1226.3448</c:v>
                </c:pt>
                <c:pt idx="23">
                  <c:v>1213.6256</c:v>
                </c:pt>
                <c:pt idx="24">
                  <c:v>1218.5068</c:v>
                </c:pt>
                <c:pt idx="25">
                  <c:v>1166.0184</c:v>
                </c:pt>
                <c:pt idx="26">
                  <c:v>1149.4314</c:v>
                </c:pt>
                <c:pt idx="27">
                  <c:v>1164.8134</c:v>
                </c:pt>
                <c:pt idx="28">
                  <c:v>1196.1065</c:v>
                </c:pt>
                <c:pt idx="29">
                  <c:v>1191.5178</c:v>
                </c:pt>
                <c:pt idx="30">
                  <c:v>1201.9796</c:v>
                </c:pt>
                <c:pt idx="31">
                  <c:v>1210.3866</c:v>
                </c:pt>
                <c:pt idx="32">
                  <c:v>1216.379</c:v>
                </c:pt>
                <c:pt idx="33">
                  <c:v>1193.2512</c:v>
                </c:pt>
                <c:pt idx="34">
                  <c:v>1199.5961</c:v>
                </c:pt>
                <c:pt idx="35">
                  <c:v>1254.2799</c:v>
                </c:pt>
                <c:pt idx="36">
                  <c:v>1302.3394</c:v>
                </c:pt>
                <c:pt idx="37">
                  <c:v>1289.369</c:v>
                </c:pt>
                <c:pt idx="38">
                  <c:v>1305.2104</c:v>
                </c:pt>
                <c:pt idx="39">
                  <c:v>1249.3002</c:v>
                </c:pt>
                <c:pt idx="40">
                  <c:v>1277.2453</c:v>
                </c:pt>
                <c:pt idx="41">
                  <c:v>1315.8935</c:v>
                </c:pt>
                <c:pt idx="42">
                  <c:v>1307.2805</c:v>
                </c:pt>
                <c:pt idx="43">
                  <c:v>1321.8315</c:v>
                </c:pt>
                <c:pt idx="44">
                  <c:v>1232.6608</c:v>
                </c:pt>
                <c:pt idx="45">
                  <c:v>1181.1152</c:v>
                </c:pt>
                <c:pt idx="46">
                  <c:v>1159.8625</c:v>
                </c:pt>
                <c:pt idx="47">
                  <c:v>1140.1246</c:v>
                </c:pt>
                <c:pt idx="48">
                  <c:v>1145.6402</c:v>
                </c:pt>
                <c:pt idx="49">
                  <c:v>1165.5856</c:v>
                </c:pt>
                <c:pt idx="50">
                  <c:v>1136.1855</c:v>
                </c:pt>
                <c:pt idx="51">
                  <c:v>1115.4624</c:v>
                </c:pt>
                <c:pt idx="52">
                  <c:v>1101.162936177173</c:v>
                </c:pt>
                <c:pt idx="53">
                  <c:v>1101.162936177173</c:v>
                </c:pt>
                <c:pt idx="54">
                  <c:v>1199.9065776189468</c:v>
                </c:pt>
              </c:numCache>
            </c:numRef>
          </c:xVal>
          <c:yVal>
            <c:numRef>
              <c:f>Sheet1!$B$187:$B$241</c:f>
              <c:numCache>
                <c:formatCode>General</c:formatCode>
                <c:ptCount val="55"/>
                <c:pt idx="0">
                  <c:v>0.18828752088021722</c:v>
                </c:pt>
                <c:pt idx="1">
                  <c:v>0.18584790213934843</c:v>
                </c:pt>
                <c:pt idx="2">
                  <c:v>0.18624939672267415</c:v>
                </c:pt>
                <c:pt idx="3">
                  <c:v>0.1957733914676367</c:v>
                </c:pt>
                <c:pt idx="4">
                  <c:v>0.1870027949970394</c:v>
                </c:pt>
                <c:pt idx="5">
                  <c:v>0.18519008936347378</c:v>
                </c:pt>
                <c:pt idx="6">
                  <c:v>0.1947428543970909</c:v>
                </c:pt>
                <c:pt idx="7">
                  <c:v>0.19556438099890755</c:v>
                </c:pt>
                <c:pt idx="8">
                  <c:v>0.1860516246479507</c:v>
                </c:pt>
                <c:pt idx="9">
                  <c:v>0.19032046354662924</c:v>
                </c:pt>
                <c:pt idx="10">
                  <c:v>0.19047770642360162</c:v>
                </c:pt>
                <c:pt idx="11">
                  <c:v>0.2040901460986186</c:v>
                </c:pt>
                <c:pt idx="12">
                  <c:v>0.20049568181961258</c:v>
                </c:pt>
                <c:pt idx="13">
                  <c:v>0.19403643260966952</c:v>
                </c:pt>
                <c:pt idx="14">
                  <c:v>0.19461581322527283</c:v>
                </c:pt>
                <c:pt idx="15">
                  <c:v>0.1920375245322621</c:v>
                </c:pt>
                <c:pt idx="16">
                  <c:v>0.18789686247469067</c:v>
                </c:pt>
                <c:pt idx="17">
                  <c:v>0.2022942389066194</c:v>
                </c:pt>
                <c:pt idx="18">
                  <c:v>0.19023256747561626</c:v>
                </c:pt>
                <c:pt idx="19">
                  <c:v>0.17005340405429645</c:v>
                </c:pt>
                <c:pt idx="20">
                  <c:v>0.16986656279647958</c:v>
                </c:pt>
                <c:pt idx="21">
                  <c:v>0.1763055947271008</c:v>
                </c:pt>
                <c:pt idx="22">
                  <c:v>0.1779339315495308</c:v>
                </c:pt>
                <c:pt idx="23">
                  <c:v>0.1794385987183444</c:v>
                </c:pt>
                <c:pt idx="24">
                  <c:v>0.17886115820444312</c:v>
                </c:pt>
                <c:pt idx="25">
                  <c:v>0.18507047736158788</c:v>
                </c:pt>
                <c:pt idx="26">
                  <c:v>0.18703270095498298</c:v>
                </c:pt>
                <c:pt idx="27">
                  <c:v>0.18521302751713384</c:v>
                </c:pt>
                <c:pt idx="28">
                  <c:v>0.18151108870176802</c:v>
                </c:pt>
                <c:pt idx="29">
                  <c:v>0.18205392679202018</c:v>
                </c:pt>
                <c:pt idx="30">
                  <c:v>0.18081630752455888</c:v>
                </c:pt>
                <c:pt idx="31">
                  <c:v>0.1798217688044966</c:v>
                </c:pt>
                <c:pt idx="32">
                  <c:v>0.17911287457039396</c:v>
                </c:pt>
                <c:pt idx="33">
                  <c:v>0.18184886750602566</c:v>
                </c:pt>
                <c:pt idx="34">
                  <c:v>0.18109827291521763</c:v>
                </c:pt>
                <c:pt idx="35">
                  <c:v>0.1746292403875454</c:v>
                </c:pt>
                <c:pt idx="36">
                  <c:v>0.16894385515894636</c:v>
                </c:pt>
                <c:pt idx="37">
                  <c:v>0.17047823900748874</c:v>
                </c:pt>
                <c:pt idx="38">
                  <c:v>0.1686042190622057</c:v>
                </c:pt>
                <c:pt idx="39">
                  <c:v>0.17521833334154732</c:v>
                </c:pt>
                <c:pt idx="40">
                  <c:v>0.1719124591907192</c:v>
                </c:pt>
                <c:pt idx="41">
                  <c:v>0.16734042025165535</c:v>
                </c:pt>
                <c:pt idx="42">
                  <c:v>0.1683593285418773</c:v>
                </c:pt>
                <c:pt idx="43">
                  <c:v>0.16663796147685697</c:v>
                </c:pt>
                <c:pt idx="44">
                  <c:v>0.1771867557964782</c:v>
                </c:pt>
                <c:pt idx="45">
                  <c:v>0.1832845427655327</c:v>
                </c:pt>
                <c:pt idx="46">
                  <c:v>0.18579871346326876</c:v>
                </c:pt>
                <c:pt idx="47">
                  <c:v>0.18813368501111183</c:v>
                </c:pt>
                <c:pt idx="48">
                  <c:v>0.18748119568502936</c:v>
                </c:pt>
                <c:pt idx="49">
                  <c:v>0.18512167711870012</c:v>
                </c:pt>
                <c:pt idx="50">
                  <c:v>0.18859967614614184</c:v>
                </c:pt>
                <c:pt idx="51">
                  <c:v>0.19105119575476825</c:v>
                </c:pt>
                <c:pt idx="52">
                  <c:v>0.19274280637067534</c:v>
                </c:pt>
                <c:pt idx="53">
                  <c:v>0.19274280637067534</c:v>
                </c:pt>
                <c:pt idx="54">
                  <c:v>0.1810615437593052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86.0"/>
          <c:min val="59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94226657163221"/>
          <c:min val="0.0531759805623047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536097420203568</c:v>
                </c:pt>
                <c:pt idx="1">
                  <c:v>1.7256524782251788</c:v>
                </c:pt>
                <c:pt idx="2">
                  <c:v>1.813641432654814</c:v>
                </c:pt>
                <c:pt idx="3">
                  <c:v>1.855446444510285</c:v>
                </c:pt>
                <c:pt idx="4">
                  <c:v>1.8640227394492435</c:v>
                </c:pt>
                <c:pt idx="5">
                  <c:v>1.8417127091141625</c:v>
                </c:pt>
                <c:pt idx="6">
                  <c:v>1.7328313551845667</c:v>
                </c:pt>
                <c:pt idx="7">
                  <c:v>1.7769712638375048</c:v>
                </c:pt>
                <c:pt idx="8">
                  <c:v>1.7622830597179464</c:v>
                </c:pt>
                <c:pt idx="9">
                  <c:v>2.0535179468220677</c:v>
                </c:pt>
                <c:pt idx="10">
                  <c:v>1.9722742610936908</c:v>
                </c:pt>
                <c:pt idx="11">
                  <c:v>1.8202860275850612</c:v>
                </c:pt>
                <c:pt idx="12">
                  <c:v>1.8149587389843114</c:v>
                </c:pt>
                <c:pt idx="13">
                  <c:v>1.8309033402922756</c:v>
                </c:pt>
                <c:pt idx="14">
                  <c:v>1.8716985553394607</c:v>
                </c:pt>
                <c:pt idx="15">
                  <c:v>1.892145163235734</c:v>
                </c:pt>
                <c:pt idx="16">
                  <c:v>1.8906553653796623</c:v>
                </c:pt>
                <c:pt idx="17">
                  <c:v>1.887618209129755</c:v>
                </c:pt>
                <c:pt idx="18">
                  <c:v>1.940401307495111</c:v>
                </c:pt>
                <c:pt idx="19">
                  <c:v>1.9100225868532004</c:v>
                </c:pt>
                <c:pt idx="20">
                  <c:v>2.0021037786511915</c:v>
                </c:pt>
                <c:pt idx="21">
                  <c:v>2.0593925995222704</c:v>
                </c:pt>
                <c:pt idx="22">
                  <c:v>2.0059846972939614</c:v>
                </c:pt>
                <c:pt idx="23">
                  <c:v>1.7455731494927211</c:v>
                </c:pt>
                <c:pt idx="24">
                  <c:v>1.7737944470646314</c:v>
                </c:pt>
                <c:pt idx="25">
                  <c:v>1.7180232049605413</c:v>
                </c:pt>
                <c:pt idx="26">
                  <c:v>1.6620642712113454</c:v>
                </c:pt>
                <c:pt idx="27">
                  <c:v>1.7680297951214967</c:v>
                </c:pt>
                <c:pt idx="28">
                  <c:v>1.7595839510760254</c:v>
                </c:pt>
                <c:pt idx="29">
                  <c:v>1.668572049213933</c:v>
                </c:pt>
                <c:pt idx="30">
                  <c:v>1.6663062989591986</c:v>
                </c:pt>
                <c:pt idx="31">
                  <c:v>1.6800160495839211</c:v>
                </c:pt>
                <c:pt idx="32">
                  <c:v>1.6468891633595064</c:v>
                </c:pt>
                <c:pt idx="33">
                  <c:v>1.6252264728005001</c:v>
                </c:pt>
                <c:pt idx="34">
                  <c:v>1.6270500526386014</c:v>
                </c:pt>
                <c:pt idx="35">
                  <c:v>1.7361863106724529</c:v>
                </c:pt>
                <c:pt idx="36">
                  <c:v>1.8787973298343457</c:v>
                </c:pt>
                <c:pt idx="37">
                  <c:v>1.904441134457288</c:v>
                </c:pt>
                <c:pt idx="38">
                  <c:v>1.97738997162215</c:v>
                </c:pt>
                <c:pt idx="39">
                  <c:v>1.9749127963562012</c:v>
                </c:pt>
                <c:pt idx="40">
                  <c:v>1.955793824844599</c:v>
                </c:pt>
                <c:pt idx="41">
                  <c:v>2.003637739676162</c:v>
                </c:pt>
                <c:pt idx="42">
                  <c:v>2.027931314278969</c:v>
                </c:pt>
                <c:pt idx="43">
                  <c:v>2.032173858531123</c:v>
                </c:pt>
                <c:pt idx="44">
                  <c:v>1.8548148744272817</c:v>
                </c:pt>
                <c:pt idx="45">
                  <c:v>1.8185533686530972</c:v>
                </c:pt>
                <c:pt idx="46">
                  <c:v>1.9234980792893945</c:v>
                </c:pt>
                <c:pt idx="47">
                  <c:v>1.96942461556311</c:v>
                </c:pt>
                <c:pt idx="48">
                  <c:v>1.96742936282869</c:v>
                </c:pt>
                <c:pt idx="49">
                  <c:v>1.8630157099350348</c:v>
                </c:pt>
                <c:pt idx="50">
                  <c:v>1.7476660372073212</c:v>
                </c:pt>
                <c:pt idx="51">
                  <c:v>1.7806478103999979</c:v>
                </c:pt>
                <c:pt idx="52">
                  <c:v>1.8137005160445785</c:v>
                </c:pt>
                <c:pt idx="53">
                  <c:v>1.9438874375508632</c:v>
                </c:pt>
                <c:pt idx="54">
                  <c:v>1.920879748236342</c:v>
                </c:pt>
                <c:pt idx="55">
                  <c:v>1.8884388912624088</c:v>
                </c:pt>
                <c:pt idx="56">
                  <c:v>1.8764851650033023</c:v>
                </c:pt>
                <c:pt idx="57">
                  <c:v>1.8428915058550974</c:v>
                </c:pt>
                <c:pt idx="58">
                  <c:v>1.718433004267367</c:v>
                </c:pt>
                <c:pt idx="59">
                  <c:v>1.8575145495009784</c:v>
                </c:pt>
                <c:pt idx="60">
                  <c:v>2.069332005497752</c:v>
                </c:pt>
                <c:pt idx="61">
                  <c:v>2.009009545705046</c:v>
                </c:pt>
                <c:pt idx="62">
                  <c:v>1.8796751487656191</c:v>
                </c:pt>
                <c:pt idx="63">
                  <c:v>1.845469834104151</c:v>
                </c:pt>
                <c:pt idx="64">
                  <c:v>1.8869877766682954</c:v>
                </c:pt>
                <c:pt idx="65">
                  <c:v>1.9227288427603189</c:v>
                </c:pt>
                <c:pt idx="66">
                  <c:v>1.7912760366355345</c:v>
                </c:pt>
                <c:pt idx="67">
                  <c:v>1.7188384280362499</c:v>
                </c:pt>
                <c:pt idx="68">
                  <c:v>1.7461074706947224</c:v>
                </c:pt>
                <c:pt idx="69">
                  <c:v>1.8237167168714468</c:v>
                </c:pt>
                <c:pt idx="70">
                  <c:v>1.7710441515052502</c:v>
                </c:pt>
                <c:pt idx="71">
                  <c:v>1.776166371730836</c:v>
                </c:pt>
                <c:pt idx="72">
                  <c:v>1.9491759962859314</c:v>
                </c:pt>
                <c:pt idx="73">
                  <c:v>1.891439539687354</c:v>
                </c:pt>
                <c:pt idx="74">
                  <c:v>1.8700739677749858</c:v>
                </c:pt>
                <c:pt idx="75">
                  <c:v>1.8380289907358818</c:v>
                </c:pt>
                <c:pt idx="76">
                  <c:v>1.790489912398927</c:v>
                </c:pt>
                <c:pt idx="77">
                  <c:v>1.775330834556594</c:v>
                </c:pt>
                <c:pt idx="78">
                  <c:v>1.7730152315367556</c:v>
                </c:pt>
                <c:pt idx="79">
                  <c:v>1.8332611800803431</c:v>
                </c:pt>
                <c:pt idx="80">
                  <c:v>1.824746532689859</c:v>
                </c:pt>
                <c:pt idx="81">
                  <c:v>1.8360687806789624</c:v>
                </c:pt>
                <c:pt idx="82">
                  <c:v>1.7986997963228353</c:v>
                </c:pt>
                <c:pt idx="83">
                  <c:v>1.7981058708560163</c:v>
                </c:pt>
                <c:pt idx="84">
                  <c:v>1.807556417885034</c:v>
                </c:pt>
                <c:pt idx="85">
                  <c:v>1.7935183220690487</c:v>
                </c:pt>
                <c:pt idx="86">
                  <c:v>1.742936536738423</c:v>
                </c:pt>
                <c:pt idx="87">
                  <c:v>1.7353542854541524</c:v>
                </c:pt>
                <c:pt idx="88">
                  <c:v>1.8381490477295686</c:v>
                </c:pt>
                <c:pt idx="89">
                  <c:v>1.8347013810931336</c:v>
                </c:pt>
                <c:pt idx="90">
                  <c:v>1.9616612269400469</c:v>
                </c:pt>
                <c:pt idx="91">
                  <c:v>2.0011741959891247</c:v>
                </c:pt>
                <c:pt idx="92">
                  <c:v>1.9840911856896923</c:v>
                </c:pt>
                <c:pt idx="93">
                  <c:v>1.97815181446837</c:v>
                </c:pt>
                <c:pt idx="94">
                  <c:v>1.9498489458337491</c:v>
                </c:pt>
                <c:pt idx="95">
                  <c:v>1.8574642097618368</c:v>
                </c:pt>
                <c:pt idx="96">
                  <c:v>1.7197405288299938</c:v>
                </c:pt>
                <c:pt idx="97">
                  <c:v>1.6909870083071115</c:v>
                </c:pt>
                <c:pt idx="98">
                  <c:v>1.7579193534040836</c:v>
                </c:pt>
                <c:pt idx="99">
                  <c:v>1.7222377168833112</c:v>
                </c:pt>
                <c:pt idx="100">
                  <c:v>1.7273319134262874</c:v>
                </c:pt>
                <c:pt idx="101">
                  <c:v>1.7620875262679803</c:v>
                </c:pt>
                <c:pt idx="102">
                  <c:v>1.7584112035445083</c:v>
                </c:pt>
                <c:pt idx="103">
                  <c:v>1.7216801299848488</c:v>
                </c:pt>
                <c:pt idx="104">
                  <c:v>1.7635115039425278</c:v>
                </c:pt>
              </c:numCache>
            </c:numRef>
          </c:xVal>
          <c:yVal>
            <c:numRef>
              <c:f>Sheet1!$B$2:$B$106</c:f>
              <c:numCache>
                <c:formatCode>General</c:formatCode>
                <c:ptCount val="105"/>
                <c:pt idx="0">
                  <c:v>0.14163554157656771</c:v>
                </c:pt>
                <c:pt idx="1">
                  <c:v>0.1250515463917526</c:v>
                </c:pt>
                <c:pt idx="2">
                  <c:v>0.12751433512332758</c:v>
                </c:pt>
                <c:pt idx="3">
                  <c:v>0.12668172444269862</c:v>
                </c:pt>
                <c:pt idx="4">
                  <c:v>0.12281565345803594</c:v>
                </c:pt>
                <c:pt idx="5">
                  <c:v>0.14012161987320482</c:v>
                </c:pt>
                <c:pt idx="6">
                  <c:v>0.1696271186440678</c:v>
                </c:pt>
                <c:pt idx="7">
                  <c:v>0.18247813892097015</c:v>
                </c:pt>
                <c:pt idx="8">
                  <c:v>0.1789798511526593</c:v>
                </c:pt>
                <c:pt idx="9">
                  <c:v>0.15191965420798373</c:v>
                </c:pt>
                <c:pt idx="10">
                  <c:v>0.1666872148933547</c:v>
                </c:pt>
                <c:pt idx="11">
                  <c:v>0.15078778926637124</c:v>
                </c:pt>
                <c:pt idx="12">
                  <c:v>0.13318385650224215</c:v>
                </c:pt>
                <c:pt idx="13">
                  <c:v>0.12108813446864979</c:v>
                </c:pt>
                <c:pt idx="14">
                  <c:v>0.09653465346534654</c:v>
                </c:pt>
                <c:pt idx="15">
                  <c:v>0.08507179626117584</c:v>
                </c:pt>
                <c:pt idx="16">
                  <c:v>0.08976179208076984</c:v>
                </c:pt>
                <c:pt idx="17">
                  <c:v>0.08260869565217391</c:v>
                </c:pt>
                <c:pt idx="18">
                  <c:v>0.07696457471677756</c:v>
                </c:pt>
                <c:pt idx="19">
                  <c:v>0.07254775702940545</c:v>
                </c:pt>
                <c:pt idx="20">
                  <c:v>0.06646997570288095</c:v>
                </c:pt>
                <c:pt idx="21">
                  <c:v>0.06817677104152788</c:v>
                </c:pt>
                <c:pt idx="22">
                  <c:v>0.0822879013395705</c:v>
                </c:pt>
                <c:pt idx="23">
                  <c:v>0.09319727891156462</c:v>
                </c:pt>
                <c:pt idx="24">
                  <c:v>0.09057527539779682</c:v>
                </c:pt>
                <c:pt idx="25">
                  <c:v>0.1037037037037037</c:v>
                </c:pt>
                <c:pt idx="26">
                  <c:v>0.12445464982778416</c:v>
                </c:pt>
                <c:pt idx="27">
                  <c:v>0.12218579234972678</c:v>
                </c:pt>
                <c:pt idx="28">
                  <c:v>0.16037534655576882</c:v>
                </c:pt>
                <c:pt idx="29">
                  <c:v>0.15294771968854282</c:v>
                </c:pt>
                <c:pt idx="30">
                  <c:v>0.1438423645320197</c:v>
                </c:pt>
                <c:pt idx="31">
                  <c:v>0.16059067835717583</c:v>
                </c:pt>
                <c:pt idx="32">
                  <c:v>0.17548932384341637</c:v>
                </c:pt>
                <c:pt idx="33">
                  <c:v>0.16313887454827053</c:v>
                </c:pt>
                <c:pt idx="34">
                  <c:v>0.16279442397051755</c:v>
                </c:pt>
                <c:pt idx="35">
                  <c:v>0.1569269128876422</c:v>
                </c:pt>
                <c:pt idx="36">
                  <c:v>0.13662436989396837</c:v>
                </c:pt>
                <c:pt idx="37">
                  <c:v>0.1353484790142472</c:v>
                </c:pt>
                <c:pt idx="38">
                  <c:v>0.13179794851945037</c:v>
                </c:pt>
                <c:pt idx="39">
                  <c:v>0.1223595057791949</c:v>
                </c:pt>
                <c:pt idx="40">
                  <c:v>0.12189616252821671</c:v>
                </c:pt>
                <c:pt idx="41">
                  <c:v>0.12644686075061382</c:v>
                </c:pt>
                <c:pt idx="42">
                  <c:v>0.1215926493108729</c:v>
                </c:pt>
                <c:pt idx="43">
                  <c:v>0.11488944864259726</c:v>
                </c:pt>
                <c:pt idx="44">
                  <c:v>0.12874056120070848</c:v>
                </c:pt>
                <c:pt idx="45">
                  <c:v>0.1531594608786977</c:v>
                </c:pt>
                <c:pt idx="46">
                  <c:v>0.15876995069775215</c:v>
                </c:pt>
                <c:pt idx="47">
                  <c:v>0.1564378227376619</c:v>
                </c:pt>
                <c:pt idx="48">
                  <c:v>0.15073094867807155</c:v>
                </c:pt>
                <c:pt idx="49">
                  <c:v>0.15255923313438235</c:v>
                </c:pt>
                <c:pt idx="50">
                  <c:v>0.1529775997086141</c:v>
                </c:pt>
                <c:pt idx="51">
                  <c:v>0.14106753812636166</c:v>
                </c:pt>
                <c:pt idx="52">
                  <c:v>0.1386390478786227</c:v>
                </c:pt>
                <c:pt idx="53">
                  <c:v>0.12826158758119563</c:v>
                </c:pt>
                <c:pt idx="54">
                  <c:v>0.13059921995036047</c:v>
                </c:pt>
                <c:pt idx="55">
                  <c:v>0.12580954665387384</c:v>
                </c:pt>
                <c:pt idx="56">
                  <c:v>0.12915313514863852</c:v>
                </c:pt>
                <c:pt idx="57">
                  <c:v>0.1269622401357658</c:v>
                </c:pt>
                <c:pt idx="58">
                  <c:v>0.1528197644115501</c:v>
                </c:pt>
                <c:pt idx="59">
                  <c:v>0.13807725435632412</c:v>
                </c:pt>
                <c:pt idx="60">
                  <c:v>0.14190755912814965</c:v>
                </c:pt>
                <c:pt idx="61">
                  <c:v>0.1562639821029083</c:v>
                </c:pt>
                <c:pt idx="62">
                  <c:v>0.17758022549869903</c:v>
                </c:pt>
                <c:pt idx="63">
                  <c:v>0.18087082129591417</c:v>
                </c:pt>
                <c:pt idx="64">
                  <c:v>0.17451044033322513</c:v>
                </c:pt>
                <c:pt idx="65">
                  <c:v>0.16851195748449957</c:v>
                </c:pt>
                <c:pt idx="66">
                  <c:v>0.1676754091010984</c:v>
                </c:pt>
                <c:pt idx="67">
                  <c:v>0.1579381929700401</c:v>
                </c:pt>
                <c:pt idx="68">
                  <c:v>0.14289547833087346</c:v>
                </c:pt>
                <c:pt idx="69">
                  <c:v>0.13320825515947468</c:v>
                </c:pt>
                <c:pt idx="70">
                  <c:v>0.13493589743589743</c:v>
                </c:pt>
                <c:pt idx="71">
                  <c:v>0.13415726312018628</c:v>
                </c:pt>
                <c:pt idx="72">
                  <c:v>0.12701921441931643</c:v>
                </c:pt>
                <c:pt idx="73">
                  <c:v>0.1339546783625731</c:v>
                </c:pt>
                <c:pt idx="74">
                  <c:v>0.13998979418268412</c:v>
                </c:pt>
                <c:pt idx="75">
                  <c:v>0.15561959654178675</c:v>
                </c:pt>
                <c:pt idx="76">
                  <c:v>0.16498464238701185</c:v>
                </c:pt>
                <c:pt idx="77">
                  <c:v>0.15454134658834162</c:v>
                </c:pt>
                <c:pt idx="78">
                  <c:v>0.16553398058252428</c:v>
                </c:pt>
                <c:pt idx="79">
                  <c:v>0.14758380496299522</c:v>
                </c:pt>
                <c:pt idx="80">
                  <c:v>0.1394845137535196</c:v>
                </c:pt>
                <c:pt idx="81">
                  <c:v>0.14211469534050178</c:v>
                </c:pt>
                <c:pt idx="82">
                  <c:v>0.14853358561967833</c:v>
                </c:pt>
                <c:pt idx="83">
                  <c:v>0.14887063655030802</c:v>
                </c:pt>
                <c:pt idx="84">
                  <c:v>0.14924980257962622</c:v>
                </c:pt>
                <c:pt idx="85">
                  <c:v>0.1578826237054085</c:v>
                </c:pt>
                <c:pt idx="86">
                  <c:v>0.17418677859391396</c:v>
                </c:pt>
                <c:pt idx="87">
                  <c:v>0.1725151253241141</c:v>
                </c:pt>
                <c:pt idx="88">
                  <c:v>0.16112700858463572</c:v>
                </c:pt>
                <c:pt idx="89">
                  <c:v>0.18039673278879814</c:v>
                </c:pt>
                <c:pt idx="90">
                  <c:v>0.1560317842523477</c:v>
                </c:pt>
                <c:pt idx="91">
                  <c:v>0.1484988452655889</c:v>
                </c:pt>
                <c:pt idx="92">
                  <c:v>0.15676782722025692</c:v>
                </c:pt>
                <c:pt idx="93">
                  <c:v>0.15562431743720423</c:v>
                </c:pt>
                <c:pt idx="94">
                  <c:v>0.15969024696525744</c:v>
                </c:pt>
                <c:pt idx="95">
                  <c:v>0.1585923217550274</c:v>
                </c:pt>
                <c:pt idx="96">
                  <c:v>0.15127545975875026</c:v>
                </c:pt>
                <c:pt idx="97">
                  <c:v>0.1533891439373481</c:v>
                </c:pt>
                <c:pt idx="98">
                  <c:v>0.14894786432160803</c:v>
                </c:pt>
                <c:pt idx="99">
                  <c:v>0.1511102247041617</c:v>
                </c:pt>
                <c:pt idx="100">
                  <c:v>0.15323639301221853</c:v>
                </c:pt>
                <c:pt idx="101">
                  <c:v>0.15513869132290184</c:v>
                </c:pt>
                <c:pt idx="102">
                  <c:v>0.15776112185686653</c:v>
                </c:pt>
                <c:pt idx="103">
                  <c:v>0.15422612513721184</c:v>
                </c:pt>
                <c:pt idx="104">
                  <c:v>0.1525288729589805</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8208217122779102</c:v>
                </c:pt>
                <c:pt idx="1">
                  <c:v>1.8577789235987545</c:v>
                </c:pt>
                <c:pt idx="2">
                  <c:v>1.853396313865705</c:v>
                </c:pt>
                <c:pt idx="3">
                  <c:v>1.7247590329180293</c:v>
                </c:pt>
                <c:pt idx="4">
                  <c:v>1.8478196649802419</c:v>
                </c:pt>
                <c:pt idx="5">
                  <c:v>1.8788737214465399</c:v>
                </c:pt>
                <c:pt idx="6">
                  <c:v>1.7667674930979549</c:v>
                </c:pt>
                <c:pt idx="7">
                  <c:v>1.7385980883536494</c:v>
                </c:pt>
                <c:pt idx="8">
                  <c:v>1.8616676984924623</c:v>
                </c:pt>
                <c:pt idx="9">
                  <c:v>1.8266005318060954</c:v>
                </c:pt>
                <c:pt idx="10">
                  <c:v>1.8141520709694101</c:v>
                </c:pt>
                <c:pt idx="11">
                  <c:v>1.6470423618898318</c:v>
                </c:pt>
                <c:pt idx="12">
                  <c:v>1.6934950757286495</c:v>
                </c:pt>
                <c:pt idx="13">
                  <c:v>1.7577130963388354</c:v>
                </c:pt>
                <c:pt idx="14">
                  <c:v>1.7575441701692152</c:v>
                </c:pt>
                <c:pt idx="15">
                  <c:v>1.793487700604582</c:v>
                </c:pt>
                <c:pt idx="16">
                  <c:v>1.847195767640747</c:v>
                </c:pt>
                <c:pt idx="17">
                  <c:v>1.6837248020381121</c:v>
                </c:pt>
                <c:pt idx="18">
                  <c:v>1.8670091122917793</c:v>
                </c:pt>
                <c:pt idx="19">
                  <c:v>2.133829382794369</c:v>
                </c:pt>
                <c:pt idx="20">
                  <c:v>2.0837776953270564</c:v>
                </c:pt>
                <c:pt idx="21">
                  <c:v>2.007925749570277</c:v>
                </c:pt>
                <c:pt idx="22">
                  <c:v>1.9843766990291263</c:v>
                </c:pt>
                <c:pt idx="23">
                  <c:v>1.9522795471501921</c:v>
                </c:pt>
                <c:pt idx="24">
                  <c:v>1.9539044678337967</c:v>
                </c:pt>
                <c:pt idx="25">
                  <c:v>1.8716369454018729</c:v>
                </c:pt>
                <c:pt idx="26">
                  <c:v>1.8482703771709628</c:v>
                </c:pt>
                <c:pt idx="27">
                  <c:v>1.8723893264748432</c:v>
                </c:pt>
                <c:pt idx="28">
                  <c:v>1.922918260582705</c:v>
                </c:pt>
                <c:pt idx="29">
                  <c:v>1.9086687990896196</c:v>
                </c:pt>
                <c:pt idx="30">
                  <c:v>1.935454866181635</c:v>
                </c:pt>
                <c:pt idx="31">
                  <c:v>1.9367533580337193</c:v>
                </c:pt>
                <c:pt idx="32">
                  <c:v>1.9584474801298033</c:v>
                </c:pt>
                <c:pt idx="33">
                  <c:v>1.9071961599425116</c:v>
                </c:pt>
                <c:pt idx="34">
                  <c:v>1.9279171050806632</c:v>
                </c:pt>
                <c:pt idx="35">
                  <c:v>2.0205689580347053</c:v>
                </c:pt>
                <c:pt idx="36">
                  <c:v>2.090939216407187</c:v>
                </c:pt>
                <c:pt idx="37">
                  <c:v>2.066686958962278</c:v>
                </c:pt>
                <c:pt idx="38">
                  <c:v>2.1291849684523596</c:v>
                </c:pt>
                <c:pt idx="39">
                  <c:v>2.018012368783988</c:v>
                </c:pt>
                <c:pt idx="40">
                  <c:v>2.0580240028758463</c:v>
                </c:pt>
                <c:pt idx="41">
                  <c:v>2.120970715985483</c:v>
                </c:pt>
                <c:pt idx="42">
                  <c:v>2.091791041790842</c:v>
                </c:pt>
                <c:pt idx="43">
                  <c:v>2.1198117328735226</c:v>
                </c:pt>
                <c:pt idx="44">
                  <c:v>1.9894730658065736</c:v>
                </c:pt>
                <c:pt idx="45">
                  <c:v>1.9166116701990434</c:v>
                </c:pt>
                <c:pt idx="46">
                  <c:v>1.8736231881248606</c:v>
                </c:pt>
                <c:pt idx="47">
                  <c:v>1.8541279517459017</c:v>
                </c:pt>
                <c:pt idx="48">
                  <c:v>1.8602569941893365</c:v>
                </c:pt>
                <c:pt idx="49">
                  <c:v>1.8771217325905922</c:v>
                </c:pt>
                <c:pt idx="50">
                  <c:v>1.828183476531067</c:v>
                </c:pt>
                <c:pt idx="51">
                  <c:v>1.805053186540047</c:v>
                </c:pt>
              </c:numCache>
            </c:numRef>
          </c:xVal>
          <c:yVal>
            <c:numRef>
              <c:f>Sheet1!$B$109:$B$160</c:f>
              <c:numCache>
                <c:formatCode>General</c:formatCode>
                <c:ptCount val="52"/>
                <c:pt idx="0">
                  <c:v>0.1536774044567602</c:v>
                </c:pt>
                <c:pt idx="1">
                  <c:v>0.151123046875</c:v>
                </c:pt>
                <c:pt idx="2">
                  <c:v>0.17841079460269865</c:v>
                </c:pt>
                <c:pt idx="3">
                  <c:v>0.20530098831985624</c:v>
                </c:pt>
                <c:pt idx="4">
                  <c:v>0.17649790989317232</c:v>
                </c:pt>
                <c:pt idx="5">
                  <c:v>0.18107392246568746</c:v>
                </c:pt>
                <c:pt idx="6">
                  <c:v>0.2081946755407654</c:v>
                </c:pt>
                <c:pt idx="7">
                  <c:v>0.22451888809693513</c:v>
                </c:pt>
                <c:pt idx="8">
                  <c:v>0.1910931174089069</c:v>
                </c:pt>
                <c:pt idx="9">
                  <c:v>0.19284149013878743</c:v>
                </c:pt>
                <c:pt idx="10">
                  <c:v>0.2099576580522704</c:v>
                </c:pt>
                <c:pt idx="11">
                  <c:v>0.19953912223735204</c:v>
                </c:pt>
                <c:pt idx="12">
                  <c:v>0.1943785134291068</c:v>
                </c:pt>
                <c:pt idx="13">
                  <c:v>0.18854509545753786</c:v>
                </c:pt>
                <c:pt idx="14">
                  <c:v>0.19723233794610343</c:v>
                </c:pt>
                <c:pt idx="15">
                  <c:v>0.18796992481203006</c:v>
                </c:pt>
                <c:pt idx="16">
                  <c:v>0.18683839096683133</c:v>
                </c:pt>
                <c:pt idx="17">
                  <c:v>0.21081376297105406</c:v>
                </c:pt>
                <c:pt idx="18">
                  <c:v>0.18598779718072797</c:v>
                </c:pt>
                <c:pt idx="19">
                  <c:v>0.1615177275554634</c:v>
                </c:pt>
                <c:pt idx="20">
                  <c:v>0.15236818588025022</c:v>
                </c:pt>
                <c:pt idx="21">
                  <c:v>0.1649957032368949</c:v>
                </c:pt>
                <c:pt idx="22">
                  <c:v>0.17030201342281878</c:v>
                </c:pt>
                <c:pt idx="23">
                  <c:v>0.17312814442142646</c:v>
                </c:pt>
                <c:pt idx="24">
                  <c:v>0.1747290510177108</c:v>
                </c:pt>
                <c:pt idx="25">
                  <c:v>0.18630527817403708</c:v>
                </c:pt>
                <c:pt idx="26">
                  <c:v>0.17228648781688408</c:v>
                </c:pt>
                <c:pt idx="27">
                  <c:v>0.17630057803468208</c:v>
                </c:pt>
                <c:pt idx="28">
                  <c:v>0.16915113871635612</c:v>
                </c:pt>
                <c:pt idx="29">
                  <c:v>0.1754254254254254</c:v>
                </c:pt>
                <c:pt idx="30">
                  <c:v>0.17612323491655968</c:v>
                </c:pt>
                <c:pt idx="31">
                  <c:v>0.17221494102228047</c:v>
                </c:pt>
                <c:pt idx="32">
                  <c:v>0.17115251897860592</c:v>
                </c:pt>
                <c:pt idx="33">
                  <c:v>0.19745461351300767</c:v>
                </c:pt>
                <c:pt idx="34">
                  <c:v>0.21060335013823386</c:v>
                </c:pt>
                <c:pt idx="35">
                  <c:v>0.20055932880543348</c:v>
                </c:pt>
                <c:pt idx="36">
                  <c:v>0.1940652818991098</c:v>
                </c:pt>
                <c:pt idx="37">
                  <c:v>0.18773135906927552</c:v>
                </c:pt>
                <c:pt idx="38">
                  <c:v>0.18181818181818182</c:v>
                </c:pt>
                <c:pt idx="39">
                  <c:v>0.1794871794871795</c:v>
                </c:pt>
                <c:pt idx="40">
                  <c:v>0.16887486855941114</c:v>
                </c:pt>
                <c:pt idx="41">
                  <c:v>0.1781150159744409</c:v>
                </c:pt>
                <c:pt idx="42">
                  <c:v>0.17142215232532015</c:v>
                </c:pt>
                <c:pt idx="43">
                  <c:v>0.15548970679975047</c:v>
                </c:pt>
                <c:pt idx="44">
                  <c:v>0.15451819011605164</c:v>
                </c:pt>
                <c:pt idx="45">
                  <c:v>0.1724002358954197</c:v>
                </c:pt>
                <c:pt idx="46">
                  <c:v>0.20424094139578236</c:v>
                </c:pt>
                <c:pt idx="47">
                  <c:v>0.1982805528349113</c:v>
                </c:pt>
                <c:pt idx="48">
                  <c:v>0.19576479142052167</c:v>
                </c:pt>
                <c:pt idx="49">
                  <c:v>0.2023936170212766</c:v>
                </c:pt>
                <c:pt idx="50">
                  <c:v>0.1888550333997422</c:v>
                </c:pt>
                <c:pt idx="51">
                  <c:v>0.1839577836411609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7795637355493232</c:v>
                </c:pt>
              </c:numCache>
            </c:numRef>
          </c:xVal>
          <c:yVal>
            <c:numRef>
              <c:f>Sheet1!$B$163:$B$164</c:f>
              <c:numCache>
                <c:formatCode>General</c:formatCode>
                <c:ptCount val="2"/>
                <c:pt idx="0">
                  <c:v>0.19274280637067534</c:v>
                </c:pt>
                <c:pt idx="1">
                  <c:v>0.1927428063706753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7795637355493232</c:v>
                </c:pt>
                <c:pt idx="1">
                  <c:v>1.7795637355493232</c:v>
                </c:pt>
              </c:numCache>
            </c:numRef>
          </c:xVal>
          <c:yVal>
            <c:numRef>
              <c:f>Sheet1!$B$167:$B$168</c:f>
              <c:numCache>
                <c:formatCode>General</c:formatCode>
                <c:ptCount val="2"/>
                <c:pt idx="0">
                  <c:v>0.192742806370675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7795637355493232</c:v>
                </c:pt>
              </c:numCache>
            </c:numRef>
          </c:xVal>
          <c:yVal>
            <c:numRef>
              <c:f>Sheet1!$B$171:$B$172</c:f>
              <c:numCache>
                <c:formatCode>General</c:formatCode>
                <c:ptCount val="2"/>
                <c:pt idx="0">
                  <c:v>0.19274280637067534</c:v>
                </c:pt>
                <c:pt idx="1">
                  <c:v>0.1927428063706753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7795637355493232</c:v>
                </c:pt>
                <c:pt idx="1">
                  <c:v>1.7795637355493232</c:v>
                </c:pt>
              </c:numCache>
            </c:numRef>
          </c:xVal>
          <c:yVal>
            <c:numRef>
              <c:f>Sheet1!$B$175:$B$176</c:f>
              <c:numCache>
                <c:formatCode>General</c:formatCode>
                <c:ptCount val="2"/>
                <c:pt idx="0">
                  <c:v>0.1927428063706753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9370951222939603</c:v>
                </c:pt>
              </c:numCache>
            </c:numRef>
          </c:xVal>
          <c:yVal>
            <c:numRef>
              <c:f>Sheet1!$B$179:$B$180</c:f>
              <c:numCache>
                <c:formatCode>General</c:formatCode>
                <c:ptCount val="2"/>
                <c:pt idx="0">
                  <c:v>0.18106154375930528</c:v>
                </c:pt>
                <c:pt idx="1">
                  <c:v>0.1810615437593052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9370951222939603</c:v>
                </c:pt>
                <c:pt idx="1">
                  <c:v>1.9370951222939603</c:v>
                </c:pt>
              </c:numCache>
            </c:numRef>
          </c:xVal>
          <c:yVal>
            <c:numRef>
              <c:f>Sheet1!$B$183:$B$184</c:f>
              <c:numCache>
                <c:formatCode>General</c:formatCode>
                <c:ptCount val="2"/>
                <c:pt idx="0">
                  <c:v>0.1810615437593052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8208217122779102</c:v>
                </c:pt>
                <c:pt idx="1">
                  <c:v>1.8577789235987545</c:v>
                </c:pt>
                <c:pt idx="2">
                  <c:v>1.853396313865705</c:v>
                </c:pt>
                <c:pt idx="3">
                  <c:v>1.7247590329180293</c:v>
                </c:pt>
                <c:pt idx="4">
                  <c:v>1.8478196649802419</c:v>
                </c:pt>
                <c:pt idx="5">
                  <c:v>1.8788737214465399</c:v>
                </c:pt>
                <c:pt idx="6">
                  <c:v>1.7667674930979549</c:v>
                </c:pt>
                <c:pt idx="7">
                  <c:v>1.7385980883536494</c:v>
                </c:pt>
                <c:pt idx="8">
                  <c:v>1.8616676984924623</c:v>
                </c:pt>
                <c:pt idx="9">
                  <c:v>1.8266005318060954</c:v>
                </c:pt>
                <c:pt idx="10">
                  <c:v>1.8141520709694101</c:v>
                </c:pt>
                <c:pt idx="11">
                  <c:v>1.6470423618898318</c:v>
                </c:pt>
                <c:pt idx="12">
                  <c:v>1.6934950757286495</c:v>
                </c:pt>
                <c:pt idx="13">
                  <c:v>1.7577130963388354</c:v>
                </c:pt>
                <c:pt idx="14">
                  <c:v>1.7575441701692152</c:v>
                </c:pt>
                <c:pt idx="15">
                  <c:v>1.793487700604582</c:v>
                </c:pt>
                <c:pt idx="16">
                  <c:v>1.847195767640747</c:v>
                </c:pt>
                <c:pt idx="17">
                  <c:v>1.6837248020381121</c:v>
                </c:pt>
                <c:pt idx="18">
                  <c:v>1.8670091122917793</c:v>
                </c:pt>
                <c:pt idx="19">
                  <c:v>2.133829382794369</c:v>
                </c:pt>
                <c:pt idx="20">
                  <c:v>2.0837776953270564</c:v>
                </c:pt>
                <c:pt idx="21">
                  <c:v>2.007925749570277</c:v>
                </c:pt>
                <c:pt idx="22">
                  <c:v>1.9843766990291263</c:v>
                </c:pt>
                <c:pt idx="23">
                  <c:v>1.9522795471501921</c:v>
                </c:pt>
                <c:pt idx="24">
                  <c:v>1.9539044678337967</c:v>
                </c:pt>
                <c:pt idx="25">
                  <c:v>1.8716369454018729</c:v>
                </c:pt>
                <c:pt idx="26">
                  <c:v>1.8482703771709628</c:v>
                </c:pt>
                <c:pt idx="27">
                  <c:v>1.8723893264748432</c:v>
                </c:pt>
                <c:pt idx="28">
                  <c:v>1.922918260582705</c:v>
                </c:pt>
                <c:pt idx="29">
                  <c:v>1.9086687990896196</c:v>
                </c:pt>
                <c:pt idx="30">
                  <c:v>1.935454866181635</c:v>
                </c:pt>
                <c:pt idx="31">
                  <c:v>1.9367533580337193</c:v>
                </c:pt>
                <c:pt idx="32">
                  <c:v>1.9584474801298033</c:v>
                </c:pt>
                <c:pt idx="33">
                  <c:v>1.9071961599425116</c:v>
                </c:pt>
                <c:pt idx="34">
                  <c:v>1.9279171050806632</c:v>
                </c:pt>
                <c:pt idx="35">
                  <c:v>2.0205689580347053</c:v>
                </c:pt>
                <c:pt idx="36">
                  <c:v>2.090939216407187</c:v>
                </c:pt>
                <c:pt idx="37">
                  <c:v>2.066686958962278</c:v>
                </c:pt>
                <c:pt idx="38">
                  <c:v>2.1291849684523596</c:v>
                </c:pt>
                <c:pt idx="39">
                  <c:v>2.018012368783988</c:v>
                </c:pt>
                <c:pt idx="40">
                  <c:v>2.0580240028758463</c:v>
                </c:pt>
                <c:pt idx="41">
                  <c:v>2.120970715985483</c:v>
                </c:pt>
                <c:pt idx="42">
                  <c:v>2.091791041790842</c:v>
                </c:pt>
                <c:pt idx="43">
                  <c:v>2.1198117328735226</c:v>
                </c:pt>
                <c:pt idx="44">
                  <c:v>1.9894730658065736</c:v>
                </c:pt>
                <c:pt idx="45">
                  <c:v>1.9166116701990434</c:v>
                </c:pt>
                <c:pt idx="46">
                  <c:v>1.8736231881248606</c:v>
                </c:pt>
                <c:pt idx="47">
                  <c:v>1.8541279517459017</c:v>
                </c:pt>
                <c:pt idx="48">
                  <c:v>1.8602569941893365</c:v>
                </c:pt>
                <c:pt idx="49">
                  <c:v>1.8771217325905922</c:v>
                </c:pt>
                <c:pt idx="50">
                  <c:v>1.828183476531067</c:v>
                </c:pt>
                <c:pt idx="51">
                  <c:v>1.805053186540047</c:v>
                </c:pt>
                <c:pt idx="52">
                  <c:v>1.7795637355493232</c:v>
                </c:pt>
                <c:pt idx="53">
                  <c:v>1.7795637355493232</c:v>
                </c:pt>
                <c:pt idx="54">
                  <c:v>1.9370951222939603</c:v>
                </c:pt>
              </c:numCache>
            </c:numRef>
          </c:xVal>
          <c:yVal>
            <c:numRef>
              <c:f>Sheet1!$B$187:$B$241</c:f>
              <c:numCache>
                <c:formatCode>General</c:formatCode>
                <c:ptCount val="55"/>
                <c:pt idx="0">
                  <c:v>0.18968344613180646</c:v>
                </c:pt>
                <c:pt idx="1">
                  <c:v>0.18694299611899415</c:v>
                </c:pt>
                <c:pt idx="2">
                  <c:v>0.18726797526297823</c:v>
                </c:pt>
                <c:pt idx="3">
                  <c:v>0.1968066830177587</c:v>
                </c:pt>
                <c:pt idx="4">
                  <c:v>0.1876814947619724</c:v>
                </c:pt>
                <c:pt idx="5">
                  <c:v>0.18537877530886956</c:v>
                </c:pt>
                <c:pt idx="6">
                  <c:v>0.19369167295277112</c:v>
                </c:pt>
                <c:pt idx="7">
                  <c:v>0.1957804897988871</c:v>
                </c:pt>
                <c:pt idx="8">
                  <c:v>0.18665463580103708</c:v>
                </c:pt>
                <c:pt idx="9">
                  <c:v>0.18925493528144577</c:v>
                </c:pt>
                <c:pt idx="10">
                  <c:v>0.1901780131717991</c:v>
                </c:pt>
                <c:pt idx="11">
                  <c:v>0.20256952725040323</c:v>
                </c:pt>
                <c:pt idx="12">
                  <c:v>0.1991249670229124</c:v>
                </c:pt>
                <c:pt idx="13">
                  <c:v>0.19436307430659952</c:v>
                </c:pt>
                <c:pt idx="14">
                  <c:v>0.19437560051480504</c:v>
                </c:pt>
                <c:pt idx="15">
                  <c:v>0.19171031693626392</c:v>
                </c:pt>
                <c:pt idx="16">
                  <c:v>0.18772775797856547</c:v>
                </c:pt>
                <c:pt idx="17">
                  <c:v>0.19984945206124405</c:v>
                </c:pt>
                <c:pt idx="18">
                  <c:v>0.18625855944701525</c:v>
                </c:pt>
                <c:pt idx="19">
                  <c:v>0.16647331084236758</c:v>
                </c:pt>
                <c:pt idx="20">
                  <c:v>0.17018474205318818</c:v>
                </c:pt>
                <c:pt idx="21">
                  <c:v>0.17580931323407065</c:v>
                </c:pt>
                <c:pt idx="22">
                  <c:v>0.17755552171546696</c:v>
                </c:pt>
                <c:pt idx="23">
                  <c:v>0.17993558874796658</c:v>
                </c:pt>
                <c:pt idx="24">
                  <c:v>0.1798150976787259</c:v>
                </c:pt>
                <c:pt idx="25">
                  <c:v>0.18591539650661515</c:v>
                </c:pt>
                <c:pt idx="26">
                  <c:v>0.18764807356527785</c:v>
                </c:pt>
                <c:pt idx="27">
                  <c:v>0.1858596059681148</c:v>
                </c:pt>
                <c:pt idx="28">
                  <c:v>0.18211278597888084</c:v>
                </c:pt>
                <c:pt idx="29">
                  <c:v>0.18316941161527647</c:v>
                </c:pt>
                <c:pt idx="30">
                  <c:v>0.18118317198079129</c:v>
                </c:pt>
                <c:pt idx="31">
                  <c:v>0.1810868862523637</c:v>
                </c:pt>
                <c:pt idx="32">
                  <c:v>0.17947822436875902</c:v>
                </c:pt>
                <c:pt idx="33">
                  <c:v>0.18327861070864215</c:v>
                </c:pt>
                <c:pt idx="34">
                  <c:v>0.181742111813302</c:v>
                </c:pt>
                <c:pt idx="35">
                  <c:v>0.17487179442353235</c:v>
                </c:pt>
                <c:pt idx="36">
                  <c:v>0.16965370115929015</c:v>
                </c:pt>
                <c:pt idx="37">
                  <c:v>0.17145205381768305</c:v>
                </c:pt>
                <c:pt idx="38">
                  <c:v>0.16681770331377374</c:v>
                </c:pt>
                <c:pt idx="39">
                  <c:v>0.17506137055210058</c:v>
                </c:pt>
                <c:pt idx="40">
                  <c:v>0.17209442907462413</c:v>
                </c:pt>
                <c:pt idx="41">
                  <c:v>0.16742680631352844</c:v>
                </c:pt>
                <c:pt idx="42">
                  <c:v>0.16959053662928042</c:v>
                </c:pt>
                <c:pt idx="43">
                  <c:v>0.16751274719409023</c:v>
                </c:pt>
                <c:pt idx="44">
                  <c:v>0.17717761608077762</c:v>
                </c:pt>
                <c:pt idx="45">
                  <c:v>0.18258043207770758</c:v>
                </c:pt>
                <c:pt idx="46">
                  <c:v>0.18576811269647034</c:v>
                </c:pt>
                <c:pt idx="47">
                  <c:v>0.18721372287307922</c:v>
                </c:pt>
                <c:pt idx="48">
                  <c:v>0.1867592423037305</c:v>
                </c:pt>
                <c:pt idx="49">
                  <c:v>0.1855086887333714</c:v>
                </c:pt>
                <c:pt idx="50">
                  <c:v>0.1891375568122163</c:v>
                </c:pt>
                <c:pt idx="51">
                  <c:v>0.19085271337400192</c:v>
                </c:pt>
                <c:pt idx="52">
                  <c:v>0.19274280637067534</c:v>
                </c:pt>
                <c:pt idx="53">
                  <c:v>0.19274280637067534</c:v>
                </c:pt>
                <c:pt idx="54">
                  <c:v>0.1810615437593052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uv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94226657163221"/>
          <c:min val="0.0531759805623047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40.4157</c:v>
                </c:pt>
                <c:pt idx="1">
                  <c:v>833.0948</c:v>
                </c:pt>
                <c:pt idx="2">
                  <c:v>877.0721</c:v>
                </c:pt>
                <c:pt idx="3">
                  <c:v>894.9039</c:v>
                </c:pt>
                <c:pt idx="4">
                  <c:v>903.5401</c:v>
                </c:pt>
                <c:pt idx="5">
                  <c:v>895.4072</c:v>
                </c:pt>
                <c:pt idx="6">
                  <c:v>841.8521</c:v>
                </c:pt>
                <c:pt idx="7">
                  <c:v>858.8852</c:v>
                </c:pt>
                <c:pt idx="8">
                  <c:v>850.4341</c:v>
                </c:pt>
                <c:pt idx="9">
                  <c:v>850.9649</c:v>
                </c:pt>
                <c:pt idx="10">
                  <c:v>827.7996</c:v>
                </c:pt>
                <c:pt idx="11">
                  <c:v>865.698</c:v>
                </c:pt>
                <c:pt idx="12">
                  <c:v>870.6397</c:v>
                </c:pt>
                <c:pt idx="13">
                  <c:v>877.0027</c:v>
                </c:pt>
                <c:pt idx="14">
                  <c:v>900.9844</c:v>
                </c:pt>
                <c:pt idx="15">
                  <c:v>916.1449</c:v>
                </c:pt>
                <c:pt idx="16">
                  <c:v>920.5272</c:v>
                </c:pt>
                <c:pt idx="17">
                  <c:v>917.2086</c:v>
                </c:pt>
                <c:pt idx="18">
                  <c:v>945.465</c:v>
                </c:pt>
                <c:pt idx="19">
                  <c:v>928.1686</c:v>
                </c:pt>
                <c:pt idx="20">
                  <c:v>980.1253</c:v>
                </c:pt>
                <c:pt idx="21">
                  <c:v>1007.3453</c:v>
                </c:pt>
                <c:pt idx="22">
                  <c:v>977.8036</c:v>
                </c:pt>
                <c:pt idx="23">
                  <c:v>972.1144</c:v>
                </c:pt>
                <c:pt idx="24">
                  <c:v>1006.0563</c:v>
                </c:pt>
                <c:pt idx="25">
                  <c:v>972.2673</c:v>
                </c:pt>
                <c:pt idx="26">
                  <c:v>944.7288</c:v>
                </c:pt>
                <c:pt idx="27">
                  <c:v>1002.3166</c:v>
                </c:pt>
                <c:pt idx="28">
                  <c:v>988.2793</c:v>
                </c:pt>
                <c:pt idx="29">
                  <c:v>947.8739</c:v>
                </c:pt>
                <c:pt idx="30">
                  <c:v>948.0548</c:v>
                </c:pt>
                <c:pt idx="31">
                  <c:v>961.7687</c:v>
                </c:pt>
                <c:pt idx="32">
                  <c:v>938.4373</c:v>
                </c:pt>
                <c:pt idx="33">
                  <c:v>924.5707</c:v>
                </c:pt>
                <c:pt idx="34">
                  <c:v>909.6762</c:v>
                </c:pt>
                <c:pt idx="35">
                  <c:v>965.3873</c:v>
                </c:pt>
                <c:pt idx="36">
                  <c:v>1073.4796</c:v>
                </c:pt>
                <c:pt idx="37">
                  <c:v>1104.4395</c:v>
                </c:pt>
                <c:pt idx="38">
                  <c:v>1131.7548</c:v>
                </c:pt>
                <c:pt idx="39">
                  <c:v>1138.3583</c:v>
                </c:pt>
                <c:pt idx="40">
                  <c:v>1124.7606</c:v>
                </c:pt>
                <c:pt idx="41">
                  <c:v>1155.3412</c:v>
                </c:pt>
                <c:pt idx="42">
                  <c:v>1175.1574</c:v>
                </c:pt>
                <c:pt idx="43">
                  <c:v>1179.9659</c:v>
                </c:pt>
                <c:pt idx="44">
                  <c:v>1092.4663</c:v>
                </c:pt>
                <c:pt idx="45">
                  <c:v>1060.7269</c:v>
                </c:pt>
                <c:pt idx="46">
                  <c:v>1056.8816</c:v>
                </c:pt>
                <c:pt idx="47">
                  <c:v>1032.0557</c:v>
                </c:pt>
                <c:pt idx="48">
                  <c:v>1044.1246</c:v>
                </c:pt>
                <c:pt idx="49">
                  <c:v>1013.8239</c:v>
                </c:pt>
                <c:pt idx="50">
                  <c:v>988.881</c:v>
                </c:pt>
                <c:pt idx="51">
                  <c:v>1005.217</c:v>
                </c:pt>
                <c:pt idx="52">
                  <c:v>1018.3611</c:v>
                </c:pt>
                <c:pt idx="53">
                  <c:v>1100.6695</c:v>
                </c:pt>
                <c:pt idx="54">
                  <c:v>1078.7167</c:v>
                </c:pt>
                <c:pt idx="55">
                  <c:v>1080.286</c:v>
                </c:pt>
                <c:pt idx="56">
                  <c:v>1095.8056</c:v>
                </c:pt>
                <c:pt idx="57">
                  <c:v>1086.4695</c:v>
                </c:pt>
                <c:pt idx="58">
                  <c:v>1015.0648</c:v>
                </c:pt>
                <c:pt idx="59">
                  <c:v>1023.2639</c:v>
                </c:pt>
                <c:pt idx="60">
                  <c:v>1033.1318</c:v>
                </c:pt>
                <c:pt idx="61">
                  <c:v>1048.796</c:v>
                </c:pt>
                <c:pt idx="62">
                  <c:v>981.119</c:v>
                </c:pt>
                <c:pt idx="63">
                  <c:v>1018.5602</c:v>
                </c:pt>
                <c:pt idx="64">
                  <c:v>1023.682</c:v>
                </c:pt>
                <c:pt idx="65">
                  <c:v>1012.5565</c:v>
                </c:pt>
                <c:pt idx="66">
                  <c:v>1010.6297</c:v>
                </c:pt>
                <c:pt idx="67">
                  <c:v>1032.932</c:v>
                </c:pt>
                <c:pt idx="68">
                  <c:v>1047.1183</c:v>
                </c:pt>
                <c:pt idx="69">
                  <c:v>1084.2574</c:v>
                </c:pt>
                <c:pt idx="70">
                  <c:v>1056.3848</c:v>
                </c:pt>
                <c:pt idx="71">
                  <c:v>1132.2764</c:v>
                </c:pt>
                <c:pt idx="72">
                  <c:v>1235.1901</c:v>
                </c:pt>
                <c:pt idx="73">
                  <c:v>1196.09</c:v>
                </c:pt>
                <c:pt idx="74">
                  <c:v>1184.045</c:v>
                </c:pt>
                <c:pt idx="75">
                  <c:v>1165.6574</c:v>
                </c:pt>
                <c:pt idx="76">
                  <c:v>1125.8896</c:v>
                </c:pt>
                <c:pt idx="77">
                  <c:v>1121.1374</c:v>
                </c:pt>
                <c:pt idx="78">
                  <c:v>1151.6452</c:v>
                </c:pt>
                <c:pt idx="79">
                  <c:v>1176.8083</c:v>
                </c:pt>
                <c:pt idx="80">
                  <c:v>1166.2966</c:v>
                </c:pt>
                <c:pt idx="81">
                  <c:v>1166.6583</c:v>
                </c:pt>
                <c:pt idx="82">
                  <c:v>1153.699</c:v>
                </c:pt>
                <c:pt idx="83">
                  <c:v>1131.0397</c:v>
                </c:pt>
                <c:pt idx="84">
                  <c:v>1142.2522</c:v>
                </c:pt>
                <c:pt idx="85">
                  <c:v>1115.0029</c:v>
                </c:pt>
                <c:pt idx="86">
                  <c:v>1085.4207</c:v>
                </c:pt>
                <c:pt idx="87">
                  <c:v>1097.8587</c:v>
                </c:pt>
                <c:pt idx="88">
                  <c:v>1154.7131</c:v>
                </c:pt>
                <c:pt idx="89">
                  <c:v>1140.1216</c:v>
                </c:pt>
                <c:pt idx="90">
                  <c:v>1232.591</c:v>
                </c:pt>
                <c:pt idx="91">
                  <c:v>1238.8507</c:v>
                </c:pt>
                <c:pt idx="92">
                  <c:v>1178.6829</c:v>
                </c:pt>
                <c:pt idx="93">
                  <c:v>1226.7099</c:v>
                </c:pt>
                <c:pt idx="94">
                  <c:v>1238.0328</c:v>
                </c:pt>
                <c:pt idx="95">
                  <c:v>1197.976</c:v>
                </c:pt>
                <c:pt idx="96">
                  <c:v>1121.4882</c:v>
                </c:pt>
                <c:pt idx="97">
                  <c:v>1112.1444</c:v>
                </c:pt>
                <c:pt idx="98">
                  <c:v>1110.7206</c:v>
                </c:pt>
                <c:pt idx="99">
                  <c:v>1066.4263</c:v>
                </c:pt>
                <c:pt idx="100">
                  <c:v>1083.0188</c:v>
                </c:pt>
                <c:pt idx="101">
                  <c:v>1097.3645</c:v>
                </c:pt>
                <c:pt idx="102">
                  <c:v>1094.7418</c:v>
                </c:pt>
                <c:pt idx="103">
                  <c:v>1076.4669</c:v>
                </c:pt>
                <c:pt idx="104">
                  <c:v>1102.8747</c:v>
                </c:pt>
              </c:numCache>
            </c:numRef>
          </c:xVal>
          <c:yVal>
            <c:numRef>
              <c:f>Sheet1!$B$2:$B$106</c:f>
              <c:numCache>
                <c:formatCode>General</c:formatCode>
                <c:ptCount val="105"/>
                <c:pt idx="0">
                  <c:v>0.14163554157656771</c:v>
                </c:pt>
                <c:pt idx="1">
                  <c:v>0.1250515463917526</c:v>
                </c:pt>
                <c:pt idx="2">
                  <c:v>0.12751433512332758</c:v>
                </c:pt>
                <c:pt idx="3">
                  <c:v>0.12668172444269862</c:v>
                </c:pt>
                <c:pt idx="4">
                  <c:v>0.12281565345803594</c:v>
                </c:pt>
                <c:pt idx="5">
                  <c:v>0.14012161987320482</c:v>
                </c:pt>
                <c:pt idx="6">
                  <c:v>0.1696271186440678</c:v>
                </c:pt>
                <c:pt idx="7">
                  <c:v>0.18247813892097015</c:v>
                </c:pt>
                <c:pt idx="8">
                  <c:v>0.1789798511526593</c:v>
                </c:pt>
                <c:pt idx="9">
                  <c:v>0.15191965420798373</c:v>
                </c:pt>
                <c:pt idx="10">
                  <c:v>0.1666872148933547</c:v>
                </c:pt>
                <c:pt idx="11">
                  <c:v>0.15078778926637124</c:v>
                </c:pt>
                <c:pt idx="12">
                  <c:v>0.13318385650224215</c:v>
                </c:pt>
                <c:pt idx="13">
                  <c:v>0.12108813446864979</c:v>
                </c:pt>
                <c:pt idx="14">
                  <c:v>0.09653465346534654</c:v>
                </c:pt>
                <c:pt idx="15">
                  <c:v>0.08507179626117584</c:v>
                </c:pt>
                <c:pt idx="16">
                  <c:v>0.08976179208076984</c:v>
                </c:pt>
                <c:pt idx="17">
                  <c:v>0.08260869565217391</c:v>
                </c:pt>
                <c:pt idx="18">
                  <c:v>0.07696457471677756</c:v>
                </c:pt>
                <c:pt idx="19">
                  <c:v>0.07254775702940545</c:v>
                </c:pt>
                <c:pt idx="20">
                  <c:v>0.06646997570288095</c:v>
                </c:pt>
                <c:pt idx="21">
                  <c:v>0.06817677104152788</c:v>
                </c:pt>
                <c:pt idx="22">
                  <c:v>0.0822879013395705</c:v>
                </c:pt>
                <c:pt idx="23">
                  <c:v>0.09319727891156462</c:v>
                </c:pt>
                <c:pt idx="24">
                  <c:v>0.09057527539779682</c:v>
                </c:pt>
                <c:pt idx="25">
                  <c:v>0.1037037037037037</c:v>
                </c:pt>
                <c:pt idx="26">
                  <c:v>0.12445464982778416</c:v>
                </c:pt>
                <c:pt idx="27">
                  <c:v>0.12218579234972678</c:v>
                </c:pt>
                <c:pt idx="28">
                  <c:v>0.16037534655576882</c:v>
                </c:pt>
                <c:pt idx="29">
                  <c:v>0.15294771968854282</c:v>
                </c:pt>
                <c:pt idx="30">
                  <c:v>0.1438423645320197</c:v>
                </c:pt>
                <c:pt idx="31">
                  <c:v>0.16059067835717583</c:v>
                </c:pt>
                <c:pt idx="32">
                  <c:v>0.17548932384341637</c:v>
                </c:pt>
                <c:pt idx="33">
                  <c:v>0.16313887454827053</c:v>
                </c:pt>
                <c:pt idx="34">
                  <c:v>0.16279442397051755</c:v>
                </c:pt>
                <c:pt idx="35">
                  <c:v>0.1569269128876422</c:v>
                </c:pt>
                <c:pt idx="36">
                  <c:v>0.13662436989396837</c:v>
                </c:pt>
                <c:pt idx="37">
                  <c:v>0.1353484790142472</c:v>
                </c:pt>
                <c:pt idx="38">
                  <c:v>0.13179794851945037</c:v>
                </c:pt>
                <c:pt idx="39">
                  <c:v>0.1223595057791949</c:v>
                </c:pt>
                <c:pt idx="40">
                  <c:v>0.12189616252821671</c:v>
                </c:pt>
                <c:pt idx="41">
                  <c:v>0.12644686075061382</c:v>
                </c:pt>
                <c:pt idx="42">
                  <c:v>0.1215926493108729</c:v>
                </c:pt>
                <c:pt idx="43">
                  <c:v>0.11488944864259726</c:v>
                </c:pt>
                <c:pt idx="44">
                  <c:v>0.12874056120070848</c:v>
                </c:pt>
                <c:pt idx="45">
                  <c:v>0.1531594608786977</c:v>
                </c:pt>
                <c:pt idx="46">
                  <c:v>0.15876995069775215</c:v>
                </c:pt>
                <c:pt idx="47">
                  <c:v>0.1564378227376619</c:v>
                </c:pt>
                <c:pt idx="48">
                  <c:v>0.15073094867807155</c:v>
                </c:pt>
                <c:pt idx="49">
                  <c:v>0.15255923313438235</c:v>
                </c:pt>
                <c:pt idx="50">
                  <c:v>0.1529775997086141</c:v>
                </c:pt>
                <c:pt idx="51">
                  <c:v>0.14106753812636166</c:v>
                </c:pt>
                <c:pt idx="52">
                  <c:v>0.1386390478786227</c:v>
                </c:pt>
                <c:pt idx="53">
                  <c:v>0.12826158758119563</c:v>
                </c:pt>
                <c:pt idx="54">
                  <c:v>0.13059921995036047</c:v>
                </c:pt>
                <c:pt idx="55">
                  <c:v>0.12580954665387384</c:v>
                </c:pt>
                <c:pt idx="56">
                  <c:v>0.12915313514863852</c:v>
                </c:pt>
                <c:pt idx="57">
                  <c:v>0.1269622401357658</c:v>
                </c:pt>
                <c:pt idx="58">
                  <c:v>0.1528197644115501</c:v>
                </c:pt>
                <c:pt idx="59">
                  <c:v>0.13807725435632412</c:v>
                </c:pt>
                <c:pt idx="60">
                  <c:v>0.14190755912814965</c:v>
                </c:pt>
                <c:pt idx="61">
                  <c:v>0.1562639821029083</c:v>
                </c:pt>
                <c:pt idx="62">
                  <c:v>0.17758022549869903</c:v>
                </c:pt>
                <c:pt idx="63">
                  <c:v>0.18087082129591417</c:v>
                </c:pt>
                <c:pt idx="64">
                  <c:v>0.17451044033322513</c:v>
                </c:pt>
                <c:pt idx="65">
                  <c:v>0.16851195748449957</c:v>
                </c:pt>
                <c:pt idx="66">
                  <c:v>0.1676754091010984</c:v>
                </c:pt>
                <c:pt idx="67">
                  <c:v>0.1579381929700401</c:v>
                </c:pt>
                <c:pt idx="68">
                  <c:v>0.14289547833087346</c:v>
                </c:pt>
                <c:pt idx="69">
                  <c:v>0.13320825515947468</c:v>
                </c:pt>
                <c:pt idx="70">
                  <c:v>0.13493589743589743</c:v>
                </c:pt>
                <c:pt idx="71">
                  <c:v>0.13415726312018628</c:v>
                </c:pt>
                <c:pt idx="72">
                  <c:v>0.12701921441931643</c:v>
                </c:pt>
                <c:pt idx="73">
                  <c:v>0.1339546783625731</c:v>
                </c:pt>
                <c:pt idx="74">
                  <c:v>0.13998979418268412</c:v>
                </c:pt>
                <c:pt idx="75">
                  <c:v>0.15561959654178675</c:v>
                </c:pt>
                <c:pt idx="76">
                  <c:v>0.16498464238701185</c:v>
                </c:pt>
                <c:pt idx="77">
                  <c:v>0.15454134658834162</c:v>
                </c:pt>
                <c:pt idx="78">
                  <c:v>0.16553398058252428</c:v>
                </c:pt>
                <c:pt idx="79">
                  <c:v>0.14758380496299522</c:v>
                </c:pt>
                <c:pt idx="80">
                  <c:v>0.1394845137535196</c:v>
                </c:pt>
                <c:pt idx="81">
                  <c:v>0.14211469534050178</c:v>
                </c:pt>
                <c:pt idx="82">
                  <c:v>0.14853358561967833</c:v>
                </c:pt>
                <c:pt idx="83">
                  <c:v>0.14887063655030802</c:v>
                </c:pt>
                <c:pt idx="84">
                  <c:v>0.14924980257962622</c:v>
                </c:pt>
                <c:pt idx="85">
                  <c:v>0.1578826237054085</c:v>
                </c:pt>
                <c:pt idx="86">
                  <c:v>0.17418677859391396</c:v>
                </c:pt>
                <c:pt idx="87">
                  <c:v>0.1725151253241141</c:v>
                </c:pt>
                <c:pt idx="88">
                  <c:v>0.16112700858463572</c:v>
                </c:pt>
                <c:pt idx="89">
                  <c:v>0.18039673278879814</c:v>
                </c:pt>
                <c:pt idx="90">
                  <c:v>0.1560317842523477</c:v>
                </c:pt>
                <c:pt idx="91">
                  <c:v>0.1484988452655889</c:v>
                </c:pt>
                <c:pt idx="92">
                  <c:v>0.15676782722025692</c:v>
                </c:pt>
                <c:pt idx="93">
                  <c:v>0.15562431743720423</c:v>
                </c:pt>
                <c:pt idx="94">
                  <c:v>0.15969024696525744</c:v>
                </c:pt>
                <c:pt idx="95">
                  <c:v>0.1585923217550274</c:v>
                </c:pt>
                <c:pt idx="96">
                  <c:v>0.15127545975875026</c:v>
                </c:pt>
                <c:pt idx="97">
                  <c:v>0.1533891439373481</c:v>
                </c:pt>
                <c:pt idx="98">
                  <c:v>0.14894786432160803</c:v>
                </c:pt>
                <c:pt idx="99">
                  <c:v>0.1511102247041617</c:v>
                </c:pt>
                <c:pt idx="100">
                  <c:v>0.15323639301221853</c:v>
                </c:pt>
                <c:pt idx="101">
                  <c:v>0.15513869132290184</c:v>
                </c:pt>
                <c:pt idx="102">
                  <c:v>0.15776112185686653</c:v>
                </c:pt>
                <c:pt idx="103">
                  <c:v>0.15422612513721184</c:v>
                </c:pt>
                <c:pt idx="104">
                  <c:v>0.1525288729589805</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8.8242</c:v>
                </c:pt>
                <c:pt idx="1">
                  <c:v>1159.4467</c:v>
                </c:pt>
                <c:pt idx="2">
                  <c:v>1156.0528</c:v>
                </c:pt>
                <c:pt idx="3">
                  <c:v>1075.5449</c:v>
                </c:pt>
                <c:pt idx="4">
                  <c:v>1149.6842</c:v>
                </c:pt>
                <c:pt idx="5">
                  <c:v>1165.0073</c:v>
                </c:pt>
                <c:pt idx="6">
                  <c:v>1084.2562</c:v>
                </c:pt>
                <c:pt idx="7">
                  <c:v>1077.3117</c:v>
                </c:pt>
                <c:pt idx="8">
                  <c:v>1157.7246</c:v>
                </c:pt>
                <c:pt idx="9">
                  <c:v>1121.6394</c:v>
                </c:pt>
                <c:pt idx="10">
                  <c:v>1120.3102</c:v>
                </c:pt>
                <c:pt idx="11">
                  <c:v>1005.242</c:v>
                </c:pt>
                <c:pt idx="12">
                  <c:v>1035.6266</c:v>
                </c:pt>
                <c:pt idx="13">
                  <c:v>1090.2277</c:v>
                </c:pt>
                <c:pt idx="14">
                  <c:v>1085.3301</c:v>
                </c:pt>
                <c:pt idx="15">
                  <c:v>1107.1248</c:v>
                </c:pt>
                <c:pt idx="16">
                  <c:v>1142.1265</c:v>
                </c:pt>
                <c:pt idx="17">
                  <c:v>1020.4231</c:v>
                </c:pt>
                <c:pt idx="18">
                  <c:v>1122.3824</c:v>
                </c:pt>
                <c:pt idx="19">
                  <c:v>1292.9602</c:v>
                </c:pt>
                <c:pt idx="20">
                  <c:v>1294.5396</c:v>
                </c:pt>
                <c:pt idx="21">
                  <c:v>1240.1094</c:v>
                </c:pt>
                <c:pt idx="22">
                  <c:v>1226.3448</c:v>
                </c:pt>
                <c:pt idx="23">
                  <c:v>1213.6256</c:v>
                </c:pt>
                <c:pt idx="24">
                  <c:v>1218.5068</c:v>
                </c:pt>
                <c:pt idx="25">
                  <c:v>1166.0184</c:v>
                </c:pt>
                <c:pt idx="26">
                  <c:v>1149.4314</c:v>
                </c:pt>
                <c:pt idx="27">
                  <c:v>1164.8134</c:v>
                </c:pt>
                <c:pt idx="28">
                  <c:v>1196.1065</c:v>
                </c:pt>
                <c:pt idx="29">
                  <c:v>1191.5178</c:v>
                </c:pt>
                <c:pt idx="30">
                  <c:v>1201.9796</c:v>
                </c:pt>
                <c:pt idx="31">
                  <c:v>1210.3866</c:v>
                </c:pt>
                <c:pt idx="32">
                  <c:v>1216.379</c:v>
                </c:pt>
                <c:pt idx="33">
                  <c:v>1193.2512</c:v>
                </c:pt>
                <c:pt idx="34">
                  <c:v>1199.5961</c:v>
                </c:pt>
                <c:pt idx="35">
                  <c:v>1254.2799</c:v>
                </c:pt>
                <c:pt idx="36">
                  <c:v>1302.3394</c:v>
                </c:pt>
                <c:pt idx="37">
                  <c:v>1289.369</c:v>
                </c:pt>
                <c:pt idx="38">
                  <c:v>1305.2104</c:v>
                </c:pt>
                <c:pt idx="39">
                  <c:v>1249.3002</c:v>
                </c:pt>
                <c:pt idx="40">
                  <c:v>1277.2453</c:v>
                </c:pt>
                <c:pt idx="41">
                  <c:v>1315.8935</c:v>
                </c:pt>
                <c:pt idx="42">
                  <c:v>1307.2805</c:v>
                </c:pt>
                <c:pt idx="43">
                  <c:v>1321.8315</c:v>
                </c:pt>
                <c:pt idx="44">
                  <c:v>1232.6608</c:v>
                </c:pt>
                <c:pt idx="45">
                  <c:v>1181.1152</c:v>
                </c:pt>
                <c:pt idx="46">
                  <c:v>1159.8625</c:v>
                </c:pt>
                <c:pt idx="47">
                  <c:v>1140.1246</c:v>
                </c:pt>
                <c:pt idx="48">
                  <c:v>1145.6402</c:v>
                </c:pt>
                <c:pt idx="49">
                  <c:v>1165.5856</c:v>
                </c:pt>
                <c:pt idx="50">
                  <c:v>1136.1855</c:v>
                </c:pt>
                <c:pt idx="51">
                  <c:v>1115.4624</c:v>
                </c:pt>
              </c:numCache>
            </c:numRef>
          </c:xVal>
          <c:yVal>
            <c:numRef>
              <c:f>Sheet1!$B$109:$B$160</c:f>
              <c:numCache>
                <c:formatCode>General</c:formatCode>
                <c:ptCount val="52"/>
                <c:pt idx="0">
                  <c:v>0.1536774044567602</c:v>
                </c:pt>
                <c:pt idx="1">
                  <c:v>0.151123046875</c:v>
                </c:pt>
                <c:pt idx="2">
                  <c:v>0.17841079460269865</c:v>
                </c:pt>
                <c:pt idx="3">
                  <c:v>0.20530098831985624</c:v>
                </c:pt>
                <c:pt idx="4">
                  <c:v>0.17649790989317232</c:v>
                </c:pt>
                <c:pt idx="5">
                  <c:v>0.18107392246568746</c:v>
                </c:pt>
                <c:pt idx="6">
                  <c:v>0.2081946755407654</c:v>
                </c:pt>
                <c:pt idx="7">
                  <c:v>0.22451888809693513</c:v>
                </c:pt>
                <c:pt idx="8">
                  <c:v>0.1910931174089069</c:v>
                </c:pt>
                <c:pt idx="9">
                  <c:v>0.19284149013878743</c:v>
                </c:pt>
                <c:pt idx="10">
                  <c:v>0.2099576580522704</c:v>
                </c:pt>
                <c:pt idx="11">
                  <c:v>0.19953912223735204</c:v>
                </c:pt>
                <c:pt idx="12">
                  <c:v>0.1943785134291068</c:v>
                </c:pt>
                <c:pt idx="13">
                  <c:v>0.18854509545753786</c:v>
                </c:pt>
                <c:pt idx="14">
                  <c:v>0.19723233794610343</c:v>
                </c:pt>
                <c:pt idx="15">
                  <c:v>0.18796992481203006</c:v>
                </c:pt>
                <c:pt idx="16">
                  <c:v>0.18683839096683133</c:v>
                </c:pt>
                <c:pt idx="17">
                  <c:v>0.21081376297105406</c:v>
                </c:pt>
                <c:pt idx="18">
                  <c:v>0.18598779718072797</c:v>
                </c:pt>
                <c:pt idx="19">
                  <c:v>0.1615177275554634</c:v>
                </c:pt>
                <c:pt idx="20">
                  <c:v>0.15236818588025022</c:v>
                </c:pt>
                <c:pt idx="21">
                  <c:v>0.1649957032368949</c:v>
                </c:pt>
                <c:pt idx="22">
                  <c:v>0.17030201342281878</c:v>
                </c:pt>
                <c:pt idx="23">
                  <c:v>0.17312814442142646</c:v>
                </c:pt>
                <c:pt idx="24">
                  <c:v>0.1747290510177108</c:v>
                </c:pt>
                <c:pt idx="25">
                  <c:v>0.18630527817403708</c:v>
                </c:pt>
                <c:pt idx="26">
                  <c:v>0.17228648781688408</c:v>
                </c:pt>
                <c:pt idx="27">
                  <c:v>0.17630057803468208</c:v>
                </c:pt>
                <c:pt idx="28">
                  <c:v>0.16915113871635612</c:v>
                </c:pt>
                <c:pt idx="29">
                  <c:v>0.1754254254254254</c:v>
                </c:pt>
                <c:pt idx="30">
                  <c:v>0.17612323491655968</c:v>
                </c:pt>
                <c:pt idx="31">
                  <c:v>0.17221494102228047</c:v>
                </c:pt>
                <c:pt idx="32">
                  <c:v>0.17115251897860592</c:v>
                </c:pt>
                <c:pt idx="33">
                  <c:v>0.19745461351300767</c:v>
                </c:pt>
                <c:pt idx="34">
                  <c:v>0.21060335013823386</c:v>
                </c:pt>
                <c:pt idx="35">
                  <c:v>0.20055932880543348</c:v>
                </c:pt>
                <c:pt idx="36">
                  <c:v>0.1940652818991098</c:v>
                </c:pt>
                <c:pt idx="37">
                  <c:v>0.18773135906927552</c:v>
                </c:pt>
                <c:pt idx="38">
                  <c:v>0.18181818181818182</c:v>
                </c:pt>
                <c:pt idx="39">
                  <c:v>0.1794871794871795</c:v>
                </c:pt>
                <c:pt idx="40">
                  <c:v>0.16887486855941114</c:v>
                </c:pt>
                <c:pt idx="41">
                  <c:v>0.1781150159744409</c:v>
                </c:pt>
                <c:pt idx="42">
                  <c:v>0.17142215232532015</c:v>
                </c:pt>
                <c:pt idx="43">
                  <c:v>0.15548970679975047</c:v>
                </c:pt>
                <c:pt idx="44">
                  <c:v>0.15451819011605164</c:v>
                </c:pt>
                <c:pt idx="45">
                  <c:v>0.1724002358954197</c:v>
                </c:pt>
                <c:pt idx="46">
                  <c:v>0.20424094139578236</c:v>
                </c:pt>
                <c:pt idx="47">
                  <c:v>0.1982805528349113</c:v>
                </c:pt>
                <c:pt idx="48">
                  <c:v>0.19576479142052167</c:v>
                </c:pt>
                <c:pt idx="49">
                  <c:v>0.2023936170212766</c:v>
                </c:pt>
                <c:pt idx="50">
                  <c:v>0.1888550333997422</c:v>
                </c:pt>
                <c:pt idx="51">
                  <c:v>0.1839577836411609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101.162936177173</c:v>
                </c:pt>
              </c:numCache>
            </c:numRef>
          </c:xVal>
          <c:yVal>
            <c:numRef>
              <c:f>Sheet1!$B$163:$B$164</c:f>
              <c:numCache>
                <c:formatCode>General</c:formatCode>
                <c:ptCount val="2"/>
                <c:pt idx="0">
                  <c:v>0.19274280637067534</c:v>
                </c:pt>
                <c:pt idx="1">
                  <c:v>0.1927428063706753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101.162936177173</c:v>
                </c:pt>
                <c:pt idx="1">
                  <c:v>1101.162936177173</c:v>
                </c:pt>
              </c:numCache>
            </c:numRef>
          </c:xVal>
          <c:yVal>
            <c:numRef>
              <c:f>Sheet1!$B$167:$B$168</c:f>
              <c:numCache>
                <c:formatCode>General</c:formatCode>
                <c:ptCount val="2"/>
                <c:pt idx="0">
                  <c:v>0.192742806370675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01.162936177173</c:v>
                </c:pt>
              </c:numCache>
            </c:numRef>
          </c:xVal>
          <c:yVal>
            <c:numRef>
              <c:f>Sheet1!$B$171:$B$172</c:f>
              <c:numCache>
                <c:formatCode>General</c:formatCode>
                <c:ptCount val="2"/>
                <c:pt idx="0">
                  <c:v>0.19274280637067534</c:v>
                </c:pt>
                <c:pt idx="1">
                  <c:v>0.1927428063706753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01.162936177173</c:v>
                </c:pt>
                <c:pt idx="1">
                  <c:v>1101.162936177173</c:v>
                </c:pt>
              </c:numCache>
            </c:numRef>
          </c:xVal>
          <c:yVal>
            <c:numRef>
              <c:f>Sheet1!$B$175:$B$176</c:f>
              <c:numCache>
                <c:formatCode>General</c:formatCode>
                <c:ptCount val="2"/>
                <c:pt idx="0">
                  <c:v>0.1927428063706753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99.9065776189468</c:v>
                </c:pt>
              </c:numCache>
            </c:numRef>
          </c:xVal>
          <c:yVal>
            <c:numRef>
              <c:f>Sheet1!$B$179:$B$180</c:f>
              <c:numCache>
                <c:formatCode>General</c:formatCode>
                <c:ptCount val="2"/>
                <c:pt idx="0">
                  <c:v>0.18106154375930528</c:v>
                </c:pt>
                <c:pt idx="1">
                  <c:v>0.1810615437593052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99.9065776189468</c:v>
                </c:pt>
                <c:pt idx="1">
                  <c:v>1199.9065776189468</c:v>
                </c:pt>
              </c:numCache>
            </c:numRef>
          </c:xVal>
          <c:yVal>
            <c:numRef>
              <c:f>Sheet1!$B$183:$B$184</c:f>
              <c:numCache>
                <c:formatCode>General</c:formatCode>
                <c:ptCount val="2"/>
                <c:pt idx="0">
                  <c:v>0.1810615437593052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8.8242</c:v>
                </c:pt>
                <c:pt idx="1">
                  <c:v>1159.4467</c:v>
                </c:pt>
                <c:pt idx="2">
                  <c:v>1156.0528</c:v>
                </c:pt>
                <c:pt idx="3">
                  <c:v>1075.5449</c:v>
                </c:pt>
                <c:pt idx="4">
                  <c:v>1149.6842</c:v>
                </c:pt>
                <c:pt idx="5">
                  <c:v>1165.0073</c:v>
                </c:pt>
                <c:pt idx="6">
                  <c:v>1084.2562</c:v>
                </c:pt>
                <c:pt idx="7">
                  <c:v>1077.3117</c:v>
                </c:pt>
                <c:pt idx="8">
                  <c:v>1157.7246</c:v>
                </c:pt>
                <c:pt idx="9">
                  <c:v>1121.6394</c:v>
                </c:pt>
                <c:pt idx="10">
                  <c:v>1120.3102</c:v>
                </c:pt>
                <c:pt idx="11">
                  <c:v>1005.242</c:v>
                </c:pt>
                <c:pt idx="12">
                  <c:v>1035.6266</c:v>
                </c:pt>
                <c:pt idx="13">
                  <c:v>1090.2277</c:v>
                </c:pt>
                <c:pt idx="14">
                  <c:v>1085.3301</c:v>
                </c:pt>
                <c:pt idx="15">
                  <c:v>1107.1248</c:v>
                </c:pt>
                <c:pt idx="16">
                  <c:v>1142.1265</c:v>
                </c:pt>
                <c:pt idx="17">
                  <c:v>1020.4231</c:v>
                </c:pt>
                <c:pt idx="18">
                  <c:v>1122.3824</c:v>
                </c:pt>
                <c:pt idx="19">
                  <c:v>1292.9602</c:v>
                </c:pt>
                <c:pt idx="20">
                  <c:v>1294.5396</c:v>
                </c:pt>
                <c:pt idx="21">
                  <c:v>1240.1094</c:v>
                </c:pt>
                <c:pt idx="22">
                  <c:v>1226.3448</c:v>
                </c:pt>
                <c:pt idx="23">
                  <c:v>1213.6256</c:v>
                </c:pt>
                <c:pt idx="24">
                  <c:v>1218.5068</c:v>
                </c:pt>
                <c:pt idx="25">
                  <c:v>1166.0184</c:v>
                </c:pt>
                <c:pt idx="26">
                  <c:v>1149.4314</c:v>
                </c:pt>
                <c:pt idx="27">
                  <c:v>1164.8134</c:v>
                </c:pt>
                <c:pt idx="28">
                  <c:v>1196.1065</c:v>
                </c:pt>
                <c:pt idx="29">
                  <c:v>1191.5178</c:v>
                </c:pt>
                <c:pt idx="30">
                  <c:v>1201.9796</c:v>
                </c:pt>
                <c:pt idx="31">
                  <c:v>1210.3866</c:v>
                </c:pt>
                <c:pt idx="32">
                  <c:v>1216.379</c:v>
                </c:pt>
                <c:pt idx="33">
                  <c:v>1193.2512</c:v>
                </c:pt>
                <c:pt idx="34">
                  <c:v>1199.5961</c:v>
                </c:pt>
                <c:pt idx="35">
                  <c:v>1254.2799</c:v>
                </c:pt>
                <c:pt idx="36">
                  <c:v>1302.3394</c:v>
                </c:pt>
                <c:pt idx="37">
                  <c:v>1289.369</c:v>
                </c:pt>
                <c:pt idx="38">
                  <c:v>1305.2104</c:v>
                </c:pt>
                <c:pt idx="39">
                  <c:v>1249.3002</c:v>
                </c:pt>
                <c:pt idx="40">
                  <c:v>1277.2453</c:v>
                </c:pt>
                <c:pt idx="41">
                  <c:v>1315.8935</c:v>
                </c:pt>
                <c:pt idx="42">
                  <c:v>1307.2805</c:v>
                </c:pt>
                <c:pt idx="43">
                  <c:v>1321.8315</c:v>
                </c:pt>
                <c:pt idx="44">
                  <c:v>1232.6608</c:v>
                </c:pt>
                <c:pt idx="45">
                  <c:v>1181.1152</c:v>
                </c:pt>
                <c:pt idx="46">
                  <c:v>1159.8625</c:v>
                </c:pt>
                <c:pt idx="47">
                  <c:v>1140.1246</c:v>
                </c:pt>
                <c:pt idx="48">
                  <c:v>1145.6402</c:v>
                </c:pt>
                <c:pt idx="49">
                  <c:v>1165.5856</c:v>
                </c:pt>
                <c:pt idx="50">
                  <c:v>1136.1855</c:v>
                </c:pt>
                <c:pt idx="51">
                  <c:v>1115.4624</c:v>
                </c:pt>
                <c:pt idx="52">
                  <c:v>1101.162936177173</c:v>
                </c:pt>
                <c:pt idx="53">
                  <c:v>1101.162936177173</c:v>
                </c:pt>
                <c:pt idx="54">
                  <c:v>1199.9065776189468</c:v>
                </c:pt>
              </c:numCache>
            </c:numRef>
          </c:xVal>
          <c:yVal>
            <c:numRef>
              <c:f>Sheet1!$B$187:$B$241</c:f>
              <c:numCache>
                <c:formatCode>General</c:formatCode>
                <c:ptCount val="55"/>
                <c:pt idx="0">
                  <c:v>0.18828752088021722</c:v>
                </c:pt>
                <c:pt idx="1">
                  <c:v>0.18584790213934843</c:v>
                </c:pt>
                <c:pt idx="2">
                  <c:v>0.18624939672267415</c:v>
                </c:pt>
                <c:pt idx="3">
                  <c:v>0.1957733914676367</c:v>
                </c:pt>
                <c:pt idx="4">
                  <c:v>0.1870027949970394</c:v>
                </c:pt>
                <c:pt idx="5">
                  <c:v>0.18519008936347378</c:v>
                </c:pt>
                <c:pt idx="6">
                  <c:v>0.1947428543970909</c:v>
                </c:pt>
                <c:pt idx="7">
                  <c:v>0.19556438099890755</c:v>
                </c:pt>
                <c:pt idx="8">
                  <c:v>0.1860516246479507</c:v>
                </c:pt>
                <c:pt idx="9">
                  <c:v>0.19032046354662924</c:v>
                </c:pt>
                <c:pt idx="10">
                  <c:v>0.19047770642360162</c:v>
                </c:pt>
                <c:pt idx="11">
                  <c:v>0.2040901460986186</c:v>
                </c:pt>
                <c:pt idx="12">
                  <c:v>0.20049568181961258</c:v>
                </c:pt>
                <c:pt idx="13">
                  <c:v>0.19403643260966952</c:v>
                </c:pt>
                <c:pt idx="14">
                  <c:v>0.19461581322527283</c:v>
                </c:pt>
                <c:pt idx="15">
                  <c:v>0.1920375245322621</c:v>
                </c:pt>
                <c:pt idx="16">
                  <c:v>0.18789686247469067</c:v>
                </c:pt>
                <c:pt idx="17">
                  <c:v>0.2022942389066194</c:v>
                </c:pt>
                <c:pt idx="18">
                  <c:v>0.19023256747561626</c:v>
                </c:pt>
                <c:pt idx="19">
                  <c:v>0.17005340405429645</c:v>
                </c:pt>
                <c:pt idx="20">
                  <c:v>0.16986656279647958</c:v>
                </c:pt>
                <c:pt idx="21">
                  <c:v>0.1763055947271008</c:v>
                </c:pt>
                <c:pt idx="22">
                  <c:v>0.1779339315495308</c:v>
                </c:pt>
                <c:pt idx="23">
                  <c:v>0.1794385987183444</c:v>
                </c:pt>
                <c:pt idx="24">
                  <c:v>0.17886115820444312</c:v>
                </c:pt>
                <c:pt idx="25">
                  <c:v>0.18507047736158788</c:v>
                </c:pt>
                <c:pt idx="26">
                  <c:v>0.18703270095498298</c:v>
                </c:pt>
                <c:pt idx="27">
                  <c:v>0.18521302751713384</c:v>
                </c:pt>
                <c:pt idx="28">
                  <c:v>0.18151108870176802</c:v>
                </c:pt>
                <c:pt idx="29">
                  <c:v>0.18205392679202018</c:v>
                </c:pt>
                <c:pt idx="30">
                  <c:v>0.18081630752455888</c:v>
                </c:pt>
                <c:pt idx="31">
                  <c:v>0.1798217688044966</c:v>
                </c:pt>
                <c:pt idx="32">
                  <c:v>0.17911287457039396</c:v>
                </c:pt>
                <c:pt idx="33">
                  <c:v>0.18184886750602566</c:v>
                </c:pt>
                <c:pt idx="34">
                  <c:v>0.18109827291521763</c:v>
                </c:pt>
                <c:pt idx="35">
                  <c:v>0.1746292403875454</c:v>
                </c:pt>
                <c:pt idx="36">
                  <c:v>0.16894385515894636</c:v>
                </c:pt>
                <c:pt idx="37">
                  <c:v>0.17047823900748874</c:v>
                </c:pt>
                <c:pt idx="38">
                  <c:v>0.1686042190622057</c:v>
                </c:pt>
                <c:pt idx="39">
                  <c:v>0.17521833334154732</c:v>
                </c:pt>
                <c:pt idx="40">
                  <c:v>0.1719124591907192</c:v>
                </c:pt>
                <c:pt idx="41">
                  <c:v>0.16734042025165535</c:v>
                </c:pt>
                <c:pt idx="42">
                  <c:v>0.1683593285418773</c:v>
                </c:pt>
                <c:pt idx="43">
                  <c:v>0.16663796147685697</c:v>
                </c:pt>
                <c:pt idx="44">
                  <c:v>0.1771867557964782</c:v>
                </c:pt>
                <c:pt idx="45">
                  <c:v>0.1832845427655327</c:v>
                </c:pt>
                <c:pt idx="46">
                  <c:v>0.18579871346326876</c:v>
                </c:pt>
                <c:pt idx="47">
                  <c:v>0.18813368501111183</c:v>
                </c:pt>
                <c:pt idx="48">
                  <c:v>0.18748119568502936</c:v>
                </c:pt>
                <c:pt idx="49">
                  <c:v>0.18512167711870012</c:v>
                </c:pt>
                <c:pt idx="50">
                  <c:v>0.18859967614614184</c:v>
                </c:pt>
                <c:pt idx="51">
                  <c:v>0.19105119575476825</c:v>
                </c:pt>
                <c:pt idx="52">
                  <c:v>0.19274280637067534</c:v>
                </c:pt>
                <c:pt idx="53">
                  <c:v>0.19274280637067534</c:v>
                </c:pt>
                <c:pt idx="54">
                  <c:v>0.1810615437593052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86.0"/>
          <c:min val="59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94226657163221"/>
          <c:min val="0.0531759805623047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40314256130002996</c:v>
                </c:pt>
                <c:pt idx="1">
                  <c:v>0.3788929904356906</c:v>
                </c:pt>
                <c:pt idx="2">
                  <c:v>0.4597562278558535</c:v>
                </c:pt>
                <c:pt idx="3">
                  <c:v>0.45873908494302645</c:v>
                </c:pt>
                <c:pt idx="4">
                  <c:v>0.42391462468683005</c:v>
                </c:pt>
                <c:pt idx="5">
                  <c:v>0.44865599223059033</c:v>
                </c:pt>
                <c:pt idx="6">
                  <c:v>0.4069450240565729</c:v>
                </c:pt>
                <c:pt idx="7">
                  <c:v>0.3860246916550717</c:v>
                </c:pt>
                <c:pt idx="8">
                  <c:v>0.36539233341491184</c:v>
                </c:pt>
                <c:pt idx="9">
                  <c:v>0.3836994592932276</c:v>
                </c:pt>
                <c:pt idx="10">
                  <c:v>0.42642972751697183</c:v>
                </c:pt>
                <c:pt idx="11">
                  <c:v>0.4647231072226178</c:v>
                </c:pt>
                <c:pt idx="12">
                  <c:v>0.49252937566187605</c:v>
                </c:pt>
                <c:pt idx="13">
                  <c:v>0.489151977194011</c:v>
                </c:pt>
                <c:pt idx="14">
                  <c:v>0.4924214220371642</c:v>
                </c:pt>
                <c:pt idx="15">
                  <c:v>0.4859016780021235</c:v>
                </c:pt>
                <c:pt idx="16">
                  <c:v>0.4662164995700315</c:v>
                </c:pt>
                <c:pt idx="17">
                  <c:v>0.45478971436418636</c:v>
                </c:pt>
                <c:pt idx="18">
                  <c:v>0.4602349581223629</c:v>
                </c:pt>
                <c:pt idx="19">
                  <c:v>0.4649669975660519</c:v>
                </c:pt>
                <c:pt idx="20">
                  <c:v>0.47643170764729137</c:v>
                </c:pt>
                <c:pt idx="21">
                  <c:v>0.4318868336893184</c:v>
                </c:pt>
                <c:pt idx="22">
                  <c:v>0.403625382747151</c:v>
                </c:pt>
                <c:pt idx="23">
                  <c:v>0.3888707921358008</c:v>
                </c:pt>
                <c:pt idx="24">
                  <c:v>0.3641366843580847</c:v>
                </c:pt>
                <c:pt idx="25">
                  <c:v>0.34389705540368803</c:v>
                </c:pt>
                <c:pt idx="26">
                  <c:v>0.3441484187308053</c:v>
                </c:pt>
                <c:pt idx="27">
                  <c:v>0.3644863748059686</c:v>
                </c:pt>
                <c:pt idx="28">
                  <c:v>0.36848917959234684</c:v>
                </c:pt>
                <c:pt idx="29">
                  <c:v>0.28418864414800693</c:v>
                </c:pt>
                <c:pt idx="30">
                  <c:v>0.30764899464447587</c:v>
                </c:pt>
                <c:pt idx="31">
                  <c:v>0.3248669431698599</c:v>
                </c:pt>
                <c:pt idx="32">
                  <c:v>0.31385266660112704</c:v>
                </c:pt>
                <c:pt idx="33">
                  <c:v>0.2908520325975689</c:v>
                </c:pt>
                <c:pt idx="34">
                  <c:v>0.37403173054547556</c:v>
                </c:pt>
                <c:pt idx="35">
                  <c:v>0.39132941032573093</c:v>
                </c:pt>
                <c:pt idx="36">
                  <c:v>0.41261514255236115</c:v>
                </c:pt>
                <c:pt idx="37">
                  <c:v>0.3867295394872047</c:v>
                </c:pt>
                <c:pt idx="38">
                  <c:v>0.41669869448320135</c:v>
                </c:pt>
                <c:pt idx="39">
                  <c:v>0.43266404532676395</c:v>
                </c:pt>
                <c:pt idx="40">
                  <c:v>0.4348138034924683</c:v>
                </c:pt>
                <c:pt idx="41">
                  <c:v>0.4225552990337762</c:v>
                </c:pt>
                <c:pt idx="42">
                  <c:v>0.4417344018930202</c:v>
                </c:pt>
                <c:pt idx="43">
                  <c:v>0.43151636277756455</c:v>
                </c:pt>
                <c:pt idx="44">
                  <c:v>0.4362399729312621</c:v>
                </c:pt>
                <c:pt idx="45">
                  <c:v>0.44509965825717057</c:v>
                </c:pt>
                <c:pt idx="46">
                  <c:v>0.4488515228911345</c:v>
                </c:pt>
                <c:pt idx="47">
                  <c:v>0.44028763048172764</c:v>
                </c:pt>
                <c:pt idx="48">
                  <c:v>0.46655751956625435</c:v>
                </c:pt>
                <c:pt idx="49">
                  <c:v>0.5180564191753528</c:v>
                </c:pt>
                <c:pt idx="50">
                  <c:v>0.44878844689774855</c:v>
                </c:pt>
                <c:pt idx="51">
                  <c:v>0.43795709680852035</c:v>
                </c:pt>
                <c:pt idx="52">
                  <c:v>0.44904868232441486</c:v>
                </c:pt>
                <c:pt idx="53">
                  <c:v>0.4169120875186775</c:v>
                </c:pt>
                <c:pt idx="54">
                  <c:v>0.40452769453902404</c:v>
                </c:pt>
                <c:pt idx="55">
                  <c:v>0.4057905010097378</c:v>
                </c:pt>
                <c:pt idx="56">
                  <c:v>0.4144013244708093</c:v>
                </c:pt>
                <c:pt idx="57">
                  <c:v>0.4374666234623769</c:v>
                </c:pt>
                <c:pt idx="58">
                  <c:v>0.40507638489313785</c:v>
                </c:pt>
                <c:pt idx="59">
                  <c:v>0.41305330943892665</c:v>
                </c:pt>
                <c:pt idx="60">
                  <c:v>0.405403292658717</c:v>
                </c:pt>
                <c:pt idx="61">
                  <c:v>0.38686727495902296</c:v>
                </c:pt>
                <c:pt idx="62">
                  <c:v>0.38200735982276834</c:v>
                </c:pt>
                <c:pt idx="63">
                  <c:v>0.397478641351455</c:v>
                </c:pt>
                <c:pt idx="64">
                  <c:v>0.4113957889093811</c:v>
                </c:pt>
                <c:pt idx="65">
                  <c:v>0.4723908897066203</c:v>
                </c:pt>
                <c:pt idx="66">
                  <c:v>0.47413456352374544</c:v>
                </c:pt>
                <c:pt idx="67">
                  <c:v>0.49196317736039014</c:v>
                </c:pt>
                <c:pt idx="68">
                  <c:v>0.4763757779836773</c:v>
                </c:pt>
                <c:pt idx="69">
                  <c:v>0.466752787455591</c:v>
                </c:pt>
                <c:pt idx="70">
                  <c:v>0.46571135724185836</c:v>
                </c:pt>
                <c:pt idx="71">
                  <c:v>0.4550212080944458</c:v>
                </c:pt>
                <c:pt idx="72">
                  <c:v>0.45919241596247423</c:v>
                </c:pt>
                <c:pt idx="73">
                  <c:v>0.488493270203148</c:v>
                </c:pt>
                <c:pt idx="74">
                  <c:v>0.46748630774878636</c:v>
                </c:pt>
                <c:pt idx="75">
                  <c:v>0.443192853765401</c:v>
                </c:pt>
                <c:pt idx="76">
                  <c:v>0.46154591445914295</c:v>
                </c:pt>
                <c:pt idx="77">
                  <c:v>0.4564964040617189</c:v>
                </c:pt>
                <c:pt idx="78">
                  <c:v>0.45713423486945604</c:v>
                </c:pt>
                <c:pt idx="79">
                  <c:v>0.4575934660916287</c:v>
                </c:pt>
                <c:pt idx="80">
                  <c:v>0.47288971381458306</c:v>
                </c:pt>
                <c:pt idx="81">
                  <c:v>0.48824977741219205</c:v>
                </c:pt>
                <c:pt idx="82">
                  <c:v>0.48692825918386623</c:v>
                </c:pt>
                <c:pt idx="83">
                  <c:v>0.4695782958518928</c:v>
                </c:pt>
                <c:pt idx="84">
                  <c:v>0.44416572399324405</c:v>
                </c:pt>
                <c:pt idx="85">
                  <c:v>0.4485382669766231</c:v>
                </c:pt>
                <c:pt idx="86">
                  <c:v>0.4674700944810949</c:v>
                </c:pt>
                <c:pt idx="87">
                  <c:v>0.4906549106253464</c:v>
                </c:pt>
                <c:pt idx="88">
                  <c:v>0.444768707646013</c:v>
                </c:pt>
                <c:pt idx="89">
                  <c:v>0.4129445333883432</c:v>
                </c:pt>
                <c:pt idx="90">
                  <c:v>0.4323644371407134</c:v>
                </c:pt>
                <c:pt idx="91">
                  <c:v>0.4591098172871015</c:v>
                </c:pt>
                <c:pt idx="92">
                  <c:v>0.4512836185520496</c:v>
                </c:pt>
                <c:pt idx="93">
                  <c:v>0.4705946949473127</c:v>
                </c:pt>
                <c:pt idx="94">
                  <c:v>0.4753983188399668</c:v>
                </c:pt>
                <c:pt idx="95">
                  <c:v>0.5007226210985725</c:v>
                </c:pt>
                <c:pt idx="96">
                  <c:v>0.5207907319072675</c:v>
                </c:pt>
                <c:pt idx="97">
                  <c:v>0.556088375833846</c:v>
                </c:pt>
                <c:pt idx="98">
                  <c:v>0.563966002167912</c:v>
                </c:pt>
                <c:pt idx="99">
                  <c:v>0.531402011473264</c:v>
                </c:pt>
                <c:pt idx="100">
                  <c:v>0.5372273529192165</c:v>
                </c:pt>
                <c:pt idx="101">
                  <c:v>0.47890817355210624</c:v>
                </c:pt>
                <c:pt idx="102">
                  <c:v>0.4671638365514361</c:v>
                </c:pt>
                <c:pt idx="103">
                  <c:v>0.46688573208692935</c:v>
                </c:pt>
                <c:pt idx="104">
                  <c:v>0.4701649668114013</c:v>
                </c:pt>
              </c:numCache>
            </c:numRef>
          </c:xVal>
          <c:yVal>
            <c:numRef>
              <c:f>Sheet1!$B$2:$B$106</c:f>
              <c:numCache>
                <c:formatCode>General</c:formatCode>
                <c:ptCount val="105"/>
                <c:pt idx="0">
                  <c:v>0.17505405936701396</c:v>
                </c:pt>
                <c:pt idx="1">
                  <c:v>0.16</c:v>
                </c:pt>
                <c:pt idx="2">
                  <c:v>0.1365249840720852</c:v>
                </c:pt>
                <c:pt idx="3">
                  <c:v>0.13964450554846314</c:v>
                </c:pt>
                <c:pt idx="4">
                  <c:v>0.13302978095003692</c:v>
                </c:pt>
                <c:pt idx="5">
                  <c:v>0.1278302497088886</c:v>
                </c:pt>
                <c:pt idx="6">
                  <c:v>0.15457627118644068</c:v>
                </c:pt>
                <c:pt idx="7">
                  <c:v>0.15970961887477314</c:v>
                </c:pt>
                <c:pt idx="8">
                  <c:v>0.16227990560900346</c:v>
                </c:pt>
                <c:pt idx="9">
                  <c:v>0.174930078820239</c:v>
                </c:pt>
                <c:pt idx="10">
                  <c:v>0.1848107508322032</c:v>
                </c:pt>
                <c:pt idx="11">
                  <c:v>0.17355982274741508</c:v>
                </c:pt>
                <c:pt idx="12">
                  <c:v>0.17387892376681616</c:v>
                </c:pt>
                <c:pt idx="13">
                  <c:v>0.17505252681632202</c:v>
                </c:pt>
                <c:pt idx="14">
                  <c:v>0.16917778734395178</c:v>
                </c:pt>
                <c:pt idx="15">
                  <c:v>0.17529124898401519</c:v>
                </c:pt>
                <c:pt idx="16">
                  <c:v>0.17305568701687962</c:v>
                </c:pt>
                <c:pt idx="17">
                  <c:v>0.15539452495974235</c:v>
                </c:pt>
                <c:pt idx="18">
                  <c:v>0.1510519690703111</c:v>
                </c:pt>
                <c:pt idx="19">
                  <c:v>0.15024683408456752</c:v>
                </c:pt>
                <c:pt idx="20">
                  <c:v>0.17285664699757028</c:v>
                </c:pt>
                <c:pt idx="21">
                  <c:v>0.16211414612480568</c:v>
                </c:pt>
                <c:pt idx="22">
                  <c:v>0.1667021050393366</c:v>
                </c:pt>
                <c:pt idx="23">
                  <c:v>0.17505668934240362</c:v>
                </c:pt>
                <c:pt idx="24">
                  <c:v>0.16809465524275805</c:v>
                </c:pt>
                <c:pt idx="25">
                  <c:v>0.16702508960573476</c:v>
                </c:pt>
                <c:pt idx="26">
                  <c:v>0.17588978185993112</c:v>
                </c:pt>
                <c:pt idx="27">
                  <c:v>0.1492896174863388</c:v>
                </c:pt>
                <c:pt idx="28">
                  <c:v>0.1548304542546385</c:v>
                </c:pt>
                <c:pt idx="29">
                  <c:v>0.19540229885057472</c:v>
                </c:pt>
                <c:pt idx="30">
                  <c:v>0.17586206896551723</c:v>
                </c:pt>
                <c:pt idx="31">
                  <c:v>0.16382095062298108</c:v>
                </c:pt>
                <c:pt idx="32">
                  <c:v>0.1659252669039146</c:v>
                </c:pt>
                <c:pt idx="33">
                  <c:v>0.19755635863018414</c:v>
                </c:pt>
                <c:pt idx="34">
                  <c:v>0.17096619131549431</c:v>
                </c:pt>
                <c:pt idx="35">
                  <c:v>0.1640953716690042</c:v>
                </c:pt>
                <c:pt idx="36">
                  <c:v>0.11976360159916566</c:v>
                </c:pt>
                <c:pt idx="37">
                  <c:v>0.10800924143242202</c:v>
                </c:pt>
                <c:pt idx="38">
                  <c:v>0.09754209405844784</c:v>
                </c:pt>
                <c:pt idx="39">
                  <c:v>0.0862893583100837</c:v>
                </c:pt>
                <c:pt idx="40">
                  <c:v>0.08755240245082231</c:v>
                </c:pt>
                <c:pt idx="41">
                  <c:v>0.07418449666783584</c:v>
                </c:pt>
                <c:pt idx="42">
                  <c:v>0.07151607963246555</c:v>
                </c:pt>
                <c:pt idx="43">
                  <c:v>0.07612650433809123</c:v>
                </c:pt>
                <c:pt idx="44">
                  <c:v>0.08576489232777104</c:v>
                </c:pt>
                <c:pt idx="45">
                  <c:v>0.10064764572028706</c:v>
                </c:pt>
                <c:pt idx="46">
                  <c:v>0.1020305841062923</c:v>
                </c:pt>
                <c:pt idx="47">
                  <c:v>0.09743502920511302</c:v>
                </c:pt>
                <c:pt idx="48">
                  <c:v>0.1071850699844479</c:v>
                </c:pt>
                <c:pt idx="49">
                  <c:v>0.12366612407306928</c:v>
                </c:pt>
                <c:pt idx="50">
                  <c:v>0.09688581314878893</c:v>
                </c:pt>
                <c:pt idx="51">
                  <c:v>0.08474945533769063</c:v>
                </c:pt>
                <c:pt idx="52">
                  <c:v>0.100208957935859</c:v>
                </c:pt>
                <c:pt idx="53">
                  <c:v>0.08785643509853573</c:v>
                </c:pt>
                <c:pt idx="54">
                  <c:v>0.08344167356104479</c:v>
                </c:pt>
                <c:pt idx="55">
                  <c:v>0.07699688174622212</c:v>
                </c:pt>
                <c:pt idx="56">
                  <c:v>0.07844116912315763</c:v>
                </c:pt>
                <c:pt idx="57">
                  <c:v>0.07254985150615188</c:v>
                </c:pt>
                <c:pt idx="58">
                  <c:v>0.09006567288647972</c:v>
                </c:pt>
                <c:pt idx="59">
                  <c:v>0.09381832637646591</c:v>
                </c:pt>
                <c:pt idx="60">
                  <c:v>0.09901066625444427</c:v>
                </c:pt>
                <c:pt idx="61">
                  <c:v>0.10704697986577182</c:v>
                </c:pt>
                <c:pt idx="62">
                  <c:v>0.1196877710320902</c:v>
                </c:pt>
                <c:pt idx="63">
                  <c:v>0.13402806438299628</c:v>
                </c:pt>
                <c:pt idx="64">
                  <c:v>0.1382667964946446</c:v>
                </c:pt>
                <c:pt idx="65">
                  <c:v>0.1191319751992914</c:v>
                </c:pt>
                <c:pt idx="66">
                  <c:v>0.12127325711723828</c:v>
                </c:pt>
                <c:pt idx="67">
                  <c:v>0.10509554140127389</c:v>
                </c:pt>
                <c:pt idx="68">
                  <c:v>0.09351938816583925</c:v>
                </c:pt>
                <c:pt idx="69">
                  <c:v>0.08169878901586218</c:v>
                </c:pt>
                <c:pt idx="70">
                  <c:v>0.07131410256410256</c:v>
                </c:pt>
                <c:pt idx="71">
                  <c:v>0.07540748701415009</c:v>
                </c:pt>
                <c:pt idx="72">
                  <c:v>0.07923822479170209</c:v>
                </c:pt>
                <c:pt idx="73">
                  <c:v>0.0758406432748538</c:v>
                </c:pt>
                <c:pt idx="74">
                  <c:v>0.07212110903214833</c:v>
                </c:pt>
                <c:pt idx="75">
                  <c:v>0.07739810621655002</c:v>
                </c:pt>
                <c:pt idx="76">
                  <c:v>0.0776656428258008</c:v>
                </c:pt>
                <c:pt idx="77">
                  <c:v>0.07930411206507004</c:v>
                </c:pt>
                <c:pt idx="78">
                  <c:v>0.07184466019417475</c:v>
                </c:pt>
                <c:pt idx="79">
                  <c:v>0.062255115367871136</c:v>
                </c:pt>
                <c:pt idx="80">
                  <c:v>0.05912930474333983</c:v>
                </c:pt>
                <c:pt idx="81">
                  <c:v>0.06881720430107527</c:v>
                </c:pt>
                <c:pt idx="82">
                  <c:v>0.05912961210974456</c:v>
                </c:pt>
                <c:pt idx="83">
                  <c:v>0.055184804928131416</c:v>
                </c:pt>
                <c:pt idx="84">
                  <c:v>0.06501710976572782</c:v>
                </c:pt>
                <c:pt idx="85">
                  <c:v>0.07894131185270425</c:v>
                </c:pt>
                <c:pt idx="86">
                  <c:v>0.08464498076250437</c:v>
                </c:pt>
                <c:pt idx="87">
                  <c:v>0.09369057908383752</c:v>
                </c:pt>
                <c:pt idx="88">
                  <c:v>0.07109839313229144</c:v>
                </c:pt>
                <c:pt idx="89">
                  <c:v>0.06674445740956826</c:v>
                </c:pt>
                <c:pt idx="90">
                  <c:v>0.06766193113411992</c:v>
                </c:pt>
                <c:pt idx="91">
                  <c:v>0.06443418013856812</c:v>
                </c:pt>
                <c:pt idx="92">
                  <c:v>0.06963321541612362</c:v>
                </c:pt>
                <c:pt idx="93">
                  <c:v>0.06862031306880233</c:v>
                </c:pt>
                <c:pt idx="94">
                  <c:v>0.07095018836333193</c:v>
                </c:pt>
                <c:pt idx="95">
                  <c:v>0.07480195003046923</c:v>
                </c:pt>
                <c:pt idx="96">
                  <c:v>0.07445125568518884</c:v>
                </c:pt>
                <c:pt idx="97">
                  <c:v>0.08614636780988388</c:v>
                </c:pt>
                <c:pt idx="98">
                  <c:v>0.10160175879396985</c:v>
                </c:pt>
                <c:pt idx="99">
                  <c:v>0.10577050924079245</c:v>
                </c:pt>
                <c:pt idx="100">
                  <c:v>0.12284156316267798</c:v>
                </c:pt>
                <c:pt idx="101">
                  <c:v>0.10677453769559032</c:v>
                </c:pt>
                <c:pt idx="102">
                  <c:v>0.08268858800773694</c:v>
                </c:pt>
                <c:pt idx="103">
                  <c:v>0.08913282107574094</c:v>
                </c:pt>
                <c:pt idx="104">
                  <c:v>0.0929244656843223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46043515312036</c:v>
                </c:pt>
                <c:pt idx="1">
                  <c:v>0.43197863684745386</c:v>
                </c:pt>
                <c:pt idx="2">
                  <c:v>0.44130440316351144</c:v>
                </c:pt>
                <c:pt idx="3">
                  <c:v>0.4041015043614004</c:v>
                </c:pt>
                <c:pt idx="4">
                  <c:v>0.4109333232048457</c:v>
                </c:pt>
                <c:pt idx="5">
                  <c:v>0.43378663977313964</c:v>
                </c:pt>
                <c:pt idx="6">
                  <c:v>0.44343353965180693</c:v>
                </c:pt>
                <c:pt idx="7">
                  <c:v>0.44527529553199274</c:v>
                </c:pt>
                <c:pt idx="8">
                  <c:v>0.46801847755178827</c:v>
                </c:pt>
                <c:pt idx="9">
                  <c:v>0.4625261099134016</c:v>
                </c:pt>
                <c:pt idx="10">
                  <c:v>0.4618291797488741</c:v>
                </c:pt>
                <c:pt idx="11">
                  <c:v>0.45376970382755044</c:v>
                </c:pt>
                <c:pt idx="12">
                  <c:v>0.45907470065398154</c:v>
                </c:pt>
                <c:pt idx="13">
                  <c:v>0.44525829258253014</c:v>
                </c:pt>
                <c:pt idx="14">
                  <c:v>0.43783165360309995</c:v>
                </c:pt>
                <c:pt idx="15">
                  <c:v>0.43798380808583226</c:v>
                </c:pt>
                <c:pt idx="16">
                  <c:v>0.4512799529547843</c:v>
                </c:pt>
                <c:pt idx="17">
                  <c:v>0.43190442663811124</c:v>
                </c:pt>
                <c:pt idx="18">
                  <c:v>0.3587496312433519</c:v>
                </c:pt>
                <c:pt idx="19">
                  <c:v>0.42822843859185206</c:v>
                </c:pt>
                <c:pt idx="20">
                  <c:v>0.4230076590778572</c:v>
                </c:pt>
                <c:pt idx="21">
                  <c:v>0.40003284053931254</c:v>
                </c:pt>
                <c:pt idx="22">
                  <c:v>0.3997732902141343</c:v>
                </c:pt>
                <c:pt idx="23">
                  <c:v>0.4074612614910469</c:v>
                </c:pt>
                <c:pt idx="24">
                  <c:v>0.402148379375947</c:v>
                </c:pt>
                <c:pt idx="25">
                  <c:v>0.4065558793317217</c:v>
                </c:pt>
                <c:pt idx="26">
                  <c:v>0.409732504646425</c:v>
                </c:pt>
                <c:pt idx="27">
                  <c:v>0.4196431109824026</c:v>
                </c:pt>
                <c:pt idx="28">
                  <c:v>0.4171625717622428</c:v>
                </c:pt>
                <c:pt idx="29">
                  <c:v>0.37990438998402826</c:v>
                </c:pt>
                <c:pt idx="30">
                  <c:v>0.35282023151488945</c:v>
                </c:pt>
                <c:pt idx="31">
                  <c:v>0.3526368601293085</c:v>
                </c:pt>
                <c:pt idx="32">
                  <c:v>0.3671232585273738</c:v>
                </c:pt>
                <c:pt idx="33">
                  <c:v>0.3994068585662825</c:v>
                </c:pt>
                <c:pt idx="34">
                  <c:v>0.42429922060086517</c:v>
                </c:pt>
                <c:pt idx="35">
                  <c:v>0.39678701149749634</c:v>
                </c:pt>
                <c:pt idx="36">
                  <c:v>0.35606466070417275</c:v>
                </c:pt>
                <c:pt idx="37">
                  <c:v>0.40304380917197663</c:v>
                </c:pt>
                <c:pt idx="38">
                  <c:v>0.40164549659189364</c:v>
                </c:pt>
                <c:pt idx="39">
                  <c:v>0.42696708050347626</c:v>
                </c:pt>
                <c:pt idx="40">
                  <c:v>0.44018822527031903</c:v>
                </c:pt>
                <c:pt idx="41">
                  <c:v>0.453757165880832</c:v>
                </c:pt>
                <c:pt idx="42">
                  <c:v>0.4292105440412069</c:v>
                </c:pt>
                <c:pt idx="43">
                  <c:v>0.49006577849676847</c:v>
                </c:pt>
                <c:pt idx="44">
                  <c:v>0.538262745585723</c:v>
                </c:pt>
                <c:pt idx="45">
                  <c:v>0.550290801967524</c:v>
                </c:pt>
                <c:pt idx="46">
                  <c:v>0.5339047370655539</c:v>
                </c:pt>
                <c:pt idx="47">
                  <c:v>0.5426907626409869</c:v>
                </c:pt>
                <c:pt idx="48">
                  <c:v>0.56835450308191</c:v>
                </c:pt>
                <c:pt idx="49">
                  <c:v>0.6069820514876191</c:v>
                </c:pt>
                <c:pt idx="50">
                  <c:v>0.5575358768986876</c:v>
                </c:pt>
                <c:pt idx="51">
                  <c:v>0.5007220629004131</c:v>
                </c:pt>
              </c:numCache>
            </c:numRef>
          </c:xVal>
          <c:yVal>
            <c:numRef>
              <c:f>Sheet1!$B$109:$B$160</c:f>
              <c:numCache>
                <c:formatCode>General</c:formatCode>
                <c:ptCount val="52"/>
                <c:pt idx="0">
                  <c:v>0.0910980256321441</c:v>
                </c:pt>
                <c:pt idx="1">
                  <c:v>0.0941162109375</c:v>
                </c:pt>
                <c:pt idx="2">
                  <c:v>0.09691582780038552</c:v>
                </c:pt>
                <c:pt idx="3">
                  <c:v>0.11410601976639713</c:v>
                </c:pt>
                <c:pt idx="4">
                  <c:v>0.09916395726892707</c:v>
                </c:pt>
                <c:pt idx="5">
                  <c:v>0.0983626294245124</c:v>
                </c:pt>
                <c:pt idx="6">
                  <c:v>0.10274542429284526</c:v>
                </c:pt>
                <c:pt idx="7">
                  <c:v>0.09565217391304348</c:v>
                </c:pt>
                <c:pt idx="8">
                  <c:v>0.10218623481781376</c:v>
                </c:pt>
                <c:pt idx="9">
                  <c:v>0.10664718772826881</c:v>
                </c:pt>
                <c:pt idx="10">
                  <c:v>0.11855745364286757</c:v>
                </c:pt>
                <c:pt idx="11">
                  <c:v>0.12370378129255263</c:v>
                </c:pt>
                <c:pt idx="12">
                  <c:v>0.12317301686445971</c:v>
                </c:pt>
                <c:pt idx="13">
                  <c:v>0.11586570111915734</c:v>
                </c:pt>
                <c:pt idx="14">
                  <c:v>0.11216314639475601</c:v>
                </c:pt>
                <c:pt idx="15">
                  <c:v>0.10706766917293233</c:v>
                </c:pt>
                <c:pt idx="16">
                  <c:v>0.09297812279463656</c:v>
                </c:pt>
                <c:pt idx="17">
                  <c:v>0.07373020207536865</c:v>
                </c:pt>
                <c:pt idx="18">
                  <c:v>0.09215232484746476</c:v>
                </c:pt>
                <c:pt idx="19">
                  <c:v>0.08708272859216255</c:v>
                </c:pt>
                <c:pt idx="20">
                  <c:v>0.06881143878462913</c:v>
                </c:pt>
                <c:pt idx="21">
                  <c:v>0.073044972787167</c:v>
                </c:pt>
                <c:pt idx="22">
                  <c:v>0.06991051454138703</c:v>
                </c:pt>
                <c:pt idx="23">
                  <c:v>0.0757620597810003</c:v>
                </c:pt>
                <c:pt idx="24">
                  <c:v>0.06555643669045731</c:v>
                </c:pt>
                <c:pt idx="25">
                  <c:v>0.07646219686162625</c:v>
                </c:pt>
                <c:pt idx="26">
                  <c:v>0.06719173024858478</c:v>
                </c:pt>
                <c:pt idx="27">
                  <c:v>0.06803023566029347</c:v>
                </c:pt>
                <c:pt idx="28">
                  <c:v>0.07577639751552795</c:v>
                </c:pt>
                <c:pt idx="29">
                  <c:v>0.07332332332332332</c:v>
                </c:pt>
                <c:pt idx="30">
                  <c:v>0.07702182284980745</c:v>
                </c:pt>
                <c:pt idx="31">
                  <c:v>0.08702490170380078</c:v>
                </c:pt>
                <c:pt idx="32">
                  <c:v>0.08902691511387163</c:v>
                </c:pt>
                <c:pt idx="33">
                  <c:v>0.09676211865992888</c:v>
                </c:pt>
                <c:pt idx="34">
                  <c:v>0.11026183119206374</c:v>
                </c:pt>
                <c:pt idx="35">
                  <c:v>0.09868158210147823</c:v>
                </c:pt>
                <c:pt idx="36">
                  <c:v>0.07566765578635015</c:v>
                </c:pt>
                <c:pt idx="37">
                  <c:v>0.06425171866737175</c:v>
                </c:pt>
                <c:pt idx="38">
                  <c:v>0.06354810238305383</c:v>
                </c:pt>
                <c:pt idx="39">
                  <c:v>0.07409821816601478</c:v>
                </c:pt>
                <c:pt idx="40">
                  <c:v>0.06267087276550999</c:v>
                </c:pt>
                <c:pt idx="41">
                  <c:v>0.06010383386581469</c:v>
                </c:pt>
                <c:pt idx="42">
                  <c:v>0.06403055493147607</c:v>
                </c:pt>
                <c:pt idx="43">
                  <c:v>0.06285090455396132</c:v>
                </c:pt>
                <c:pt idx="44">
                  <c:v>0.05841700352066762</c:v>
                </c:pt>
                <c:pt idx="45">
                  <c:v>0.07460192647926087</c:v>
                </c:pt>
                <c:pt idx="46">
                  <c:v>0.06419666783176045</c:v>
                </c:pt>
                <c:pt idx="47">
                  <c:v>0.06692784851452824</c:v>
                </c:pt>
                <c:pt idx="48">
                  <c:v>0.0669817322548396</c:v>
                </c:pt>
                <c:pt idx="49">
                  <c:v>0.0825354609929078</c:v>
                </c:pt>
                <c:pt idx="50">
                  <c:v>0.11074651353568499</c:v>
                </c:pt>
                <c:pt idx="51">
                  <c:v>0.0984696569920844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8.894000082079458</c:v>
                </c:pt>
              </c:numCache>
            </c:numRef>
          </c:xVal>
          <c:yVal>
            <c:numRef>
              <c:f>Sheet1!$B$163:$B$164</c:f>
              <c:numCache>
                <c:formatCode>General</c:formatCode>
                <c:ptCount val="2"/>
                <c:pt idx="0">
                  <c:v>0.17126319447075444</c:v>
                </c:pt>
                <c:pt idx="1">
                  <c:v>0.1712631944707544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8.894000082079458</c:v>
                </c:pt>
                <c:pt idx="1">
                  <c:v>-18.894000082079458</c:v>
                </c:pt>
              </c:numCache>
            </c:numRef>
          </c:xVal>
          <c:yVal>
            <c:numRef>
              <c:f>Sheet1!$B$167:$B$168</c:f>
              <c:numCache>
                <c:formatCode>General</c:formatCode>
                <c:ptCount val="2"/>
                <c:pt idx="0">
                  <c:v>0.1712631944707544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6527886742983187</c:v>
                </c:pt>
              </c:numCache>
            </c:numRef>
          </c:xVal>
          <c:yVal>
            <c:numRef>
              <c:f>Sheet1!$B$171:$B$172</c:f>
              <c:numCache>
                <c:formatCode>General</c:formatCode>
                <c:ptCount val="2"/>
                <c:pt idx="0">
                  <c:v>0.09961367277664793</c:v>
                </c:pt>
                <c:pt idx="1">
                  <c:v>0.0996136727766479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6527886742983187</c:v>
                </c:pt>
                <c:pt idx="1">
                  <c:v>-2.6527886742983187</c:v>
                </c:pt>
              </c:numCache>
            </c:numRef>
          </c:xVal>
          <c:yVal>
            <c:numRef>
              <c:f>Sheet1!$B$175:$B$176</c:f>
              <c:numCache>
                <c:formatCode>General</c:formatCode>
                <c:ptCount val="2"/>
                <c:pt idx="0">
                  <c:v>0.0996136727766479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3.421190344499692</c:v>
                </c:pt>
              </c:numCache>
            </c:numRef>
          </c:xVal>
          <c:yVal>
            <c:numRef>
              <c:f>Sheet1!$B$179:$B$180</c:f>
              <c:numCache>
                <c:formatCode>General</c:formatCode>
                <c:ptCount val="2"/>
                <c:pt idx="0">
                  <c:v>0.07281778418496238</c:v>
                </c:pt>
                <c:pt idx="1">
                  <c:v>0.0728177841849623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3.421190344499692</c:v>
                </c:pt>
                <c:pt idx="1">
                  <c:v>3.421190344499692</c:v>
                </c:pt>
              </c:numCache>
            </c:numRef>
          </c:xVal>
          <c:yVal>
            <c:numRef>
              <c:f>Sheet1!$B$183:$B$184</c:f>
              <c:numCache>
                <c:formatCode>General</c:formatCode>
                <c:ptCount val="2"/>
                <c:pt idx="0">
                  <c:v>0.0728177841849623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46043515312036</c:v>
                </c:pt>
                <c:pt idx="1">
                  <c:v>0.43197863684745386</c:v>
                </c:pt>
                <c:pt idx="2">
                  <c:v>0.44130440316351144</c:v>
                </c:pt>
                <c:pt idx="3">
                  <c:v>0.4041015043614004</c:v>
                </c:pt>
                <c:pt idx="4">
                  <c:v>0.4109333232048457</c:v>
                </c:pt>
                <c:pt idx="5">
                  <c:v>0.43378663977313964</c:v>
                </c:pt>
                <c:pt idx="6">
                  <c:v>0.44343353965180693</c:v>
                </c:pt>
                <c:pt idx="7">
                  <c:v>0.44527529553199274</c:v>
                </c:pt>
                <c:pt idx="8">
                  <c:v>0.46801847755178827</c:v>
                </c:pt>
                <c:pt idx="9">
                  <c:v>0.4625261099134016</c:v>
                </c:pt>
                <c:pt idx="10">
                  <c:v>0.4618291797488741</c:v>
                </c:pt>
                <c:pt idx="11">
                  <c:v>0.45376970382755044</c:v>
                </c:pt>
                <c:pt idx="12">
                  <c:v>0.45907470065398154</c:v>
                </c:pt>
                <c:pt idx="13">
                  <c:v>0.44525829258253014</c:v>
                </c:pt>
                <c:pt idx="14">
                  <c:v>0.43783165360309995</c:v>
                </c:pt>
                <c:pt idx="15">
                  <c:v>0.43798380808583226</c:v>
                </c:pt>
                <c:pt idx="16">
                  <c:v>0.4512799529547843</c:v>
                </c:pt>
                <c:pt idx="17">
                  <c:v>0.43190442663811124</c:v>
                </c:pt>
                <c:pt idx="18">
                  <c:v>0.3587496312433519</c:v>
                </c:pt>
                <c:pt idx="19">
                  <c:v>0.42822843859185206</c:v>
                </c:pt>
                <c:pt idx="20">
                  <c:v>0.4230076590778572</c:v>
                </c:pt>
                <c:pt idx="21">
                  <c:v>0.40003284053931254</c:v>
                </c:pt>
                <c:pt idx="22">
                  <c:v>0.3997732902141343</c:v>
                </c:pt>
                <c:pt idx="23">
                  <c:v>0.4074612614910469</c:v>
                </c:pt>
                <c:pt idx="24">
                  <c:v>0.402148379375947</c:v>
                </c:pt>
                <c:pt idx="25">
                  <c:v>0.4065558793317217</c:v>
                </c:pt>
                <c:pt idx="26">
                  <c:v>0.409732504646425</c:v>
                </c:pt>
                <c:pt idx="27">
                  <c:v>0.4196431109824026</c:v>
                </c:pt>
                <c:pt idx="28">
                  <c:v>0.4171625717622428</c:v>
                </c:pt>
                <c:pt idx="29">
                  <c:v>0.37990438998402826</c:v>
                </c:pt>
                <c:pt idx="30">
                  <c:v>0.35282023151488945</c:v>
                </c:pt>
                <c:pt idx="31">
                  <c:v>0.3526368601293085</c:v>
                </c:pt>
                <c:pt idx="32">
                  <c:v>0.3671232585273738</c:v>
                </c:pt>
                <c:pt idx="33">
                  <c:v>0.3994068585662825</c:v>
                </c:pt>
                <c:pt idx="34">
                  <c:v>0.42429922060086517</c:v>
                </c:pt>
                <c:pt idx="35">
                  <c:v>0.39678701149749634</c:v>
                </c:pt>
                <c:pt idx="36">
                  <c:v>0.35606466070417275</c:v>
                </c:pt>
                <c:pt idx="37">
                  <c:v>0.40304380917197663</c:v>
                </c:pt>
                <c:pt idx="38">
                  <c:v>0.40164549659189364</c:v>
                </c:pt>
                <c:pt idx="39">
                  <c:v>0.42696708050347626</c:v>
                </c:pt>
                <c:pt idx="40">
                  <c:v>0.44018822527031903</c:v>
                </c:pt>
                <c:pt idx="41">
                  <c:v>0.453757165880832</c:v>
                </c:pt>
                <c:pt idx="42">
                  <c:v>0.4292105440412069</c:v>
                </c:pt>
                <c:pt idx="43">
                  <c:v>0.49006577849676847</c:v>
                </c:pt>
                <c:pt idx="44">
                  <c:v>0.538262745585723</c:v>
                </c:pt>
                <c:pt idx="45">
                  <c:v>0.550290801967524</c:v>
                </c:pt>
                <c:pt idx="46">
                  <c:v>0.5339047370655539</c:v>
                </c:pt>
                <c:pt idx="47">
                  <c:v>0.5426907626409869</c:v>
                </c:pt>
                <c:pt idx="48">
                  <c:v>0.56835450308191</c:v>
                </c:pt>
                <c:pt idx="49">
                  <c:v>0.6069820514876191</c:v>
                </c:pt>
                <c:pt idx="50">
                  <c:v>0.5575358768986876</c:v>
                </c:pt>
                <c:pt idx="51">
                  <c:v>0.5007220629004131</c:v>
                </c:pt>
                <c:pt idx="52">
                  <c:v>-2.6527886742983187</c:v>
                </c:pt>
                <c:pt idx="53">
                  <c:v>-18.894000082079458</c:v>
                </c:pt>
                <c:pt idx="54">
                  <c:v>3.421190344499692</c:v>
                </c:pt>
              </c:numCache>
            </c:numRef>
          </c:xVal>
          <c:yVal>
            <c:numRef>
              <c:f>Sheet1!$B$187:$B$241</c:f>
              <c:numCache>
                <c:formatCode>General</c:formatCode>
                <c:ptCount val="55"/>
                <c:pt idx="0">
                  <c:v>0.08587941413296228</c:v>
                </c:pt>
                <c:pt idx="1">
                  <c:v>0.08600495253824758</c:v>
                </c:pt>
                <c:pt idx="2">
                  <c:v>0.08596381110617089</c:v>
                </c:pt>
                <c:pt idx="3">
                  <c:v>0.08612793494138729</c:v>
                </c:pt>
                <c:pt idx="4">
                  <c:v>0.08609779577626325</c:v>
                </c:pt>
                <c:pt idx="5">
                  <c:v>0.08599697637553445</c:v>
                </c:pt>
                <c:pt idx="6">
                  <c:v>0.08595441823471706</c:v>
                </c:pt>
                <c:pt idx="7">
                  <c:v>0.0859462931678991</c:v>
                </c:pt>
                <c:pt idx="8">
                  <c:v>0.08584595963534379</c:v>
                </c:pt>
                <c:pt idx="9">
                  <c:v>0.08587018969456647</c:v>
                </c:pt>
                <c:pt idx="10">
                  <c:v>0.08587326426281688</c:v>
                </c:pt>
                <c:pt idx="11">
                  <c:v>0.0859088193442926</c:v>
                </c:pt>
                <c:pt idx="12">
                  <c:v>0.085885415887761</c:v>
                </c:pt>
                <c:pt idx="13">
                  <c:v>0.08594636817789472</c:v>
                </c:pt>
                <c:pt idx="14">
                  <c:v>0.08597913144396586</c:v>
                </c:pt>
                <c:pt idx="15">
                  <c:v>0.08597846020118492</c:v>
                </c:pt>
                <c:pt idx="16">
                  <c:v>0.08591980309757874</c:v>
                </c:pt>
                <c:pt idx="17">
                  <c:v>0.08600527992306334</c:v>
                </c:pt>
                <c:pt idx="18">
                  <c:v>0.08632800868805887</c:v>
                </c:pt>
                <c:pt idx="19">
                  <c:v>0.08602149686517774</c:v>
                </c:pt>
                <c:pt idx="20">
                  <c:v>0.08604452878968485</c:v>
                </c:pt>
                <c:pt idx="21">
                  <c:v>0.08614588420696037</c:v>
                </c:pt>
                <c:pt idx="22">
                  <c:v>0.08614702923587401</c:v>
                </c:pt>
                <c:pt idx="23">
                  <c:v>0.08611311307956286</c:v>
                </c:pt>
                <c:pt idx="24">
                  <c:v>0.08613655132273366</c:v>
                </c:pt>
                <c:pt idx="25">
                  <c:v>0.08611710725198247</c:v>
                </c:pt>
                <c:pt idx="26">
                  <c:v>0.08610309329214381</c:v>
                </c:pt>
                <c:pt idx="27">
                  <c:v>0.0860593717872731</c:v>
                </c:pt>
                <c:pt idx="28">
                  <c:v>0.08607031490254977</c:v>
                </c:pt>
                <c:pt idx="29">
                  <c:v>0.08623468262344047</c:v>
                </c:pt>
                <c:pt idx="30">
                  <c:v>0.08635416675249205</c:v>
                </c:pt>
                <c:pt idx="31">
                  <c:v>0.08635497571136459</c:v>
                </c:pt>
                <c:pt idx="32">
                  <c:v>0.0862910677004268</c:v>
                </c:pt>
                <c:pt idx="33">
                  <c:v>0.08614864578107148</c:v>
                </c:pt>
                <c:pt idx="34">
                  <c:v>0.08603883095329577</c:v>
                </c:pt>
                <c:pt idx="35">
                  <c:v>0.08616020346508145</c:v>
                </c:pt>
                <c:pt idx="36">
                  <c:v>0.08633985366994261</c:v>
                </c:pt>
                <c:pt idx="37">
                  <c:v>0.0861326010560334</c:v>
                </c:pt>
                <c:pt idx="38">
                  <c:v>0.08613876983402824</c:v>
                </c:pt>
                <c:pt idx="39">
                  <c:v>0.08602706145647872</c:v>
                </c:pt>
                <c:pt idx="40">
                  <c:v>0.08596873522236917</c:v>
                </c:pt>
                <c:pt idx="41">
                  <c:v>0.08590887465653889</c:v>
                </c:pt>
                <c:pt idx="42">
                  <c:v>0.08601716422126758</c:v>
                </c:pt>
                <c:pt idx="43">
                  <c:v>0.08574869604288805</c:v>
                </c:pt>
                <c:pt idx="44">
                  <c:v>0.08553607091583776</c:v>
                </c:pt>
                <c:pt idx="45">
                  <c:v>0.0854830080952742</c:v>
                </c:pt>
                <c:pt idx="46">
                  <c:v>0.08555529665080107</c:v>
                </c:pt>
                <c:pt idx="47">
                  <c:v>0.08551653633211138</c:v>
                </c:pt>
                <c:pt idx="48">
                  <c:v>0.0854033185011685</c:v>
                </c:pt>
                <c:pt idx="49">
                  <c:v>0.08523290969987928</c:v>
                </c:pt>
                <c:pt idx="50">
                  <c:v>0.0854510458148493</c:v>
                </c:pt>
                <c:pt idx="51">
                  <c:v>0.08570168491413742</c:v>
                </c:pt>
                <c:pt idx="52">
                  <c:v>0.09961367277664793</c:v>
                </c:pt>
                <c:pt idx="53">
                  <c:v>0.17126319447075444</c:v>
                </c:pt>
                <c:pt idx="54">
                  <c:v>0.0728177841849623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706763035622097"/>
          <c:min val="0.04414784394250513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33.4396</c:v>
                </c:pt>
                <c:pt idx="1">
                  <c:v>798.5058</c:v>
                </c:pt>
                <c:pt idx="2">
                  <c:v>835.2413</c:v>
                </c:pt>
                <c:pt idx="3">
                  <c:v>851.09</c:v>
                </c:pt>
                <c:pt idx="4">
                  <c:v>849.1628</c:v>
                </c:pt>
                <c:pt idx="5">
                  <c:v>844.2996</c:v>
                </c:pt>
                <c:pt idx="6">
                  <c:v>808.7789</c:v>
                </c:pt>
                <c:pt idx="7">
                  <c:v>821.438</c:v>
                </c:pt>
                <c:pt idx="8">
                  <c:v>810.1063</c:v>
                </c:pt>
                <c:pt idx="9">
                  <c:v>809.4985</c:v>
                </c:pt>
                <c:pt idx="10">
                  <c:v>822.7852</c:v>
                </c:pt>
                <c:pt idx="11">
                  <c:v>859.5915</c:v>
                </c:pt>
                <c:pt idx="12">
                  <c:v>856.1812</c:v>
                </c:pt>
                <c:pt idx="13">
                  <c:v>848.8762</c:v>
                </c:pt>
                <c:pt idx="14">
                  <c:v>857.757</c:v>
                </c:pt>
                <c:pt idx="15">
                  <c:v>866.2504</c:v>
                </c:pt>
                <c:pt idx="16">
                  <c:v>868.2562</c:v>
                </c:pt>
                <c:pt idx="17">
                  <c:v>889.5358</c:v>
                </c:pt>
                <c:pt idx="18">
                  <c:v>925.9619</c:v>
                </c:pt>
                <c:pt idx="19">
                  <c:v>938.7414</c:v>
                </c:pt>
                <c:pt idx="20">
                  <c:v>930.0643</c:v>
                </c:pt>
                <c:pt idx="21">
                  <c:v>940.8288</c:v>
                </c:pt>
                <c:pt idx="22">
                  <c:v>931.8253</c:v>
                </c:pt>
                <c:pt idx="23">
                  <c:v>921.8536</c:v>
                </c:pt>
                <c:pt idx="24">
                  <c:v>897.6104</c:v>
                </c:pt>
                <c:pt idx="25">
                  <c:v>880.6338</c:v>
                </c:pt>
                <c:pt idx="26">
                  <c:v>871.2089</c:v>
                </c:pt>
                <c:pt idx="27">
                  <c:v>916.7511</c:v>
                </c:pt>
                <c:pt idx="28">
                  <c:v>915.7769</c:v>
                </c:pt>
                <c:pt idx="29">
                  <c:v>689.5123</c:v>
                </c:pt>
                <c:pt idx="30">
                  <c:v>771.2129</c:v>
                </c:pt>
                <c:pt idx="31">
                  <c:v>822.7831</c:v>
                </c:pt>
                <c:pt idx="32">
                  <c:v>802.2748</c:v>
                </c:pt>
                <c:pt idx="33">
                  <c:v>705.3206</c:v>
                </c:pt>
                <c:pt idx="34">
                  <c:v>874.7029</c:v>
                </c:pt>
                <c:pt idx="35">
                  <c:v>899.0351</c:v>
                </c:pt>
                <c:pt idx="36">
                  <c:v>958.3396</c:v>
                </c:pt>
                <c:pt idx="37">
                  <c:v>974.7665</c:v>
                </c:pt>
                <c:pt idx="38">
                  <c:v>1029.6746</c:v>
                </c:pt>
                <c:pt idx="39">
                  <c:v>1059.254</c:v>
                </c:pt>
                <c:pt idx="40">
                  <c:v>1055.2781</c:v>
                </c:pt>
                <c:pt idx="41">
                  <c:v>1068.8085</c:v>
                </c:pt>
                <c:pt idx="42">
                  <c:v>1084.6809</c:v>
                </c:pt>
                <c:pt idx="43">
                  <c:v>1069.0625</c:v>
                </c:pt>
                <c:pt idx="44">
                  <c:v>1005.8967</c:v>
                </c:pt>
                <c:pt idx="45">
                  <c:v>979.6696</c:v>
                </c:pt>
                <c:pt idx="46">
                  <c:v>974.8968</c:v>
                </c:pt>
                <c:pt idx="47">
                  <c:v>965.934</c:v>
                </c:pt>
                <c:pt idx="48">
                  <c:v>987.7974</c:v>
                </c:pt>
                <c:pt idx="49">
                  <c:v>978.4486</c:v>
                </c:pt>
                <c:pt idx="50">
                  <c:v>960.3374</c:v>
                </c:pt>
                <c:pt idx="51">
                  <c:v>956.0617</c:v>
                </c:pt>
                <c:pt idx="52">
                  <c:v>948.1605</c:v>
                </c:pt>
                <c:pt idx="53">
                  <c:v>995.688</c:v>
                </c:pt>
                <c:pt idx="54">
                  <c:v>1010.6459</c:v>
                </c:pt>
                <c:pt idx="55">
                  <c:v>1015.1215</c:v>
                </c:pt>
                <c:pt idx="56">
                  <c:v>1047.0239</c:v>
                </c:pt>
                <c:pt idx="57">
                  <c:v>1054.5409</c:v>
                </c:pt>
                <c:pt idx="58">
                  <c:v>1009.4734</c:v>
                </c:pt>
                <c:pt idx="59">
                  <c:v>1002.2316</c:v>
                </c:pt>
                <c:pt idx="60">
                  <c:v>1022.6924</c:v>
                </c:pt>
                <c:pt idx="61">
                  <c:v>983.4765</c:v>
                </c:pt>
                <c:pt idx="62">
                  <c:v>953.8995</c:v>
                </c:pt>
                <c:pt idx="63">
                  <c:v>1029.9554</c:v>
                </c:pt>
                <c:pt idx="64">
                  <c:v>1028.3208</c:v>
                </c:pt>
                <c:pt idx="65">
                  <c:v>1031.2184</c:v>
                </c:pt>
                <c:pt idx="66">
                  <c:v>1002.3272</c:v>
                </c:pt>
                <c:pt idx="67">
                  <c:v>1014.8732</c:v>
                </c:pt>
                <c:pt idx="68">
                  <c:v>985.967</c:v>
                </c:pt>
                <c:pt idx="69">
                  <c:v>998.6785</c:v>
                </c:pt>
                <c:pt idx="70">
                  <c:v>1007.6517</c:v>
                </c:pt>
                <c:pt idx="71">
                  <c:v>1067.6366</c:v>
                </c:pt>
                <c:pt idx="72">
                  <c:v>1122.4099</c:v>
                </c:pt>
                <c:pt idx="73">
                  <c:v>1185.0602</c:v>
                </c:pt>
                <c:pt idx="74">
                  <c:v>1149.3868</c:v>
                </c:pt>
                <c:pt idx="75">
                  <c:v>1130.4681</c:v>
                </c:pt>
                <c:pt idx="76">
                  <c:v>1151.8644</c:v>
                </c:pt>
                <c:pt idx="77">
                  <c:v>1127.5185</c:v>
                </c:pt>
                <c:pt idx="78">
                  <c:v>1130.0372</c:v>
                </c:pt>
                <c:pt idx="79">
                  <c:v>1147.521</c:v>
                </c:pt>
                <c:pt idx="80">
                  <c:v>1130.6044</c:v>
                </c:pt>
                <c:pt idx="81">
                  <c:v>1118.638</c:v>
                </c:pt>
                <c:pt idx="82">
                  <c:v>1147.584</c:v>
                </c:pt>
                <c:pt idx="83">
                  <c:v>1150.9488</c:v>
                </c:pt>
                <c:pt idx="84">
                  <c:v>1085.1984</c:v>
                </c:pt>
                <c:pt idx="85">
                  <c:v>1088.9534</c:v>
                </c:pt>
                <c:pt idx="86">
                  <c:v>1088.8988</c:v>
                </c:pt>
                <c:pt idx="87">
                  <c:v>1112.214</c:v>
                </c:pt>
                <c:pt idx="88">
                  <c:v>1122.8762</c:v>
                </c:pt>
                <c:pt idx="89">
                  <c:v>1092.1818</c:v>
                </c:pt>
                <c:pt idx="90">
                  <c:v>1170.7473</c:v>
                </c:pt>
                <c:pt idx="91">
                  <c:v>1168.6774</c:v>
                </c:pt>
                <c:pt idx="92">
                  <c:v>1108.6524</c:v>
                </c:pt>
                <c:pt idx="93">
                  <c:v>1136.0531</c:v>
                </c:pt>
                <c:pt idx="94">
                  <c:v>1155.4897</c:v>
                </c:pt>
                <c:pt idx="95">
                  <c:v>1132.2057</c:v>
                </c:pt>
                <c:pt idx="96">
                  <c:v>1081.4807</c:v>
                </c:pt>
                <c:pt idx="97">
                  <c:v>1087.2487</c:v>
                </c:pt>
                <c:pt idx="98">
                  <c:v>1074.2844</c:v>
                </c:pt>
                <c:pt idx="99">
                  <c:v>1005.4582</c:v>
                </c:pt>
                <c:pt idx="100">
                  <c:v>1015.9745</c:v>
                </c:pt>
                <c:pt idx="101">
                  <c:v>1019.7102</c:v>
                </c:pt>
                <c:pt idx="102">
                  <c:v>1013.4649</c:v>
                </c:pt>
                <c:pt idx="103">
                  <c:v>976.0468</c:v>
                </c:pt>
                <c:pt idx="104">
                  <c:v>1030.9429</c:v>
                </c:pt>
              </c:numCache>
            </c:numRef>
          </c:xVal>
          <c:yVal>
            <c:numRef>
              <c:f>Sheet1!$B$2:$B$106</c:f>
              <c:numCache>
                <c:formatCode>General</c:formatCode>
                <c:ptCount val="105"/>
                <c:pt idx="0">
                  <c:v>0.17505405936701396</c:v>
                </c:pt>
                <c:pt idx="1">
                  <c:v>0.16</c:v>
                </c:pt>
                <c:pt idx="2">
                  <c:v>0.1365249840720852</c:v>
                </c:pt>
                <c:pt idx="3">
                  <c:v>0.13964450554846314</c:v>
                </c:pt>
                <c:pt idx="4">
                  <c:v>0.13302978095003692</c:v>
                </c:pt>
                <c:pt idx="5">
                  <c:v>0.1278302497088886</c:v>
                </c:pt>
                <c:pt idx="6">
                  <c:v>0.15457627118644068</c:v>
                </c:pt>
                <c:pt idx="7">
                  <c:v>0.15970961887477314</c:v>
                </c:pt>
                <c:pt idx="8">
                  <c:v>0.16227990560900346</c:v>
                </c:pt>
                <c:pt idx="9">
                  <c:v>0.174930078820239</c:v>
                </c:pt>
                <c:pt idx="10">
                  <c:v>0.1848107508322032</c:v>
                </c:pt>
                <c:pt idx="11">
                  <c:v>0.17355982274741508</c:v>
                </c:pt>
                <c:pt idx="12">
                  <c:v>0.17387892376681616</c:v>
                </c:pt>
                <c:pt idx="13">
                  <c:v>0.17505252681632202</c:v>
                </c:pt>
                <c:pt idx="14">
                  <c:v>0.16917778734395178</c:v>
                </c:pt>
                <c:pt idx="15">
                  <c:v>0.17529124898401519</c:v>
                </c:pt>
                <c:pt idx="16">
                  <c:v>0.17305568701687962</c:v>
                </c:pt>
                <c:pt idx="17">
                  <c:v>0.15539452495974235</c:v>
                </c:pt>
                <c:pt idx="18">
                  <c:v>0.1510519690703111</c:v>
                </c:pt>
                <c:pt idx="19">
                  <c:v>0.15024683408456752</c:v>
                </c:pt>
                <c:pt idx="20">
                  <c:v>0.17285664699757028</c:v>
                </c:pt>
                <c:pt idx="21">
                  <c:v>0.16211414612480568</c:v>
                </c:pt>
                <c:pt idx="22">
                  <c:v>0.1667021050393366</c:v>
                </c:pt>
                <c:pt idx="23">
                  <c:v>0.17505668934240362</c:v>
                </c:pt>
                <c:pt idx="24">
                  <c:v>0.16809465524275805</c:v>
                </c:pt>
                <c:pt idx="25">
                  <c:v>0.16702508960573476</c:v>
                </c:pt>
                <c:pt idx="26">
                  <c:v>0.17588978185993112</c:v>
                </c:pt>
                <c:pt idx="27">
                  <c:v>0.1492896174863388</c:v>
                </c:pt>
                <c:pt idx="28">
                  <c:v>0.1548304542546385</c:v>
                </c:pt>
                <c:pt idx="29">
                  <c:v>0.19540229885057472</c:v>
                </c:pt>
                <c:pt idx="30">
                  <c:v>0.17586206896551723</c:v>
                </c:pt>
                <c:pt idx="31">
                  <c:v>0.16382095062298108</c:v>
                </c:pt>
                <c:pt idx="32">
                  <c:v>0.1659252669039146</c:v>
                </c:pt>
                <c:pt idx="33">
                  <c:v>0.19755635863018414</c:v>
                </c:pt>
                <c:pt idx="34">
                  <c:v>0.17096619131549431</c:v>
                </c:pt>
                <c:pt idx="35">
                  <c:v>0.1640953716690042</c:v>
                </c:pt>
                <c:pt idx="36">
                  <c:v>0.11976360159916566</c:v>
                </c:pt>
                <c:pt idx="37">
                  <c:v>0.10800924143242202</c:v>
                </c:pt>
                <c:pt idx="38">
                  <c:v>0.09754209405844784</c:v>
                </c:pt>
                <c:pt idx="39">
                  <c:v>0.0862893583100837</c:v>
                </c:pt>
                <c:pt idx="40">
                  <c:v>0.08755240245082231</c:v>
                </c:pt>
                <c:pt idx="41">
                  <c:v>0.07418449666783584</c:v>
                </c:pt>
                <c:pt idx="42">
                  <c:v>0.07151607963246555</c:v>
                </c:pt>
                <c:pt idx="43">
                  <c:v>0.07612650433809123</c:v>
                </c:pt>
                <c:pt idx="44">
                  <c:v>0.08576489232777104</c:v>
                </c:pt>
                <c:pt idx="45">
                  <c:v>0.10064764572028706</c:v>
                </c:pt>
                <c:pt idx="46">
                  <c:v>0.1020305841062923</c:v>
                </c:pt>
                <c:pt idx="47">
                  <c:v>0.09743502920511302</c:v>
                </c:pt>
                <c:pt idx="48">
                  <c:v>0.1071850699844479</c:v>
                </c:pt>
                <c:pt idx="49">
                  <c:v>0.12366612407306928</c:v>
                </c:pt>
                <c:pt idx="50">
                  <c:v>0.09688581314878893</c:v>
                </c:pt>
                <c:pt idx="51">
                  <c:v>0.08474945533769063</c:v>
                </c:pt>
                <c:pt idx="52">
                  <c:v>0.100208957935859</c:v>
                </c:pt>
                <c:pt idx="53">
                  <c:v>0.08785643509853573</c:v>
                </c:pt>
                <c:pt idx="54">
                  <c:v>0.08344167356104479</c:v>
                </c:pt>
                <c:pt idx="55">
                  <c:v>0.07699688174622212</c:v>
                </c:pt>
                <c:pt idx="56">
                  <c:v>0.07844116912315763</c:v>
                </c:pt>
                <c:pt idx="57">
                  <c:v>0.07254985150615188</c:v>
                </c:pt>
                <c:pt idx="58">
                  <c:v>0.09006567288647972</c:v>
                </c:pt>
                <c:pt idx="59">
                  <c:v>0.09381832637646591</c:v>
                </c:pt>
                <c:pt idx="60">
                  <c:v>0.09901066625444427</c:v>
                </c:pt>
                <c:pt idx="61">
                  <c:v>0.10704697986577182</c:v>
                </c:pt>
                <c:pt idx="62">
                  <c:v>0.1196877710320902</c:v>
                </c:pt>
                <c:pt idx="63">
                  <c:v>0.13402806438299628</c:v>
                </c:pt>
                <c:pt idx="64">
                  <c:v>0.1382667964946446</c:v>
                </c:pt>
                <c:pt idx="65">
                  <c:v>0.1191319751992914</c:v>
                </c:pt>
                <c:pt idx="66">
                  <c:v>0.12127325711723828</c:v>
                </c:pt>
                <c:pt idx="67">
                  <c:v>0.10509554140127389</c:v>
                </c:pt>
                <c:pt idx="68">
                  <c:v>0.09351938816583925</c:v>
                </c:pt>
                <c:pt idx="69">
                  <c:v>0.08169878901586218</c:v>
                </c:pt>
                <c:pt idx="70">
                  <c:v>0.07131410256410256</c:v>
                </c:pt>
                <c:pt idx="71">
                  <c:v>0.07540748701415009</c:v>
                </c:pt>
                <c:pt idx="72">
                  <c:v>0.07923822479170209</c:v>
                </c:pt>
                <c:pt idx="73">
                  <c:v>0.0758406432748538</c:v>
                </c:pt>
                <c:pt idx="74">
                  <c:v>0.07212110903214833</c:v>
                </c:pt>
                <c:pt idx="75">
                  <c:v>0.07739810621655002</c:v>
                </c:pt>
                <c:pt idx="76">
                  <c:v>0.0776656428258008</c:v>
                </c:pt>
                <c:pt idx="77">
                  <c:v>0.07930411206507004</c:v>
                </c:pt>
                <c:pt idx="78">
                  <c:v>0.07184466019417475</c:v>
                </c:pt>
                <c:pt idx="79">
                  <c:v>0.062255115367871136</c:v>
                </c:pt>
                <c:pt idx="80">
                  <c:v>0.05912930474333983</c:v>
                </c:pt>
                <c:pt idx="81">
                  <c:v>0.06881720430107527</c:v>
                </c:pt>
                <c:pt idx="82">
                  <c:v>0.05912961210974456</c:v>
                </c:pt>
                <c:pt idx="83">
                  <c:v>0.055184804928131416</c:v>
                </c:pt>
                <c:pt idx="84">
                  <c:v>0.06501710976572782</c:v>
                </c:pt>
                <c:pt idx="85">
                  <c:v>0.07894131185270425</c:v>
                </c:pt>
                <c:pt idx="86">
                  <c:v>0.08464498076250437</c:v>
                </c:pt>
                <c:pt idx="87">
                  <c:v>0.09369057908383752</c:v>
                </c:pt>
                <c:pt idx="88">
                  <c:v>0.07109839313229144</c:v>
                </c:pt>
                <c:pt idx="89">
                  <c:v>0.06674445740956826</c:v>
                </c:pt>
                <c:pt idx="90">
                  <c:v>0.06766193113411992</c:v>
                </c:pt>
                <c:pt idx="91">
                  <c:v>0.06443418013856812</c:v>
                </c:pt>
                <c:pt idx="92">
                  <c:v>0.06963321541612362</c:v>
                </c:pt>
                <c:pt idx="93">
                  <c:v>0.06862031306880233</c:v>
                </c:pt>
                <c:pt idx="94">
                  <c:v>0.07095018836333193</c:v>
                </c:pt>
                <c:pt idx="95">
                  <c:v>0.07480195003046923</c:v>
                </c:pt>
                <c:pt idx="96">
                  <c:v>0.07445125568518884</c:v>
                </c:pt>
                <c:pt idx="97">
                  <c:v>0.08614636780988388</c:v>
                </c:pt>
                <c:pt idx="98">
                  <c:v>0.10160175879396985</c:v>
                </c:pt>
                <c:pt idx="99">
                  <c:v>0.10577050924079245</c:v>
                </c:pt>
                <c:pt idx="100">
                  <c:v>0.12284156316267798</c:v>
                </c:pt>
                <c:pt idx="101">
                  <c:v>0.10677453769559032</c:v>
                </c:pt>
                <c:pt idx="102">
                  <c:v>0.08268858800773694</c:v>
                </c:pt>
                <c:pt idx="103">
                  <c:v>0.08913282107574094</c:v>
                </c:pt>
                <c:pt idx="104">
                  <c:v>0.0929244656843223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53.27</c:v>
                </c:pt>
                <c:pt idx="1">
                  <c:v>1036.4825</c:v>
                </c:pt>
                <c:pt idx="2">
                  <c:v>1041.9238</c:v>
                </c:pt>
                <c:pt idx="3">
                  <c:v>987.2106</c:v>
                </c:pt>
                <c:pt idx="4">
                  <c:v>1011.596</c:v>
                </c:pt>
                <c:pt idx="5">
                  <c:v>1046.0269</c:v>
                </c:pt>
                <c:pt idx="6">
                  <c:v>953.9666</c:v>
                </c:pt>
                <c:pt idx="7">
                  <c:v>1012.7824</c:v>
                </c:pt>
                <c:pt idx="8">
                  <c:v>1077.5071</c:v>
                </c:pt>
                <c:pt idx="9">
                  <c:v>1042.4808</c:v>
                </c:pt>
                <c:pt idx="10">
                  <c:v>1056.6502</c:v>
                </c:pt>
                <c:pt idx="11">
                  <c:v>938.381</c:v>
                </c:pt>
                <c:pt idx="12">
                  <c:v>976.9442</c:v>
                </c:pt>
                <c:pt idx="13">
                  <c:v>1044.1693</c:v>
                </c:pt>
                <c:pt idx="14">
                  <c:v>1035.9857</c:v>
                </c:pt>
                <c:pt idx="15">
                  <c:v>1064.1559</c:v>
                </c:pt>
                <c:pt idx="16">
                  <c:v>1108.1992</c:v>
                </c:pt>
                <c:pt idx="17">
                  <c:v>1072.5531</c:v>
                </c:pt>
                <c:pt idx="18">
                  <c:v>907.5594</c:v>
                </c:pt>
                <c:pt idx="19">
                  <c:v>1131.6548</c:v>
                </c:pt>
                <c:pt idx="20">
                  <c:v>1167.8571</c:v>
                </c:pt>
                <c:pt idx="21">
                  <c:v>1097.2706</c:v>
                </c:pt>
                <c:pt idx="22">
                  <c:v>1108.384</c:v>
                </c:pt>
                <c:pt idx="23">
                  <c:v>1102.5938</c:v>
                </c:pt>
                <c:pt idx="24">
                  <c:v>1083.3589</c:v>
                </c:pt>
                <c:pt idx="25">
                  <c:v>1026.7052</c:v>
                </c:pt>
                <c:pt idx="26">
                  <c:v>1066.2344</c:v>
                </c:pt>
                <c:pt idx="27">
                  <c:v>1070.1405</c:v>
                </c:pt>
                <c:pt idx="28">
                  <c:v>1062.9727</c:v>
                </c:pt>
                <c:pt idx="29">
                  <c:v>1047.7031</c:v>
                </c:pt>
                <c:pt idx="30">
                  <c:v>951.0233</c:v>
                </c:pt>
                <c:pt idx="31">
                  <c:v>916.7139</c:v>
                </c:pt>
                <c:pt idx="32">
                  <c:v>962.8889</c:v>
                </c:pt>
                <c:pt idx="33">
                  <c:v>1008.1238</c:v>
                </c:pt>
                <c:pt idx="34">
                  <c:v>1041.0531</c:v>
                </c:pt>
                <c:pt idx="35">
                  <c:v>1037.7308</c:v>
                </c:pt>
                <c:pt idx="36">
                  <c:v>1052.9333</c:v>
                </c:pt>
                <c:pt idx="37">
                  <c:v>1195.7407</c:v>
                </c:pt>
                <c:pt idx="38">
                  <c:v>1178.1528</c:v>
                </c:pt>
                <c:pt idx="39">
                  <c:v>1123.3284</c:v>
                </c:pt>
                <c:pt idx="40">
                  <c:v>1157.6846</c:v>
                </c:pt>
                <c:pt idx="41">
                  <c:v>1213.3821</c:v>
                </c:pt>
                <c:pt idx="42">
                  <c:v>1167.3895</c:v>
                </c:pt>
                <c:pt idx="43">
                  <c:v>1177.8089</c:v>
                </c:pt>
                <c:pt idx="44">
                  <c:v>1118.4286</c:v>
                </c:pt>
                <c:pt idx="45">
                  <c:v>1069.3887</c:v>
                </c:pt>
                <c:pt idx="46">
                  <c:v>1092.3267</c:v>
                </c:pt>
                <c:pt idx="47">
                  <c:v>1075.9024</c:v>
                </c:pt>
                <c:pt idx="48">
                  <c:v>1061.8046</c:v>
                </c:pt>
                <c:pt idx="49">
                  <c:v>1105.3738</c:v>
                </c:pt>
                <c:pt idx="50">
                  <c:v>967.8466</c:v>
                </c:pt>
                <c:pt idx="51">
                  <c:v>922.6838</c:v>
                </c:pt>
              </c:numCache>
            </c:numRef>
          </c:xVal>
          <c:yVal>
            <c:numRef>
              <c:f>Sheet1!$B$109:$B$160</c:f>
              <c:numCache>
                <c:formatCode>General</c:formatCode>
                <c:ptCount val="52"/>
                <c:pt idx="0">
                  <c:v>0.0910980256321441</c:v>
                </c:pt>
                <c:pt idx="1">
                  <c:v>0.0941162109375</c:v>
                </c:pt>
                <c:pt idx="2">
                  <c:v>0.09691582780038552</c:v>
                </c:pt>
                <c:pt idx="3">
                  <c:v>0.11410601976639713</c:v>
                </c:pt>
                <c:pt idx="4">
                  <c:v>0.09916395726892707</c:v>
                </c:pt>
                <c:pt idx="5">
                  <c:v>0.0983626294245124</c:v>
                </c:pt>
                <c:pt idx="6">
                  <c:v>0.10274542429284526</c:v>
                </c:pt>
                <c:pt idx="7">
                  <c:v>0.09565217391304348</c:v>
                </c:pt>
                <c:pt idx="8">
                  <c:v>0.10218623481781376</c:v>
                </c:pt>
                <c:pt idx="9">
                  <c:v>0.10664718772826881</c:v>
                </c:pt>
                <c:pt idx="10">
                  <c:v>0.11855745364286757</c:v>
                </c:pt>
                <c:pt idx="11">
                  <c:v>0.12370378129255263</c:v>
                </c:pt>
                <c:pt idx="12">
                  <c:v>0.12317301686445971</c:v>
                </c:pt>
                <c:pt idx="13">
                  <c:v>0.11586570111915734</c:v>
                </c:pt>
                <c:pt idx="14">
                  <c:v>0.11216314639475601</c:v>
                </c:pt>
                <c:pt idx="15">
                  <c:v>0.10706766917293233</c:v>
                </c:pt>
                <c:pt idx="16">
                  <c:v>0.09297812279463656</c:v>
                </c:pt>
                <c:pt idx="17">
                  <c:v>0.07373020207536865</c:v>
                </c:pt>
                <c:pt idx="18">
                  <c:v>0.09215232484746476</c:v>
                </c:pt>
                <c:pt idx="19">
                  <c:v>0.08708272859216255</c:v>
                </c:pt>
                <c:pt idx="20">
                  <c:v>0.06881143878462913</c:v>
                </c:pt>
                <c:pt idx="21">
                  <c:v>0.073044972787167</c:v>
                </c:pt>
                <c:pt idx="22">
                  <c:v>0.06991051454138703</c:v>
                </c:pt>
                <c:pt idx="23">
                  <c:v>0.0757620597810003</c:v>
                </c:pt>
                <c:pt idx="24">
                  <c:v>0.06555643669045731</c:v>
                </c:pt>
                <c:pt idx="25">
                  <c:v>0.07646219686162625</c:v>
                </c:pt>
                <c:pt idx="26">
                  <c:v>0.06719173024858478</c:v>
                </c:pt>
                <c:pt idx="27">
                  <c:v>0.06803023566029347</c:v>
                </c:pt>
                <c:pt idx="28">
                  <c:v>0.07577639751552795</c:v>
                </c:pt>
                <c:pt idx="29">
                  <c:v>0.07332332332332332</c:v>
                </c:pt>
                <c:pt idx="30">
                  <c:v>0.07702182284980745</c:v>
                </c:pt>
                <c:pt idx="31">
                  <c:v>0.08702490170380078</c:v>
                </c:pt>
                <c:pt idx="32">
                  <c:v>0.08902691511387163</c:v>
                </c:pt>
                <c:pt idx="33">
                  <c:v>0.09676211865992888</c:v>
                </c:pt>
                <c:pt idx="34">
                  <c:v>0.11026183119206374</c:v>
                </c:pt>
                <c:pt idx="35">
                  <c:v>0.09868158210147823</c:v>
                </c:pt>
                <c:pt idx="36">
                  <c:v>0.07566765578635015</c:v>
                </c:pt>
                <c:pt idx="37">
                  <c:v>0.06425171866737175</c:v>
                </c:pt>
                <c:pt idx="38">
                  <c:v>0.06354810238305383</c:v>
                </c:pt>
                <c:pt idx="39">
                  <c:v>0.07409821816601478</c:v>
                </c:pt>
                <c:pt idx="40">
                  <c:v>0.06267087276550999</c:v>
                </c:pt>
                <c:pt idx="41">
                  <c:v>0.06010383386581469</c:v>
                </c:pt>
                <c:pt idx="42">
                  <c:v>0.06403055493147607</c:v>
                </c:pt>
                <c:pt idx="43">
                  <c:v>0.06285090455396132</c:v>
                </c:pt>
                <c:pt idx="44">
                  <c:v>0.05841700352066762</c:v>
                </c:pt>
                <c:pt idx="45">
                  <c:v>0.07460192647926087</c:v>
                </c:pt>
                <c:pt idx="46">
                  <c:v>0.06419666783176045</c:v>
                </c:pt>
                <c:pt idx="47">
                  <c:v>0.06692784851452824</c:v>
                </c:pt>
                <c:pt idx="48">
                  <c:v>0.0669817322548396</c:v>
                </c:pt>
                <c:pt idx="49">
                  <c:v>0.0825354609929078</c:v>
                </c:pt>
                <c:pt idx="50">
                  <c:v>0.11074651353568499</c:v>
                </c:pt>
                <c:pt idx="51">
                  <c:v>0.0984696569920844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38.2697900468157</c:v>
                </c:pt>
              </c:numCache>
            </c:numRef>
          </c:xVal>
          <c:yVal>
            <c:numRef>
              <c:f>Sheet1!$B$163:$B$164</c:f>
              <c:numCache>
                <c:formatCode>General</c:formatCode>
                <c:ptCount val="2"/>
                <c:pt idx="0">
                  <c:v>0.17126319447075444</c:v>
                </c:pt>
                <c:pt idx="1">
                  <c:v>0.1712631944707544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38.2697900468157</c:v>
                </c:pt>
                <c:pt idx="1">
                  <c:v>538.2697900468157</c:v>
                </c:pt>
              </c:numCache>
            </c:numRef>
          </c:xVal>
          <c:yVal>
            <c:numRef>
              <c:f>Sheet1!$B$167:$B$168</c:f>
              <c:numCache>
                <c:formatCode>General</c:formatCode>
                <c:ptCount val="2"/>
                <c:pt idx="0">
                  <c:v>0.1712631944707544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75.0738347707711</c:v>
                </c:pt>
              </c:numCache>
            </c:numRef>
          </c:xVal>
          <c:yVal>
            <c:numRef>
              <c:f>Sheet1!$B$171:$B$172</c:f>
              <c:numCache>
                <c:formatCode>General</c:formatCode>
                <c:ptCount val="2"/>
                <c:pt idx="0">
                  <c:v>0.09961367277664793</c:v>
                </c:pt>
                <c:pt idx="1">
                  <c:v>0.0996136727766479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75.0738347707711</c:v>
                </c:pt>
                <c:pt idx="1">
                  <c:v>975.0738347707711</c:v>
                </c:pt>
              </c:numCache>
            </c:numRef>
          </c:xVal>
          <c:yVal>
            <c:numRef>
              <c:f>Sheet1!$B$175:$B$176</c:f>
              <c:numCache>
                <c:formatCode>General</c:formatCode>
                <c:ptCount val="2"/>
                <c:pt idx="0">
                  <c:v>0.0996136727766479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38.432252832388</c:v>
                </c:pt>
              </c:numCache>
            </c:numRef>
          </c:xVal>
          <c:yVal>
            <c:numRef>
              <c:f>Sheet1!$B$179:$B$180</c:f>
              <c:numCache>
                <c:formatCode>General</c:formatCode>
                <c:ptCount val="2"/>
                <c:pt idx="0">
                  <c:v>0.07281778418496238</c:v>
                </c:pt>
                <c:pt idx="1">
                  <c:v>0.0728177841849623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38.432252832388</c:v>
                </c:pt>
                <c:pt idx="1">
                  <c:v>1138.432252832388</c:v>
                </c:pt>
              </c:numCache>
            </c:numRef>
          </c:xVal>
          <c:yVal>
            <c:numRef>
              <c:f>Sheet1!$B$183:$B$184</c:f>
              <c:numCache>
                <c:formatCode>General</c:formatCode>
                <c:ptCount val="2"/>
                <c:pt idx="0">
                  <c:v>0.0728177841849623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53.27</c:v>
                </c:pt>
                <c:pt idx="1">
                  <c:v>1036.4825</c:v>
                </c:pt>
                <c:pt idx="2">
                  <c:v>1041.9238</c:v>
                </c:pt>
                <c:pt idx="3">
                  <c:v>987.2106</c:v>
                </c:pt>
                <c:pt idx="4">
                  <c:v>1011.596</c:v>
                </c:pt>
                <c:pt idx="5">
                  <c:v>1046.0269</c:v>
                </c:pt>
                <c:pt idx="6">
                  <c:v>953.9666</c:v>
                </c:pt>
                <c:pt idx="7">
                  <c:v>1012.7824</c:v>
                </c:pt>
                <c:pt idx="8">
                  <c:v>1077.5071</c:v>
                </c:pt>
                <c:pt idx="9">
                  <c:v>1042.4808</c:v>
                </c:pt>
                <c:pt idx="10">
                  <c:v>1056.6502</c:v>
                </c:pt>
                <c:pt idx="11">
                  <c:v>938.381</c:v>
                </c:pt>
                <c:pt idx="12">
                  <c:v>976.9442</c:v>
                </c:pt>
                <c:pt idx="13">
                  <c:v>1044.1693</c:v>
                </c:pt>
                <c:pt idx="14">
                  <c:v>1035.9857</c:v>
                </c:pt>
                <c:pt idx="15">
                  <c:v>1064.1559</c:v>
                </c:pt>
                <c:pt idx="16">
                  <c:v>1108.1992</c:v>
                </c:pt>
                <c:pt idx="17">
                  <c:v>1072.5531</c:v>
                </c:pt>
                <c:pt idx="18">
                  <c:v>907.5594</c:v>
                </c:pt>
                <c:pt idx="19">
                  <c:v>1131.6548</c:v>
                </c:pt>
                <c:pt idx="20">
                  <c:v>1167.8571</c:v>
                </c:pt>
                <c:pt idx="21">
                  <c:v>1097.2706</c:v>
                </c:pt>
                <c:pt idx="22">
                  <c:v>1108.384</c:v>
                </c:pt>
                <c:pt idx="23">
                  <c:v>1102.5938</c:v>
                </c:pt>
                <c:pt idx="24">
                  <c:v>1083.3589</c:v>
                </c:pt>
                <c:pt idx="25">
                  <c:v>1026.7052</c:v>
                </c:pt>
                <c:pt idx="26">
                  <c:v>1066.2344</c:v>
                </c:pt>
                <c:pt idx="27">
                  <c:v>1070.1405</c:v>
                </c:pt>
                <c:pt idx="28">
                  <c:v>1062.9727</c:v>
                </c:pt>
                <c:pt idx="29">
                  <c:v>1047.7031</c:v>
                </c:pt>
                <c:pt idx="30">
                  <c:v>951.0233</c:v>
                </c:pt>
                <c:pt idx="31">
                  <c:v>916.7139</c:v>
                </c:pt>
                <c:pt idx="32">
                  <c:v>962.8889</c:v>
                </c:pt>
                <c:pt idx="33">
                  <c:v>1008.1238</c:v>
                </c:pt>
                <c:pt idx="34">
                  <c:v>1041.0531</c:v>
                </c:pt>
                <c:pt idx="35">
                  <c:v>1037.7308</c:v>
                </c:pt>
                <c:pt idx="36">
                  <c:v>1052.9333</c:v>
                </c:pt>
                <c:pt idx="37">
                  <c:v>1195.7407</c:v>
                </c:pt>
                <c:pt idx="38">
                  <c:v>1178.1528</c:v>
                </c:pt>
                <c:pt idx="39">
                  <c:v>1123.3284</c:v>
                </c:pt>
                <c:pt idx="40">
                  <c:v>1157.6846</c:v>
                </c:pt>
                <c:pt idx="41">
                  <c:v>1213.3821</c:v>
                </c:pt>
                <c:pt idx="42">
                  <c:v>1167.3895</c:v>
                </c:pt>
                <c:pt idx="43">
                  <c:v>1177.8089</c:v>
                </c:pt>
                <c:pt idx="44">
                  <c:v>1118.4286</c:v>
                </c:pt>
                <c:pt idx="45">
                  <c:v>1069.3887</c:v>
                </c:pt>
                <c:pt idx="46">
                  <c:v>1092.3267</c:v>
                </c:pt>
                <c:pt idx="47">
                  <c:v>1075.9024</c:v>
                </c:pt>
                <c:pt idx="48">
                  <c:v>1061.8046</c:v>
                </c:pt>
                <c:pt idx="49">
                  <c:v>1105.3738</c:v>
                </c:pt>
                <c:pt idx="50">
                  <c:v>967.8466</c:v>
                </c:pt>
                <c:pt idx="51">
                  <c:v>922.6838</c:v>
                </c:pt>
                <c:pt idx="52">
                  <c:v>975.0738347707711</c:v>
                </c:pt>
                <c:pt idx="53">
                  <c:v>538.2697900468157</c:v>
                </c:pt>
                <c:pt idx="54">
                  <c:v>1138.432252832388</c:v>
                </c:pt>
              </c:numCache>
            </c:numRef>
          </c:xVal>
          <c:yVal>
            <c:numRef>
              <c:f>Sheet1!$B$187:$B$241</c:f>
              <c:numCache>
                <c:formatCode>General</c:formatCode>
                <c:ptCount val="55"/>
                <c:pt idx="0">
                  <c:v>0.08678705657503219</c:v>
                </c:pt>
                <c:pt idx="1">
                  <c:v>0.0895407315008217</c:v>
                </c:pt>
                <c:pt idx="2">
                  <c:v>0.08864818815763789</c:v>
                </c:pt>
                <c:pt idx="3">
                  <c:v>0.09762286377638452</c:v>
                </c:pt>
                <c:pt idx="4">
                  <c:v>0.09362289567301305</c:v>
                </c:pt>
                <c:pt idx="5">
                  <c:v>0.08797515145842674</c:v>
                </c:pt>
                <c:pt idx="6">
                  <c:v>0.10307591927797485</c:v>
                </c:pt>
                <c:pt idx="7">
                  <c:v>0.0934282889756515</c:v>
                </c:pt>
                <c:pt idx="8">
                  <c:v>0.0828114143088309</c:v>
                </c:pt>
                <c:pt idx="9">
                  <c:v>0.08855682274088941</c:v>
                </c:pt>
                <c:pt idx="10">
                  <c:v>0.08623259808007142</c:v>
                </c:pt>
                <c:pt idx="11">
                  <c:v>0.10563244502173572</c:v>
                </c:pt>
                <c:pt idx="12">
                  <c:v>0.09930687439488789</c:v>
                </c:pt>
                <c:pt idx="13">
                  <c:v>0.0882798559434392</c:v>
                </c:pt>
                <c:pt idx="14">
                  <c:v>0.08962222223518554</c:v>
                </c:pt>
                <c:pt idx="15">
                  <c:v>0.0850014285854773</c:v>
                </c:pt>
                <c:pt idx="16">
                  <c:v>0.07777695020221434</c:v>
                </c:pt>
                <c:pt idx="17">
                  <c:v>0.083624025214705</c:v>
                </c:pt>
                <c:pt idx="18">
                  <c:v>0.11068815117766811</c:v>
                </c:pt>
                <c:pt idx="19">
                  <c:v>0.07392949837261795</c:v>
                </c:pt>
                <c:pt idx="20">
                  <c:v>0.06799118916839392</c:v>
                </c:pt>
                <c:pt idx="21">
                  <c:v>0.07956958232694902</c:v>
                </c:pt>
                <c:pt idx="22">
                  <c:v>0.07774663722373118</c:v>
                </c:pt>
                <c:pt idx="23">
                  <c:v>0.07869641107661615</c:v>
                </c:pt>
                <c:pt idx="24">
                  <c:v>0.08185153612978488</c:v>
                </c:pt>
                <c:pt idx="25">
                  <c:v>0.09114451442573143</c:v>
                </c:pt>
                <c:pt idx="26">
                  <c:v>0.08466048959317626</c:v>
                </c:pt>
                <c:pt idx="27">
                  <c:v>0.08401976705392822</c:v>
                </c:pt>
                <c:pt idx="28">
                  <c:v>0.0851955103827785</c:v>
                </c:pt>
                <c:pt idx="29">
                  <c:v>0.08770020224558336</c:v>
                </c:pt>
                <c:pt idx="30">
                  <c:v>0.10355871251157583</c:v>
                </c:pt>
                <c:pt idx="31">
                  <c:v>0.10918652692699707</c:v>
                </c:pt>
                <c:pt idx="32">
                  <c:v>0.10161238308793033</c:v>
                </c:pt>
                <c:pt idx="33">
                  <c:v>0.09419244504470783</c:v>
                </c:pt>
                <c:pt idx="34">
                  <c:v>0.08879101018342403</c:v>
                </c:pt>
                <c:pt idx="35">
                  <c:v>0.08933597126791848</c:v>
                </c:pt>
                <c:pt idx="36">
                  <c:v>0.08684228590325338</c:v>
                </c:pt>
                <c:pt idx="37">
                  <c:v>0.06341740688033759</c:v>
                </c:pt>
                <c:pt idx="38">
                  <c:v>0.06630237243371326</c:v>
                </c:pt>
                <c:pt idx="39">
                  <c:v>0.07529528832955579</c:v>
                </c:pt>
                <c:pt idx="40">
                  <c:v>0.06965979725075247</c:v>
                </c:pt>
                <c:pt idx="41">
                  <c:v>0.060523665654078546</c:v>
                </c:pt>
                <c:pt idx="42">
                  <c:v>0.06806789018970735</c:v>
                </c:pt>
                <c:pt idx="43">
                  <c:v>0.06635878278707016</c:v>
                </c:pt>
                <c:pt idx="44">
                  <c:v>0.07609900874065834</c:v>
                </c:pt>
                <c:pt idx="45">
                  <c:v>0.08414308576184831</c:v>
                </c:pt>
                <c:pt idx="46">
                  <c:v>0.08038053651700774</c:v>
                </c:pt>
                <c:pt idx="47">
                  <c:v>0.08307463528595166</c:v>
                </c:pt>
                <c:pt idx="48">
                  <c:v>0.08538711530792015</c:v>
                </c:pt>
                <c:pt idx="49">
                  <c:v>0.0782404041492181</c:v>
                </c:pt>
                <c:pt idx="50">
                  <c:v>0.10079916526636151</c:v>
                </c:pt>
                <c:pt idx="51">
                  <c:v>0.10820727665510005</c:v>
                </c:pt>
                <c:pt idx="52">
                  <c:v>0.09961367277664793</c:v>
                </c:pt>
                <c:pt idx="53">
                  <c:v>0.17126319447075444</c:v>
                </c:pt>
                <c:pt idx="54">
                  <c:v>0.0728177841849623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56.0"/>
          <c:min val="43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706763035622097"/>
          <c:min val="0.04414784394250513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9333267609747407</c:v>
                </c:pt>
                <c:pt idx="1">
                  <c:v>2.113061323319851</c:v>
                </c:pt>
                <c:pt idx="2">
                  <c:v>2.187951511188859</c:v>
                </c:pt>
                <c:pt idx="3">
                  <c:v>2.204287624194976</c:v>
                </c:pt>
                <c:pt idx="4">
                  <c:v>2.224592570237409</c:v>
                </c:pt>
                <c:pt idx="5">
                  <c:v>1.8322143937077524</c:v>
                </c:pt>
                <c:pt idx="6">
                  <c:v>1.6138707508825338</c:v>
                </c:pt>
                <c:pt idx="7">
                  <c:v>1.6336907371991714</c:v>
                </c:pt>
                <c:pt idx="8">
                  <c:v>1.6309277956172052</c:v>
                </c:pt>
                <c:pt idx="9">
                  <c:v>1.73193436138466</c:v>
                </c:pt>
                <c:pt idx="10">
                  <c:v>1.6912278004372852</c:v>
                </c:pt>
                <c:pt idx="11">
                  <c:v>1.7123234323300858</c:v>
                </c:pt>
                <c:pt idx="12">
                  <c:v>1.7029173392694759</c:v>
                </c:pt>
                <c:pt idx="13">
                  <c:v>1.6743949256659454</c:v>
                </c:pt>
                <c:pt idx="14">
                  <c:v>1.6775959693433204</c:v>
                </c:pt>
                <c:pt idx="15">
                  <c:v>1.679561687436671</c:v>
                </c:pt>
                <c:pt idx="16">
                  <c:v>1.6367761028813652</c:v>
                </c:pt>
                <c:pt idx="17">
                  <c:v>2.044279682975892</c:v>
                </c:pt>
                <c:pt idx="18">
                  <c:v>2.118090218343828</c:v>
                </c:pt>
                <c:pt idx="19">
                  <c:v>2.1221530392109655</c:v>
                </c:pt>
                <c:pt idx="20">
                  <c:v>2.1254546273090154</c:v>
                </c:pt>
                <c:pt idx="21">
                  <c:v>2.16249374233738</c:v>
                </c:pt>
                <c:pt idx="22">
                  <c:v>2.1454898735535375</c:v>
                </c:pt>
                <c:pt idx="23">
                  <c:v>2.224239422146375</c:v>
                </c:pt>
                <c:pt idx="24">
                  <c:v>2.2847563514777947</c:v>
                </c:pt>
                <c:pt idx="25">
                  <c:v>2.3101481811626003</c:v>
                </c:pt>
                <c:pt idx="26">
                  <c:v>1.8724364142177339</c:v>
                </c:pt>
                <c:pt idx="27">
                  <c:v>1.8575116526170672</c:v>
                </c:pt>
                <c:pt idx="28">
                  <c:v>1.8084315558136774</c:v>
                </c:pt>
                <c:pt idx="29">
                  <c:v>1.3830808996625303</c:v>
                </c:pt>
                <c:pt idx="30">
                  <c:v>1.535232009848253</c:v>
                </c:pt>
                <c:pt idx="31">
                  <c:v>1.5944942308858792</c:v>
                </c:pt>
                <c:pt idx="32">
                  <c:v>1.5216636670571944</c:v>
                </c:pt>
                <c:pt idx="33">
                  <c:v>1.330652485528893</c:v>
                </c:pt>
                <c:pt idx="34">
                  <c:v>1.6948696406004704</c:v>
                </c:pt>
                <c:pt idx="35">
                  <c:v>1.7792957826201057</c:v>
                </c:pt>
                <c:pt idx="36">
                  <c:v>1.8996951653437608</c:v>
                </c:pt>
                <c:pt idx="37">
                  <c:v>1.9381313608305062</c:v>
                </c:pt>
                <c:pt idx="38">
                  <c:v>2.0564713739592815</c:v>
                </c:pt>
                <c:pt idx="39">
                  <c:v>2.1134349108400197</c:v>
                </c:pt>
                <c:pt idx="40">
                  <c:v>2.096422955006528</c:v>
                </c:pt>
                <c:pt idx="41">
                  <c:v>2.1333451895923603</c:v>
                </c:pt>
                <c:pt idx="42">
                  <c:v>2.1704795969924513</c:v>
                </c:pt>
                <c:pt idx="43">
                  <c:v>2.141568213373462</c:v>
                </c:pt>
                <c:pt idx="44">
                  <c:v>2.0152188690335833</c:v>
                </c:pt>
                <c:pt idx="45">
                  <c:v>1.969929541213564</c:v>
                </c:pt>
                <c:pt idx="46">
                  <c:v>1.9985248300459073</c:v>
                </c:pt>
                <c:pt idx="47">
                  <c:v>1.9947591659354458</c:v>
                </c:pt>
                <c:pt idx="48">
                  <c:v>2.0155009118543514</c:v>
                </c:pt>
                <c:pt idx="49">
                  <c:v>2.002271065059527</c:v>
                </c:pt>
                <c:pt idx="50">
                  <c:v>1.9490209712009525</c:v>
                </c:pt>
                <c:pt idx="51">
                  <c:v>1.957975665735323</c:v>
                </c:pt>
                <c:pt idx="52">
                  <c:v>1.9449438174589466</c:v>
                </c:pt>
                <c:pt idx="53">
                  <c:v>2.0257744606516495</c:v>
                </c:pt>
                <c:pt idx="54">
                  <c:v>2.1515693224759165</c:v>
                </c:pt>
                <c:pt idx="55">
                  <c:v>2.173957690638088</c:v>
                </c:pt>
                <c:pt idx="56">
                  <c:v>2.2511225793190843</c:v>
                </c:pt>
                <c:pt idx="57">
                  <c:v>2.2560875631819077</c:v>
                </c:pt>
                <c:pt idx="58">
                  <c:v>2.1538299711790967</c:v>
                </c:pt>
                <c:pt idx="59">
                  <c:v>2.2201223310416567</c:v>
                </c:pt>
                <c:pt idx="60">
                  <c:v>2.2726644238373983</c:v>
                </c:pt>
                <c:pt idx="61">
                  <c:v>2.0808931360200313</c:v>
                </c:pt>
                <c:pt idx="62">
                  <c:v>2.063903586074929</c:v>
                </c:pt>
                <c:pt idx="63">
                  <c:v>2.2553385957259704</c:v>
                </c:pt>
                <c:pt idx="64">
                  <c:v>2.1919007250839133</c:v>
                </c:pt>
                <c:pt idx="65">
                  <c:v>2.1880933097355046</c:v>
                </c:pt>
                <c:pt idx="66">
                  <c:v>2.120856106050507</c:v>
                </c:pt>
                <c:pt idx="67">
                  <c:v>2.153643348177291</c:v>
                </c:pt>
                <c:pt idx="68">
                  <c:v>2.052390584249394</c:v>
                </c:pt>
                <c:pt idx="69">
                  <c:v>2.0625573246112148</c:v>
                </c:pt>
                <c:pt idx="70">
                  <c:v>2.0989870761439526</c:v>
                </c:pt>
                <c:pt idx="71">
                  <c:v>2.212345567472258</c:v>
                </c:pt>
                <c:pt idx="72">
                  <c:v>2.3279755523241286</c:v>
                </c:pt>
                <c:pt idx="73">
                  <c:v>2.4340367444882136</c:v>
                </c:pt>
                <c:pt idx="74">
                  <c:v>2.376772622507348</c:v>
                </c:pt>
                <c:pt idx="75">
                  <c:v>2.3726251566228647</c:v>
                </c:pt>
                <c:pt idx="76">
                  <c:v>2.5084641231069154</c:v>
                </c:pt>
                <c:pt idx="77">
                  <c:v>2.5339846147518856</c:v>
                </c:pt>
                <c:pt idx="78">
                  <c:v>2.4863545433663163</c:v>
                </c:pt>
                <c:pt idx="79">
                  <c:v>2.5898147103297298</c:v>
                </c:pt>
                <c:pt idx="80">
                  <c:v>2.4907405000407556</c:v>
                </c:pt>
                <c:pt idx="81">
                  <c:v>2.481939654483847</c:v>
                </c:pt>
                <c:pt idx="82">
                  <c:v>2.509275439894625</c:v>
                </c:pt>
                <c:pt idx="83">
                  <c:v>2.528131491529943</c:v>
                </c:pt>
                <c:pt idx="84">
                  <c:v>2.3905549589439423</c:v>
                </c:pt>
                <c:pt idx="85">
                  <c:v>2.3377821076662357</c:v>
                </c:pt>
                <c:pt idx="86">
                  <c:v>2.321260307811948</c:v>
                </c:pt>
                <c:pt idx="87">
                  <c:v>2.38740824360273</c:v>
                </c:pt>
                <c:pt idx="88">
                  <c:v>2.3755737018903864</c:v>
                </c:pt>
                <c:pt idx="89">
                  <c:v>2.3024109735047573</c:v>
                </c:pt>
                <c:pt idx="90">
                  <c:v>2.462744889332414</c:v>
                </c:pt>
                <c:pt idx="91">
                  <c:v>2.481564466927901</c:v>
                </c:pt>
                <c:pt idx="92">
                  <c:v>2.34212062386277</c:v>
                </c:pt>
                <c:pt idx="93">
                  <c:v>2.133096963689665</c:v>
                </c:pt>
                <c:pt idx="94">
                  <c:v>2.074835708537123</c:v>
                </c:pt>
                <c:pt idx="95">
                  <c:v>2.0598347883276618</c:v>
                </c:pt>
                <c:pt idx="96">
                  <c:v>1.9562074836084435</c:v>
                </c:pt>
                <c:pt idx="97">
                  <c:v>1.9866471933287315</c:v>
                </c:pt>
                <c:pt idx="98">
                  <c:v>2.060875260274887</c:v>
                </c:pt>
                <c:pt idx="99">
                  <c:v>2.239840658395731</c:v>
                </c:pt>
                <c:pt idx="100">
                  <c:v>1.936203356767191</c:v>
                </c:pt>
                <c:pt idx="101">
                  <c:v>1.7267668193822003</c:v>
                </c:pt>
                <c:pt idx="102">
                  <c:v>1.668314297265549</c:v>
                </c:pt>
                <c:pt idx="103">
                  <c:v>1.6182172014209122</c:v>
                </c:pt>
                <c:pt idx="104">
                  <c:v>1.6925411604974145</c:v>
                </c:pt>
              </c:numCache>
            </c:numRef>
          </c:xVal>
          <c:yVal>
            <c:numRef>
              <c:f>Sheet1!$B$2:$B$106</c:f>
              <c:numCache>
                <c:formatCode>General</c:formatCode>
                <c:ptCount val="105"/>
                <c:pt idx="0">
                  <c:v>0.17505405936701396</c:v>
                </c:pt>
                <c:pt idx="1">
                  <c:v>0.16</c:v>
                </c:pt>
                <c:pt idx="2">
                  <c:v>0.1365249840720852</c:v>
                </c:pt>
                <c:pt idx="3">
                  <c:v>0.13964450554846314</c:v>
                </c:pt>
                <c:pt idx="4">
                  <c:v>0.13302978095003692</c:v>
                </c:pt>
                <c:pt idx="5">
                  <c:v>0.1278302497088886</c:v>
                </c:pt>
                <c:pt idx="6">
                  <c:v>0.15457627118644068</c:v>
                </c:pt>
                <c:pt idx="7">
                  <c:v>0.15970961887477314</c:v>
                </c:pt>
                <c:pt idx="8">
                  <c:v>0.16227990560900346</c:v>
                </c:pt>
                <c:pt idx="9">
                  <c:v>0.174930078820239</c:v>
                </c:pt>
                <c:pt idx="10">
                  <c:v>0.1848107508322032</c:v>
                </c:pt>
                <c:pt idx="11">
                  <c:v>0.17355982274741508</c:v>
                </c:pt>
                <c:pt idx="12">
                  <c:v>0.17387892376681616</c:v>
                </c:pt>
                <c:pt idx="13">
                  <c:v>0.17505252681632202</c:v>
                </c:pt>
                <c:pt idx="14">
                  <c:v>0.16917778734395178</c:v>
                </c:pt>
                <c:pt idx="15">
                  <c:v>0.17529124898401519</c:v>
                </c:pt>
                <c:pt idx="16">
                  <c:v>0.17305568701687962</c:v>
                </c:pt>
                <c:pt idx="17">
                  <c:v>0.15539452495974235</c:v>
                </c:pt>
                <c:pt idx="18">
                  <c:v>0.1510519690703111</c:v>
                </c:pt>
                <c:pt idx="19">
                  <c:v>0.15024683408456752</c:v>
                </c:pt>
                <c:pt idx="20">
                  <c:v>0.17285664699757028</c:v>
                </c:pt>
                <c:pt idx="21">
                  <c:v>0.16211414612480568</c:v>
                </c:pt>
                <c:pt idx="22">
                  <c:v>0.1667021050393366</c:v>
                </c:pt>
                <c:pt idx="23">
                  <c:v>0.17505668934240362</c:v>
                </c:pt>
                <c:pt idx="24">
                  <c:v>0.16809465524275805</c:v>
                </c:pt>
                <c:pt idx="25">
                  <c:v>0.16702508960573476</c:v>
                </c:pt>
                <c:pt idx="26">
                  <c:v>0.17588978185993112</c:v>
                </c:pt>
                <c:pt idx="27">
                  <c:v>0.1492896174863388</c:v>
                </c:pt>
                <c:pt idx="28">
                  <c:v>0.1548304542546385</c:v>
                </c:pt>
                <c:pt idx="29">
                  <c:v>0.19540229885057472</c:v>
                </c:pt>
                <c:pt idx="30">
                  <c:v>0.17586206896551723</c:v>
                </c:pt>
                <c:pt idx="31">
                  <c:v>0.16382095062298108</c:v>
                </c:pt>
                <c:pt idx="32">
                  <c:v>0.1659252669039146</c:v>
                </c:pt>
                <c:pt idx="33">
                  <c:v>0.19755635863018414</c:v>
                </c:pt>
                <c:pt idx="34">
                  <c:v>0.17096619131549431</c:v>
                </c:pt>
                <c:pt idx="35">
                  <c:v>0.1640953716690042</c:v>
                </c:pt>
                <c:pt idx="36">
                  <c:v>0.11976360159916566</c:v>
                </c:pt>
                <c:pt idx="37">
                  <c:v>0.10800924143242202</c:v>
                </c:pt>
                <c:pt idx="38">
                  <c:v>0.09754209405844784</c:v>
                </c:pt>
                <c:pt idx="39">
                  <c:v>0.0862893583100837</c:v>
                </c:pt>
                <c:pt idx="40">
                  <c:v>0.08755240245082231</c:v>
                </c:pt>
                <c:pt idx="41">
                  <c:v>0.07418449666783584</c:v>
                </c:pt>
                <c:pt idx="42">
                  <c:v>0.07151607963246555</c:v>
                </c:pt>
                <c:pt idx="43">
                  <c:v>0.07612650433809123</c:v>
                </c:pt>
                <c:pt idx="44">
                  <c:v>0.08576489232777104</c:v>
                </c:pt>
                <c:pt idx="45">
                  <c:v>0.10064764572028706</c:v>
                </c:pt>
                <c:pt idx="46">
                  <c:v>0.1020305841062923</c:v>
                </c:pt>
                <c:pt idx="47">
                  <c:v>0.09743502920511302</c:v>
                </c:pt>
                <c:pt idx="48">
                  <c:v>0.1071850699844479</c:v>
                </c:pt>
                <c:pt idx="49">
                  <c:v>0.12366612407306928</c:v>
                </c:pt>
                <c:pt idx="50">
                  <c:v>0.09688581314878893</c:v>
                </c:pt>
                <c:pt idx="51">
                  <c:v>0.08474945533769063</c:v>
                </c:pt>
                <c:pt idx="52">
                  <c:v>0.100208957935859</c:v>
                </c:pt>
                <c:pt idx="53">
                  <c:v>0.08785643509853573</c:v>
                </c:pt>
                <c:pt idx="54">
                  <c:v>0.08344167356104479</c:v>
                </c:pt>
                <c:pt idx="55">
                  <c:v>0.07699688174622212</c:v>
                </c:pt>
                <c:pt idx="56">
                  <c:v>0.07844116912315763</c:v>
                </c:pt>
                <c:pt idx="57">
                  <c:v>0.07254985150615188</c:v>
                </c:pt>
                <c:pt idx="58">
                  <c:v>0.09006567288647972</c:v>
                </c:pt>
                <c:pt idx="59">
                  <c:v>0.09381832637646591</c:v>
                </c:pt>
                <c:pt idx="60">
                  <c:v>0.09901066625444427</c:v>
                </c:pt>
                <c:pt idx="61">
                  <c:v>0.10704697986577182</c:v>
                </c:pt>
                <c:pt idx="62">
                  <c:v>0.1196877710320902</c:v>
                </c:pt>
                <c:pt idx="63">
                  <c:v>0.13402806438299628</c:v>
                </c:pt>
                <c:pt idx="64">
                  <c:v>0.1382667964946446</c:v>
                </c:pt>
                <c:pt idx="65">
                  <c:v>0.1191319751992914</c:v>
                </c:pt>
                <c:pt idx="66">
                  <c:v>0.12127325711723828</c:v>
                </c:pt>
                <c:pt idx="67">
                  <c:v>0.10509554140127389</c:v>
                </c:pt>
                <c:pt idx="68">
                  <c:v>0.09351938816583925</c:v>
                </c:pt>
                <c:pt idx="69">
                  <c:v>0.08169878901586218</c:v>
                </c:pt>
                <c:pt idx="70">
                  <c:v>0.07131410256410256</c:v>
                </c:pt>
                <c:pt idx="71">
                  <c:v>0.07540748701415009</c:v>
                </c:pt>
                <c:pt idx="72">
                  <c:v>0.07923822479170209</c:v>
                </c:pt>
                <c:pt idx="73">
                  <c:v>0.0758406432748538</c:v>
                </c:pt>
                <c:pt idx="74">
                  <c:v>0.07212110903214833</c:v>
                </c:pt>
                <c:pt idx="75">
                  <c:v>0.07739810621655002</c:v>
                </c:pt>
                <c:pt idx="76">
                  <c:v>0.0776656428258008</c:v>
                </c:pt>
                <c:pt idx="77">
                  <c:v>0.07930411206507004</c:v>
                </c:pt>
                <c:pt idx="78">
                  <c:v>0.07184466019417475</c:v>
                </c:pt>
                <c:pt idx="79">
                  <c:v>0.062255115367871136</c:v>
                </c:pt>
                <c:pt idx="80">
                  <c:v>0.05912930474333983</c:v>
                </c:pt>
                <c:pt idx="81">
                  <c:v>0.06881720430107527</c:v>
                </c:pt>
                <c:pt idx="82">
                  <c:v>0.05912961210974456</c:v>
                </c:pt>
                <c:pt idx="83">
                  <c:v>0.055184804928131416</c:v>
                </c:pt>
                <c:pt idx="84">
                  <c:v>0.06501710976572782</c:v>
                </c:pt>
                <c:pt idx="85">
                  <c:v>0.07894131185270425</c:v>
                </c:pt>
                <c:pt idx="86">
                  <c:v>0.08464498076250437</c:v>
                </c:pt>
                <c:pt idx="87">
                  <c:v>0.09369057908383752</c:v>
                </c:pt>
                <c:pt idx="88">
                  <c:v>0.07109839313229144</c:v>
                </c:pt>
                <c:pt idx="89">
                  <c:v>0.06674445740956826</c:v>
                </c:pt>
                <c:pt idx="90">
                  <c:v>0.06766193113411992</c:v>
                </c:pt>
                <c:pt idx="91">
                  <c:v>0.06443418013856812</c:v>
                </c:pt>
                <c:pt idx="92">
                  <c:v>0.06963321541612362</c:v>
                </c:pt>
                <c:pt idx="93">
                  <c:v>0.06862031306880233</c:v>
                </c:pt>
                <c:pt idx="94">
                  <c:v>0.07095018836333193</c:v>
                </c:pt>
                <c:pt idx="95">
                  <c:v>0.07480195003046923</c:v>
                </c:pt>
                <c:pt idx="96">
                  <c:v>0.07445125568518884</c:v>
                </c:pt>
                <c:pt idx="97">
                  <c:v>0.08614636780988388</c:v>
                </c:pt>
                <c:pt idx="98">
                  <c:v>0.10160175879396985</c:v>
                </c:pt>
                <c:pt idx="99">
                  <c:v>0.10577050924079245</c:v>
                </c:pt>
                <c:pt idx="100">
                  <c:v>0.12284156316267798</c:v>
                </c:pt>
                <c:pt idx="101">
                  <c:v>0.10677453769559032</c:v>
                </c:pt>
                <c:pt idx="102">
                  <c:v>0.08268858800773694</c:v>
                </c:pt>
                <c:pt idx="103">
                  <c:v>0.08913282107574094</c:v>
                </c:pt>
                <c:pt idx="104">
                  <c:v>0.0929244656843223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6454708425603712</c:v>
                </c:pt>
                <c:pt idx="1">
                  <c:v>1.6098640903850274</c:v>
                </c:pt>
                <c:pt idx="2">
                  <c:v>1.5795210578289487</c:v>
                </c:pt>
                <c:pt idx="3">
                  <c:v>1.4937333324254822</c:v>
                </c:pt>
                <c:pt idx="4">
                  <c:v>1.4989341019080666</c:v>
                </c:pt>
                <c:pt idx="5">
                  <c:v>1.5045455957645972</c:v>
                </c:pt>
                <c:pt idx="6">
                  <c:v>1.50160018888714</c:v>
                </c:pt>
                <c:pt idx="7">
                  <c:v>1.4668057027986816</c:v>
                </c:pt>
                <c:pt idx="8">
                  <c:v>1.5540560595888233</c:v>
                </c:pt>
                <c:pt idx="9">
                  <c:v>1.5717625730883058</c:v>
                </c:pt>
                <c:pt idx="10">
                  <c:v>1.5548078301146349</c:v>
                </c:pt>
                <c:pt idx="11">
                  <c:v>1.6809847646027312</c:v>
                </c:pt>
                <c:pt idx="12">
                  <c:v>1.666205378279218</c:v>
                </c:pt>
                <c:pt idx="13">
                  <c:v>1.591710089881978</c:v>
                </c:pt>
                <c:pt idx="14">
                  <c:v>1.574575333754543</c:v>
                </c:pt>
                <c:pt idx="15">
                  <c:v>1.6800645340761584</c:v>
                </c:pt>
                <c:pt idx="16">
                  <c:v>1.6464045748746179</c:v>
                </c:pt>
                <c:pt idx="17">
                  <c:v>1.682154952599299</c:v>
                </c:pt>
                <c:pt idx="18">
                  <c:v>1.3741755486349083</c:v>
                </c:pt>
                <c:pt idx="19">
                  <c:v>1.717733678867055</c:v>
                </c:pt>
                <c:pt idx="20">
                  <c:v>1.6952685333450621</c:v>
                </c:pt>
                <c:pt idx="21">
                  <c:v>1.6250999886108142</c:v>
                </c:pt>
                <c:pt idx="22">
                  <c:v>1.6125899056583461</c:v>
                </c:pt>
                <c:pt idx="23">
                  <c:v>1.59295000801825</c:v>
                </c:pt>
                <c:pt idx="24">
                  <c:v>1.5529315454304895</c:v>
                </c:pt>
                <c:pt idx="25">
                  <c:v>1.512180450950635</c:v>
                </c:pt>
                <c:pt idx="26">
                  <c:v>1.5221688850565442</c:v>
                </c:pt>
                <c:pt idx="27">
                  <c:v>1.5311094908599039</c:v>
                </c:pt>
                <c:pt idx="28">
                  <c:v>1.5342623436596317</c:v>
                </c:pt>
                <c:pt idx="29">
                  <c:v>1.5095116095319823</c:v>
                </c:pt>
                <c:pt idx="30">
                  <c:v>1.3530277272835267</c:v>
                </c:pt>
                <c:pt idx="31">
                  <c:v>1.2866701755863403</c:v>
                </c:pt>
                <c:pt idx="32">
                  <c:v>1.3345387146812315</c:v>
                </c:pt>
                <c:pt idx="33">
                  <c:v>1.3756543448827714</c:v>
                </c:pt>
                <c:pt idx="34">
                  <c:v>1.4620376225868659</c:v>
                </c:pt>
                <c:pt idx="35">
                  <c:v>1.3802096813708213</c:v>
                </c:pt>
                <c:pt idx="36">
                  <c:v>1.3966262640732603</c:v>
                </c:pt>
                <c:pt idx="37">
                  <c:v>1.5944903745104648</c:v>
                </c:pt>
                <c:pt idx="38">
                  <c:v>1.571090981173757</c:v>
                </c:pt>
                <c:pt idx="39">
                  <c:v>1.5987542755597457</c:v>
                </c:pt>
                <c:pt idx="40">
                  <c:v>1.5750129450181611</c:v>
                </c:pt>
                <c:pt idx="41">
                  <c:v>1.6257323708133993</c:v>
                </c:pt>
                <c:pt idx="42">
                  <c:v>1.594890920311161</c:v>
                </c:pt>
                <c:pt idx="43">
                  <c:v>1.6494961918185158</c:v>
                </c:pt>
                <c:pt idx="44">
                  <c:v>1.5989859051509934</c:v>
                </c:pt>
                <c:pt idx="45">
                  <c:v>1.6229071500332355</c:v>
                </c:pt>
                <c:pt idx="46">
                  <c:v>1.624726746025407</c:v>
                </c:pt>
                <c:pt idx="47">
                  <c:v>1.658483047100875</c:v>
                </c:pt>
                <c:pt idx="48">
                  <c:v>1.6110021655428794</c:v>
                </c:pt>
                <c:pt idx="49">
                  <c:v>1.7234075759075818</c:v>
                </c:pt>
                <c:pt idx="50">
                  <c:v>1.5579230367058485</c:v>
                </c:pt>
                <c:pt idx="51">
                  <c:v>1.5337253458090265</c:v>
                </c:pt>
              </c:numCache>
            </c:numRef>
          </c:xVal>
          <c:yVal>
            <c:numRef>
              <c:f>Sheet1!$B$109:$B$160</c:f>
              <c:numCache>
                <c:formatCode>General</c:formatCode>
                <c:ptCount val="52"/>
                <c:pt idx="0">
                  <c:v>0.0910980256321441</c:v>
                </c:pt>
                <c:pt idx="1">
                  <c:v>0.0941162109375</c:v>
                </c:pt>
                <c:pt idx="2">
                  <c:v>0.09691582780038552</c:v>
                </c:pt>
                <c:pt idx="3">
                  <c:v>0.11410601976639713</c:v>
                </c:pt>
                <c:pt idx="4">
                  <c:v>0.09916395726892707</c:v>
                </c:pt>
                <c:pt idx="5">
                  <c:v>0.0983626294245124</c:v>
                </c:pt>
                <c:pt idx="6">
                  <c:v>0.10274542429284526</c:v>
                </c:pt>
                <c:pt idx="7">
                  <c:v>0.09565217391304348</c:v>
                </c:pt>
                <c:pt idx="8">
                  <c:v>0.10218623481781376</c:v>
                </c:pt>
                <c:pt idx="9">
                  <c:v>0.10664718772826881</c:v>
                </c:pt>
                <c:pt idx="10">
                  <c:v>0.11855745364286757</c:v>
                </c:pt>
                <c:pt idx="11">
                  <c:v>0.12370378129255263</c:v>
                </c:pt>
                <c:pt idx="12">
                  <c:v>0.12317301686445971</c:v>
                </c:pt>
                <c:pt idx="13">
                  <c:v>0.11586570111915734</c:v>
                </c:pt>
                <c:pt idx="14">
                  <c:v>0.11216314639475601</c:v>
                </c:pt>
                <c:pt idx="15">
                  <c:v>0.10706766917293233</c:v>
                </c:pt>
                <c:pt idx="16">
                  <c:v>0.09297812279463656</c:v>
                </c:pt>
                <c:pt idx="17">
                  <c:v>0.07373020207536865</c:v>
                </c:pt>
                <c:pt idx="18">
                  <c:v>0.09215232484746476</c:v>
                </c:pt>
                <c:pt idx="19">
                  <c:v>0.08708272859216255</c:v>
                </c:pt>
                <c:pt idx="20">
                  <c:v>0.06881143878462913</c:v>
                </c:pt>
                <c:pt idx="21">
                  <c:v>0.073044972787167</c:v>
                </c:pt>
                <c:pt idx="22">
                  <c:v>0.06991051454138703</c:v>
                </c:pt>
                <c:pt idx="23">
                  <c:v>0.0757620597810003</c:v>
                </c:pt>
                <c:pt idx="24">
                  <c:v>0.06555643669045731</c:v>
                </c:pt>
                <c:pt idx="25">
                  <c:v>0.07646219686162625</c:v>
                </c:pt>
                <c:pt idx="26">
                  <c:v>0.06719173024858478</c:v>
                </c:pt>
                <c:pt idx="27">
                  <c:v>0.06803023566029347</c:v>
                </c:pt>
                <c:pt idx="28">
                  <c:v>0.07577639751552795</c:v>
                </c:pt>
                <c:pt idx="29">
                  <c:v>0.07332332332332332</c:v>
                </c:pt>
                <c:pt idx="30">
                  <c:v>0.07702182284980745</c:v>
                </c:pt>
                <c:pt idx="31">
                  <c:v>0.08702490170380078</c:v>
                </c:pt>
                <c:pt idx="32">
                  <c:v>0.08902691511387163</c:v>
                </c:pt>
                <c:pt idx="33">
                  <c:v>0.09676211865992888</c:v>
                </c:pt>
                <c:pt idx="34">
                  <c:v>0.11026183119206374</c:v>
                </c:pt>
                <c:pt idx="35">
                  <c:v>0.09868158210147823</c:v>
                </c:pt>
                <c:pt idx="36">
                  <c:v>0.07566765578635015</c:v>
                </c:pt>
                <c:pt idx="37">
                  <c:v>0.06425171866737175</c:v>
                </c:pt>
                <c:pt idx="38">
                  <c:v>0.06354810238305383</c:v>
                </c:pt>
                <c:pt idx="39">
                  <c:v>0.07409821816601478</c:v>
                </c:pt>
                <c:pt idx="40">
                  <c:v>0.06267087276550999</c:v>
                </c:pt>
                <c:pt idx="41">
                  <c:v>0.06010383386581469</c:v>
                </c:pt>
                <c:pt idx="42">
                  <c:v>0.06403055493147607</c:v>
                </c:pt>
                <c:pt idx="43">
                  <c:v>0.06285090455396132</c:v>
                </c:pt>
                <c:pt idx="44">
                  <c:v>0.05841700352066762</c:v>
                </c:pt>
                <c:pt idx="45">
                  <c:v>0.07460192647926087</c:v>
                </c:pt>
                <c:pt idx="46">
                  <c:v>0.06419666783176045</c:v>
                </c:pt>
                <c:pt idx="47">
                  <c:v>0.06692784851452824</c:v>
                </c:pt>
                <c:pt idx="48">
                  <c:v>0.0669817322548396</c:v>
                </c:pt>
                <c:pt idx="49">
                  <c:v>0.0825354609929078</c:v>
                </c:pt>
                <c:pt idx="50">
                  <c:v>0.11074651353568499</c:v>
                </c:pt>
                <c:pt idx="51">
                  <c:v>0.0984696569920844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9806301409635592</c:v>
                </c:pt>
              </c:numCache>
            </c:numRef>
          </c:xVal>
          <c:yVal>
            <c:numRef>
              <c:f>Sheet1!$B$163:$B$164</c:f>
              <c:numCache>
                <c:formatCode>General</c:formatCode>
                <c:ptCount val="2"/>
                <c:pt idx="0">
                  <c:v>0.17126319447075444</c:v>
                </c:pt>
                <c:pt idx="1">
                  <c:v>0.1712631944707544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9806301409635592</c:v>
                </c:pt>
                <c:pt idx="1">
                  <c:v>-1.9806301409635592</c:v>
                </c:pt>
              </c:numCache>
            </c:numRef>
          </c:xVal>
          <c:yVal>
            <c:numRef>
              <c:f>Sheet1!$B$167:$B$168</c:f>
              <c:numCache>
                <c:formatCode>General</c:formatCode>
                <c:ptCount val="2"/>
                <c:pt idx="0">
                  <c:v>0.1712631944707544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9917474276812389</c:v>
                </c:pt>
              </c:numCache>
            </c:numRef>
          </c:xVal>
          <c:yVal>
            <c:numRef>
              <c:f>Sheet1!$B$171:$B$172</c:f>
              <c:numCache>
                <c:formatCode>General</c:formatCode>
                <c:ptCount val="2"/>
                <c:pt idx="0">
                  <c:v>0.09961367277664793</c:v>
                </c:pt>
                <c:pt idx="1">
                  <c:v>0.0996136727766479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9917474276812389</c:v>
                </c:pt>
                <c:pt idx="1">
                  <c:v>0.9917474276812389</c:v>
                </c:pt>
              </c:numCache>
            </c:numRef>
          </c:xVal>
          <c:yVal>
            <c:numRef>
              <c:f>Sheet1!$B$175:$B$176</c:f>
              <c:numCache>
                <c:formatCode>General</c:formatCode>
                <c:ptCount val="2"/>
                <c:pt idx="0">
                  <c:v>0.0996136727766479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103373804223855</c:v>
                </c:pt>
              </c:numCache>
            </c:numRef>
          </c:xVal>
          <c:yVal>
            <c:numRef>
              <c:f>Sheet1!$B$179:$B$180</c:f>
              <c:numCache>
                <c:formatCode>General</c:formatCode>
                <c:ptCount val="2"/>
                <c:pt idx="0">
                  <c:v>0.07281778418496238</c:v>
                </c:pt>
                <c:pt idx="1">
                  <c:v>0.0728177841849623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103373804223855</c:v>
                </c:pt>
                <c:pt idx="1">
                  <c:v>2.103373804223855</c:v>
                </c:pt>
              </c:numCache>
            </c:numRef>
          </c:xVal>
          <c:yVal>
            <c:numRef>
              <c:f>Sheet1!$B$183:$B$184</c:f>
              <c:numCache>
                <c:formatCode>General</c:formatCode>
                <c:ptCount val="2"/>
                <c:pt idx="0">
                  <c:v>0.0728177841849623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6454708425603712</c:v>
                </c:pt>
                <c:pt idx="1">
                  <c:v>1.6098640903850274</c:v>
                </c:pt>
                <c:pt idx="2">
                  <c:v>1.5795210578289487</c:v>
                </c:pt>
                <c:pt idx="3">
                  <c:v>1.4937333324254822</c:v>
                </c:pt>
                <c:pt idx="4">
                  <c:v>1.4989341019080666</c:v>
                </c:pt>
                <c:pt idx="5">
                  <c:v>1.5045455957645972</c:v>
                </c:pt>
                <c:pt idx="6">
                  <c:v>1.50160018888714</c:v>
                </c:pt>
                <c:pt idx="7">
                  <c:v>1.4668057027986816</c:v>
                </c:pt>
                <c:pt idx="8">
                  <c:v>1.5540560595888233</c:v>
                </c:pt>
                <c:pt idx="9">
                  <c:v>1.5717625730883058</c:v>
                </c:pt>
                <c:pt idx="10">
                  <c:v>1.5548078301146349</c:v>
                </c:pt>
                <c:pt idx="11">
                  <c:v>1.6809847646027312</c:v>
                </c:pt>
                <c:pt idx="12">
                  <c:v>1.666205378279218</c:v>
                </c:pt>
                <c:pt idx="13">
                  <c:v>1.591710089881978</c:v>
                </c:pt>
                <c:pt idx="14">
                  <c:v>1.574575333754543</c:v>
                </c:pt>
                <c:pt idx="15">
                  <c:v>1.6800645340761584</c:v>
                </c:pt>
                <c:pt idx="16">
                  <c:v>1.6464045748746179</c:v>
                </c:pt>
                <c:pt idx="17">
                  <c:v>1.682154952599299</c:v>
                </c:pt>
                <c:pt idx="18">
                  <c:v>1.3741755486349083</c:v>
                </c:pt>
                <c:pt idx="19">
                  <c:v>1.717733678867055</c:v>
                </c:pt>
                <c:pt idx="20">
                  <c:v>1.6952685333450621</c:v>
                </c:pt>
                <c:pt idx="21">
                  <c:v>1.6250999886108142</c:v>
                </c:pt>
                <c:pt idx="22">
                  <c:v>1.6125899056583461</c:v>
                </c:pt>
                <c:pt idx="23">
                  <c:v>1.59295000801825</c:v>
                </c:pt>
                <c:pt idx="24">
                  <c:v>1.5529315454304895</c:v>
                </c:pt>
                <c:pt idx="25">
                  <c:v>1.512180450950635</c:v>
                </c:pt>
                <c:pt idx="26">
                  <c:v>1.5221688850565442</c:v>
                </c:pt>
                <c:pt idx="27">
                  <c:v>1.5311094908599039</c:v>
                </c:pt>
                <c:pt idx="28">
                  <c:v>1.5342623436596317</c:v>
                </c:pt>
                <c:pt idx="29">
                  <c:v>1.5095116095319823</c:v>
                </c:pt>
                <c:pt idx="30">
                  <c:v>1.3530277272835267</c:v>
                </c:pt>
                <c:pt idx="31">
                  <c:v>1.2866701755863403</c:v>
                </c:pt>
                <c:pt idx="32">
                  <c:v>1.3345387146812315</c:v>
                </c:pt>
                <c:pt idx="33">
                  <c:v>1.3756543448827714</c:v>
                </c:pt>
                <c:pt idx="34">
                  <c:v>1.4620376225868659</c:v>
                </c:pt>
                <c:pt idx="35">
                  <c:v>1.3802096813708213</c:v>
                </c:pt>
                <c:pt idx="36">
                  <c:v>1.3966262640732603</c:v>
                </c:pt>
                <c:pt idx="37">
                  <c:v>1.5944903745104648</c:v>
                </c:pt>
                <c:pt idx="38">
                  <c:v>1.571090981173757</c:v>
                </c:pt>
                <c:pt idx="39">
                  <c:v>1.5987542755597457</c:v>
                </c:pt>
                <c:pt idx="40">
                  <c:v>1.5750129450181611</c:v>
                </c:pt>
                <c:pt idx="41">
                  <c:v>1.6257323708133993</c:v>
                </c:pt>
                <c:pt idx="42">
                  <c:v>1.594890920311161</c:v>
                </c:pt>
                <c:pt idx="43">
                  <c:v>1.6494961918185158</c:v>
                </c:pt>
                <c:pt idx="44">
                  <c:v>1.5989859051509934</c:v>
                </c:pt>
                <c:pt idx="45">
                  <c:v>1.6229071500332355</c:v>
                </c:pt>
                <c:pt idx="46">
                  <c:v>1.624726746025407</c:v>
                </c:pt>
                <c:pt idx="47">
                  <c:v>1.658483047100875</c:v>
                </c:pt>
                <c:pt idx="48">
                  <c:v>1.6110021655428794</c:v>
                </c:pt>
                <c:pt idx="49">
                  <c:v>1.7234075759075818</c:v>
                </c:pt>
                <c:pt idx="50">
                  <c:v>1.5579230367058485</c:v>
                </c:pt>
                <c:pt idx="51">
                  <c:v>1.5337253458090265</c:v>
                </c:pt>
                <c:pt idx="52">
                  <c:v>0.9917474276812389</c:v>
                </c:pt>
                <c:pt idx="53">
                  <c:v>-1.9806301409635592</c:v>
                </c:pt>
                <c:pt idx="54">
                  <c:v>2.103373804223855</c:v>
                </c:pt>
              </c:numCache>
            </c:numRef>
          </c:xVal>
          <c:yVal>
            <c:numRef>
              <c:f>Sheet1!$B$187:$B$241</c:f>
              <c:numCache>
                <c:formatCode>General</c:formatCode>
                <c:ptCount val="55"/>
                <c:pt idx="0">
                  <c:v>0.0838555905967709</c:v>
                </c:pt>
                <c:pt idx="1">
                  <c:v>0.08471389567528997</c:v>
                </c:pt>
                <c:pt idx="2">
                  <c:v>0.08544531815415862</c:v>
                </c:pt>
                <c:pt idx="3">
                  <c:v>0.08751324167680388</c:v>
                </c:pt>
                <c:pt idx="4">
                  <c:v>0.08738787649783089</c:v>
                </c:pt>
                <c:pt idx="5">
                  <c:v>0.08725261075802343</c:v>
                </c:pt>
                <c:pt idx="6">
                  <c:v>0.08732361014793624</c:v>
                </c:pt>
                <c:pt idx="7">
                  <c:v>0.08816233545394336</c:v>
                </c:pt>
                <c:pt idx="8">
                  <c:v>0.08605915502437766</c:v>
                </c:pt>
                <c:pt idx="9">
                  <c:v>0.08563233736955107</c:v>
                </c:pt>
                <c:pt idx="10">
                  <c:v>0.08604103350470052</c:v>
                </c:pt>
                <c:pt idx="11">
                  <c:v>0.08299952319986312</c:v>
                </c:pt>
                <c:pt idx="12">
                  <c:v>0.08335578209919767</c:v>
                </c:pt>
                <c:pt idx="13">
                  <c:v>0.08515150005859551</c:v>
                </c:pt>
                <c:pt idx="14">
                  <c:v>0.08556453543264311</c:v>
                </c:pt>
                <c:pt idx="15">
                  <c:v>0.08302170546828444</c:v>
                </c:pt>
                <c:pt idx="16">
                  <c:v>0.0838330828661206</c:v>
                </c:pt>
                <c:pt idx="17">
                  <c:v>0.0829713156763201</c:v>
                </c:pt>
                <c:pt idx="18">
                  <c:v>0.09039519655150294</c:v>
                </c:pt>
                <c:pt idx="19">
                  <c:v>0.08211368616570158</c:v>
                </c:pt>
                <c:pt idx="20">
                  <c:v>0.08265521122241676</c:v>
                </c:pt>
                <c:pt idx="21">
                  <c:v>0.08434663250119886</c:v>
                </c:pt>
                <c:pt idx="22">
                  <c:v>0.08464818956762046</c:v>
                </c:pt>
                <c:pt idx="23">
                  <c:v>0.08512161168158014</c:v>
                </c:pt>
                <c:pt idx="24">
                  <c:v>0.08608626157451207</c:v>
                </c:pt>
                <c:pt idx="25">
                  <c:v>0.08706857164803486</c:v>
                </c:pt>
                <c:pt idx="26">
                  <c:v>0.08682779923281043</c:v>
                </c:pt>
                <c:pt idx="27">
                  <c:v>0.08661228484586855</c:v>
                </c:pt>
                <c:pt idx="28">
                  <c:v>0.08653628494684651</c:v>
                </c:pt>
                <c:pt idx="29">
                  <c:v>0.08713290439402953</c:v>
                </c:pt>
                <c:pt idx="30">
                  <c:v>0.09090496734935946</c:v>
                </c:pt>
                <c:pt idx="31">
                  <c:v>0.09250452417889882</c:v>
                </c:pt>
                <c:pt idx="32">
                  <c:v>0.09135064723993769</c:v>
                </c:pt>
                <c:pt idx="33">
                  <c:v>0.0903595499886436</c:v>
                </c:pt>
                <c:pt idx="34">
                  <c:v>0.08827727060558074</c:v>
                </c:pt>
                <c:pt idx="35">
                  <c:v>0.09024974305026284</c:v>
                </c:pt>
                <c:pt idx="36">
                  <c:v>0.08985401933370359</c:v>
                </c:pt>
                <c:pt idx="37">
                  <c:v>0.08508448096051527</c:v>
                </c:pt>
                <c:pt idx="38">
                  <c:v>0.08564852617408206</c:v>
                </c:pt>
                <c:pt idx="39">
                  <c:v>0.0849816991087227</c:v>
                </c:pt>
                <c:pt idx="40">
                  <c:v>0.08555398676007306</c:v>
                </c:pt>
                <c:pt idx="41">
                  <c:v>0.08433138885152897</c:v>
                </c:pt>
                <c:pt idx="42">
                  <c:v>0.08507482575542315</c:v>
                </c:pt>
                <c:pt idx="43">
                  <c:v>0.08375855906482818</c:v>
                </c:pt>
                <c:pt idx="44">
                  <c:v>0.0849761156493405</c:v>
                </c:pt>
                <c:pt idx="45">
                  <c:v>0.0843994911409939</c:v>
                </c:pt>
                <c:pt idx="46">
                  <c:v>0.08435562955897591</c:v>
                </c:pt>
                <c:pt idx="47">
                  <c:v>0.08354192982858726</c:v>
                </c:pt>
                <c:pt idx="48">
                  <c:v>0.08468646223561789</c:v>
                </c:pt>
                <c:pt idx="49">
                  <c:v>0.0819769161895775</c:v>
                </c:pt>
                <c:pt idx="50">
                  <c:v>0.08596594107209932</c:v>
                </c:pt>
                <c:pt idx="51">
                  <c:v>0.08654922934514653</c:v>
                </c:pt>
                <c:pt idx="52">
                  <c:v>0.09961367277664793</c:v>
                </c:pt>
                <c:pt idx="53">
                  <c:v>0.17126319447075444</c:v>
                </c:pt>
                <c:pt idx="54">
                  <c:v>0.0728177841849623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706763035622097"/>
          <c:min val="0.04414784394250513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33.4396</c:v>
                </c:pt>
                <c:pt idx="1">
                  <c:v>798.5058</c:v>
                </c:pt>
                <c:pt idx="2">
                  <c:v>835.2413</c:v>
                </c:pt>
                <c:pt idx="3">
                  <c:v>851.09</c:v>
                </c:pt>
                <c:pt idx="4">
                  <c:v>849.1628</c:v>
                </c:pt>
                <c:pt idx="5">
                  <c:v>844.2996</c:v>
                </c:pt>
                <c:pt idx="6">
                  <c:v>808.7789</c:v>
                </c:pt>
                <c:pt idx="7">
                  <c:v>821.438</c:v>
                </c:pt>
                <c:pt idx="8">
                  <c:v>810.1063</c:v>
                </c:pt>
                <c:pt idx="9">
                  <c:v>809.4985</c:v>
                </c:pt>
                <c:pt idx="10">
                  <c:v>822.7852</c:v>
                </c:pt>
                <c:pt idx="11">
                  <c:v>859.5915</c:v>
                </c:pt>
                <c:pt idx="12">
                  <c:v>856.1812</c:v>
                </c:pt>
                <c:pt idx="13">
                  <c:v>848.8762</c:v>
                </c:pt>
                <c:pt idx="14">
                  <c:v>857.757</c:v>
                </c:pt>
                <c:pt idx="15">
                  <c:v>866.2504</c:v>
                </c:pt>
                <c:pt idx="16">
                  <c:v>868.2562</c:v>
                </c:pt>
                <c:pt idx="17">
                  <c:v>889.5358</c:v>
                </c:pt>
                <c:pt idx="18">
                  <c:v>925.9619</c:v>
                </c:pt>
                <c:pt idx="19">
                  <c:v>938.7414</c:v>
                </c:pt>
                <c:pt idx="20">
                  <c:v>930.0643</c:v>
                </c:pt>
                <c:pt idx="21">
                  <c:v>940.8288</c:v>
                </c:pt>
                <c:pt idx="22">
                  <c:v>931.8253</c:v>
                </c:pt>
                <c:pt idx="23">
                  <c:v>921.8536</c:v>
                </c:pt>
                <c:pt idx="24">
                  <c:v>897.6104</c:v>
                </c:pt>
                <c:pt idx="25">
                  <c:v>880.6338</c:v>
                </c:pt>
                <c:pt idx="26">
                  <c:v>871.2089</c:v>
                </c:pt>
                <c:pt idx="27">
                  <c:v>916.7511</c:v>
                </c:pt>
                <c:pt idx="28">
                  <c:v>915.7769</c:v>
                </c:pt>
                <c:pt idx="29">
                  <c:v>689.5123</c:v>
                </c:pt>
                <c:pt idx="30">
                  <c:v>771.2129</c:v>
                </c:pt>
                <c:pt idx="31">
                  <c:v>822.7831</c:v>
                </c:pt>
                <c:pt idx="32">
                  <c:v>802.2748</c:v>
                </c:pt>
                <c:pt idx="33">
                  <c:v>705.3206</c:v>
                </c:pt>
                <c:pt idx="34">
                  <c:v>874.7029</c:v>
                </c:pt>
                <c:pt idx="35">
                  <c:v>899.0351</c:v>
                </c:pt>
                <c:pt idx="36">
                  <c:v>958.3396</c:v>
                </c:pt>
                <c:pt idx="37">
                  <c:v>974.7665</c:v>
                </c:pt>
                <c:pt idx="38">
                  <c:v>1029.6746</c:v>
                </c:pt>
                <c:pt idx="39">
                  <c:v>1059.254</c:v>
                </c:pt>
                <c:pt idx="40">
                  <c:v>1055.2781</c:v>
                </c:pt>
                <c:pt idx="41">
                  <c:v>1068.8085</c:v>
                </c:pt>
                <c:pt idx="42">
                  <c:v>1084.6809</c:v>
                </c:pt>
                <c:pt idx="43">
                  <c:v>1069.0625</c:v>
                </c:pt>
                <c:pt idx="44">
                  <c:v>1005.8967</c:v>
                </c:pt>
                <c:pt idx="45">
                  <c:v>979.6696</c:v>
                </c:pt>
                <c:pt idx="46">
                  <c:v>974.8968</c:v>
                </c:pt>
                <c:pt idx="47">
                  <c:v>965.934</c:v>
                </c:pt>
                <c:pt idx="48">
                  <c:v>987.7974</c:v>
                </c:pt>
                <c:pt idx="49">
                  <c:v>978.4486</c:v>
                </c:pt>
                <c:pt idx="50">
                  <c:v>960.3374</c:v>
                </c:pt>
                <c:pt idx="51">
                  <c:v>956.0617</c:v>
                </c:pt>
                <c:pt idx="52">
                  <c:v>948.1605</c:v>
                </c:pt>
                <c:pt idx="53">
                  <c:v>995.688</c:v>
                </c:pt>
                <c:pt idx="54">
                  <c:v>1010.6459</c:v>
                </c:pt>
                <c:pt idx="55">
                  <c:v>1015.1215</c:v>
                </c:pt>
                <c:pt idx="56">
                  <c:v>1047.0239</c:v>
                </c:pt>
                <c:pt idx="57">
                  <c:v>1054.5409</c:v>
                </c:pt>
                <c:pt idx="58">
                  <c:v>1009.4734</c:v>
                </c:pt>
                <c:pt idx="59">
                  <c:v>1002.2316</c:v>
                </c:pt>
                <c:pt idx="60">
                  <c:v>1022.6924</c:v>
                </c:pt>
                <c:pt idx="61">
                  <c:v>983.4765</c:v>
                </c:pt>
                <c:pt idx="62">
                  <c:v>953.8995</c:v>
                </c:pt>
                <c:pt idx="63">
                  <c:v>1029.9554</c:v>
                </c:pt>
                <c:pt idx="64">
                  <c:v>1028.3208</c:v>
                </c:pt>
                <c:pt idx="65">
                  <c:v>1031.2184</c:v>
                </c:pt>
                <c:pt idx="66">
                  <c:v>1002.3272</c:v>
                </c:pt>
                <c:pt idx="67">
                  <c:v>1014.8732</c:v>
                </c:pt>
                <c:pt idx="68">
                  <c:v>985.967</c:v>
                </c:pt>
                <c:pt idx="69">
                  <c:v>998.6785</c:v>
                </c:pt>
                <c:pt idx="70">
                  <c:v>1007.6517</c:v>
                </c:pt>
                <c:pt idx="71">
                  <c:v>1067.6366</c:v>
                </c:pt>
                <c:pt idx="72">
                  <c:v>1122.4099</c:v>
                </c:pt>
                <c:pt idx="73">
                  <c:v>1185.0602</c:v>
                </c:pt>
                <c:pt idx="74">
                  <c:v>1149.3868</c:v>
                </c:pt>
                <c:pt idx="75">
                  <c:v>1130.4681</c:v>
                </c:pt>
                <c:pt idx="76">
                  <c:v>1151.8644</c:v>
                </c:pt>
                <c:pt idx="77">
                  <c:v>1127.5185</c:v>
                </c:pt>
                <c:pt idx="78">
                  <c:v>1130.0372</c:v>
                </c:pt>
                <c:pt idx="79">
                  <c:v>1147.521</c:v>
                </c:pt>
                <c:pt idx="80">
                  <c:v>1130.6044</c:v>
                </c:pt>
                <c:pt idx="81">
                  <c:v>1118.638</c:v>
                </c:pt>
                <c:pt idx="82">
                  <c:v>1147.584</c:v>
                </c:pt>
                <c:pt idx="83">
                  <c:v>1150.9488</c:v>
                </c:pt>
                <c:pt idx="84">
                  <c:v>1085.1984</c:v>
                </c:pt>
                <c:pt idx="85">
                  <c:v>1088.9534</c:v>
                </c:pt>
                <c:pt idx="86">
                  <c:v>1088.8988</c:v>
                </c:pt>
                <c:pt idx="87">
                  <c:v>1112.214</c:v>
                </c:pt>
                <c:pt idx="88">
                  <c:v>1122.8762</c:v>
                </c:pt>
                <c:pt idx="89">
                  <c:v>1092.1818</c:v>
                </c:pt>
                <c:pt idx="90">
                  <c:v>1170.7473</c:v>
                </c:pt>
                <c:pt idx="91">
                  <c:v>1168.6774</c:v>
                </c:pt>
                <c:pt idx="92">
                  <c:v>1108.6524</c:v>
                </c:pt>
                <c:pt idx="93">
                  <c:v>1136.0531</c:v>
                </c:pt>
                <c:pt idx="94">
                  <c:v>1155.4897</c:v>
                </c:pt>
                <c:pt idx="95">
                  <c:v>1132.2057</c:v>
                </c:pt>
                <c:pt idx="96">
                  <c:v>1081.4807</c:v>
                </c:pt>
                <c:pt idx="97">
                  <c:v>1087.2487</c:v>
                </c:pt>
                <c:pt idx="98">
                  <c:v>1074.2844</c:v>
                </c:pt>
                <c:pt idx="99">
                  <c:v>1005.4582</c:v>
                </c:pt>
                <c:pt idx="100">
                  <c:v>1015.9745</c:v>
                </c:pt>
                <c:pt idx="101">
                  <c:v>1019.7102</c:v>
                </c:pt>
                <c:pt idx="102">
                  <c:v>1013.4649</c:v>
                </c:pt>
                <c:pt idx="103">
                  <c:v>976.0468</c:v>
                </c:pt>
                <c:pt idx="104">
                  <c:v>1030.9429</c:v>
                </c:pt>
              </c:numCache>
            </c:numRef>
          </c:xVal>
          <c:yVal>
            <c:numRef>
              <c:f>Sheet1!$B$2:$B$106</c:f>
              <c:numCache>
                <c:formatCode>General</c:formatCode>
                <c:ptCount val="105"/>
                <c:pt idx="0">
                  <c:v>0.17505405936701396</c:v>
                </c:pt>
                <c:pt idx="1">
                  <c:v>0.16</c:v>
                </c:pt>
                <c:pt idx="2">
                  <c:v>0.1365249840720852</c:v>
                </c:pt>
                <c:pt idx="3">
                  <c:v>0.13964450554846314</c:v>
                </c:pt>
                <c:pt idx="4">
                  <c:v>0.13302978095003692</c:v>
                </c:pt>
                <c:pt idx="5">
                  <c:v>0.1278302497088886</c:v>
                </c:pt>
                <c:pt idx="6">
                  <c:v>0.15457627118644068</c:v>
                </c:pt>
                <c:pt idx="7">
                  <c:v>0.15970961887477314</c:v>
                </c:pt>
                <c:pt idx="8">
                  <c:v>0.16227990560900346</c:v>
                </c:pt>
                <c:pt idx="9">
                  <c:v>0.174930078820239</c:v>
                </c:pt>
                <c:pt idx="10">
                  <c:v>0.1848107508322032</c:v>
                </c:pt>
                <c:pt idx="11">
                  <c:v>0.17355982274741508</c:v>
                </c:pt>
                <c:pt idx="12">
                  <c:v>0.17387892376681616</c:v>
                </c:pt>
                <c:pt idx="13">
                  <c:v>0.17505252681632202</c:v>
                </c:pt>
                <c:pt idx="14">
                  <c:v>0.16917778734395178</c:v>
                </c:pt>
                <c:pt idx="15">
                  <c:v>0.17529124898401519</c:v>
                </c:pt>
                <c:pt idx="16">
                  <c:v>0.17305568701687962</c:v>
                </c:pt>
                <c:pt idx="17">
                  <c:v>0.15539452495974235</c:v>
                </c:pt>
                <c:pt idx="18">
                  <c:v>0.1510519690703111</c:v>
                </c:pt>
                <c:pt idx="19">
                  <c:v>0.15024683408456752</c:v>
                </c:pt>
                <c:pt idx="20">
                  <c:v>0.17285664699757028</c:v>
                </c:pt>
                <c:pt idx="21">
                  <c:v>0.16211414612480568</c:v>
                </c:pt>
                <c:pt idx="22">
                  <c:v>0.1667021050393366</c:v>
                </c:pt>
                <c:pt idx="23">
                  <c:v>0.17505668934240362</c:v>
                </c:pt>
                <c:pt idx="24">
                  <c:v>0.16809465524275805</c:v>
                </c:pt>
                <c:pt idx="25">
                  <c:v>0.16702508960573476</c:v>
                </c:pt>
                <c:pt idx="26">
                  <c:v>0.17588978185993112</c:v>
                </c:pt>
                <c:pt idx="27">
                  <c:v>0.1492896174863388</c:v>
                </c:pt>
                <c:pt idx="28">
                  <c:v>0.1548304542546385</c:v>
                </c:pt>
                <c:pt idx="29">
                  <c:v>0.19540229885057472</c:v>
                </c:pt>
                <c:pt idx="30">
                  <c:v>0.17586206896551723</c:v>
                </c:pt>
                <c:pt idx="31">
                  <c:v>0.16382095062298108</c:v>
                </c:pt>
                <c:pt idx="32">
                  <c:v>0.1659252669039146</c:v>
                </c:pt>
                <c:pt idx="33">
                  <c:v>0.19755635863018414</c:v>
                </c:pt>
                <c:pt idx="34">
                  <c:v>0.17096619131549431</c:v>
                </c:pt>
                <c:pt idx="35">
                  <c:v>0.1640953716690042</c:v>
                </c:pt>
                <c:pt idx="36">
                  <c:v>0.11976360159916566</c:v>
                </c:pt>
                <c:pt idx="37">
                  <c:v>0.10800924143242202</c:v>
                </c:pt>
                <c:pt idx="38">
                  <c:v>0.09754209405844784</c:v>
                </c:pt>
                <c:pt idx="39">
                  <c:v>0.0862893583100837</c:v>
                </c:pt>
                <c:pt idx="40">
                  <c:v>0.08755240245082231</c:v>
                </c:pt>
                <c:pt idx="41">
                  <c:v>0.07418449666783584</c:v>
                </c:pt>
                <c:pt idx="42">
                  <c:v>0.07151607963246555</c:v>
                </c:pt>
                <c:pt idx="43">
                  <c:v>0.07612650433809123</c:v>
                </c:pt>
                <c:pt idx="44">
                  <c:v>0.08576489232777104</c:v>
                </c:pt>
                <c:pt idx="45">
                  <c:v>0.10064764572028706</c:v>
                </c:pt>
                <c:pt idx="46">
                  <c:v>0.1020305841062923</c:v>
                </c:pt>
                <c:pt idx="47">
                  <c:v>0.09743502920511302</c:v>
                </c:pt>
                <c:pt idx="48">
                  <c:v>0.1071850699844479</c:v>
                </c:pt>
                <c:pt idx="49">
                  <c:v>0.12366612407306928</c:v>
                </c:pt>
                <c:pt idx="50">
                  <c:v>0.09688581314878893</c:v>
                </c:pt>
                <c:pt idx="51">
                  <c:v>0.08474945533769063</c:v>
                </c:pt>
                <c:pt idx="52">
                  <c:v>0.100208957935859</c:v>
                </c:pt>
                <c:pt idx="53">
                  <c:v>0.08785643509853573</c:v>
                </c:pt>
                <c:pt idx="54">
                  <c:v>0.08344167356104479</c:v>
                </c:pt>
                <c:pt idx="55">
                  <c:v>0.07699688174622212</c:v>
                </c:pt>
                <c:pt idx="56">
                  <c:v>0.07844116912315763</c:v>
                </c:pt>
                <c:pt idx="57">
                  <c:v>0.07254985150615188</c:v>
                </c:pt>
                <c:pt idx="58">
                  <c:v>0.09006567288647972</c:v>
                </c:pt>
                <c:pt idx="59">
                  <c:v>0.09381832637646591</c:v>
                </c:pt>
                <c:pt idx="60">
                  <c:v>0.09901066625444427</c:v>
                </c:pt>
                <c:pt idx="61">
                  <c:v>0.10704697986577182</c:v>
                </c:pt>
                <c:pt idx="62">
                  <c:v>0.1196877710320902</c:v>
                </c:pt>
                <c:pt idx="63">
                  <c:v>0.13402806438299628</c:v>
                </c:pt>
                <c:pt idx="64">
                  <c:v>0.1382667964946446</c:v>
                </c:pt>
                <c:pt idx="65">
                  <c:v>0.1191319751992914</c:v>
                </c:pt>
                <c:pt idx="66">
                  <c:v>0.12127325711723828</c:v>
                </c:pt>
                <c:pt idx="67">
                  <c:v>0.10509554140127389</c:v>
                </c:pt>
                <c:pt idx="68">
                  <c:v>0.09351938816583925</c:v>
                </c:pt>
                <c:pt idx="69">
                  <c:v>0.08169878901586218</c:v>
                </c:pt>
                <c:pt idx="70">
                  <c:v>0.07131410256410256</c:v>
                </c:pt>
                <c:pt idx="71">
                  <c:v>0.07540748701415009</c:v>
                </c:pt>
                <c:pt idx="72">
                  <c:v>0.07923822479170209</c:v>
                </c:pt>
                <c:pt idx="73">
                  <c:v>0.0758406432748538</c:v>
                </c:pt>
                <c:pt idx="74">
                  <c:v>0.07212110903214833</c:v>
                </c:pt>
                <c:pt idx="75">
                  <c:v>0.07739810621655002</c:v>
                </c:pt>
                <c:pt idx="76">
                  <c:v>0.0776656428258008</c:v>
                </c:pt>
                <c:pt idx="77">
                  <c:v>0.07930411206507004</c:v>
                </c:pt>
                <c:pt idx="78">
                  <c:v>0.07184466019417475</c:v>
                </c:pt>
                <c:pt idx="79">
                  <c:v>0.062255115367871136</c:v>
                </c:pt>
                <c:pt idx="80">
                  <c:v>0.05912930474333983</c:v>
                </c:pt>
                <c:pt idx="81">
                  <c:v>0.06881720430107527</c:v>
                </c:pt>
                <c:pt idx="82">
                  <c:v>0.05912961210974456</c:v>
                </c:pt>
                <c:pt idx="83">
                  <c:v>0.055184804928131416</c:v>
                </c:pt>
                <c:pt idx="84">
                  <c:v>0.06501710976572782</c:v>
                </c:pt>
                <c:pt idx="85">
                  <c:v>0.07894131185270425</c:v>
                </c:pt>
                <c:pt idx="86">
                  <c:v>0.08464498076250437</c:v>
                </c:pt>
                <c:pt idx="87">
                  <c:v>0.09369057908383752</c:v>
                </c:pt>
                <c:pt idx="88">
                  <c:v>0.07109839313229144</c:v>
                </c:pt>
                <c:pt idx="89">
                  <c:v>0.06674445740956826</c:v>
                </c:pt>
                <c:pt idx="90">
                  <c:v>0.06766193113411992</c:v>
                </c:pt>
                <c:pt idx="91">
                  <c:v>0.06443418013856812</c:v>
                </c:pt>
                <c:pt idx="92">
                  <c:v>0.06963321541612362</c:v>
                </c:pt>
                <c:pt idx="93">
                  <c:v>0.06862031306880233</c:v>
                </c:pt>
                <c:pt idx="94">
                  <c:v>0.07095018836333193</c:v>
                </c:pt>
                <c:pt idx="95">
                  <c:v>0.07480195003046923</c:v>
                </c:pt>
                <c:pt idx="96">
                  <c:v>0.07445125568518884</c:v>
                </c:pt>
                <c:pt idx="97">
                  <c:v>0.08614636780988388</c:v>
                </c:pt>
                <c:pt idx="98">
                  <c:v>0.10160175879396985</c:v>
                </c:pt>
                <c:pt idx="99">
                  <c:v>0.10577050924079245</c:v>
                </c:pt>
                <c:pt idx="100">
                  <c:v>0.12284156316267798</c:v>
                </c:pt>
                <c:pt idx="101">
                  <c:v>0.10677453769559032</c:v>
                </c:pt>
                <c:pt idx="102">
                  <c:v>0.08268858800773694</c:v>
                </c:pt>
                <c:pt idx="103">
                  <c:v>0.08913282107574094</c:v>
                </c:pt>
                <c:pt idx="104">
                  <c:v>0.0929244656843223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53.27</c:v>
                </c:pt>
                <c:pt idx="1">
                  <c:v>1036.4825</c:v>
                </c:pt>
                <c:pt idx="2">
                  <c:v>1041.9238</c:v>
                </c:pt>
                <c:pt idx="3">
                  <c:v>987.2106</c:v>
                </c:pt>
                <c:pt idx="4">
                  <c:v>1011.596</c:v>
                </c:pt>
                <c:pt idx="5">
                  <c:v>1046.0269</c:v>
                </c:pt>
                <c:pt idx="6">
                  <c:v>953.9666</c:v>
                </c:pt>
                <c:pt idx="7">
                  <c:v>1012.7824</c:v>
                </c:pt>
                <c:pt idx="8">
                  <c:v>1077.5071</c:v>
                </c:pt>
                <c:pt idx="9">
                  <c:v>1042.4808</c:v>
                </c:pt>
                <c:pt idx="10">
                  <c:v>1056.6502</c:v>
                </c:pt>
                <c:pt idx="11">
                  <c:v>938.381</c:v>
                </c:pt>
                <c:pt idx="12">
                  <c:v>976.9442</c:v>
                </c:pt>
                <c:pt idx="13">
                  <c:v>1044.1693</c:v>
                </c:pt>
                <c:pt idx="14">
                  <c:v>1035.9857</c:v>
                </c:pt>
                <c:pt idx="15">
                  <c:v>1064.1559</c:v>
                </c:pt>
                <c:pt idx="16">
                  <c:v>1108.1992</c:v>
                </c:pt>
                <c:pt idx="17">
                  <c:v>1072.5531</c:v>
                </c:pt>
                <c:pt idx="18">
                  <c:v>907.5594</c:v>
                </c:pt>
                <c:pt idx="19">
                  <c:v>1131.6548</c:v>
                </c:pt>
                <c:pt idx="20">
                  <c:v>1167.8571</c:v>
                </c:pt>
                <c:pt idx="21">
                  <c:v>1097.2706</c:v>
                </c:pt>
                <c:pt idx="22">
                  <c:v>1108.384</c:v>
                </c:pt>
                <c:pt idx="23">
                  <c:v>1102.5938</c:v>
                </c:pt>
                <c:pt idx="24">
                  <c:v>1083.3589</c:v>
                </c:pt>
                <c:pt idx="25">
                  <c:v>1026.7052</c:v>
                </c:pt>
                <c:pt idx="26">
                  <c:v>1066.2344</c:v>
                </c:pt>
                <c:pt idx="27">
                  <c:v>1070.1405</c:v>
                </c:pt>
                <c:pt idx="28">
                  <c:v>1062.9727</c:v>
                </c:pt>
                <c:pt idx="29">
                  <c:v>1047.7031</c:v>
                </c:pt>
                <c:pt idx="30">
                  <c:v>951.0233</c:v>
                </c:pt>
                <c:pt idx="31">
                  <c:v>916.7139</c:v>
                </c:pt>
                <c:pt idx="32">
                  <c:v>962.8889</c:v>
                </c:pt>
                <c:pt idx="33">
                  <c:v>1008.1238</c:v>
                </c:pt>
                <c:pt idx="34">
                  <c:v>1041.0531</c:v>
                </c:pt>
                <c:pt idx="35">
                  <c:v>1037.7308</c:v>
                </c:pt>
                <c:pt idx="36">
                  <c:v>1052.9333</c:v>
                </c:pt>
                <c:pt idx="37">
                  <c:v>1195.7407</c:v>
                </c:pt>
                <c:pt idx="38">
                  <c:v>1178.1528</c:v>
                </c:pt>
                <c:pt idx="39">
                  <c:v>1123.3284</c:v>
                </c:pt>
                <c:pt idx="40">
                  <c:v>1157.6846</c:v>
                </c:pt>
                <c:pt idx="41">
                  <c:v>1213.3821</c:v>
                </c:pt>
                <c:pt idx="42">
                  <c:v>1167.3895</c:v>
                </c:pt>
                <c:pt idx="43">
                  <c:v>1177.8089</c:v>
                </c:pt>
                <c:pt idx="44">
                  <c:v>1118.4286</c:v>
                </c:pt>
                <c:pt idx="45">
                  <c:v>1069.3887</c:v>
                </c:pt>
                <c:pt idx="46">
                  <c:v>1092.3267</c:v>
                </c:pt>
                <c:pt idx="47">
                  <c:v>1075.9024</c:v>
                </c:pt>
                <c:pt idx="48">
                  <c:v>1061.8046</c:v>
                </c:pt>
                <c:pt idx="49">
                  <c:v>1105.3738</c:v>
                </c:pt>
                <c:pt idx="50">
                  <c:v>967.8466</c:v>
                </c:pt>
                <c:pt idx="51">
                  <c:v>922.6838</c:v>
                </c:pt>
              </c:numCache>
            </c:numRef>
          </c:xVal>
          <c:yVal>
            <c:numRef>
              <c:f>Sheet1!$B$109:$B$160</c:f>
              <c:numCache>
                <c:formatCode>General</c:formatCode>
                <c:ptCount val="52"/>
                <c:pt idx="0">
                  <c:v>0.0910980256321441</c:v>
                </c:pt>
                <c:pt idx="1">
                  <c:v>0.0941162109375</c:v>
                </c:pt>
                <c:pt idx="2">
                  <c:v>0.09691582780038552</c:v>
                </c:pt>
                <c:pt idx="3">
                  <c:v>0.11410601976639713</c:v>
                </c:pt>
                <c:pt idx="4">
                  <c:v>0.09916395726892707</c:v>
                </c:pt>
                <c:pt idx="5">
                  <c:v>0.0983626294245124</c:v>
                </c:pt>
                <c:pt idx="6">
                  <c:v>0.10274542429284526</c:v>
                </c:pt>
                <c:pt idx="7">
                  <c:v>0.09565217391304348</c:v>
                </c:pt>
                <c:pt idx="8">
                  <c:v>0.10218623481781376</c:v>
                </c:pt>
                <c:pt idx="9">
                  <c:v>0.10664718772826881</c:v>
                </c:pt>
                <c:pt idx="10">
                  <c:v>0.11855745364286757</c:v>
                </c:pt>
                <c:pt idx="11">
                  <c:v>0.12370378129255263</c:v>
                </c:pt>
                <c:pt idx="12">
                  <c:v>0.12317301686445971</c:v>
                </c:pt>
                <c:pt idx="13">
                  <c:v>0.11586570111915734</c:v>
                </c:pt>
                <c:pt idx="14">
                  <c:v>0.11216314639475601</c:v>
                </c:pt>
                <c:pt idx="15">
                  <c:v>0.10706766917293233</c:v>
                </c:pt>
                <c:pt idx="16">
                  <c:v>0.09297812279463656</c:v>
                </c:pt>
                <c:pt idx="17">
                  <c:v>0.07373020207536865</c:v>
                </c:pt>
                <c:pt idx="18">
                  <c:v>0.09215232484746476</c:v>
                </c:pt>
                <c:pt idx="19">
                  <c:v>0.08708272859216255</c:v>
                </c:pt>
                <c:pt idx="20">
                  <c:v>0.06881143878462913</c:v>
                </c:pt>
                <c:pt idx="21">
                  <c:v>0.073044972787167</c:v>
                </c:pt>
                <c:pt idx="22">
                  <c:v>0.06991051454138703</c:v>
                </c:pt>
                <c:pt idx="23">
                  <c:v>0.0757620597810003</c:v>
                </c:pt>
                <c:pt idx="24">
                  <c:v>0.06555643669045731</c:v>
                </c:pt>
                <c:pt idx="25">
                  <c:v>0.07646219686162625</c:v>
                </c:pt>
                <c:pt idx="26">
                  <c:v>0.06719173024858478</c:v>
                </c:pt>
                <c:pt idx="27">
                  <c:v>0.06803023566029347</c:v>
                </c:pt>
                <c:pt idx="28">
                  <c:v>0.07577639751552795</c:v>
                </c:pt>
                <c:pt idx="29">
                  <c:v>0.07332332332332332</c:v>
                </c:pt>
                <c:pt idx="30">
                  <c:v>0.07702182284980745</c:v>
                </c:pt>
                <c:pt idx="31">
                  <c:v>0.08702490170380078</c:v>
                </c:pt>
                <c:pt idx="32">
                  <c:v>0.08902691511387163</c:v>
                </c:pt>
                <c:pt idx="33">
                  <c:v>0.09676211865992888</c:v>
                </c:pt>
                <c:pt idx="34">
                  <c:v>0.11026183119206374</c:v>
                </c:pt>
                <c:pt idx="35">
                  <c:v>0.09868158210147823</c:v>
                </c:pt>
                <c:pt idx="36">
                  <c:v>0.07566765578635015</c:v>
                </c:pt>
                <c:pt idx="37">
                  <c:v>0.06425171866737175</c:v>
                </c:pt>
                <c:pt idx="38">
                  <c:v>0.06354810238305383</c:v>
                </c:pt>
                <c:pt idx="39">
                  <c:v>0.07409821816601478</c:v>
                </c:pt>
                <c:pt idx="40">
                  <c:v>0.06267087276550999</c:v>
                </c:pt>
                <c:pt idx="41">
                  <c:v>0.06010383386581469</c:v>
                </c:pt>
                <c:pt idx="42">
                  <c:v>0.06403055493147607</c:v>
                </c:pt>
                <c:pt idx="43">
                  <c:v>0.06285090455396132</c:v>
                </c:pt>
                <c:pt idx="44">
                  <c:v>0.05841700352066762</c:v>
                </c:pt>
                <c:pt idx="45">
                  <c:v>0.07460192647926087</c:v>
                </c:pt>
                <c:pt idx="46">
                  <c:v>0.06419666783176045</c:v>
                </c:pt>
                <c:pt idx="47">
                  <c:v>0.06692784851452824</c:v>
                </c:pt>
                <c:pt idx="48">
                  <c:v>0.0669817322548396</c:v>
                </c:pt>
                <c:pt idx="49">
                  <c:v>0.0825354609929078</c:v>
                </c:pt>
                <c:pt idx="50">
                  <c:v>0.11074651353568499</c:v>
                </c:pt>
                <c:pt idx="51">
                  <c:v>0.0984696569920844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38.2697900468157</c:v>
                </c:pt>
              </c:numCache>
            </c:numRef>
          </c:xVal>
          <c:yVal>
            <c:numRef>
              <c:f>Sheet1!$B$163:$B$164</c:f>
              <c:numCache>
                <c:formatCode>General</c:formatCode>
                <c:ptCount val="2"/>
                <c:pt idx="0">
                  <c:v>0.17126319447075444</c:v>
                </c:pt>
                <c:pt idx="1">
                  <c:v>0.1712631944707544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38.2697900468157</c:v>
                </c:pt>
                <c:pt idx="1">
                  <c:v>538.2697900468157</c:v>
                </c:pt>
              </c:numCache>
            </c:numRef>
          </c:xVal>
          <c:yVal>
            <c:numRef>
              <c:f>Sheet1!$B$167:$B$168</c:f>
              <c:numCache>
                <c:formatCode>General</c:formatCode>
                <c:ptCount val="2"/>
                <c:pt idx="0">
                  <c:v>0.1712631944707544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75.0738347707711</c:v>
                </c:pt>
              </c:numCache>
            </c:numRef>
          </c:xVal>
          <c:yVal>
            <c:numRef>
              <c:f>Sheet1!$B$171:$B$172</c:f>
              <c:numCache>
                <c:formatCode>General</c:formatCode>
                <c:ptCount val="2"/>
                <c:pt idx="0">
                  <c:v>0.09961367277664793</c:v>
                </c:pt>
                <c:pt idx="1">
                  <c:v>0.0996136727766479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75.0738347707711</c:v>
                </c:pt>
                <c:pt idx="1">
                  <c:v>975.0738347707711</c:v>
                </c:pt>
              </c:numCache>
            </c:numRef>
          </c:xVal>
          <c:yVal>
            <c:numRef>
              <c:f>Sheet1!$B$175:$B$176</c:f>
              <c:numCache>
                <c:formatCode>General</c:formatCode>
                <c:ptCount val="2"/>
                <c:pt idx="0">
                  <c:v>0.0996136727766479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38.432252832388</c:v>
                </c:pt>
              </c:numCache>
            </c:numRef>
          </c:xVal>
          <c:yVal>
            <c:numRef>
              <c:f>Sheet1!$B$179:$B$180</c:f>
              <c:numCache>
                <c:formatCode>General</c:formatCode>
                <c:ptCount val="2"/>
                <c:pt idx="0">
                  <c:v>0.07281778418496238</c:v>
                </c:pt>
                <c:pt idx="1">
                  <c:v>0.0728177841849623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38.432252832388</c:v>
                </c:pt>
                <c:pt idx="1">
                  <c:v>1138.432252832388</c:v>
                </c:pt>
              </c:numCache>
            </c:numRef>
          </c:xVal>
          <c:yVal>
            <c:numRef>
              <c:f>Sheet1!$B$183:$B$184</c:f>
              <c:numCache>
                <c:formatCode>General</c:formatCode>
                <c:ptCount val="2"/>
                <c:pt idx="0">
                  <c:v>0.0728177841849623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53.27</c:v>
                </c:pt>
                <c:pt idx="1">
                  <c:v>1036.4825</c:v>
                </c:pt>
                <c:pt idx="2">
                  <c:v>1041.9238</c:v>
                </c:pt>
                <c:pt idx="3">
                  <c:v>987.2106</c:v>
                </c:pt>
                <c:pt idx="4">
                  <c:v>1011.596</c:v>
                </c:pt>
                <c:pt idx="5">
                  <c:v>1046.0269</c:v>
                </c:pt>
                <c:pt idx="6">
                  <c:v>953.9666</c:v>
                </c:pt>
                <c:pt idx="7">
                  <c:v>1012.7824</c:v>
                </c:pt>
                <c:pt idx="8">
                  <c:v>1077.5071</c:v>
                </c:pt>
                <c:pt idx="9">
                  <c:v>1042.4808</c:v>
                </c:pt>
                <c:pt idx="10">
                  <c:v>1056.6502</c:v>
                </c:pt>
                <c:pt idx="11">
                  <c:v>938.381</c:v>
                </c:pt>
                <c:pt idx="12">
                  <c:v>976.9442</c:v>
                </c:pt>
                <c:pt idx="13">
                  <c:v>1044.1693</c:v>
                </c:pt>
                <c:pt idx="14">
                  <c:v>1035.9857</c:v>
                </c:pt>
                <c:pt idx="15">
                  <c:v>1064.1559</c:v>
                </c:pt>
                <c:pt idx="16">
                  <c:v>1108.1992</c:v>
                </c:pt>
                <c:pt idx="17">
                  <c:v>1072.5531</c:v>
                </c:pt>
                <c:pt idx="18">
                  <c:v>907.5594</c:v>
                </c:pt>
                <c:pt idx="19">
                  <c:v>1131.6548</c:v>
                </c:pt>
                <c:pt idx="20">
                  <c:v>1167.8571</c:v>
                </c:pt>
                <c:pt idx="21">
                  <c:v>1097.2706</c:v>
                </c:pt>
                <c:pt idx="22">
                  <c:v>1108.384</c:v>
                </c:pt>
                <c:pt idx="23">
                  <c:v>1102.5938</c:v>
                </c:pt>
                <c:pt idx="24">
                  <c:v>1083.3589</c:v>
                </c:pt>
                <c:pt idx="25">
                  <c:v>1026.7052</c:v>
                </c:pt>
                <c:pt idx="26">
                  <c:v>1066.2344</c:v>
                </c:pt>
                <c:pt idx="27">
                  <c:v>1070.1405</c:v>
                </c:pt>
                <c:pt idx="28">
                  <c:v>1062.9727</c:v>
                </c:pt>
                <c:pt idx="29">
                  <c:v>1047.7031</c:v>
                </c:pt>
                <c:pt idx="30">
                  <c:v>951.0233</c:v>
                </c:pt>
                <c:pt idx="31">
                  <c:v>916.7139</c:v>
                </c:pt>
                <c:pt idx="32">
                  <c:v>962.8889</c:v>
                </c:pt>
                <c:pt idx="33">
                  <c:v>1008.1238</c:v>
                </c:pt>
                <c:pt idx="34">
                  <c:v>1041.0531</c:v>
                </c:pt>
                <c:pt idx="35">
                  <c:v>1037.7308</c:v>
                </c:pt>
                <c:pt idx="36">
                  <c:v>1052.9333</c:v>
                </c:pt>
                <c:pt idx="37">
                  <c:v>1195.7407</c:v>
                </c:pt>
                <c:pt idx="38">
                  <c:v>1178.1528</c:v>
                </c:pt>
                <c:pt idx="39">
                  <c:v>1123.3284</c:v>
                </c:pt>
                <c:pt idx="40">
                  <c:v>1157.6846</c:v>
                </c:pt>
                <c:pt idx="41">
                  <c:v>1213.3821</c:v>
                </c:pt>
                <c:pt idx="42">
                  <c:v>1167.3895</c:v>
                </c:pt>
                <c:pt idx="43">
                  <c:v>1177.8089</c:v>
                </c:pt>
                <c:pt idx="44">
                  <c:v>1118.4286</c:v>
                </c:pt>
                <c:pt idx="45">
                  <c:v>1069.3887</c:v>
                </c:pt>
                <c:pt idx="46">
                  <c:v>1092.3267</c:v>
                </c:pt>
                <c:pt idx="47">
                  <c:v>1075.9024</c:v>
                </c:pt>
                <c:pt idx="48">
                  <c:v>1061.8046</c:v>
                </c:pt>
                <c:pt idx="49">
                  <c:v>1105.3738</c:v>
                </c:pt>
                <c:pt idx="50">
                  <c:v>967.8466</c:v>
                </c:pt>
                <c:pt idx="51">
                  <c:v>922.6838</c:v>
                </c:pt>
                <c:pt idx="52">
                  <c:v>975.0738347707711</c:v>
                </c:pt>
                <c:pt idx="53">
                  <c:v>538.2697900468157</c:v>
                </c:pt>
                <c:pt idx="54">
                  <c:v>1138.432252832388</c:v>
                </c:pt>
              </c:numCache>
            </c:numRef>
          </c:xVal>
          <c:yVal>
            <c:numRef>
              <c:f>Sheet1!$B$187:$B$241</c:f>
              <c:numCache>
                <c:formatCode>General</c:formatCode>
                <c:ptCount val="55"/>
                <c:pt idx="0">
                  <c:v>0.08678705657503219</c:v>
                </c:pt>
                <c:pt idx="1">
                  <c:v>0.0895407315008217</c:v>
                </c:pt>
                <c:pt idx="2">
                  <c:v>0.08864818815763789</c:v>
                </c:pt>
                <c:pt idx="3">
                  <c:v>0.09762286377638452</c:v>
                </c:pt>
                <c:pt idx="4">
                  <c:v>0.09362289567301305</c:v>
                </c:pt>
                <c:pt idx="5">
                  <c:v>0.08797515145842674</c:v>
                </c:pt>
                <c:pt idx="6">
                  <c:v>0.10307591927797485</c:v>
                </c:pt>
                <c:pt idx="7">
                  <c:v>0.0934282889756515</c:v>
                </c:pt>
                <c:pt idx="8">
                  <c:v>0.0828114143088309</c:v>
                </c:pt>
                <c:pt idx="9">
                  <c:v>0.08855682274088941</c:v>
                </c:pt>
                <c:pt idx="10">
                  <c:v>0.08623259808007142</c:v>
                </c:pt>
                <c:pt idx="11">
                  <c:v>0.10563244502173572</c:v>
                </c:pt>
                <c:pt idx="12">
                  <c:v>0.09930687439488789</c:v>
                </c:pt>
                <c:pt idx="13">
                  <c:v>0.0882798559434392</c:v>
                </c:pt>
                <c:pt idx="14">
                  <c:v>0.08962222223518554</c:v>
                </c:pt>
                <c:pt idx="15">
                  <c:v>0.0850014285854773</c:v>
                </c:pt>
                <c:pt idx="16">
                  <c:v>0.07777695020221434</c:v>
                </c:pt>
                <c:pt idx="17">
                  <c:v>0.083624025214705</c:v>
                </c:pt>
                <c:pt idx="18">
                  <c:v>0.11068815117766811</c:v>
                </c:pt>
                <c:pt idx="19">
                  <c:v>0.07392949837261795</c:v>
                </c:pt>
                <c:pt idx="20">
                  <c:v>0.06799118916839392</c:v>
                </c:pt>
                <c:pt idx="21">
                  <c:v>0.07956958232694902</c:v>
                </c:pt>
                <c:pt idx="22">
                  <c:v>0.07774663722373118</c:v>
                </c:pt>
                <c:pt idx="23">
                  <c:v>0.07869641107661615</c:v>
                </c:pt>
                <c:pt idx="24">
                  <c:v>0.08185153612978488</c:v>
                </c:pt>
                <c:pt idx="25">
                  <c:v>0.09114451442573143</c:v>
                </c:pt>
                <c:pt idx="26">
                  <c:v>0.08466048959317626</c:v>
                </c:pt>
                <c:pt idx="27">
                  <c:v>0.08401976705392822</c:v>
                </c:pt>
                <c:pt idx="28">
                  <c:v>0.0851955103827785</c:v>
                </c:pt>
                <c:pt idx="29">
                  <c:v>0.08770020224558336</c:v>
                </c:pt>
                <c:pt idx="30">
                  <c:v>0.10355871251157583</c:v>
                </c:pt>
                <c:pt idx="31">
                  <c:v>0.10918652692699707</c:v>
                </c:pt>
                <c:pt idx="32">
                  <c:v>0.10161238308793033</c:v>
                </c:pt>
                <c:pt idx="33">
                  <c:v>0.09419244504470783</c:v>
                </c:pt>
                <c:pt idx="34">
                  <c:v>0.08879101018342403</c:v>
                </c:pt>
                <c:pt idx="35">
                  <c:v>0.08933597126791848</c:v>
                </c:pt>
                <c:pt idx="36">
                  <c:v>0.08684228590325338</c:v>
                </c:pt>
                <c:pt idx="37">
                  <c:v>0.06341740688033759</c:v>
                </c:pt>
                <c:pt idx="38">
                  <c:v>0.06630237243371326</c:v>
                </c:pt>
                <c:pt idx="39">
                  <c:v>0.07529528832955579</c:v>
                </c:pt>
                <c:pt idx="40">
                  <c:v>0.06965979725075247</c:v>
                </c:pt>
                <c:pt idx="41">
                  <c:v>0.060523665654078546</c:v>
                </c:pt>
                <c:pt idx="42">
                  <c:v>0.06806789018970735</c:v>
                </c:pt>
                <c:pt idx="43">
                  <c:v>0.06635878278707016</c:v>
                </c:pt>
                <c:pt idx="44">
                  <c:v>0.07609900874065834</c:v>
                </c:pt>
                <c:pt idx="45">
                  <c:v>0.08414308576184831</c:v>
                </c:pt>
                <c:pt idx="46">
                  <c:v>0.08038053651700774</c:v>
                </c:pt>
                <c:pt idx="47">
                  <c:v>0.08307463528595166</c:v>
                </c:pt>
                <c:pt idx="48">
                  <c:v>0.08538711530792015</c:v>
                </c:pt>
                <c:pt idx="49">
                  <c:v>0.0782404041492181</c:v>
                </c:pt>
                <c:pt idx="50">
                  <c:v>0.10079916526636151</c:v>
                </c:pt>
                <c:pt idx="51">
                  <c:v>0.10820727665510005</c:v>
                </c:pt>
                <c:pt idx="52">
                  <c:v>0.09961367277664793</c:v>
                </c:pt>
                <c:pt idx="53">
                  <c:v>0.17126319447075444</c:v>
                </c:pt>
                <c:pt idx="54">
                  <c:v>0.0728177841849623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56.0"/>
          <c:min val="43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706763035622097"/>
          <c:min val="0.04414784394250513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5216245109809758</c:v>
                </c:pt>
                <c:pt idx="1">
                  <c:v>1.654005657756091</c:v>
                </c:pt>
                <c:pt idx="2">
                  <c:v>1.7271421904133872</c:v>
                </c:pt>
                <c:pt idx="3">
                  <c:v>1.764605020112504</c:v>
                </c:pt>
                <c:pt idx="4">
                  <c:v>1.7518411951991835</c:v>
                </c:pt>
                <c:pt idx="5">
                  <c:v>1.7365923611291085</c:v>
                </c:pt>
                <c:pt idx="6">
                  <c:v>1.6647549341881824</c:v>
                </c:pt>
                <c:pt idx="7">
                  <c:v>1.6994957195957647</c:v>
                </c:pt>
                <c:pt idx="8">
                  <c:v>1.678715151545293</c:v>
                </c:pt>
                <c:pt idx="9">
                  <c:v>1.953452718996452</c:v>
                </c:pt>
                <c:pt idx="10">
                  <c:v>1.9603272004103705</c:v>
                </c:pt>
                <c:pt idx="11">
                  <c:v>1.807446011057995</c:v>
                </c:pt>
                <c:pt idx="12">
                  <c:v>1.7848181642694154</c:v>
                </c:pt>
                <c:pt idx="13">
                  <c:v>1.772184133611691</c:v>
                </c:pt>
                <c:pt idx="14">
                  <c:v>1.7818982634242164</c:v>
                </c:pt>
                <c:pt idx="15">
                  <c:v>1.7890963585684097</c:v>
                </c:pt>
                <c:pt idx="16">
                  <c:v>1.783296835828596</c:v>
                </c:pt>
                <c:pt idx="17">
                  <c:v>1.83066749892315</c:v>
                </c:pt>
                <c:pt idx="18">
                  <c:v>1.9003746108535557</c:v>
                </c:pt>
                <c:pt idx="19">
                  <c:v>1.931779718915502</c:v>
                </c:pt>
                <c:pt idx="20">
                  <c:v>1.8998440805666128</c:v>
                </c:pt>
                <c:pt idx="21">
                  <c:v>1.9234078603805647</c:v>
                </c:pt>
                <c:pt idx="22">
                  <c:v>1.9116592456310806</c:v>
                </c:pt>
                <c:pt idx="23">
                  <c:v>1.6553225545503731</c:v>
                </c:pt>
                <c:pt idx="24">
                  <c:v>1.5825916930766823</c:v>
                </c:pt>
                <c:pt idx="25">
                  <c:v>1.5561042765426547</c:v>
                </c:pt>
                <c:pt idx="26">
                  <c:v>1.5327204859758037</c:v>
                </c:pt>
                <c:pt idx="27">
                  <c:v>1.617097092386185</c:v>
                </c:pt>
                <c:pt idx="28">
                  <c:v>1.6304969010341044</c:v>
                </c:pt>
                <c:pt idx="29">
                  <c:v>1.213770050393003</c:v>
                </c:pt>
                <c:pt idx="30">
                  <c:v>1.3554880088245853</c:v>
                </c:pt>
                <c:pt idx="31">
                  <c:v>1.437236222520459</c:v>
                </c:pt>
                <c:pt idx="32">
                  <c:v>1.4079338855738315</c:v>
                </c:pt>
                <c:pt idx="33">
                  <c:v>1.2398248299795056</c:v>
                </c:pt>
                <c:pt idx="34">
                  <c:v>1.5644966851810977</c:v>
                </c:pt>
                <c:pt idx="35">
                  <c:v>1.6168561917419464</c:v>
                </c:pt>
                <c:pt idx="36">
                  <c:v>1.6772800168298634</c:v>
                </c:pt>
                <c:pt idx="37">
                  <c:v>1.680839393276825</c:v>
                </c:pt>
                <c:pt idx="38">
                  <c:v>1.7990365298861986</c:v>
                </c:pt>
                <c:pt idx="39">
                  <c:v>1.8376764848040297</c:v>
                </c:pt>
                <c:pt idx="40">
                  <c:v>1.83497394154253</c:v>
                </c:pt>
                <c:pt idx="41">
                  <c:v>1.8535693586333366</c:v>
                </c:pt>
                <c:pt idx="42">
                  <c:v>1.8717989293266548</c:v>
                </c:pt>
                <c:pt idx="43">
                  <c:v>1.841172584424625</c:v>
                </c:pt>
                <c:pt idx="44">
                  <c:v>1.7078349797127077</c:v>
                </c:pt>
                <c:pt idx="45">
                  <c:v>1.6795854345232806</c:v>
                </c:pt>
                <c:pt idx="46">
                  <c:v>1.7742877937371386</c:v>
                </c:pt>
                <c:pt idx="47">
                  <c:v>1.8432476043776875</c:v>
                </c:pt>
                <c:pt idx="48">
                  <c:v>1.8612928086224927</c:v>
                </c:pt>
                <c:pt idx="49">
                  <c:v>1.7980096081419477</c:v>
                </c:pt>
                <c:pt idx="50">
                  <c:v>1.6972204524507823</c:v>
                </c:pt>
                <c:pt idx="51">
                  <c:v>1.6935737982070533</c:v>
                </c:pt>
                <c:pt idx="52">
                  <c:v>1.6886732890161313</c:v>
                </c:pt>
                <c:pt idx="53">
                  <c:v>1.7584800840944026</c:v>
                </c:pt>
                <c:pt idx="54">
                  <c:v>1.79966551175864</c:v>
                </c:pt>
                <c:pt idx="55">
                  <c:v>1.7745253756474055</c:v>
                </c:pt>
                <c:pt idx="56">
                  <c:v>1.7929501507876042</c:v>
                </c:pt>
                <c:pt idx="57">
                  <c:v>1.78873356977512</c:v>
                </c:pt>
                <c:pt idx="58">
                  <c:v>1.7089671590325992</c:v>
                </c:pt>
                <c:pt idx="59">
                  <c:v>1.8193349525666298</c:v>
                </c:pt>
                <c:pt idx="60">
                  <c:v>2.048422200438811</c:v>
                </c:pt>
                <c:pt idx="61">
                  <c:v>1.8838875019323</c:v>
                </c:pt>
                <c:pt idx="62">
                  <c:v>1.8275267165042666</c:v>
                </c:pt>
                <c:pt idx="63">
                  <c:v>1.8661161325296969</c:v>
                </c:pt>
                <c:pt idx="64">
                  <c:v>1.8955386341595952</c:v>
                </c:pt>
                <c:pt idx="65">
                  <c:v>1.958165653832796</c:v>
                </c:pt>
                <c:pt idx="66">
                  <c:v>1.776560390247776</c:v>
                </c:pt>
                <c:pt idx="67">
                  <c:v>1.6887878928565663</c:v>
                </c:pt>
                <c:pt idx="68">
                  <c:v>1.644135475961468</c:v>
                </c:pt>
                <c:pt idx="69">
                  <c:v>1.679773340933713</c:v>
                </c:pt>
                <c:pt idx="70">
                  <c:v>1.6893424157933006</c:v>
                </c:pt>
                <c:pt idx="71">
                  <c:v>1.6747679507839657</c:v>
                </c:pt>
                <c:pt idx="72">
                  <c:v>1.7712046389245613</c:v>
                </c:pt>
                <c:pt idx="73">
                  <c:v>1.8739975413136165</c:v>
                </c:pt>
                <c:pt idx="74">
                  <c:v>1.8153350029637336</c:v>
                </c:pt>
                <c:pt idx="75">
                  <c:v>1.7825418865801477</c:v>
                </c:pt>
                <c:pt idx="76">
                  <c:v>1.8317973526458036</c:v>
                </c:pt>
                <c:pt idx="77">
                  <c:v>1.7854353619663377</c:v>
                </c:pt>
                <c:pt idx="78">
                  <c:v>1.7397486376907985</c:v>
                </c:pt>
                <c:pt idx="79">
                  <c:v>1.78763669718082</c:v>
                </c:pt>
                <c:pt idx="80">
                  <c:v>1.7689037752008352</c:v>
                </c:pt>
                <c:pt idx="81">
                  <c:v>1.760495175563533</c:v>
                </c:pt>
                <c:pt idx="82">
                  <c:v>1.7891660711011665</c:v>
                </c:pt>
                <c:pt idx="83">
                  <c:v>1.8297569876059052</c:v>
                </c:pt>
                <c:pt idx="84">
                  <c:v>1.7172716608456262</c:v>
                </c:pt>
                <c:pt idx="85">
                  <c:v>1.7516168565834096</c:v>
                </c:pt>
                <c:pt idx="86">
                  <c:v>1.7485215671035432</c:v>
                </c:pt>
                <c:pt idx="87">
                  <c:v>1.7580453033182728</c:v>
                </c:pt>
                <c:pt idx="88">
                  <c:v>1.7874689546244833</c:v>
                </c:pt>
                <c:pt idx="89">
                  <c:v>1.7575559105842613</c:v>
                </c:pt>
                <c:pt idx="90">
                  <c:v>1.863237347144955</c:v>
                </c:pt>
                <c:pt idx="91">
                  <c:v>1.887819941753805</c:v>
                </c:pt>
                <c:pt idx="92">
                  <c:v>1.8662079977861077</c:v>
                </c:pt>
                <c:pt idx="93">
                  <c:v>1.8319616570286232</c:v>
                </c:pt>
                <c:pt idx="94">
                  <c:v>1.8198470779342482</c:v>
                </c:pt>
                <c:pt idx="95">
                  <c:v>1.755487226654246</c:v>
                </c:pt>
                <c:pt idx="96">
                  <c:v>1.6583912259954514</c:v>
                </c:pt>
                <c:pt idx="97">
                  <c:v>1.653133735600158</c:v>
                </c:pt>
                <c:pt idx="98">
                  <c:v>1.7002523747377096</c:v>
                </c:pt>
                <c:pt idx="99">
                  <c:v>1.6237765655156888</c:v>
                </c:pt>
                <c:pt idx="100">
                  <c:v>1.6204013975355882</c:v>
                </c:pt>
                <c:pt idx="101">
                  <c:v>1.6373945246344561</c:v>
                </c:pt>
                <c:pt idx="102">
                  <c:v>1.6278615053879504</c:v>
                </c:pt>
                <c:pt idx="103">
                  <c:v>1.5610701838535823</c:v>
                </c:pt>
                <c:pt idx="104">
                  <c:v>1.6484915866307124</c:v>
                </c:pt>
              </c:numCache>
            </c:numRef>
          </c:xVal>
          <c:yVal>
            <c:numRef>
              <c:f>Sheet1!$B$2:$B$106</c:f>
              <c:numCache>
                <c:formatCode>General</c:formatCode>
                <c:ptCount val="105"/>
                <c:pt idx="0">
                  <c:v>0.17505405936701396</c:v>
                </c:pt>
                <c:pt idx="1">
                  <c:v>0.16</c:v>
                </c:pt>
                <c:pt idx="2">
                  <c:v>0.1365249840720852</c:v>
                </c:pt>
                <c:pt idx="3">
                  <c:v>0.13964450554846314</c:v>
                </c:pt>
                <c:pt idx="4">
                  <c:v>0.13302978095003692</c:v>
                </c:pt>
                <c:pt idx="5">
                  <c:v>0.1278302497088886</c:v>
                </c:pt>
                <c:pt idx="6">
                  <c:v>0.15457627118644068</c:v>
                </c:pt>
                <c:pt idx="7">
                  <c:v>0.15970961887477314</c:v>
                </c:pt>
                <c:pt idx="8">
                  <c:v>0.16227990560900346</c:v>
                </c:pt>
                <c:pt idx="9">
                  <c:v>0.174930078820239</c:v>
                </c:pt>
                <c:pt idx="10">
                  <c:v>0.1848107508322032</c:v>
                </c:pt>
                <c:pt idx="11">
                  <c:v>0.17355982274741508</c:v>
                </c:pt>
                <c:pt idx="12">
                  <c:v>0.17387892376681616</c:v>
                </c:pt>
                <c:pt idx="13">
                  <c:v>0.17505252681632202</c:v>
                </c:pt>
                <c:pt idx="14">
                  <c:v>0.16917778734395178</c:v>
                </c:pt>
                <c:pt idx="15">
                  <c:v>0.17529124898401519</c:v>
                </c:pt>
                <c:pt idx="16">
                  <c:v>0.17305568701687962</c:v>
                </c:pt>
                <c:pt idx="17">
                  <c:v>0.15539452495974235</c:v>
                </c:pt>
                <c:pt idx="18">
                  <c:v>0.1510519690703111</c:v>
                </c:pt>
                <c:pt idx="19">
                  <c:v>0.15024683408456752</c:v>
                </c:pt>
                <c:pt idx="20">
                  <c:v>0.17285664699757028</c:v>
                </c:pt>
                <c:pt idx="21">
                  <c:v>0.16211414612480568</c:v>
                </c:pt>
                <c:pt idx="22">
                  <c:v>0.1667021050393366</c:v>
                </c:pt>
                <c:pt idx="23">
                  <c:v>0.17505668934240362</c:v>
                </c:pt>
                <c:pt idx="24">
                  <c:v>0.16809465524275805</c:v>
                </c:pt>
                <c:pt idx="25">
                  <c:v>0.16702508960573476</c:v>
                </c:pt>
                <c:pt idx="26">
                  <c:v>0.17588978185993112</c:v>
                </c:pt>
                <c:pt idx="27">
                  <c:v>0.1492896174863388</c:v>
                </c:pt>
                <c:pt idx="28">
                  <c:v>0.1548304542546385</c:v>
                </c:pt>
                <c:pt idx="29">
                  <c:v>0.19540229885057472</c:v>
                </c:pt>
                <c:pt idx="30">
                  <c:v>0.17586206896551723</c:v>
                </c:pt>
                <c:pt idx="31">
                  <c:v>0.16382095062298108</c:v>
                </c:pt>
                <c:pt idx="32">
                  <c:v>0.1659252669039146</c:v>
                </c:pt>
                <c:pt idx="33">
                  <c:v>0.19755635863018414</c:v>
                </c:pt>
                <c:pt idx="34">
                  <c:v>0.17096619131549431</c:v>
                </c:pt>
                <c:pt idx="35">
                  <c:v>0.1640953716690042</c:v>
                </c:pt>
                <c:pt idx="36">
                  <c:v>0.11976360159916566</c:v>
                </c:pt>
                <c:pt idx="37">
                  <c:v>0.10800924143242202</c:v>
                </c:pt>
                <c:pt idx="38">
                  <c:v>0.09754209405844784</c:v>
                </c:pt>
                <c:pt idx="39">
                  <c:v>0.0862893583100837</c:v>
                </c:pt>
                <c:pt idx="40">
                  <c:v>0.08755240245082231</c:v>
                </c:pt>
                <c:pt idx="41">
                  <c:v>0.07418449666783584</c:v>
                </c:pt>
                <c:pt idx="42">
                  <c:v>0.07151607963246555</c:v>
                </c:pt>
                <c:pt idx="43">
                  <c:v>0.07612650433809123</c:v>
                </c:pt>
                <c:pt idx="44">
                  <c:v>0.08576489232777104</c:v>
                </c:pt>
                <c:pt idx="45">
                  <c:v>0.10064764572028706</c:v>
                </c:pt>
                <c:pt idx="46">
                  <c:v>0.1020305841062923</c:v>
                </c:pt>
                <c:pt idx="47">
                  <c:v>0.09743502920511302</c:v>
                </c:pt>
                <c:pt idx="48">
                  <c:v>0.1071850699844479</c:v>
                </c:pt>
                <c:pt idx="49">
                  <c:v>0.12366612407306928</c:v>
                </c:pt>
                <c:pt idx="50">
                  <c:v>0.09688581314878893</c:v>
                </c:pt>
                <c:pt idx="51">
                  <c:v>0.08474945533769063</c:v>
                </c:pt>
                <c:pt idx="52">
                  <c:v>0.100208957935859</c:v>
                </c:pt>
                <c:pt idx="53">
                  <c:v>0.08785643509853573</c:v>
                </c:pt>
                <c:pt idx="54">
                  <c:v>0.08344167356104479</c:v>
                </c:pt>
                <c:pt idx="55">
                  <c:v>0.07699688174622212</c:v>
                </c:pt>
                <c:pt idx="56">
                  <c:v>0.07844116912315763</c:v>
                </c:pt>
                <c:pt idx="57">
                  <c:v>0.07254985150615188</c:v>
                </c:pt>
                <c:pt idx="58">
                  <c:v>0.09006567288647972</c:v>
                </c:pt>
                <c:pt idx="59">
                  <c:v>0.09381832637646591</c:v>
                </c:pt>
                <c:pt idx="60">
                  <c:v>0.09901066625444427</c:v>
                </c:pt>
                <c:pt idx="61">
                  <c:v>0.10704697986577182</c:v>
                </c:pt>
                <c:pt idx="62">
                  <c:v>0.1196877710320902</c:v>
                </c:pt>
                <c:pt idx="63">
                  <c:v>0.13402806438299628</c:v>
                </c:pt>
                <c:pt idx="64">
                  <c:v>0.1382667964946446</c:v>
                </c:pt>
                <c:pt idx="65">
                  <c:v>0.1191319751992914</c:v>
                </c:pt>
                <c:pt idx="66">
                  <c:v>0.12127325711723828</c:v>
                </c:pt>
                <c:pt idx="67">
                  <c:v>0.10509554140127389</c:v>
                </c:pt>
                <c:pt idx="68">
                  <c:v>0.09351938816583925</c:v>
                </c:pt>
                <c:pt idx="69">
                  <c:v>0.08169878901586218</c:v>
                </c:pt>
                <c:pt idx="70">
                  <c:v>0.07131410256410256</c:v>
                </c:pt>
                <c:pt idx="71">
                  <c:v>0.07540748701415009</c:v>
                </c:pt>
                <c:pt idx="72">
                  <c:v>0.07923822479170209</c:v>
                </c:pt>
                <c:pt idx="73">
                  <c:v>0.0758406432748538</c:v>
                </c:pt>
                <c:pt idx="74">
                  <c:v>0.07212110903214833</c:v>
                </c:pt>
                <c:pt idx="75">
                  <c:v>0.07739810621655002</c:v>
                </c:pt>
                <c:pt idx="76">
                  <c:v>0.0776656428258008</c:v>
                </c:pt>
                <c:pt idx="77">
                  <c:v>0.07930411206507004</c:v>
                </c:pt>
                <c:pt idx="78">
                  <c:v>0.07184466019417475</c:v>
                </c:pt>
                <c:pt idx="79">
                  <c:v>0.062255115367871136</c:v>
                </c:pt>
                <c:pt idx="80">
                  <c:v>0.05912930474333983</c:v>
                </c:pt>
                <c:pt idx="81">
                  <c:v>0.06881720430107527</c:v>
                </c:pt>
                <c:pt idx="82">
                  <c:v>0.05912961210974456</c:v>
                </c:pt>
                <c:pt idx="83">
                  <c:v>0.055184804928131416</c:v>
                </c:pt>
                <c:pt idx="84">
                  <c:v>0.06501710976572782</c:v>
                </c:pt>
                <c:pt idx="85">
                  <c:v>0.07894131185270425</c:v>
                </c:pt>
                <c:pt idx="86">
                  <c:v>0.08464498076250437</c:v>
                </c:pt>
                <c:pt idx="87">
                  <c:v>0.09369057908383752</c:v>
                </c:pt>
                <c:pt idx="88">
                  <c:v>0.07109839313229144</c:v>
                </c:pt>
                <c:pt idx="89">
                  <c:v>0.06674445740956826</c:v>
                </c:pt>
                <c:pt idx="90">
                  <c:v>0.06766193113411992</c:v>
                </c:pt>
                <c:pt idx="91">
                  <c:v>0.06443418013856812</c:v>
                </c:pt>
                <c:pt idx="92">
                  <c:v>0.06963321541612362</c:v>
                </c:pt>
                <c:pt idx="93">
                  <c:v>0.06862031306880233</c:v>
                </c:pt>
                <c:pt idx="94">
                  <c:v>0.07095018836333193</c:v>
                </c:pt>
                <c:pt idx="95">
                  <c:v>0.07480195003046923</c:v>
                </c:pt>
                <c:pt idx="96">
                  <c:v>0.07445125568518884</c:v>
                </c:pt>
                <c:pt idx="97">
                  <c:v>0.08614636780988388</c:v>
                </c:pt>
                <c:pt idx="98">
                  <c:v>0.10160175879396985</c:v>
                </c:pt>
                <c:pt idx="99">
                  <c:v>0.10577050924079245</c:v>
                </c:pt>
                <c:pt idx="100">
                  <c:v>0.12284156316267798</c:v>
                </c:pt>
                <c:pt idx="101">
                  <c:v>0.10677453769559032</c:v>
                </c:pt>
                <c:pt idx="102">
                  <c:v>0.08268858800773694</c:v>
                </c:pt>
                <c:pt idx="103">
                  <c:v>0.08913282107574094</c:v>
                </c:pt>
                <c:pt idx="104">
                  <c:v>0.0929244656843223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6840324300194485</c:v>
                </c:pt>
                <c:pt idx="1">
                  <c:v>1.6607536535995542</c:v>
                </c:pt>
                <c:pt idx="2">
                  <c:v>1.6704234704928256</c:v>
                </c:pt>
                <c:pt idx="3">
                  <c:v>1.5831048984960343</c:v>
                </c:pt>
                <c:pt idx="4">
                  <c:v>1.6258786385125177</c:v>
                </c:pt>
                <c:pt idx="5">
                  <c:v>1.6869872440594902</c:v>
                </c:pt>
                <c:pt idx="6">
                  <c:v>1.5544639526904982</c:v>
                </c:pt>
                <c:pt idx="7">
                  <c:v>1.6344587592970736</c:v>
                </c:pt>
                <c:pt idx="8">
                  <c:v>1.7326747336683417</c:v>
                </c:pt>
                <c:pt idx="9">
                  <c:v>1.6976899917011152</c:v>
                </c:pt>
                <c:pt idx="10">
                  <c:v>1.7110655143729314</c:v>
                </c:pt>
                <c:pt idx="11">
                  <c:v>1.5374937165304894</c:v>
                </c:pt>
                <c:pt idx="12">
                  <c:v>1.5975354359975544</c:v>
                </c:pt>
                <c:pt idx="13">
                  <c:v>1.6834557160902759</c:v>
                </c:pt>
                <c:pt idx="14">
                  <c:v>1.6776376398421766</c:v>
                </c:pt>
                <c:pt idx="15">
                  <c:v>1.7238801968629005</c:v>
                </c:pt>
                <c:pt idx="16">
                  <c:v>1.792324118162797</c:v>
                </c:pt>
                <c:pt idx="17">
                  <c:v>1.7697406653895464</c:v>
                </c:pt>
                <c:pt idx="18">
                  <c:v>1.5096652172611225</c:v>
                </c:pt>
                <c:pt idx="19">
                  <c:v>1.8676199494928656</c:v>
                </c:pt>
                <c:pt idx="20">
                  <c:v>1.8798610535431588</c:v>
                </c:pt>
                <c:pt idx="21">
                  <c:v>1.7766480053989009</c:v>
                </c:pt>
                <c:pt idx="22">
                  <c:v>1.7935016181229773</c:v>
                </c:pt>
                <c:pt idx="23">
                  <c:v>1.7736700054404007</c:v>
                </c:pt>
                <c:pt idx="24">
                  <c:v>1.7371916143410173</c:v>
                </c:pt>
                <c:pt idx="25">
                  <c:v>1.6480180624561493</c:v>
                </c:pt>
                <c:pt idx="26">
                  <c:v>1.7144907096157764</c:v>
                </c:pt>
                <c:pt idx="27">
                  <c:v>1.7202065584311204</c:v>
                </c:pt>
                <c:pt idx="28">
                  <c:v>1.708885969042808</c:v>
                </c:pt>
                <c:pt idx="29">
                  <c:v>1.6782948753929412</c:v>
                </c:pt>
                <c:pt idx="30">
                  <c:v>1.5313593290910403</c:v>
                </c:pt>
                <c:pt idx="31">
                  <c:v>1.4668443323655325</c:v>
                </c:pt>
                <c:pt idx="32">
                  <c:v>1.5503123120753963</c:v>
                </c:pt>
                <c:pt idx="33">
                  <c:v>1.6113035043305657</c:v>
                </c:pt>
                <c:pt idx="34">
                  <c:v>1.6731165421321812</c:v>
                </c:pt>
                <c:pt idx="35">
                  <c:v>1.6717214724373095</c:v>
                </c:pt>
                <c:pt idx="36">
                  <c:v>1.690511343840963</c:v>
                </c:pt>
                <c:pt idx="37">
                  <c:v>1.9166132511254932</c:v>
                </c:pt>
                <c:pt idx="38">
                  <c:v>1.9219163686560108</c:v>
                </c:pt>
                <c:pt idx="39">
                  <c:v>1.8145283298652537</c:v>
                </c:pt>
                <c:pt idx="40">
                  <c:v>1.8653759732447033</c:v>
                </c:pt>
                <c:pt idx="41">
                  <c:v>1.9557417841192843</c:v>
                </c:pt>
                <c:pt idx="42">
                  <c:v>1.8679502206150018</c:v>
                </c:pt>
                <c:pt idx="43">
                  <c:v>1.8888437182067892</c:v>
                </c:pt>
                <c:pt idx="44">
                  <c:v>1.8051061376558366</c:v>
                </c:pt>
                <c:pt idx="45">
                  <c:v>1.7353115618180037</c:v>
                </c:pt>
                <c:pt idx="46">
                  <c:v>1.7645269453300787</c:v>
                </c:pt>
                <c:pt idx="47">
                  <c:v>1.749686580914489</c:v>
                </c:pt>
                <c:pt idx="48">
                  <c:v>1.724127202949417</c:v>
                </c:pt>
                <c:pt idx="49">
                  <c:v>1.7801534118268507</c:v>
                </c:pt>
                <c:pt idx="50">
                  <c:v>1.5573171475404086</c:v>
                </c:pt>
                <c:pt idx="51">
                  <c:v>1.4930967940818798</c:v>
                </c:pt>
              </c:numCache>
            </c:numRef>
          </c:xVal>
          <c:yVal>
            <c:numRef>
              <c:f>Sheet1!$B$109:$B$160</c:f>
              <c:numCache>
                <c:formatCode>General</c:formatCode>
                <c:ptCount val="52"/>
                <c:pt idx="0">
                  <c:v>0.0910980256321441</c:v>
                </c:pt>
                <c:pt idx="1">
                  <c:v>0.0941162109375</c:v>
                </c:pt>
                <c:pt idx="2">
                  <c:v>0.09691582780038552</c:v>
                </c:pt>
                <c:pt idx="3">
                  <c:v>0.11410601976639713</c:v>
                </c:pt>
                <c:pt idx="4">
                  <c:v>0.09916395726892707</c:v>
                </c:pt>
                <c:pt idx="5">
                  <c:v>0.0983626294245124</c:v>
                </c:pt>
                <c:pt idx="6">
                  <c:v>0.10274542429284526</c:v>
                </c:pt>
                <c:pt idx="7">
                  <c:v>0.09565217391304348</c:v>
                </c:pt>
                <c:pt idx="8">
                  <c:v>0.10218623481781376</c:v>
                </c:pt>
                <c:pt idx="9">
                  <c:v>0.10664718772826881</c:v>
                </c:pt>
                <c:pt idx="10">
                  <c:v>0.11855745364286757</c:v>
                </c:pt>
                <c:pt idx="11">
                  <c:v>0.12370378129255263</c:v>
                </c:pt>
                <c:pt idx="12">
                  <c:v>0.12317301686445971</c:v>
                </c:pt>
                <c:pt idx="13">
                  <c:v>0.11586570111915734</c:v>
                </c:pt>
                <c:pt idx="14">
                  <c:v>0.11216314639475601</c:v>
                </c:pt>
                <c:pt idx="15">
                  <c:v>0.10706766917293233</c:v>
                </c:pt>
                <c:pt idx="16">
                  <c:v>0.09297812279463656</c:v>
                </c:pt>
                <c:pt idx="17">
                  <c:v>0.07373020207536865</c:v>
                </c:pt>
                <c:pt idx="18">
                  <c:v>0.09215232484746476</c:v>
                </c:pt>
                <c:pt idx="19">
                  <c:v>0.08708272859216255</c:v>
                </c:pt>
                <c:pt idx="20">
                  <c:v>0.06881143878462913</c:v>
                </c:pt>
                <c:pt idx="21">
                  <c:v>0.073044972787167</c:v>
                </c:pt>
                <c:pt idx="22">
                  <c:v>0.06991051454138703</c:v>
                </c:pt>
                <c:pt idx="23">
                  <c:v>0.0757620597810003</c:v>
                </c:pt>
                <c:pt idx="24">
                  <c:v>0.06555643669045731</c:v>
                </c:pt>
                <c:pt idx="25">
                  <c:v>0.07646219686162625</c:v>
                </c:pt>
                <c:pt idx="26">
                  <c:v>0.06719173024858478</c:v>
                </c:pt>
                <c:pt idx="27">
                  <c:v>0.06803023566029347</c:v>
                </c:pt>
                <c:pt idx="28">
                  <c:v>0.07577639751552795</c:v>
                </c:pt>
                <c:pt idx="29">
                  <c:v>0.07332332332332332</c:v>
                </c:pt>
                <c:pt idx="30">
                  <c:v>0.07702182284980745</c:v>
                </c:pt>
                <c:pt idx="31">
                  <c:v>0.08702490170380078</c:v>
                </c:pt>
                <c:pt idx="32">
                  <c:v>0.08902691511387163</c:v>
                </c:pt>
                <c:pt idx="33">
                  <c:v>0.09676211865992888</c:v>
                </c:pt>
                <c:pt idx="34">
                  <c:v>0.11026183119206374</c:v>
                </c:pt>
                <c:pt idx="35">
                  <c:v>0.09868158210147823</c:v>
                </c:pt>
                <c:pt idx="36">
                  <c:v>0.07566765578635015</c:v>
                </c:pt>
                <c:pt idx="37">
                  <c:v>0.06425171866737175</c:v>
                </c:pt>
                <c:pt idx="38">
                  <c:v>0.06354810238305383</c:v>
                </c:pt>
                <c:pt idx="39">
                  <c:v>0.07409821816601478</c:v>
                </c:pt>
                <c:pt idx="40">
                  <c:v>0.06267087276550999</c:v>
                </c:pt>
                <c:pt idx="41">
                  <c:v>0.06010383386581469</c:v>
                </c:pt>
                <c:pt idx="42">
                  <c:v>0.06403055493147607</c:v>
                </c:pt>
                <c:pt idx="43">
                  <c:v>0.06285090455396132</c:v>
                </c:pt>
                <c:pt idx="44">
                  <c:v>0.05841700352066762</c:v>
                </c:pt>
                <c:pt idx="45">
                  <c:v>0.07460192647926087</c:v>
                </c:pt>
                <c:pt idx="46">
                  <c:v>0.06419666783176045</c:v>
                </c:pt>
                <c:pt idx="47">
                  <c:v>0.06692784851452824</c:v>
                </c:pt>
                <c:pt idx="48">
                  <c:v>0.0669817322548396</c:v>
                </c:pt>
                <c:pt idx="49">
                  <c:v>0.0825354609929078</c:v>
                </c:pt>
                <c:pt idx="50">
                  <c:v>0.11074651353568499</c:v>
                </c:pt>
                <c:pt idx="51">
                  <c:v>0.0984696569920844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8621493622456671</c:v>
                </c:pt>
              </c:numCache>
            </c:numRef>
          </c:xVal>
          <c:yVal>
            <c:numRef>
              <c:f>Sheet1!$B$163:$B$164</c:f>
              <c:numCache>
                <c:formatCode>General</c:formatCode>
                <c:ptCount val="2"/>
                <c:pt idx="0">
                  <c:v>0.17126319447075444</c:v>
                </c:pt>
                <c:pt idx="1">
                  <c:v>0.1712631944707544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8621493622456671</c:v>
                </c:pt>
                <c:pt idx="1">
                  <c:v>0.8621493622456671</c:v>
                </c:pt>
              </c:numCache>
            </c:numRef>
          </c:xVal>
          <c:yVal>
            <c:numRef>
              <c:f>Sheet1!$B$167:$B$168</c:f>
              <c:numCache>
                <c:formatCode>General</c:formatCode>
                <c:ptCount val="2"/>
                <c:pt idx="0">
                  <c:v>0.1712631944707544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573485724978235</c:v>
                </c:pt>
              </c:numCache>
            </c:numRef>
          </c:xVal>
          <c:yVal>
            <c:numRef>
              <c:f>Sheet1!$B$171:$B$172</c:f>
              <c:numCache>
                <c:formatCode>General</c:formatCode>
                <c:ptCount val="2"/>
                <c:pt idx="0">
                  <c:v>0.09961367277664793</c:v>
                </c:pt>
                <c:pt idx="1">
                  <c:v>0.0996136727766479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573485724978235</c:v>
                </c:pt>
                <c:pt idx="1">
                  <c:v>1.573485724978235</c:v>
                </c:pt>
              </c:numCache>
            </c:numRef>
          </c:xVal>
          <c:yVal>
            <c:numRef>
              <c:f>Sheet1!$B$175:$B$176</c:f>
              <c:numCache>
                <c:formatCode>General</c:formatCode>
                <c:ptCount val="2"/>
                <c:pt idx="0">
                  <c:v>0.0996136727766479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8395152737639677</c:v>
                </c:pt>
              </c:numCache>
            </c:numRef>
          </c:xVal>
          <c:yVal>
            <c:numRef>
              <c:f>Sheet1!$B$179:$B$180</c:f>
              <c:numCache>
                <c:formatCode>General</c:formatCode>
                <c:ptCount val="2"/>
                <c:pt idx="0">
                  <c:v>0.07281778418496238</c:v>
                </c:pt>
                <c:pt idx="1">
                  <c:v>0.0728177841849623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8395152737639677</c:v>
                </c:pt>
                <c:pt idx="1">
                  <c:v>1.8395152737639677</c:v>
                </c:pt>
              </c:numCache>
            </c:numRef>
          </c:xVal>
          <c:yVal>
            <c:numRef>
              <c:f>Sheet1!$B$183:$B$184</c:f>
              <c:numCache>
                <c:formatCode>General</c:formatCode>
                <c:ptCount val="2"/>
                <c:pt idx="0">
                  <c:v>0.0728177841849623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6840324300194485</c:v>
                </c:pt>
                <c:pt idx="1">
                  <c:v>1.6607536535995542</c:v>
                </c:pt>
                <c:pt idx="2">
                  <c:v>1.6704234704928256</c:v>
                </c:pt>
                <c:pt idx="3">
                  <c:v>1.5831048984960343</c:v>
                </c:pt>
                <c:pt idx="4">
                  <c:v>1.6258786385125177</c:v>
                </c:pt>
                <c:pt idx="5">
                  <c:v>1.6869872440594902</c:v>
                </c:pt>
                <c:pt idx="6">
                  <c:v>1.5544639526904982</c:v>
                </c:pt>
                <c:pt idx="7">
                  <c:v>1.6344587592970736</c:v>
                </c:pt>
                <c:pt idx="8">
                  <c:v>1.7326747336683417</c:v>
                </c:pt>
                <c:pt idx="9">
                  <c:v>1.6976899917011152</c:v>
                </c:pt>
                <c:pt idx="10">
                  <c:v>1.7110655143729314</c:v>
                </c:pt>
                <c:pt idx="11">
                  <c:v>1.5374937165304894</c:v>
                </c:pt>
                <c:pt idx="12">
                  <c:v>1.5975354359975544</c:v>
                </c:pt>
                <c:pt idx="13">
                  <c:v>1.6834557160902759</c:v>
                </c:pt>
                <c:pt idx="14">
                  <c:v>1.6776376398421766</c:v>
                </c:pt>
                <c:pt idx="15">
                  <c:v>1.7238801968629005</c:v>
                </c:pt>
                <c:pt idx="16">
                  <c:v>1.792324118162797</c:v>
                </c:pt>
                <c:pt idx="17">
                  <c:v>1.7697406653895464</c:v>
                </c:pt>
                <c:pt idx="18">
                  <c:v>1.5096652172611225</c:v>
                </c:pt>
                <c:pt idx="19">
                  <c:v>1.8676199494928656</c:v>
                </c:pt>
                <c:pt idx="20">
                  <c:v>1.8798610535431588</c:v>
                </c:pt>
                <c:pt idx="21">
                  <c:v>1.7766480053989009</c:v>
                </c:pt>
                <c:pt idx="22">
                  <c:v>1.7935016181229773</c:v>
                </c:pt>
                <c:pt idx="23">
                  <c:v>1.7736700054404007</c:v>
                </c:pt>
                <c:pt idx="24">
                  <c:v>1.7371916143410173</c:v>
                </c:pt>
                <c:pt idx="25">
                  <c:v>1.6480180624561493</c:v>
                </c:pt>
                <c:pt idx="26">
                  <c:v>1.7144907096157764</c:v>
                </c:pt>
                <c:pt idx="27">
                  <c:v>1.7202065584311204</c:v>
                </c:pt>
                <c:pt idx="28">
                  <c:v>1.708885969042808</c:v>
                </c:pt>
                <c:pt idx="29">
                  <c:v>1.6782948753929412</c:v>
                </c:pt>
                <c:pt idx="30">
                  <c:v>1.5313593290910403</c:v>
                </c:pt>
                <c:pt idx="31">
                  <c:v>1.4668443323655325</c:v>
                </c:pt>
                <c:pt idx="32">
                  <c:v>1.5503123120753963</c:v>
                </c:pt>
                <c:pt idx="33">
                  <c:v>1.6113035043305657</c:v>
                </c:pt>
                <c:pt idx="34">
                  <c:v>1.6731165421321812</c:v>
                </c:pt>
                <c:pt idx="35">
                  <c:v>1.6717214724373095</c:v>
                </c:pt>
                <c:pt idx="36">
                  <c:v>1.690511343840963</c:v>
                </c:pt>
                <c:pt idx="37">
                  <c:v>1.9166132511254932</c:v>
                </c:pt>
                <c:pt idx="38">
                  <c:v>1.9219163686560108</c:v>
                </c:pt>
                <c:pt idx="39">
                  <c:v>1.8145283298652537</c:v>
                </c:pt>
                <c:pt idx="40">
                  <c:v>1.8653759732447033</c:v>
                </c:pt>
                <c:pt idx="41">
                  <c:v>1.9557417841192843</c:v>
                </c:pt>
                <c:pt idx="42">
                  <c:v>1.8679502206150018</c:v>
                </c:pt>
                <c:pt idx="43">
                  <c:v>1.8888437182067892</c:v>
                </c:pt>
                <c:pt idx="44">
                  <c:v>1.8051061376558366</c:v>
                </c:pt>
                <c:pt idx="45">
                  <c:v>1.7353115618180037</c:v>
                </c:pt>
                <c:pt idx="46">
                  <c:v>1.7645269453300787</c:v>
                </c:pt>
                <c:pt idx="47">
                  <c:v>1.749686580914489</c:v>
                </c:pt>
                <c:pt idx="48">
                  <c:v>1.724127202949417</c:v>
                </c:pt>
                <c:pt idx="49">
                  <c:v>1.7801534118268507</c:v>
                </c:pt>
                <c:pt idx="50">
                  <c:v>1.5573171475404086</c:v>
                </c:pt>
                <c:pt idx="51">
                  <c:v>1.4930967940818798</c:v>
                </c:pt>
                <c:pt idx="52">
                  <c:v>1.573485724978235</c:v>
                </c:pt>
                <c:pt idx="53">
                  <c:v>0.8621493622456671</c:v>
                </c:pt>
                <c:pt idx="54">
                  <c:v>1.8395152737639677</c:v>
                </c:pt>
              </c:numCache>
            </c:numRef>
          </c:xVal>
          <c:yVal>
            <c:numRef>
              <c:f>Sheet1!$B$187:$B$241</c:f>
              <c:numCache>
                <c:formatCode>General</c:formatCode>
                <c:ptCount val="55"/>
                <c:pt idx="0">
                  <c:v>0.08847883002710016</c:v>
                </c:pt>
                <c:pt idx="1">
                  <c:v>0.09082359023266909</c:v>
                </c:pt>
                <c:pt idx="2">
                  <c:v>0.08984959566192766</c:v>
                </c:pt>
                <c:pt idx="3">
                  <c:v>0.09864477927175896</c:v>
                </c:pt>
                <c:pt idx="4">
                  <c:v>0.09433638429322008</c:v>
                </c:pt>
                <c:pt idx="5">
                  <c:v>0.08818120569105364</c:v>
                </c:pt>
                <c:pt idx="6">
                  <c:v>0.101529645244237</c:v>
                </c:pt>
                <c:pt idx="7">
                  <c:v>0.09347214961817898</c:v>
                </c:pt>
                <c:pt idx="8">
                  <c:v>0.08357932260257536</c:v>
                </c:pt>
                <c:pt idx="9">
                  <c:v>0.0871031689288258</c:v>
                </c:pt>
                <c:pt idx="10">
                  <c:v>0.08575591627585744</c:v>
                </c:pt>
                <c:pt idx="11">
                  <c:v>0.10323897625499792</c:v>
                </c:pt>
                <c:pt idx="12">
                  <c:v>0.09719126000303924</c:v>
                </c:pt>
                <c:pt idx="13">
                  <c:v>0.0885369196726524</c:v>
                </c:pt>
                <c:pt idx="14">
                  <c:v>0.08912294676503213</c:v>
                </c:pt>
                <c:pt idx="15">
                  <c:v>0.08446515438152516</c:v>
                </c:pt>
                <c:pt idx="16">
                  <c:v>0.07757112438259717</c:v>
                </c:pt>
                <c:pt idx="17">
                  <c:v>0.07984584795104938</c:v>
                </c:pt>
                <c:pt idx="18">
                  <c:v>0.10604200835988775</c:v>
                </c:pt>
                <c:pt idx="19">
                  <c:v>0.06998693414152019</c:v>
                </c:pt>
                <c:pt idx="20">
                  <c:v>0.0687539460698264</c:v>
                </c:pt>
                <c:pt idx="21">
                  <c:v>0.07915010451126844</c:v>
                </c:pt>
                <c:pt idx="22">
                  <c:v>0.07745252042339895</c:v>
                </c:pt>
                <c:pt idx="23">
                  <c:v>0.07945006425438061</c:v>
                </c:pt>
                <c:pt idx="24">
                  <c:v>0.08312435873920226</c:v>
                </c:pt>
                <c:pt idx="25">
                  <c:v>0.09210638563259962</c:v>
                </c:pt>
                <c:pt idx="26">
                  <c:v>0.08541091268301984</c:v>
                </c:pt>
                <c:pt idx="27">
                  <c:v>0.08483518247274069</c:v>
                </c:pt>
                <c:pt idx="28">
                  <c:v>0.08597545148956995</c:v>
                </c:pt>
                <c:pt idx="29">
                  <c:v>0.08905674656029108</c:v>
                </c:pt>
                <c:pt idx="30">
                  <c:v>0.10385686386618997</c:v>
                </c:pt>
                <c:pt idx="31">
                  <c:v>0.1103551520174135</c:v>
                </c:pt>
                <c:pt idx="32">
                  <c:v>0.10194782021729079</c:v>
                </c:pt>
                <c:pt idx="33">
                  <c:v>0.09580446809643331</c:v>
                </c:pt>
                <c:pt idx="34">
                  <c:v>0.08957833539047666</c:v>
                </c:pt>
                <c:pt idx="35">
                  <c:v>0.08971885411214517</c:v>
                </c:pt>
                <c:pt idx="36">
                  <c:v>0.08782623991540447</c:v>
                </c:pt>
                <c:pt idx="37">
                  <c:v>0.06505207236289831</c:v>
                </c:pt>
                <c:pt idx="38">
                  <c:v>0.06451791460792344</c:v>
                </c:pt>
                <c:pt idx="39">
                  <c:v>0.07533459995979913</c:v>
                </c:pt>
                <c:pt idx="40">
                  <c:v>0.07021295917453851</c:v>
                </c:pt>
                <c:pt idx="41">
                  <c:v>0.06111084171523745</c:v>
                </c:pt>
                <c:pt idx="42">
                  <c:v>0.06995366750541074</c:v>
                </c:pt>
                <c:pt idx="43">
                  <c:v>0.06784916506831076</c:v>
                </c:pt>
                <c:pt idx="44">
                  <c:v>0.07628365247627858</c:v>
                </c:pt>
                <c:pt idx="45">
                  <c:v>0.08331372746979304</c:v>
                </c:pt>
                <c:pt idx="46">
                  <c:v>0.08037100112482051</c:v>
                </c:pt>
                <c:pt idx="47">
                  <c:v>0.08186580030541998</c:v>
                </c:pt>
                <c:pt idx="48">
                  <c:v>0.08444027463562484</c:v>
                </c:pt>
                <c:pt idx="49">
                  <c:v>0.07879702162802987</c:v>
                </c:pt>
                <c:pt idx="50">
                  <c:v>0.1012422565249104</c:v>
                </c:pt>
                <c:pt idx="51">
                  <c:v>0.10771086666407736</c:v>
                </c:pt>
                <c:pt idx="52">
                  <c:v>0.09961367277664793</c:v>
                </c:pt>
                <c:pt idx="53">
                  <c:v>0.17126319447075444</c:v>
                </c:pt>
                <c:pt idx="54">
                  <c:v>0.0728177841849623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uv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706763035622097"/>
          <c:min val="0.04414784394250513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1891357116015233</c:v>
                </c:pt>
                <c:pt idx="1">
                  <c:v>0.13150051110421102</c:v>
                </c:pt>
                <c:pt idx="2">
                  <c:v>0.12880354820222706</c:v>
                </c:pt>
                <c:pt idx="3">
                  <c:v>0.13491431217401484</c:v>
                </c:pt>
                <c:pt idx="4">
                  <c:v>0.12802812837055155</c:v>
                </c:pt>
                <c:pt idx="5">
                  <c:v>0.12113770027715459</c:v>
                </c:pt>
                <c:pt idx="6">
                  <c:v>0.12220100196796074</c:v>
                </c:pt>
                <c:pt idx="7">
                  <c:v>0.1175007484812956</c:v>
                </c:pt>
                <c:pt idx="8">
                  <c:v>0.11776774905036148</c:v>
                </c:pt>
                <c:pt idx="9">
                  <c:v>0.10927353955156698</c:v>
                </c:pt>
                <c:pt idx="10">
                  <c:v>0.09550969898707419</c:v>
                </c:pt>
                <c:pt idx="11">
                  <c:v>0.09635730522871942</c:v>
                </c:pt>
                <c:pt idx="12">
                  <c:v>0.09691857800469099</c:v>
                </c:pt>
                <c:pt idx="13">
                  <c:v>0.09498704860802375</c:v>
                </c:pt>
                <c:pt idx="14">
                  <c:v>0.11606586548164252</c:v>
                </c:pt>
                <c:pt idx="15">
                  <c:v>0.11290419566536061</c:v>
                </c:pt>
                <c:pt idx="16">
                  <c:v>0.1162868990936649</c:v>
                </c:pt>
                <c:pt idx="17">
                  <c:v>0.12047970266702986</c:v>
                </c:pt>
                <c:pt idx="18">
                  <c:v>0.11991168030356932</c:v>
                </c:pt>
                <c:pt idx="19">
                  <c:v>0.122883686794821</c:v>
                </c:pt>
                <c:pt idx="20">
                  <c:v>0.12870985522923686</c:v>
                </c:pt>
                <c:pt idx="21">
                  <c:v>0.1170033372641967</c:v>
                </c:pt>
                <c:pt idx="22">
                  <c:v>0.11349639778545997</c:v>
                </c:pt>
                <c:pt idx="23">
                  <c:v>0.11958001264241427</c:v>
                </c:pt>
                <c:pt idx="24">
                  <c:v>0.11531801268165734</c:v>
                </c:pt>
                <c:pt idx="25">
                  <c:v>0.11619300278819351</c:v>
                </c:pt>
                <c:pt idx="26">
                  <c:v>0.12288554524271425</c:v>
                </c:pt>
                <c:pt idx="27">
                  <c:v>0.12299287529822271</c:v>
                </c:pt>
                <c:pt idx="28">
                  <c:v>0.11913027131169503</c:v>
                </c:pt>
                <c:pt idx="29">
                  <c:v>0.12386287951770013</c:v>
                </c:pt>
                <c:pt idx="30">
                  <c:v>0.12011287836734794</c:v>
                </c:pt>
                <c:pt idx="31">
                  <c:v>0.12104751427658056</c:v>
                </c:pt>
                <c:pt idx="32">
                  <c:v>0.12028985852699856</c:v>
                </c:pt>
                <c:pt idx="33">
                  <c:v>0.11925521108082505</c:v>
                </c:pt>
                <c:pt idx="34">
                  <c:v>0.11955482491451967</c:v>
                </c:pt>
                <c:pt idx="35">
                  <c:v>0.12402516006262226</c:v>
                </c:pt>
                <c:pt idx="36">
                  <c:v>0.12638825485455124</c:v>
                </c:pt>
                <c:pt idx="37">
                  <c:v>0.12685760246461777</c:v>
                </c:pt>
                <c:pt idx="38">
                  <c:v>0.12528299790373518</c:v>
                </c:pt>
                <c:pt idx="39">
                  <c:v>0.1290413886305018</c:v>
                </c:pt>
                <c:pt idx="40">
                  <c:v>0.14043027013013587</c:v>
                </c:pt>
                <c:pt idx="41">
                  <c:v>0.13099160853703723</c:v>
                </c:pt>
                <c:pt idx="42">
                  <c:v>0.1345521278691446</c:v>
                </c:pt>
                <c:pt idx="43">
                  <c:v>0.13507279754015117</c:v>
                </c:pt>
                <c:pt idx="44">
                  <c:v>0.1430562982685333</c:v>
                </c:pt>
                <c:pt idx="45">
                  <c:v>0.14426745827726226</c:v>
                </c:pt>
                <c:pt idx="46">
                  <c:v>0.14049784940802906</c:v>
                </c:pt>
                <c:pt idx="47">
                  <c:v>0.13193208398166106</c:v>
                </c:pt>
                <c:pt idx="48">
                  <c:v>0.13460555592209109</c:v>
                </c:pt>
                <c:pt idx="49">
                  <c:v>0.13172803232961133</c:v>
                </c:pt>
                <c:pt idx="50">
                  <c:v>0.1244119075300177</c:v>
                </c:pt>
                <c:pt idx="51">
                  <c:v>0.1243590131072279</c:v>
                </c:pt>
                <c:pt idx="52">
                  <c:v>0.12508857122546319</c:v>
                </c:pt>
                <c:pt idx="53">
                  <c:v>0.14046562916851935</c:v>
                </c:pt>
                <c:pt idx="54">
                  <c:v>0.14009542795451946</c:v>
                </c:pt>
                <c:pt idx="55">
                  <c:v>0.1308064143698102</c:v>
                </c:pt>
                <c:pt idx="56">
                  <c:v>0.13039375811944895</c:v>
                </c:pt>
                <c:pt idx="57">
                  <c:v>0.13599495595096178</c:v>
                </c:pt>
                <c:pt idx="58">
                  <c:v>0.14136617557611528</c:v>
                </c:pt>
                <c:pt idx="59">
                  <c:v>0.14886381722908196</c:v>
                </c:pt>
                <c:pt idx="60">
                  <c:v>0.15164879725550054</c:v>
                </c:pt>
                <c:pt idx="61">
                  <c:v>0.14175052881544664</c:v>
                </c:pt>
                <c:pt idx="62">
                  <c:v>0.12571584951536668</c:v>
                </c:pt>
                <c:pt idx="63">
                  <c:v>0.1312174525181971</c:v>
                </c:pt>
                <c:pt idx="64">
                  <c:v>0.12733353448358684</c:v>
                </c:pt>
                <c:pt idx="65">
                  <c:v>0.1266569625711465</c:v>
                </c:pt>
                <c:pt idx="66">
                  <c:v>0.13143450085910685</c:v>
                </c:pt>
                <c:pt idx="67">
                  <c:v>0.13062568901808946</c:v>
                </c:pt>
                <c:pt idx="68">
                  <c:v>0.123884624819119</c:v>
                </c:pt>
                <c:pt idx="69">
                  <c:v>0.1263619177016711</c:v>
                </c:pt>
                <c:pt idx="70">
                  <c:v>0.12874184664213167</c:v>
                </c:pt>
                <c:pt idx="71">
                  <c:v>0.12604495589052503</c:v>
                </c:pt>
                <c:pt idx="72">
                  <c:v>0.13223954826840276</c:v>
                </c:pt>
                <c:pt idx="73">
                  <c:v>0.12850312135799366</c:v>
                </c:pt>
                <c:pt idx="74">
                  <c:v>0.12773743294944892</c:v>
                </c:pt>
                <c:pt idx="75">
                  <c:v>0.12195937473054329</c:v>
                </c:pt>
                <c:pt idx="76">
                  <c:v>0.11826968873465292</c:v>
                </c:pt>
                <c:pt idx="77">
                  <c:v>0.11710784729419825</c:v>
                </c:pt>
                <c:pt idx="78">
                  <c:v>0.11995787579530186</c:v>
                </c:pt>
                <c:pt idx="79">
                  <c:v>0.11346904888274385</c:v>
                </c:pt>
                <c:pt idx="80">
                  <c:v>0.11701385590954123</c:v>
                </c:pt>
                <c:pt idx="81">
                  <c:v>0.12440344096001132</c:v>
                </c:pt>
                <c:pt idx="82">
                  <c:v>0.12172381012090229</c:v>
                </c:pt>
                <c:pt idx="83">
                  <c:v>0.12043118289139923</c:v>
                </c:pt>
                <c:pt idx="84">
                  <c:v>0.1232506823008475</c:v>
                </c:pt>
                <c:pt idx="85">
                  <c:v>0.12411130534160827</c:v>
                </c:pt>
                <c:pt idx="86">
                  <c:v>0.12504617383319927</c:v>
                </c:pt>
                <c:pt idx="87">
                  <c:v>0.12637919147380414</c:v>
                </c:pt>
                <c:pt idx="88">
                  <c:v>0.13030608104141608</c:v>
                </c:pt>
                <c:pt idx="89">
                  <c:v>0.13391547041662827</c:v>
                </c:pt>
                <c:pt idx="90">
                  <c:v>0.1262750704819547</c:v>
                </c:pt>
                <c:pt idx="91">
                  <c:v>0.1305233348545455</c:v>
                </c:pt>
                <c:pt idx="92">
                  <c:v>0.13162884914481954</c:v>
                </c:pt>
                <c:pt idx="93">
                  <c:v>0.12792929727987923</c:v>
                </c:pt>
                <c:pt idx="94">
                  <c:v>0.12283429974716029</c:v>
                </c:pt>
                <c:pt idx="95">
                  <c:v>0.12664804290782045</c:v>
                </c:pt>
                <c:pt idx="96">
                  <c:v>0.12428197241064379</c:v>
                </c:pt>
                <c:pt idx="97">
                  <c:v>0.13074846253587594</c:v>
                </c:pt>
                <c:pt idx="98">
                  <c:v>0.12884688494519528</c:v>
                </c:pt>
                <c:pt idx="99">
                  <c:v>0.12813553005569722</c:v>
                </c:pt>
                <c:pt idx="100">
                  <c:v>0.13050640240641295</c:v>
                </c:pt>
                <c:pt idx="101">
                  <c:v>0.1264939446870841</c:v>
                </c:pt>
                <c:pt idx="102">
                  <c:v>0.12893617065776525</c:v>
                </c:pt>
                <c:pt idx="103">
                  <c:v>0.12087550859485885</c:v>
                </c:pt>
                <c:pt idx="104">
                  <c:v>0.12023547362229707</c:v>
                </c:pt>
              </c:numCache>
            </c:numRef>
          </c:xVal>
          <c:yVal>
            <c:numRef>
              <c:f>Sheet1!$B$2:$B$106</c:f>
              <c:numCache>
                <c:formatCode>General</c:formatCode>
                <c:ptCount val="105"/>
                <c:pt idx="0">
                  <c:v>0.26012847965738756</c:v>
                </c:pt>
                <c:pt idx="1">
                  <c:v>0.27238736212376147</c:v>
                </c:pt>
                <c:pt idx="2">
                  <c:v>0.26337257810327247</c:v>
                </c:pt>
                <c:pt idx="3">
                  <c:v>0.25908312725889293</c:v>
                </c:pt>
                <c:pt idx="4">
                  <c:v>0.2348164988632673</c:v>
                </c:pt>
                <c:pt idx="5">
                  <c:v>0.21423004119808484</c:v>
                </c:pt>
                <c:pt idx="6">
                  <c:v>0.2182611471746302</c:v>
                </c:pt>
                <c:pt idx="7">
                  <c:v>0.20495495495495494</c:v>
                </c:pt>
                <c:pt idx="8">
                  <c:v>0.22227421619092186</c:v>
                </c:pt>
                <c:pt idx="9">
                  <c:v>0.21707438841737395</c:v>
                </c:pt>
                <c:pt idx="10">
                  <c:v>0.23554804804804805</c:v>
                </c:pt>
                <c:pt idx="11">
                  <c:v>0.2366526167896031</c:v>
                </c:pt>
                <c:pt idx="12">
                  <c:v>0.25389600370313226</c:v>
                </c:pt>
                <c:pt idx="13">
                  <c:v>0.2606355270012155</c:v>
                </c:pt>
                <c:pt idx="14">
                  <c:v>0.2704267438603044</c:v>
                </c:pt>
                <c:pt idx="15">
                  <c:v>0.25789701427953265</c:v>
                </c:pt>
                <c:pt idx="16">
                  <c:v>0.22777026196039848</c:v>
                </c:pt>
                <c:pt idx="17">
                  <c:v>0.23955773955773957</c:v>
                </c:pt>
                <c:pt idx="18">
                  <c:v>0.21729383506805444</c:v>
                </c:pt>
                <c:pt idx="19">
                  <c:v>0.1964573268921095</c:v>
                </c:pt>
                <c:pt idx="20">
                  <c:v>0.21371726233540733</c:v>
                </c:pt>
                <c:pt idx="21">
                  <c:v>0.1863013698630137</c:v>
                </c:pt>
                <c:pt idx="22">
                  <c:v>0.1838928706148623</c:v>
                </c:pt>
                <c:pt idx="23">
                  <c:v>0.1673461463793438</c:v>
                </c:pt>
                <c:pt idx="24">
                  <c:v>0.17663092858440851</c:v>
                </c:pt>
                <c:pt idx="25">
                  <c:v>0.16515276630883569</c:v>
                </c:pt>
                <c:pt idx="26">
                  <c:v>0.16782505509408374</c:v>
                </c:pt>
                <c:pt idx="27">
                  <c:v>0.1683377308707124</c:v>
                </c:pt>
                <c:pt idx="28">
                  <c:v>0.16349876803942273</c:v>
                </c:pt>
                <c:pt idx="29">
                  <c:v>0.14938879187172566</c:v>
                </c:pt>
                <c:pt idx="30">
                  <c:v>0.15433070866141732</c:v>
                </c:pt>
                <c:pt idx="31">
                  <c:v>0.13553553553553555</c:v>
                </c:pt>
                <c:pt idx="32">
                  <c:v>0.14569805194805194</c:v>
                </c:pt>
                <c:pt idx="33">
                  <c:v>0.14377110360760617</c:v>
                </c:pt>
                <c:pt idx="34">
                  <c:v>0.16295242611032085</c:v>
                </c:pt>
                <c:pt idx="35">
                  <c:v>0.18948267447535383</c:v>
                </c:pt>
                <c:pt idx="36">
                  <c:v>0.1787432776677045</c:v>
                </c:pt>
                <c:pt idx="37">
                  <c:v>0.15249472944483486</c:v>
                </c:pt>
                <c:pt idx="38">
                  <c:v>0.15046916890080428</c:v>
                </c:pt>
                <c:pt idx="39">
                  <c:v>0.14069506726457398</c:v>
                </c:pt>
                <c:pt idx="40">
                  <c:v>0.1510353227771011</c:v>
                </c:pt>
                <c:pt idx="41">
                  <c:v>0.14417435037720033</c:v>
                </c:pt>
                <c:pt idx="42">
                  <c:v>0.15697020798201236</c:v>
                </c:pt>
                <c:pt idx="43">
                  <c:v>0.17312378167641326</c:v>
                </c:pt>
                <c:pt idx="44">
                  <c:v>0.15548665915069523</c:v>
                </c:pt>
                <c:pt idx="45">
                  <c:v>0.15145937417828031</c:v>
                </c:pt>
                <c:pt idx="46">
                  <c:v>0.1591240875912409</c:v>
                </c:pt>
                <c:pt idx="47">
                  <c:v>0.1676552686671319</c:v>
                </c:pt>
                <c:pt idx="48">
                  <c:v>0.1735267800076697</c:v>
                </c:pt>
                <c:pt idx="49">
                  <c:v>0.2121083647772078</c:v>
                </c:pt>
                <c:pt idx="50">
                  <c:v>0.18334377828842002</c:v>
                </c:pt>
                <c:pt idx="51">
                  <c:v>0.17443813484763657</c:v>
                </c:pt>
                <c:pt idx="52">
                  <c:v>0.19078901874005946</c:v>
                </c:pt>
                <c:pt idx="53">
                  <c:v>0.18180143672867932</c:v>
                </c:pt>
                <c:pt idx="54">
                  <c:v>0.1655494617103392</c:v>
                </c:pt>
                <c:pt idx="55">
                  <c:v>0.17623596095308072</c:v>
                </c:pt>
                <c:pt idx="56">
                  <c:v>0.1935966487133453</c:v>
                </c:pt>
                <c:pt idx="57">
                  <c:v>0.18437865562854314</c:v>
                </c:pt>
                <c:pt idx="58">
                  <c:v>0.1921921921921922</c:v>
                </c:pt>
                <c:pt idx="59">
                  <c:v>0.19312725899552247</c:v>
                </c:pt>
                <c:pt idx="60">
                  <c:v>0.1935066396578888</c:v>
                </c:pt>
                <c:pt idx="61">
                  <c:v>0.18492792590932855</c:v>
                </c:pt>
                <c:pt idx="62">
                  <c:v>0.20797134583142812</c:v>
                </c:pt>
                <c:pt idx="63">
                  <c:v>0.2189074255806346</c:v>
                </c:pt>
                <c:pt idx="64">
                  <c:v>0.2224744608399546</c:v>
                </c:pt>
                <c:pt idx="65">
                  <c:v>0.22872707212798235</c:v>
                </c:pt>
                <c:pt idx="66">
                  <c:v>0.2179420697829469</c:v>
                </c:pt>
                <c:pt idx="67">
                  <c:v>0.21630960608154803</c:v>
                </c:pt>
                <c:pt idx="68">
                  <c:v>0.19613577949127006</c:v>
                </c:pt>
                <c:pt idx="69">
                  <c:v>0.17736670293797607</c:v>
                </c:pt>
                <c:pt idx="70">
                  <c:v>0.1681854885223209</c:v>
                </c:pt>
                <c:pt idx="71">
                  <c:v>0.17558314958802368</c:v>
                </c:pt>
                <c:pt idx="72">
                  <c:v>0.17655571635311143</c:v>
                </c:pt>
                <c:pt idx="73">
                  <c:v>0.1785470280118424</c:v>
                </c:pt>
                <c:pt idx="74">
                  <c:v>0.1659024103468548</c:v>
                </c:pt>
                <c:pt idx="75">
                  <c:v>0.15557404326123128</c:v>
                </c:pt>
                <c:pt idx="76">
                  <c:v>0.1574769053117783</c:v>
                </c:pt>
                <c:pt idx="77">
                  <c:v>0.15460621912234815</c:v>
                </c:pt>
                <c:pt idx="78">
                  <c:v>0.1562448711636304</c:v>
                </c:pt>
                <c:pt idx="79">
                  <c:v>0.15875943000838222</c:v>
                </c:pt>
                <c:pt idx="80">
                  <c:v>0.14628495780241602</c:v>
                </c:pt>
                <c:pt idx="81">
                  <c:v>0.13667796610169491</c:v>
                </c:pt>
                <c:pt idx="82">
                  <c:v>0.1436801084378177</c:v>
                </c:pt>
                <c:pt idx="83">
                  <c:v>0.13094227504244482</c:v>
                </c:pt>
                <c:pt idx="84">
                  <c:v>0.1255043533658951</c:v>
                </c:pt>
                <c:pt idx="85">
                  <c:v>0.11232449297971919</c:v>
                </c:pt>
                <c:pt idx="86">
                  <c:v>0.12296718972895863</c:v>
                </c:pt>
                <c:pt idx="87">
                  <c:v>0.15997935750225778</c:v>
                </c:pt>
                <c:pt idx="88">
                  <c:v>0.1499921222624862</c:v>
                </c:pt>
                <c:pt idx="89">
                  <c:v>0.1237597911227154</c:v>
                </c:pt>
                <c:pt idx="90">
                  <c:v>0.11240379452299983</c:v>
                </c:pt>
                <c:pt idx="91">
                  <c:v>0.13977406845388635</c:v>
                </c:pt>
                <c:pt idx="92">
                  <c:v>0.14038248337028825</c:v>
                </c:pt>
                <c:pt idx="93">
                  <c:v>0.1275278058645096</c:v>
                </c:pt>
                <c:pt idx="94">
                  <c:v>0.12302466400827057</c:v>
                </c:pt>
                <c:pt idx="95">
                  <c:v>0.1428111933097459</c:v>
                </c:pt>
                <c:pt idx="96">
                  <c:v>0.14006570983918382</c:v>
                </c:pt>
                <c:pt idx="97">
                  <c:v>0.13938150373735894</c:v>
                </c:pt>
                <c:pt idx="98">
                  <c:v>0.162250593443254</c:v>
                </c:pt>
                <c:pt idx="99">
                  <c:v>0.16527112086389098</c:v>
                </c:pt>
                <c:pt idx="100">
                  <c:v>0.2001013171225937</c:v>
                </c:pt>
                <c:pt idx="101">
                  <c:v>0.1658822032820252</c:v>
                </c:pt>
                <c:pt idx="102">
                  <c:v>0.13617322936134563</c:v>
                </c:pt>
                <c:pt idx="103">
                  <c:v>0.15280477645098584</c:v>
                </c:pt>
                <c:pt idx="104">
                  <c:v>0.167021924482338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318568745746135</c:v>
                </c:pt>
                <c:pt idx="1">
                  <c:v>0.14165551874923232</c:v>
                </c:pt>
                <c:pt idx="2">
                  <c:v>0.1426108544454521</c:v>
                </c:pt>
                <c:pt idx="3">
                  <c:v>0.14236586043776153</c:v>
                </c:pt>
                <c:pt idx="4">
                  <c:v>0.14129913557028406</c:v>
                </c:pt>
                <c:pt idx="5">
                  <c:v>0.1370482461949832</c:v>
                </c:pt>
                <c:pt idx="6">
                  <c:v>0.12719905685872415</c:v>
                </c:pt>
                <c:pt idx="7">
                  <c:v>0.11992112889549837</c:v>
                </c:pt>
                <c:pt idx="8">
                  <c:v>0.12242747652133122</c:v>
                </c:pt>
                <c:pt idx="9">
                  <c:v>0.11262896683542974</c:v>
                </c:pt>
                <c:pt idx="10">
                  <c:v>0.11626031428002477</c:v>
                </c:pt>
                <c:pt idx="11">
                  <c:v>0.1327627861708411</c:v>
                </c:pt>
                <c:pt idx="12">
                  <c:v>0.1258294332028316</c:v>
                </c:pt>
                <c:pt idx="13">
                  <c:v>0.11500768742796011</c:v>
                </c:pt>
                <c:pt idx="14">
                  <c:v>0.126282173053167</c:v>
                </c:pt>
                <c:pt idx="15">
                  <c:v>0.11638345649299384</c:v>
                </c:pt>
                <c:pt idx="16">
                  <c:v>0.12083226083456393</c:v>
                </c:pt>
                <c:pt idx="17">
                  <c:v>0.11420612511827262</c:v>
                </c:pt>
                <c:pt idx="18">
                  <c:v>0.10764897617999594</c:v>
                </c:pt>
                <c:pt idx="19">
                  <c:v>0.10733335217363756</c:v>
                </c:pt>
                <c:pt idx="20">
                  <c:v>0.10058429774225097</c:v>
                </c:pt>
                <c:pt idx="21">
                  <c:v>0.10707555758634706</c:v>
                </c:pt>
                <c:pt idx="22">
                  <c:v>0.1457194488517443</c:v>
                </c:pt>
                <c:pt idx="23">
                  <c:v>0.11022608805758234</c:v>
                </c:pt>
                <c:pt idx="24">
                  <c:v>0.10735124929550179</c:v>
                </c:pt>
                <c:pt idx="25">
                  <c:v>0.11247683629889639</c:v>
                </c:pt>
                <c:pt idx="26">
                  <c:v>0.1097044382992748</c:v>
                </c:pt>
                <c:pt idx="27">
                  <c:v>0.12394861581637068</c:v>
                </c:pt>
                <c:pt idx="28">
                  <c:v>0.13331165068337056</c:v>
                </c:pt>
                <c:pt idx="29">
                  <c:v>0.13084974218021764</c:v>
                </c:pt>
                <c:pt idx="30">
                  <c:v>0.1356225194615647</c:v>
                </c:pt>
                <c:pt idx="31">
                  <c:v>0.12676928590366002</c:v>
                </c:pt>
                <c:pt idx="32">
                  <c:v>0.12485248468656758</c:v>
                </c:pt>
                <c:pt idx="33">
                  <c:v>0.13846392683850653</c:v>
                </c:pt>
                <c:pt idx="34">
                  <c:v>0.14681014265593248</c:v>
                </c:pt>
                <c:pt idx="35">
                  <c:v>0.1412433289724005</c:v>
                </c:pt>
                <c:pt idx="36">
                  <c:v>0.11681200419275911</c:v>
                </c:pt>
                <c:pt idx="37">
                  <c:v>0.12107645644687597</c:v>
                </c:pt>
                <c:pt idx="38">
                  <c:v>0.12037005542553557</c:v>
                </c:pt>
                <c:pt idx="39">
                  <c:v>0.1307649379276913</c:v>
                </c:pt>
                <c:pt idx="40">
                  <c:v>0.13589221506935073</c:v>
                </c:pt>
                <c:pt idx="41">
                  <c:v>0.13424085474408864</c:v>
                </c:pt>
                <c:pt idx="42">
                  <c:v>0.1328064455425657</c:v>
                </c:pt>
                <c:pt idx="43">
                  <c:v>0.13841398217710885</c:v>
                </c:pt>
                <c:pt idx="44">
                  <c:v>0.13608132586576854</c:v>
                </c:pt>
                <c:pt idx="45">
                  <c:v>0.14305408738815278</c:v>
                </c:pt>
                <c:pt idx="46">
                  <c:v>0.1312556134453345</c:v>
                </c:pt>
                <c:pt idx="47">
                  <c:v>0.132668169707122</c:v>
                </c:pt>
                <c:pt idx="48">
                  <c:v>0.13120560042370918</c:v>
                </c:pt>
                <c:pt idx="49">
                  <c:v>0.12941751319685246</c:v>
                </c:pt>
                <c:pt idx="50">
                  <c:v>0.13065907361018425</c:v>
                </c:pt>
                <c:pt idx="51">
                  <c:v>0.11596232410162922</c:v>
                </c:pt>
              </c:numCache>
            </c:numRef>
          </c:xVal>
          <c:yVal>
            <c:numRef>
              <c:f>Sheet1!$B$109:$B$160</c:f>
              <c:numCache>
                <c:formatCode>General</c:formatCode>
                <c:ptCount val="52"/>
                <c:pt idx="0">
                  <c:v>0.1769493496112201</c:v>
                </c:pt>
                <c:pt idx="1">
                  <c:v>0.15590686083638347</c:v>
                </c:pt>
                <c:pt idx="2">
                  <c:v>0.16194158075601375</c:v>
                </c:pt>
                <c:pt idx="3">
                  <c:v>0.16526839915421868</c:v>
                </c:pt>
                <c:pt idx="4">
                  <c:v>0.15186813186813186</c:v>
                </c:pt>
                <c:pt idx="5">
                  <c:v>0.13581900197349872</c:v>
                </c:pt>
                <c:pt idx="6">
                  <c:v>0.14691242806035154</c:v>
                </c:pt>
                <c:pt idx="7">
                  <c:v>0.15263437998935603</c:v>
                </c:pt>
                <c:pt idx="8">
                  <c:v>0.15743562795585916</c:v>
                </c:pt>
                <c:pt idx="9">
                  <c:v>0.1817742558948589</c:v>
                </c:pt>
                <c:pt idx="10">
                  <c:v>0.17085878548329142</c:v>
                </c:pt>
                <c:pt idx="11">
                  <c:v>0.17358925143953935</c:v>
                </c:pt>
                <c:pt idx="12">
                  <c:v>0.18205886933499454</c:v>
                </c:pt>
                <c:pt idx="13">
                  <c:v>0.1822017644802455</c:v>
                </c:pt>
                <c:pt idx="14">
                  <c:v>0.17596236099230111</c:v>
                </c:pt>
                <c:pt idx="15">
                  <c:v>0.1706055471327923</c:v>
                </c:pt>
                <c:pt idx="16">
                  <c:v>0.16709664615995237</c:v>
                </c:pt>
                <c:pt idx="17">
                  <c:v>0.16556088598550578</c:v>
                </c:pt>
                <c:pt idx="18">
                  <c:v>0.16476655808903365</c:v>
                </c:pt>
                <c:pt idx="19">
                  <c:v>0.17328439550661773</c:v>
                </c:pt>
                <c:pt idx="20">
                  <c:v>0.17410987397528446</c:v>
                </c:pt>
                <c:pt idx="21">
                  <c:v>0.15474851357865982</c:v>
                </c:pt>
                <c:pt idx="22">
                  <c:v>0.1512164096040706</c:v>
                </c:pt>
                <c:pt idx="23">
                  <c:v>0.1667995535002392</c:v>
                </c:pt>
                <c:pt idx="24">
                  <c:v>0.1742128935532234</c:v>
                </c:pt>
                <c:pt idx="25">
                  <c:v>0.18850393700787402</c:v>
                </c:pt>
                <c:pt idx="26">
                  <c:v>0.17250118802471093</c:v>
                </c:pt>
                <c:pt idx="27">
                  <c:v>0.1400374585794554</c:v>
                </c:pt>
                <c:pt idx="28">
                  <c:v>0.11744658539782409</c:v>
                </c:pt>
                <c:pt idx="29">
                  <c:v>0.10954567041317081</c:v>
                </c:pt>
                <c:pt idx="30">
                  <c:v>0.11512340566506543</c:v>
                </c:pt>
                <c:pt idx="31">
                  <c:v>0.09841628959276018</c:v>
                </c:pt>
                <c:pt idx="32">
                  <c:v>0.09037261844545608</c:v>
                </c:pt>
                <c:pt idx="33">
                  <c:v>0.11124141397218965</c:v>
                </c:pt>
                <c:pt idx="34">
                  <c:v>0.13885104450499547</c:v>
                </c:pt>
                <c:pt idx="35">
                  <c:v>0.15230312035661217</c:v>
                </c:pt>
                <c:pt idx="36">
                  <c:v>0.12056184159188452</c:v>
                </c:pt>
                <c:pt idx="37">
                  <c:v>0.1283714578354387</c:v>
                </c:pt>
                <c:pt idx="38">
                  <c:v>0.11926070038910506</c:v>
                </c:pt>
                <c:pt idx="39">
                  <c:v>0.1382540809084457</c:v>
                </c:pt>
                <c:pt idx="40">
                  <c:v>0.12350984197393956</c:v>
                </c:pt>
                <c:pt idx="41">
                  <c:v>0.1278409090909091</c:v>
                </c:pt>
                <c:pt idx="42">
                  <c:v>0.12382310984308131</c:v>
                </c:pt>
                <c:pt idx="43">
                  <c:v>0.13285699492596045</c:v>
                </c:pt>
                <c:pt idx="44">
                  <c:v>0.13854291076608088</c:v>
                </c:pt>
                <c:pt idx="45">
                  <c:v>0.1601690294438386</c:v>
                </c:pt>
                <c:pt idx="46">
                  <c:v>0.1502052441987099</c:v>
                </c:pt>
                <c:pt idx="47">
                  <c:v>0.15892282958199358</c:v>
                </c:pt>
                <c:pt idx="48">
                  <c:v>0.14972565157750342</c:v>
                </c:pt>
                <c:pt idx="49">
                  <c:v>0.15564247766944947</c:v>
                </c:pt>
                <c:pt idx="50">
                  <c:v>0.20848355529394452</c:v>
                </c:pt>
                <c:pt idx="51">
                  <c:v>0.187917860553963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12918966993723156</c:v>
                </c:pt>
              </c:numCache>
            </c:numRef>
          </c:xVal>
          <c:yVal>
            <c:numRef>
              <c:f>Sheet1!$B$163:$B$164</c:f>
              <c:numCache>
                <c:formatCode>General</c:formatCode>
                <c:ptCount val="2"/>
                <c:pt idx="0">
                  <c:v>0.23883426728057483</c:v>
                </c:pt>
                <c:pt idx="1">
                  <c:v>0.23883426728057483</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12918966993723156</c:v>
                </c:pt>
                <c:pt idx="1">
                  <c:v>0.012918966993723156</c:v>
                </c:pt>
              </c:numCache>
            </c:numRef>
          </c:xVal>
          <c:yVal>
            <c:numRef>
              <c:f>Sheet1!$B$167:$B$168</c:f>
              <c:numCache>
                <c:formatCode>General</c:formatCode>
                <c:ptCount val="2"/>
                <c:pt idx="0">
                  <c:v>0.2388342672805748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9560683814302963</c:v>
                </c:pt>
              </c:numCache>
            </c:numRef>
          </c:xVal>
          <c:yVal>
            <c:numRef>
              <c:f>Sheet1!$B$171:$B$172</c:f>
              <c:numCache>
                <c:formatCode>General</c:formatCode>
                <c:ptCount val="2"/>
                <c:pt idx="0">
                  <c:v>0.17544238627371528</c:v>
                </c:pt>
                <c:pt idx="1">
                  <c:v>0.1754423862737152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9560683814302963</c:v>
                </c:pt>
                <c:pt idx="1">
                  <c:v>0.09560683814302963</c:v>
                </c:pt>
              </c:numCache>
            </c:numRef>
          </c:xVal>
          <c:yVal>
            <c:numRef>
              <c:f>Sheet1!$B$175:$B$176</c:f>
              <c:numCache>
                <c:formatCode>General</c:formatCode>
                <c:ptCount val="2"/>
                <c:pt idx="0">
                  <c:v>0.1754423862737152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2820224567297994</c:v>
                </c:pt>
              </c:numCache>
            </c:numRef>
          </c:xVal>
          <c:yVal>
            <c:numRef>
              <c:f>Sheet1!$B$179:$B$180</c:f>
              <c:numCache>
                <c:formatCode>General</c:formatCode>
                <c:ptCount val="2"/>
                <c:pt idx="0">
                  <c:v>0.15045342275598617</c:v>
                </c:pt>
                <c:pt idx="1">
                  <c:v>0.1504534227559861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2820224567297994</c:v>
                </c:pt>
                <c:pt idx="1">
                  <c:v>0.12820224567297994</c:v>
                </c:pt>
              </c:numCache>
            </c:numRef>
          </c:xVal>
          <c:yVal>
            <c:numRef>
              <c:f>Sheet1!$B$183:$B$184</c:f>
              <c:numCache>
                <c:formatCode>General</c:formatCode>
                <c:ptCount val="2"/>
                <c:pt idx="0">
                  <c:v>0.1504534227559861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318568745746135</c:v>
                </c:pt>
                <c:pt idx="1">
                  <c:v>0.14165551874923232</c:v>
                </c:pt>
                <c:pt idx="2">
                  <c:v>0.1426108544454521</c:v>
                </c:pt>
                <c:pt idx="3">
                  <c:v>0.14236586043776153</c:v>
                </c:pt>
                <c:pt idx="4">
                  <c:v>0.14129913557028406</c:v>
                </c:pt>
                <c:pt idx="5">
                  <c:v>0.1370482461949832</c:v>
                </c:pt>
                <c:pt idx="6">
                  <c:v>0.12719905685872415</c:v>
                </c:pt>
                <c:pt idx="7">
                  <c:v>0.11992112889549837</c:v>
                </c:pt>
                <c:pt idx="8">
                  <c:v>0.12242747652133122</c:v>
                </c:pt>
                <c:pt idx="9">
                  <c:v>0.11262896683542974</c:v>
                </c:pt>
                <c:pt idx="10">
                  <c:v>0.11626031428002477</c:v>
                </c:pt>
                <c:pt idx="11">
                  <c:v>0.1327627861708411</c:v>
                </c:pt>
                <c:pt idx="12">
                  <c:v>0.1258294332028316</c:v>
                </c:pt>
                <c:pt idx="13">
                  <c:v>0.11500768742796011</c:v>
                </c:pt>
                <c:pt idx="14">
                  <c:v>0.126282173053167</c:v>
                </c:pt>
                <c:pt idx="15">
                  <c:v>0.11638345649299384</c:v>
                </c:pt>
                <c:pt idx="16">
                  <c:v>0.12083226083456393</c:v>
                </c:pt>
                <c:pt idx="17">
                  <c:v>0.11420612511827262</c:v>
                </c:pt>
                <c:pt idx="18">
                  <c:v>0.10764897617999594</c:v>
                </c:pt>
                <c:pt idx="19">
                  <c:v>0.10733335217363756</c:v>
                </c:pt>
                <c:pt idx="20">
                  <c:v>0.10058429774225097</c:v>
                </c:pt>
                <c:pt idx="21">
                  <c:v>0.10707555758634706</c:v>
                </c:pt>
                <c:pt idx="22">
                  <c:v>0.1457194488517443</c:v>
                </c:pt>
                <c:pt idx="23">
                  <c:v>0.11022608805758234</c:v>
                </c:pt>
                <c:pt idx="24">
                  <c:v>0.10735124929550179</c:v>
                </c:pt>
                <c:pt idx="25">
                  <c:v>0.11247683629889639</c:v>
                </c:pt>
                <c:pt idx="26">
                  <c:v>0.1097044382992748</c:v>
                </c:pt>
                <c:pt idx="27">
                  <c:v>0.12394861581637068</c:v>
                </c:pt>
                <c:pt idx="28">
                  <c:v>0.13331165068337056</c:v>
                </c:pt>
                <c:pt idx="29">
                  <c:v>0.13084974218021764</c:v>
                </c:pt>
                <c:pt idx="30">
                  <c:v>0.1356225194615647</c:v>
                </c:pt>
                <c:pt idx="31">
                  <c:v>0.12676928590366002</c:v>
                </c:pt>
                <c:pt idx="32">
                  <c:v>0.12485248468656758</c:v>
                </c:pt>
                <c:pt idx="33">
                  <c:v>0.13846392683850653</c:v>
                </c:pt>
                <c:pt idx="34">
                  <c:v>0.14681014265593248</c:v>
                </c:pt>
                <c:pt idx="35">
                  <c:v>0.1412433289724005</c:v>
                </c:pt>
                <c:pt idx="36">
                  <c:v>0.11681200419275911</c:v>
                </c:pt>
                <c:pt idx="37">
                  <c:v>0.12107645644687597</c:v>
                </c:pt>
                <c:pt idx="38">
                  <c:v>0.12037005542553557</c:v>
                </c:pt>
                <c:pt idx="39">
                  <c:v>0.1307649379276913</c:v>
                </c:pt>
                <c:pt idx="40">
                  <c:v>0.13589221506935073</c:v>
                </c:pt>
                <c:pt idx="41">
                  <c:v>0.13424085474408864</c:v>
                </c:pt>
                <c:pt idx="42">
                  <c:v>0.1328064455425657</c:v>
                </c:pt>
                <c:pt idx="43">
                  <c:v>0.13841398217710885</c:v>
                </c:pt>
                <c:pt idx="44">
                  <c:v>0.13608132586576854</c:v>
                </c:pt>
                <c:pt idx="45">
                  <c:v>0.14305408738815278</c:v>
                </c:pt>
                <c:pt idx="46">
                  <c:v>0.1312556134453345</c:v>
                </c:pt>
                <c:pt idx="47">
                  <c:v>0.132668169707122</c:v>
                </c:pt>
                <c:pt idx="48">
                  <c:v>0.13120560042370918</c:v>
                </c:pt>
                <c:pt idx="49">
                  <c:v>0.12941751319685246</c:v>
                </c:pt>
                <c:pt idx="50">
                  <c:v>0.13065907361018425</c:v>
                </c:pt>
                <c:pt idx="51">
                  <c:v>0.11596232410162922</c:v>
                </c:pt>
                <c:pt idx="52">
                  <c:v>0.09560683814302963</c:v>
                </c:pt>
                <c:pt idx="53">
                  <c:v>0.012918966993723156</c:v>
                </c:pt>
                <c:pt idx="54">
                  <c:v>0.12820224567297994</c:v>
                </c:pt>
              </c:numCache>
            </c:numRef>
          </c:xVal>
          <c:yVal>
            <c:numRef>
              <c:f>Sheet1!$B$187:$B$241</c:f>
              <c:numCache>
                <c:formatCode>General</c:formatCode>
                <c:ptCount val="55"/>
                <c:pt idx="0">
                  <c:v>0.14765163578001894</c:v>
                </c:pt>
                <c:pt idx="1">
                  <c:v>0.14013959711083612</c:v>
                </c:pt>
                <c:pt idx="2">
                  <c:v>0.1394071979580388</c:v>
                </c:pt>
                <c:pt idx="3">
                  <c:v>0.13959502031659088</c:v>
                </c:pt>
                <c:pt idx="4">
                  <c:v>0.14041281493297528</c:v>
                </c:pt>
                <c:pt idx="5">
                  <c:v>0.14367171940961634</c:v>
                </c:pt>
                <c:pt idx="6">
                  <c:v>0.15122250805298076</c:v>
                </c:pt>
                <c:pt idx="7">
                  <c:v>0.15680206327684476</c:v>
                </c:pt>
                <c:pt idx="8">
                  <c:v>0.1548805953729035</c:v>
                </c:pt>
                <c:pt idx="9">
                  <c:v>0.16239253093757233</c:v>
                </c:pt>
                <c:pt idx="10">
                  <c:v>0.15960859247232062</c:v>
                </c:pt>
                <c:pt idx="11">
                  <c:v>0.14695712715000353</c:v>
                </c:pt>
                <c:pt idx="12">
                  <c:v>0.15227251718505466</c:v>
                </c:pt>
                <c:pt idx="13">
                  <c:v>0.16056890710188337</c:v>
                </c:pt>
                <c:pt idx="14">
                  <c:v>0.15192542842438622</c:v>
                </c:pt>
                <c:pt idx="15">
                  <c:v>0.1595141866495203</c:v>
                </c:pt>
                <c:pt idx="16">
                  <c:v>0.15610355251994668</c:v>
                </c:pt>
                <c:pt idx="17">
                  <c:v>0.1611834173299136</c:v>
                </c:pt>
                <c:pt idx="18">
                  <c:v>0.16621039407344262</c:v>
                </c:pt>
                <c:pt idx="19">
                  <c:v>0.16645236425813698</c:v>
                </c:pt>
                <c:pt idx="20">
                  <c:v>0.17162646354835515</c:v>
                </c:pt>
                <c:pt idx="21">
                  <c:v>0.16665000006100128</c:v>
                </c:pt>
                <c:pt idx="22">
                  <c:v>0.1370240232074585</c:v>
                </c:pt>
                <c:pt idx="23">
                  <c:v>0.16423467541948994</c:v>
                </c:pt>
                <c:pt idx="24">
                  <c:v>0.16643864359749094</c:v>
                </c:pt>
                <c:pt idx="25">
                  <c:v>0.1625091603867937</c:v>
                </c:pt>
                <c:pt idx="26">
                  <c:v>0.16463459331489905</c:v>
                </c:pt>
                <c:pt idx="27">
                  <c:v>0.15371442819692333</c:v>
                </c:pt>
                <c:pt idx="28">
                  <c:v>0.14653634531847798</c:v>
                </c:pt>
                <c:pt idx="29">
                  <c:v>0.1484237443857468</c:v>
                </c:pt>
                <c:pt idx="30">
                  <c:v>0.14476473943996604</c:v>
                </c:pt>
                <c:pt idx="31">
                  <c:v>0.1515519879254815</c:v>
                </c:pt>
                <c:pt idx="32">
                  <c:v>0.1530214856036636</c:v>
                </c:pt>
                <c:pt idx="33">
                  <c:v>0.14258640111987708</c:v>
                </c:pt>
                <c:pt idx="34">
                  <c:v>0.13618785303051475</c:v>
                </c:pt>
                <c:pt idx="35">
                  <c:v>0.14045559853791348</c:v>
                </c:pt>
                <c:pt idx="36">
                  <c:v>0.1591856445742233</c:v>
                </c:pt>
                <c:pt idx="37">
                  <c:v>0.15591634224372453</c:v>
                </c:pt>
                <c:pt idx="38">
                  <c:v>0.15645789796242332</c:v>
                </c:pt>
                <c:pt idx="39">
                  <c:v>0.14848875877068987</c:v>
                </c:pt>
                <c:pt idx="40">
                  <c:v>0.14455797983134128</c:v>
                </c:pt>
                <c:pt idx="41">
                  <c:v>0.14582397973898722</c:v>
                </c:pt>
                <c:pt idx="42">
                  <c:v>0.14692365610208885</c:v>
                </c:pt>
                <c:pt idx="43">
                  <c:v>0.142624690726179</c:v>
                </c:pt>
                <c:pt idx="44">
                  <c:v>0.14441299981266376</c:v>
                </c:pt>
                <c:pt idx="45">
                  <c:v>0.13906739757895697</c:v>
                </c:pt>
                <c:pt idx="46">
                  <c:v>0.14811258698642354</c:v>
                </c:pt>
                <c:pt idx="47">
                  <c:v>0.14702966397464304</c:v>
                </c:pt>
                <c:pt idx="48">
                  <c:v>0.14815092900045296</c:v>
                </c:pt>
                <c:pt idx="49">
                  <c:v>0.1495217493050429</c:v>
                </c:pt>
                <c:pt idx="50">
                  <c:v>0.14856991865695857</c:v>
                </c:pt>
                <c:pt idx="51">
                  <c:v>0.15983704384816938</c:v>
                </c:pt>
                <c:pt idx="52">
                  <c:v>0.17544238627371528</c:v>
                </c:pt>
                <c:pt idx="53">
                  <c:v>0.23883426728057483</c:v>
                </c:pt>
                <c:pt idx="54">
                  <c:v>0.1504534227559861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68648345485137"/>
          <c:min val="0.072298094756364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33.4396</c:v>
                </c:pt>
                <c:pt idx="1">
                  <c:v>798.5058</c:v>
                </c:pt>
                <c:pt idx="2">
                  <c:v>835.2413</c:v>
                </c:pt>
                <c:pt idx="3">
                  <c:v>851.09</c:v>
                </c:pt>
                <c:pt idx="4">
                  <c:v>849.1628</c:v>
                </c:pt>
                <c:pt idx="5">
                  <c:v>844.2996</c:v>
                </c:pt>
                <c:pt idx="6">
                  <c:v>808.7789</c:v>
                </c:pt>
                <c:pt idx="7">
                  <c:v>821.438</c:v>
                </c:pt>
                <c:pt idx="8">
                  <c:v>810.1063</c:v>
                </c:pt>
                <c:pt idx="9">
                  <c:v>809.4985</c:v>
                </c:pt>
                <c:pt idx="10">
                  <c:v>822.7852</c:v>
                </c:pt>
                <c:pt idx="11">
                  <c:v>859.5915</c:v>
                </c:pt>
                <c:pt idx="12">
                  <c:v>856.1812</c:v>
                </c:pt>
                <c:pt idx="13">
                  <c:v>848.8762</c:v>
                </c:pt>
                <c:pt idx="14">
                  <c:v>857.757</c:v>
                </c:pt>
                <c:pt idx="15">
                  <c:v>866.2504</c:v>
                </c:pt>
                <c:pt idx="16">
                  <c:v>868.2562</c:v>
                </c:pt>
                <c:pt idx="17">
                  <c:v>889.5358</c:v>
                </c:pt>
                <c:pt idx="18">
                  <c:v>925.9619</c:v>
                </c:pt>
                <c:pt idx="19">
                  <c:v>938.7414</c:v>
                </c:pt>
                <c:pt idx="20">
                  <c:v>930.0643</c:v>
                </c:pt>
                <c:pt idx="21">
                  <c:v>940.8288</c:v>
                </c:pt>
                <c:pt idx="22">
                  <c:v>931.8253</c:v>
                </c:pt>
                <c:pt idx="23">
                  <c:v>921.8536</c:v>
                </c:pt>
                <c:pt idx="24">
                  <c:v>897.6104</c:v>
                </c:pt>
                <c:pt idx="25">
                  <c:v>880.6338</c:v>
                </c:pt>
                <c:pt idx="26">
                  <c:v>871.2089</c:v>
                </c:pt>
                <c:pt idx="27">
                  <c:v>916.7511</c:v>
                </c:pt>
                <c:pt idx="28">
                  <c:v>915.7769</c:v>
                </c:pt>
                <c:pt idx="29">
                  <c:v>689.5123</c:v>
                </c:pt>
                <c:pt idx="30">
                  <c:v>771.2129</c:v>
                </c:pt>
                <c:pt idx="31">
                  <c:v>822.7831</c:v>
                </c:pt>
                <c:pt idx="32">
                  <c:v>802.2748</c:v>
                </c:pt>
                <c:pt idx="33">
                  <c:v>705.3206</c:v>
                </c:pt>
                <c:pt idx="34">
                  <c:v>874.7029</c:v>
                </c:pt>
                <c:pt idx="35">
                  <c:v>899.0351</c:v>
                </c:pt>
                <c:pt idx="36">
                  <c:v>958.3396</c:v>
                </c:pt>
                <c:pt idx="37">
                  <c:v>974.7665</c:v>
                </c:pt>
                <c:pt idx="38">
                  <c:v>1029.6746</c:v>
                </c:pt>
                <c:pt idx="39">
                  <c:v>1059.254</c:v>
                </c:pt>
                <c:pt idx="40">
                  <c:v>1055.2781</c:v>
                </c:pt>
                <c:pt idx="41">
                  <c:v>1068.8085</c:v>
                </c:pt>
                <c:pt idx="42">
                  <c:v>1084.6809</c:v>
                </c:pt>
                <c:pt idx="43">
                  <c:v>1069.0625</c:v>
                </c:pt>
                <c:pt idx="44">
                  <c:v>1005.8967</c:v>
                </c:pt>
                <c:pt idx="45">
                  <c:v>979.6696</c:v>
                </c:pt>
                <c:pt idx="46">
                  <c:v>974.8968</c:v>
                </c:pt>
                <c:pt idx="47">
                  <c:v>965.934</c:v>
                </c:pt>
                <c:pt idx="48">
                  <c:v>987.7974</c:v>
                </c:pt>
                <c:pt idx="49">
                  <c:v>978.4486</c:v>
                </c:pt>
                <c:pt idx="50">
                  <c:v>960.3374</c:v>
                </c:pt>
                <c:pt idx="51">
                  <c:v>956.0617</c:v>
                </c:pt>
                <c:pt idx="52">
                  <c:v>948.1605</c:v>
                </c:pt>
                <c:pt idx="53">
                  <c:v>995.688</c:v>
                </c:pt>
                <c:pt idx="54">
                  <c:v>1010.6459</c:v>
                </c:pt>
                <c:pt idx="55">
                  <c:v>1015.1215</c:v>
                </c:pt>
                <c:pt idx="56">
                  <c:v>1047.0239</c:v>
                </c:pt>
                <c:pt idx="57">
                  <c:v>1054.5409</c:v>
                </c:pt>
                <c:pt idx="58">
                  <c:v>1009.4734</c:v>
                </c:pt>
                <c:pt idx="59">
                  <c:v>1002.2316</c:v>
                </c:pt>
                <c:pt idx="60">
                  <c:v>1022.6924</c:v>
                </c:pt>
                <c:pt idx="61">
                  <c:v>983.4765</c:v>
                </c:pt>
                <c:pt idx="62">
                  <c:v>953.8995</c:v>
                </c:pt>
                <c:pt idx="63">
                  <c:v>1029.9554</c:v>
                </c:pt>
                <c:pt idx="64">
                  <c:v>1028.3208</c:v>
                </c:pt>
                <c:pt idx="65">
                  <c:v>1031.2184</c:v>
                </c:pt>
                <c:pt idx="66">
                  <c:v>1002.3272</c:v>
                </c:pt>
                <c:pt idx="67">
                  <c:v>1014.8732</c:v>
                </c:pt>
                <c:pt idx="68">
                  <c:v>985.967</c:v>
                </c:pt>
                <c:pt idx="69">
                  <c:v>998.6785</c:v>
                </c:pt>
                <c:pt idx="70">
                  <c:v>1007.6517</c:v>
                </c:pt>
                <c:pt idx="71">
                  <c:v>1067.6366</c:v>
                </c:pt>
                <c:pt idx="72">
                  <c:v>1122.4099</c:v>
                </c:pt>
                <c:pt idx="73">
                  <c:v>1185.0602</c:v>
                </c:pt>
                <c:pt idx="74">
                  <c:v>1149.3868</c:v>
                </c:pt>
                <c:pt idx="75">
                  <c:v>1130.4681</c:v>
                </c:pt>
                <c:pt idx="76">
                  <c:v>1151.8644</c:v>
                </c:pt>
                <c:pt idx="77">
                  <c:v>1127.5185</c:v>
                </c:pt>
                <c:pt idx="78">
                  <c:v>1130.0372</c:v>
                </c:pt>
                <c:pt idx="79">
                  <c:v>1147.521</c:v>
                </c:pt>
                <c:pt idx="80">
                  <c:v>1130.6044</c:v>
                </c:pt>
                <c:pt idx="81">
                  <c:v>1118.638</c:v>
                </c:pt>
                <c:pt idx="82">
                  <c:v>1147.584</c:v>
                </c:pt>
                <c:pt idx="83">
                  <c:v>1150.9488</c:v>
                </c:pt>
                <c:pt idx="84">
                  <c:v>1085.1984</c:v>
                </c:pt>
                <c:pt idx="85">
                  <c:v>1088.9534</c:v>
                </c:pt>
                <c:pt idx="86">
                  <c:v>1088.8988</c:v>
                </c:pt>
                <c:pt idx="87">
                  <c:v>1112.214</c:v>
                </c:pt>
                <c:pt idx="88">
                  <c:v>1122.8762</c:v>
                </c:pt>
                <c:pt idx="89">
                  <c:v>1092.1818</c:v>
                </c:pt>
                <c:pt idx="90">
                  <c:v>1170.7473</c:v>
                </c:pt>
                <c:pt idx="91">
                  <c:v>1168.6774</c:v>
                </c:pt>
                <c:pt idx="92">
                  <c:v>1108.6524</c:v>
                </c:pt>
                <c:pt idx="93">
                  <c:v>1136.0531</c:v>
                </c:pt>
                <c:pt idx="94">
                  <c:v>1155.4897</c:v>
                </c:pt>
                <c:pt idx="95">
                  <c:v>1132.2057</c:v>
                </c:pt>
                <c:pt idx="96">
                  <c:v>1081.4807</c:v>
                </c:pt>
                <c:pt idx="97">
                  <c:v>1087.2487</c:v>
                </c:pt>
                <c:pt idx="98">
                  <c:v>1074.2844</c:v>
                </c:pt>
                <c:pt idx="99">
                  <c:v>1005.4582</c:v>
                </c:pt>
                <c:pt idx="100">
                  <c:v>1015.9745</c:v>
                </c:pt>
                <c:pt idx="101">
                  <c:v>1019.7102</c:v>
                </c:pt>
                <c:pt idx="102">
                  <c:v>1013.4649</c:v>
                </c:pt>
                <c:pt idx="103">
                  <c:v>976.0468</c:v>
                </c:pt>
                <c:pt idx="104">
                  <c:v>1030.9429</c:v>
                </c:pt>
              </c:numCache>
            </c:numRef>
          </c:xVal>
          <c:yVal>
            <c:numRef>
              <c:f>Sheet1!$B$2:$B$106</c:f>
              <c:numCache>
                <c:formatCode>General</c:formatCode>
                <c:ptCount val="105"/>
                <c:pt idx="0">
                  <c:v>0.17505405936701396</c:v>
                </c:pt>
                <c:pt idx="1">
                  <c:v>0.16</c:v>
                </c:pt>
                <c:pt idx="2">
                  <c:v>0.1365249840720852</c:v>
                </c:pt>
                <c:pt idx="3">
                  <c:v>0.13964450554846314</c:v>
                </c:pt>
                <c:pt idx="4">
                  <c:v>0.13302978095003692</c:v>
                </c:pt>
                <c:pt idx="5">
                  <c:v>0.1278302497088886</c:v>
                </c:pt>
                <c:pt idx="6">
                  <c:v>0.15457627118644068</c:v>
                </c:pt>
                <c:pt idx="7">
                  <c:v>0.15970961887477314</c:v>
                </c:pt>
                <c:pt idx="8">
                  <c:v>0.16227990560900346</c:v>
                </c:pt>
                <c:pt idx="9">
                  <c:v>0.174930078820239</c:v>
                </c:pt>
                <c:pt idx="10">
                  <c:v>0.1848107508322032</c:v>
                </c:pt>
                <c:pt idx="11">
                  <c:v>0.17355982274741508</c:v>
                </c:pt>
                <c:pt idx="12">
                  <c:v>0.17387892376681616</c:v>
                </c:pt>
                <c:pt idx="13">
                  <c:v>0.17505252681632202</c:v>
                </c:pt>
                <c:pt idx="14">
                  <c:v>0.16917778734395178</c:v>
                </c:pt>
                <c:pt idx="15">
                  <c:v>0.17529124898401519</c:v>
                </c:pt>
                <c:pt idx="16">
                  <c:v>0.17305568701687962</c:v>
                </c:pt>
                <c:pt idx="17">
                  <c:v>0.15539452495974235</c:v>
                </c:pt>
                <c:pt idx="18">
                  <c:v>0.1510519690703111</c:v>
                </c:pt>
                <c:pt idx="19">
                  <c:v>0.15024683408456752</c:v>
                </c:pt>
                <c:pt idx="20">
                  <c:v>0.17285664699757028</c:v>
                </c:pt>
                <c:pt idx="21">
                  <c:v>0.16211414612480568</c:v>
                </c:pt>
                <c:pt idx="22">
                  <c:v>0.1667021050393366</c:v>
                </c:pt>
                <c:pt idx="23">
                  <c:v>0.17505668934240362</c:v>
                </c:pt>
                <c:pt idx="24">
                  <c:v>0.16809465524275805</c:v>
                </c:pt>
                <c:pt idx="25">
                  <c:v>0.16702508960573476</c:v>
                </c:pt>
                <c:pt idx="26">
                  <c:v>0.17588978185993112</c:v>
                </c:pt>
                <c:pt idx="27">
                  <c:v>0.1492896174863388</c:v>
                </c:pt>
                <c:pt idx="28">
                  <c:v>0.1548304542546385</c:v>
                </c:pt>
                <c:pt idx="29">
                  <c:v>0.19540229885057472</c:v>
                </c:pt>
                <c:pt idx="30">
                  <c:v>0.17586206896551723</c:v>
                </c:pt>
                <c:pt idx="31">
                  <c:v>0.16382095062298108</c:v>
                </c:pt>
                <c:pt idx="32">
                  <c:v>0.1659252669039146</c:v>
                </c:pt>
                <c:pt idx="33">
                  <c:v>0.19755635863018414</c:v>
                </c:pt>
                <c:pt idx="34">
                  <c:v>0.17096619131549431</c:v>
                </c:pt>
                <c:pt idx="35">
                  <c:v>0.1640953716690042</c:v>
                </c:pt>
                <c:pt idx="36">
                  <c:v>0.11976360159916566</c:v>
                </c:pt>
                <c:pt idx="37">
                  <c:v>0.10800924143242202</c:v>
                </c:pt>
                <c:pt idx="38">
                  <c:v>0.09754209405844784</c:v>
                </c:pt>
                <c:pt idx="39">
                  <c:v>0.0862893583100837</c:v>
                </c:pt>
                <c:pt idx="40">
                  <c:v>0.08755240245082231</c:v>
                </c:pt>
                <c:pt idx="41">
                  <c:v>0.07418449666783584</c:v>
                </c:pt>
                <c:pt idx="42">
                  <c:v>0.07151607963246555</c:v>
                </c:pt>
                <c:pt idx="43">
                  <c:v>0.07612650433809123</c:v>
                </c:pt>
                <c:pt idx="44">
                  <c:v>0.08576489232777104</c:v>
                </c:pt>
                <c:pt idx="45">
                  <c:v>0.10064764572028706</c:v>
                </c:pt>
                <c:pt idx="46">
                  <c:v>0.1020305841062923</c:v>
                </c:pt>
                <c:pt idx="47">
                  <c:v>0.09743502920511302</c:v>
                </c:pt>
                <c:pt idx="48">
                  <c:v>0.1071850699844479</c:v>
                </c:pt>
                <c:pt idx="49">
                  <c:v>0.12366612407306928</c:v>
                </c:pt>
                <c:pt idx="50">
                  <c:v>0.09688581314878893</c:v>
                </c:pt>
                <c:pt idx="51">
                  <c:v>0.08474945533769063</c:v>
                </c:pt>
                <c:pt idx="52">
                  <c:v>0.100208957935859</c:v>
                </c:pt>
                <c:pt idx="53">
                  <c:v>0.08785643509853573</c:v>
                </c:pt>
                <c:pt idx="54">
                  <c:v>0.08344167356104479</c:v>
                </c:pt>
                <c:pt idx="55">
                  <c:v>0.07699688174622212</c:v>
                </c:pt>
                <c:pt idx="56">
                  <c:v>0.07844116912315763</c:v>
                </c:pt>
                <c:pt idx="57">
                  <c:v>0.07254985150615188</c:v>
                </c:pt>
                <c:pt idx="58">
                  <c:v>0.09006567288647972</c:v>
                </c:pt>
                <c:pt idx="59">
                  <c:v>0.09381832637646591</c:v>
                </c:pt>
                <c:pt idx="60">
                  <c:v>0.09901066625444427</c:v>
                </c:pt>
                <c:pt idx="61">
                  <c:v>0.10704697986577182</c:v>
                </c:pt>
                <c:pt idx="62">
                  <c:v>0.1196877710320902</c:v>
                </c:pt>
                <c:pt idx="63">
                  <c:v>0.13402806438299628</c:v>
                </c:pt>
                <c:pt idx="64">
                  <c:v>0.1382667964946446</c:v>
                </c:pt>
                <c:pt idx="65">
                  <c:v>0.1191319751992914</c:v>
                </c:pt>
                <c:pt idx="66">
                  <c:v>0.12127325711723828</c:v>
                </c:pt>
                <c:pt idx="67">
                  <c:v>0.10509554140127389</c:v>
                </c:pt>
                <c:pt idx="68">
                  <c:v>0.09351938816583925</c:v>
                </c:pt>
                <c:pt idx="69">
                  <c:v>0.08169878901586218</c:v>
                </c:pt>
                <c:pt idx="70">
                  <c:v>0.07131410256410256</c:v>
                </c:pt>
                <c:pt idx="71">
                  <c:v>0.07540748701415009</c:v>
                </c:pt>
                <c:pt idx="72">
                  <c:v>0.07923822479170209</c:v>
                </c:pt>
                <c:pt idx="73">
                  <c:v>0.0758406432748538</c:v>
                </c:pt>
                <c:pt idx="74">
                  <c:v>0.07212110903214833</c:v>
                </c:pt>
                <c:pt idx="75">
                  <c:v>0.07739810621655002</c:v>
                </c:pt>
                <c:pt idx="76">
                  <c:v>0.0776656428258008</c:v>
                </c:pt>
                <c:pt idx="77">
                  <c:v>0.07930411206507004</c:v>
                </c:pt>
                <c:pt idx="78">
                  <c:v>0.07184466019417475</c:v>
                </c:pt>
                <c:pt idx="79">
                  <c:v>0.062255115367871136</c:v>
                </c:pt>
                <c:pt idx="80">
                  <c:v>0.05912930474333983</c:v>
                </c:pt>
                <c:pt idx="81">
                  <c:v>0.06881720430107527</c:v>
                </c:pt>
                <c:pt idx="82">
                  <c:v>0.05912961210974456</c:v>
                </c:pt>
                <c:pt idx="83">
                  <c:v>0.055184804928131416</c:v>
                </c:pt>
                <c:pt idx="84">
                  <c:v>0.06501710976572782</c:v>
                </c:pt>
                <c:pt idx="85">
                  <c:v>0.07894131185270425</c:v>
                </c:pt>
                <c:pt idx="86">
                  <c:v>0.08464498076250437</c:v>
                </c:pt>
                <c:pt idx="87">
                  <c:v>0.09369057908383752</c:v>
                </c:pt>
                <c:pt idx="88">
                  <c:v>0.07109839313229144</c:v>
                </c:pt>
                <c:pt idx="89">
                  <c:v>0.06674445740956826</c:v>
                </c:pt>
                <c:pt idx="90">
                  <c:v>0.06766193113411992</c:v>
                </c:pt>
                <c:pt idx="91">
                  <c:v>0.06443418013856812</c:v>
                </c:pt>
                <c:pt idx="92">
                  <c:v>0.06963321541612362</c:v>
                </c:pt>
                <c:pt idx="93">
                  <c:v>0.06862031306880233</c:v>
                </c:pt>
                <c:pt idx="94">
                  <c:v>0.07095018836333193</c:v>
                </c:pt>
                <c:pt idx="95">
                  <c:v>0.07480195003046923</c:v>
                </c:pt>
                <c:pt idx="96">
                  <c:v>0.07445125568518884</c:v>
                </c:pt>
                <c:pt idx="97">
                  <c:v>0.08614636780988388</c:v>
                </c:pt>
                <c:pt idx="98">
                  <c:v>0.10160175879396985</c:v>
                </c:pt>
                <c:pt idx="99">
                  <c:v>0.10577050924079245</c:v>
                </c:pt>
                <c:pt idx="100">
                  <c:v>0.12284156316267798</c:v>
                </c:pt>
                <c:pt idx="101">
                  <c:v>0.10677453769559032</c:v>
                </c:pt>
                <c:pt idx="102">
                  <c:v>0.08268858800773694</c:v>
                </c:pt>
                <c:pt idx="103">
                  <c:v>0.08913282107574094</c:v>
                </c:pt>
                <c:pt idx="104">
                  <c:v>0.0929244656843223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53.27</c:v>
                </c:pt>
                <c:pt idx="1">
                  <c:v>1036.4825</c:v>
                </c:pt>
                <c:pt idx="2">
                  <c:v>1041.9238</c:v>
                </c:pt>
                <c:pt idx="3">
                  <c:v>987.2106</c:v>
                </c:pt>
                <c:pt idx="4">
                  <c:v>1011.596</c:v>
                </c:pt>
                <c:pt idx="5">
                  <c:v>1046.0269</c:v>
                </c:pt>
                <c:pt idx="6">
                  <c:v>953.9666</c:v>
                </c:pt>
                <c:pt idx="7">
                  <c:v>1012.7824</c:v>
                </c:pt>
                <c:pt idx="8">
                  <c:v>1077.5071</c:v>
                </c:pt>
                <c:pt idx="9">
                  <c:v>1042.4808</c:v>
                </c:pt>
                <c:pt idx="10">
                  <c:v>1056.6502</c:v>
                </c:pt>
                <c:pt idx="11">
                  <c:v>938.381</c:v>
                </c:pt>
                <c:pt idx="12">
                  <c:v>976.9442</c:v>
                </c:pt>
                <c:pt idx="13">
                  <c:v>1044.1693</c:v>
                </c:pt>
                <c:pt idx="14">
                  <c:v>1035.9857</c:v>
                </c:pt>
                <c:pt idx="15">
                  <c:v>1064.1559</c:v>
                </c:pt>
                <c:pt idx="16">
                  <c:v>1108.1992</c:v>
                </c:pt>
                <c:pt idx="17">
                  <c:v>1072.5531</c:v>
                </c:pt>
                <c:pt idx="18">
                  <c:v>907.5594</c:v>
                </c:pt>
                <c:pt idx="19">
                  <c:v>1131.6548</c:v>
                </c:pt>
                <c:pt idx="20">
                  <c:v>1167.8571</c:v>
                </c:pt>
                <c:pt idx="21">
                  <c:v>1097.2706</c:v>
                </c:pt>
                <c:pt idx="22">
                  <c:v>1108.384</c:v>
                </c:pt>
                <c:pt idx="23">
                  <c:v>1102.5938</c:v>
                </c:pt>
                <c:pt idx="24">
                  <c:v>1083.3589</c:v>
                </c:pt>
                <c:pt idx="25">
                  <c:v>1026.7052</c:v>
                </c:pt>
                <c:pt idx="26">
                  <c:v>1066.2344</c:v>
                </c:pt>
                <c:pt idx="27">
                  <c:v>1070.1405</c:v>
                </c:pt>
                <c:pt idx="28">
                  <c:v>1062.9727</c:v>
                </c:pt>
                <c:pt idx="29">
                  <c:v>1047.7031</c:v>
                </c:pt>
                <c:pt idx="30">
                  <c:v>951.0233</c:v>
                </c:pt>
                <c:pt idx="31">
                  <c:v>916.7139</c:v>
                </c:pt>
                <c:pt idx="32">
                  <c:v>962.8889</c:v>
                </c:pt>
                <c:pt idx="33">
                  <c:v>1008.1238</c:v>
                </c:pt>
                <c:pt idx="34">
                  <c:v>1041.0531</c:v>
                </c:pt>
                <c:pt idx="35">
                  <c:v>1037.7308</c:v>
                </c:pt>
                <c:pt idx="36">
                  <c:v>1052.9333</c:v>
                </c:pt>
                <c:pt idx="37">
                  <c:v>1195.7407</c:v>
                </c:pt>
                <c:pt idx="38">
                  <c:v>1178.1528</c:v>
                </c:pt>
                <c:pt idx="39">
                  <c:v>1123.3284</c:v>
                </c:pt>
                <c:pt idx="40">
                  <c:v>1157.6846</c:v>
                </c:pt>
                <c:pt idx="41">
                  <c:v>1213.3821</c:v>
                </c:pt>
                <c:pt idx="42">
                  <c:v>1167.3895</c:v>
                </c:pt>
                <c:pt idx="43">
                  <c:v>1177.8089</c:v>
                </c:pt>
                <c:pt idx="44">
                  <c:v>1118.4286</c:v>
                </c:pt>
                <c:pt idx="45">
                  <c:v>1069.3887</c:v>
                </c:pt>
                <c:pt idx="46">
                  <c:v>1092.3267</c:v>
                </c:pt>
                <c:pt idx="47">
                  <c:v>1075.9024</c:v>
                </c:pt>
                <c:pt idx="48">
                  <c:v>1061.8046</c:v>
                </c:pt>
                <c:pt idx="49">
                  <c:v>1105.3738</c:v>
                </c:pt>
                <c:pt idx="50">
                  <c:v>967.8466</c:v>
                </c:pt>
                <c:pt idx="51">
                  <c:v>922.6838</c:v>
                </c:pt>
              </c:numCache>
            </c:numRef>
          </c:xVal>
          <c:yVal>
            <c:numRef>
              <c:f>Sheet1!$B$109:$B$160</c:f>
              <c:numCache>
                <c:formatCode>General</c:formatCode>
                <c:ptCount val="52"/>
                <c:pt idx="0">
                  <c:v>0.0910980256321441</c:v>
                </c:pt>
                <c:pt idx="1">
                  <c:v>0.0941162109375</c:v>
                </c:pt>
                <c:pt idx="2">
                  <c:v>0.09691582780038552</c:v>
                </c:pt>
                <c:pt idx="3">
                  <c:v>0.11410601976639713</c:v>
                </c:pt>
                <c:pt idx="4">
                  <c:v>0.09916395726892707</c:v>
                </c:pt>
                <c:pt idx="5">
                  <c:v>0.0983626294245124</c:v>
                </c:pt>
                <c:pt idx="6">
                  <c:v>0.10274542429284526</c:v>
                </c:pt>
                <c:pt idx="7">
                  <c:v>0.09565217391304348</c:v>
                </c:pt>
                <c:pt idx="8">
                  <c:v>0.10218623481781376</c:v>
                </c:pt>
                <c:pt idx="9">
                  <c:v>0.10664718772826881</c:v>
                </c:pt>
                <c:pt idx="10">
                  <c:v>0.11855745364286757</c:v>
                </c:pt>
                <c:pt idx="11">
                  <c:v>0.12370378129255263</c:v>
                </c:pt>
                <c:pt idx="12">
                  <c:v>0.12317301686445971</c:v>
                </c:pt>
                <c:pt idx="13">
                  <c:v>0.11586570111915734</c:v>
                </c:pt>
                <c:pt idx="14">
                  <c:v>0.11216314639475601</c:v>
                </c:pt>
                <c:pt idx="15">
                  <c:v>0.10706766917293233</c:v>
                </c:pt>
                <c:pt idx="16">
                  <c:v>0.09297812279463656</c:v>
                </c:pt>
                <c:pt idx="17">
                  <c:v>0.07373020207536865</c:v>
                </c:pt>
                <c:pt idx="18">
                  <c:v>0.09215232484746476</c:v>
                </c:pt>
                <c:pt idx="19">
                  <c:v>0.08708272859216255</c:v>
                </c:pt>
                <c:pt idx="20">
                  <c:v>0.06881143878462913</c:v>
                </c:pt>
                <c:pt idx="21">
                  <c:v>0.073044972787167</c:v>
                </c:pt>
                <c:pt idx="22">
                  <c:v>0.06991051454138703</c:v>
                </c:pt>
                <c:pt idx="23">
                  <c:v>0.0757620597810003</c:v>
                </c:pt>
                <c:pt idx="24">
                  <c:v>0.06555643669045731</c:v>
                </c:pt>
                <c:pt idx="25">
                  <c:v>0.07646219686162625</c:v>
                </c:pt>
                <c:pt idx="26">
                  <c:v>0.06719173024858478</c:v>
                </c:pt>
                <c:pt idx="27">
                  <c:v>0.06803023566029347</c:v>
                </c:pt>
                <c:pt idx="28">
                  <c:v>0.07577639751552795</c:v>
                </c:pt>
                <c:pt idx="29">
                  <c:v>0.07332332332332332</c:v>
                </c:pt>
                <c:pt idx="30">
                  <c:v>0.07702182284980745</c:v>
                </c:pt>
                <c:pt idx="31">
                  <c:v>0.08702490170380078</c:v>
                </c:pt>
                <c:pt idx="32">
                  <c:v>0.08902691511387163</c:v>
                </c:pt>
                <c:pt idx="33">
                  <c:v>0.09676211865992888</c:v>
                </c:pt>
                <c:pt idx="34">
                  <c:v>0.11026183119206374</c:v>
                </c:pt>
                <c:pt idx="35">
                  <c:v>0.09868158210147823</c:v>
                </c:pt>
                <c:pt idx="36">
                  <c:v>0.07566765578635015</c:v>
                </c:pt>
                <c:pt idx="37">
                  <c:v>0.06425171866737175</c:v>
                </c:pt>
                <c:pt idx="38">
                  <c:v>0.06354810238305383</c:v>
                </c:pt>
                <c:pt idx="39">
                  <c:v>0.07409821816601478</c:v>
                </c:pt>
                <c:pt idx="40">
                  <c:v>0.06267087276550999</c:v>
                </c:pt>
                <c:pt idx="41">
                  <c:v>0.06010383386581469</c:v>
                </c:pt>
                <c:pt idx="42">
                  <c:v>0.06403055493147607</c:v>
                </c:pt>
                <c:pt idx="43">
                  <c:v>0.06285090455396132</c:v>
                </c:pt>
                <c:pt idx="44">
                  <c:v>0.05841700352066762</c:v>
                </c:pt>
                <c:pt idx="45">
                  <c:v>0.07460192647926087</c:v>
                </c:pt>
                <c:pt idx="46">
                  <c:v>0.06419666783176045</c:v>
                </c:pt>
                <c:pt idx="47">
                  <c:v>0.06692784851452824</c:v>
                </c:pt>
                <c:pt idx="48">
                  <c:v>0.0669817322548396</c:v>
                </c:pt>
                <c:pt idx="49">
                  <c:v>0.0825354609929078</c:v>
                </c:pt>
                <c:pt idx="50">
                  <c:v>0.11074651353568499</c:v>
                </c:pt>
                <c:pt idx="51">
                  <c:v>0.0984696569920844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538.2697900468157</c:v>
                </c:pt>
              </c:numCache>
            </c:numRef>
          </c:xVal>
          <c:yVal>
            <c:numRef>
              <c:f>Sheet1!$B$163:$B$164</c:f>
              <c:numCache>
                <c:formatCode>General</c:formatCode>
                <c:ptCount val="2"/>
                <c:pt idx="0">
                  <c:v>0.17126319447075444</c:v>
                </c:pt>
                <c:pt idx="1">
                  <c:v>0.1712631944707544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538.2697900468157</c:v>
                </c:pt>
                <c:pt idx="1">
                  <c:v>538.2697900468157</c:v>
                </c:pt>
              </c:numCache>
            </c:numRef>
          </c:xVal>
          <c:yVal>
            <c:numRef>
              <c:f>Sheet1!$B$167:$B$168</c:f>
              <c:numCache>
                <c:formatCode>General</c:formatCode>
                <c:ptCount val="2"/>
                <c:pt idx="0">
                  <c:v>0.1712631944707544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75.0738347707711</c:v>
                </c:pt>
              </c:numCache>
            </c:numRef>
          </c:xVal>
          <c:yVal>
            <c:numRef>
              <c:f>Sheet1!$B$171:$B$172</c:f>
              <c:numCache>
                <c:formatCode>General</c:formatCode>
                <c:ptCount val="2"/>
                <c:pt idx="0">
                  <c:v>0.09961367277664793</c:v>
                </c:pt>
                <c:pt idx="1">
                  <c:v>0.0996136727766479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75.0738347707711</c:v>
                </c:pt>
                <c:pt idx="1">
                  <c:v>975.0738347707711</c:v>
                </c:pt>
              </c:numCache>
            </c:numRef>
          </c:xVal>
          <c:yVal>
            <c:numRef>
              <c:f>Sheet1!$B$175:$B$176</c:f>
              <c:numCache>
                <c:formatCode>General</c:formatCode>
                <c:ptCount val="2"/>
                <c:pt idx="0">
                  <c:v>0.0996136727766479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38.432252832388</c:v>
                </c:pt>
              </c:numCache>
            </c:numRef>
          </c:xVal>
          <c:yVal>
            <c:numRef>
              <c:f>Sheet1!$B$179:$B$180</c:f>
              <c:numCache>
                <c:formatCode>General</c:formatCode>
                <c:ptCount val="2"/>
                <c:pt idx="0">
                  <c:v>0.07281778418496238</c:v>
                </c:pt>
                <c:pt idx="1">
                  <c:v>0.0728177841849623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38.432252832388</c:v>
                </c:pt>
                <c:pt idx="1">
                  <c:v>1138.432252832388</c:v>
                </c:pt>
              </c:numCache>
            </c:numRef>
          </c:xVal>
          <c:yVal>
            <c:numRef>
              <c:f>Sheet1!$B$183:$B$184</c:f>
              <c:numCache>
                <c:formatCode>General</c:formatCode>
                <c:ptCount val="2"/>
                <c:pt idx="0">
                  <c:v>0.0728177841849623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53.27</c:v>
                </c:pt>
                <c:pt idx="1">
                  <c:v>1036.4825</c:v>
                </c:pt>
                <c:pt idx="2">
                  <c:v>1041.9238</c:v>
                </c:pt>
                <c:pt idx="3">
                  <c:v>987.2106</c:v>
                </c:pt>
                <c:pt idx="4">
                  <c:v>1011.596</c:v>
                </c:pt>
                <c:pt idx="5">
                  <c:v>1046.0269</c:v>
                </c:pt>
                <c:pt idx="6">
                  <c:v>953.9666</c:v>
                </c:pt>
                <c:pt idx="7">
                  <c:v>1012.7824</c:v>
                </c:pt>
                <c:pt idx="8">
                  <c:v>1077.5071</c:v>
                </c:pt>
                <c:pt idx="9">
                  <c:v>1042.4808</c:v>
                </c:pt>
                <c:pt idx="10">
                  <c:v>1056.6502</c:v>
                </c:pt>
                <c:pt idx="11">
                  <c:v>938.381</c:v>
                </c:pt>
                <c:pt idx="12">
                  <c:v>976.9442</c:v>
                </c:pt>
                <c:pt idx="13">
                  <c:v>1044.1693</c:v>
                </c:pt>
                <c:pt idx="14">
                  <c:v>1035.9857</c:v>
                </c:pt>
                <c:pt idx="15">
                  <c:v>1064.1559</c:v>
                </c:pt>
                <c:pt idx="16">
                  <c:v>1108.1992</c:v>
                </c:pt>
                <c:pt idx="17">
                  <c:v>1072.5531</c:v>
                </c:pt>
                <c:pt idx="18">
                  <c:v>907.5594</c:v>
                </c:pt>
                <c:pt idx="19">
                  <c:v>1131.6548</c:v>
                </c:pt>
                <c:pt idx="20">
                  <c:v>1167.8571</c:v>
                </c:pt>
                <c:pt idx="21">
                  <c:v>1097.2706</c:v>
                </c:pt>
                <c:pt idx="22">
                  <c:v>1108.384</c:v>
                </c:pt>
                <c:pt idx="23">
                  <c:v>1102.5938</c:v>
                </c:pt>
                <c:pt idx="24">
                  <c:v>1083.3589</c:v>
                </c:pt>
                <c:pt idx="25">
                  <c:v>1026.7052</c:v>
                </c:pt>
                <c:pt idx="26">
                  <c:v>1066.2344</c:v>
                </c:pt>
                <c:pt idx="27">
                  <c:v>1070.1405</c:v>
                </c:pt>
                <c:pt idx="28">
                  <c:v>1062.9727</c:v>
                </c:pt>
                <c:pt idx="29">
                  <c:v>1047.7031</c:v>
                </c:pt>
                <c:pt idx="30">
                  <c:v>951.0233</c:v>
                </c:pt>
                <c:pt idx="31">
                  <c:v>916.7139</c:v>
                </c:pt>
                <c:pt idx="32">
                  <c:v>962.8889</c:v>
                </c:pt>
                <c:pt idx="33">
                  <c:v>1008.1238</c:v>
                </c:pt>
                <c:pt idx="34">
                  <c:v>1041.0531</c:v>
                </c:pt>
                <c:pt idx="35">
                  <c:v>1037.7308</c:v>
                </c:pt>
                <c:pt idx="36">
                  <c:v>1052.9333</c:v>
                </c:pt>
                <c:pt idx="37">
                  <c:v>1195.7407</c:v>
                </c:pt>
                <c:pt idx="38">
                  <c:v>1178.1528</c:v>
                </c:pt>
                <c:pt idx="39">
                  <c:v>1123.3284</c:v>
                </c:pt>
                <c:pt idx="40">
                  <c:v>1157.6846</c:v>
                </c:pt>
                <c:pt idx="41">
                  <c:v>1213.3821</c:v>
                </c:pt>
                <c:pt idx="42">
                  <c:v>1167.3895</c:v>
                </c:pt>
                <c:pt idx="43">
                  <c:v>1177.8089</c:v>
                </c:pt>
                <c:pt idx="44">
                  <c:v>1118.4286</c:v>
                </c:pt>
                <c:pt idx="45">
                  <c:v>1069.3887</c:v>
                </c:pt>
                <c:pt idx="46">
                  <c:v>1092.3267</c:v>
                </c:pt>
                <c:pt idx="47">
                  <c:v>1075.9024</c:v>
                </c:pt>
                <c:pt idx="48">
                  <c:v>1061.8046</c:v>
                </c:pt>
                <c:pt idx="49">
                  <c:v>1105.3738</c:v>
                </c:pt>
                <c:pt idx="50">
                  <c:v>967.8466</c:v>
                </c:pt>
                <c:pt idx="51">
                  <c:v>922.6838</c:v>
                </c:pt>
                <c:pt idx="52">
                  <c:v>975.0738347707711</c:v>
                </c:pt>
                <c:pt idx="53">
                  <c:v>538.2697900468157</c:v>
                </c:pt>
                <c:pt idx="54">
                  <c:v>1138.432252832388</c:v>
                </c:pt>
              </c:numCache>
            </c:numRef>
          </c:xVal>
          <c:yVal>
            <c:numRef>
              <c:f>Sheet1!$B$187:$B$241</c:f>
              <c:numCache>
                <c:formatCode>General</c:formatCode>
                <c:ptCount val="55"/>
                <c:pt idx="0">
                  <c:v>0.08678705657503219</c:v>
                </c:pt>
                <c:pt idx="1">
                  <c:v>0.0895407315008217</c:v>
                </c:pt>
                <c:pt idx="2">
                  <c:v>0.08864818815763789</c:v>
                </c:pt>
                <c:pt idx="3">
                  <c:v>0.09762286377638452</c:v>
                </c:pt>
                <c:pt idx="4">
                  <c:v>0.09362289567301305</c:v>
                </c:pt>
                <c:pt idx="5">
                  <c:v>0.08797515145842674</c:v>
                </c:pt>
                <c:pt idx="6">
                  <c:v>0.10307591927797485</c:v>
                </c:pt>
                <c:pt idx="7">
                  <c:v>0.0934282889756515</c:v>
                </c:pt>
                <c:pt idx="8">
                  <c:v>0.0828114143088309</c:v>
                </c:pt>
                <c:pt idx="9">
                  <c:v>0.08855682274088941</c:v>
                </c:pt>
                <c:pt idx="10">
                  <c:v>0.08623259808007142</c:v>
                </c:pt>
                <c:pt idx="11">
                  <c:v>0.10563244502173572</c:v>
                </c:pt>
                <c:pt idx="12">
                  <c:v>0.09930687439488789</c:v>
                </c:pt>
                <c:pt idx="13">
                  <c:v>0.0882798559434392</c:v>
                </c:pt>
                <c:pt idx="14">
                  <c:v>0.08962222223518554</c:v>
                </c:pt>
                <c:pt idx="15">
                  <c:v>0.0850014285854773</c:v>
                </c:pt>
                <c:pt idx="16">
                  <c:v>0.07777695020221434</c:v>
                </c:pt>
                <c:pt idx="17">
                  <c:v>0.083624025214705</c:v>
                </c:pt>
                <c:pt idx="18">
                  <c:v>0.11068815117766811</c:v>
                </c:pt>
                <c:pt idx="19">
                  <c:v>0.07392949837261795</c:v>
                </c:pt>
                <c:pt idx="20">
                  <c:v>0.06799118916839392</c:v>
                </c:pt>
                <c:pt idx="21">
                  <c:v>0.07956958232694902</c:v>
                </c:pt>
                <c:pt idx="22">
                  <c:v>0.07774663722373118</c:v>
                </c:pt>
                <c:pt idx="23">
                  <c:v>0.07869641107661615</c:v>
                </c:pt>
                <c:pt idx="24">
                  <c:v>0.08185153612978488</c:v>
                </c:pt>
                <c:pt idx="25">
                  <c:v>0.09114451442573143</c:v>
                </c:pt>
                <c:pt idx="26">
                  <c:v>0.08466048959317626</c:v>
                </c:pt>
                <c:pt idx="27">
                  <c:v>0.08401976705392822</c:v>
                </c:pt>
                <c:pt idx="28">
                  <c:v>0.0851955103827785</c:v>
                </c:pt>
                <c:pt idx="29">
                  <c:v>0.08770020224558336</c:v>
                </c:pt>
                <c:pt idx="30">
                  <c:v>0.10355871251157583</c:v>
                </c:pt>
                <c:pt idx="31">
                  <c:v>0.10918652692699707</c:v>
                </c:pt>
                <c:pt idx="32">
                  <c:v>0.10161238308793033</c:v>
                </c:pt>
                <c:pt idx="33">
                  <c:v>0.09419244504470783</c:v>
                </c:pt>
                <c:pt idx="34">
                  <c:v>0.08879101018342403</c:v>
                </c:pt>
                <c:pt idx="35">
                  <c:v>0.08933597126791848</c:v>
                </c:pt>
                <c:pt idx="36">
                  <c:v>0.08684228590325338</c:v>
                </c:pt>
                <c:pt idx="37">
                  <c:v>0.06341740688033759</c:v>
                </c:pt>
                <c:pt idx="38">
                  <c:v>0.06630237243371326</c:v>
                </c:pt>
                <c:pt idx="39">
                  <c:v>0.07529528832955579</c:v>
                </c:pt>
                <c:pt idx="40">
                  <c:v>0.06965979725075247</c:v>
                </c:pt>
                <c:pt idx="41">
                  <c:v>0.060523665654078546</c:v>
                </c:pt>
                <c:pt idx="42">
                  <c:v>0.06806789018970735</c:v>
                </c:pt>
                <c:pt idx="43">
                  <c:v>0.06635878278707016</c:v>
                </c:pt>
                <c:pt idx="44">
                  <c:v>0.07609900874065834</c:v>
                </c:pt>
                <c:pt idx="45">
                  <c:v>0.08414308576184831</c:v>
                </c:pt>
                <c:pt idx="46">
                  <c:v>0.08038053651700774</c:v>
                </c:pt>
                <c:pt idx="47">
                  <c:v>0.08307463528595166</c:v>
                </c:pt>
                <c:pt idx="48">
                  <c:v>0.08538711530792015</c:v>
                </c:pt>
                <c:pt idx="49">
                  <c:v>0.0782404041492181</c:v>
                </c:pt>
                <c:pt idx="50">
                  <c:v>0.10079916526636151</c:v>
                </c:pt>
                <c:pt idx="51">
                  <c:v>0.10820727665510005</c:v>
                </c:pt>
                <c:pt idx="52">
                  <c:v>0.09961367277664793</c:v>
                </c:pt>
                <c:pt idx="53">
                  <c:v>0.17126319447075444</c:v>
                </c:pt>
                <c:pt idx="54">
                  <c:v>0.0728177841849623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56.0"/>
          <c:min val="43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3706763035622097"/>
          <c:min val="0.04414784394250513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1.4077328646748681</c:v>
                </c:pt>
                <c:pt idx="2">
                  <c:v>2.0368107134103055</c:v>
                </c:pt>
                <c:pt idx="3">
                  <c:v>1.9125778679918808</c:v>
                </c:pt>
                <c:pt idx="4">
                  <c:v>0.8292432295449346</c:v>
                </c:pt>
                <c:pt idx="5">
                  <c:v>0.6691189994482251</c:v>
                </c:pt>
                <c:pt idx="6">
                  <c:v>0.7409721997022</c:v>
                </c:pt>
                <c:pt idx="7">
                  <c:v>0.9715207929828376</c:v>
                </c:pt>
                <c:pt idx="8">
                  <c:v>1.289958056381139</c:v>
                </c:pt>
                <c:pt idx="9">
                  <c:v>1.0007332230178487</c:v>
                </c:pt>
                <c:pt idx="10">
                  <c:v>0.8980522776234005</c:v>
                </c:pt>
                <c:pt idx="11">
                  <c:v>1.164799081806989</c:v>
                </c:pt>
                <c:pt idx="12">
                  <c:v>0.8815693333432987</c:v>
                </c:pt>
                <c:pt idx="13">
                  <c:v>0.9421078001547677</c:v>
                </c:pt>
                <c:pt idx="14">
                  <c:v>0.887940412027452</c:v>
                </c:pt>
                <c:pt idx="15">
                  <c:v>0.9508082879798453</c:v>
                </c:pt>
                <c:pt idx="16">
                  <c:v>0.941404024158397</c:v>
                </c:pt>
              </c:numCache>
            </c:numRef>
          </c:xVal>
          <c:yVal>
            <c:numRef>
              <c:f>Sheet1!$B$4:$B$20</c:f>
              <c:numCache>
                <c:formatCode>General</c:formatCode>
                <c:ptCount val="17"/>
                <c:pt idx="0">
                  <c:v>0.0</c:v>
                </c:pt>
                <c:pt idx="1">
                  <c:v>0.03333333333333333</c:v>
                </c:pt>
                <c:pt idx="2">
                  <c:v>0.02857142857142857</c:v>
                </c:pt>
                <c:pt idx="3">
                  <c:v>0.038461538461538464</c:v>
                </c:pt>
                <c:pt idx="4">
                  <c:v>0.12121212121212122</c:v>
                </c:pt>
                <c:pt idx="5">
                  <c:v>0.125</c:v>
                </c:pt>
                <c:pt idx="6">
                  <c:v>0.15555555555555556</c:v>
                </c:pt>
                <c:pt idx="7">
                  <c:v>0.11764705882352941</c:v>
                </c:pt>
                <c:pt idx="8">
                  <c:v>0.05333333333333334</c:v>
                </c:pt>
                <c:pt idx="9">
                  <c:v>0.1</c:v>
                </c:pt>
                <c:pt idx="10">
                  <c:v>0.09433962264150944</c:v>
                </c:pt>
                <c:pt idx="11">
                  <c:v>0.06666666666666667</c:v>
                </c:pt>
                <c:pt idx="12">
                  <c:v>0.1015625</c:v>
                </c:pt>
                <c:pt idx="13">
                  <c:v>0.08522727272727272</c:v>
                </c:pt>
                <c:pt idx="14">
                  <c:v>0.11188811188811189</c:v>
                </c:pt>
                <c:pt idx="15">
                  <c:v>0.12030075187969924</c:v>
                </c:pt>
                <c:pt idx="16">
                  <c:v>0.07207207207207207</c:v>
                </c:pt>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5389439206216746</c:v>
                </c:pt>
              </c:numCache>
            </c:numRef>
          </c:xVal>
          <c:yVal>
            <c:numRef>
              <c:f>Sheet1!$B$23:$B$24</c:f>
              <c:numCache>
                <c:formatCode>General</c:formatCode>
                <c:ptCount val="2"/>
                <c:pt idx="0">
                  <c:v>0.09737205214178898</c:v>
                </c:pt>
                <c:pt idx="1">
                  <c:v>0.09737205214178898</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5389439206216746</c:v>
                </c:pt>
                <c:pt idx="1">
                  <c:v>0.5389439206216746</c:v>
                </c:pt>
              </c:numCache>
            </c:numRef>
          </c:xVal>
          <c:yVal>
            <c:numRef>
              <c:f>Sheet1!$B$27:$B$28</c:f>
              <c:numCache>
                <c:formatCode>General</c:formatCode>
                <c:ptCount val="2"/>
                <c:pt idx="0">
                  <c:v>0.0973720521417889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5389439206216746</c:v>
                </c:pt>
              </c:numCache>
            </c:numRef>
          </c:xVal>
          <c:yVal>
            <c:numRef>
              <c:f>Sheet1!$B$31:$B$32</c:f>
              <c:numCache>
                <c:formatCode>General</c:formatCode>
                <c:ptCount val="2"/>
                <c:pt idx="0">
                  <c:v>0.09737205214178898</c:v>
                </c:pt>
                <c:pt idx="1">
                  <c:v>0.09737205214178898</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5389439206216746</c:v>
                </c:pt>
                <c:pt idx="1">
                  <c:v>0.5389439206216746</c:v>
                </c:pt>
              </c:numCache>
            </c:numRef>
          </c:xVal>
          <c:yVal>
            <c:numRef>
              <c:f>Sheet1!$B$35:$B$36</c:f>
              <c:numCache>
                <c:formatCode>General</c:formatCode>
                <c:ptCount val="2"/>
                <c:pt idx="0">
                  <c:v>0.0973720521417889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3741139820899622</c:v>
                </c:pt>
              </c:numCache>
            </c:numRef>
          </c:xVal>
          <c:yVal>
            <c:numRef>
              <c:f>Sheet1!$B$39:$B$40</c:f>
              <c:numCache>
                <c:formatCode>General</c:formatCode>
                <c:ptCount val="2"/>
                <c:pt idx="0">
                  <c:v>0.10190808206152858</c:v>
                </c:pt>
                <c:pt idx="1">
                  <c:v>0.10190808206152858</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3741139820899622</c:v>
                </c:pt>
                <c:pt idx="1">
                  <c:v>0.3741139820899622</c:v>
                </c:pt>
              </c:numCache>
            </c:numRef>
          </c:xVal>
          <c:yVal>
            <c:numRef>
              <c:f>Sheet1!$B$43:$B$44</c:f>
              <c:numCache>
                <c:formatCode>General</c:formatCode>
                <c:ptCount val="2"/>
                <c:pt idx="0">
                  <c:v>0.1019080820615285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66</c:f>
              <c:numCache>
                <c:formatCode>General</c:formatCode>
                <c:ptCount val="20"/>
                <c:pt idx="0">
                  <c:v>0.0</c:v>
                </c:pt>
                <c:pt idx="1">
                  <c:v>1.4077328646748681</c:v>
                </c:pt>
                <c:pt idx="2">
                  <c:v>2.0368107134103055</c:v>
                </c:pt>
                <c:pt idx="3">
                  <c:v>1.9125778679918808</c:v>
                </c:pt>
                <c:pt idx="4">
                  <c:v>0.8292432295449346</c:v>
                </c:pt>
                <c:pt idx="5">
                  <c:v>0.6691189994482251</c:v>
                </c:pt>
                <c:pt idx="6">
                  <c:v>0.7409721997022</c:v>
                </c:pt>
                <c:pt idx="7">
                  <c:v>0.9715207929828376</c:v>
                </c:pt>
                <c:pt idx="8">
                  <c:v>1.289958056381139</c:v>
                </c:pt>
                <c:pt idx="9">
                  <c:v>1.0007332230178487</c:v>
                </c:pt>
                <c:pt idx="10">
                  <c:v>0.8980522776234005</c:v>
                </c:pt>
                <c:pt idx="11">
                  <c:v>1.164799081806989</c:v>
                </c:pt>
                <c:pt idx="12">
                  <c:v>0.8815693333432987</c:v>
                </c:pt>
                <c:pt idx="13">
                  <c:v>0.9421078001547677</c:v>
                </c:pt>
                <c:pt idx="14">
                  <c:v>0.887940412027452</c:v>
                </c:pt>
                <c:pt idx="15">
                  <c:v>0.9508082879798453</c:v>
                </c:pt>
                <c:pt idx="16">
                  <c:v>0.941404024158397</c:v>
                </c:pt>
                <c:pt idx="17">
                  <c:v>0.5389439206216746</c:v>
                </c:pt>
                <c:pt idx="18">
                  <c:v>0.5389439206216746</c:v>
                </c:pt>
                <c:pt idx="19">
                  <c:v>0.3741139820899622</c:v>
                </c:pt>
              </c:numCache>
            </c:numRef>
          </c:xVal>
          <c:yVal>
            <c:numRef>
              <c:f>Sheet1!$B$47:$B$66</c:f>
              <c:numCache>
                <c:formatCode>General</c:formatCode>
                <c:ptCount val="20"/>
                <c:pt idx="0">
                  <c:v>0.11220349460168737</c:v>
                </c:pt>
                <c:pt idx="1">
                  <c:v>0.07346345471544183</c:v>
                </c:pt>
                <c:pt idx="2">
                  <c:v>0.05615157576233305</c:v>
                </c:pt>
                <c:pt idx="3">
                  <c:v>0.059570395843515936</c:v>
                </c:pt>
                <c:pt idx="4">
                  <c:v>0.08938317364868509</c:v>
                </c:pt>
                <c:pt idx="5">
                  <c:v>0.09378970504136773</c:v>
                </c:pt>
                <c:pt idx="6">
                  <c:v>0.09181234419852324</c:v>
                </c:pt>
                <c:pt idx="7">
                  <c:v>0.08546777277909239</c:v>
                </c:pt>
                <c:pt idx="8">
                  <c:v>0.07670455314070859</c:v>
                </c:pt>
                <c:pt idx="9">
                  <c:v>0.08466386265301043</c:v>
                </c:pt>
                <c:pt idx="10">
                  <c:v>0.08748958621176037</c:v>
                </c:pt>
                <c:pt idx="11">
                  <c:v>0.08014885979063824</c:v>
                </c:pt>
                <c:pt idx="12">
                  <c:v>0.08794318783951052</c:v>
                </c:pt>
                <c:pt idx="13">
                  <c:v>0.08627720228374237</c:v>
                </c:pt>
                <c:pt idx="14">
                  <c:v>0.0877678592324033</c:v>
                </c:pt>
                <c:pt idx="15">
                  <c:v>0.08603776960881426</c:v>
                </c:pt>
                <c:pt idx="16">
                  <c:v>0.08629656981493707</c:v>
                </c:pt>
                <c:pt idx="17">
                  <c:v>0.09737205214178898</c:v>
                </c:pt>
                <c:pt idx="18">
                  <c:v>0.09737205214178898</c:v>
                </c:pt>
                <c:pt idx="19">
                  <c:v>0.1019080820615285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66666666666666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9612.0</c:v>
                </c:pt>
                <c:pt idx="2">
                  <c:v>13322.0</c:v>
                </c:pt>
                <c:pt idx="3">
                  <c:v>14209.0</c:v>
                </c:pt>
                <c:pt idx="4">
                  <c:v>6198.25</c:v>
                </c:pt>
                <c:pt idx="5">
                  <c:v>5093.2</c:v>
                </c:pt>
                <c:pt idx="6">
                  <c:v>5328.4286</c:v>
                </c:pt>
                <c:pt idx="7">
                  <c:v>6130.1667</c:v>
                </c:pt>
                <c:pt idx="8">
                  <c:v>7577.25</c:v>
                </c:pt>
                <c:pt idx="9">
                  <c:v>5611.0</c:v>
                </c:pt>
                <c:pt idx="10">
                  <c:v>4851.4</c:v>
                </c:pt>
                <c:pt idx="11">
                  <c:v>6303.7143</c:v>
                </c:pt>
                <c:pt idx="12">
                  <c:v>4588.3077</c:v>
                </c:pt>
                <c:pt idx="13">
                  <c:v>4326.2</c:v>
                </c:pt>
                <c:pt idx="14">
                  <c:v>4497.1875</c:v>
                </c:pt>
                <c:pt idx="15">
                  <c:v>5210.4375</c:v>
                </c:pt>
                <c:pt idx="16">
                  <c:v>5082.75</c:v>
                </c:pt>
              </c:numCache>
            </c:numRef>
          </c:xVal>
          <c:yVal>
            <c:numRef>
              <c:f>Sheet1!$B$4:$B$20</c:f>
              <c:numCache>
                <c:formatCode>General</c:formatCode>
                <c:ptCount val="17"/>
                <c:pt idx="0">
                  <c:v>0.0</c:v>
                </c:pt>
                <c:pt idx="1">
                  <c:v>0.03333333333333333</c:v>
                </c:pt>
                <c:pt idx="2">
                  <c:v>0.02857142857142857</c:v>
                </c:pt>
                <c:pt idx="3">
                  <c:v>0.038461538461538464</c:v>
                </c:pt>
                <c:pt idx="4">
                  <c:v>0.12121212121212122</c:v>
                </c:pt>
                <c:pt idx="5">
                  <c:v>0.125</c:v>
                </c:pt>
                <c:pt idx="6">
                  <c:v>0.15555555555555556</c:v>
                </c:pt>
                <c:pt idx="7">
                  <c:v>0.11764705882352941</c:v>
                </c:pt>
                <c:pt idx="8">
                  <c:v>0.05333333333333334</c:v>
                </c:pt>
                <c:pt idx="9">
                  <c:v>0.1</c:v>
                </c:pt>
                <c:pt idx="10">
                  <c:v>0.09433962264150944</c:v>
                </c:pt>
                <c:pt idx="11">
                  <c:v>0.06666666666666667</c:v>
                </c:pt>
                <c:pt idx="12">
                  <c:v>0.1015625</c:v>
                </c:pt>
                <c:pt idx="13">
                  <c:v>0.08522727272727272</c:v>
                </c:pt>
                <c:pt idx="14">
                  <c:v>0.11188811188811189</c:v>
                </c:pt>
                <c:pt idx="15">
                  <c:v>0.12030075187969924</c:v>
                </c:pt>
                <c:pt idx="16">
                  <c:v>0.07207207207207207</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2777.8784416448625</c:v>
                </c:pt>
              </c:numCache>
            </c:numRef>
          </c:xVal>
          <c:yVal>
            <c:numRef>
              <c:f>Sheet1!$B$23:$B$24</c:f>
              <c:numCache>
                <c:formatCode>General</c:formatCode>
                <c:ptCount val="2"/>
                <c:pt idx="0">
                  <c:v>0.09737205214178898</c:v>
                </c:pt>
                <c:pt idx="1">
                  <c:v>0.09737205214178898</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2777.8784416448625</c:v>
                </c:pt>
                <c:pt idx="1">
                  <c:v>2777.8784416448625</c:v>
                </c:pt>
              </c:numCache>
            </c:numRef>
          </c:xVal>
          <c:yVal>
            <c:numRef>
              <c:f>Sheet1!$B$27:$B$28</c:f>
              <c:numCache>
                <c:formatCode>General</c:formatCode>
                <c:ptCount val="2"/>
                <c:pt idx="0">
                  <c:v>0.0973720521417889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2777.8784416448625</c:v>
                </c:pt>
              </c:numCache>
            </c:numRef>
          </c:xVal>
          <c:yVal>
            <c:numRef>
              <c:f>Sheet1!$B$31:$B$32</c:f>
              <c:numCache>
                <c:formatCode>General</c:formatCode>
                <c:ptCount val="2"/>
                <c:pt idx="0">
                  <c:v>0.09737205214178898</c:v>
                </c:pt>
                <c:pt idx="1">
                  <c:v>0.09737205214178898</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2777.8784416448625</c:v>
                </c:pt>
                <c:pt idx="1">
                  <c:v>2777.8784416448625</c:v>
                </c:pt>
              </c:numCache>
            </c:numRef>
          </c:xVal>
          <c:yVal>
            <c:numRef>
              <c:f>Sheet1!$B$35:$B$36</c:f>
              <c:numCache>
                <c:formatCode>General</c:formatCode>
                <c:ptCount val="2"/>
                <c:pt idx="0">
                  <c:v>0.0973720521417889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1581.2173737079759</c:v>
                </c:pt>
              </c:numCache>
            </c:numRef>
          </c:xVal>
          <c:yVal>
            <c:numRef>
              <c:f>Sheet1!$B$39:$B$40</c:f>
              <c:numCache>
                <c:formatCode>General</c:formatCode>
                <c:ptCount val="2"/>
                <c:pt idx="0">
                  <c:v>0.10190808206152858</c:v>
                </c:pt>
                <c:pt idx="1">
                  <c:v>0.10190808206152858</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1581.2173737079759</c:v>
                </c:pt>
                <c:pt idx="1">
                  <c:v>1581.2173737079759</c:v>
                </c:pt>
              </c:numCache>
            </c:numRef>
          </c:xVal>
          <c:yVal>
            <c:numRef>
              <c:f>Sheet1!$B$43:$B$44</c:f>
              <c:numCache>
                <c:formatCode>General</c:formatCode>
                <c:ptCount val="2"/>
                <c:pt idx="0">
                  <c:v>0.1019080820615285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9612.0</c:v>
                </c:pt>
                <c:pt idx="2">
                  <c:v>13322.0</c:v>
                </c:pt>
                <c:pt idx="3">
                  <c:v>14209.0</c:v>
                </c:pt>
                <c:pt idx="4">
                  <c:v>6198.25</c:v>
                </c:pt>
                <c:pt idx="5">
                  <c:v>5093.2</c:v>
                </c:pt>
                <c:pt idx="6">
                  <c:v>5328.4286</c:v>
                </c:pt>
                <c:pt idx="7">
                  <c:v>6130.1667</c:v>
                </c:pt>
                <c:pt idx="8">
                  <c:v>7577.25</c:v>
                </c:pt>
                <c:pt idx="9">
                  <c:v>5611.0</c:v>
                </c:pt>
                <c:pt idx="10">
                  <c:v>4851.4</c:v>
                </c:pt>
                <c:pt idx="11">
                  <c:v>6303.7143</c:v>
                </c:pt>
                <c:pt idx="12">
                  <c:v>4588.3077</c:v>
                </c:pt>
                <c:pt idx="13">
                  <c:v>4326.2</c:v>
                </c:pt>
                <c:pt idx="14">
                  <c:v>4497.1875</c:v>
                </c:pt>
                <c:pt idx="15">
                  <c:v>5210.4375</c:v>
                </c:pt>
                <c:pt idx="16">
                  <c:v>5082.75</c:v>
                </c:pt>
                <c:pt idx="17">
                  <c:v>2777.8784416448625</c:v>
                </c:pt>
                <c:pt idx="18">
                  <c:v>2777.8784416448625</c:v>
                </c:pt>
                <c:pt idx="19">
                  <c:v>1581.2173737079759</c:v>
                </c:pt>
              </c:numCache>
            </c:numRef>
          </c:xVal>
          <c:yVal>
            <c:numRef>
              <c:f>Sheet1!$B$47:$B$66</c:f>
              <c:numCache>
                <c:formatCode>General</c:formatCode>
                <c:ptCount val="20"/>
                <c:pt idx="0">
                  <c:v>0.10790180034060419</c:v>
                </c:pt>
                <c:pt idx="1">
                  <c:v>0.07146682242015881</c:v>
                </c:pt>
                <c:pt idx="2">
                  <c:v>0.05740380035556744</c:v>
                </c:pt>
                <c:pt idx="3">
                  <c:v>0.05404156300481473</c:v>
                </c:pt>
                <c:pt idx="4">
                  <c:v>0.08440688753417468</c:v>
                </c:pt>
                <c:pt idx="5">
                  <c:v>0.08859565910627082</c:v>
                </c:pt>
                <c:pt idx="6">
                  <c:v>0.08770400816502474</c:v>
                </c:pt>
                <c:pt idx="7">
                  <c:v>0.08466496218380545</c:v>
                </c:pt>
                <c:pt idx="8">
                  <c:v>0.07917968876676995</c:v>
                </c:pt>
                <c:pt idx="9">
                  <c:v>0.08663290093240412</c:v>
                </c:pt>
                <c:pt idx="10">
                  <c:v>0.08951221941225955</c:v>
                </c:pt>
                <c:pt idx="11">
                  <c:v>0.08400711751317018</c:v>
                </c:pt>
                <c:pt idx="12">
                  <c:v>0.09050948971412588</c:v>
                </c:pt>
                <c:pt idx="13">
                  <c:v>0.09150302781881572</c:v>
                </c:pt>
                <c:pt idx="14">
                  <c:v>0.09085488739151941</c:v>
                </c:pt>
                <c:pt idx="15">
                  <c:v>0.08815126192317176</c:v>
                </c:pt>
                <c:pt idx="16">
                  <c:v>0.08863527058351475</c:v>
                </c:pt>
                <c:pt idx="17">
                  <c:v>0.09737205214178898</c:v>
                </c:pt>
                <c:pt idx="18">
                  <c:v>0.09737205214178898</c:v>
                </c:pt>
                <c:pt idx="19">
                  <c:v>0.1019080820615285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5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66666666666666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8</c:f>
              <c:numCache>
                <c:formatCode>General</c:formatCode>
                <c:ptCount val="17"/>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numCache>
            </c:numRef>
          </c:xVal>
          <c:yVal>
            <c:numRef>
              <c:f>Sheet1!$B$2:$B$18</c:f>
              <c:numCache>
                <c:formatCode>General</c:formatCode>
                <c:ptCount val="17"/>
                <c:pt idx="0">
                  <c:v>0.0</c:v>
                </c:pt>
                <c:pt idx="1">
                  <c:v>0.03333333333333333</c:v>
                </c:pt>
                <c:pt idx="2">
                  <c:v>0.02857142857142857</c:v>
                </c:pt>
                <c:pt idx="3">
                  <c:v>0.038461538461538464</c:v>
                </c:pt>
                <c:pt idx="4">
                  <c:v>0.12121212121212122</c:v>
                </c:pt>
                <c:pt idx="5">
                  <c:v>0.125</c:v>
                </c:pt>
                <c:pt idx="6">
                  <c:v>0.15555555555555556</c:v>
                </c:pt>
                <c:pt idx="7">
                  <c:v>0.11764705882352941</c:v>
                </c:pt>
                <c:pt idx="8">
                  <c:v>0.05333333333333334</c:v>
                </c:pt>
                <c:pt idx="9">
                  <c:v>0.1</c:v>
                </c:pt>
                <c:pt idx="10">
                  <c:v>0.09433962264150944</c:v>
                </c:pt>
                <c:pt idx="11">
                  <c:v>0.06666666666666667</c:v>
                </c:pt>
                <c:pt idx="12">
                  <c:v>0.1015625</c:v>
                </c:pt>
                <c:pt idx="13">
                  <c:v>0.08522727272727272</c:v>
                </c:pt>
                <c:pt idx="14">
                  <c:v>0.11188811188811189</c:v>
                </c:pt>
                <c:pt idx="15">
                  <c:v>0.12030075187969924</c:v>
                </c:pt>
                <c:pt idx="16">
                  <c:v>0.07207207207207207</c:v>
                </c:pt>
              </c:numCache>
            </c:numRef>
          </c:yVal>
          <c:smooth val="0"/>
          <c:extLst>
            <c:ext xmlns:c16="http://schemas.microsoft.com/office/drawing/2014/chart" uri="{C3380CC4-5D6E-409C-BE32-E72D297353CC}">
              <c16:uniqueId val="{00000000-096C-4121-9522-6AB7243CCAAE}"/>
            </c:ext>
          </c:extLst>
        </c:ser>
        <c:ser>
          <c:idx val="1"/>
          <c:order val="1"/>
          <c:tx>
            <c:strRef>
              <c:f>Sheet1!$B$2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1:$A$20</c:f>
              <c:numCache>
                <c:formatCode>General</c:formatCode>
                <c:ptCount val="0"/>
              </c:numCache>
            </c:numRef>
          </c:xVal>
          <c:yVal>
            <c:numRef>
              <c:f>Sheet1!$B$21:$B$20</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3:$A$24</c:f>
              <c:numCache>
                <c:formatCode>General</c:formatCode>
                <c:ptCount val="2"/>
                <c:pt idx="0">
                  <c:v>0</c:v>
                </c:pt>
                <c:pt idx="1">
                  <c:v>0.09737205214178898</c:v>
                </c:pt>
              </c:numCache>
            </c:numRef>
          </c:xVal>
          <c:yVal>
            <c:numRef>
              <c:f>Sheet1!$B$23:$B$24</c:f>
              <c:numCache>
                <c:formatCode>General</c:formatCode>
                <c:ptCount val="2"/>
                <c:pt idx="0">
                  <c:v>0.09737205214178898</c:v>
                </c:pt>
                <c:pt idx="1">
                  <c:v>0.09737205214178898</c:v>
                </c:pt>
              </c:numCache>
            </c:numRef>
          </c:yVal>
          <c:smooth val="0"/>
          <c:extLst>
            <c:ext xmlns:c16="http://schemas.microsoft.com/office/drawing/2014/chart" uri="{C3380CC4-5D6E-409C-BE32-E72D297353CC}">
              <c16:uniqueId val="{00000005-096C-4121-9522-6AB7243CCAAE}"/>
            </c:ext>
          </c:extLst>
        </c:ser>
        <c:ser>
          <c:idx val="3"/>
          <c:order val="3"/>
          <c:tx>
            <c:strRef>
              <c:f>Sheet1!$B$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7:$A$28</c:f>
              <c:numCache>
                <c:formatCode>General</c:formatCode>
                <c:ptCount val="2"/>
                <c:pt idx="0">
                  <c:v>0.09737205214178898</c:v>
                </c:pt>
                <c:pt idx="1">
                  <c:v>0.09737205214178898</c:v>
                </c:pt>
              </c:numCache>
            </c:numRef>
          </c:xVal>
          <c:yVal>
            <c:numRef>
              <c:f>Sheet1!$B$27:$B$28</c:f>
              <c:numCache>
                <c:formatCode>General</c:formatCode>
                <c:ptCount val="2"/>
                <c:pt idx="0">
                  <c:v>0.0973720521417889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1:$A$32</c:f>
              <c:numCache>
                <c:formatCode>General</c:formatCode>
                <c:ptCount val="2"/>
                <c:pt idx="0">
                  <c:v>0</c:v>
                </c:pt>
                <c:pt idx="1">
                  <c:v>0.09737205214178898</c:v>
                </c:pt>
              </c:numCache>
            </c:numRef>
          </c:xVal>
          <c:yVal>
            <c:numRef>
              <c:f>Sheet1!$B$31:$B$32</c:f>
              <c:numCache>
                <c:formatCode>General</c:formatCode>
                <c:ptCount val="2"/>
                <c:pt idx="0">
                  <c:v>0.09737205214178898</c:v>
                </c:pt>
                <c:pt idx="1">
                  <c:v>0.09737205214178898</c:v>
                </c:pt>
              </c:numCache>
            </c:numRef>
          </c:yVal>
          <c:smooth val="0"/>
          <c:extLst>
            <c:ext xmlns:c16="http://schemas.microsoft.com/office/drawing/2014/chart" uri="{C3380CC4-5D6E-409C-BE32-E72D297353CC}">
              <c16:uniqueId val="{0000000D-096C-4121-9522-6AB7243CCAAE}"/>
            </c:ext>
          </c:extLst>
        </c:ser>
        <c:ser>
          <c:idx val="5"/>
          <c:order val="5"/>
          <c:tx>
            <c:strRef>
              <c:f>Sheet1!$B$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5:$A$36</c:f>
              <c:numCache>
                <c:formatCode>General</c:formatCode>
                <c:ptCount val="2"/>
                <c:pt idx="0">
                  <c:v>0.09737205214178898</c:v>
                </c:pt>
                <c:pt idx="1">
                  <c:v>0.09737205214178898</c:v>
                </c:pt>
              </c:numCache>
            </c:numRef>
          </c:xVal>
          <c:yVal>
            <c:numRef>
              <c:f>Sheet1!$B$35:$B$36</c:f>
              <c:numCache>
                <c:formatCode>General</c:formatCode>
                <c:ptCount val="2"/>
                <c:pt idx="0">
                  <c:v>0.0973720521417889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9:$A$40</c:f>
              <c:numCache>
                <c:formatCode>General</c:formatCode>
                <c:ptCount val="2"/>
                <c:pt idx="0">
                  <c:v>0</c:v>
                </c:pt>
                <c:pt idx="1">
                  <c:v>0.10190808206152858</c:v>
                </c:pt>
              </c:numCache>
            </c:numRef>
          </c:xVal>
          <c:yVal>
            <c:numRef>
              <c:f>Sheet1!$B$39:$B$40</c:f>
              <c:numCache>
                <c:formatCode>General</c:formatCode>
                <c:ptCount val="2"/>
                <c:pt idx="0">
                  <c:v>0.10190808206152858</c:v>
                </c:pt>
                <c:pt idx="1">
                  <c:v>0.10190808206152858</c:v>
                </c:pt>
              </c:numCache>
            </c:numRef>
          </c:yVal>
          <c:smooth val="0"/>
          <c:extLst>
            <c:ext xmlns:c16="http://schemas.microsoft.com/office/drawing/2014/chart" uri="{C3380CC4-5D6E-409C-BE32-E72D297353CC}">
              <c16:uniqueId val="{00000015-096C-4121-9522-6AB7243CCAAE}"/>
            </c:ext>
          </c:extLst>
        </c:ser>
        <c:ser>
          <c:idx val="7"/>
          <c:order val="7"/>
          <c:tx>
            <c:strRef>
              <c:f>Sheet1!$B$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0.10190808206152858</c:v>
                </c:pt>
                <c:pt idx="1">
                  <c:v>0.10190808206152858</c:v>
                </c:pt>
              </c:numCache>
            </c:numRef>
          </c:xVal>
          <c:yVal>
            <c:numRef>
              <c:f>Sheet1!$B$43:$B$44</c:f>
              <c:numCache>
                <c:formatCode>General</c:formatCode>
                <c:ptCount val="2"/>
                <c:pt idx="0">
                  <c:v>0.1019080820615285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7:$A$49</c:f>
              <c:numCache>
                <c:formatCode>General</c:formatCode>
                <c:ptCount val="3"/>
                <c:pt idx="0">
                  <c:v>0.09737205214178898</c:v>
                </c:pt>
                <c:pt idx="1">
                  <c:v>0.09737205214178898</c:v>
                </c:pt>
                <c:pt idx="2">
                  <c:v>0.10190808206152858</c:v>
                </c:pt>
              </c:numCache>
            </c:numRef>
          </c:xVal>
          <c:yVal>
            <c:numRef>
              <c:f>Sheet1!$B$47:$B$49</c:f>
              <c:numCache>
                <c:formatCode>General</c:formatCode>
                <c:ptCount val="3"/>
                <c:pt idx="0">
                  <c:v>0.09737205214178898</c:v>
                </c:pt>
                <c:pt idx="1">
                  <c:v>0.09737205214178898</c:v>
                </c:pt>
                <c:pt idx="2">
                  <c:v>0.1019080820615285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66666666666666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20</c:f>
              <c:numCache>
                <c:formatCode>General</c:formatCode>
                <c:ptCount val="17"/>
                <c:pt idx="0">
                  <c:v>0.0</c:v>
                </c:pt>
                <c:pt idx="1">
                  <c:v>9612.0</c:v>
                </c:pt>
                <c:pt idx="2">
                  <c:v>13322.0</c:v>
                </c:pt>
                <c:pt idx="3">
                  <c:v>14209.0</c:v>
                </c:pt>
                <c:pt idx="4">
                  <c:v>6198.25</c:v>
                </c:pt>
                <c:pt idx="5">
                  <c:v>5093.2</c:v>
                </c:pt>
                <c:pt idx="6">
                  <c:v>5328.4286</c:v>
                </c:pt>
                <c:pt idx="7">
                  <c:v>6130.1667</c:v>
                </c:pt>
                <c:pt idx="8">
                  <c:v>7577.25</c:v>
                </c:pt>
                <c:pt idx="9">
                  <c:v>5611.0</c:v>
                </c:pt>
                <c:pt idx="10">
                  <c:v>4851.4</c:v>
                </c:pt>
                <c:pt idx="11">
                  <c:v>6303.7143</c:v>
                </c:pt>
                <c:pt idx="12">
                  <c:v>4588.3077</c:v>
                </c:pt>
                <c:pt idx="13">
                  <c:v>4326.2</c:v>
                </c:pt>
                <c:pt idx="14">
                  <c:v>4497.1875</c:v>
                </c:pt>
                <c:pt idx="15">
                  <c:v>5210.4375</c:v>
                </c:pt>
                <c:pt idx="16">
                  <c:v>5082.75</c:v>
                </c:pt>
              </c:numCache>
            </c:numRef>
          </c:xVal>
          <c:yVal>
            <c:numRef>
              <c:f>Sheet1!$B$4:$B$20</c:f>
              <c:numCache>
                <c:formatCode>General</c:formatCode>
                <c:ptCount val="17"/>
                <c:pt idx="0">
                  <c:v>0.0</c:v>
                </c:pt>
                <c:pt idx="1">
                  <c:v>0.03333333333333333</c:v>
                </c:pt>
                <c:pt idx="2">
                  <c:v>0.02857142857142857</c:v>
                </c:pt>
                <c:pt idx="3">
                  <c:v>0.038461538461538464</c:v>
                </c:pt>
                <c:pt idx="4">
                  <c:v>0.12121212121212122</c:v>
                </c:pt>
                <c:pt idx="5">
                  <c:v>0.125</c:v>
                </c:pt>
                <c:pt idx="6">
                  <c:v>0.15555555555555556</c:v>
                </c:pt>
                <c:pt idx="7">
                  <c:v>0.11764705882352941</c:v>
                </c:pt>
                <c:pt idx="8">
                  <c:v>0.05333333333333334</c:v>
                </c:pt>
                <c:pt idx="9">
                  <c:v>0.1</c:v>
                </c:pt>
                <c:pt idx="10">
                  <c:v>0.09433962264150944</c:v>
                </c:pt>
                <c:pt idx="11">
                  <c:v>0.06666666666666667</c:v>
                </c:pt>
                <c:pt idx="12">
                  <c:v>0.1015625</c:v>
                </c:pt>
                <c:pt idx="13">
                  <c:v>0.08522727272727272</c:v>
                </c:pt>
                <c:pt idx="14">
                  <c:v>0.11188811188811189</c:v>
                </c:pt>
                <c:pt idx="15">
                  <c:v>0.12030075187969924</c:v>
                </c:pt>
                <c:pt idx="16">
                  <c:v>0.07207207207207207</c:v>
                </c:pt>
              </c:numCache>
            </c:numRef>
          </c:yVal>
          <c:smooth val="0"/>
          <c:extLst>
            <c:ext xmlns:c16="http://schemas.microsoft.com/office/drawing/2014/chart" uri="{C3380CC4-5D6E-409C-BE32-E72D297353CC}">
              <c16:uniqueId val="{00000002-F32D-48B7-BC20-E66FC6253BAD}"/>
            </c:ext>
          </c:extLst>
        </c:ser>
        <c:ser>
          <c:idx val="2"/>
          <c:order val="2"/>
          <c:tx>
            <c:strRef>
              <c:f>Sheet1!$B$22</c:f>
              <c:strCache>
                <c:ptCount val="1"/>
                <c:pt idx="0">
                  <c:v>Custom Linep3yQ</c:v>
                </c:pt>
              </c:strCache>
            </c:strRef>
          </c:tx>
          <c:spPr>
            <a:ln w="19050" cap="rnd">
              <a:solidFill>
                <a:srgbClr val="C00000"/>
              </a:solidFill>
              <a:prstDash val="sysDot"/>
              <a:round/>
            </a:ln>
            <a:effectLst/>
          </c:spPr>
          <c:marker>
            <c:symbol val="none"/>
          </c:marker>
          <c:xVal>
            <c:numRef>
              <c:f>Sheet1!$A$23:$A$24</c:f>
              <c:numCache>
                <c:formatCode>General</c:formatCode>
                <c:ptCount val="2"/>
                <c:pt idx="0">
                  <c:v>0</c:v>
                </c:pt>
                <c:pt idx="1">
                  <c:v>2777.8784416448625</c:v>
                </c:pt>
              </c:numCache>
            </c:numRef>
          </c:xVal>
          <c:yVal>
            <c:numRef>
              <c:f>Sheet1!$B$23:$B$24</c:f>
              <c:numCache>
                <c:formatCode>General</c:formatCode>
                <c:ptCount val="2"/>
                <c:pt idx="0">
                  <c:v>0.09737205214178898</c:v>
                </c:pt>
                <c:pt idx="1">
                  <c:v>0.09737205214178898</c:v>
                </c:pt>
              </c:numCache>
            </c:numRef>
          </c:yVal>
          <c:smooth val="0"/>
          <c:extLst>
            <c:ext xmlns:c16="http://schemas.microsoft.com/office/drawing/2014/chart" uri="{C3380CC4-5D6E-409C-BE32-E72D297353CC}">
              <c16:uniqueId val="{00000003-F32D-48B7-BC20-E66FC6253BAD}"/>
            </c:ext>
          </c:extLst>
        </c:ser>
        <c:ser>
          <c:idx val="3"/>
          <c:order val="3"/>
          <c:tx>
            <c:strRef>
              <c:f>Sheet1!$B$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7:$A$28</c:f>
              <c:numCache>
                <c:formatCode>General</c:formatCode>
                <c:ptCount val="2"/>
                <c:pt idx="0">
                  <c:v>2777.8784416448625</c:v>
                </c:pt>
                <c:pt idx="1">
                  <c:v>2777.8784416448625</c:v>
                </c:pt>
              </c:numCache>
            </c:numRef>
          </c:xVal>
          <c:yVal>
            <c:numRef>
              <c:f>Sheet1!$B$27:$B$28</c:f>
              <c:numCache>
                <c:formatCode>General</c:formatCode>
                <c:ptCount val="2"/>
                <c:pt idx="0">
                  <c:v>0.0973720521417889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1:$A$32</c:f>
              <c:numCache>
                <c:formatCode>General</c:formatCode>
                <c:ptCount val="2"/>
                <c:pt idx="0">
                  <c:v>0</c:v>
                </c:pt>
                <c:pt idx="1">
                  <c:v>2777.8784416448625</c:v>
                </c:pt>
              </c:numCache>
            </c:numRef>
          </c:xVal>
          <c:yVal>
            <c:numRef>
              <c:f>Sheet1!$B$31:$B$32</c:f>
              <c:numCache>
                <c:formatCode>General</c:formatCode>
                <c:ptCount val="2"/>
                <c:pt idx="0">
                  <c:v>0.09737205214178898</c:v>
                </c:pt>
                <c:pt idx="1">
                  <c:v>0.09737205214178898</c:v>
                </c:pt>
              </c:numCache>
            </c:numRef>
          </c:yVal>
          <c:smooth val="0"/>
          <c:extLst>
            <c:ext xmlns:c16="http://schemas.microsoft.com/office/drawing/2014/chart" uri="{C3380CC4-5D6E-409C-BE32-E72D297353CC}">
              <c16:uniqueId val="{0000000A-F32D-48B7-BC20-E66FC6253BAD}"/>
            </c:ext>
          </c:extLst>
        </c:ser>
        <c:ser>
          <c:idx val="5"/>
          <c:order val="5"/>
          <c:tx>
            <c:strRef>
              <c:f>Sheet1!$B$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5:$A$36</c:f>
              <c:numCache>
                <c:formatCode>General</c:formatCode>
                <c:ptCount val="2"/>
                <c:pt idx="0">
                  <c:v>2777.8784416448625</c:v>
                </c:pt>
                <c:pt idx="1">
                  <c:v>2777.8784416448625</c:v>
                </c:pt>
              </c:numCache>
            </c:numRef>
          </c:xVal>
          <c:yVal>
            <c:numRef>
              <c:f>Sheet1!$B$35:$B$36</c:f>
              <c:numCache>
                <c:formatCode>General</c:formatCode>
                <c:ptCount val="2"/>
                <c:pt idx="0">
                  <c:v>0.0973720521417889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9:$A$40</c:f>
              <c:numCache>
                <c:formatCode>General</c:formatCode>
                <c:ptCount val="2"/>
                <c:pt idx="0">
                  <c:v>0</c:v>
                </c:pt>
                <c:pt idx="1">
                  <c:v>1581.2173737079759</c:v>
                </c:pt>
              </c:numCache>
            </c:numRef>
          </c:xVal>
          <c:yVal>
            <c:numRef>
              <c:f>Sheet1!$B$39:$B$40</c:f>
              <c:numCache>
                <c:formatCode>General</c:formatCode>
                <c:ptCount val="2"/>
                <c:pt idx="0">
                  <c:v>0.10190808206152858</c:v>
                </c:pt>
                <c:pt idx="1">
                  <c:v>0.10190808206152858</c:v>
                </c:pt>
              </c:numCache>
            </c:numRef>
          </c:yVal>
          <c:smooth val="0"/>
          <c:extLst>
            <c:ext xmlns:c16="http://schemas.microsoft.com/office/drawing/2014/chart" uri="{C3380CC4-5D6E-409C-BE32-E72D297353CC}">
              <c16:uniqueId val="{00000011-F32D-48B7-BC20-E66FC6253BAD}"/>
            </c:ext>
          </c:extLst>
        </c:ser>
        <c:ser>
          <c:idx val="7"/>
          <c:order val="7"/>
          <c:tx>
            <c:strRef>
              <c:f>Sheet1!$B$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1581.2173737079759</c:v>
                </c:pt>
                <c:pt idx="1">
                  <c:v>1581.2173737079759</c:v>
                </c:pt>
              </c:numCache>
            </c:numRef>
          </c:xVal>
          <c:yVal>
            <c:numRef>
              <c:f>Sheet1!$B$43:$B$44</c:f>
              <c:numCache>
                <c:formatCode>General</c:formatCode>
                <c:ptCount val="2"/>
                <c:pt idx="0">
                  <c:v>0.1019080820615285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7:$A$66</c:f>
              <c:numCache>
                <c:formatCode>General</c:formatCode>
                <c:ptCount val="20"/>
                <c:pt idx="0">
                  <c:v>0.0</c:v>
                </c:pt>
                <c:pt idx="1">
                  <c:v>9612.0</c:v>
                </c:pt>
                <c:pt idx="2">
                  <c:v>13322.0</c:v>
                </c:pt>
                <c:pt idx="3">
                  <c:v>14209.0</c:v>
                </c:pt>
                <c:pt idx="4">
                  <c:v>6198.25</c:v>
                </c:pt>
                <c:pt idx="5">
                  <c:v>5093.2</c:v>
                </c:pt>
                <c:pt idx="6">
                  <c:v>5328.4286</c:v>
                </c:pt>
                <c:pt idx="7">
                  <c:v>6130.1667</c:v>
                </c:pt>
                <c:pt idx="8">
                  <c:v>7577.25</c:v>
                </c:pt>
                <c:pt idx="9">
                  <c:v>5611.0</c:v>
                </c:pt>
                <c:pt idx="10">
                  <c:v>4851.4</c:v>
                </c:pt>
                <c:pt idx="11">
                  <c:v>6303.7143</c:v>
                </c:pt>
                <c:pt idx="12">
                  <c:v>4588.3077</c:v>
                </c:pt>
                <c:pt idx="13">
                  <c:v>4326.2</c:v>
                </c:pt>
                <c:pt idx="14">
                  <c:v>4497.1875</c:v>
                </c:pt>
                <c:pt idx="15">
                  <c:v>5210.4375</c:v>
                </c:pt>
                <c:pt idx="16">
                  <c:v>5082.75</c:v>
                </c:pt>
                <c:pt idx="17">
                  <c:v>2777.8784416448625</c:v>
                </c:pt>
                <c:pt idx="18">
                  <c:v>2777.8784416448625</c:v>
                </c:pt>
                <c:pt idx="19">
                  <c:v>1581.2173737079759</c:v>
                </c:pt>
              </c:numCache>
            </c:numRef>
          </c:xVal>
          <c:yVal>
            <c:numRef>
              <c:f>Sheet1!$B$47:$B$66</c:f>
              <c:numCache>
                <c:formatCode>General</c:formatCode>
                <c:ptCount val="20"/>
                <c:pt idx="0">
                  <c:v>0.10790180034060419</c:v>
                </c:pt>
                <c:pt idx="1">
                  <c:v>0.07146682242015881</c:v>
                </c:pt>
                <c:pt idx="2">
                  <c:v>0.05740380035556744</c:v>
                </c:pt>
                <c:pt idx="3">
                  <c:v>0.05404156300481473</c:v>
                </c:pt>
                <c:pt idx="4">
                  <c:v>0.08440688753417468</c:v>
                </c:pt>
                <c:pt idx="5">
                  <c:v>0.08859565910627082</c:v>
                </c:pt>
                <c:pt idx="6">
                  <c:v>0.08770400816502474</c:v>
                </c:pt>
                <c:pt idx="7">
                  <c:v>0.08466496218380545</c:v>
                </c:pt>
                <c:pt idx="8">
                  <c:v>0.07917968876676995</c:v>
                </c:pt>
                <c:pt idx="9">
                  <c:v>0.08663290093240412</c:v>
                </c:pt>
                <c:pt idx="10">
                  <c:v>0.08951221941225955</c:v>
                </c:pt>
                <c:pt idx="11">
                  <c:v>0.08400711751317018</c:v>
                </c:pt>
                <c:pt idx="12">
                  <c:v>0.09050948971412588</c:v>
                </c:pt>
                <c:pt idx="13">
                  <c:v>0.09150302781881572</c:v>
                </c:pt>
                <c:pt idx="14">
                  <c:v>0.09085488739151941</c:v>
                </c:pt>
                <c:pt idx="15">
                  <c:v>0.08815126192317176</c:v>
                </c:pt>
                <c:pt idx="16">
                  <c:v>0.08863527058351475</c:v>
                </c:pt>
                <c:pt idx="17">
                  <c:v>0.09737205214178898</c:v>
                </c:pt>
                <c:pt idx="18">
                  <c:v>0.09737205214178898</c:v>
                </c:pt>
                <c:pt idx="19">
                  <c:v>0.1019080820615285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05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66666666666666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9275956144173707</c:v>
                </c:pt>
                <c:pt idx="1">
                  <c:v>0.7929557127629474</c:v>
                </c:pt>
                <c:pt idx="2">
                  <c:v>0.7530823442820471</c:v>
                </c:pt>
                <c:pt idx="3">
                  <c:v>0.7478859001487413</c:v>
                </c:pt>
                <c:pt idx="4">
                  <c:v>0.757490282929658</c:v>
                </c:pt>
                <c:pt idx="5">
                  <c:v>0.7831652321110222</c:v>
                </c:pt>
                <c:pt idx="6">
                  <c:v>0.7559066130934531</c:v>
                </c:pt>
                <c:pt idx="7">
                  <c:v>0.7449659588202698</c:v>
                </c:pt>
                <c:pt idx="8">
                  <c:v>0.7617030395822825</c:v>
                </c:pt>
                <c:pt idx="9">
                  <c:v>0.7944886950872514</c:v>
                </c:pt>
                <c:pt idx="10">
                  <c:v>0.8066107973761899</c:v>
                </c:pt>
                <c:pt idx="11">
                  <c:v>0.8645429605560234</c:v>
                </c:pt>
                <c:pt idx="12">
                  <c:v>0.8864823687353186</c:v>
                </c:pt>
                <c:pt idx="13">
                  <c:v>0.8906546329098319</c:v>
                </c:pt>
                <c:pt idx="14">
                  <c:v>0.9128655642153395</c:v>
                </c:pt>
                <c:pt idx="15">
                  <c:v>0.9417059310711174</c:v>
                </c:pt>
                <c:pt idx="16">
                  <c:v>0.9595145466296486</c:v>
                </c:pt>
                <c:pt idx="17">
                  <c:v>0.9640886616325519</c:v>
                </c:pt>
                <c:pt idx="18">
                  <c:v>1.0180883065057666</c:v>
                </c:pt>
                <c:pt idx="19">
                  <c:v>0.9940478244110822</c:v>
                </c:pt>
                <c:pt idx="20">
                  <c:v>1.0277243317796854</c:v>
                </c:pt>
                <c:pt idx="21">
                  <c:v>0.93299690220844</c:v>
                </c:pt>
                <c:pt idx="22">
                  <c:v>0.8463483725939972</c:v>
                </c:pt>
                <c:pt idx="23">
                  <c:v>0.8300123655433962</c:v>
                </c:pt>
                <c:pt idx="24">
                  <c:v>0.8144197475243959</c:v>
                </c:pt>
                <c:pt idx="25">
                  <c:v>0.7799347280407872</c:v>
                </c:pt>
                <c:pt idx="26">
                  <c:v>0.7741820288607106</c:v>
                </c:pt>
                <c:pt idx="27">
                  <c:v>0.8067521056306246</c:v>
                </c:pt>
                <c:pt idx="28">
                  <c:v>0.7961337382896101</c:v>
                </c:pt>
                <c:pt idx="29">
                  <c:v>0.7761372833310667</c:v>
                </c:pt>
                <c:pt idx="30">
                  <c:v>0.7776353377865252</c:v>
                </c:pt>
                <c:pt idx="31">
                  <c:v>0.7853485756439847</c:v>
                </c:pt>
                <c:pt idx="32">
                  <c:v>0.7519690694012859</c:v>
                </c:pt>
                <c:pt idx="33">
                  <c:v>0.7276078727329355</c:v>
                </c:pt>
                <c:pt idx="34">
                  <c:v>0.7926880892230956</c:v>
                </c:pt>
                <c:pt idx="35">
                  <c:v>0.8489518531165543</c:v>
                </c:pt>
                <c:pt idx="36">
                  <c:v>0.9462492512717435</c:v>
                </c:pt>
                <c:pt idx="37">
                  <c:v>0.9530177034591077</c:v>
                </c:pt>
                <c:pt idx="38">
                  <c:v>0.9991476627989726</c:v>
                </c:pt>
                <c:pt idx="39">
                  <c:v>1.035428540802657</c:v>
                </c:pt>
                <c:pt idx="40">
                  <c:v>0.9797310158453068</c:v>
                </c:pt>
                <c:pt idx="41">
                  <c:v>0.9910360529861219</c:v>
                </c:pt>
                <c:pt idx="42">
                  <c:v>0.9887307301164008</c:v>
                </c:pt>
                <c:pt idx="43">
                  <c:v>0.9893097748439327</c:v>
                </c:pt>
                <c:pt idx="44">
                  <c:v>0.9898248593587035</c:v>
                </c:pt>
                <c:pt idx="45">
                  <c:v>0.9886846709278576</c:v>
                </c:pt>
                <c:pt idx="46">
                  <c:v>0.9846737929612764</c:v>
                </c:pt>
                <c:pt idx="47">
                  <c:v>1.0100078002536153</c:v>
                </c:pt>
                <c:pt idx="48">
                  <c:v>0.9884183120913839</c:v>
                </c:pt>
                <c:pt idx="49">
                  <c:v>0.9393348369074134</c:v>
                </c:pt>
                <c:pt idx="50">
                  <c:v>0.9528953606181728</c:v>
                </c:pt>
                <c:pt idx="51">
                  <c:v>0.9616824473052846</c:v>
                </c:pt>
                <c:pt idx="52">
                  <c:v>0.9365719654215411</c:v>
                </c:pt>
                <c:pt idx="53">
                  <c:v>0.8991636223687314</c:v>
                </c:pt>
                <c:pt idx="54">
                  <c:v>0.8652671221380033</c:v>
                </c:pt>
                <c:pt idx="55">
                  <c:v>0.9113183371555968</c:v>
                </c:pt>
                <c:pt idx="56">
                  <c:v>0.8844600779714413</c:v>
                </c:pt>
                <c:pt idx="57">
                  <c:v>0.8806199995750467</c:v>
                </c:pt>
                <c:pt idx="58">
                  <c:v>0.8768346562785925</c:v>
                </c:pt>
                <c:pt idx="59">
                  <c:v>0.8524105550707028</c:v>
                </c:pt>
                <c:pt idx="60">
                  <c:v>0.850585481047307</c:v>
                </c:pt>
                <c:pt idx="61">
                  <c:v>0.9733881816996716</c:v>
                </c:pt>
                <c:pt idx="62">
                  <c:v>0.9941069423352433</c:v>
                </c:pt>
                <c:pt idx="63">
                  <c:v>1.0157560701370005</c:v>
                </c:pt>
                <c:pt idx="64">
                  <c:v>1.0569062156648696</c:v>
                </c:pt>
                <c:pt idx="65">
                  <c:v>1.0257542106644644</c:v>
                </c:pt>
                <c:pt idx="66">
                  <c:v>1.0229161298593625</c:v>
                </c:pt>
                <c:pt idx="67">
                  <c:v>1.0613795213512829</c:v>
                </c:pt>
                <c:pt idx="68">
                  <c:v>1.0929654576108774</c:v>
                </c:pt>
                <c:pt idx="69">
                  <c:v>1.1132992884567166</c:v>
                </c:pt>
                <c:pt idx="70">
                  <c:v>1.081875692923011</c:v>
                </c:pt>
                <c:pt idx="71">
                  <c:v>1.039972451504644</c:v>
                </c:pt>
                <c:pt idx="72">
                  <c:v>1.1787697857672537</c:v>
                </c:pt>
                <c:pt idx="73">
                  <c:v>1.0620669999258987</c:v>
                </c:pt>
                <c:pt idx="74">
                  <c:v>1.037806857418738</c:v>
                </c:pt>
                <c:pt idx="75">
                  <c:v>0.9874034029608364</c:v>
                </c:pt>
                <c:pt idx="76">
                  <c:v>0.967842892989927</c:v>
                </c:pt>
                <c:pt idx="77">
                  <c:v>1.0034250078212381</c:v>
                </c:pt>
                <c:pt idx="78">
                  <c:v>1.0498649349367404</c:v>
                </c:pt>
                <c:pt idx="79">
                  <c:v>1.0418258689293978</c:v>
                </c:pt>
                <c:pt idx="80">
                  <c:v>1.0838910573556428</c:v>
                </c:pt>
                <c:pt idx="81">
                  <c:v>1.0483544424804863</c:v>
                </c:pt>
                <c:pt idx="82">
                  <c:v>1.0511648855211588</c:v>
                </c:pt>
                <c:pt idx="83">
                  <c:v>1.0032892467741183</c:v>
                </c:pt>
                <c:pt idx="84">
                  <c:v>1.0388965003993964</c:v>
                </c:pt>
                <c:pt idx="85">
                  <c:v>1.0160103904720672</c:v>
                </c:pt>
                <c:pt idx="86">
                  <c:v>1.0398587897992315</c:v>
                </c:pt>
                <c:pt idx="87">
                  <c:v>1.013570195963181</c:v>
                </c:pt>
                <c:pt idx="88">
                  <c:v>1.0106622076051233</c:v>
                </c:pt>
                <c:pt idx="89">
                  <c:v>1.0097778639221666</c:v>
                </c:pt>
                <c:pt idx="90">
                  <c:v>1.0197582023381135</c:v>
                </c:pt>
                <c:pt idx="91">
                  <c:v>1.0410837150179324</c:v>
                </c:pt>
                <c:pt idx="92">
                  <c:v>1.008107846042382</c:v>
                </c:pt>
                <c:pt idx="93">
                  <c:v>1.0154807132604329</c:v>
                </c:pt>
                <c:pt idx="94">
                  <c:v>0.9891262433410413</c:v>
                </c:pt>
                <c:pt idx="95">
                  <c:v>0.9704996066876921</c:v>
                </c:pt>
                <c:pt idx="96">
                  <c:v>1.0259376499775517</c:v>
                </c:pt>
                <c:pt idx="97">
                  <c:v>1.062149117238285</c:v>
                </c:pt>
                <c:pt idx="98">
                  <c:v>1.0462058554777043</c:v>
                </c:pt>
                <c:pt idx="99">
                  <c:v>1.028056365199123</c:v>
                </c:pt>
                <c:pt idx="100">
                  <c:v>0.9762885610349422</c:v>
                </c:pt>
                <c:pt idx="101">
                  <c:v>0.9281032604074795</c:v>
                </c:pt>
                <c:pt idx="102">
                  <c:v>0.946067965249171</c:v>
                </c:pt>
                <c:pt idx="103">
                  <c:v>0.9654362791381296</c:v>
                </c:pt>
                <c:pt idx="104">
                  <c:v>0.9540337152095224</c:v>
                </c:pt>
              </c:numCache>
            </c:numRef>
          </c:xVal>
          <c:yVal>
            <c:numRef>
              <c:f>Sheet1!$B$2:$B$106</c:f>
              <c:numCache>
                <c:formatCode>General</c:formatCode>
                <c:ptCount val="105"/>
                <c:pt idx="0">
                  <c:v>0.4122219564697441</c:v>
                </c:pt>
                <c:pt idx="1">
                  <c:v>0.4575744740928985</c:v>
                </c:pt>
                <c:pt idx="2">
                  <c:v>0.49476552416463504</c:v>
                </c:pt>
                <c:pt idx="3">
                  <c:v>0.5041126225877887</c:v>
                </c:pt>
                <c:pt idx="4">
                  <c:v>0.4909317211948791</c:v>
                </c:pt>
                <c:pt idx="5">
                  <c:v>0.4645214521452145</c:v>
                </c:pt>
                <c:pt idx="6">
                  <c:v>0.4800604229607251</c:v>
                </c:pt>
                <c:pt idx="7">
                  <c:v>0.5052130967623926</c:v>
                </c:pt>
                <c:pt idx="8">
                  <c:v>0.4849351639969489</c:v>
                </c:pt>
                <c:pt idx="9">
                  <c:v>0.4531850086081314</c:v>
                </c:pt>
                <c:pt idx="10">
                  <c:v>0.4355716878402904</c:v>
                </c:pt>
                <c:pt idx="11">
                  <c:v>0.3866916087653661</c:v>
                </c:pt>
                <c:pt idx="12">
                  <c:v>0.36869308392813194</c:v>
                </c:pt>
                <c:pt idx="13">
                  <c:v>0.3492238112700159</c:v>
                </c:pt>
                <c:pt idx="14">
                  <c:v>0.32484937907291284</c:v>
                </c:pt>
                <c:pt idx="15">
                  <c:v>0.32006172839506175</c:v>
                </c:pt>
                <c:pt idx="16">
                  <c:v>0.29603977979044577</c:v>
                </c:pt>
                <c:pt idx="17">
                  <c:v>0.2994760177347844</c:v>
                </c:pt>
                <c:pt idx="18">
                  <c:v>0.27577554744525545</c:v>
                </c:pt>
                <c:pt idx="19">
                  <c:v>0.2894243641231593</c:v>
                </c:pt>
                <c:pt idx="20">
                  <c:v>0.28587269904635176</c:v>
                </c:pt>
                <c:pt idx="21">
                  <c:v>0.3412604042806183</c:v>
                </c:pt>
                <c:pt idx="22">
                  <c:v>0.412086409625376</c:v>
                </c:pt>
                <c:pt idx="23">
                  <c:v>0.42009264620729586</c:v>
                </c:pt>
                <c:pt idx="24">
                  <c:v>0.44516653127538586</c:v>
                </c:pt>
                <c:pt idx="25">
                  <c:v>0.44539093398235474</c:v>
                </c:pt>
                <c:pt idx="26">
                  <c:v>0.45406961528395706</c:v>
                </c:pt>
                <c:pt idx="27">
                  <c:v>0.43562179330564377</c:v>
                </c:pt>
                <c:pt idx="28">
                  <c:v>0.4154929577464789</c:v>
                </c:pt>
                <c:pt idx="29">
                  <c:v>0.4201169590643275</c:v>
                </c:pt>
                <c:pt idx="30">
                  <c:v>0.42677211482132393</c:v>
                </c:pt>
                <c:pt idx="31">
                  <c:v>0.44349267753523075</c:v>
                </c:pt>
                <c:pt idx="32">
                  <c:v>0.46293706293706294</c:v>
                </c:pt>
                <c:pt idx="33">
                  <c:v>0.4669873196327066</c:v>
                </c:pt>
                <c:pt idx="34">
                  <c:v>0.42886291968094975</c:v>
                </c:pt>
                <c:pt idx="35">
                  <c:v>0.41145750909954104</c:v>
                </c:pt>
                <c:pt idx="36">
                  <c:v>0.3726595530501309</c:v>
                </c:pt>
                <c:pt idx="37">
                  <c:v>0.3789173789173789</c:v>
                </c:pt>
                <c:pt idx="38">
                  <c:v>0.3680798004987531</c:v>
                </c:pt>
                <c:pt idx="39">
                  <c:v>0.3550706033376123</c:v>
                </c:pt>
                <c:pt idx="40">
                  <c:v>0.36861846217962074</c:v>
                </c:pt>
                <c:pt idx="41">
                  <c:v>0.36113090995485864</c:v>
                </c:pt>
                <c:pt idx="42">
                  <c:v>0.3616153375484397</c:v>
                </c:pt>
                <c:pt idx="43">
                  <c:v>0.35259259259259257</c:v>
                </c:pt>
                <c:pt idx="44">
                  <c:v>0.33795454545454545</c:v>
                </c:pt>
                <c:pt idx="45">
                  <c:v>0.3405964454262476</c:v>
                </c:pt>
                <c:pt idx="46">
                  <c:v>0.34828366283072687</c:v>
                </c:pt>
                <c:pt idx="47">
                  <c:v>0.3353148614609572</c:v>
                </c:pt>
                <c:pt idx="48">
                  <c:v>0.3398497337515501</c:v>
                </c:pt>
                <c:pt idx="49">
                  <c:v>0.3609284919591383</c:v>
                </c:pt>
                <c:pt idx="50">
                  <c:v>0.34944877111358347</c:v>
                </c:pt>
                <c:pt idx="51">
                  <c:v>0.3475601648716926</c:v>
                </c:pt>
                <c:pt idx="52">
                  <c:v>0.36118838322020697</c:v>
                </c:pt>
                <c:pt idx="53">
                  <c:v>0.3653656474566718</c:v>
                </c:pt>
                <c:pt idx="54">
                  <c:v>0.3803268183274591</c:v>
                </c:pt>
                <c:pt idx="55">
                  <c:v>0.3718364698247891</c:v>
                </c:pt>
                <c:pt idx="56">
                  <c:v>0.3866995073891626</c:v>
                </c:pt>
                <c:pt idx="57">
                  <c:v>0.38408820023837903</c:v>
                </c:pt>
                <c:pt idx="58">
                  <c:v>0.3851921274601687</c:v>
                </c:pt>
                <c:pt idx="59">
                  <c:v>0.4010805248263442</c:v>
                </c:pt>
                <c:pt idx="60">
                  <c:v>0.4094823507144885</c:v>
                </c:pt>
                <c:pt idx="61">
                  <c:v>0.39182215164747913</c:v>
                </c:pt>
                <c:pt idx="62">
                  <c:v>0.3949877750611247</c:v>
                </c:pt>
                <c:pt idx="63">
                  <c:v>0.4114875476778102</c:v>
                </c:pt>
                <c:pt idx="64">
                  <c:v>0.3671306877207563</c:v>
                </c:pt>
                <c:pt idx="65">
                  <c:v>0.3417593528816987</c:v>
                </c:pt>
                <c:pt idx="66">
                  <c:v>0.34050348658551</c:v>
                </c:pt>
                <c:pt idx="67">
                  <c:v>0.3321290322580645</c:v>
                </c:pt>
                <c:pt idx="68">
                  <c:v>0.32402055234425176</c:v>
                </c:pt>
                <c:pt idx="69">
                  <c:v>0.31514657980456023</c:v>
                </c:pt>
                <c:pt idx="70">
                  <c:v>0.3166468017481128</c:v>
                </c:pt>
                <c:pt idx="71">
                  <c:v>0.33052199680875316</c:v>
                </c:pt>
                <c:pt idx="72">
                  <c:v>0.3088602329450915</c:v>
                </c:pt>
                <c:pt idx="73">
                  <c:v>0.33105076741440376</c:v>
                </c:pt>
                <c:pt idx="74">
                  <c:v>0.3293321693583588</c:v>
                </c:pt>
                <c:pt idx="75">
                  <c:v>0.344019728729963</c:v>
                </c:pt>
                <c:pt idx="76">
                  <c:v>0.3415359653866955</c:v>
                </c:pt>
                <c:pt idx="77">
                  <c:v>0.34570699914990083</c:v>
                </c:pt>
                <c:pt idx="78">
                  <c:v>0.3243585682610073</c:v>
                </c:pt>
                <c:pt idx="79">
                  <c:v>0.31251815277374384</c:v>
                </c:pt>
                <c:pt idx="80">
                  <c:v>0.29278523489932884</c:v>
                </c:pt>
                <c:pt idx="81">
                  <c:v>0.30329008341056535</c:v>
                </c:pt>
                <c:pt idx="82">
                  <c:v>0.3128063725490196</c:v>
                </c:pt>
                <c:pt idx="83">
                  <c:v>0.3169877408056042</c:v>
                </c:pt>
                <c:pt idx="84">
                  <c:v>0.3171667829727844</c:v>
                </c:pt>
                <c:pt idx="85">
                  <c:v>0.3261065943992773</c:v>
                </c:pt>
                <c:pt idx="86">
                  <c:v>0.31790258885476086</c:v>
                </c:pt>
                <c:pt idx="87">
                  <c:v>0.33300414773849496</c:v>
                </c:pt>
                <c:pt idx="88">
                  <c:v>0.32550247977029495</c:v>
                </c:pt>
                <c:pt idx="89">
                  <c:v>0.3350208457415128</c:v>
                </c:pt>
                <c:pt idx="90">
                  <c:v>0.32857142857142857</c:v>
                </c:pt>
                <c:pt idx="91">
                  <c:v>0.30036518563603165</c:v>
                </c:pt>
                <c:pt idx="92">
                  <c:v>0.30674157303370786</c:v>
                </c:pt>
                <c:pt idx="93">
                  <c:v>0.29623213512343005</c:v>
                </c:pt>
                <c:pt idx="94">
                  <c:v>0.30102405334603477</c:v>
                </c:pt>
                <c:pt idx="95">
                  <c:v>0.30139616055846424</c:v>
                </c:pt>
                <c:pt idx="96">
                  <c:v>0.3043998087039694</c:v>
                </c:pt>
                <c:pt idx="97">
                  <c:v>0.30493638676844786</c:v>
                </c:pt>
                <c:pt idx="98">
                  <c:v>0.3089509994693083</c:v>
                </c:pt>
                <c:pt idx="99">
                  <c:v>0.31196711327649207</c:v>
                </c:pt>
                <c:pt idx="100">
                  <c:v>0.31757174144999156</c:v>
                </c:pt>
                <c:pt idx="101">
                  <c:v>0.3358239508700102</c:v>
                </c:pt>
                <c:pt idx="102">
                  <c:v>0.32883741386893417</c:v>
                </c:pt>
                <c:pt idx="103">
                  <c:v>0.2956072971675468</c:v>
                </c:pt>
                <c:pt idx="104">
                  <c:v>0.298840452076911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9371853018905909</c:v>
                </c:pt>
                <c:pt idx="1">
                  <c:v>0.8873656237380958</c:v>
                </c:pt>
                <c:pt idx="2">
                  <c:v>0.8973992432287174</c:v>
                </c:pt>
                <c:pt idx="3">
                  <c:v>0.871962849726663</c:v>
                </c:pt>
                <c:pt idx="4">
                  <c:v>0.8744401053733121</c:v>
                </c:pt>
                <c:pt idx="5">
                  <c:v>0.8882549307503431</c:v>
                </c:pt>
                <c:pt idx="6">
                  <c:v>0.8873025518463278</c:v>
                </c:pt>
                <c:pt idx="7">
                  <c:v>0.9393186120282051</c:v>
                </c:pt>
                <c:pt idx="8">
                  <c:v>0.9511465985374005</c:v>
                </c:pt>
                <c:pt idx="9">
                  <c:v>0.9265911197594778</c:v>
                </c:pt>
                <c:pt idx="10">
                  <c:v>0.9558996357390949</c:v>
                </c:pt>
                <c:pt idx="11">
                  <c:v>0.8849709719495086</c:v>
                </c:pt>
                <c:pt idx="12">
                  <c:v>0.9072706775954107</c:v>
                </c:pt>
                <c:pt idx="13">
                  <c:v>0.9081313106720391</c:v>
                </c:pt>
                <c:pt idx="14">
                  <c:v>0.8836724096172872</c:v>
                </c:pt>
                <c:pt idx="15">
                  <c:v>0.9029988236973783</c:v>
                </c:pt>
                <c:pt idx="16">
                  <c:v>0.9410617570183288</c:v>
                </c:pt>
                <c:pt idx="17">
                  <c:v>0.9446682366836967</c:v>
                </c:pt>
                <c:pt idx="18">
                  <c:v>0.9132870551937291</c:v>
                </c:pt>
                <c:pt idx="19">
                  <c:v>0.9112874762222735</c:v>
                </c:pt>
                <c:pt idx="20">
                  <c:v>0.8846975909506397</c:v>
                </c:pt>
                <c:pt idx="21">
                  <c:v>0.8133911363894458</c:v>
                </c:pt>
                <c:pt idx="22">
                  <c:v>0.8896704611400522</c:v>
                </c:pt>
                <c:pt idx="23">
                  <c:v>0.8834096770904533</c:v>
                </c:pt>
                <c:pt idx="24">
                  <c:v>0.905529322587957</c:v>
                </c:pt>
                <c:pt idx="25">
                  <c:v>0.9493884447237807</c:v>
                </c:pt>
                <c:pt idx="26">
                  <c:v>0.938886144393724</c:v>
                </c:pt>
                <c:pt idx="27">
                  <c:v>0.9461003928959715</c:v>
                </c:pt>
                <c:pt idx="28">
                  <c:v>0.9507820812032144</c:v>
                </c:pt>
                <c:pt idx="29">
                  <c:v>0.9285638866478982</c:v>
                </c:pt>
                <c:pt idx="30">
                  <c:v>0.9046292961778775</c:v>
                </c:pt>
                <c:pt idx="31">
                  <c:v>0.9098879229181822</c:v>
                </c:pt>
                <c:pt idx="32">
                  <c:v>0.9262637443395094</c:v>
                </c:pt>
                <c:pt idx="33">
                  <c:v>0.9355543238403418</c:v>
                </c:pt>
                <c:pt idx="34">
                  <c:v>0.945355748994444</c:v>
                </c:pt>
                <c:pt idx="35">
                  <c:v>0.9406462986494427</c:v>
                </c:pt>
                <c:pt idx="36">
                  <c:v>0.9155263203080483</c:v>
                </c:pt>
                <c:pt idx="37">
                  <c:v>0.8787643472348274</c:v>
                </c:pt>
                <c:pt idx="38">
                  <c:v>0.9133428395931013</c:v>
                </c:pt>
                <c:pt idx="39">
                  <c:v>0.9330009508624213</c:v>
                </c:pt>
                <c:pt idx="40">
                  <c:v>0.9871443277575915</c:v>
                </c:pt>
                <c:pt idx="41">
                  <c:v>0.9890730934087736</c:v>
                </c:pt>
                <c:pt idx="42">
                  <c:v>0.9487920351242255</c:v>
                </c:pt>
                <c:pt idx="43">
                  <c:v>1.0109963743981643</c:v>
                </c:pt>
                <c:pt idx="44">
                  <c:v>1.035857605416328</c:v>
                </c:pt>
                <c:pt idx="45">
                  <c:v>0.996071215262199</c:v>
                </c:pt>
                <c:pt idx="46">
                  <c:v>0.9763193547168209</c:v>
                </c:pt>
                <c:pt idx="47">
                  <c:v>0.9697168068915057</c:v>
                </c:pt>
                <c:pt idx="48">
                  <c:v>1.0363785021304928</c:v>
                </c:pt>
                <c:pt idx="49">
                  <c:v>1.0563587828610153</c:v>
                </c:pt>
                <c:pt idx="50">
                  <c:v>0.9879096148911524</c:v>
                </c:pt>
                <c:pt idx="51">
                  <c:v>0.992901467452869</c:v>
                </c:pt>
              </c:numCache>
            </c:numRef>
          </c:xVal>
          <c:yVal>
            <c:numRef>
              <c:f>Sheet1!$B$109:$B$160</c:f>
              <c:numCache>
                <c:formatCode>General</c:formatCode>
                <c:ptCount val="52"/>
                <c:pt idx="0">
                  <c:v>0.31237458193979933</c:v>
                </c:pt>
                <c:pt idx="1">
                  <c:v>0.32443181818181815</c:v>
                </c:pt>
                <c:pt idx="2">
                  <c:v>0.33044856167723063</c:v>
                </c:pt>
                <c:pt idx="3">
                  <c:v>0.3529641185647426</c:v>
                </c:pt>
                <c:pt idx="4">
                  <c:v>0.34754054416298086</c:v>
                </c:pt>
                <c:pt idx="5">
                  <c:v>0.3389429397843807</c:v>
                </c:pt>
                <c:pt idx="6">
                  <c:v>0.35547283936256835</c:v>
                </c:pt>
                <c:pt idx="7">
                  <c:v>0.3351046698872786</c:v>
                </c:pt>
                <c:pt idx="8">
                  <c:v>0.3382022471910112</c:v>
                </c:pt>
                <c:pt idx="9">
                  <c:v>0.34418761599460096</c:v>
                </c:pt>
                <c:pt idx="10">
                  <c:v>0.33174577106257186</c:v>
                </c:pt>
                <c:pt idx="11">
                  <c:v>0.34265113699389904</c:v>
                </c:pt>
                <c:pt idx="12">
                  <c:v>0.3428795606120047</c:v>
                </c:pt>
                <c:pt idx="13">
                  <c:v>0.3516770727457529</c:v>
                </c:pt>
                <c:pt idx="14">
                  <c:v>0.35795454545454547</c:v>
                </c:pt>
                <c:pt idx="15">
                  <c:v>0.3407821229050279</c:v>
                </c:pt>
                <c:pt idx="16">
                  <c:v>0.3192142418661756</c:v>
                </c:pt>
                <c:pt idx="17">
                  <c:v>0.32514944491887277</c:v>
                </c:pt>
                <c:pt idx="18">
                  <c:v>0.34109263657957245</c:v>
                </c:pt>
                <c:pt idx="19">
                  <c:v>0.3400293973542381</c:v>
                </c:pt>
                <c:pt idx="20">
                  <c:v>0.34190966266437967</c:v>
                </c:pt>
                <c:pt idx="21">
                  <c:v>0.3686440677966102</c:v>
                </c:pt>
                <c:pt idx="22">
                  <c:v>0.3453166226912929</c:v>
                </c:pt>
                <c:pt idx="23">
                  <c:v>0.34934797529169526</c:v>
                </c:pt>
                <c:pt idx="24">
                  <c:v>0.34213067267460573</c:v>
                </c:pt>
                <c:pt idx="25">
                  <c:v>0.3386295928500497</c:v>
                </c:pt>
                <c:pt idx="26">
                  <c:v>0.3390840652446675</c:v>
                </c:pt>
                <c:pt idx="27">
                  <c:v>0.3300808475048787</c:v>
                </c:pt>
                <c:pt idx="28">
                  <c:v>0.32444782939832445</c:v>
                </c:pt>
                <c:pt idx="29">
                  <c:v>0.34571788413098237</c:v>
                </c:pt>
                <c:pt idx="30">
                  <c:v>0.3474148802017655</c:v>
                </c:pt>
                <c:pt idx="31">
                  <c:v>0.3254796364860316</c:v>
                </c:pt>
                <c:pt idx="32">
                  <c:v>0.3252799057159694</c:v>
                </c:pt>
                <c:pt idx="33">
                  <c:v>0.32288677996027365</c:v>
                </c:pt>
                <c:pt idx="34">
                  <c:v>0.3431355489820776</c:v>
                </c:pt>
                <c:pt idx="35">
                  <c:v>0.3260017421602787</c:v>
                </c:pt>
                <c:pt idx="36">
                  <c:v>0.33631805157593125</c:v>
                </c:pt>
                <c:pt idx="37">
                  <c:v>0.3538918205804749</c:v>
                </c:pt>
                <c:pt idx="38">
                  <c:v>0.3548872180451128</c:v>
                </c:pt>
                <c:pt idx="39">
                  <c:v>0.34538482607504795</c:v>
                </c:pt>
                <c:pt idx="40">
                  <c:v>0.32776280323450135</c:v>
                </c:pt>
                <c:pt idx="41">
                  <c:v>0.31910669975186107</c:v>
                </c:pt>
                <c:pt idx="42">
                  <c:v>0.3386408871197043</c:v>
                </c:pt>
                <c:pt idx="43">
                  <c:v>0.3311532592108132</c:v>
                </c:pt>
                <c:pt idx="44">
                  <c:v>0.3214661522272887</c:v>
                </c:pt>
                <c:pt idx="45">
                  <c:v>0.334070524634476</c:v>
                </c:pt>
                <c:pt idx="46">
                  <c:v>0.3437188789301465</c:v>
                </c:pt>
                <c:pt idx="47">
                  <c:v>0.3428534671298083</c:v>
                </c:pt>
                <c:pt idx="48">
                  <c:v>0.3184480234260615</c:v>
                </c:pt>
                <c:pt idx="49">
                  <c:v>0.32770896323027404</c:v>
                </c:pt>
                <c:pt idx="50">
                  <c:v>0.33717730310575283</c:v>
                </c:pt>
                <c:pt idx="51">
                  <c:v>0.342747265953611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05248308116460577</c:v>
                </c:pt>
              </c:numCache>
            </c:numRef>
          </c:xVal>
          <c:yVal>
            <c:numRef>
              <c:f>Sheet1!$B$163:$B$164</c:f>
              <c:numCache>
                <c:formatCode>General</c:formatCode>
                <c:ptCount val="2"/>
                <c:pt idx="0">
                  <c:v>0.4771484927083585</c:v>
                </c:pt>
                <c:pt idx="1">
                  <c:v>0.477148492708358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05248308116460577</c:v>
                </c:pt>
                <c:pt idx="1">
                  <c:v>-0.005248308116460577</c:v>
                </c:pt>
              </c:numCache>
            </c:numRef>
          </c:xVal>
          <c:yVal>
            <c:numRef>
              <c:f>Sheet1!$B$167:$B$168</c:f>
              <c:numCache>
                <c:formatCode>General</c:formatCode>
                <c:ptCount val="2"/>
                <c:pt idx="0">
                  <c:v>0.47714849270835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9030995573912263</c:v>
                </c:pt>
              </c:numCache>
            </c:numRef>
          </c:xVal>
          <c:yVal>
            <c:numRef>
              <c:f>Sheet1!$B$171:$B$172</c:f>
              <c:numCache>
                <c:formatCode>General</c:formatCode>
                <c:ptCount val="2"/>
                <c:pt idx="0">
                  <c:v>0.34214748284217317</c:v>
                </c:pt>
                <c:pt idx="1">
                  <c:v>0.3421474828421731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9030995573912263</c:v>
                </c:pt>
                <c:pt idx="1">
                  <c:v>0.9030995573912263</c:v>
                </c:pt>
              </c:numCache>
            </c:numRef>
          </c:xVal>
          <c:yVal>
            <c:numRef>
              <c:f>Sheet1!$B$175:$B$176</c:f>
              <c:numCache>
                <c:formatCode>General</c:formatCode>
                <c:ptCount val="2"/>
                <c:pt idx="0">
                  <c:v>0.3421474828421731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640066588162038</c:v>
                </c:pt>
              </c:numCache>
            </c:numRef>
          </c:xVal>
          <c:yVal>
            <c:numRef>
              <c:f>Sheet1!$B$179:$B$180</c:f>
              <c:numCache>
                <c:formatCode>General</c:formatCode>
                <c:ptCount val="2"/>
                <c:pt idx="0">
                  <c:v>0.33309531184841135</c:v>
                </c:pt>
                <c:pt idx="1">
                  <c:v>0.3330953118484113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640066588162038</c:v>
                </c:pt>
                <c:pt idx="1">
                  <c:v>0.9640066588162038</c:v>
                </c:pt>
              </c:numCache>
            </c:numRef>
          </c:xVal>
          <c:yVal>
            <c:numRef>
              <c:f>Sheet1!$B$183:$B$184</c:f>
              <c:numCache>
                <c:formatCode>General</c:formatCode>
                <c:ptCount val="2"/>
                <c:pt idx="0">
                  <c:v>0.3330953118484113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9371853018905909</c:v>
                </c:pt>
                <c:pt idx="1">
                  <c:v>0.8873656237380958</c:v>
                </c:pt>
                <c:pt idx="2">
                  <c:v>0.8973992432287174</c:v>
                </c:pt>
                <c:pt idx="3">
                  <c:v>0.871962849726663</c:v>
                </c:pt>
                <c:pt idx="4">
                  <c:v>0.8744401053733121</c:v>
                </c:pt>
                <c:pt idx="5">
                  <c:v>0.8882549307503431</c:v>
                </c:pt>
                <c:pt idx="6">
                  <c:v>0.8873025518463278</c:v>
                </c:pt>
                <c:pt idx="7">
                  <c:v>0.9393186120282051</c:v>
                </c:pt>
                <c:pt idx="8">
                  <c:v>0.9511465985374005</c:v>
                </c:pt>
                <c:pt idx="9">
                  <c:v>0.9265911197594778</c:v>
                </c:pt>
                <c:pt idx="10">
                  <c:v>0.9558996357390949</c:v>
                </c:pt>
                <c:pt idx="11">
                  <c:v>0.8849709719495086</c:v>
                </c:pt>
                <c:pt idx="12">
                  <c:v>0.9072706775954107</c:v>
                </c:pt>
                <c:pt idx="13">
                  <c:v>0.9081313106720391</c:v>
                </c:pt>
                <c:pt idx="14">
                  <c:v>0.8836724096172872</c:v>
                </c:pt>
                <c:pt idx="15">
                  <c:v>0.9029988236973783</c:v>
                </c:pt>
                <c:pt idx="16">
                  <c:v>0.9410617570183288</c:v>
                </c:pt>
                <c:pt idx="17">
                  <c:v>0.9446682366836967</c:v>
                </c:pt>
                <c:pt idx="18">
                  <c:v>0.9132870551937291</c:v>
                </c:pt>
                <c:pt idx="19">
                  <c:v>0.9112874762222735</c:v>
                </c:pt>
                <c:pt idx="20">
                  <c:v>0.8846975909506397</c:v>
                </c:pt>
                <c:pt idx="21">
                  <c:v>0.8133911363894458</c:v>
                </c:pt>
                <c:pt idx="22">
                  <c:v>0.8896704611400522</c:v>
                </c:pt>
                <c:pt idx="23">
                  <c:v>0.8834096770904533</c:v>
                </c:pt>
                <c:pt idx="24">
                  <c:v>0.905529322587957</c:v>
                </c:pt>
                <c:pt idx="25">
                  <c:v>0.9493884447237807</c:v>
                </c:pt>
                <c:pt idx="26">
                  <c:v>0.938886144393724</c:v>
                </c:pt>
                <c:pt idx="27">
                  <c:v>0.9461003928959715</c:v>
                </c:pt>
                <c:pt idx="28">
                  <c:v>0.9507820812032144</c:v>
                </c:pt>
                <c:pt idx="29">
                  <c:v>0.9285638866478982</c:v>
                </c:pt>
                <c:pt idx="30">
                  <c:v>0.9046292961778775</c:v>
                </c:pt>
                <c:pt idx="31">
                  <c:v>0.9098879229181822</c:v>
                </c:pt>
                <c:pt idx="32">
                  <c:v>0.9262637443395094</c:v>
                </c:pt>
                <c:pt idx="33">
                  <c:v>0.9355543238403418</c:v>
                </c:pt>
                <c:pt idx="34">
                  <c:v>0.945355748994444</c:v>
                </c:pt>
                <c:pt idx="35">
                  <c:v>0.9406462986494427</c:v>
                </c:pt>
                <c:pt idx="36">
                  <c:v>0.9155263203080483</c:v>
                </c:pt>
                <c:pt idx="37">
                  <c:v>0.8787643472348274</c:v>
                </c:pt>
                <c:pt idx="38">
                  <c:v>0.9133428395931013</c:v>
                </c:pt>
                <c:pt idx="39">
                  <c:v>0.9330009508624213</c:v>
                </c:pt>
                <c:pt idx="40">
                  <c:v>0.9871443277575915</c:v>
                </c:pt>
                <c:pt idx="41">
                  <c:v>0.9890730934087736</c:v>
                </c:pt>
                <c:pt idx="42">
                  <c:v>0.9487920351242255</c:v>
                </c:pt>
                <c:pt idx="43">
                  <c:v>1.0109963743981643</c:v>
                </c:pt>
                <c:pt idx="44">
                  <c:v>1.035857605416328</c:v>
                </c:pt>
                <c:pt idx="45">
                  <c:v>0.996071215262199</c:v>
                </c:pt>
                <c:pt idx="46">
                  <c:v>0.9763193547168209</c:v>
                </c:pt>
                <c:pt idx="47">
                  <c:v>0.9697168068915057</c:v>
                </c:pt>
                <c:pt idx="48">
                  <c:v>1.0363785021304928</c:v>
                </c:pt>
                <c:pt idx="49">
                  <c:v>1.0563587828610153</c:v>
                </c:pt>
                <c:pt idx="50">
                  <c:v>0.9879096148911524</c:v>
                </c:pt>
                <c:pt idx="51">
                  <c:v>0.992901467452869</c:v>
                </c:pt>
                <c:pt idx="52">
                  <c:v>0.9030995573912263</c:v>
                </c:pt>
                <c:pt idx="53">
                  <c:v>-0.005248308116460577</c:v>
                </c:pt>
                <c:pt idx="54">
                  <c:v>0.9640066588162038</c:v>
                </c:pt>
              </c:numCache>
            </c:numRef>
          </c:xVal>
          <c:yVal>
            <c:numRef>
              <c:f>Sheet1!$B$187:$B$241</c:f>
              <c:numCache>
                <c:formatCode>General</c:formatCode>
                <c:ptCount val="55"/>
                <c:pt idx="0">
                  <c:v>0.3370815713074077</c:v>
                </c:pt>
                <c:pt idx="1">
                  <c:v>0.3444859007688262</c:v>
                </c:pt>
                <c:pt idx="2">
                  <c:v>0.34299467828096364</c:v>
                </c:pt>
                <c:pt idx="3">
                  <c:v>0.3467751008927477</c:v>
                </c:pt>
                <c:pt idx="4">
                  <c:v>0.346406924749341</c:v>
                </c:pt>
                <c:pt idx="5">
                  <c:v>0.3443537296598344</c:v>
                </c:pt>
                <c:pt idx="6">
                  <c:v>0.3444952746765615</c:v>
                </c:pt>
                <c:pt idx="7">
                  <c:v>0.3367645132354159</c:v>
                </c:pt>
                <c:pt idx="8">
                  <c:v>0.3350066072788334</c:v>
                </c:pt>
                <c:pt idx="9">
                  <c:v>0.3386561060651981</c:v>
                </c:pt>
                <c:pt idx="10">
                  <c:v>0.3343001985927716</c:v>
                </c:pt>
                <c:pt idx="11">
                  <c:v>0.3448418001131335</c:v>
                </c:pt>
                <c:pt idx="12">
                  <c:v>0.34152756016582775</c:v>
                </c:pt>
                <c:pt idx="13">
                  <c:v>0.3413996506513334</c:v>
                </c:pt>
                <c:pt idx="14">
                  <c:v>0.3450347958066128</c:v>
                </c:pt>
                <c:pt idx="15">
                  <c:v>0.34216245414437296</c:v>
                </c:pt>
                <c:pt idx="16">
                  <c:v>0.3365054425170867</c:v>
                </c:pt>
                <c:pt idx="17">
                  <c:v>0.3359694381784687</c:v>
                </c:pt>
                <c:pt idx="18">
                  <c:v>0.34063339056148206</c:v>
                </c:pt>
                <c:pt idx="19">
                  <c:v>0.3409305731615676</c:v>
                </c:pt>
                <c:pt idx="20">
                  <c:v>0.34488243070448177</c:v>
                </c:pt>
                <c:pt idx="21">
                  <c:v>0.35548018046674723</c:v>
                </c:pt>
                <c:pt idx="22">
                  <c:v>0.34414334987102935</c:v>
                </c:pt>
                <c:pt idx="23">
                  <c:v>0.3450738437944973</c:v>
                </c:pt>
                <c:pt idx="24">
                  <c:v>0.3417863648523015</c:v>
                </c:pt>
                <c:pt idx="25">
                  <c:v>0.3352679086473417</c:v>
                </c:pt>
                <c:pt idx="26">
                  <c:v>0.3368287876941408</c:v>
                </c:pt>
                <c:pt idx="27">
                  <c:v>0.33575658741689934</c:v>
                </c:pt>
                <c:pt idx="28">
                  <c:v>0.3350607827881261</c:v>
                </c:pt>
                <c:pt idx="29">
                  <c:v>0.338362908346262</c:v>
                </c:pt>
                <c:pt idx="30">
                  <c:v>0.3419201291059325</c:v>
                </c:pt>
                <c:pt idx="31">
                  <c:v>0.34113857839457185</c:v>
                </c:pt>
                <c:pt idx="32">
                  <c:v>0.33870476144710554</c:v>
                </c:pt>
                <c:pt idx="33">
                  <c:v>0.3373239714849323</c:v>
                </c:pt>
                <c:pt idx="34">
                  <c:v>0.3358672583201009</c:v>
                </c:pt>
                <c:pt idx="35">
                  <c:v>0.33656718901475213</c:v>
                </c:pt>
                <c:pt idx="36">
                  <c:v>0.34030058518672374</c:v>
                </c:pt>
                <c:pt idx="37">
                  <c:v>0.3457642447361239</c:v>
                </c:pt>
                <c:pt idx="38">
                  <c:v>0.34062509973972094</c:v>
                </c:pt>
                <c:pt idx="39">
                  <c:v>0.3377034603830448</c:v>
                </c:pt>
                <c:pt idx="40">
                  <c:v>0.32965653162813635</c:v>
                </c:pt>
                <c:pt idx="41">
                  <c:v>0.3293698734869195</c:v>
                </c:pt>
                <c:pt idx="42">
                  <c:v>0.3353565485850696</c:v>
                </c:pt>
                <c:pt idx="43">
                  <c:v>0.3261115787459573</c:v>
                </c:pt>
                <c:pt idx="44">
                  <c:v>0.3224166382706002</c:v>
                </c:pt>
                <c:pt idx="45">
                  <c:v>0.3283297945113928</c:v>
                </c:pt>
                <c:pt idx="46">
                  <c:v>0.33126536712802657</c:v>
                </c:pt>
                <c:pt idx="47">
                  <c:v>0.33224665486805904</c:v>
                </c:pt>
                <c:pt idx="48">
                  <c:v>0.32233922125326736</c:v>
                </c:pt>
                <c:pt idx="49">
                  <c:v>0.31936970023774447</c:v>
                </c:pt>
                <c:pt idx="50">
                  <c:v>0.3295427926743815</c:v>
                </c:pt>
                <c:pt idx="51">
                  <c:v>0.32880089063164575</c:v>
                </c:pt>
                <c:pt idx="52">
                  <c:v>0.34214748284217317</c:v>
                </c:pt>
                <c:pt idx="53">
                  <c:v>0.4771484927083585</c:v>
                </c:pt>
                <c:pt idx="54">
                  <c:v>0.3330953118484113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062557161148711"/>
          <c:min val="0.2206204379562043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0.9649</c:v>
                </c:pt>
                <c:pt idx="1">
                  <c:v>928.4678</c:v>
                </c:pt>
                <c:pt idx="2">
                  <c:v>959.7368</c:v>
                </c:pt>
                <c:pt idx="3">
                  <c:v>974.6467</c:v>
                </c:pt>
                <c:pt idx="4">
                  <c:v>976.5567</c:v>
                </c:pt>
                <c:pt idx="5">
                  <c:v>966.021</c:v>
                </c:pt>
                <c:pt idx="6">
                  <c:v>918.2461</c:v>
                </c:pt>
                <c:pt idx="7">
                  <c:v>927.3892</c:v>
                </c:pt>
                <c:pt idx="8">
                  <c:v>934.7932</c:v>
                </c:pt>
                <c:pt idx="9">
                  <c:v>909.614</c:v>
                </c:pt>
                <c:pt idx="10">
                  <c:v>909.6179</c:v>
                </c:pt>
                <c:pt idx="11">
                  <c:v>984.8659</c:v>
                </c:pt>
                <c:pt idx="12">
                  <c:v>989.9533</c:v>
                </c:pt>
                <c:pt idx="13">
                  <c:v>991.3402</c:v>
                </c:pt>
                <c:pt idx="14">
                  <c:v>1020.1416</c:v>
                </c:pt>
                <c:pt idx="15">
                  <c:v>1049.487</c:v>
                </c:pt>
                <c:pt idx="16">
                  <c:v>1075.898</c:v>
                </c:pt>
                <c:pt idx="17">
                  <c:v>1096.2093</c:v>
                </c:pt>
                <c:pt idx="18">
                  <c:v>1159.0802</c:v>
                </c:pt>
                <c:pt idx="19">
                  <c:v>1138.0777</c:v>
                </c:pt>
                <c:pt idx="20">
                  <c:v>1170.685</c:v>
                </c:pt>
                <c:pt idx="21">
                  <c:v>1166.6559</c:v>
                </c:pt>
                <c:pt idx="22">
                  <c:v>1085.2269</c:v>
                </c:pt>
                <c:pt idx="23">
                  <c:v>1083.0296</c:v>
                </c:pt>
                <c:pt idx="24">
                  <c:v>1081.7378</c:v>
                </c:pt>
                <c:pt idx="25">
                  <c:v>1052.9221</c:v>
                </c:pt>
                <c:pt idx="26">
                  <c:v>1041.4772</c:v>
                </c:pt>
                <c:pt idx="27">
                  <c:v>1054.8525</c:v>
                </c:pt>
                <c:pt idx="28">
                  <c:v>1060.2894</c:v>
                </c:pt>
                <c:pt idx="29">
                  <c:v>1042.034</c:v>
                </c:pt>
                <c:pt idx="30">
                  <c:v>1043.2286</c:v>
                </c:pt>
                <c:pt idx="31">
                  <c:v>1006.2548</c:v>
                </c:pt>
                <c:pt idx="32">
                  <c:v>995.7988</c:v>
                </c:pt>
                <c:pt idx="33">
                  <c:v>947.5323</c:v>
                </c:pt>
                <c:pt idx="34">
                  <c:v>979.3525</c:v>
                </c:pt>
                <c:pt idx="35">
                  <c:v>1008.8881</c:v>
                </c:pt>
                <c:pt idx="36">
                  <c:v>1102.3571</c:v>
                </c:pt>
                <c:pt idx="37">
                  <c:v>1108.5683</c:v>
                </c:pt>
                <c:pt idx="38">
                  <c:v>1167.5556</c:v>
                </c:pt>
                <c:pt idx="39">
                  <c:v>1182.3456</c:v>
                </c:pt>
                <c:pt idx="40">
                  <c:v>1167.3691</c:v>
                </c:pt>
                <c:pt idx="41">
                  <c:v>1220.7151</c:v>
                </c:pt>
                <c:pt idx="42">
                  <c:v>1243.0914</c:v>
                </c:pt>
                <c:pt idx="43">
                  <c:v>1252.9821</c:v>
                </c:pt>
                <c:pt idx="44">
                  <c:v>1186.966</c:v>
                </c:pt>
                <c:pt idx="45">
                  <c:v>1159.222</c:v>
                </c:pt>
                <c:pt idx="46">
                  <c:v>1146.841</c:v>
                </c:pt>
                <c:pt idx="47">
                  <c:v>1133.2437</c:v>
                </c:pt>
                <c:pt idx="48">
                  <c:v>1142.2846</c:v>
                </c:pt>
                <c:pt idx="49">
                  <c:v>1101.4072</c:v>
                </c:pt>
                <c:pt idx="50">
                  <c:v>1108.7737</c:v>
                </c:pt>
                <c:pt idx="51">
                  <c:v>1133.6079</c:v>
                </c:pt>
                <c:pt idx="52">
                  <c:v>1128.4868</c:v>
                </c:pt>
                <c:pt idx="53">
                  <c:v>1194.3371</c:v>
                </c:pt>
                <c:pt idx="54">
                  <c:v>1180.4848</c:v>
                </c:pt>
                <c:pt idx="55">
                  <c:v>1208.9673</c:v>
                </c:pt>
                <c:pt idx="56">
                  <c:v>1218.1888</c:v>
                </c:pt>
                <c:pt idx="57">
                  <c:v>1181.1963</c:v>
                </c:pt>
                <c:pt idx="58">
                  <c:v>1181.1467</c:v>
                </c:pt>
                <c:pt idx="59">
                  <c:v>1147.4411</c:v>
                </c:pt>
                <c:pt idx="60">
                  <c:v>1169.7636</c:v>
                </c:pt>
                <c:pt idx="61">
                  <c:v>1216.3485</c:v>
                </c:pt>
                <c:pt idx="62">
                  <c:v>1163.1764</c:v>
                </c:pt>
                <c:pt idx="63">
                  <c:v>1180.9111</c:v>
                </c:pt>
                <c:pt idx="64">
                  <c:v>1194.7289</c:v>
                </c:pt>
                <c:pt idx="65">
                  <c:v>1188.3899</c:v>
                </c:pt>
                <c:pt idx="66">
                  <c:v>1212.8067</c:v>
                </c:pt>
                <c:pt idx="67">
                  <c:v>1224.5645</c:v>
                </c:pt>
                <c:pt idx="68">
                  <c:v>1251.9316</c:v>
                </c:pt>
                <c:pt idx="69">
                  <c:v>1273.418</c:v>
                </c:pt>
                <c:pt idx="70">
                  <c:v>1262.0358</c:v>
                </c:pt>
                <c:pt idx="71">
                  <c:v>1322.3283</c:v>
                </c:pt>
                <c:pt idx="72">
                  <c:v>1400.2822</c:v>
                </c:pt>
                <c:pt idx="73">
                  <c:v>1370.2011</c:v>
                </c:pt>
                <c:pt idx="74">
                  <c:v>1363.2744</c:v>
                </c:pt>
                <c:pt idx="75">
                  <c:v>1300.6832</c:v>
                </c:pt>
                <c:pt idx="76">
                  <c:v>1283.7743</c:v>
                </c:pt>
                <c:pt idx="77">
                  <c:v>1271.4025</c:v>
                </c:pt>
                <c:pt idx="78">
                  <c:v>1374.1553</c:v>
                </c:pt>
                <c:pt idx="79">
                  <c:v>1342.1552</c:v>
                </c:pt>
                <c:pt idx="80">
                  <c:v>1352.6839</c:v>
                </c:pt>
                <c:pt idx="81">
                  <c:v>1309.4034</c:v>
                </c:pt>
                <c:pt idx="82">
                  <c:v>1330.0979</c:v>
                </c:pt>
                <c:pt idx="83">
                  <c:v>1259.5536</c:v>
                </c:pt>
                <c:pt idx="84">
                  <c:v>1290.4389</c:v>
                </c:pt>
                <c:pt idx="85">
                  <c:v>1280.1736</c:v>
                </c:pt>
                <c:pt idx="86">
                  <c:v>1308.1539</c:v>
                </c:pt>
                <c:pt idx="87">
                  <c:v>1291.2414</c:v>
                </c:pt>
                <c:pt idx="88">
                  <c:v>1350.6135</c:v>
                </c:pt>
                <c:pt idx="89">
                  <c:v>1344.1138</c:v>
                </c:pt>
                <c:pt idx="90">
                  <c:v>1388.2257</c:v>
                </c:pt>
                <c:pt idx="91">
                  <c:v>1388.1449</c:v>
                </c:pt>
                <c:pt idx="92">
                  <c:v>1299.5861</c:v>
                </c:pt>
                <c:pt idx="93">
                  <c:v>1349.0512</c:v>
                </c:pt>
                <c:pt idx="94">
                  <c:v>1295.1076</c:v>
                </c:pt>
                <c:pt idx="95">
                  <c:v>1256.0828</c:v>
                </c:pt>
                <c:pt idx="96">
                  <c:v>1272.3531</c:v>
                </c:pt>
                <c:pt idx="97">
                  <c:v>1248.1395</c:v>
                </c:pt>
                <c:pt idx="98">
                  <c:v>1225.6673</c:v>
                </c:pt>
                <c:pt idx="99">
                  <c:v>1189.0283</c:v>
                </c:pt>
                <c:pt idx="100">
                  <c:v>1180.1546</c:v>
                </c:pt>
                <c:pt idx="101">
                  <c:v>1184.3651</c:v>
                </c:pt>
                <c:pt idx="102">
                  <c:v>1203.2064</c:v>
                </c:pt>
                <c:pt idx="103">
                  <c:v>1208.6123</c:v>
                </c:pt>
                <c:pt idx="104">
                  <c:v>1268.0604</c:v>
                </c:pt>
              </c:numCache>
            </c:numRef>
          </c:xVal>
          <c:yVal>
            <c:numRef>
              <c:f>Sheet1!$B$2:$B$106</c:f>
              <c:numCache>
                <c:formatCode>General</c:formatCode>
                <c:ptCount val="105"/>
                <c:pt idx="0">
                  <c:v>0.4122219564697441</c:v>
                </c:pt>
                <c:pt idx="1">
                  <c:v>0.4575744740928985</c:v>
                </c:pt>
                <c:pt idx="2">
                  <c:v>0.49476552416463504</c:v>
                </c:pt>
                <c:pt idx="3">
                  <c:v>0.5041126225877887</c:v>
                </c:pt>
                <c:pt idx="4">
                  <c:v>0.4909317211948791</c:v>
                </c:pt>
                <c:pt idx="5">
                  <c:v>0.4645214521452145</c:v>
                </c:pt>
                <c:pt idx="6">
                  <c:v>0.4800604229607251</c:v>
                </c:pt>
                <c:pt idx="7">
                  <c:v>0.5052130967623926</c:v>
                </c:pt>
                <c:pt idx="8">
                  <c:v>0.4849351639969489</c:v>
                </c:pt>
                <c:pt idx="9">
                  <c:v>0.4531850086081314</c:v>
                </c:pt>
                <c:pt idx="10">
                  <c:v>0.4355716878402904</c:v>
                </c:pt>
                <c:pt idx="11">
                  <c:v>0.3866916087653661</c:v>
                </c:pt>
                <c:pt idx="12">
                  <c:v>0.36869308392813194</c:v>
                </c:pt>
                <c:pt idx="13">
                  <c:v>0.3492238112700159</c:v>
                </c:pt>
                <c:pt idx="14">
                  <c:v>0.32484937907291284</c:v>
                </c:pt>
                <c:pt idx="15">
                  <c:v>0.32006172839506175</c:v>
                </c:pt>
                <c:pt idx="16">
                  <c:v>0.29603977979044577</c:v>
                </c:pt>
                <c:pt idx="17">
                  <c:v>0.2994760177347844</c:v>
                </c:pt>
                <c:pt idx="18">
                  <c:v>0.27577554744525545</c:v>
                </c:pt>
                <c:pt idx="19">
                  <c:v>0.2894243641231593</c:v>
                </c:pt>
                <c:pt idx="20">
                  <c:v>0.28587269904635176</c:v>
                </c:pt>
                <c:pt idx="21">
                  <c:v>0.3412604042806183</c:v>
                </c:pt>
                <c:pt idx="22">
                  <c:v>0.412086409625376</c:v>
                </c:pt>
                <c:pt idx="23">
                  <c:v>0.42009264620729586</c:v>
                </c:pt>
                <c:pt idx="24">
                  <c:v>0.44516653127538586</c:v>
                </c:pt>
                <c:pt idx="25">
                  <c:v>0.44539093398235474</c:v>
                </c:pt>
                <c:pt idx="26">
                  <c:v>0.45406961528395706</c:v>
                </c:pt>
                <c:pt idx="27">
                  <c:v>0.43562179330564377</c:v>
                </c:pt>
                <c:pt idx="28">
                  <c:v>0.4154929577464789</c:v>
                </c:pt>
                <c:pt idx="29">
                  <c:v>0.4201169590643275</c:v>
                </c:pt>
                <c:pt idx="30">
                  <c:v>0.42677211482132393</c:v>
                </c:pt>
                <c:pt idx="31">
                  <c:v>0.44349267753523075</c:v>
                </c:pt>
                <c:pt idx="32">
                  <c:v>0.46293706293706294</c:v>
                </c:pt>
                <c:pt idx="33">
                  <c:v>0.4669873196327066</c:v>
                </c:pt>
                <c:pt idx="34">
                  <c:v>0.42886291968094975</c:v>
                </c:pt>
                <c:pt idx="35">
                  <c:v>0.41145750909954104</c:v>
                </c:pt>
                <c:pt idx="36">
                  <c:v>0.3726595530501309</c:v>
                </c:pt>
                <c:pt idx="37">
                  <c:v>0.3789173789173789</c:v>
                </c:pt>
                <c:pt idx="38">
                  <c:v>0.3680798004987531</c:v>
                </c:pt>
                <c:pt idx="39">
                  <c:v>0.3550706033376123</c:v>
                </c:pt>
                <c:pt idx="40">
                  <c:v>0.36861846217962074</c:v>
                </c:pt>
                <c:pt idx="41">
                  <c:v>0.36113090995485864</c:v>
                </c:pt>
                <c:pt idx="42">
                  <c:v>0.3616153375484397</c:v>
                </c:pt>
                <c:pt idx="43">
                  <c:v>0.35259259259259257</c:v>
                </c:pt>
                <c:pt idx="44">
                  <c:v>0.33795454545454545</c:v>
                </c:pt>
                <c:pt idx="45">
                  <c:v>0.3405964454262476</c:v>
                </c:pt>
                <c:pt idx="46">
                  <c:v>0.34828366283072687</c:v>
                </c:pt>
                <c:pt idx="47">
                  <c:v>0.3353148614609572</c:v>
                </c:pt>
                <c:pt idx="48">
                  <c:v>0.3398497337515501</c:v>
                </c:pt>
                <c:pt idx="49">
                  <c:v>0.3609284919591383</c:v>
                </c:pt>
                <c:pt idx="50">
                  <c:v>0.34944877111358347</c:v>
                </c:pt>
                <c:pt idx="51">
                  <c:v>0.3475601648716926</c:v>
                </c:pt>
                <c:pt idx="52">
                  <c:v>0.36118838322020697</c:v>
                </c:pt>
                <c:pt idx="53">
                  <c:v>0.3653656474566718</c:v>
                </c:pt>
                <c:pt idx="54">
                  <c:v>0.3803268183274591</c:v>
                </c:pt>
                <c:pt idx="55">
                  <c:v>0.3718364698247891</c:v>
                </c:pt>
                <c:pt idx="56">
                  <c:v>0.3866995073891626</c:v>
                </c:pt>
                <c:pt idx="57">
                  <c:v>0.38408820023837903</c:v>
                </c:pt>
                <c:pt idx="58">
                  <c:v>0.3851921274601687</c:v>
                </c:pt>
                <c:pt idx="59">
                  <c:v>0.4010805248263442</c:v>
                </c:pt>
                <c:pt idx="60">
                  <c:v>0.4094823507144885</c:v>
                </c:pt>
                <c:pt idx="61">
                  <c:v>0.39182215164747913</c:v>
                </c:pt>
                <c:pt idx="62">
                  <c:v>0.3949877750611247</c:v>
                </c:pt>
                <c:pt idx="63">
                  <c:v>0.4114875476778102</c:v>
                </c:pt>
                <c:pt idx="64">
                  <c:v>0.3671306877207563</c:v>
                </c:pt>
                <c:pt idx="65">
                  <c:v>0.3417593528816987</c:v>
                </c:pt>
                <c:pt idx="66">
                  <c:v>0.34050348658551</c:v>
                </c:pt>
                <c:pt idx="67">
                  <c:v>0.3321290322580645</c:v>
                </c:pt>
                <c:pt idx="68">
                  <c:v>0.32402055234425176</c:v>
                </c:pt>
                <c:pt idx="69">
                  <c:v>0.31514657980456023</c:v>
                </c:pt>
                <c:pt idx="70">
                  <c:v>0.3166468017481128</c:v>
                </c:pt>
                <c:pt idx="71">
                  <c:v>0.33052199680875316</c:v>
                </c:pt>
                <c:pt idx="72">
                  <c:v>0.3088602329450915</c:v>
                </c:pt>
                <c:pt idx="73">
                  <c:v>0.33105076741440376</c:v>
                </c:pt>
                <c:pt idx="74">
                  <c:v>0.3293321693583588</c:v>
                </c:pt>
                <c:pt idx="75">
                  <c:v>0.344019728729963</c:v>
                </c:pt>
                <c:pt idx="76">
                  <c:v>0.3415359653866955</c:v>
                </c:pt>
                <c:pt idx="77">
                  <c:v>0.34570699914990083</c:v>
                </c:pt>
                <c:pt idx="78">
                  <c:v>0.3243585682610073</c:v>
                </c:pt>
                <c:pt idx="79">
                  <c:v>0.31251815277374384</c:v>
                </c:pt>
                <c:pt idx="80">
                  <c:v>0.29278523489932884</c:v>
                </c:pt>
                <c:pt idx="81">
                  <c:v>0.30329008341056535</c:v>
                </c:pt>
                <c:pt idx="82">
                  <c:v>0.3128063725490196</c:v>
                </c:pt>
                <c:pt idx="83">
                  <c:v>0.3169877408056042</c:v>
                </c:pt>
                <c:pt idx="84">
                  <c:v>0.3171667829727844</c:v>
                </c:pt>
                <c:pt idx="85">
                  <c:v>0.3261065943992773</c:v>
                </c:pt>
                <c:pt idx="86">
                  <c:v>0.31790258885476086</c:v>
                </c:pt>
                <c:pt idx="87">
                  <c:v>0.33300414773849496</c:v>
                </c:pt>
                <c:pt idx="88">
                  <c:v>0.32550247977029495</c:v>
                </c:pt>
                <c:pt idx="89">
                  <c:v>0.3350208457415128</c:v>
                </c:pt>
                <c:pt idx="90">
                  <c:v>0.32857142857142857</c:v>
                </c:pt>
                <c:pt idx="91">
                  <c:v>0.30036518563603165</c:v>
                </c:pt>
                <c:pt idx="92">
                  <c:v>0.30674157303370786</c:v>
                </c:pt>
                <c:pt idx="93">
                  <c:v>0.29623213512343005</c:v>
                </c:pt>
                <c:pt idx="94">
                  <c:v>0.30102405334603477</c:v>
                </c:pt>
                <c:pt idx="95">
                  <c:v>0.30139616055846424</c:v>
                </c:pt>
                <c:pt idx="96">
                  <c:v>0.3043998087039694</c:v>
                </c:pt>
                <c:pt idx="97">
                  <c:v>0.30493638676844786</c:v>
                </c:pt>
                <c:pt idx="98">
                  <c:v>0.3089509994693083</c:v>
                </c:pt>
                <c:pt idx="99">
                  <c:v>0.31196711327649207</c:v>
                </c:pt>
                <c:pt idx="100">
                  <c:v>0.31757174144999156</c:v>
                </c:pt>
                <c:pt idx="101">
                  <c:v>0.3358239508700102</c:v>
                </c:pt>
                <c:pt idx="102">
                  <c:v>0.32883741386893417</c:v>
                </c:pt>
                <c:pt idx="103">
                  <c:v>0.2956072971675468</c:v>
                </c:pt>
                <c:pt idx="104">
                  <c:v>0.298840452076911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82.4767</c:v>
                </c:pt>
                <c:pt idx="1">
                  <c:v>1282.6729</c:v>
                </c:pt>
                <c:pt idx="2">
                  <c:v>1289.6809</c:v>
                </c:pt>
                <c:pt idx="3">
                  <c:v>1311.4037</c:v>
                </c:pt>
                <c:pt idx="4">
                  <c:v>1304.059</c:v>
                </c:pt>
                <c:pt idx="5">
                  <c:v>1285.8596</c:v>
                </c:pt>
                <c:pt idx="6">
                  <c:v>1177.6417</c:v>
                </c:pt>
                <c:pt idx="7">
                  <c:v>1248.4556</c:v>
                </c:pt>
                <c:pt idx="8">
                  <c:v>1292.7431</c:v>
                </c:pt>
                <c:pt idx="9">
                  <c:v>1239.8309</c:v>
                </c:pt>
                <c:pt idx="10">
                  <c:v>1280.3292</c:v>
                </c:pt>
                <c:pt idx="11">
                  <c:v>1103.5442</c:v>
                </c:pt>
                <c:pt idx="12">
                  <c:v>1165.5133</c:v>
                </c:pt>
                <c:pt idx="13">
                  <c:v>1245.8134</c:v>
                </c:pt>
                <c:pt idx="14">
                  <c:v>1205.4854</c:v>
                </c:pt>
                <c:pt idx="15">
                  <c:v>1243.4534</c:v>
                </c:pt>
                <c:pt idx="16">
                  <c:v>1285.3077</c:v>
                </c:pt>
                <c:pt idx="17">
                  <c:v>1262.392</c:v>
                </c:pt>
                <c:pt idx="18">
                  <c:v>1173.4408</c:v>
                </c:pt>
                <c:pt idx="19">
                  <c:v>1299.2262</c:v>
                </c:pt>
                <c:pt idx="20">
                  <c:v>1303.806</c:v>
                </c:pt>
                <c:pt idx="21">
                  <c:v>1178.9514</c:v>
                </c:pt>
                <c:pt idx="22">
                  <c:v>1265.0783</c:v>
                </c:pt>
                <c:pt idx="23">
                  <c:v>1286.6513</c:v>
                </c:pt>
                <c:pt idx="24">
                  <c:v>1304.7705</c:v>
                </c:pt>
                <c:pt idx="25">
                  <c:v>1283.9648</c:v>
                </c:pt>
                <c:pt idx="26">
                  <c:v>1290.2794</c:v>
                </c:pt>
                <c:pt idx="27">
                  <c:v>1290.0954</c:v>
                </c:pt>
                <c:pt idx="28">
                  <c:v>1316.5141</c:v>
                </c:pt>
                <c:pt idx="29">
                  <c:v>1331.4581</c:v>
                </c:pt>
                <c:pt idx="30">
                  <c:v>1299.9428</c:v>
                </c:pt>
                <c:pt idx="31">
                  <c:v>1275.3051</c:v>
                </c:pt>
                <c:pt idx="32">
                  <c:v>1301.9955</c:v>
                </c:pt>
                <c:pt idx="33">
                  <c:v>1313.5222</c:v>
                </c:pt>
                <c:pt idx="34">
                  <c:v>1330.0522</c:v>
                </c:pt>
                <c:pt idx="35">
                  <c:v>1348.4556</c:v>
                </c:pt>
                <c:pt idx="36">
                  <c:v>1375.6422</c:v>
                </c:pt>
                <c:pt idx="37">
                  <c:v>1341.8975</c:v>
                </c:pt>
                <c:pt idx="38">
                  <c:v>1377.9513</c:v>
                </c:pt>
                <c:pt idx="39">
                  <c:v>1316.3006</c:v>
                </c:pt>
                <c:pt idx="40">
                  <c:v>1358.602</c:v>
                </c:pt>
                <c:pt idx="41">
                  <c:v>1381.7271</c:v>
                </c:pt>
                <c:pt idx="42">
                  <c:v>1357.4954</c:v>
                </c:pt>
                <c:pt idx="43">
                  <c:v>1377.3759</c:v>
                </c:pt>
                <c:pt idx="44">
                  <c:v>1294.0245</c:v>
                </c:pt>
                <c:pt idx="45">
                  <c:v>1249.4546</c:v>
                </c:pt>
                <c:pt idx="46">
                  <c:v>1245.4123</c:v>
                </c:pt>
                <c:pt idx="47">
                  <c:v>1205.7996</c:v>
                </c:pt>
                <c:pt idx="48">
                  <c:v>1204.8154</c:v>
                </c:pt>
                <c:pt idx="49">
                  <c:v>1230.7839</c:v>
                </c:pt>
                <c:pt idx="50">
                  <c:v>1179.636</c:v>
                </c:pt>
                <c:pt idx="51">
                  <c:v>1128.7707</c:v>
                </c:pt>
              </c:numCache>
            </c:numRef>
          </c:xVal>
          <c:yVal>
            <c:numRef>
              <c:f>Sheet1!$B$109:$B$160</c:f>
              <c:numCache>
                <c:formatCode>General</c:formatCode>
                <c:ptCount val="52"/>
                <c:pt idx="0">
                  <c:v>0.31237458193979933</c:v>
                </c:pt>
                <c:pt idx="1">
                  <c:v>0.32443181818181815</c:v>
                </c:pt>
                <c:pt idx="2">
                  <c:v>0.33044856167723063</c:v>
                </c:pt>
                <c:pt idx="3">
                  <c:v>0.3529641185647426</c:v>
                </c:pt>
                <c:pt idx="4">
                  <c:v>0.34754054416298086</c:v>
                </c:pt>
                <c:pt idx="5">
                  <c:v>0.3389429397843807</c:v>
                </c:pt>
                <c:pt idx="6">
                  <c:v>0.35547283936256835</c:v>
                </c:pt>
                <c:pt idx="7">
                  <c:v>0.3351046698872786</c:v>
                </c:pt>
                <c:pt idx="8">
                  <c:v>0.3382022471910112</c:v>
                </c:pt>
                <c:pt idx="9">
                  <c:v>0.34418761599460096</c:v>
                </c:pt>
                <c:pt idx="10">
                  <c:v>0.33174577106257186</c:v>
                </c:pt>
                <c:pt idx="11">
                  <c:v>0.34265113699389904</c:v>
                </c:pt>
                <c:pt idx="12">
                  <c:v>0.3428795606120047</c:v>
                </c:pt>
                <c:pt idx="13">
                  <c:v>0.3516770727457529</c:v>
                </c:pt>
                <c:pt idx="14">
                  <c:v>0.35795454545454547</c:v>
                </c:pt>
                <c:pt idx="15">
                  <c:v>0.3407821229050279</c:v>
                </c:pt>
                <c:pt idx="16">
                  <c:v>0.3192142418661756</c:v>
                </c:pt>
                <c:pt idx="17">
                  <c:v>0.32514944491887277</c:v>
                </c:pt>
                <c:pt idx="18">
                  <c:v>0.34109263657957245</c:v>
                </c:pt>
                <c:pt idx="19">
                  <c:v>0.3400293973542381</c:v>
                </c:pt>
                <c:pt idx="20">
                  <c:v>0.34190966266437967</c:v>
                </c:pt>
                <c:pt idx="21">
                  <c:v>0.3686440677966102</c:v>
                </c:pt>
                <c:pt idx="22">
                  <c:v>0.3453166226912929</c:v>
                </c:pt>
                <c:pt idx="23">
                  <c:v>0.34934797529169526</c:v>
                </c:pt>
                <c:pt idx="24">
                  <c:v>0.34213067267460573</c:v>
                </c:pt>
                <c:pt idx="25">
                  <c:v>0.3386295928500497</c:v>
                </c:pt>
                <c:pt idx="26">
                  <c:v>0.3390840652446675</c:v>
                </c:pt>
                <c:pt idx="27">
                  <c:v>0.3300808475048787</c:v>
                </c:pt>
                <c:pt idx="28">
                  <c:v>0.32444782939832445</c:v>
                </c:pt>
                <c:pt idx="29">
                  <c:v>0.34571788413098237</c:v>
                </c:pt>
                <c:pt idx="30">
                  <c:v>0.3474148802017655</c:v>
                </c:pt>
                <c:pt idx="31">
                  <c:v>0.3254796364860316</c:v>
                </c:pt>
                <c:pt idx="32">
                  <c:v>0.3252799057159694</c:v>
                </c:pt>
                <c:pt idx="33">
                  <c:v>0.32288677996027365</c:v>
                </c:pt>
                <c:pt idx="34">
                  <c:v>0.3431355489820776</c:v>
                </c:pt>
                <c:pt idx="35">
                  <c:v>0.3260017421602787</c:v>
                </c:pt>
                <c:pt idx="36">
                  <c:v>0.33631805157593125</c:v>
                </c:pt>
                <c:pt idx="37">
                  <c:v>0.3538918205804749</c:v>
                </c:pt>
                <c:pt idx="38">
                  <c:v>0.3548872180451128</c:v>
                </c:pt>
                <c:pt idx="39">
                  <c:v>0.34538482607504795</c:v>
                </c:pt>
                <c:pt idx="40">
                  <c:v>0.32776280323450135</c:v>
                </c:pt>
                <c:pt idx="41">
                  <c:v>0.31910669975186107</c:v>
                </c:pt>
                <c:pt idx="42">
                  <c:v>0.3386408871197043</c:v>
                </c:pt>
                <c:pt idx="43">
                  <c:v>0.3311532592108132</c:v>
                </c:pt>
                <c:pt idx="44">
                  <c:v>0.3214661522272887</c:v>
                </c:pt>
                <c:pt idx="45">
                  <c:v>0.334070524634476</c:v>
                </c:pt>
                <c:pt idx="46">
                  <c:v>0.3437188789301465</c:v>
                </c:pt>
                <c:pt idx="47">
                  <c:v>0.3428534671298083</c:v>
                </c:pt>
                <c:pt idx="48">
                  <c:v>0.3184480234260615</c:v>
                </c:pt>
                <c:pt idx="49">
                  <c:v>0.32770896323027404</c:v>
                </c:pt>
                <c:pt idx="50">
                  <c:v>0.33717730310575283</c:v>
                </c:pt>
                <c:pt idx="51">
                  <c:v>0.342747265953611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877.9215416549985</c:v>
                </c:pt>
              </c:numCache>
            </c:numRef>
          </c:xVal>
          <c:yVal>
            <c:numRef>
              <c:f>Sheet1!$B$163:$B$164</c:f>
              <c:numCache>
                <c:formatCode>General</c:formatCode>
                <c:ptCount val="2"/>
                <c:pt idx="0">
                  <c:v>0.4771484927083585</c:v>
                </c:pt>
                <c:pt idx="1">
                  <c:v>0.477148492708358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877.9215416549985</c:v>
                </c:pt>
                <c:pt idx="1">
                  <c:v>-1877.9215416549985</c:v>
                </c:pt>
              </c:numCache>
            </c:numRef>
          </c:xVal>
          <c:yVal>
            <c:numRef>
              <c:f>Sheet1!$B$167:$B$168</c:f>
              <c:numCache>
                <c:formatCode>General</c:formatCode>
                <c:ptCount val="2"/>
                <c:pt idx="0">
                  <c:v>0.47714849270835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76.3097898103617</c:v>
                </c:pt>
              </c:numCache>
            </c:numRef>
          </c:xVal>
          <c:yVal>
            <c:numRef>
              <c:f>Sheet1!$B$171:$B$172</c:f>
              <c:numCache>
                <c:formatCode>General</c:formatCode>
                <c:ptCount val="2"/>
                <c:pt idx="0">
                  <c:v>0.34214748284217317</c:v>
                </c:pt>
                <c:pt idx="1">
                  <c:v>0.3421474828421731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76.3097898103617</c:v>
                </c:pt>
                <c:pt idx="1">
                  <c:v>1176.3097898103617</c:v>
                </c:pt>
              </c:numCache>
            </c:numRef>
          </c:xVal>
          <c:yVal>
            <c:numRef>
              <c:f>Sheet1!$B$175:$B$176</c:f>
              <c:numCache>
                <c:formatCode>General</c:formatCode>
                <c:ptCount val="2"/>
                <c:pt idx="0">
                  <c:v>0.3421474828421731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81.1039931599053</c:v>
                </c:pt>
              </c:numCache>
            </c:numRef>
          </c:xVal>
          <c:yVal>
            <c:numRef>
              <c:f>Sheet1!$B$179:$B$180</c:f>
              <c:numCache>
                <c:formatCode>General</c:formatCode>
                <c:ptCount val="2"/>
                <c:pt idx="0">
                  <c:v>0.33309531184841135</c:v>
                </c:pt>
                <c:pt idx="1">
                  <c:v>0.3330953118484113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81.1039931599053</c:v>
                </c:pt>
                <c:pt idx="1">
                  <c:v>1381.1039931599053</c:v>
                </c:pt>
              </c:numCache>
            </c:numRef>
          </c:xVal>
          <c:yVal>
            <c:numRef>
              <c:f>Sheet1!$B$183:$B$184</c:f>
              <c:numCache>
                <c:formatCode>General</c:formatCode>
                <c:ptCount val="2"/>
                <c:pt idx="0">
                  <c:v>0.3330953118484113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82.4767</c:v>
                </c:pt>
                <c:pt idx="1">
                  <c:v>1282.6729</c:v>
                </c:pt>
                <c:pt idx="2">
                  <c:v>1289.6809</c:v>
                </c:pt>
                <c:pt idx="3">
                  <c:v>1311.4037</c:v>
                </c:pt>
                <c:pt idx="4">
                  <c:v>1304.059</c:v>
                </c:pt>
                <c:pt idx="5">
                  <c:v>1285.8596</c:v>
                </c:pt>
                <c:pt idx="6">
                  <c:v>1177.6417</c:v>
                </c:pt>
                <c:pt idx="7">
                  <c:v>1248.4556</c:v>
                </c:pt>
                <c:pt idx="8">
                  <c:v>1292.7431</c:v>
                </c:pt>
                <c:pt idx="9">
                  <c:v>1239.8309</c:v>
                </c:pt>
                <c:pt idx="10">
                  <c:v>1280.3292</c:v>
                </c:pt>
                <c:pt idx="11">
                  <c:v>1103.5442</c:v>
                </c:pt>
                <c:pt idx="12">
                  <c:v>1165.5133</c:v>
                </c:pt>
                <c:pt idx="13">
                  <c:v>1245.8134</c:v>
                </c:pt>
                <c:pt idx="14">
                  <c:v>1205.4854</c:v>
                </c:pt>
                <c:pt idx="15">
                  <c:v>1243.4534</c:v>
                </c:pt>
                <c:pt idx="16">
                  <c:v>1285.3077</c:v>
                </c:pt>
                <c:pt idx="17">
                  <c:v>1262.392</c:v>
                </c:pt>
                <c:pt idx="18">
                  <c:v>1173.4408</c:v>
                </c:pt>
                <c:pt idx="19">
                  <c:v>1299.2262</c:v>
                </c:pt>
                <c:pt idx="20">
                  <c:v>1303.806</c:v>
                </c:pt>
                <c:pt idx="21">
                  <c:v>1178.9514</c:v>
                </c:pt>
                <c:pt idx="22">
                  <c:v>1265.0783</c:v>
                </c:pt>
                <c:pt idx="23">
                  <c:v>1286.6513</c:v>
                </c:pt>
                <c:pt idx="24">
                  <c:v>1304.7705</c:v>
                </c:pt>
                <c:pt idx="25">
                  <c:v>1283.9648</c:v>
                </c:pt>
                <c:pt idx="26">
                  <c:v>1290.2794</c:v>
                </c:pt>
                <c:pt idx="27">
                  <c:v>1290.0954</c:v>
                </c:pt>
                <c:pt idx="28">
                  <c:v>1316.5141</c:v>
                </c:pt>
                <c:pt idx="29">
                  <c:v>1331.4581</c:v>
                </c:pt>
                <c:pt idx="30">
                  <c:v>1299.9428</c:v>
                </c:pt>
                <c:pt idx="31">
                  <c:v>1275.3051</c:v>
                </c:pt>
                <c:pt idx="32">
                  <c:v>1301.9955</c:v>
                </c:pt>
                <c:pt idx="33">
                  <c:v>1313.5222</c:v>
                </c:pt>
                <c:pt idx="34">
                  <c:v>1330.0522</c:v>
                </c:pt>
                <c:pt idx="35">
                  <c:v>1348.4556</c:v>
                </c:pt>
                <c:pt idx="36">
                  <c:v>1375.6422</c:v>
                </c:pt>
                <c:pt idx="37">
                  <c:v>1341.8975</c:v>
                </c:pt>
                <c:pt idx="38">
                  <c:v>1377.9513</c:v>
                </c:pt>
                <c:pt idx="39">
                  <c:v>1316.3006</c:v>
                </c:pt>
                <c:pt idx="40">
                  <c:v>1358.602</c:v>
                </c:pt>
                <c:pt idx="41">
                  <c:v>1381.7271</c:v>
                </c:pt>
                <c:pt idx="42">
                  <c:v>1357.4954</c:v>
                </c:pt>
                <c:pt idx="43">
                  <c:v>1377.3759</c:v>
                </c:pt>
                <c:pt idx="44">
                  <c:v>1294.0245</c:v>
                </c:pt>
                <c:pt idx="45">
                  <c:v>1249.4546</c:v>
                </c:pt>
                <c:pt idx="46">
                  <c:v>1245.4123</c:v>
                </c:pt>
                <c:pt idx="47">
                  <c:v>1205.7996</c:v>
                </c:pt>
                <c:pt idx="48">
                  <c:v>1204.8154</c:v>
                </c:pt>
                <c:pt idx="49">
                  <c:v>1230.7839</c:v>
                </c:pt>
                <c:pt idx="50">
                  <c:v>1179.636</c:v>
                </c:pt>
                <c:pt idx="51">
                  <c:v>1128.7707</c:v>
                </c:pt>
                <c:pt idx="52">
                  <c:v>1176.3097898103617</c:v>
                </c:pt>
                <c:pt idx="53">
                  <c:v>-1877.9215416549985</c:v>
                </c:pt>
                <c:pt idx="54">
                  <c:v>1381.1039931599053</c:v>
                </c:pt>
              </c:numCache>
            </c:numRef>
          </c:xVal>
          <c:yVal>
            <c:numRef>
              <c:f>Sheet1!$B$187:$B$241</c:f>
              <c:numCache>
                <c:formatCode>General</c:formatCode>
                <c:ptCount val="55"/>
                <c:pt idx="0">
                  <c:v>0.33745476689026876</c:v>
                </c:pt>
                <c:pt idx="1">
                  <c:v>0.3374460945942763</c:v>
                </c:pt>
                <c:pt idx="2">
                  <c:v>0.33713633185057207</c:v>
                </c:pt>
                <c:pt idx="3">
                  <c:v>0.3361761557476984</c:v>
                </c:pt>
                <c:pt idx="4">
                  <c:v>0.33650080107071273</c:v>
                </c:pt>
                <c:pt idx="5">
                  <c:v>0.3373052382964221</c:v>
                </c:pt>
                <c:pt idx="6">
                  <c:v>0.3420886106739783</c:v>
                </c:pt>
                <c:pt idx="7">
                  <c:v>0.3389585438993779</c:v>
                </c:pt>
                <c:pt idx="8">
                  <c:v>0.33700097861515954</c:v>
                </c:pt>
                <c:pt idx="9">
                  <c:v>0.33933976689247525</c:v>
                </c:pt>
                <c:pt idx="10">
                  <c:v>0.3375496891922244</c:v>
                </c:pt>
                <c:pt idx="11">
                  <c:v>0.3453638168528633</c:v>
                </c:pt>
                <c:pt idx="12">
                  <c:v>0.34262470177853627</c:v>
                </c:pt>
                <c:pt idx="13">
                  <c:v>0.3390753325867945</c:v>
                </c:pt>
                <c:pt idx="14">
                  <c:v>0.3408578828048461</c:v>
                </c:pt>
                <c:pt idx="15">
                  <c:v>0.33917964766600994</c:v>
                </c:pt>
                <c:pt idx="16">
                  <c:v>0.3373296329965149</c:v>
                </c:pt>
                <c:pt idx="17">
                  <c:v>0.33834253683582766</c:v>
                </c:pt>
                <c:pt idx="18">
                  <c:v>0.34227429593511227</c:v>
                </c:pt>
                <c:pt idx="19">
                  <c:v>0.3367144171363198</c:v>
                </c:pt>
                <c:pt idx="20">
                  <c:v>0.33651198400081506</c:v>
                </c:pt>
                <c:pt idx="21">
                  <c:v>0.34203072022514414</c:v>
                </c:pt>
                <c:pt idx="22">
                  <c:v>0.3382237988708715</c:v>
                </c:pt>
                <c:pt idx="23">
                  <c:v>0.33727024412344975</c:v>
                </c:pt>
                <c:pt idx="24">
                  <c:v>0.33646935184238147</c:v>
                </c:pt>
                <c:pt idx="25">
                  <c:v>0.3373889909286668</c:v>
                </c:pt>
                <c:pt idx="26">
                  <c:v>0.33710987736967785</c:v>
                </c:pt>
                <c:pt idx="27">
                  <c:v>0.33711801040975226</c:v>
                </c:pt>
                <c:pt idx="28">
                  <c:v>0.33595026939989214</c:v>
                </c:pt>
                <c:pt idx="29">
                  <c:v>0.33528972510167343</c:v>
                </c:pt>
                <c:pt idx="30">
                  <c:v>0.33668274248133423</c:v>
                </c:pt>
                <c:pt idx="31">
                  <c:v>0.3377717609674305</c:v>
                </c:pt>
                <c:pt idx="32">
                  <c:v>0.3365920104630692</c:v>
                </c:pt>
                <c:pt idx="33">
                  <c:v>0.3360825152835806</c:v>
                </c:pt>
                <c:pt idx="34">
                  <c:v>0.33535186771602477</c:v>
                </c:pt>
                <c:pt idx="35">
                  <c:v>0.33453841342414586</c:v>
                </c:pt>
                <c:pt idx="36">
                  <c:v>0.33333673023236643</c:v>
                </c:pt>
                <c:pt idx="37">
                  <c:v>0.3348282900008421</c:v>
                </c:pt>
                <c:pt idx="38">
                  <c:v>0.3332346649995629</c:v>
                </c:pt>
                <c:pt idx="39">
                  <c:v>0.33595970637845674</c:v>
                </c:pt>
                <c:pt idx="40">
                  <c:v>0.33408992930560694</c:v>
                </c:pt>
                <c:pt idx="41">
                  <c:v>0.33306776971307905</c:v>
                </c:pt>
                <c:pt idx="42">
                  <c:v>0.33413884246944586</c:v>
                </c:pt>
                <c:pt idx="43">
                  <c:v>0.33326009843031734</c:v>
                </c:pt>
                <c:pt idx="44">
                  <c:v>0.3369443390632499</c:v>
                </c:pt>
                <c:pt idx="45">
                  <c:v>0.33891438679593033</c:v>
                </c:pt>
                <c:pt idx="46">
                  <c:v>0.33909306173013065</c:v>
                </c:pt>
                <c:pt idx="47">
                  <c:v>0.3408439947548929</c:v>
                </c:pt>
                <c:pt idx="48">
                  <c:v>0.34088749767903015</c:v>
                </c:pt>
                <c:pt idx="49">
                  <c:v>0.3397396560965695</c:v>
                </c:pt>
                <c:pt idx="50">
                  <c:v>0.3420004600119107</c:v>
                </c:pt>
                <c:pt idx="51">
                  <c:v>0.3442487726385289</c:v>
                </c:pt>
                <c:pt idx="52">
                  <c:v>0.34214748284217317</c:v>
                </c:pt>
                <c:pt idx="53">
                  <c:v>0.4771484927083585</c:v>
                </c:pt>
                <c:pt idx="54">
                  <c:v>0.3330953118484113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8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062557161148711"/>
          <c:min val="0.2206204379562043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9769975889781859</c:v>
                </c:pt>
                <c:pt idx="1">
                  <c:v>1.057053254561824</c:v>
                </c:pt>
                <c:pt idx="2">
                  <c:v>1.1115415912792326</c:v>
                </c:pt>
                <c:pt idx="3">
                  <c:v>1.1395840565494706</c:v>
                </c:pt>
                <c:pt idx="4">
                  <c:v>1.085932832198591</c:v>
                </c:pt>
                <c:pt idx="5">
                  <c:v>1.0530273879275105</c:v>
                </c:pt>
                <c:pt idx="6">
                  <c:v>0.9876771359274313</c:v>
                </c:pt>
                <c:pt idx="7">
                  <c:v>0.999533315758127</c:v>
                </c:pt>
                <c:pt idx="8">
                  <c:v>0.9625879263740507</c:v>
                </c:pt>
                <c:pt idx="9">
                  <c:v>0.8686954889077813</c:v>
                </c:pt>
                <c:pt idx="10">
                  <c:v>0.8822952455251508</c:v>
                </c:pt>
                <c:pt idx="11">
                  <c:v>1.0265034460295746</c:v>
                </c:pt>
                <c:pt idx="12">
                  <c:v>1.000637001198092</c:v>
                </c:pt>
                <c:pt idx="13">
                  <c:v>1.0506800898420643</c:v>
                </c:pt>
                <c:pt idx="14">
                  <c:v>1.0240249072532859</c:v>
                </c:pt>
                <c:pt idx="15">
                  <c:v>1.020197437625017</c:v>
                </c:pt>
                <c:pt idx="16">
                  <c:v>1.1198179311504803</c:v>
                </c:pt>
                <c:pt idx="17">
                  <c:v>1.110611375129264</c:v>
                </c:pt>
                <c:pt idx="18">
                  <c:v>1.4163279954455803</c:v>
                </c:pt>
                <c:pt idx="19">
                  <c:v>1.3277171310948321</c:v>
                </c:pt>
                <c:pt idx="20">
                  <c:v>1.2537042954834796</c:v>
                </c:pt>
                <c:pt idx="21">
                  <c:v>1.4264347783984592</c:v>
                </c:pt>
                <c:pt idx="22">
                  <c:v>1.326216157854428</c:v>
                </c:pt>
                <c:pt idx="23">
                  <c:v>1.3583244829352454</c:v>
                </c:pt>
                <c:pt idx="24">
                  <c:v>1.1903798397175498</c:v>
                </c:pt>
                <c:pt idx="25">
                  <c:v>1.1405753127877376</c:v>
                </c:pt>
                <c:pt idx="26">
                  <c:v>1.0398700807901389</c:v>
                </c:pt>
                <c:pt idx="27">
                  <c:v>0.9468616929938504</c:v>
                </c:pt>
                <c:pt idx="28">
                  <c:v>0.9787641232422477</c:v>
                </c:pt>
                <c:pt idx="29">
                  <c:v>0.7937100001683343</c:v>
                </c:pt>
                <c:pt idx="30">
                  <c:v>0.8344112582923944</c:v>
                </c:pt>
                <c:pt idx="31">
                  <c:v>0.8672901185162994</c:v>
                </c:pt>
                <c:pt idx="32">
                  <c:v>0.758816990845797</c:v>
                </c:pt>
                <c:pt idx="33">
                  <c:v>0.7430121792600258</c:v>
                </c:pt>
                <c:pt idx="34">
                  <c:v>0.8348635076027071</c:v>
                </c:pt>
                <c:pt idx="35">
                  <c:v>0.957868935324048</c:v>
                </c:pt>
                <c:pt idx="36">
                  <c:v>1.0351464877551415</c:v>
                </c:pt>
                <c:pt idx="37">
                  <c:v>0.9210391173657229</c:v>
                </c:pt>
                <c:pt idx="38">
                  <c:v>0.9824234099634782</c:v>
                </c:pt>
                <c:pt idx="39">
                  <c:v>0.8597560882497626</c:v>
                </c:pt>
                <c:pt idx="40">
                  <c:v>0.795375431024292</c:v>
                </c:pt>
                <c:pt idx="41">
                  <c:v>0.7147508833859157</c:v>
                </c:pt>
                <c:pt idx="42">
                  <c:v>0.9310278195823221</c:v>
                </c:pt>
                <c:pt idx="43">
                  <c:v>1.0276797563060085</c:v>
                </c:pt>
                <c:pt idx="44">
                  <c:v>1.0435924664357157</c:v>
                </c:pt>
                <c:pt idx="45">
                  <c:v>1.102988555093385</c:v>
                </c:pt>
                <c:pt idx="46">
                  <c:v>1.022367728994874</c:v>
                </c:pt>
                <c:pt idx="47">
                  <c:v>0.9969374298972927</c:v>
                </c:pt>
                <c:pt idx="48">
                  <c:v>1.2504367501780222</c:v>
                </c:pt>
                <c:pt idx="49">
                  <c:v>1.1751661509121563</c:v>
                </c:pt>
                <c:pt idx="50">
                  <c:v>0.972340432808744</c:v>
                </c:pt>
                <c:pt idx="51">
                  <c:v>0.9020154366421325</c:v>
                </c:pt>
                <c:pt idx="52">
                  <c:v>0.9539655717955616</c:v>
                </c:pt>
                <c:pt idx="53">
                  <c:v>0.8379213181033721</c:v>
                </c:pt>
                <c:pt idx="54">
                  <c:v>0.9231969254839495</c:v>
                </c:pt>
                <c:pt idx="55">
                  <c:v>0.7966119552746626</c:v>
                </c:pt>
                <c:pt idx="56">
                  <c:v>0.8919015226821603</c:v>
                </c:pt>
                <c:pt idx="57">
                  <c:v>0.8333444215804711</c:v>
                </c:pt>
                <c:pt idx="58">
                  <c:v>0.8369185157304487</c:v>
                </c:pt>
                <c:pt idx="59">
                  <c:v>0.8874254447022428</c:v>
                </c:pt>
                <c:pt idx="60">
                  <c:v>0.8573595333790244</c:v>
                </c:pt>
                <c:pt idx="61">
                  <c:v>0.7511008100363766</c:v>
                </c:pt>
                <c:pt idx="62">
                  <c:v>0.6913381277860328</c:v>
                </c:pt>
                <c:pt idx="63">
                  <c:v>0.7787938839040204</c:v>
                </c:pt>
                <c:pt idx="64">
                  <c:v>0.8258766821118761</c:v>
                </c:pt>
                <c:pt idx="65">
                  <c:v>0.642397711998182</c:v>
                </c:pt>
                <c:pt idx="66">
                  <c:v>0.6397222266324788</c:v>
                </c:pt>
                <c:pt idx="67">
                  <c:v>0.6690695260210353</c:v>
                </c:pt>
                <c:pt idx="68">
                  <c:v>0.7111071981669244</c:v>
                </c:pt>
                <c:pt idx="69">
                  <c:v>0.5026744516025176</c:v>
                </c:pt>
                <c:pt idx="70">
                  <c:v>0.6188472477745546</c:v>
                </c:pt>
                <c:pt idx="71">
                  <c:v>0.5670361492281303</c:v>
                </c:pt>
                <c:pt idx="72">
                  <c:v>0.5472295424390835</c:v>
                </c:pt>
                <c:pt idx="73">
                  <c:v>0.6905482158197807</c:v>
                </c:pt>
                <c:pt idx="74">
                  <c:v>0.34691122844964695</c:v>
                </c:pt>
                <c:pt idx="75">
                  <c:v>0.6411096214511041</c:v>
                </c:pt>
                <c:pt idx="76">
                  <c:v>0.5598361624420823</c:v>
                </c:pt>
                <c:pt idx="77">
                  <c:v>0.4144075945241199</c:v>
                </c:pt>
                <c:pt idx="78">
                  <c:v>0.5473631945827524</c:v>
                </c:pt>
                <c:pt idx="79">
                  <c:v>0.659715841828855</c:v>
                </c:pt>
                <c:pt idx="80">
                  <c:v>0.5921693157734166</c:v>
                </c:pt>
                <c:pt idx="81">
                  <c:v>0.8633083877372023</c:v>
                </c:pt>
                <c:pt idx="82">
                  <c:v>0.7713808272154674</c:v>
                </c:pt>
                <c:pt idx="83">
                  <c:v>0.7249419193423482</c:v>
                </c:pt>
                <c:pt idx="84">
                  <c:v>0.46626640410463943</c:v>
                </c:pt>
                <c:pt idx="85">
                  <c:v>0.4553887181432535</c:v>
                </c:pt>
                <c:pt idx="86">
                  <c:v>0.3709847013188571</c:v>
                </c:pt>
                <c:pt idx="87">
                  <c:v>0.5089973393206405</c:v>
                </c:pt>
                <c:pt idx="88">
                  <c:v>0.5860003037139881</c:v>
                </c:pt>
                <c:pt idx="89">
                  <c:v>0.5762236964792884</c:v>
                </c:pt>
                <c:pt idx="90">
                  <c:v>0.7010650668956305</c:v>
                </c:pt>
                <c:pt idx="91">
                  <c:v>0.735679191286779</c:v>
                </c:pt>
                <c:pt idx="92">
                  <c:v>0.7492569040069185</c:v>
                </c:pt>
                <c:pt idx="93">
                  <c:v>0.5966613003095975</c:v>
                </c:pt>
                <c:pt idx="94">
                  <c:v>0.5769174675650092</c:v>
                </c:pt>
                <c:pt idx="95">
                  <c:v>0.5436999458933015</c:v>
                </c:pt>
                <c:pt idx="96">
                  <c:v>0.43575868832758974</c:v>
                </c:pt>
                <c:pt idx="97">
                  <c:v>0.47808352679571253</c:v>
                </c:pt>
                <c:pt idx="98">
                  <c:v>0.4407606803797468</c:v>
                </c:pt>
                <c:pt idx="99">
                  <c:v>0.5055392431972789</c:v>
                </c:pt>
                <c:pt idx="100">
                  <c:v>0.39631761703270874</c:v>
                </c:pt>
                <c:pt idx="101">
                  <c:v>0.4210327408460718</c:v>
                </c:pt>
                <c:pt idx="102">
                  <c:v>0.44540105130672986</c:v>
                </c:pt>
                <c:pt idx="103">
                  <c:v>0.4006538155539349</c:v>
                </c:pt>
                <c:pt idx="104">
                  <c:v>0.5354231180214374</c:v>
                </c:pt>
              </c:numCache>
            </c:numRef>
          </c:xVal>
          <c:yVal>
            <c:numRef>
              <c:f>Sheet1!$B$2:$B$106</c:f>
              <c:numCache>
                <c:formatCode>General</c:formatCode>
                <c:ptCount val="105"/>
                <c:pt idx="0">
                  <c:v>0.4122219564697441</c:v>
                </c:pt>
                <c:pt idx="1">
                  <c:v>0.4575744740928985</c:v>
                </c:pt>
                <c:pt idx="2">
                  <c:v>0.49476552416463504</c:v>
                </c:pt>
                <c:pt idx="3">
                  <c:v>0.5041126225877887</c:v>
                </c:pt>
                <c:pt idx="4">
                  <c:v>0.4909317211948791</c:v>
                </c:pt>
                <c:pt idx="5">
                  <c:v>0.4645214521452145</c:v>
                </c:pt>
                <c:pt idx="6">
                  <c:v>0.4800604229607251</c:v>
                </c:pt>
                <c:pt idx="7">
                  <c:v>0.5052130967623926</c:v>
                </c:pt>
                <c:pt idx="8">
                  <c:v>0.4849351639969489</c:v>
                </c:pt>
                <c:pt idx="9">
                  <c:v>0.4531850086081314</c:v>
                </c:pt>
                <c:pt idx="10">
                  <c:v>0.4355716878402904</c:v>
                </c:pt>
                <c:pt idx="11">
                  <c:v>0.3866916087653661</c:v>
                </c:pt>
                <c:pt idx="12">
                  <c:v>0.36869308392813194</c:v>
                </c:pt>
                <c:pt idx="13">
                  <c:v>0.3492238112700159</c:v>
                </c:pt>
                <c:pt idx="14">
                  <c:v>0.32484937907291284</c:v>
                </c:pt>
                <c:pt idx="15">
                  <c:v>0.32006172839506175</c:v>
                </c:pt>
                <c:pt idx="16">
                  <c:v>0.29603977979044577</c:v>
                </c:pt>
                <c:pt idx="17">
                  <c:v>0.2994760177347844</c:v>
                </c:pt>
                <c:pt idx="18">
                  <c:v>0.27577554744525545</c:v>
                </c:pt>
                <c:pt idx="19">
                  <c:v>0.2894243641231593</c:v>
                </c:pt>
                <c:pt idx="20">
                  <c:v>0.28587269904635176</c:v>
                </c:pt>
                <c:pt idx="21">
                  <c:v>0.3412604042806183</c:v>
                </c:pt>
                <c:pt idx="22">
                  <c:v>0.412086409625376</c:v>
                </c:pt>
                <c:pt idx="23">
                  <c:v>0.42009264620729586</c:v>
                </c:pt>
                <c:pt idx="24">
                  <c:v>0.44516653127538586</c:v>
                </c:pt>
                <c:pt idx="25">
                  <c:v>0.44539093398235474</c:v>
                </c:pt>
                <c:pt idx="26">
                  <c:v>0.45406961528395706</c:v>
                </c:pt>
                <c:pt idx="27">
                  <c:v>0.43562179330564377</c:v>
                </c:pt>
                <c:pt idx="28">
                  <c:v>0.4154929577464789</c:v>
                </c:pt>
                <c:pt idx="29">
                  <c:v>0.4201169590643275</c:v>
                </c:pt>
                <c:pt idx="30">
                  <c:v>0.42677211482132393</c:v>
                </c:pt>
                <c:pt idx="31">
                  <c:v>0.44349267753523075</c:v>
                </c:pt>
                <c:pt idx="32">
                  <c:v>0.46293706293706294</c:v>
                </c:pt>
                <c:pt idx="33">
                  <c:v>0.4669873196327066</c:v>
                </c:pt>
                <c:pt idx="34">
                  <c:v>0.42886291968094975</c:v>
                </c:pt>
                <c:pt idx="35">
                  <c:v>0.41145750909954104</c:v>
                </c:pt>
                <c:pt idx="36">
                  <c:v>0.3726595530501309</c:v>
                </c:pt>
                <c:pt idx="37">
                  <c:v>0.3789173789173789</c:v>
                </c:pt>
                <c:pt idx="38">
                  <c:v>0.3680798004987531</c:v>
                </c:pt>
                <c:pt idx="39">
                  <c:v>0.3550706033376123</c:v>
                </c:pt>
                <c:pt idx="40">
                  <c:v>0.36861846217962074</c:v>
                </c:pt>
                <c:pt idx="41">
                  <c:v>0.36113090995485864</c:v>
                </c:pt>
                <c:pt idx="42">
                  <c:v>0.3616153375484397</c:v>
                </c:pt>
                <c:pt idx="43">
                  <c:v>0.35259259259259257</c:v>
                </c:pt>
                <c:pt idx="44">
                  <c:v>0.33795454545454545</c:v>
                </c:pt>
                <c:pt idx="45">
                  <c:v>0.3405964454262476</c:v>
                </c:pt>
                <c:pt idx="46">
                  <c:v>0.34828366283072687</c:v>
                </c:pt>
                <c:pt idx="47">
                  <c:v>0.3353148614609572</c:v>
                </c:pt>
                <c:pt idx="48">
                  <c:v>0.3398497337515501</c:v>
                </c:pt>
                <c:pt idx="49">
                  <c:v>0.3609284919591383</c:v>
                </c:pt>
                <c:pt idx="50">
                  <c:v>0.34944877111358347</c:v>
                </c:pt>
                <c:pt idx="51">
                  <c:v>0.3475601648716926</c:v>
                </c:pt>
                <c:pt idx="52">
                  <c:v>0.36118838322020697</c:v>
                </c:pt>
                <c:pt idx="53">
                  <c:v>0.3653656474566718</c:v>
                </c:pt>
                <c:pt idx="54">
                  <c:v>0.3803268183274591</c:v>
                </c:pt>
                <c:pt idx="55">
                  <c:v>0.3718364698247891</c:v>
                </c:pt>
                <c:pt idx="56">
                  <c:v>0.3866995073891626</c:v>
                </c:pt>
                <c:pt idx="57">
                  <c:v>0.38408820023837903</c:v>
                </c:pt>
                <c:pt idx="58">
                  <c:v>0.3851921274601687</c:v>
                </c:pt>
                <c:pt idx="59">
                  <c:v>0.4010805248263442</c:v>
                </c:pt>
                <c:pt idx="60">
                  <c:v>0.4094823507144885</c:v>
                </c:pt>
                <c:pt idx="61">
                  <c:v>0.39182215164747913</c:v>
                </c:pt>
                <c:pt idx="62">
                  <c:v>0.3949877750611247</c:v>
                </c:pt>
                <c:pt idx="63">
                  <c:v>0.4114875476778102</c:v>
                </c:pt>
                <c:pt idx="64">
                  <c:v>0.3671306877207563</c:v>
                </c:pt>
                <c:pt idx="65">
                  <c:v>0.3417593528816987</c:v>
                </c:pt>
                <c:pt idx="66">
                  <c:v>0.34050348658551</c:v>
                </c:pt>
                <c:pt idx="67">
                  <c:v>0.3321290322580645</c:v>
                </c:pt>
                <c:pt idx="68">
                  <c:v>0.32402055234425176</c:v>
                </c:pt>
                <c:pt idx="69">
                  <c:v>0.31514657980456023</c:v>
                </c:pt>
                <c:pt idx="70">
                  <c:v>0.3166468017481128</c:v>
                </c:pt>
                <c:pt idx="71">
                  <c:v>0.33052199680875316</c:v>
                </c:pt>
                <c:pt idx="72">
                  <c:v>0.3088602329450915</c:v>
                </c:pt>
                <c:pt idx="73">
                  <c:v>0.33105076741440376</c:v>
                </c:pt>
                <c:pt idx="74">
                  <c:v>0.3293321693583588</c:v>
                </c:pt>
                <c:pt idx="75">
                  <c:v>0.344019728729963</c:v>
                </c:pt>
                <c:pt idx="76">
                  <c:v>0.3415359653866955</c:v>
                </c:pt>
                <c:pt idx="77">
                  <c:v>0.34570699914990083</c:v>
                </c:pt>
                <c:pt idx="78">
                  <c:v>0.3243585682610073</c:v>
                </c:pt>
                <c:pt idx="79">
                  <c:v>0.31251815277374384</c:v>
                </c:pt>
                <c:pt idx="80">
                  <c:v>0.29278523489932884</c:v>
                </c:pt>
                <c:pt idx="81">
                  <c:v>0.30329008341056535</c:v>
                </c:pt>
                <c:pt idx="82">
                  <c:v>0.3128063725490196</c:v>
                </c:pt>
                <c:pt idx="83">
                  <c:v>0.3169877408056042</c:v>
                </c:pt>
                <c:pt idx="84">
                  <c:v>0.3171667829727844</c:v>
                </c:pt>
                <c:pt idx="85">
                  <c:v>0.3261065943992773</c:v>
                </c:pt>
                <c:pt idx="86">
                  <c:v>0.31790258885476086</c:v>
                </c:pt>
                <c:pt idx="87">
                  <c:v>0.33300414773849496</c:v>
                </c:pt>
                <c:pt idx="88">
                  <c:v>0.32550247977029495</c:v>
                </c:pt>
                <c:pt idx="89">
                  <c:v>0.3350208457415128</c:v>
                </c:pt>
                <c:pt idx="90">
                  <c:v>0.32857142857142857</c:v>
                </c:pt>
                <c:pt idx="91">
                  <c:v>0.30036518563603165</c:v>
                </c:pt>
                <c:pt idx="92">
                  <c:v>0.30674157303370786</c:v>
                </c:pt>
                <c:pt idx="93">
                  <c:v>0.29623213512343005</c:v>
                </c:pt>
                <c:pt idx="94">
                  <c:v>0.30102405334603477</c:v>
                </c:pt>
                <c:pt idx="95">
                  <c:v>0.30139616055846424</c:v>
                </c:pt>
                <c:pt idx="96">
                  <c:v>0.3043998087039694</c:v>
                </c:pt>
                <c:pt idx="97">
                  <c:v>0.30493638676844786</c:v>
                </c:pt>
                <c:pt idx="98">
                  <c:v>0.3089509994693083</c:v>
                </c:pt>
                <c:pt idx="99">
                  <c:v>0.31196711327649207</c:v>
                </c:pt>
                <c:pt idx="100">
                  <c:v>0.31757174144999156</c:v>
                </c:pt>
                <c:pt idx="101">
                  <c:v>0.3358239508700102</c:v>
                </c:pt>
                <c:pt idx="102">
                  <c:v>0.32883741386893417</c:v>
                </c:pt>
                <c:pt idx="103">
                  <c:v>0.2956072971675468</c:v>
                </c:pt>
                <c:pt idx="104">
                  <c:v>0.298840452076911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5776922072072072</c:v>
                </c:pt>
                <c:pt idx="1">
                  <c:v>0.5673033613445378</c:v>
                </c:pt>
                <c:pt idx="2">
                  <c:v>0.5220776285107428</c:v>
                </c:pt>
                <c:pt idx="3">
                  <c:v>0.5028002837205736</c:v>
                </c:pt>
                <c:pt idx="4">
                  <c:v>0.8426627843898612</c:v>
                </c:pt>
                <c:pt idx="5">
                  <c:v>0.49279239260082264</c:v>
                </c:pt>
                <c:pt idx="6">
                  <c:v>0.35988744747497897</c:v>
                </c:pt>
                <c:pt idx="7">
                  <c:v>0.30769084411583486</c:v>
                </c:pt>
                <c:pt idx="8">
                  <c:v>0.35036853057757217</c:v>
                </c:pt>
                <c:pt idx="9">
                  <c:v>0.5414581622849156</c:v>
                </c:pt>
                <c:pt idx="10">
                  <c:v>0.5669772740869838</c:v>
                </c:pt>
                <c:pt idx="11">
                  <c:v>0.5579091001011123</c:v>
                </c:pt>
                <c:pt idx="12">
                  <c:v>0.3517468839595594</c:v>
                </c:pt>
                <c:pt idx="13">
                  <c:v>0.4912790235695852</c:v>
                </c:pt>
                <c:pt idx="14">
                  <c:v>0.5608068011825328</c:v>
                </c:pt>
                <c:pt idx="15">
                  <c:v>0.5599179710820237</c:v>
                </c:pt>
                <c:pt idx="16">
                  <c:v>0.34258884520557076</c:v>
                </c:pt>
                <c:pt idx="17">
                  <c:v>0.5515438804564754</c:v>
                </c:pt>
                <c:pt idx="18">
                  <c:v>0.44071238638924365</c:v>
                </c:pt>
                <c:pt idx="19">
                  <c:v>0.29972920409313136</c:v>
                </c:pt>
                <c:pt idx="20">
                  <c:v>0.4860594989561587</c:v>
                </c:pt>
                <c:pt idx="21">
                  <c:v>0.36998317903656047</c:v>
                </c:pt>
                <c:pt idx="22">
                  <c:v>0.32793872524031165</c:v>
                </c:pt>
                <c:pt idx="23">
                  <c:v>0.23499049820400886</c:v>
                </c:pt>
                <c:pt idx="24">
                  <c:v>0.2673162261831592</c:v>
                </c:pt>
                <c:pt idx="25">
                  <c:v>0.31071808336862483</c:v>
                </c:pt>
                <c:pt idx="26">
                  <c:v>0.4217150607922604</c:v>
                </c:pt>
                <c:pt idx="27">
                  <c:v>0.4563209519976306</c:v>
                </c:pt>
                <c:pt idx="28">
                  <c:v>0.5306384925433293</c:v>
                </c:pt>
                <c:pt idx="29">
                  <c:v>0.568182462166776</c:v>
                </c:pt>
                <c:pt idx="30">
                  <c:v>0.47378325284738043</c:v>
                </c:pt>
                <c:pt idx="31">
                  <c:v>0.8397900039510076</c:v>
                </c:pt>
                <c:pt idx="32">
                  <c:v>0.49420971721389256</c:v>
                </c:pt>
                <c:pt idx="33">
                  <c:v>0.5671267216441432</c:v>
                </c:pt>
                <c:pt idx="34">
                  <c:v>0.7220042572694426</c:v>
                </c:pt>
                <c:pt idx="35">
                  <c:v>0.7913471830985915</c:v>
                </c:pt>
                <c:pt idx="36">
                  <c:v>0.5529108520900321</c:v>
                </c:pt>
                <c:pt idx="37">
                  <c:v>0.5450658028352086</c:v>
                </c:pt>
                <c:pt idx="38">
                  <c:v>0.5286451389745165</c:v>
                </c:pt>
                <c:pt idx="39">
                  <c:v>0.5853693657668342</c:v>
                </c:pt>
                <c:pt idx="40">
                  <c:v>0.5589421206947048</c:v>
                </c:pt>
                <c:pt idx="41">
                  <c:v>0.6030231830524176</c:v>
                </c:pt>
                <c:pt idx="42">
                  <c:v>0.48333095375851176</c:v>
                </c:pt>
                <c:pt idx="43">
                  <c:v>0.6352477343479764</c:v>
                </c:pt>
                <c:pt idx="44">
                  <c:v>0.5441650546677881</c:v>
                </c:pt>
                <c:pt idx="45">
                  <c:v>0.5562815056770157</c:v>
                </c:pt>
                <c:pt idx="46">
                  <c:v>0.4291072634559236</c:v>
                </c:pt>
                <c:pt idx="47">
                  <c:v>0.5854005103540626</c:v>
                </c:pt>
                <c:pt idx="48">
                  <c:v>0.8169070752957928</c:v>
                </c:pt>
                <c:pt idx="49">
                  <c:v>0.45829940323111257</c:v>
                </c:pt>
                <c:pt idx="50">
                  <c:v>0.6220888595912986</c:v>
                </c:pt>
                <c:pt idx="51">
                  <c:v>0.6525351863932939</c:v>
                </c:pt>
              </c:numCache>
            </c:numRef>
          </c:xVal>
          <c:yVal>
            <c:numRef>
              <c:f>Sheet1!$B$109:$B$160</c:f>
              <c:numCache>
                <c:formatCode>General</c:formatCode>
                <c:ptCount val="52"/>
                <c:pt idx="0">
                  <c:v>0.31237458193979933</c:v>
                </c:pt>
                <c:pt idx="1">
                  <c:v>0.32443181818181815</c:v>
                </c:pt>
                <c:pt idx="2">
                  <c:v>0.33044856167723063</c:v>
                </c:pt>
                <c:pt idx="3">
                  <c:v>0.3529641185647426</c:v>
                </c:pt>
                <c:pt idx="4">
                  <c:v>0.34754054416298086</c:v>
                </c:pt>
                <c:pt idx="5">
                  <c:v>0.3389429397843807</c:v>
                </c:pt>
                <c:pt idx="6">
                  <c:v>0.35547283936256835</c:v>
                </c:pt>
                <c:pt idx="7">
                  <c:v>0.3351046698872786</c:v>
                </c:pt>
                <c:pt idx="8">
                  <c:v>0.3382022471910112</c:v>
                </c:pt>
                <c:pt idx="9">
                  <c:v>0.34418761599460096</c:v>
                </c:pt>
                <c:pt idx="10">
                  <c:v>0.33174577106257186</c:v>
                </c:pt>
                <c:pt idx="11">
                  <c:v>0.34265113699389904</c:v>
                </c:pt>
                <c:pt idx="12">
                  <c:v>0.3428795606120047</c:v>
                </c:pt>
                <c:pt idx="13">
                  <c:v>0.3516770727457529</c:v>
                </c:pt>
                <c:pt idx="14">
                  <c:v>0.35795454545454547</c:v>
                </c:pt>
                <c:pt idx="15">
                  <c:v>0.3407821229050279</c:v>
                </c:pt>
                <c:pt idx="16">
                  <c:v>0.3192142418661756</c:v>
                </c:pt>
                <c:pt idx="17">
                  <c:v>0.32514944491887277</c:v>
                </c:pt>
                <c:pt idx="18">
                  <c:v>0.34109263657957245</c:v>
                </c:pt>
                <c:pt idx="19">
                  <c:v>0.3400293973542381</c:v>
                </c:pt>
                <c:pt idx="20">
                  <c:v>0.34190966266437967</c:v>
                </c:pt>
                <c:pt idx="21">
                  <c:v>0.3686440677966102</c:v>
                </c:pt>
                <c:pt idx="22">
                  <c:v>0.3453166226912929</c:v>
                </c:pt>
                <c:pt idx="23">
                  <c:v>0.34934797529169526</c:v>
                </c:pt>
                <c:pt idx="24">
                  <c:v>0.34213067267460573</c:v>
                </c:pt>
                <c:pt idx="25">
                  <c:v>0.3386295928500497</c:v>
                </c:pt>
                <c:pt idx="26">
                  <c:v>0.3390840652446675</c:v>
                </c:pt>
                <c:pt idx="27">
                  <c:v>0.3300808475048787</c:v>
                </c:pt>
                <c:pt idx="28">
                  <c:v>0.32444782939832445</c:v>
                </c:pt>
                <c:pt idx="29">
                  <c:v>0.34571788413098237</c:v>
                </c:pt>
                <c:pt idx="30">
                  <c:v>0.3474148802017655</c:v>
                </c:pt>
                <c:pt idx="31">
                  <c:v>0.3254796364860316</c:v>
                </c:pt>
                <c:pt idx="32">
                  <c:v>0.3252799057159694</c:v>
                </c:pt>
                <c:pt idx="33">
                  <c:v>0.32288677996027365</c:v>
                </c:pt>
                <c:pt idx="34">
                  <c:v>0.3431355489820776</c:v>
                </c:pt>
                <c:pt idx="35">
                  <c:v>0.3260017421602787</c:v>
                </c:pt>
                <c:pt idx="36">
                  <c:v>0.33631805157593125</c:v>
                </c:pt>
                <c:pt idx="37">
                  <c:v>0.3538918205804749</c:v>
                </c:pt>
                <c:pt idx="38">
                  <c:v>0.3548872180451128</c:v>
                </c:pt>
                <c:pt idx="39">
                  <c:v>0.34538482607504795</c:v>
                </c:pt>
                <c:pt idx="40">
                  <c:v>0.32776280323450135</c:v>
                </c:pt>
                <c:pt idx="41">
                  <c:v>0.31910669975186107</c:v>
                </c:pt>
                <c:pt idx="42">
                  <c:v>0.3386408871197043</c:v>
                </c:pt>
                <c:pt idx="43">
                  <c:v>0.3311532592108132</c:v>
                </c:pt>
                <c:pt idx="44">
                  <c:v>0.3214661522272887</c:v>
                </c:pt>
                <c:pt idx="45">
                  <c:v>0.334070524634476</c:v>
                </c:pt>
                <c:pt idx="46">
                  <c:v>0.3437188789301465</c:v>
                </c:pt>
                <c:pt idx="47">
                  <c:v>0.3428534671298083</c:v>
                </c:pt>
                <c:pt idx="48">
                  <c:v>0.3184480234260615</c:v>
                </c:pt>
                <c:pt idx="49">
                  <c:v>0.32770896323027404</c:v>
                </c:pt>
                <c:pt idx="50">
                  <c:v>0.33717730310575283</c:v>
                </c:pt>
                <c:pt idx="51">
                  <c:v>0.342747265953611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5.2482117610468775</c:v>
                </c:pt>
              </c:numCache>
            </c:numRef>
          </c:xVal>
          <c:yVal>
            <c:numRef>
              <c:f>Sheet1!$B$163:$B$164</c:f>
              <c:numCache>
                <c:formatCode>General</c:formatCode>
                <c:ptCount val="2"/>
                <c:pt idx="0">
                  <c:v>0.4771484927083585</c:v>
                </c:pt>
                <c:pt idx="1">
                  <c:v>0.477148492708358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5.2482117610468775</c:v>
                </c:pt>
                <c:pt idx="1">
                  <c:v>-5.2482117610468775</c:v>
                </c:pt>
              </c:numCache>
            </c:numRef>
          </c:xVal>
          <c:yVal>
            <c:numRef>
              <c:f>Sheet1!$B$167:$B$168</c:f>
              <c:numCache>
                <c:formatCode>General</c:formatCode>
                <c:ptCount val="2"/>
                <c:pt idx="0">
                  <c:v>0.47714849270835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3423425702216014</c:v>
                </c:pt>
              </c:numCache>
            </c:numRef>
          </c:xVal>
          <c:yVal>
            <c:numRef>
              <c:f>Sheet1!$B$171:$B$172</c:f>
              <c:numCache>
                <c:formatCode>General</c:formatCode>
                <c:ptCount val="2"/>
                <c:pt idx="0">
                  <c:v>0.34214748284217317</c:v>
                </c:pt>
                <c:pt idx="1">
                  <c:v>0.3421474828421731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3423425702216014</c:v>
                </c:pt>
                <c:pt idx="1">
                  <c:v>0.33423425702216014</c:v>
                </c:pt>
              </c:numCache>
            </c:numRef>
          </c:xVal>
          <c:yVal>
            <c:numRef>
              <c:f>Sheet1!$B$175:$B$176</c:f>
              <c:numCache>
                <c:formatCode>General</c:formatCode>
                <c:ptCount val="2"/>
                <c:pt idx="0">
                  <c:v>0.3421474828421731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0855187115775</c:v>
                </c:pt>
              </c:numCache>
            </c:numRef>
          </c:xVal>
          <c:yVal>
            <c:numRef>
              <c:f>Sheet1!$B$179:$B$180</c:f>
              <c:numCache>
                <c:formatCode>General</c:formatCode>
                <c:ptCount val="2"/>
                <c:pt idx="0">
                  <c:v>0.33309531184841135</c:v>
                </c:pt>
                <c:pt idx="1">
                  <c:v>0.3330953118484113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0855187115775</c:v>
                </c:pt>
                <c:pt idx="1">
                  <c:v>0.70855187115775</c:v>
                </c:pt>
              </c:numCache>
            </c:numRef>
          </c:xVal>
          <c:yVal>
            <c:numRef>
              <c:f>Sheet1!$B$183:$B$184</c:f>
              <c:numCache>
                <c:formatCode>General</c:formatCode>
                <c:ptCount val="2"/>
                <c:pt idx="0">
                  <c:v>0.3330953118484113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5776922072072072</c:v>
                </c:pt>
                <c:pt idx="1">
                  <c:v>0.5673033613445378</c:v>
                </c:pt>
                <c:pt idx="2">
                  <c:v>0.5220776285107428</c:v>
                </c:pt>
                <c:pt idx="3">
                  <c:v>0.5028002837205736</c:v>
                </c:pt>
                <c:pt idx="4">
                  <c:v>0.8426627843898612</c:v>
                </c:pt>
                <c:pt idx="5">
                  <c:v>0.49279239260082264</c:v>
                </c:pt>
                <c:pt idx="6">
                  <c:v>0.35988744747497897</c:v>
                </c:pt>
                <c:pt idx="7">
                  <c:v>0.30769084411583486</c:v>
                </c:pt>
                <c:pt idx="8">
                  <c:v>0.35036853057757217</c:v>
                </c:pt>
                <c:pt idx="9">
                  <c:v>0.5414581622849156</c:v>
                </c:pt>
                <c:pt idx="10">
                  <c:v>0.5669772740869838</c:v>
                </c:pt>
                <c:pt idx="11">
                  <c:v>0.5579091001011123</c:v>
                </c:pt>
                <c:pt idx="12">
                  <c:v>0.3517468839595594</c:v>
                </c:pt>
                <c:pt idx="13">
                  <c:v>0.4912790235695852</c:v>
                </c:pt>
                <c:pt idx="14">
                  <c:v>0.5608068011825328</c:v>
                </c:pt>
                <c:pt idx="15">
                  <c:v>0.5599179710820237</c:v>
                </c:pt>
                <c:pt idx="16">
                  <c:v>0.34258884520557076</c:v>
                </c:pt>
                <c:pt idx="17">
                  <c:v>0.5515438804564754</c:v>
                </c:pt>
                <c:pt idx="18">
                  <c:v>0.44071238638924365</c:v>
                </c:pt>
                <c:pt idx="19">
                  <c:v>0.29972920409313136</c:v>
                </c:pt>
                <c:pt idx="20">
                  <c:v>0.4860594989561587</c:v>
                </c:pt>
                <c:pt idx="21">
                  <c:v>0.36998317903656047</c:v>
                </c:pt>
                <c:pt idx="22">
                  <c:v>0.32793872524031165</c:v>
                </c:pt>
                <c:pt idx="23">
                  <c:v>0.23499049820400886</c:v>
                </c:pt>
                <c:pt idx="24">
                  <c:v>0.2673162261831592</c:v>
                </c:pt>
                <c:pt idx="25">
                  <c:v>0.31071808336862483</c:v>
                </c:pt>
                <c:pt idx="26">
                  <c:v>0.4217150607922604</c:v>
                </c:pt>
                <c:pt idx="27">
                  <c:v>0.4563209519976306</c:v>
                </c:pt>
                <c:pt idx="28">
                  <c:v>0.5306384925433293</c:v>
                </c:pt>
                <c:pt idx="29">
                  <c:v>0.568182462166776</c:v>
                </c:pt>
                <c:pt idx="30">
                  <c:v>0.47378325284738043</c:v>
                </c:pt>
                <c:pt idx="31">
                  <c:v>0.8397900039510076</c:v>
                </c:pt>
                <c:pt idx="32">
                  <c:v>0.49420971721389256</c:v>
                </c:pt>
                <c:pt idx="33">
                  <c:v>0.5671267216441432</c:v>
                </c:pt>
                <c:pt idx="34">
                  <c:v>0.7220042572694426</c:v>
                </c:pt>
                <c:pt idx="35">
                  <c:v>0.7913471830985915</c:v>
                </c:pt>
                <c:pt idx="36">
                  <c:v>0.5529108520900321</c:v>
                </c:pt>
                <c:pt idx="37">
                  <c:v>0.5450658028352086</c:v>
                </c:pt>
                <c:pt idx="38">
                  <c:v>0.5286451389745165</c:v>
                </c:pt>
                <c:pt idx="39">
                  <c:v>0.5853693657668342</c:v>
                </c:pt>
                <c:pt idx="40">
                  <c:v>0.5589421206947048</c:v>
                </c:pt>
                <c:pt idx="41">
                  <c:v>0.6030231830524176</c:v>
                </c:pt>
                <c:pt idx="42">
                  <c:v>0.48333095375851176</c:v>
                </c:pt>
                <c:pt idx="43">
                  <c:v>0.6352477343479764</c:v>
                </c:pt>
                <c:pt idx="44">
                  <c:v>0.5441650546677881</c:v>
                </c:pt>
                <c:pt idx="45">
                  <c:v>0.5562815056770157</c:v>
                </c:pt>
                <c:pt idx="46">
                  <c:v>0.4291072634559236</c:v>
                </c:pt>
                <c:pt idx="47">
                  <c:v>0.5854005103540626</c:v>
                </c:pt>
                <c:pt idx="48">
                  <c:v>0.8169070752957928</c:v>
                </c:pt>
                <c:pt idx="49">
                  <c:v>0.45829940323111257</c:v>
                </c:pt>
                <c:pt idx="50">
                  <c:v>0.6220888595912986</c:v>
                </c:pt>
                <c:pt idx="51">
                  <c:v>0.6525351863932939</c:v>
                </c:pt>
                <c:pt idx="52">
                  <c:v>0.33423425702216014</c:v>
                </c:pt>
                <c:pt idx="53">
                  <c:v>-5.2482117610468775</c:v>
                </c:pt>
                <c:pt idx="54">
                  <c:v>0.70855187115775</c:v>
                </c:pt>
              </c:numCache>
            </c:numRef>
          </c:xVal>
          <c:yVal>
            <c:numRef>
              <c:f>Sheet1!$B$187:$B$241</c:f>
              <c:numCache>
                <c:formatCode>General</c:formatCode>
                <c:ptCount val="55"/>
                <c:pt idx="0">
                  <c:v>0.3362599079281391</c:v>
                </c:pt>
                <c:pt idx="1">
                  <c:v>0.3365111427234716</c:v>
                </c:pt>
                <c:pt idx="2">
                  <c:v>0.33760484243588057</c:v>
                </c:pt>
                <c:pt idx="3">
                  <c:v>0.33807102894369234</c:v>
                </c:pt>
                <c:pt idx="4">
                  <c:v>0.32985209038925</c:v>
                </c:pt>
                <c:pt idx="5">
                  <c:v>0.33831305106149234</c:v>
                </c:pt>
                <c:pt idx="6">
                  <c:v>0.3415271084388721</c:v>
                </c:pt>
                <c:pt idx="7">
                  <c:v>0.3427893856095354</c:v>
                </c:pt>
                <c:pt idx="8">
                  <c:v>0.34175730563017903</c:v>
                </c:pt>
                <c:pt idx="9">
                  <c:v>0.3371361604956002</c:v>
                </c:pt>
                <c:pt idx="10">
                  <c:v>0.33651902853355053</c:v>
                </c:pt>
                <c:pt idx="11">
                  <c:v>0.3367383253510697</c:v>
                </c:pt>
                <c:pt idx="12">
                  <c:v>0.3417239727331087</c:v>
                </c:pt>
                <c:pt idx="13">
                  <c:v>0.33834964905936926</c:v>
                </c:pt>
                <c:pt idx="14">
                  <c:v>0.3366682498732207</c:v>
                </c:pt>
                <c:pt idx="15">
                  <c:v>0.33668974456583034</c:v>
                </c:pt>
                <c:pt idx="16">
                  <c:v>0.3419454427618704</c:v>
                </c:pt>
                <c:pt idx="17">
                  <c:v>0.336892256276199</c:v>
                </c:pt>
                <c:pt idx="18">
                  <c:v>0.33957250854834364</c:v>
                </c:pt>
                <c:pt idx="19">
                  <c:v>0.34298192297394114</c:v>
                </c:pt>
                <c:pt idx="20">
                  <c:v>0.33847587349424124</c:v>
                </c:pt>
                <c:pt idx="21">
                  <c:v>0.3412829620643725</c:v>
                </c:pt>
                <c:pt idx="22">
                  <c:v>0.342299728496756</c:v>
                </c:pt>
                <c:pt idx="23">
                  <c:v>0.34454750742279616</c:v>
                </c:pt>
                <c:pt idx="24">
                  <c:v>0.3437657701865166</c:v>
                </c:pt>
                <c:pt idx="25">
                  <c:v>0.3427161774934318</c:v>
                </c:pt>
                <c:pt idx="26">
                  <c:v>0.3400319233160008</c:v>
                </c:pt>
                <c:pt idx="27">
                  <c:v>0.3391950445992299</c:v>
                </c:pt>
                <c:pt idx="28">
                  <c:v>0.33739781396019347</c:v>
                </c:pt>
                <c:pt idx="29">
                  <c:v>0.3364898833152494</c:v>
                </c:pt>
                <c:pt idx="30">
                  <c:v>0.3387727515324142</c:v>
                </c:pt>
                <c:pt idx="31">
                  <c:v>0.32992156320799537</c:v>
                </c:pt>
                <c:pt idx="32">
                  <c:v>0.33827877571812975</c:v>
                </c:pt>
                <c:pt idx="33">
                  <c:v>0.33651541442405924</c:v>
                </c:pt>
                <c:pt idx="34">
                  <c:v>0.3327699910653155</c:v>
                </c:pt>
                <c:pt idx="35">
                  <c:v>0.3310930621736235</c:v>
                </c:pt>
                <c:pt idx="36">
                  <c:v>0.3368591986254145</c:v>
                </c:pt>
                <c:pt idx="37">
                  <c:v>0.3370489164602889</c:v>
                </c:pt>
                <c:pt idx="38">
                  <c:v>0.3374460194858607</c:v>
                </c:pt>
                <c:pt idx="39">
                  <c:v>0.3360742502155346</c:v>
                </c:pt>
                <c:pt idx="40">
                  <c:v>0.33671334368122524</c:v>
                </c:pt>
                <c:pt idx="41">
                  <c:v>0.3356473256821253</c:v>
                </c:pt>
                <c:pt idx="42">
                  <c:v>0.33854185825360217</c:v>
                </c:pt>
                <c:pt idx="43">
                  <c:v>0.33486803521459474</c:v>
                </c:pt>
                <c:pt idx="44">
                  <c:v>0.3370706993690431</c:v>
                </c:pt>
                <c:pt idx="45">
                  <c:v>0.3367776856763096</c:v>
                </c:pt>
                <c:pt idx="46">
                  <c:v>0.3398531567284691</c:v>
                </c:pt>
                <c:pt idx="47">
                  <c:v>0.336073497041977</c:v>
                </c:pt>
                <c:pt idx="48">
                  <c:v>0.33047494401403466</c:v>
                </c:pt>
                <c:pt idx="49">
                  <c:v>0.3391471994586541</c:v>
                </c:pt>
                <c:pt idx="50">
                  <c:v>0.33518625797485146</c:v>
                </c:pt>
                <c:pt idx="51">
                  <c:v>0.33444997053889935</c:v>
                </c:pt>
                <c:pt idx="52">
                  <c:v>0.34214748284217317</c:v>
                </c:pt>
                <c:pt idx="53">
                  <c:v>0.4771484927083585</c:v>
                </c:pt>
                <c:pt idx="54">
                  <c:v>0.3330953118484113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062557161148711"/>
          <c:min val="0.2206204379562043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0.9649</c:v>
                </c:pt>
                <c:pt idx="1">
                  <c:v>928.4678</c:v>
                </c:pt>
                <c:pt idx="2">
                  <c:v>959.7368</c:v>
                </c:pt>
                <c:pt idx="3">
                  <c:v>974.6467</c:v>
                </c:pt>
                <c:pt idx="4">
                  <c:v>976.5567</c:v>
                </c:pt>
                <c:pt idx="5">
                  <c:v>966.021</c:v>
                </c:pt>
                <c:pt idx="6">
                  <c:v>918.2461</c:v>
                </c:pt>
                <c:pt idx="7">
                  <c:v>927.3892</c:v>
                </c:pt>
                <c:pt idx="8">
                  <c:v>934.7932</c:v>
                </c:pt>
                <c:pt idx="9">
                  <c:v>909.614</c:v>
                </c:pt>
                <c:pt idx="10">
                  <c:v>909.6179</c:v>
                </c:pt>
                <c:pt idx="11">
                  <c:v>984.8659</c:v>
                </c:pt>
                <c:pt idx="12">
                  <c:v>989.9533</c:v>
                </c:pt>
                <c:pt idx="13">
                  <c:v>991.3402</c:v>
                </c:pt>
                <c:pt idx="14">
                  <c:v>1020.1416</c:v>
                </c:pt>
                <c:pt idx="15">
                  <c:v>1049.487</c:v>
                </c:pt>
                <c:pt idx="16">
                  <c:v>1075.898</c:v>
                </c:pt>
                <c:pt idx="17">
                  <c:v>1096.2093</c:v>
                </c:pt>
                <c:pt idx="18">
                  <c:v>1159.0802</c:v>
                </c:pt>
                <c:pt idx="19">
                  <c:v>1138.0777</c:v>
                </c:pt>
                <c:pt idx="20">
                  <c:v>1170.685</c:v>
                </c:pt>
                <c:pt idx="21">
                  <c:v>1166.6559</c:v>
                </c:pt>
                <c:pt idx="22">
                  <c:v>1085.2269</c:v>
                </c:pt>
                <c:pt idx="23">
                  <c:v>1083.0296</c:v>
                </c:pt>
                <c:pt idx="24">
                  <c:v>1081.7378</c:v>
                </c:pt>
                <c:pt idx="25">
                  <c:v>1052.9221</c:v>
                </c:pt>
                <c:pt idx="26">
                  <c:v>1041.4772</c:v>
                </c:pt>
                <c:pt idx="27">
                  <c:v>1054.8525</c:v>
                </c:pt>
                <c:pt idx="28">
                  <c:v>1060.2894</c:v>
                </c:pt>
                <c:pt idx="29">
                  <c:v>1042.034</c:v>
                </c:pt>
                <c:pt idx="30">
                  <c:v>1043.2286</c:v>
                </c:pt>
                <c:pt idx="31">
                  <c:v>1006.2548</c:v>
                </c:pt>
                <c:pt idx="32">
                  <c:v>995.7988</c:v>
                </c:pt>
                <c:pt idx="33">
                  <c:v>947.5323</c:v>
                </c:pt>
                <c:pt idx="34">
                  <c:v>979.3525</c:v>
                </c:pt>
                <c:pt idx="35">
                  <c:v>1008.8881</c:v>
                </c:pt>
                <c:pt idx="36">
                  <c:v>1102.3571</c:v>
                </c:pt>
                <c:pt idx="37">
                  <c:v>1108.5683</c:v>
                </c:pt>
                <c:pt idx="38">
                  <c:v>1167.5556</c:v>
                </c:pt>
                <c:pt idx="39">
                  <c:v>1182.3456</c:v>
                </c:pt>
                <c:pt idx="40">
                  <c:v>1167.3691</c:v>
                </c:pt>
                <c:pt idx="41">
                  <c:v>1220.7151</c:v>
                </c:pt>
                <c:pt idx="42">
                  <c:v>1243.0914</c:v>
                </c:pt>
                <c:pt idx="43">
                  <c:v>1252.9821</c:v>
                </c:pt>
                <c:pt idx="44">
                  <c:v>1186.966</c:v>
                </c:pt>
                <c:pt idx="45">
                  <c:v>1159.222</c:v>
                </c:pt>
                <c:pt idx="46">
                  <c:v>1146.841</c:v>
                </c:pt>
                <c:pt idx="47">
                  <c:v>1133.2437</c:v>
                </c:pt>
                <c:pt idx="48">
                  <c:v>1142.2846</c:v>
                </c:pt>
                <c:pt idx="49">
                  <c:v>1101.4072</c:v>
                </c:pt>
                <c:pt idx="50">
                  <c:v>1108.7737</c:v>
                </c:pt>
                <c:pt idx="51">
                  <c:v>1133.6079</c:v>
                </c:pt>
                <c:pt idx="52">
                  <c:v>1128.4868</c:v>
                </c:pt>
                <c:pt idx="53">
                  <c:v>1194.3371</c:v>
                </c:pt>
                <c:pt idx="54">
                  <c:v>1180.4848</c:v>
                </c:pt>
                <c:pt idx="55">
                  <c:v>1208.9673</c:v>
                </c:pt>
                <c:pt idx="56">
                  <c:v>1218.1888</c:v>
                </c:pt>
                <c:pt idx="57">
                  <c:v>1181.1963</c:v>
                </c:pt>
                <c:pt idx="58">
                  <c:v>1181.1467</c:v>
                </c:pt>
                <c:pt idx="59">
                  <c:v>1147.4411</c:v>
                </c:pt>
                <c:pt idx="60">
                  <c:v>1169.7636</c:v>
                </c:pt>
                <c:pt idx="61">
                  <c:v>1216.3485</c:v>
                </c:pt>
                <c:pt idx="62">
                  <c:v>1163.1764</c:v>
                </c:pt>
                <c:pt idx="63">
                  <c:v>1180.9111</c:v>
                </c:pt>
                <c:pt idx="64">
                  <c:v>1194.7289</c:v>
                </c:pt>
                <c:pt idx="65">
                  <c:v>1188.3899</c:v>
                </c:pt>
                <c:pt idx="66">
                  <c:v>1212.8067</c:v>
                </c:pt>
                <c:pt idx="67">
                  <c:v>1224.5645</c:v>
                </c:pt>
                <c:pt idx="68">
                  <c:v>1251.9316</c:v>
                </c:pt>
                <c:pt idx="69">
                  <c:v>1273.418</c:v>
                </c:pt>
                <c:pt idx="70">
                  <c:v>1262.0358</c:v>
                </c:pt>
                <c:pt idx="71">
                  <c:v>1322.3283</c:v>
                </c:pt>
                <c:pt idx="72">
                  <c:v>1400.2822</c:v>
                </c:pt>
                <c:pt idx="73">
                  <c:v>1370.2011</c:v>
                </c:pt>
                <c:pt idx="74">
                  <c:v>1363.2744</c:v>
                </c:pt>
                <c:pt idx="75">
                  <c:v>1300.6832</c:v>
                </c:pt>
                <c:pt idx="76">
                  <c:v>1283.7743</c:v>
                </c:pt>
                <c:pt idx="77">
                  <c:v>1271.4025</c:v>
                </c:pt>
                <c:pt idx="78">
                  <c:v>1374.1553</c:v>
                </c:pt>
                <c:pt idx="79">
                  <c:v>1342.1552</c:v>
                </c:pt>
                <c:pt idx="80">
                  <c:v>1352.6839</c:v>
                </c:pt>
                <c:pt idx="81">
                  <c:v>1309.4034</c:v>
                </c:pt>
                <c:pt idx="82">
                  <c:v>1330.0979</c:v>
                </c:pt>
                <c:pt idx="83">
                  <c:v>1259.5536</c:v>
                </c:pt>
                <c:pt idx="84">
                  <c:v>1290.4389</c:v>
                </c:pt>
                <c:pt idx="85">
                  <c:v>1280.1736</c:v>
                </c:pt>
                <c:pt idx="86">
                  <c:v>1308.1539</c:v>
                </c:pt>
                <c:pt idx="87">
                  <c:v>1291.2414</c:v>
                </c:pt>
                <c:pt idx="88">
                  <c:v>1350.6135</c:v>
                </c:pt>
                <c:pt idx="89">
                  <c:v>1344.1138</c:v>
                </c:pt>
                <c:pt idx="90">
                  <c:v>1388.2257</c:v>
                </c:pt>
                <c:pt idx="91">
                  <c:v>1388.1449</c:v>
                </c:pt>
                <c:pt idx="92">
                  <c:v>1299.5861</c:v>
                </c:pt>
                <c:pt idx="93">
                  <c:v>1349.0512</c:v>
                </c:pt>
                <c:pt idx="94">
                  <c:v>1295.1076</c:v>
                </c:pt>
                <c:pt idx="95">
                  <c:v>1256.0828</c:v>
                </c:pt>
                <c:pt idx="96">
                  <c:v>1272.3531</c:v>
                </c:pt>
                <c:pt idx="97">
                  <c:v>1248.1395</c:v>
                </c:pt>
                <c:pt idx="98">
                  <c:v>1225.6673</c:v>
                </c:pt>
                <c:pt idx="99">
                  <c:v>1189.0283</c:v>
                </c:pt>
                <c:pt idx="100">
                  <c:v>1180.1546</c:v>
                </c:pt>
                <c:pt idx="101">
                  <c:v>1184.3651</c:v>
                </c:pt>
                <c:pt idx="102">
                  <c:v>1203.2064</c:v>
                </c:pt>
                <c:pt idx="103">
                  <c:v>1208.6123</c:v>
                </c:pt>
                <c:pt idx="104">
                  <c:v>1268.0604</c:v>
                </c:pt>
              </c:numCache>
            </c:numRef>
          </c:xVal>
          <c:yVal>
            <c:numRef>
              <c:f>Sheet1!$B$2:$B$106</c:f>
              <c:numCache>
                <c:formatCode>General</c:formatCode>
                <c:ptCount val="105"/>
                <c:pt idx="0">
                  <c:v>0.4122219564697441</c:v>
                </c:pt>
                <c:pt idx="1">
                  <c:v>0.4575744740928985</c:v>
                </c:pt>
                <c:pt idx="2">
                  <c:v>0.49476552416463504</c:v>
                </c:pt>
                <c:pt idx="3">
                  <c:v>0.5041126225877887</c:v>
                </c:pt>
                <c:pt idx="4">
                  <c:v>0.4909317211948791</c:v>
                </c:pt>
                <c:pt idx="5">
                  <c:v>0.4645214521452145</c:v>
                </c:pt>
                <c:pt idx="6">
                  <c:v>0.4800604229607251</c:v>
                </c:pt>
                <c:pt idx="7">
                  <c:v>0.5052130967623926</c:v>
                </c:pt>
                <c:pt idx="8">
                  <c:v>0.4849351639969489</c:v>
                </c:pt>
                <c:pt idx="9">
                  <c:v>0.4531850086081314</c:v>
                </c:pt>
                <c:pt idx="10">
                  <c:v>0.4355716878402904</c:v>
                </c:pt>
                <c:pt idx="11">
                  <c:v>0.3866916087653661</c:v>
                </c:pt>
                <c:pt idx="12">
                  <c:v>0.36869308392813194</c:v>
                </c:pt>
                <c:pt idx="13">
                  <c:v>0.3492238112700159</c:v>
                </c:pt>
                <c:pt idx="14">
                  <c:v>0.32484937907291284</c:v>
                </c:pt>
                <c:pt idx="15">
                  <c:v>0.32006172839506175</c:v>
                </c:pt>
                <c:pt idx="16">
                  <c:v>0.29603977979044577</c:v>
                </c:pt>
                <c:pt idx="17">
                  <c:v>0.2994760177347844</c:v>
                </c:pt>
                <c:pt idx="18">
                  <c:v>0.27577554744525545</c:v>
                </c:pt>
                <c:pt idx="19">
                  <c:v>0.2894243641231593</c:v>
                </c:pt>
                <c:pt idx="20">
                  <c:v>0.28587269904635176</c:v>
                </c:pt>
                <c:pt idx="21">
                  <c:v>0.3412604042806183</c:v>
                </c:pt>
                <c:pt idx="22">
                  <c:v>0.412086409625376</c:v>
                </c:pt>
                <c:pt idx="23">
                  <c:v>0.42009264620729586</c:v>
                </c:pt>
                <c:pt idx="24">
                  <c:v>0.44516653127538586</c:v>
                </c:pt>
                <c:pt idx="25">
                  <c:v>0.44539093398235474</c:v>
                </c:pt>
                <c:pt idx="26">
                  <c:v>0.45406961528395706</c:v>
                </c:pt>
                <c:pt idx="27">
                  <c:v>0.43562179330564377</c:v>
                </c:pt>
                <c:pt idx="28">
                  <c:v>0.4154929577464789</c:v>
                </c:pt>
                <c:pt idx="29">
                  <c:v>0.4201169590643275</c:v>
                </c:pt>
                <c:pt idx="30">
                  <c:v>0.42677211482132393</c:v>
                </c:pt>
                <c:pt idx="31">
                  <c:v>0.44349267753523075</c:v>
                </c:pt>
                <c:pt idx="32">
                  <c:v>0.46293706293706294</c:v>
                </c:pt>
                <c:pt idx="33">
                  <c:v>0.4669873196327066</c:v>
                </c:pt>
                <c:pt idx="34">
                  <c:v>0.42886291968094975</c:v>
                </c:pt>
                <c:pt idx="35">
                  <c:v>0.41145750909954104</c:v>
                </c:pt>
                <c:pt idx="36">
                  <c:v>0.3726595530501309</c:v>
                </c:pt>
                <c:pt idx="37">
                  <c:v>0.3789173789173789</c:v>
                </c:pt>
                <c:pt idx="38">
                  <c:v>0.3680798004987531</c:v>
                </c:pt>
                <c:pt idx="39">
                  <c:v>0.3550706033376123</c:v>
                </c:pt>
                <c:pt idx="40">
                  <c:v>0.36861846217962074</c:v>
                </c:pt>
                <c:pt idx="41">
                  <c:v>0.36113090995485864</c:v>
                </c:pt>
                <c:pt idx="42">
                  <c:v>0.3616153375484397</c:v>
                </c:pt>
                <c:pt idx="43">
                  <c:v>0.35259259259259257</c:v>
                </c:pt>
                <c:pt idx="44">
                  <c:v>0.33795454545454545</c:v>
                </c:pt>
                <c:pt idx="45">
                  <c:v>0.3405964454262476</c:v>
                </c:pt>
                <c:pt idx="46">
                  <c:v>0.34828366283072687</c:v>
                </c:pt>
                <c:pt idx="47">
                  <c:v>0.3353148614609572</c:v>
                </c:pt>
                <c:pt idx="48">
                  <c:v>0.3398497337515501</c:v>
                </c:pt>
                <c:pt idx="49">
                  <c:v>0.3609284919591383</c:v>
                </c:pt>
                <c:pt idx="50">
                  <c:v>0.34944877111358347</c:v>
                </c:pt>
                <c:pt idx="51">
                  <c:v>0.3475601648716926</c:v>
                </c:pt>
                <c:pt idx="52">
                  <c:v>0.36118838322020697</c:v>
                </c:pt>
                <c:pt idx="53">
                  <c:v>0.3653656474566718</c:v>
                </c:pt>
                <c:pt idx="54">
                  <c:v>0.3803268183274591</c:v>
                </c:pt>
                <c:pt idx="55">
                  <c:v>0.3718364698247891</c:v>
                </c:pt>
                <c:pt idx="56">
                  <c:v>0.3866995073891626</c:v>
                </c:pt>
                <c:pt idx="57">
                  <c:v>0.38408820023837903</c:v>
                </c:pt>
                <c:pt idx="58">
                  <c:v>0.3851921274601687</c:v>
                </c:pt>
                <c:pt idx="59">
                  <c:v>0.4010805248263442</c:v>
                </c:pt>
                <c:pt idx="60">
                  <c:v>0.4094823507144885</c:v>
                </c:pt>
                <c:pt idx="61">
                  <c:v>0.39182215164747913</c:v>
                </c:pt>
                <c:pt idx="62">
                  <c:v>0.3949877750611247</c:v>
                </c:pt>
                <c:pt idx="63">
                  <c:v>0.4114875476778102</c:v>
                </c:pt>
                <c:pt idx="64">
                  <c:v>0.3671306877207563</c:v>
                </c:pt>
                <c:pt idx="65">
                  <c:v>0.3417593528816987</c:v>
                </c:pt>
                <c:pt idx="66">
                  <c:v>0.34050348658551</c:v>
                </c:pt>
                <c:pt idx="67">
                  <c:v>0.3321290322580645</c:v>
                </c:pt>
                <c:pt idx="68">
                  <c:v>0.32402055234425176</c:v>
                </c:pt>
                <c:pt idx="69">
                  <c:v>0.31514657980456023</c:v>
                </c:pt>
                <c:pt idx="70">
                  <c:v>0.3166468017481128</c:v>
                </c:pt>
                <c:pt idx="71">
                  <c:v>0.33052199680875316</c:v>
                </c:pt>
                <c:pt idx="72">
                  <c:v>0.3088602329450915</c:v>
                </c:pt>
                <c:pt idx="73">
                  <c:v>0.33105076741440376</c:v>
                </c:pt>
                <c:pt idx="74">
                  <c:v>0.3293321693583588</c:v>
                </c:pt>
                <c:pt idx="75">
                  <c:v>0.344019728729963</c:v>
                </c:pt>
                <c:pt idx="76">
                  <c:v>0.3415359653866955</c:v>
                </c:pt>
                <c:pt idx="77">
                  <c:v>0.34570699914990083</c:v>
                </c:pt>
                <c:pt idx="78">
                  <c:v>0.3243585682610073</c:v>
                </c:pt>
                <c:pt idx="79">
                  <c:v>0.31251815277374384</c:v>
                </c:pt>
                <c:pt idx="80">
                  <c:v>0.29278523489932884</c:v>
                </c:pt>
                <c:pt idx="81">
                  <c:v>0.30329008341056535</c:v>
                </c:pt>
                <c:pt idx="82">
                  <c:v>0.3128063725490196</c:v>
                </c:pt>
                <c:pt idx="83">
                  <c:v>0.3169877408056042</c:v>
                </c:pt>
                <c:pt idx="84">
                  <c:v>0.3171667829727844</c:v>
                </c:pt>
                <c:pt idx="85">
                  <c:v>0.3261065943992773</c:v>
                </c:pt>
                <c:pt idx="86">
                  <c:v>0.31790258885476086</c:v>
                </c:pt>
                <c:pt idx="87">
                  <c:v>0.33300414773849496</c:v>
                </c:pt>
                <c:pt idx="88">
                  <c:v>0.32550247977029495</c:v>
                </c:pt>
                <c:pt idx="89">
                  <c:v>0.3350208457415128</c:v>
                </c:pt>
                <c:pt idx="90">
                  <c:v>0.32857142857142857</c:v>
                </c:pt>
                <c:pt idx="91">
                  <c:v>0.30036518563603165</c:v>
                </c:pt>
                <c:pt idx="92">
                  <c:v>0.30674157303370786</c:v>
                </c:pt>
                <c:pt idx="93">
                  <c:v>0.29623213512343005</c:v>
                </c:pt>
                <c:pt idx="94">
                  <c:v>0.30102405334603477</c:v>
                </c:pt>
                <c:pt idx="95">
                  <c:v>0.30139616055846424</c:v>
                </c:pt>
                <c:pt idx="96">
                  <c:v>0.3043998087039694</c:v>
                </c:pt>
                <c:pt idx="97">
                  <c:v>0.30493638676844786</c:v>
                </c:pt>
                <c:pt idx="98">
                  <c:v>0.3089509994693083</c:v>
                </c:pt>
                <c:pt idx="99">
                  <c:v>0.31196711327649207</c:v>
                </c:pt>
                <c:pt idx="100">
                  <c:v>0.31757174144999156</c:v>
                </c:pt>
                <c:pt idx="101">
                  <c:v>0.3358239508700102</c:v>
                </c:pt>
                <c:pt idx="102">
                  <c:v>0.32883741386893417</c:v>
                </c:pt>
                <c:pt idx="103">
                  <c:v>0.2956072971675468</c:v>
                </c:pt>
                <c:pt idx="104">
                  <c:v>0.298840452076911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82.4767</c:v>
                </c:pt>
                <c:pt idx="1">
                  <c:v>1282.6729</c:v>
                </c:pt>
                <c:pt idx="2">
                  <c:v>1289.6809</c:v>
                </c:pt>
                <c:pt idx="3">
                  <c:v>1311.4037</c:v>
                </c:pt>
                <c:pt idx="4">
                  <c:v>1304.059</c:v>
                </c:pt>
                <c:pt idx="5">
                  <c:v>1285.8596</c:v>
                </c:pt>
                <c:pt idx="6">
                  <c:v>1177.6417</c:v>
                </c:pt>
                <c:pt idx="7">
                  <c:v>1248.4556</c:v>
                </c:pt>
                <c:pt idx="8">
                  <c:v>1292.7431</c:v>
                </c:pt>
                <c:pt idx="9">
                  <c:v>1239.8309</c:v>
                </c:pt>
                <c:pt idx="10">
                  <c:v>1280.3292</c:v>
                </c:pt>
                <c:pt idx="11">
                  <c:v>1103.5442</c:v>
                </c:pt>
                <c:pt idx="12">
                  <c:v>1165.5133</c:v>
                </c:pt>
                <c:pt idx="13">
                  <c:v>1245.8134</c:v>
                </c:pt>
                <c:pt idx="14">
                  <c:v>1205.4854</c:v>
                </c:pt>
                <c:pt idx="15">
                  <c:v>1243.4534</c:v>
                </c:pt>
                <c:pt idx="16">
                  <c:v>1285.3077</c:v>
                </c:pt>
                <c:pt idx="17">
                  <c:v>1262.392</c:v>
                </c:pt>
                <c:pt idx="18">
                  <c:v>1173.4408</c:v>
                </c:pt>
                <c:pt idx="19">
                  <c:v>1299.2262</c:v>
                </c:pt>
                <c:pt idx="20">
                  <c:v>1303.806</c:v>
                </c:pt>
                <c:pt idx="21">
                  <c:v>1178.9514</c:v>
                </c:pt>
                <c:pt idx="22">
                  <c:v>1265.0783</c:v>
                </c:pt>
                <c:pt idx="23">
                  <c:v>1286.6513</c:v>
                </c:pt>
                <c:pt idx="24">
                  <c:v>1304.7705</c:v>
                </c:pt>
                <c:pt idx="25">
                  <c:v>1283.9648</c:v>
                </c:pt>
                <c:pt idx="26">
                  <c:v>1290.2794</c:v>
                </c:pt>
                <c:pt idx="27">
                  <c:v>1290.0954</c:v>
                </c:pt>
                <c:pt idx="28">
                  <c:v>1316.5141</c:v>
                </c:pt>
                <c:pt idx="29">
                  <c:v>1331.4581</c:v>
                </c:pt>
                <c:pt idx="30">
                  <c:v>1299.9428</c:v>
                </c:pt>
                <c:pt idx="31">
                  <c:v>1275.3051</c:v>
                </c:pt>
                <c:pt idx="32">
                  <c:v>1301.9955</c:v>
                </c:pt>
                <c:pt idx="33">
                  <c:v>1313.5222</c:v>
                </c:pt>
                <c:pt idx="34">
                  <c:v>1330.0522</c:v>
                </c:pt>
                <c:pt idx="35">
                  <c:v>1348.4556</c:v>
                </c:pt>
                <c:pt idx="36">
                  <c:v>1375.6422</c:v>
                </c:pt>
                <c:pt idx="37">
                  <c:v>1341.8975</c:v>
                </c:pt>
                <c:pt idx="38">
                  <c:v>1377.9513</c:v>
                </c:pt>
                <c:pt idx="39">
                  <c:v>1316.3006</c:v>
                </c:pt>
                <c:pt idx="40">
                  <c:v>1358.602</c:v>
                </c:pt>
                <c:pt idx="41">
                  <c:v>1381.7271</c:v>
                </c:pt>
                <c:pt idx="42">
                  <c:v>1357.4954</c:v>
                </c:pt>
                <c:pt idx="43">
                  <c:v>1377.3759</c:v>
                </c:pt>
                <c:pt idx="44">
                  <c:v>1294.0245</c:v>
                </c:pt>
                <c:pt idx="45">
                  <c:v>1249.4546</c:v>
                </c:pt>
                <c:pt idx="46">
                  <c:v>1245.4123</c:v>
                </c:pt>
                <c:pt idx="47">
                  <c:v>1205.7996</c:v>
                </c:pt>
                <c:pt idx="48">
                  <c:v>1204.8154</c:v>
                </c:pt>
                <c:pt idx="49">
                  <c:v>1230.7839</c:v>
                </c:pt>
                <c:pt idx="50">
                  <c:v>1179.636</c:v>
                </c:pt>
                <c:pt idx="51">
                  <c:v>1128.7707</c:v>
                </c:pt>
              </c:numCache>
            </c:numRef>
          </c:xVal>
          <c:yVal>
            <c:numRef>
              <c:f>Sheet1!$B$109:$B$160</c:f>
              <c:numCache>
                <c:formatCode>General</c:formatCode>
                <c:ptCount val="52"/>
                <c:pt idx="0">
                  <c:v>0.31237458193979933</c:v>
                </c:pt>
                <c:pt idx="1">
                  <c:v>0.32443181818181815</c:v>
                </c:pt>
                <c:pt idx="2">
                  <c:v>0.33044856167723063</c:v>
                </c:pt>
                <c:pt idx="3">
                  <c:v>0.3529641185647426</c:v>
                </c:pt>
                <c:pt idx="4">
                  <c:v>0.34754054416298086</c:v>
                </c:pt>
                <c:pt idx="5">
                  <c:v>0.3389429397843807</c:v>
                </c:pt>
                <c:pt idx="6">
                  <c:v>0.35547283936256835</c:v>
                </c:pt>
                <c:pt idx="7">
                  <c:v>0.3351046698872786</c:v>
                </c:pt>
                <c:pt idx="8">
                  <c:v>0.3382022471910112</c:v>
                </c:pt>
                <c:pt idx="9">
                  <c:v>0.34418761599460096</c:v>
                </c:pt>
                <c:pt idx="10">
                  <c:v>0.33174577106257186</c:v>
                </c:pt>
                <c:pt idx="11">
                  <c:v>0.34265113699389904</c:v>
                </c:pt>
                <c:pt idx="12">
                  <c:v>0.3428795606120047</c:v>
                </c:pt>
                <c:pt idx="13">
                  <c:v>0.3516770727457529</c:v>
                </c:pt>
                <c:pt idx="14">
                  <c:v>0.35795454545454547</c:v>
                </c:pt>
                <c:pt idx="15">
                  <c:v>0.3407821229050279</c:v>
                </c:pt>
                <c:pt idx="16">
                  <c:v>0.3192142418661756</c:v>
                </c:pt>
                <c:pt idx="17">
                  <c:v>0.32514944491887277</c:v>
                </c:pt>
                <c:pt idx="18">
                  <c:v>0.34109263657957245</c:v>
                </c:pt>
                <c:pt idx="19">
                  <c:v>0.3400293973542381</c:v>
                </c:pt>
                <c:pt idx="20">
                  <c:v>0.34190966266437967</c:v>
                </c:pt>
                <c:pt idx="21">
                  <c:v>0.3686440677966102</c:v>
                </c:pt>
                <c:pt idx="22">
                  <c:v>0.3453166226912929</c:v>
                </c:pt>
                <c:pt idx="23">
                  <c:v>0.34934797529169526</c:v>
                </c:pt>
                <c:pt idx="24">
                  <c:v>0.34213067267460573</c:v>
                </c:pt>
                <c:pt idx="25">
                  <c:v>0.3386295928500497</c:v>
                </c:pt>
                <c:pt idx="26">
                  <c:v>0.3390840652446675</c:v>
                </c:pt>
                <c:pt idx="27">
                  <c:v>0.3300808475048787</c:v>
                </c:pt>
                <c:pt idx="28">
                  <c:v>0.32444782939832445</c:v>
                </c:pt>
                <c:pt idx="29">
                  <c:v>0.34571788413098237</c:v>
                </c:pt>
                <c:pt idx="30">
                  <c:v>0.3474148802017655</c:v>
                </c:pt>
                <c:pt idx="31">
                  <c:v>0.3254796364860316</c:v>
                </c:pt>
                <c:pt idx="32">
                  <c:v>0.3252799057159694</c:v>
                </c:pt>
                <c:pt idx="33">
                  <c:v>0.32288677996027365</c:v>
                </c:pt>
                <c:pt idx="34">
                  <c:v>0.3431355489820776</c:v>
                </c:pt>
                <c:pt idx="35">
                  <c:v>0.3260017421602787</c:v>
                </c:pt>
                <c:pt idx="36">
                  <c:v>0.33631805157593125</c:v>
                </c:pt>
                <c:pt idx="37">
                  <c:v>0.3538918205804749</c:v>
                </c:pt>
                <c:pt idx="38">
                  <c:v>0.3548872180451128</c:v>
                </c:pt>
                <c:pt idx="39">
                  <c:v>0.34538482607504795</c:v>
                </c:pt>
                <c:pt idx="40">
                  <c:v>0.32776280323450135</c:v>
                </c:pt>
                <c:pt idx="41">
                  <c:v>0.31910669975186107</c:v>
                </c:pt>
                <c:pt idx="42">
                  <c:v>0.3386408871197043</c:v>
                </c:pt>
                <c:pt idx="43">
                  <c:v>0.3311532592108132</c:v>
                </c:pt>
                <c:pt idx="44">
                  <c:v>0.3214661522272887</c:v>
                </c:pt>
                <c:pt idx="45">
                  <c:v>0.334070524634476</c:v>
                </c:pt>
                <c:pt idx="46">
                  <c:v>0.3437188789301465</c:v>
                </c:pt>
                <c:pt idx="47">
                  <c:v>0.3428534671298083</c:v>
                </c:pt>
                <c:pt idx="48">
                  <c:v>0.3184480234260615</c:v>
                </c:pt>
                <c:pt idx="49">
                  <c:v>0.32770896323027404</c:v>
                </c:pt>
                <c:pt idx="50">
                  <c:v>0.33717730310575283</c:v>
                </c:pt>
                <c:pt idx="51">
                  <c:v>0.342747265953611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877.9215416549985</c:v>
                </c:pt>
              </c:numCache>
            </c:numRef>
          </c:xVal>
          <c:yVal>
            <c:numRef>
              <c:f>Sheet1!$B$163:$B$164</c:f>
              <c:numCache>
                <c:formatCode>General</c:formatCode>
                <c:ptCount val="2"/>
                <c:pt idx="0">
                  <c:v>0.4771484927083585</c:v>
                </c:pt>
                <c:pt idx="1">
                  <c:v>0.477148492708358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877.9215416549985</c:v>
                </c:pt>
                <c:pt idx="1">
                  <c:v>-1877.9215416549985</c:v>
                </c:pt>
              </c:numCache>
            </c:numRef>
          </c:xVal>
          <c:yVal>
            <c:numRef>
              <c:f>Sheet1!$B$167:$B$168</c:f>
              <c:numCache>
                <c:formatCode>General</c:formatCode>
                <c:ptCount val="2"/>
                <c:pt idx="0">
                  <c:v>0.47714849270835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76.3097898103617</c:v>
                </c:pt>
              </c:numCache>
            </c:numRef>
          </c:xVal>
          <c:yVal>
            <c:numRef>
              <c:f>Sheet1!$B$171:$B$172</c:f>
              <c:numCache>
                <c:formatCode>General</c:formatCode>
                <c:ptCount val="2"/>
                <c:pt idx="0">
                  <c:v>0.34214748284217317</c:v>
                </c:pt>
                <c:pt idx="1">
                  <c:v>0.3421474828421731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76.3097898103617</c:v>
                </c:pt>
                <c:pt idx="1">
                  <c:v>1176.3097898103617</c:v>
                </c:pt>
              </c:numCache>
            </c:numRef>
          </c:xVal>
          <c:yVal>
            <c:numRef>
              <c:f>Sheet1!$B$175:$B$176</c:f>
              <c:numCache>
                <c:formatCode>General</c:formatCode>
                <c:ptCount val="2"/>
                <c:pt idx="0">
                  <c:v>0.3421474828421731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81.1039931599053</c:v>
                </c:pt>
              </c:numCache>
            </c:numRef>
          </c:xVal>
          <c:yVal>
            <c:numRef>
              <c:f>Sheet1!$B$179:$B$180</c:f>
              <c:numCache>
                <c:formatCode>General</c:formatCode>
                <c:ptCount val="2"/>
                <c:pt idx="0">
                  <c:v>0.33309531184841135</c:v>
                </c:pt>
                <c:pt idx="1">
                  <c:v>0.3330953118484113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81.1039931599053</c:v>
                </c:pt>
                <c:pt idx="1">
                  <c:v>1381.1039931599053</c:v>
                </c:pt>
              </c:numCache>
            </c:numRef>
          </c:xVal>
          <c:yVal>
            <c:numRef>
              <c:f>Sheet1!$B$183:$B$184</c:f>
              <c:numCache>
                <c:formatCode>General</c:formatCode>
                <c:ptCount val="2"/>
                <c:pt idx="0">
                  <c:v>0.3330953118484113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82.4767</c:v>
                </c:pt>
                <c:pt idx="1">
                  <c:v>1282.6729</c:v>
                </c:pt>
                <c:pt idx="2">
                  <c:v>1289.6809</c:v>
                </c:pt>
                <c:pt idx="3">
                  <c:v>1311.4037</c:v>
                </c:pt>
                <c:pt idx="4">
                  <c:v>1304.059</c:v>
                </c:pt>
                <c:pt idx="5">
                  <c:v>1285.8596</c:v>
                </c:pt>
                <c:pt idx="6">
                  <c:v>1177.6417</c:v>
                </c:pt>
                <c:pt idx="7">
                  <c:v>1248.4556</c:v>
                </c:pt>
                <c:pt idx="8">
                  <c:v>1292.7431</c:v>
                </c:pt>
                <c:pt idx="9">
                  <c:v>1239.8309</c:v>
                </c:pt>
                <c:pt idx="10">
                  <c:v>1280.3292</c:v>
                </c:pt>
                <c:pt idx="11">
                  <c:v>1103.5442</c:v>
                </c:pt>
                <c:pt idx="12">
                  <c:v>1165.5133</c:v>
                </c:pt>
                <c:pt idx="13">
                  <c:v>1245.8134</c:v>
                </c:pt>
                <c:pt idx="14">
                  <c:v>1205.4854</c:v>
                </c:pt>
                <c:pt idx="15">
                  <c:v>1243.4534</c:v>
                </c:pt>
                <c:pt idx="16">
                  <c:v>1285.3077</c:v>
                </c:pt>
                <c:pt idx="17">
                  <c:v>1262.392</c:v>
                </c:pt>
                <c:pt idx="18">
                  <c:v>1173.4408</c:v>
                </c:pt>
                <c:pt idx="19">
                  <c:v>1299.2262</c:v>
                </c:pt>
                <c:pt idx="20">
                  <c:v>1303.806</c:v>
                </c:pt>
                <c:pt idx="21">
                  <c:v>1178.9514</c:v>
                </c:pt>
                <c:pt idx="22">
                  <c:v>1265.0783</c:v>
                </c:pt>
                <c:pt idx="23">
                  <c:v>1286.6513</c:v>
                </c:pt>
                <c:pt idx="24">
                  <c:v>1304.7705</c:v>
                </c:pt>
                <c:pt idx="25">
                  <c:v>1283.9648</c:v>
                </c:pt>
                <c:pt idx="26">
                  <c:v>1290.2794</c:v>
                </c:pt>
                <c:pt idx="27">
                  <c:v>1290.0954</c:v>
                </c:pt>
                <c:pt idx="28">
                  <c:v>1316.5141</c:v>
                </c:pt>
                <c:pt idx="29">
                  <c:v>1331.4581</c:v>
                </c:pt>
                <c:pt idx="30">
                  <c:v>1299.9428</c:v>
                </c:pt>
                <c:pt idx="31">
                  <c:v>1275.3051</c:v>
                </c:pt>
                <c:pt idx="32">
                  <c:v>1301.9955</c:v>
                </c:pt>
                <c:pt idx="33">
                  <c:v>1313.5222</c:v>
                </c:pt>
                <c:pt idx="34">
                  <c:v>1330.0522</c:v>
                </c:pt>
                <c:pt idx="35">
                  <c:v>1348.4556</c:v>
                </c:pt>
                <c:pt idx="36">
                  <c:v>1375.6422</c:v>
                </c:pt>
                <c:pt idx="37">
                  <c:v>1341.8975</c:v>
                </c:pt>
                <c:pt idx="38">
                  <c:v>1377.9513</c:v>
                </c:pt>
                <c:pt idx="39">
                  <c:v>1316.3006</c:v>
                </c:pt>
                <c:pt idx="40">
                  <c:v>1358.602</c:v>
                </c:pt>
                <c:pt idx="41">
                  <c:v>1381.7271</c:v>
                </c:pt>
                <c:pt idx="42">
                  <c:v>1357.4954</c:v>
                </c:pt>
                <c:pt idx="43">
                  <c:v>1377.3759</c:v>
                </c:pt>
                <c:pt idx="44">
                  <c:v>1294.0245</c:v>
                </c:pt>
                <c:pt idx="45">
                  <c:v>1249.4546</c:v>
                </c:pt>
                <c:pt idx="46">
                  <c:v>1245.4123</c:v>
                </c:pt>
                <c:pt idx="47">
                  <c:v>1205.7996</c:v>
                </c:pt>
                <c:pt idx="48">
                  <c:v>1204.8154</c:v>
                </c:pt>
                <c:pt idx="49">
                  <c:v>1230.7839</c:v>
                </c:pt>
                <c:pt idx="50">
                  <c:v>1179.636</c:v>
                </c:pt>
                <c:pt idx="51">
                  <c:v>1128.7707</c:v>
                </c:pt>
                <c:pt idx="52">
                  <c:v>1176.3097898103617</c:v>
                </c:pt>
                <c:pt idx="53">
                  <c:v>-1877.9215416549985</c:v>
                </c:pt>
                <c:pt idx="54">
                  <c:v>1381.1039931599053</c:v>
                </c:pt>
              </c:numCache>
            </c:numRef>
          </c:xVal>
          <c:yVal>
            <c:numRef>
              <c:f>Sheet1!$B$187:$B$241</c:f>
              <c:numCache>
                <c:formatCode>General</c:formatCode>
                <c:ptCount val="55"/>
                <c:pt idx="0">
                  <c:v>0.33745476689026876</c:v>
                </c:pt>
                <c:pt idx="1">
                  <c:v>0.3374460945942763</c:v>
                </c:pt>
                <c:pt idx="2">
                  <c:v>0.33713633185057207</c:v>
                </c:pt>
                <c:pt idx="3">
                  <c:v>0.3361761557476984</c:v>
                </c:pt>
                <c:pt idx="4">
                  <c:v>0.33650080107071273</c:v>
                </c:pt>
                <c:pt idx="5">
                  <c:v>0.3373052382964221</c:v>
                </c:pt>
                <c:pt idx="6">
                  <c:v>0.3420886106739783</c:v>
                </c:pt>
                <c:pt idx="7">
                  <c:v>0.3389585438993779</c:v>
                </c:pt>
                <c:pt idx="8">
                  <c:v>0.33700097861515954</c:v>
                </c:pt>
                <c:pt idx="9">
                  <c:v>0.33933976689247525</c:v>
                </c:pt>
                <c:pt idx="10">
                  <c:v>0.3375496891922244</c:v>
                </c:pt>
                <c:pt idx="11">
                  <c:v>0.3453638168528633</c:v>
                </c:pt>
                <c:pt idx="12">
                  <c:v>0.34262470177853627</c:v>
                </c:pt>
                <c:pt idx="13">
                  <c:v>0.3390753325867945</c:v>
                </c:pt>
                <c:pt idx="14">
                  <c:v>0.3408578828048461</c:v>
                </c:pt>
                <c:pt idx="15">
                  <c:v>0.33917964766600994</c:v>
                </c:pt>
                <c:pt idx="16">
                  <c:v>0.3373296329965149</c:v>
                </c:pt>
                <c:pt idx="17">
                  <c:v>0.33834253683582766</c:v>
                </c:pt>
                <c:pt idx="18">
                  <c:v>0.34227429593511227</c:v>
                </c:pt>
                <c:pt idx="19">
                  <c:v>0.3367144171363198</c:v>
                </c:pt>
                <c:pt idx="20">
                  <c:v>0.33651198400081506</c:v>
                </c:pt>
                <c:pt idx="21">
                  <c:v>0.34203072022514414</c:v>
                </c:pt>
                <c:pt idx="22">
                  <c:v>0.3382237988708715</c:v>
                </c:pt>
                <c:pt idx="23">
                  <c:v>0.33727024412344975</c:v>
                </c:pt>
                <c:pt idx="24">
                  <c:v>0.33646935184238147</c:v>
                </c:pt>
                <c:pt idx="25">
                  <c:v>0.3373889909286668</c:v>
                </c:pt>
                <c:pt idx="26">
                  <c:v>0.33710987736967785</c:v>
                </c:pt>
                <c:pt idx="27">
                  <c:v>0.33711801040975226</c:v>
                </c:pt>
                <c:pt idx="28">
                  <c:v>0.33595026939989214</c:v>
                </c:pt>
                <c:pt idx="29">
                  <c:v>0.33528972510167343</c:v>
                </c:pt>
                <c:pt idx="30">
                  <c:v>0.33668274248133423</c:v>
                </c:pt>
                <c:pt idx="31">
                  <c:v>0.3377717609674305</c:v>
                </c:pt>
                <c:pt idx="32">
                  <c:v>0.3365920104630692</c:v>
                </c:pt>
                <c:pt idx="33">
                  <c:v>0.3360825152835806</c:v>
                </c:pt>
                <c:pt idx="34">
                  <c:v>0.33535186771602477</c:v>
                </c:pt>
                <c:pt idx="35">
                  <c:v>0.33453841342414586</c:v>
                </c:pt>
                <c:pt idx="36">
                  <c:v>0.33333673023236643</c:v>
                </c:pt>
                <c:pt idx="37">
                  <c:v>0.3348282900008421</c:v>
                </c:pt>
                <c:pt idx="38">
                  <c:v>0.3332346649995629</c:v>
                </c:pt>
                <c:pt idx="39">
                  <c:v>0.33595970637845674</c:v>
                </c:pt>
                <c:pt idx="40">
                  <c:v>0.33408992930560694</c:v>
                </c:pt>
                <c:pt idx="41">
                  <c:v>0.33306776971307905</c:v>
                </c:pt>
                <c:pt idx="42">
                  <c:v>0.33413884246944586</c:v>
                </c:pt>
                <c:pt idx="43">
                  <c:v>0.33326009843031734</c:v>
                </c:pt>
                <c:pt idx="44">
                  <c:v>0.3369443390632499</c:v>
                </c:pt>
                <c:pt idx="45">
                  <c:v>0.33891438679593033</c:v>
                </c:pt>
                <c:pt idx="46">
                  <c:v>0.33909306173013065</c:v>
                </c:pt>
                <c:pt idx="47">
                  <c:v>0.3408439947548929</c:v>
                </c:pt>
                <c:pt idx="48">
                  <c:v>0.34088749767903015</c:v>
                </c:pt>
                <c:pt idx="49">
                  <c:v>0.3397396560965695</c:v>
                </c:pt>
                <c:pt idx="50">
                  <c:v>0.3420004600119107</c:v>
                </c:pt>
                <c:pt idx="51">
                  <c:v>0.3442487726385289</c:v>
                </c:pt>
                <c:pt idx="52">
                  <c:v>0.34214748284217317</c:v>
                </c:pt>
                <c:pt idx="53">
                  <c:v>0.4771484927083585</c:v>
                </c:pt>
                <c:pt idx="54">
                  <c:v>0.3330953118484113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8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062557161148711"/>
          <c:min val="0.2206204379562043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930068989547038</c:v>
                </c:pt>
                <c:pt idx="1">
                  <c:v>0.6470158885017422</c:v>
                </c:pt>
                <c:pt idx="2">
                  <c:v>0.6969766158315178</c:v>
                </c:pt>
                <c:pt idx="3">
                  <c:v>0.629007228138109</c:v>
                </c:pt>
                <c:pt idx="4">
                  <c:v>0.972181881533101</c:v>
                </c:pt>
                <c:pt idx="5">
                  <c:v>0.0</c:v>
                </c:pt>
                <c:pt idx="6">
                  <c:v>0.0</c:v>
                </c:pt>
                <c:pt idx="7">
                  <c:v>0.32979701280227597</c:v>
                </c:pt>
                <c:pt idx="8">
                  <c:v>0.5010952559635486</c:v>
                </c:pt>
                <c:pt idx="9">
                  <c:v>0.6338773519163763</c:v>
                </c:pt>
                <c:pt idx="10">
                  <c:v>0.5942625523897528</c:v>
                </c:pt>
                <c:pt idx="11">
                  <c:v>0.7149142711962835</c:v>
                </c:pt>
                <c:pt idx="12">
                  <c:v>0.552121193530396</c:v>
                </c:pt>
                <c:pt idx="13">
                  <c:v>0.7196139663182346</c:v>
                </c:pt>
                <c:pt idx="14">
                  <c:v>0.6903343596684148</c:v>
                </c:pt>
                <c:pt idx="15">
                  <c:v>0.8604115597458496</c:v>
                </c:pt>
                <c:pt idx="16">
                  <c:v>0.7574079549454417</c:v>
                </c:pt>
                <c:pt idx="17">
                  <c:v>0.7639089198606271</c:v>
                </c:pt>
                <c:pt idx="18">
                  <c:v>0.5769438526630165</c:v>
                </c:pt>
                <c:pt idx="19">
                  <c:v>0.7930855052264809</c:v>
                </c:pt>
                <c:pt idx="20">
                  <c:v>0.8904804540953232</c:v>
                </c:pt>
                <c:pt idx="21">
                  <c:v>0.4729047020672882</c:v>
                </c:pt>
                <c:pt idx="22">
                  <c:v>0.8884379042161277</c:v>
                </c:pt>
                <c:pt idx="23">
                  <c:v>0.9742394910273017</c:v>
                </c:pt>
                <c:pt idx="24">
                  <c:v>1.1335010525148814</c:v>
                </c:pt>
                <c:pt idx="25">
                  <c:v>1.3964484084880637</c:v>
                </c:pt>
                <c:pt idx="26">
                  <c:v>0.8589502680412372</c:v>
                </c:pt>
                <c:pt idx="27">
                  <c:v>0.5250634644101543</c:v>
                </c:pt>
                <c:pt idx="28">
                  <c:v>0.5032223065970574</c:v>
                </c:pt>
                <c:pt idx="29">
                  <c:v>0.8042454128056237</c:v>
                </c:pt>
                <c:pt idx="30">
                  <c:v>0.8077650793650794</c:v>
                </c:pt>
                <c:pt idx="31">
                  <c:v>0.7234038820992093</c:v>
                </c:pt>
                <c:pt idx="32">
                  <c:v>1.1565607433217189</c:v>
                </c:pt>
                <c:pt idx="33">
                  <c:v>0.6603012543554007</c:v>
                </c:pt>
                <c:pt idx="34">
                  <c:v>0.6364942453099167</c:v>
                </c:pt>
                <c:pt idx="35">
                  <c:v>0.7729758657676984</c:v>
                </c:pt>
                <c:pt idx="36">
                  <c:v>0.78015364472753</c:v>
                </c:pt>
                <c:pt idx="37">
                  <c:v>0.5925004275788348</c:v>
                </c:pt>
                <c:pt idx="38">
                  <c:v>0.9140571219743507</c:v>
                </c:pt>
                <c:pt idx="39">
                  <c:v>1.0887160220994476</c:v>
                </c:pt>
                <c:pt idx="40">
                  <c:v>0.9495952806289392</c:v>
                </c:pt>
                <c:pt idx="41">
                  <c:v>1.0063603462489694</c:v>
                </c:pt>
                <c:pt idx="42">
                  <c:v>0.9981997590524561</c:v>
                </c:pt>
                <c:pt idx="43">
                  <c:v>0.8674157840083073</c:v>
                </c:pt>
                <c:pt idx="44">
                  <c:v>0.8706884283880432</c:v>
                </c:pt>
                <c:pt idx="45">
                  <c:v>0.4487890050329075</c:v>
                </c:pt>
                <c:pt idx="46">
                  <c:v>0.6659936120789779</c:v>
                </c:pt>
                <c:pt idx="47">
                  <c:v>0.7897168641114982</c:v>
                </c:pt>
                <c:pt idx="48">
                  <c:v>0.805276418752203</c:v>
                </c:pt>
                <c:pt idx="49">
                  <c:v>0.7710775693083171</c:v>
                </c:pt>
                <c:pt idx="50">
                  <c:v>0.6605741435805779</c:v>
                </c:pt>
                <c:pt idx="51">
                  <c:v>0.6078326541554959</c:v>
                </c:pt>
                <c:pt idx="52">
                  <c:v>0.6620632443531826</c:v>
                </c:pt>
                <c:pt idx="53">
                  <c:v>0.7102807612250966</c:v>
                </c:pt>
                <c:pt idx="54">
                  <c:v>0.8352486989445448</c:v>
                </c:pt>
                <c:pt idx="55">
                  <c:v>0.7809866279069767</c:v>
                </c:pt>
                <c:pt idx="56">
                  <c:v>0.996066067048242</c:v>
                </c:pt>
                <c:pt idx="57">
                  <c:v>0.8881175187969925</c:v>
                </c:pt>
                <c:pt idx="58">
                  <c:v>1.0363966061305467</c:v>
                </c:pt>
                <c:pt idx="59">
                  <c:v>0.9402172238610291</c:v>
                </c:pt>
                <c:pt idx="60">
                  <c:v>0.8586471460398127</c:v>
                </c:pt>
                <c:pt idx="61">
                  <c:v>0.9651006602777218</c:v>
                </c:pt>
                <c:pt idx="62">
                  <c:v>0.8896564932321405</c:v>
                </c:pt>
                <c:pt idx="63">
                  <c:v>0.9905587029062295</c:v>
                </c:pt>
                <c:pt idx="64">
                  <c:v>0.9823457490544318</c:v>
                </c:pt>
                <c:pt idx="65">
                  <c:v>1.0255188432490963</c:v>
                </c:pt>
                <c:pt idx="66">
                  <c:v>0.9658988153310105</c:v>
                </c:pt>
                <c:pt idx="67">
                  <c:v>0.9752629168740666</c:v>
                </c:pt>
                <c:pt idx="68">
                  <c:v>0.9575409860641109</c:v>
                </c:pt>
                <c:pt idx="69">
                  <c:v>1.1092491289198605</c:v>
                </c:pt>
                <c:pt idx="70">
                  <c:v>1.0981863905325444</c:v>
                </c:pt>
                <c:pt idx="71">
                  <c:v>1.042571617413183</c:v>
                </c:pt>
                <c:pt idx="72">
                  <c:v>0.9803151778213386</c:v>
                </c:pt>
                <c:pt idx="73">
                  <c:v>0.9695390765964974</c:v>
                </c:pt>
                <c:pt idx="74">
                  <c:v>1.242871247863248</c:v>
                </c:pt>
                <c:pt idx="75">
                  <c:v>1.549662333187543</c:v>
                </c:pt>
                <c:pt idx="76">
                  <c:v>1.4404649031408778</c:v>
                </c:pt>
                <c:pt idx="77">
                  <c:v>1.0841976667368485</c:v>
                </c:pt>
                <c:pt idx="78">
                  <c:v>1.4261063580758</c:v>
                </c:pt>
                <c:pt idx="79">
                  <c:v>1.2048071813285457</c:v>
                </c:pt>
                <c:pt idx="80">
                  <c:v>1.3654278477312298</c:v>
                </c:pt>
                <c:pt idx="81">
                  <c:v>1.1187232815159778</c:v>
                </c:pt>
                <c:pt idx="82">
                  <c:v>1.1836770490344397</c:v>
                </c:pt>
                <c:pt idx="83">
                  <c:v>0.9902150943396226</c:v>
                </c:pt>
                <c:pt idx="84">
                  <c:v>1.0582324377171408</c:v>
                </c:pt>
                <c:pt idx="85">
                  <c:v>0.9176871684587814</c:v>
                </c:pt>
                <c:pt idx="86">
                  <c:v>1.0518524778383147</c:v>
                </c:pt>
                <c:pt idx="87">
                  <c:v>0.993699384483303</c:v>
                </c:pt>
                <c:pt idx="88">
                  <c:v>1.0602194049768425</c:v>
                </c:pt>
                <c:pt idx="89">
                  <c:v>0.8709913167444272</c:v>
                </c:pt>
                <c:pt idx="90">
                  <c:v>1.0541618194244058</c:v>
                </c:pt>
                <c:pt idx="91">
                  <c:v>1.1055409855649576</c:v>
                </c:pt>
                <c:pt idx="92">
                  <c:v>0.9780311651805139</c:v>
                </c:pt>
                <c:pt idx="93">
                  <c:v>1.1020659807757647</c:v>
                </c:pt>
                <c:pt idx="94">
                  <c:v>0.9493531740214045</c:v>
                </c:pt>
                <c:pt idx="95">
                  <c:v>0.8126980092928737</c:v>
                </c:pt>
                <c:pt idx="96">
                  <c:v>0.8834422216238579</c:v>
                </c:pt>
                <c:pt idx="97">
                  <c:v>0.8940827363896848</c:v>
                </c:pt>
                <c:pt idx="98">
                  <c:v>0.858010010500525</c:v>
                </c:pt>
                <c:pt idx="99">
                  <c:v>0.9864180355068856</c:v>
                </c:pt>
                <c:pt idx="100">
                  <c:v>0.9137859852884244</c:v>
                </c:pt>
                <c:pt idx="101">
                  <c:v>0.9266426210268949</c:v>
                </c:pt>
                <c:pt idx="102">
                  <c:v>0.7622466898954704</c:v>
                </c:pt>
                <c:pt idx="103">
                  <c:v>0.8747495325754033</c:v>
                </c:pt>
                <c:pt idx="104">
                  <c:v>0.8527642232683256</c:v>
                </c:pt>
              </c:numCache>
            </c:numRef>
          </c:xVal>
          <c:yVal>
            <c:numRef>
              <c:f>Sheet1!$B$2:$B$106</c:f>
              <c:numCache>
                <c:formatCode>General</c:formatCode>
                <c:ptCount val="105"/>
                <c:pt idx="0">
                  <c:v>0.4122219564697441</c:v>
                </c:pt>
                <c:pt idx="1">
                  <c:v>0.4575744740928985</c:v>
                </c:pt>
                <c:pt idx="2">
                  <c:v>0.49476552416463504</c:v>
                </c:pt>
                <c:pt idx="3">
                  <c:v>0.5041126225877887</c:v>
                </c:pt>
                <c:pt idx="4">
                  <c:v>0.4909317211948791</c:v>
                </c:pt>
                <c:pt idx="5">
                  <c:v>0.4645214521452145</c:v>
                </c:pt>
                <c:pt idx="6">
                  <c:v>0.4800604229607251</c:v>
                </c:pt>
                <c:pt idx="7">
                  <c:v>0.5052130967623926</c:v>
                </c:pt>
                <c:pt idx="8">
                  <c:v>0.4849351639969489</c:v>
                </c:pt>
                <c:pt idx="9">
                  <c:v>0.4531850086081314</c:v>
                </c:pt>
                <c:pt idx="10">
                  <c:v>0.4355716878402904</c:v>
                </c:pt>
                <c:pt idx="11">
                  <c:v>0.3866916087653661</c:v>
                </c:pt>
                <c:pt idx="12">
                  <c:v>0.36869308392813194</c:v>
                </c:pt>
                <c:pt idx="13">
                  <c:v>0.3492238112700159</c:v>
                </c:pt>
                <c:pt idx="14">
                  <c:v>0.32484937907291284</c:v>
                </c:pt>
                <c:pt idx="15">
                  <c:v>0.32006172839506175</c:v>
                </c:pt>
                <c:pt idx="16">
                  <c:v>0.29603977979044577</c:v>
                </c:pt>
                <c:pt idx="17">
                  <c:v>0.2994760177347844</c:v>
                </c:pt>
                <c:pt idx="18">
                  <c:v>0.27577554744525545</c:v>
                </c:pt>
                <c:pt idx="19">
                  <c:v>0.2894243641231593</c:v>
                </c:pt>
                <c:pt idx="20">
                  <c:v>0.28587269904635176</c:v>
                </c:pt>
                <c:pt idx="21">
                  <c:v>0.3412604042806183</c:v>
                </c:pt>
                <c:pt idx="22">
                  <c:v>0.412086409625376</c:v>
                </c:pt>
                <c:pt idx="23">
                  <c:v>0.42009264620729586</c:v>
                </c:pt>
                <c:pt idx="24">
                  <c:v>0.44516653127538586</c:v>
                </c:pt>
                <c:pt idx="25">
                  <c:v>0.44539093398235474</c:v>
                </c:pt>
                <c:pt idx="26">
                  <c:v>0.45406961528395706</c:v>
                </c:pt>
                <c:pt idx="27">
                  <c:v>0.43562179330564377</c:v>
                </c:pt>
                <c:pt idx="28">
                  <c:v>0.4154929577464789</c:v>
                </c:pt>
                <c:pt idx="29">
                  <c:v>0.4201169590643275</c:v>
                </c:pt>
                <c:pt idx="30">
                  <c:v>0.42677211482132393</c:v>
                </c:pt>
                <c:pt idx="31">
                  <c:v>0.44349267753523075</c:v>
                </c:pt>
                <c:pt idx="32">
                  <c:v>0.46293706293706294</c:v>
                </c:pt>
                <c:pt idx="33">
                  <c:v>0.4669873196327066</c:v>
                </c:pt>
                <c:pt idx="34">
                  <c:v>0.42886291968094975</c:v>
                </c:pt>
                <c:pt idx="35">
                  <c:v>0.41145750909954104</c:v>
                </c:pt>
                <c:pt idx="36">
                  <c:v>0.3726595530501309</c:v>
                </c:pt>
                <c:pt idx="37">
                  <c:v>0.3789173789173789</c:v>
                </c:pt>
                <c:pt idx="38">
                  <c:v>0.3680798004987531</c:v>
                </c:pt>
                <c:pt idx="39">
                  <c:v>0.3550706033376123</c:v>
                </c:pt>
                <c:pt idx="40">
                  <c:v>0.36861846217962074</c:v>
                </c:pt>
                <c:pt idx="41">
                  <c:v>0.36113090995485864</c:v>
                </c:pt>
                <c:pt idx="42">
                  <c:v>0.3616153375484397</c:v>
                </c:pt>
                <c:pt idx="43">
                  <c:v>0.35259259259259257</c:v>
                </c:pt>
                <c:pt idx="44">
                  <c:v>0.33795454545454545</c:v>
                </c:pt>
                <c:pt idx="45">
                  <c:v>0.3405964454262476</c:v>
                </c:pt>
                <c:pt idx="46">
                  <c:v>0.34828366283072687</c:v>
                </c:pt>
                <c:pt idx="47">
                  <c:v>0.3353148614609572</c:v>
                </c:pt>
                <c:pt idx="48">
                  <c:v>0.3398497337515501</c:v>
                </c:pt>
                <c:pt idx="49">
                  <c:v>0.3609284919591383</c:v>
                </c:pt>
                <c:pt idx="50">
                  <c:v>0.34944877111358347</c:v>
                </c:pt>
                <c:pt idx="51">
                  <c:v>0.3475601648716926</c:v>
                </c:pt>
                <c:pt idx="52">
                  <c:v>0.36118838322020697</c:v>
                </c:pt>
                <c:pt idx="53">
                  <c:v>0.3653656474566718</c:v>
                </c:pt>
                <c:pt idx="54">
                  <c:v>0.3803268183274591</c:v>
                </c:pt>
                <c:pt idx="55">
                  <c:v>0.3718364698247891</c:v>
                </c:pt>
                <c:pt idx="56">
                  <c:v>0.3866995073891626</c:v>
                </c:pt>
                <c:pt idx="57">
                  <c:v>0.38408820023837903</c:v>
                </c:pt>
                <c:pt idx="58">
                  <c:v>0.3851921274601687</c:v>
                </c:pt>
                <c:pt idx="59">
                  <c:v>0.4010805248263442</c:v>
                </c:pt>
                <c:pt idx="60">
                  <c:v>0.4094823507144885</c:v>
                </c:pt>
                <c:pt idx="61">
                  <c:v>0.39182215164747913</c:v>
                </c:pt>
                <c:pt idx="62">
                  <c:v>0.3949877750611247</c:v>
                </c:pt>
                <c:pt idx="63">
                  <c:v>0.4114875476778102</c:v>
                </c:pt>
                <c:pt idx="64">
                  <c:v>0.3671306877207563</c:v>
                </c:pt>
                <c:pt idx="65">
                  <c:v>0.3417593528816987</c:v>
                </c:pt>
                <c:pt idx="66">
                  <c:v>0.34050348658551</c:v>
                </c:pt>
                <c:pt idx="67">
                  <c:v>0.3321290322580645</c:v>
                </c:pt>
                <c:pt idx="68">
                  <c:v>0.32402055234425176</c:v>
                </c:pt>
                <c:pt idx="69">
                  <c:v>0.31514657980456023</c:v>
                </c:pt>
                <c:pt idx="70">
                  <c:v>0.3166468017481128</c:v>
                </c:pt>
                <c:pt idx="71">
                  <c:v>0.33052199680875316</c:v>
                </c:pt>
                <c:pt idx="72">
                  <c:v>0.3088602329450915</c:v>
                </c:pt>
                <c:pt idx="73">
                  <c:v>0.33105076741440376</c:v>
                </c:pt>
                <c:pt idx="74">
                  <c:v>0.3293321693583588</c:v>
                </c:pt>
                <c:pt idx="75">
                  <c:v>0.344019728729963</c:v>
                </c:pt>
                <c:pt idx="76">
                  <c:v>0.3415359653866955</c:v>
                </c:pt>
                <c:pt idx="77">
                  <c:v>0.34570699914990083</c:v>
                </c:pt>
                <c:pt idx="78">
                  <c:v>0.3243585682610073</c:v>
                </c:pt>
                <c:pt idx="79">
                  <c:v>0.31251815277374384</c:v>
                </c:pt>
                <c:pt idx="80">
                  <c:v>0.29278523489932884</c:v>
                </c:pt>
                <c:pt idx="81">
                  <c:v>0.30329008341056535</c:v>
                </c:pt>
                <c:pt idx="82">
                  <c:v>0.3128063725490196</c:v>
                </c:pt>
                <c:pt idx="83">
                  <c:v>0.3169877408056042</c:v>
                </c:pt>
                <c:pt idx="84">
                  <c:v>0.3171667829727844</c:v>
                </c:pt>
                <c:pt idx="85">
                  <c:v>0.3261065943992773</c:v>
                </c:pt>
                <c:pt idx="86">
                  <c:v>0.31790258885476086</c:v>
                </c:pt>
                <c:pt idx="87">
                  <c:v>0.33300414773849496</c:v>
                </c:pt>
                <c:pt idx="88">
                  <c:v>0.32550247977029495</c:v>
                </c:pt>
                <c:pt idx="89">
                  <c:v>0.3350208457415128</c:v>
                </c:pt>
                <c:pt idx="90">
                  <c:v>0.32857142857142857</c:v>
                </c:pt>
                <c:pt idx="91">
                  <c:v>0.30036518563603165</c:v>
                </c:pt>
                <c:pt idx="92">
                  <c:v>0.30674157303370786</c:v>
                </c:pt>
                <c:pt idx="93">
                  <c:v>0.29623213512343005</c:v>
                </c:pt>
                <c:pt idx="94">
                  <c:v>0.30102405334603477</c:v>
                </c:pt>
                <c:pt idx="95">
                  <c:v>0.30139616055846424</c:v>
                </c:pt>
                <c:pt idx="96">
                  <c:v>0.3043998087039694</c:v>
                </c:pt>
                <c:pt idx="97">
                  <c:v>0.30493638676844786</c:v>
                </c:pt>
                <c:pt idx="98">
                  <c:v>0.3089509994693083</c:v>
                </c:pt>
                <c:pt idx="99">
                  <c:v>0.31196711327649207</c:v>
                </c:pt>
                <c:pt idx="100">
                  <c:v>0.31757174144999156</c:v>
                </c:pt>
                <c:pt idx="101">
                  <c:v>0.3358239508700102</c:v>
                </c:pt>
                <c:pt idx="102">
                  <c:v>0.32883741386893417</c:v>
                </c:pt>
                <c:pt idx="103">
                  <c:v>0.2956072971675468</c:v>
                </c:pt>
                <c:pt idx="104">
                  <c:v>0.298840452076911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378549686878273</c:v>
                </c:pt>
                <c:pt idx="1">
                  <c:v>1.0484493215628576</c:v>
                </c:pt>
                <c:pt idx="2">
                  <c:v>0.9126535769197482</c:v>
                </c:pt>
                <c:pt idx="3">
                  <c:v>0.8915806577717346</c:v>
                </c:pt>
                <c:pt idx="4">
                  <c:v>0.95101946278291</c:v>
                </c:pt>
                <c:pt idx="5">
                  <c:v>0.8400650513923116</c:v>
                </c:pt>
                <c:pt idx="6">
                  <c:v>0.8638486704566293</c:v>
                </c:pt>
                <c:pt idx="7">
                  <c:v>1.0235340028694404</c:v>
                </c:pt>
                <c:pt idx="8">
                  <c:v>1.0003539464996014</c:v>
                </c:pt>
                <c:pt idx="9">
                  <c:v>1.1269482161203388</c:v>
                </c:pt>
                <c:pt idx="10">
                  <c:v>1.1152693379790939</c:v>
                </c:pt>
                <c:pt idx="11">
                  <c:v>0.7690203484320558</c:v>
                </c:pt>
                <c:pt idx="12">
                  <c:v>1.0528575429087625</c:v>
                </c:pt>
                <c:pt idx="13">
                  <c:v>0.7943550009427205</c:v>
                </c:pt>
                <c:pt idx="14">
                  <c:v>0.9484542879622345</c:v>
                </c:pt>
                <c:pt idx="15">
                  <c:v>0.9135482780787952</c:v>
                </c:pt>
                <c:pt idx="16">
                  <c:v>0.9511990379278447</c:v>
                </c:pt>
                <c:pt idx="17">
                  <c:v>1.0810464568614857</c:v>
                </c:pt>
                <c:pt idx="18">
                  <c:v>0.817728780487805</c:v>
                </c:pt>
                <c:pt idx="19">
                  <c:v>0.8761781921137056</c:v>
                </c:pt>
                <c:pt idx="20">
                  <c:v>0.7571463414634146</c:v>
                </c:pt>
                <c:pt idx="21">
                  <c:v>0.8536939898624185</c:v>
                </c:pt>
                <c:pt idx="22">
                  <c:v>0.48977092528068134</c:v>
                </c:pt>
                <c:pt idx="23">
                  <c:v>0.40755505226480837</c:v>
                </c:pt>
                <c:pt idx="24">
                  <c:v>0.48289063656550707</c:v>
                </c:pt>
                <c:pt idx="25">
                  <c:v>0.9418410416284614</c:v>
                </c:pt>
                <c:pt idx="26">
                  <c:v>0.8407554552398901</c:v>
                </c:pt>
                <c:pt idx="27">
                  <c:v>1.01358846637335</c:v>
                </c:pt>
                <c:pt idx="28">
                  <c:v>1.160537817348378</c:v>
                </c:pt>
                <c:pt idx="29">
                  <c:v>0.9278453658536586</c:v>
                </c:pt>
                <c:pt idx="30">
                  <c:v>1.0281307365299062</c:v>
                </c:pt>
                <c:pt idx="31">
                  <c:v>0.8744949457027417</c:v>
                </c:pt>
                <c:pt idx="32">
                  <c:v>0.8005711375398881</c:v>
                </c:pt>
                <c:pt idx="33">
                  <c:v>0.9469101298351525</c:v>
                </c:pt>
                <c:pt idx="34">
                  <c:v>0.9103144780382932</c:v>
                </c:pt>
                <c:pt idx="35">
                  <c:v>1.0091640501253358</c:v>
                </c:pt>
                <c:pt idx="36">
                  <c:v>1.198294599303136</c:v>
                </c:pt>
                <c:pt idx="37">
                  <c:v>1.0626366012036745</c:v>
                </c:pt>
                <c:pt idx="38">
                  <c:v>0.8891155632984902</c:v>
                </c:pt>
                <c:pt idx="39">
                  <c:v>1.0232966836822153</c:v>
                </c:pt>
                <c:pt idx="40">
                  <c:v>1.0822064680579895</c:v>
                </c:pt>
                <c:pt idx="41">
                  <c:v>1.0232489267649698</c:v>
                </c:pt>
                <c:pt idx="42">
                  <c:v>1.0819569850702182</c:v>
                </c:pt>
                <c:pt idx="43">
                  <c:v>1.1567297081671215</c:v>
                </c:pt>
                <c:pt idx="44">
                  <c:v>1.0234591536801598</c:v>
                </c:pt>
                <c:pt idx="45">
                  <c:v>1.0007645975170205</c:v>
                </c:pt>
                <c:pt idx="46">
                  <c:v>0.9216174129654023</c:v>
                </c:pt>
                <c:pt idx="47">
                  <c:v>0.905352083192709</c:v>
                </c:pt>
                <c:pt idx="48">
                  <c:v>1.195401612303113</c:v>
                </c:pt>
                <c:pt idx="49">
                  <c:v>1.047119193466054</c:v>
                </c:pt>
                <c:pt idx="50">
                  <c:v>0.9921244743481917</c:v>
                </c:pt>
                <c:pt idx="51">
                  <c:v>0.8503781523683963</c:v>
                </c:pt>
              </c:numCache>
            </c:numRef>
          </c:xVal>
          <c:yVal>
            <c:numRef>
              <c:f>Sheet1!$B$109:$B$160</c:f>
              <c:numCache>
                <c:formatCode>General</c:formatCode>
                <c:ptCount val="52"/>
                <c:pt idx="0">
                  <c:v>0.31237458193979933</c:v>
                </c:pt>
                <c:pt idx="1">
                  <c:v>0.32443181818181815</c:v>
                </c:pt>
                <c:pt idx="2">
                  <c:v>0.33044856167723063</c:v>
                </c:pt>
                <c:pt idx="3">
                  <c:v>0.3529641185647426</c:v>
                </c:pt>
                <c:pt idx="4">
                  <c:v>0.34754054416298086</c:v>
                </c:pt>
                <c:pt idx="5">
                  <c:v>0.3389429397843807</c:v>
                </c:pt>
                <c:pt idx="6">
                  <c:v>0.35547283936256835</c:v>
                </c:pt>
                <c:pt idx="7">
                  <c:v>0.3351046698872786</c:v>
                </c:pt>
                <c:pt idx="8">
                  <c:v>0.3382022471910112</c:v>
                </c:pt>
                <c:pt idx="9">
                  <c:v>0.34418761599460096</c:v>
                </c:pt>
                <c:pt idx="10">
                  <c:v>0.33174577106257186</c:v>
                </c:pt>
                <c:pt idx="11">
                  <c:v>0.34265113699389904</c:v>
                </c:pt>
                <c:pt idx="12">
                  <c:v>0.3428795606120047</c:v>
                </c:pt>
                <c:pt idx="13">
                  <c:v>0.3516770727457529</c:v>
                </c:pt>
                <c:pt idx="14">
                  <c:v>0.35795454545454547</c:v>
                </c:pt>
                <c:pt idx="15">
                  <c:v>0.3407821229050279</c:v>
                </c:pt>
                <c:pt idx="16">
                  <c:v>0.3192142418661756</c:v>
                </c:pt>
                <c:pt idx="17">
                  <c:v>0.32514944491887277</c:v>
                </c:pt>
                <c:pt idx="18">
                  <c:v>0.34109263657957245</c:v>
                </c:pt>
                <c:pt idx="19">
                  <c:v>0.3400293973542381</c:v>
                </c:pt>
                <c:pt idx="20">
                  <c:v>0.34190966266437967</c:v>
                </c:pt>
                <c:pt idx="21">
                  <c:v>0.3686440677966102</c:v>
                </c:pt>
                <c:pt idx="22">
                  <c:v>0.3453166226912929</c:v>
                </c:pt>
                <c:pt idx="23">
                  <c:v>0.34934797529169526</c:v>
                </c:pt>
                <c:pt idx="24">
                  <c:v>0.34213067267460573</c:v>
                </c:pt>
                <c:pt idx="25">
                  <c:v>0.3386295928500497</c:v>
                </c:pt>
                <c:pt idx="26">
                  <c:v>0.3390840652446675</c:v>
                </c:pt>
                <c:pt idx="27">
                  <c:v>0.3300808475048787</c:v>
                </c:pt>
                <c:pt idx="28">
                  <c:v>0.32444782939832445</c:v>
                </c:pt>
                <c:pt idx="29">
                  <c:v>0.34571788413098237</c:v>
                </c:pt>
                <c:pt idx="30">
                  <c:v>0.3474148802017655</c:v>
                </c:pt>
                <c:pt idx="31">
                  <c:v>0.3254796364860316</c:v>
                </c:pt>
                <c:pt idx="32">
                  <c:v>0.3252799057159694</c:v>
                </c:pt>
                <c:pt idx="33">
                  <c:v>0.32288677996027365</c:v>
                </c:pt>
                <c:pt idx="34">
                  <c:v>0.3431355489820776</c:v>
                </c:pt>
                <c:pt idx="35">
                  <c:v>0.3260017421602787</c:v>
                </c:pt>
                <c:pt idx="36">
                  <c:v>0.33631805157593125</c:v>
                </c:pt>
                <c:pt idx="37">
                  <c:v>0.3538918205804749</c:v>
                </c:pt>
                <c:pt idx="38">
                  <c:v>0.3548872180451128</c:v>
                </c:pt>
                <c:pt idx="39">
                  <c:v>0.34538482607504795</c:v>
                </c:pt>
                <c:pt idx="40">
                  <c:v>0.32776280323450135</c:v>
                </c:pt>
                <c:pt idx="41">
                  <c:v>0.31910669975186107</c:v>
                </c:pt>
                <c:pt idx="42">
                  <c:v>0.3386408871197043</c:v>
                </c:pt>
                <c:pt idx="43">
                  <c:v>0.3311532592108132</c:v>
                </c:pt>
                <c:pt idx="44">
                  <c:v>0.3214661522272887</c:v>
                </c:pt>
                <c:pt idx="45">
                  <c:v>0.334070524634476</c:v>
                </c:pt>
                <c:pt idx="46">
                  <c:v>0.3437188789301465</c:v>
                </c:pt>
                <c:pt idx="47">
                  <c:v>0.3428534671298083</c:v>
                </c:pt>
                <c:pt idx="48">
                  <c:v>0.3184480234260615</c:v>
                </c:pt>
                <c:pt idx="49">
                  <c:v>0.32770896323027404</c:v>
                </c:pt>
                <c:pt idx="50">
                  <c:v>0.33717730310575283</c:v>
                </c:pt>
                <c:pt idx="51">
                  <c:v>0.342747265953611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4.699565724903402</c:v>
                </c:pt>
              </c:numCache>
            </c:numRef>
          </c:xVal>
          <c:yVal>
            <c:numRef>
              <c:f>Sheet1!$B$163:$B$164</c:f>
              <c:numCache>
                <c:formatCode>General</c:formatCode>
                <c:ptCount val="2"/>
                <c:pt idx="0">
                  <c:v>0.4771484927083585</c:v>
                </c:pt>
                <c:pt idx="1">
                  <c:v>0.477148492708358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4.699565724903402</c:v>
                </c:pt>
                <c:pt idx="1">
                  <c:v>-4.699565724903402</c:v>
                </c:pt>
              </c:numCache>
            </c:numRef>
          </c:xVal>
          <c:yVal>
            <c:numRef>
              <c:f>Sheet1!$B$167:$B$168</c:f>
              <c:numCache>
                <c:formatCode>General</c:formatCode>
                <c:ptCount val="2"/>
                <c:pt idx="0">
                  <c:v>0.47714849270835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595377203358727</c:v>
                </c:pt>
              </c:numCache>
            </c:numRef>
          </c:xVal>
          <c:yVal>
            <c:numRef>
              <c:f>Sheet1!$B$171:$B$172</c:f>
              <c:numCache>
                <c:formatCode>General</c:formatCode>
                <c:ptCount val="2"/>
                <c:pt idx="0">
                  <c:v>0.34214748284217317</c:v>
                </c:pt>
                <c:pt idx="1">
                  <c:v>0.3421474828421731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595377203358727</c:v>
                </c:pt>
                <c:pt idx="1">
                  <c:v>0.7595377203358727</c:v>
                </c:pt>
              </c:numCache>
            </c:numRef>
          </c:xVal>
          <c:yVal>
            <c:numRef>
              <c:f>Sheet1!$B$175:$B$176</c:f>
              <c:numCache>
                <c:formatCode>General</c:formatCode>
                <c:ptCount val="2"/>
                <c:pt idx="0">
                  <c:v>0.3421474828421731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125584892189792</c:v>
                </c:pt>
              </c:numCache>
            </c:numRef>
          </c:xVal>
          <c:yVal>
            <c:numRef>
              <c:f>Sheet1!$B$179:$B$180</c:f>
              <c:numCache>
                <c:formatCode>General</c:formatCode>
                <c:ptCount val="2"/>
                <c:pt idx="0">
                  <c:v>0.33309531184841135</c:v>
                </c:pt>
                <c:pt idx="1">
                  <c:v>0.3330953118484113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125584892189792</c:v>
                </c:pt>
                <c:pt idx="1">
                  <c:v>1.125584892189792</c:v>
                </c:pt>
              </c:numCache>
            </c:numRef>
          </c:xVal>
          <c:yVal>
            <c:numRef>
              <c:f>Sheet1!$B$183:$B$184</c:f>
              <c:numCache>
                <c:formatCode>General</c:formatCode>
                <c:ptCount val="2"/>
                <c:pt idx="0">
                  <c:v>0.3330953118484113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378549686878273</c:v>
                </c:pt>
                <c:pt idx="1">
                  <c:v>1.0484493215628576</c:v>
                </c:pt>
                <c:pt idx="2">
                  <c:v>0.9126535769197482</c:v>
                </c:pt>
                <c:pt idx="3">
                  <c:v>0.8915806577717346</c:v>
                </c:pt>
                <c:pt idx="4">
                  <c:v>0.95101946278291</c:v>
                </c:pt>
                <c:pt idx="5">
                  <c:v>0.8400650513923116</c:v>
                </c:pt>
                <c:pt idx="6">
                  <c:v>0.8638486704566293</c:v>
                </c:pt>
                <c:pt idx="7">
                  <c:v>1.0235340028694404</c:v>
                </c:pt>
                <c:pt idx="8">
                  <c:v>1.0003539464996014</c:v>
                </c:pt>
                <c:pt idx="9">
                  <c:v>1.1269482161203388</c:v>
                </c:pt>
                <c:pt idx="10">
                  <c:v>1.1152693379790939</c:v>
                </c:pt>
                <c:pt idx="11">
                  <c:v>0.7690203484320558</c:v>
                </c:pt>
                <c:pt idx="12">
                  <c:v>1.0528575429087625</c:v>
                </c:pt>
                <c:pt idx="13">
                  <c:v>0.7943550009427205</c:v>
                </c:pt>
                <c:pt idx="14">
                  <c:v>0.9484542879622345</c:v>
                </c:pt>
                <c:pt idx="15">
                  <c:v>0.9135482780787952</c:v>
                </c:pt>
                <c:pt idx="16">
                  <c:v>0.9511990379278447</c:v>
                </c:pt>
                <c:pt idx="17">
                  <c:v>1.0810464568614857</c:v>
                </c:pt>
                <c:pt idx="18">
                  <c:v>0.817728780487805</c:v>
                </c:pt>
                <c:pt idx="19">
                  <c:v>0.8761781921137056</c:v>
                </c:pt>
                <c:pt idx="20">
                  <c:v>0.7571463414634146</c:v>
                </c:pt>
                <c:pt idx="21">
                  <c:v>0.8536939898624185</c:v>
                </c:pt>
                <c:pt idx="22">
                  <c:v>0.48977092528068134</c:v>
                </c:pt>
                <c:pt idx="23">
                  <c:v>0.40755505226480837</c:v>
                </c:pt>
                <c:pt idx="24">
                  <c:v>0.48289063656550707</c:v>
                </c:pt>
                <c:pt idx="25">
                  <c:v>0.9418410416284614</c:v>
                </c:pt>
                <c:pt idx="26">
                  <c:v>0.8407554552398901</c:v>
                </c:pt>
                <c:pt idx="27">
                  <c:v>1.01358846637335</c:v>
                </c:pt>
                <c:pt idx="28">
                  <c:v>1.160537817348378</c:v>
                </c:pt>
                <c:pt idx="29">
                  <c:v>0.9278453658536586</c:v>
                </c:pt>
                <c:pt idx="30">
                  <c:v>1.0281307365299062</c:v>
                </c:pt>
                <c:pt idx="31">
                  <c:v>0.8744949457027417</c:v>
                </c:pt>
                <c:pt idx="32">
                  <c:v>0.8005711375398881</c:v>
                </c:pt>
                <c:pt idx="33">
                  <c:v>0.9469101298351525</c:v>
                </c:pt>
                <c:pt idx="34">
                  <c:v>0.9103144780382932</c:v>
                </c:pt>
                <c:pt idx="35">
                  <c:v>1.0091640501253358</c:v>
                </c:pt>
                <c:pt idx="36">
                  <c:v>1.198294599303136</c:v>
                </c:pt>
                <c:pt idx="37">
                  <c:v>1.0626366012036745</c:v>
                </c:pt>
                <c:pt idx="38">
                  <c:v>0.8891155632984902</c:v>
                </c:pt>
                <c:pt idx="39">
                  <c:v>1.0232966836822153</c:v>
                </c:pt>
                <c:pt idx="40">
                  <c:v>1.0822064680579895</c:v>
                </c:pt>
                <c:pt idx="41">
                  <c:v>1.0232489267649698</c:v>
                </c:pt>
                <c:pt idx="42">
                  <c:v>1.0819569850702182</c:v>
                </c:pt>
                <c:pt idx="43">
                  <c:v>1.1567297081671215</c:v>
                </c:pt>
                <c:pt idx="44">
                  <c:v>1.0234591536801598</c:v>
                </c:pt>
                <c:pt idx="45">
                  <c:v>1.0007645975170205</c:v>
                </c:pt>
                <c:pt idx="46">
                  <c:v>0.9216174129654023</c:v>
                </c:pt>
                <c:pt idx="47">
                  <c:v>0.905352083192709</c:v>
                </c:pt>
                <c:pt idx="48">
                  <c:v>1.195401612303113</c:v>
                </c:pt>
                <c:pt idx="49">
                  <c:v>1.047119193466054</c:v>
                </c:pt>
                <c:pt idx="50">
                  <c:v>0.9921244743481917</c:v>
                </c:pt>
                <c:pt idx="51">
                  <c:v>0.8503781523683963</c:v>
                </c:pt>
                <c:pt idx="52">
                  <c:v>0.7595377203358727</c:v>
                </c:pt>
                <c:pt idx="53">
                  <c:v>-4.699565724903402</c:v>
                </c:pt>
                <c:pt idx="54">
                  <c:v>1.125584892189792</c:v>
                </c:pt>
              </c:numCache>
            </c:numRef>
          </c:xVal>
          <c:yVal>
            <c:numRef>
              <c:f>Sheet1!$B$187:$B$241</c:f>
              <c:numCache>
                <c:formatCode>General</c:formatCode>
                <c:ptCount val="55"/>
                <c:pt idx="0">
                  <c:v>0.34021073485351305</c:v>
                </c:pt>
                <c:pt idx="1">
                  <c:v>0.3350028375136965</c:v>
                </c:pt>
                <c:pt idx="2">
                  <c:v>0.3383610011473858</c:v>
                </c:pt>
                <c:pt idx="3">
                  <c:v>0.33888212433077064</c:v>
                </c:pt>
                <c:pt idx="4">
                  <c:v>0.3374122311913128</c:v>
                </c:pt>
                <c:pt idx="5">
                  <c:v>0.340156080568247</c:v>
                </c:pt>
                <c:pt idx="6">
                  <c:v>0.3395679230760574</c:v>
                </c:pt>
                <c:pt idx="7">
                  <c:v>0.3356189813949198</c:v>
                </c:pt>
                <c:pt idx="8">
                  <c:v>0.33619221307116004</c:v>
                </c:pt>
                <c:pt idx="9">
                  <c:v>0.33306159750149616</c:v>
                </c:pt>
                <c:pt idx="10">
                  <c:v>0.3333504105564214</c:v>
                </c:pt>
                <c:pt idx="11">
                  <c:v>0.34191298199748105</c:v>
                </c:pt>
                <c:pt idx="12">
                  <c:v>0.3348938243141152</c:v>
                </c:pt>
                <c:pt idx="13">
                  <c:v>0.34128646819208114</c:v>
                </c:pt>
                <c:pt idx="14">
                  <c:v>0.33747566673430046</c:v>
                </c:pt>
                <c:pt idx="15">
                  <c:v>0.3383388756168456</c:v>
                </c:pt>
                <c:pt idx="16">
                  <c:v>0.3374077903841077</c:v>
                </c:pt>
                <c:pt idx="17">
                  <c:v>0.33419672599223466</c:v>
                </c:pt>
                <c:pt idx="18">
                  <c:v>0.340708445834632</c:v>
                </c:pt>
                <c:pt idx="19">
                  <c:v>0.339263019919052</c:v>
                </c:pt>
                <c:pt idx="20">
                  <c:v>0.34220662049471867</c:v>
                </c:pt>
                <c:pt idx="21">
                  <c:v>0.339819043456691</c:v>
                </c:pt>
                <c:pt idx="22">
                  <c:v>0.34881868629639146</c:v>
                </c:pt>
                <c:pt idx="23">
                  <c:v>0.35085184540310377</c:v>
                </c:pt>
                <c:pt idx="24">
                  <c:v>0.348988832536344</c:v>
                </c:pt>
                <c:pt idx="25">
                  <c:v>0.3376392091442417</c:v>
                </c:pt>
                <c:pt idx="26">
                  <c:v>0.34013900721223284</c:v>
                </c:pt>
                <c:pt idx="27">
                  <c:v>0.33586492974231813</c:v>
                </c:pt>
                <c:pt idx="28">
                  <c:v>0.33223094277361365</c:v>
                </c:pt>
                <c:pt idx="29">
                  <c:v>0.3379853154934456</c:v>
                </c:pt>
                <c:pt idx="30">
                  <c:v>0.33550530637621506</c:v>
                </c:pt>
                <c:pt idx="31">
                  <c:v>0.3393046457954644</c:v>
                </c:pt>
                <c:pt idx="32">
                  <c:v>0.34113274611546146</c:v>
                </c:pt>
                <c:pt idx="33">
                  <c:v>0.3375138530241629</c:v>
                </c:pt>
                <c:pt idx="34">
                  <c:v>0.3384188459408287</c:v>
                </c:pt>
                <c:pt idx="35">
                  <c:v>0.3359743434340611</c:v>
                </c:pt>
                <c:pt idx="36">
                  <c:v>0.33129723566505265</c:v>
                </c:pt>
                <c:pt idx="37">
                  <c:v>0.3346519928927845</c:v>
                </c:pt>
                <c:pt idx="38">
                  <c:v>0.3389430849347676</c:v>
                </c:pt>
                <c:pt idx="39">
                  <c:v>0.33562485018459515</c:v>
                </c:pt>
                <c:pt idx="40">
                  <c:v>0.3341680394717181</c:v>
                </c:pt>
                <c:pt idx="41">
                  <c:v>0.3356260311902531</c:v>
                </c:pt>
                <c:pt idx="42">
                  <c:v>0.3341742090663468</c:v>
                </c:pt>
                <c:pt idx="43">
                  <c:v>0.33232511548719335</c:v>
                </c:pt>
                <c:pt idx="44">
                  <c:v>0.335620832379471</c:v>
                </c:pt>
                <c:pt idx="45">
                  <c:v>0.3361820578684587</c:v>
                </c:pt>
                <c:pt idx="46">
                  <c:v>0.3381393297812765</c:v>
                </c:pt>
                <c:pt idx="47">
                  <c:v>0.3385415635852604</c:v>
                </c:pt>
                <c:pt idx="48">
                  <c:v>0.33136877784600793</c:v>
                </c:pt>
                <c:pt idx="49">
                  <c:v>0.3350357309435648</c:v>
                </c:pt>
                <c:pt idx="50">
                  <c:v>0.3363957239703856</c:v>
                </c:pt>
                <c:pt idx="51">
                  <c:v>0.33990104252755227</c:v>
                </c:pt>
                <c:pt idx="52">
                  <c:v>0.34214748284217317</c:v>
                </c:pt>
                <c:pt idx="53">
                  <c:v>0.4771484927083585</c:v>
                </c:pt>
                <c:pt idx="54">
                  <c:v>0.3330953118484113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062557161148711"/>
          <c:min val="0.2206204379562043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907.1989</c:v>
                </c:pt>
                <c:pt idx="1">
                  <c:v>967.3737</c:v>
                </c:pt>
                <c:pt idx="2">
                  <c:v>969.8427</c:v>
                </c:pt>
                <c:pt idx="3">
                  <c:v>993.1112</c:v>
                </c:pt>
                <c:pt idx="4">
                  <c:v>985.1591</c:v>
                </c:pt>
                <c:pt idx="5">
                  <c:v>977.8358</c:v>
                </c:pt>
                <c:pt idx="6">
                  <c:v>973.1877</c:v>
                </c:pt>
                <c:pt idx="7">
                  <c:v>970.7594</c:v>
                </c:pt>
                <c:pt idx="8">
                  <c:v>961.1026</c:v>
                </c:pt>
                <c:pt idx="9">
                  <c:v>891.7999</c:v>
                </c:pt>
                <c:pt idx="10">
                  <c:v>827.4697</c:v>
                </c:pt>
                <c:pt idx="11">
                  <c:v>804.2089</c:v>
                </c:pt>
                <c:pt idx="12">
                  <c:v>798.3868</c:v>
                </c:pt>
                <c:pt idx="13">
                  <c:v>788.2821</c:v>
                </c:pt>
                <c:pt idx="14">
                  <c:v>927.6461</c:v>
                </c:pt>
                <c:pt idx="15">
                  <c:v>937.3125</c:v>
                </c:pt>
                <c:pt idx="16">
                  <c:v>972.5432</c:v>
                </c:pt>
                <c:pt idx="17">
                  <c:v>989.3265</c:v>
                </c:pt>
                <c:pt idx="18">
                  <c:v>1011.2152</c:v>
                </c:pt>
                <c:pt idx="19">
                  <c:v>1035.9308</c:v>
                </c:pt>
                <c:pt idx="20">
                  <c:v>1057.7028</c:v>
                </c:pt>
                <c:pt idx="21">
                  <c:v>1061.0735</c:v>
                </c:pt>
                <c:pt idx="22">
                  <c:v>1064.5703</c:v>
                </c:pt>
                <c:pt idx="23">
                  <c:v>1069.5638</c:v>
                </c:pt>
                <c:pt idx="24">
                  <c:v>1070.0113</c:v>
                </c:pt>
                <c:pt idx="25">
                  <c:v>1086.2875</c:v>
                </c:pt>
                <c:pt idx="26">
                  <c:v>1078.104</c:v>
                </c:pt>
                <c:pt idx="27">
                  <c:v>1127.3386</c:v>
                </c:pt>
                <c:pt idx="28">
                  <c:v>1115.8192</c:v>
                </c:pt>
                <c:pt idx="29">
                  <c:v>1164.0638</c:v>
                </c:pt>
                <c:pt idx="30">
                  <c:v>1142.2934</c:v>
                </c:pt>
                <c:pt idx="31">
                  <c:v>1142.2038</c:v>
                </c:pt>
                <c:pt idx="32">
                  <c:v>1145.5557</c:v>
                </c:pt>
                <c:pt idx="33">
                  <c:v>1148.5402</c:v>
                </c:pt>
                <c:pt idx="34">
                  <c:v>1091.9651</c:v>
                </c:pt>
                <c:pt idx="35">
                  <c:v>1122.3973</c:v>
                </c:pt>
                <c:pt idx="36">
                  <c:v>1142.1061</c:v>
                </c:pt>
                <c:pt idx="37">
                  <c:v>1180.8306</c:v>
                </c:pt>
                <c:pt idx="38">
                  <c:v>1165.8931</c:v>
                </c:pt>
                <c:pt idx="39">
                  <c:v>1227.83</c:v>
                </c:pt>
                <c:pt idx="40">
                  <c:v>1275.119</c:v>
                </c:pt>
                <c:pt idx="41">
                  <c:v>1240.357</c:v>
                </c:pt>
                <c:pt idx="42">
                  <c:v>1227.1817</c:v>
                </c:pt>
                <c:pt idx="43">
                  <c:v>1208.8023</c:v>
                </c:pt>
                <c:pt idx="44">
                  <c:v>1208.3801</c:v>
                </c:pt>
                <c:pt idx="45">
                  <c:v>1204.9294</c:v>
                </c:pt>
                <c:pt idx="46">
                  <c:v>1151.3308</c:v>
                </c:pt>
                <c:pt idx="47">
                  <c:v>1105.7971</c:v>
                </c:pt>
                <c:pt idx="48">
                  <c:v>1061.9282</c:v>
                </c:pt>
                <c:pt idx="49">
                  <c:v>970.5209</c:v>
                </c:pt>
                <c:pt idx="50">
                  <c:v>1014.583</c:v>
                </c:pt>
                <c:pt idx="51">
                  <c:v>1020.8391</c:v>
                </c:pt>
                <c:pt idx="52">
                  <c:v>1018.4755</c:v>
                </c:pt>
                <c:pt idx="53">
                  <c:v>1184.652</c:v>
                </c:pt>
                <c:pt idx="54">
                  <c:v>1211.4411</c:v>
                </c:pt>
                <c:pt idx="55">
                  <c:v>1197.5581</c:v>
                </c:pt>
                <c:pt idx="56">
                  <c:v>1193.6275</c:v>
                </c:pt>
                <c:pt idx="57">
                  <c:v>1202.6755</c:v>
                </c:pt>
                <c:pt idx="58">
                  <c:v>1196.5798</c:v>
                </c:pt>
                <c:pt idx="59">
                  <c:v>1197.3709</c:v>
                </c:pt>
                <c:pt idx="60">
                  <c:v>1194.6336</c:v>
                </c:pt>
                <c:pt idx="61">
                  <c:v>1153.1838</c:v>
                </c:pt>
                <c:pt idx="62">
                  <c:v>1052.5735</c:v>
                </c:pt>
                <c:pt idx="63">
                  <c:v>1064.2463</c:v>
                </c:pt>
                <c:pt idx="64">
                  <c:v>1047.0266</c:v>
                </c:pt>
                <c:pt idx="65">
                  <c:v>1046.5803</c:v>
                </c:pt>
                <c:pt idx="66">
                  <c:v>1152.0354</c:v>
                </c:pt>
                <c:pt idx="67">
                  <c:v>1177.6028</c:v>
                </c:pt>
                <c:pt idx="68">
                  <c:v>1167.4989</c:v>
                </c:pt>
                <c:pt idx="69">
                  <c:v>1204.287</c:v>
                </c:pt>
                <c:pt idx="70">
                  <c:v>1268.5501</c:v>
                </c:pt>
                <c:pt idx="71">
                  <c:v>1213.3093</c:v>
                </c:pt>
                <c:pt idx="72">
                  <c:v>1236.7037</c:v>
                </c:pt>
                <c:pt idx="73">
                  <c:v>1249.7564</c:v>
                </c:pt>
                <c:pt idx="74">
                  <c:v>1242.2268</c:v>
                </c:pt>
                <c:pt idx="75">
                  <c:v>1238.0357</c:v>
                </c:pt>
                <c:pt idx="76">
                  <c:v>1189.3666</c:v>
                </c:pt>
                <c:pt idx="77">
                  <c:v>1184.4511</c:v>
                </c:pt>
                <c:pt idx="78">
                  <c:v>1223.5735</c:v>
                </c:pt>
                <c:pt idx="79">
                  <c:v>1213.7445</c:v>
                </c:pt>
                <c:pt idx="80">
                  <c:v>1226.6799</c:v>
                </c:pt>
                <c:pt idx="81">
                  <c:v>1299.2252</c:v>
                </c:pt>
                <c:pt idx="82">
                  <c:v>1304.3208</c:v>
                </c:pt>
                <c:pt idx="83">
                  <c:v>1296.0373</c:v>
                </c:pt>
                <c:pt idx="84">
                  <c:v>1332.7107</c:v>
                </c:pt>
                <c:pt idx="85">
                  <c:v>1358.6059</c:v>
                </c:pt>
                <c:pt idx="86">
                  <c:v>1345.7529</c:v>
                </c:pt>
                <c:pt idx="87">
                  <c:v>1340.2444</c:v>
                </c:pt>
                <c:pt idx="88">
                  <c:v>1339.8151</c:v>
                </c:pt>
                <c:pt idx="89">
                  <c:v>1361.8312</c:v>
                </c:pt>
                <c:pt idx="90">
                  <c:v>1331.8981</c:v>
                </c:pt>
                <c:pt idx="91">
                  <c:v>1327.9891</c:v>
                </c:pt>
                <c:pt idx="92">
                  <c:v>1311.2646</c:v>
                </c:pt>
                <c:pt idx="93">
                  <c:v>1292.338</c:v>
                </c:pt>
                <c:pt idx="94">
                  <c:v>1286.6086</c:v>
                </c:pt>
                <c:pt idx="95">
                  <c:v>1292.6419</c:v>
                </c:pt>
                <c:pt idx="96">
                  <c:v>1202.3451</c:v>
                </c:pt>
                <c:pt idx="97">
                  <c:v>1219.8691</c:v>
                </c:pt>
                <c:pt idx="98">
                  <c:v>1167.0973</c:v>
                </c:pt>
                <c:pt idx="99">
                  <c:v>1127.0741</c:v>
                </c:pt>
                <c:pt idx="100">
                  <c:v>1072.815</c:v>
                </c:pt>
                <c:pt idx="101">
                  <c:v>1208.7308</c:v>
                </c:pt>
                <c:pt idx="102">
                  <c:v>1232.956</c:v>
                </c:pt>
                <c:pt idx="103">
                  <c:v>1149.7074</c:v>
                </c:pt>
                <c:pt idx="104">
                  <c:v>1156.9572</c:v>
                </c:pt>
              </c:numCache>
            </c:numRef>
          </c:xVal>
          <c:yVal>
            <c:numRef>
              <c:f>Sheet1!$B$2:$B$106</c:f>
              <c:numCache>
                <c:formatCode>General</c:formatCode>
                <c:ptCount val="105"/>
                <c:pt idx="0">
                  <c:v>0.26012847965738756</c:v>
                </c:pt>
                <c:pt idx="1">
                  <c:v>0.27238736212376147</c:v>
                </c:pt>
                <c:pt idx="2">
                  <c:v>0.26337257810327247</c:v>
                </c:pt>
                <c:pt idx="3">
                  <c:v>0.25908312725889293</c:v>
                </c:pt>
                <c:pt idx="4">
                  <c:v>0.2348164988632673</c:v>
                </c:pt>
                <c:pt idx="5">
                  <c:v>0.21423004119808484</c:v>
                </c:pt>
                <c:pt idx="6">
                  <c:v>0.2182611471746302</c:v>
                </c:pt>
                <c:pt idx="7">
                  <c:v>0.20495495495495494</c:v>
                </c:pt>
                <c:pt idx="8">
                  <c:v>0.22227421619092186</c:v>
                </c:pt>
                <c:pt idx="9">
                  <c:v>0.21707438841737395</c:v>
                </c:pt>
                <c:pt idx="10">
                  <c:v>0.23554804804804805</c:v>
                </c:pt>
                <c:pt idx="11">
                  <c:v>0.2366526167896031</c:v>
                </c:pt>
                <c:pt idx="12">
                  <c:v>0.25389600370313226</c:v>
                </c:pt>
                <c:pt idx="13">
                  <c:v>0.2606355270012155</c:v>
                </c:pt>
                <c:pt idx="14">
                  <c:v>0.2704267438603044</c:v>
                </c:pt>
                <c:pt idx="15">
                  <c:v>0.25789701427953265</c:v>
                </c:pt>
                <c:pt idx="16">
                  <c:v>0.22777026196039848</c:v>
                </c:pt>
                <c:pt idx="17">
                  <c:v>0.23955773955773957</c:v>
                </c:pt>
                <c:pt idx="18">
                  <c:v>0.21729383506805444</c:v>
                </c:pt>
                <c:pt idx="19">
                  <c:v>0.1964573268921095</c:v>
                </c:pt>
                <c:pt idx="20">
                  <c:v>0.21371726233540733</c:v>
                </c:pt>
                <c:pt idx="21">
                  <c:v>0.1863013698630137</c:v>
                </c:pt>
                <c:pt idx="22">
                  <c:v>0.1838928706148623</c:v>
                </c:pt>
                <c:pt idx="23">
                  <c:v>0.1673461463793438</c:v>
                </c:pt>
                <c:pt idx="24">
                  <c:v>0.17663092858440851</c:v>
                </c:pt>
                <c:pt idx="25">
                  <c:v>0.16515276630883569</c:v>
                </c:pt>
                <c:pt idx="26">
                  <c:v>0.16782505509408374</c:v>
                </c:pt>
                <c:pt idx="27">
                  <c:v>0.1683377308707124</c:v>
                </c:pt>
                <c:pt idx="28">
                  <c:v>0.16349876803942273</c:v>
                </c:pt>
                <c:pt idx="29">
                  <c:v>0.14938879187172566</c:v>
                </c:pt>
                <c:pt idx="30">
                  <c:v>0.15433070866141732</c:v>
                </c:pt>
                <c:pt idx="31">
                  <c:v>0.13553553553553555</c:v>
                </c:pt>
                <c:pt idx="32">
                  <c:v>0.14569805194805194</c:v>
                </c:pt>
                <c:pt idx="33">
                  <c:v>0.14377110360760617</c:v>
                </c:pt>
                <c:pt idx="34">
                  <c:v>0.16295242611032085</c:v>
                </c:pt>
                <c:pt idx="35">
                  <c:v>0.18948267447535383</c:v>
                </c:pt>
                <c:pt idx="36">
                  <c:v>0.1787432776677045</c:v>
                </c:pt>
                <c:pt idx="37">
                  <c:v>0.15249472944483486</c:v>
                </c:pt>
                <c:pt idx="38">
                  <c:v>0.15046916890080428</c:v>
                </c:pt>
                <c:pt idx="39">
                  <c:v>0.14069506726457398</c:v>
                </c:pt>
                <c:pt idx="40">
                  <c:v>0.1510353227771011</c:v>
                </c:pt>
                <c:pt idx="41">
                  <c:v>0.14417435037720033</c:v>
                </c:pt>
                <c:pt idx="42">
                  <c:v>0.15697020798201236</c:v>
                </c:pt>
                <c:pt idx="43">
                  <c:v>0.17312378167641326</c:v>
                </c:pt>
                <c:pt idx="44">
                  <c:v>0.15548665915069523</c:v>
                </c:pt>
                <c:pt idx="45">
                  <c:v>0.15145937417828031</c:v>
                </c:pt>
                <c:pt idx="46">
                  <c:v>0.1591240875912409</c:v>
                </c:pt>
                <c:pt idx="47">
                  <c:v>0.1676552686671319</c:v>
                </c:pt>
                <c:pt idx="48">
                  <c:v>0.1735267800076697</c:v>
                </c:pt>
                <c:pt idx="49">
                  <c:v>0.2121083647772078</c:v>
                </c:pt>
                <c:pt idx="50">
                  <c:v>0.18334377828842002</c:v>
                </c:pt>
                <c:pt idx="51">
                  <c:v>0.17443813484763657</c:v>
                </c:pt>
                <c:pt idx="52">
                  <c:v>0.19078901874005946</c:v>
                </c:pt>
                <c:pt idx="53">
                  <c:v>0.18180143672867932</c:v>
                </c:pt>
                <c:pt idx="54">
                  <c:v>0.1655494617103392</c:v>
                </c:pt>
                <c:pt idx="55">
                  <c:v>0.17623596095308072</c:v>
                </c:pt>
                <c:pt idx="56">
                  <c:v>0.1935966487133453</c:v>
                </c:pt>
                <c:pt idx="57">
                  <c:v>0.18437865562854314</c:v>
                </c:pt>
                <c:pt idx="58">
                  <c:v>0.1921921921921922</c:v>
                </c:pt>
                <c:pt idx="59">
                  <c:v>0.19312725899552247</c:v>
                </c:pt>
                <c:pt idx="60">
                  <c:v>0.1935066396578888</c:v>
                </c:pt>
                <c:pt idx="61">
                  <c:v>0.18492792590932855</c:v>
                </c:pt>
                <c:pt idx="62">
                  <c:v>0.20797134583142812</c:v>
                </c:pt>
                <c:pt idx="63">
                  <c:v>0.2189074255806346</c:v>
                </c:pt>
                <c:pt idx="64">
                  <c:v>0.2224744608399546</c:v>
                </c:pt>
                <c:pt idx="65">
                  <c:v>0.22872707212798235</c:v>
                </c:pt>
                <c:pt idx="66">
                  <c:v>0.2179420697829469</c:v>
                </c:pt>
                <c:pt idx="67">
                  <c:v>0.21630960608154803</c:v>
                </c:pt>
                <c:pt idx="68">
                  <c:v>0.19613577949127006</c:v>
                </c:pt>
                <c:pt idx="69">
                  <c:v>0.17736670293797607</c:v>
                </c:pt>
                <c:pt idx="70">
                  <c:v>0.1681854885223209</c:v>
                </c:pt>
                <c:pt idx="71">
                  <c:v>0.17558314958802368</c:v>
                </c:pt>
                <c:pt idx="72">
                  <c:v>0.17655571635311143</c:v>
                </c:pt>
                <c:pt idx="73">
                  <c:v>0.1785470280118424</c:v>
                </c:pt>
                <c:pt idx="74">
                  <c:v>0.1659024103468548</c:v>
                </c:pt>
                <c:pt idx="75">
                  <c:v>0.15557404326123128</c:v>
                </c:pt>
                <c:pt idx="76">
                  <c:v>0.1574769053117783</c:v>
                </c:pt>
                <c:pt idx="77">
                  <c:v>0.15460621912234815</c:v>
                </c:pt>
                <c:pt idx="78">
                  <c:v>0.1562448711636304</c:v>
                </c:pt>
                <c:pt idx="79">
                  <c:v>0.15875943000838222</c:v>
                </c:pt>
                <c:pt idx="80">
                  <c:v>0.14628495780241602</c:v>
                </c:pt>
                <c:pt idx="81">
                  <c:v>0.13667796610169491</c:v>
                </c:pt>
                <c:pt idx="82">
                  <c:v>0.1436801084378177</c:v>
                </c:pt>
                <c:pt idx="83">
                  <c:v>0.13094227504244482</c:v>
                </c:pt>
                <c:pt idx="84">
                  <c:v>0.1255043533658951</c:v>
                </c:pt>
                <c:pt idx="85">
                  <c:v>0.11232449297971919</c:v>
                </c:pt>
                <c:pt idx="86">
                  <c:v>0.12296718972895863</c:v>
                </c:pt>
                <c:pt idx="87">
                  <c:v>0.15997935750225778</c:v>
                </c:pt>
                <c:pt idx="88">
                  <c:v>0.1499921222624862</c:v>
                </c:pt>
                <c:pt idx="89">
                  <c:v>0.1237597911227154</c:v>
                </c:pt>
                <c:pt idx="90">
                  <c:v>0.11240379452299983</c:v>
                </c:pt>
                <c:pt idx="91">
                  <c:v>0.13977406845388635</c:v>
                </c:pt>
                <c:pt idx="92">
                  <c:v>0.14038248337028825</c:v>
                </c:pt>
                <c:pt idx="93">
                  <c:v>0.1275278058645096</c:v>
                </c:pt>
                <c:pt idx="94">
                  <c:v>0.12302466400827057</c:v>
                </c:pt>
                <c:pt idx="95">
                  <c:v>0.1428111933097459</c:v>
                </c:pt>
                <c:pt idx="96">
                  <c:v>0.14006570983918382</c:v>
                </c:pt>
                <c:pt idx="97">
                  <c:v>0.13938150373735894</c:v>
                </c:pt>
                <c:pt idx="98">
                  <c:v>0.162250593443254</c:v>
                </c:pt>
                <c:pt idx="99">
                  <c:v>0.16527112086389098</c:v>
                </c:pt>
                <c:pt idx="100">
                  <c:v>0.2001013171225937</c:v>
                </c:pt>
                <c:pt idx="101">
                  <c:v>0.1658822032820252</c:v>
                </c:pt>
                <c:pt idx="102">
                  <c:v>0.13617322936134563</c:v>
                </c:pt>
                <c:pt idx="103">
                  <c:v>0.15280477645098584</c:v>
                </c:pt>
                <c:pt idx="104">
                  <c:v>0.167021924482338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51.9671</c:v>
                </c:pt>
                <c:pt idx="1">
                  <c:v>1272.6494</c:v>
                </c:pt>
                <c:pt idx="2">
                  <c:v>1273.7144</c:v>
                </c:pt>
                <c:pt idx="3">
                  <c:v>1272.1069</c:v>
                </c:pt>
                <c:pt idx="4">
                  <c:v>1251.6705</c:v>
                </c:pt>
                <c:pt idx="5">
                  <c:v>1293.8531</c:v>
                </c:pt>
                <c:pt idx="6">
                  <c:v>1236.3245</c:v>
                </c:pt>
                <c:pt idx="7">
                  <c:v>1200.569</c:v>
                </c:pt>
                <c:pt idx="8">
                  <c:v>1231.1529</c:v>
                </c:pt>
                <c:pt idx="9">
                  <c:v>1112.9883</c:v>
                </c:pt>
                <c:pt idx="10">
                  <c:v>1121.1351</c:v>
                </c:pt>
                <c:pt idx="11">
                  <c:v>1233.9023</c:v>
                </c:pt>
                <c:pt idx="12">
                  <c:v>1177.6031</c:v>
                </c:pt>
                <c:pt idx="13">
                  <c:v>1117.96</c:v>
                </c:pt>
                <c:pt idx="14">
                  <c:v>1212.7448</c:v>
                </c:pt>
                <c:pt idx="15">
                  <c:v>1146.9242</c:v>
                </c:pt>
                <c:pt idx="16">
                  <c:v>1170.3937</c:v>
                </c:pt>
                <c:pt idx="17">
                  <c:v>1118.2818</c:v>
                </c:pt>
                <c:pt idx="18">
                  <c:v>1085.2199</c:v>
                </c:pt>
                <c:pt idx="19">
                  <c:v>1081.292</c:v>
                </c:pt>
                <c:pt idx="20">
                  <c:v>1037.0035</c:v>
                </c:pt>
                <c:pt idx="21">
                  <c:v>1129.6023</c:v>
                </c:pt>
                <c:pt idx="22">
                  <c:v>1158.3785</c:v>
                </c:pt>
                <c:pt idx="23">
                  <c:v>1080.4809</c:v>
                </c:pt>
                <c:pt idx="24">
                  <c:v>1075.2676</c:v>
                </c:pt>
                <c:pt idx="25">
                  <c:v>1090.9566</c:v>
                </c:pt>
                <c:pt idx="26">
                  <c:v>1115.6676</c:v>
                </c:pt>
                <c:pt idx="27">
                  <c:v>1200.7747</c:v>
                </c:pt>
                <c:pt idx="28">
                  <c:v>1298.3181</c:v>
                </c:pt>
                <c:pt idx="29">
                  <c:v>1306.0954</c:v>
                </c:pt>
                <c:pt idx="30">
                  <c:v>1380.2576</c:v>
                </c:pt>
                <c:pt idx="31">
                  <c:v>1355.6533</c:v>
                </c:pt>
                <c:pt idx="32">
                  <c:v>1342.0672</c:v>
                </c:pt>
                <c:pt idx="33">
                  <c:v>1400.2967</c:v>
                </c:pt>
                <c:pt idx="34">
                  <c:v>1439.8929</c:v>
                </c:pt>
                <c:pt idx="35">
                  <c:v>1417.5724</c:v>
                </c:pt>
                <c:pt idx="36">
                  <c:v>1272.4854</c:v>
                </c:pt>
                <c:pt idx="37">
                  <c:v>1308.3391</c:v>
                </c:pt>
                <c:pt idx="38">
                  <c:v>1304.0604</c:v>
                </c:pt>
                <c:pt idx="39">
                  <c:v>1362.1294</c:v>
                </c:pt>
                <c:pt idx="40">
                  <c:v>1371.6543</c:v>
                </c:pt>
                <c:pt idx="41">
                  <c:v>1370.2283</c:v>
                </c:pt>
                <c:pt idx="42">
                  <c:v>1365.7477</c:v>
                </c:pt>
                <c:pt idx="43">
                  <c:v>1346.3663</c:v>
                </c:pt>
                <c:pt idx="44">
                  <c:v>1264.0702</c:v>
                </c:pt>
                <c:pt idx="45">
                  <c:v>1250.7009</c:v>
                </c:pt>
                <c:pt idx="46">
                  <c:v>1203.2856</c:v>
                </c:pt>
                <c:pt idx="47">
                  <c:v>1215.0359</c:v>
                </c:pt>
                <c:pt idx="48">
                  <c:v>1157.8543</c:v>
                </c:pt>
                <c:pt idx="49">
                  <c:v>1137.9812</c:v>
                </c:pt>
                <c:pt idx="50">
                  <c:v>1062.9681</c:v>
                </c:pt>
                <c:pt idx="51">
                  <c:v>1057.8405</c:v>
                </c:pt>
              </c:numCache>
            </c:numRef>
          </c:xVal>
          <c:yVal>
            <c:numRef>
              <c:f>Sheet1!$B$109:$B$160</c:f>
              <c:numCache>
                <c:formatCode>General</c:formatCode>
                <c:ptCount val="52"/>
                <c:pt idx="0">
                  <c:v>0.1769493496112201</c:v>
                </c:pt>
                <c:pt idx="1">
                  <c:v>0.15590686083638347</c:v>
                </c:pt>
                <c:pt idx="2">
                  <c:v>0.16194158075601375</c:v>
                </c:pt>
                <c:pt idx="3">
                  <c:v>0.16526839915421868</c:v>
                </c:pt>
                <c:pt idx="4">
                  <c:v>0.15186813186813186</c:v>
                </c:pt>
                <c:pt idx="5">
                  <c:v>0.13581900197349872</c:v>
                </c:pt>
                <c:pt idx="6">
                  <c:v>0.14691242806035154</c:v>
                </c:pt>
                <c:pt idx="7">
                  <c:v>0.15263437998935603</c:v>
                </c:pt>
                <c:pt idx="8">
                  <c:v>0.15743562795585916</c:v>
                </c:pt>
                <c:pt idx="9">
                  <c:v>0.1817742558948589</c:v>
                </c:pt>
                <c:pt idx="10">
                  <c:v>0.17085878548329142</c:v>
                </c:pt>
                <c:pt idx="11">
                  <c:v>0.17358925143953935</c:v>
                </c:pt>
                <c:pt idx="12">
                  <c:v>0.18205886933499454</c:v>
                </c:pt>
                <c:pt idx="13">
                  <c:v>0.1822017644802455</c:v>
                </c:pt>
                <c:pt idx="14">
                  <c:v>0.17596236099230111</c:v>
                </c:pt>
                <c:pt idx="15">
                  <c:v>0.1706055471327923</c:v>
                </c:pt>
                <c:pt idx="16">
                  <c:v>0.16709664615995237</c:v>
                </c:pt>
                <c:pt idx="17">
                  <c:v>0.16556088598550578</c:v>
                </c:pt>
                <c:pt idx="18">
                  <c:v>0.16476655808903365</c:v>
                </c:pt>
                <c:pt idx="19">
                  <c:v>0.17328439550661773</c:v>
                </c:pt>
                <c:pt idx="20">
                  <c:v>0.17410987397528446</c:v>
                </c:pt>
                <c:pt idx="21">
                  <c:v>0.15474851357865982</c:v>
                </c:pt>
                <c:pt idx="22">
                  <c:v>0.1512164096040706</c:v>
                </c:pt>
                <c:pt idx="23">
                  <c:v>0.1667995535002392</c:v>
                </c:pt>
                <c:pt idx="24">
                  <c:v>0.1742128935532234</c:v>
                </c:pt>
                <c:pt idx="25">
                  <c:v>0.18850393700787402</c:v>
                </c:pt>
                <c:pt idx="26">
                  <c:v>0.17250118802471093</c:v>
                </c:pt>
                <c:pt idx="27">
                  <c:v>0.1400374585794554</c:v>
                </c:pt>
                <c:pt idx="28">
                  <c:v>0.11744658539782409</c:v>
                </c:pt>
                <c:pt idx="29">
                  <c:v>0.10954567041317081</c:v>
                </c:pt>
                <c:pt idx="30">
                  <c:v>0.11512340566506543</c:v>
                </c:pt>
                <c:pt idx="31">
                  <c:v>0.09841628959276018</c:v>
                </c:pt>
                <c:pt idx="32">
                  <c:v>0.09037261844545608</c:v>
                </c:pt>
                <c:pt idx="33">
                  <c:v>0.11124141397218965</c:v>
                </c:pt>
                <c:pt idx="34">
                  <c:v>0.13885104450499547</c:v>
                </c:pt>
                <c:pt idx="35">
                  <c:v>0.15230312035661217</c:v>
                </c:pt>
                <c:pt idx="36">
                  <c:v>0.12056184159188452</c:v>
                </c:pt>
                <c:pt idx="37">
                  <c:v>0.1283714578354387</c:v>
                </c:pt>
                <c:pt idx="38">
                  <c:v>0.11926070038910506</c:v>
                </c:pt>
                <c:pt idx="39">
                  <c:v>0.1382540809084457</c:v>
                </c:pt>
                <c:pt idx="40">
                  <c:v>0.12350984197393956</c:v>
                </c:pt>
                <c:pt idx="41">
                  <c:v>0.1278409090909091</c:v>
                </c:pt>
                <c:pt idx="42">
                  <c:v>0.12382310984308131</c:v>
                </c:pt>
                <c:pt idx="43">
                  <c:v>0.13285699492596045</c:v>
                </c:pt>
                <c:pt idx="44">
                  <c:v>0.13854291076608088</c:v>
                </c:pt>
                <c:pt idx="45">
                  <c:v>0.1601690294438386</c:v>
                </c:pt>
                <c:pt idx="46">
                  <c:v>0.1502052441987099</c:v>
                </c:pt>
                <c:pt idx="47">
                  <c:v>0.15892282958199358</c:v>
                </c:pt>
                <c:pt idx="48">
                  <c:v>0.14972565157750342</c:v>
                </c:pt>
                <c:pt idx="49">
                  <c:v>0.15564247766944947</c:v>
                </c:pt>
                <c:pt idx="50">
                  <c:v>0.20848355529394452</c:v>
                </c:pt>
                <c:pt idx="51">
                  <c:v>0.187917860553963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45.0923858062769</c:v>
                </c:pt>
              </c:numCache>
            </c:numRef>
          </c:xVal>
          <c:yVal>
            <c:numRef>
              <c:f>Sheet1!$B$163:$B$164</c:f>
              <c:numCache>
                <c:formatCode>General</c:formatCode>
                <c:ptCount val="2"/>
                <c:pt idx="0">
                  <c:v>0.23883426728057483</c:v>
                </c:pt>
                <c:pt idx="1">
                  <c:v>0.23883426728057483</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45.0923858062769</c:v>
                </c:pt>
                <c:pt idx="1">
                  <c:v>745.0923858062769</c:v>
                </c:pt>
              </c:numCache>
            </c:numRef>
          </c:xVal>
          <c:yVal>
            <c:numRef>
              <c:f>Sheet1!$B$167:$B$168</c:f>
              <c:numCache>
                <c:formatCode>General</c:formatCode>
                <c:ptCount val="2"/>
                <c:pt idx="0">
                  <c:v>0.2388342672805748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5.0940997205062</c:v>
                </c:pt>
              </c:numCache>
            </c:numRef>
          </c:xVal>
          <c:yVal>
            <c:numRef>
              <c:f>Sheet1!$B$171:$B$172</c:f>
              <c:numCache>
                <c:formatCode>General</c:formatCode>
                <c:ptCount val="2"/>
                <c:pt idx="0">
                  <c:v>0.17544238627371528</c:v>
                </c:pt>
                <c:pt idx="1">
                  <c:v>0.1754423862737152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5.0940997205062</c:v>
                </c:pt>
                <c:pt idx="1">
                  <c:v>1095.0940997205062</c:v>
                </c:pt>
              </c:numCache>
            </c:numRef>
          </c:xVal>
          <c:yVal>
            <c:numRef>
              <c:f>Sheet1!$B$175:$B$176</c:f>
              <c:numCache>
                <c:formatCode>General</c:formatCode>
                <c:ptCount val="2"/>
                <c:pt idx="0">
                  <c:v>0.1754423862737152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33.0641350188582</c:v>
                </c:pt>
              </c:numCache>
            </c:numRef>
          </c:xVal>
          <c:yVal>
            <c:numRef>
              <c:f>Sheet1!$B$179:$B$180</c:f>
              <c:numCache>
                <c:formatCode>General</c:formatCode>
                <c:ptCount val="2"/>
                <c:pt idx="0">
                  <c:v>0.15045342275598617</c:v>
                </c:pt>
                <c:pt idx="1">
                  <c:v>0.1504534227559861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33.0641350188582</c:v>
                </c:pt>
                <c:pt idx="1">
                  <c:v>1233.0641350188582</c:v>
                </c:pt>
              </c:numCache>
            </c:numRef>
          </c:xVal>
          <c:yVal>
            <c:numRef>
              <c:f>Sheet1!$B$183:$B$184</c:f>
              <c:numCache>
                <c:formatCode>General</c:formatCode>
                <c:ptCount val="2"/>
                <c:pt idx="0">
                  <c:v>0.1504534227559861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51.9671</c:v>
                </c:pt>
                <c:pt idx="1">
                  <c:v>1272.6494</c:v>
                </c:pt>
                <c:pt idx="2">
                  <c:v>1273.7144</c:v>
                </c:pt>
                <c:pt idx="3">
                  <c:v>1272.1069</c:v>
                </c:pt>
                <c:pt idx="4">
                  <c:v>1251.6705</c:v>
                </c:pt>
                <c:pt idx="5">
                  <c:v>1293.8531</c:v>
                </c:pt>
                <c:pt idx="6">
                  <c:v>1236.3245</c:v>
                </c:pt>
                <c:pt idx="7">
                  <c:v>1200.569</c:v>
                </c:pt>
                <c:pt idx="8">
                  <c:v>1231.1529</c:v>
                </c:pt>
                <c:pt idx="9">
                  <c:v>1112.9883</c:v>
                </c:pt>
                <c:pt idx="10">
                  <c:v>1121.1351</c:v>
                </c:pt>
                <c:pt idx="11">
                  <c:v>1233.9023</c:v>
                </c:pt>
                <c:pt idx="12">
                  <c:v>1177.6031</c:v>
                </c:pt>
                <c:pt idx="13">
                  <c:v>1117.96</c:v>
                </c:pt>
                <c:pt idx="14">
                  <c:v>1212.7448</c:v>
                </c:pt>
                <c:pt idx="15">
                  <c:v>1146.9242</c:v>
                </c:pt>
                <c:pt idx="16">
                  <c:v>1170.3937</c:v>
                </c:pt>
                <c:pt idx="17">
                  <c:v>1118.2818</c:v>
                </c:pt>
                <c:pt idx="18">
                  <c:v>1085.2199</c:v>
                </c:pt>
                <c:pt idx="19">
                  <c:v>1081.292</c:v>
                </c:pt>
                <c:pt idx="20">
                  <c:v>1037.0035</c:v>
                </c:pt>
                <c:pt idx="21">
                  <c:v>1129.6023</c:v>
                </c:pt>
                <c:pt idx="22">
                  <c:v>1158.3785</c:v>
                </c:pt>
                <c:pt idx="23">
                  <c:v>1080.4809</c:v>
                </c:pt>
                <c:pt idx="24">
                  <c:v>1075.2676</c:v>
                </c:pt>
                <c:pt idx="25">
                  <c:v>1090.9566</c:v>
                </c:pt>
                <c:pt idx="26">
                  <c:v>1115.6676</c:v>
                </c:pt>
                <c:pt idx="27">
                  <c:v>1200.7747</c:v>
                </c:pt>
                <c:pt idx="28">
                  <c:v>1298.3181</c:v>
                </c:pt>
                <c:pt idx="29">
                  <c:v>1306.0954</c:v>
                </c:pt>
                <c:pt idx="30">
                  <c:v>1380.2576</c:v>
                </c:pt>
                <c:pt idx="31">
                  <c:v>1355.6533</c:v>
                </c:pt>
                <c:pt idx="32">
                  <c:v>1342.0672</c:v>
                </c:pt>
                <c:pt idx="33">
                  <c:v>1400.2967</c:v>
                </c:pt>
                <c:pt idx="34">
                  <c:v>1439.8929</c:v>
                </c:pt>
                <c:pt idx="35">
                  <c:v>1417.5724</c:v>
                </c:pt>
                <c:pt idx="36">
                  <c:v>1272.4854</c:v>
                </c:pt>
                <c:pt idx="37">
                  <c:v>1308.3391</c:v>
                </c:pt>
                <c:pt idx="38">
                  <c:v>1304.0604</c:v>
                </c:pt>
                <c:pt idx="39">
                  <c:v>1362.1294</c:v>
                </c:pt>
                <c:pt idx="40">
                  <c:v>1371.6543</c:v>
                </c:pt>
                <c:pt idx="41">
                  <c:v>1370.2283</c:v>
                </c:pt>
                <c:pt idx="42">
                  <c:v>1365.7477</c:v>
                </c:pt>
                <c:pt idx="43">
                  <c:v>1346.3663</c:v>
                </c:pt>
                <c:pt idx="44">
                  <c:v>1264.0702</c:v>
                </c:pt>
                <c:pt idx="45">
                  <c:v>1250.7009</c:v>
                </c:pt>
                <c:pt idx="46">
                  <c:v>1203.2856</c:v>
                </c:pt>
                <c:pt idx="47">
                  <c:v>1215.0359</c:v>
                </c:pt>
                <c:pt idx="48">
                  <c:v>1157.8543</c:v>
                </c:pt>
                <c:pt idx="49">
                  <c:v>1137.9812</c:v>
                </c:pt>
                <c:pt idx="50">
                  <c:v>1062.9681</c:v>
                </c:pt>
                <c:pt idx="51">
                  <c:v>1057.8405</c:v>
                </c:pt>
                <c:pt idx="52">
                  <c:v>1095.0940997205062</c:v>
                </c:pt>
                <c:pt idx="53">
                  <c:v>745.0923858062769</c:v>
                </c:pt>
                <c:pt idx="54">
                  <c:v>1233.0641350188582</c:v>
                </c:pt>
              </c:numCache>
            </c:numRef>
          </c:xVal>
          <c:yVal>
            <c:numRef>
              <c:f>Sheet1!$B$187:$B$241</c:f>
              <c:numCache>
                <c:formatCode>General</c:formatCode>
                <c:ptCount val="55"/>
                <c:pt idx="0">
                  <c:v>0.14702974093065937</c:v>
                </c:pt>
                <c:pt idx="1">
                  <c:v>0.14328378812978404</c:v>
                </c:pt>
                <c:pt idx="2">
                  <c:v>0.1430908966364331</c:v>
                </c:pt>
                <c:pt idx="3">
                  <c:v>0.14338204506419053</c:v>
                </c:pt>
                <c:pt idx="4">
                  <c:v>0.1470834607587607</c:v>
                </c:pt>
                <c:pt idx="5">
                  <c:v>0.13944340000061464</c:v>
                </c:pt>
                <c:pt idx="6">
                  <c:v>0.14986290945074526</c:v>
                </c:pt>
                <c:pt idx="7">
                  <c:v>0.15633890174230364</c:v>
                </c:pt>
                <c:pt idx="8">
                  <c:v>0.1507995832977065</c:v>
                </c:pt>
                <c:pt idx="9">
                  <c:v>0.17220141067349704</c:v>
                </c:pt>
                <c:pt idx="10">
                  <c:v>0.17072587225281022</c:v>
                </c:pt>
                <c:pt idx="11">
                  <c:v>0.1503016153429468</c:v>
                </c:pt>
                <c:pt idx="12">
                  <c:v>0.1604984573734289</c:v>
                </c:pt>
                <c:pt idx="13">
                  <c:v>0.17130094246927835</c:v>
                </c:pt>
                <c:pt idx="14">
                  <c:v>0.15413363578479902</c:v>
                </c:pt>
                <c:pt idx="15">
                  <c:v>0.1660549821014705</c:v>
                </c:pt>
                <c:pt idx="16">
                  <c:v>0.16180421505621229</c:v>
                </c:pt>
                <c:pt idx="17">
                  <c:v>0.17124265844809497</c:v>
                </c:pt>
                <c:pt idx="18">
                  <c:v>0.17723078921243257</c:v>
                </c:pt>
                <c:pt idx="19">
                  <c:v>0.17794220564129</c:v>
                </c:pt>
                <c:pt idx="20">
                  <c:v>0.1859636844237062</c:v>
                </c:pt>
                <c:pt idx="21">
                  <c:v>0.16919230337722233</c:v>
                </c:pt>
                <c:pt idx="22">
                  <c:v>0.16398039333875714</c:v>
                </c:pt>
                <c:pt idx="23">
                  <c:v>0.17808911107815098</c:v>
                </c:pt>
                <c:pt idx="24">
                  <c:v>0.1790333375779505</c:v>
                </c:pt>
                <c:pt idx="25">
                  <c:v>0.1761917651467928</c:v>
                </c:pt>
                <c:pt idx="26">
                  <c:v>0.1717161391447316</c:v>
                </c:pt>
                <c:pt idx="27">
                  <c:v>0.15630164561067708</c:v>
                </c:pt>
                <c:pt idx="28">
                  <c:v>0.1386347046787255</c:v>
                </c:pt>
                <c:pt idx="29">
                  <c:v>0.13722608964469893</c:v>
                </c:pt>
                <c:pt idx="30">
                  <c:v>0.12379392297034086</c:v>
                </c:pt>
                <c:pt idx="31">
                  <c:v>0.12825022359931235</c:v>
                </c:pt>
                <c:pt idx="32">
                  <c:v>0.13071092136251916</c:v>
                </c:pt>
                <c:pt idx="33">
                  <c:v>0.1201644657643231</c:v>
                </c:pt>
                <c:pt idx="34">
                  <c:v>0.11299285060092157</c:v>
                </c:pt>
                <c:pt idx="35">
                  <c:v>0.11703551217588848</c:v>
                </c:pt>
                <c:pt idx="36">
                  <c:v>0.14331349160857237</c:v>
                </c:pt>
                <c:pt idx="37">
                  <c:v>0.13681971345349564</c:v>
                </c:pt>
                <c:pt idx="38">
                  <c:v>0.13759466634795636</c:v>
                </c:pt>
                <c:pt idx="39">
                  <c:v>0.1270772803128428</c:v>
                </c:pt>
                <c:pt idx="40">
                  <c:v>0.1253521421109476</c:v>
                </c:pt>
                <c:pt idx="41">
                  <c:v>0.12561041748138746</c:v>
                </c:pt>
                <c:pt idx="42">
                  <c:v>0.12642193825613698</c:v>
                </c:pt>
                <c:pt idx="43">
                  <c:v>0.1299322736450872</c:v>
                </c:pt>
                <c:pt idx="44">
                  <c:v>0.14483764230795906</c:v>
                </c:pt>
                <c:pt idx="45">
                  <c:v>0.1472590735211579</c:v>
                </c:pt>
                <c:pt idx="46">
                  <c:v>0.1558468744833016</c:v>
                </c:pt>
                <c:pt idx="47">
                  <c:v>0.1537186745637508</c:v>
                </c:pt>
                <c:pt idx="48">
                  <c:v>0.1640753357996159</c:v>
                </c:pt>
                <c:pt idx="49">
                  <c:v>0.1676747272892991</c:v>
                </c:pt>
                <c:pt idx="50">
                  <c:v>0.1812610079276875</c:v>
                </c:pt>
                <c:pt idx="51">
                  <c:v>0.1821897125486324</c:v>
                </c:pt>
                <c:pt idx="52">
                  <c:v>0.17544238627371528</c:v>
                </c:pt>
                <c:pt idx="53">
                  <c:v>0.23883426728057483</c:v>
                </c:pt>
                <c:pt idx="54">
                  <c:v>0.1504534227559861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28.0"/>
          <c:min val="59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268648345485137"/>
          <c:min val="0.072298094756364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0.9649</c:v>
                </c:pt>
                <c:pt idx="1">
                  <c:v>928.4678</c:v>
                </c:pt>
                <c:pt idx="2">
                  <c:v>959.7368</c:v>
                </c:pt>
                <c:pt idx="3">
                  <c:v>974.6467</c:v>
                </c:pt>
                <c:pt idx="4">
                  <c:v>976.5567</c:v>
                </c:pt>
                <c:pt idx="5">
                  <c:v>966.021</c:v>
                </c:pt>
                <c:pt idx="6">
                  <c:v>918.2461</c:v>
                </c:pt>
                <c:pt idx="7">
                  <c:v>927.3892</c:v>
                </c:pt>
                <c:pt idx="8">
                  <c:v>934.7932</c:v>
                </c:pt>
                <c:pt idx="9">
                  <c:v>909.614</c:v>
                </c:pt>
                <c:pt idx="10">
                  <c:v>909.6179</c:v>
                </c:pt>
                <c:pt idx="11">
                  <c:v>984.8659</c:v>
                </c:pt>
                <c:pt idx="12">
                  <c:v>989.9533</c:v>
                </c:pt>
                <c:pt idx="13">
                  <c:v>991.3402</c:v>
                </c:pt>
                <c:pt idx="14">
                  <c:v>1020.1416</c:v>
                </c:pt>
                <c:pt idx="15">
                  <c:v>1049.487</c:v>
                </c:pt>
                <c:pt idx="16">
                  <c:v>1075.898</c:v>
                </c:pt>
                <c:pt idx="17">
                  <c:v>1096.2093</c:v>
                </c:pt>
                <c:pt idx="18">
                  <c:v>1159.0802</c:v>
                </c:pt>
                <c:pt idx="19">
                  <c:v>1138.0777</c:v>
                </c:pt>
                <c:pt idx="20">
                  <c:v>1170.685</c:v>
                </c:pt>
                <c:pt idx="21">
                  <c:v>1166.6559</c:v>
                </c:pt>
                <c:pt idx="22">
                  <c:v>1085.2269</c:v>
                </c:pt>
                <c:pt idx="23">
                  <c:v>1083.0296</c:v>
                </c:pt>
                <c:pt idx="24">
                  <c:v>1081.7378</c:v>
                </c:pt>
                <c:pt idx="25">
                  <c:v>1052.9221</c:v>
                </c:pt>
                <c:pt idx="26">
                  <c:v>1041.4772</c:v>
                </c:pt>
                <c:pt idx="27">
                  <c:v>1054.8525</c:v>
                </c:pt>
                <c:pt idx="28">
                  <c:v>1060.2894</c:v>
                </c:pt>
                <c:pt idx="29">
                  <c:v>1042.034</c:v>
                </c:pt>
                <c:pt idx="30">
                  <c:v>1043.2286</c:v>
                </c:pt>
                <c:pt idx="31">
                  <c:v>1006.2548</c:v>
                </c:pt>
                <c:pt idx="32">
                  <c:v>995.7988</c:v>
                </c:pt>
                <c:pt idx="33">
                  <c:v>947.5323</c:v>
                </c:pt>
                <c:pt idx="34">
                  <c:v>979.3525</c:v>
                </c:pt>
                <c:pt idx="35">
                  <c:v>1008.8881</c:v>
                </c:pt>
                <c:pt idx="36">
                  <c:v>1102.3571</c:v>
                </c:pt>
                <c:pt idx="37">
                  <c:v>1108.5683</c:v>
                </c:pt>
                <c:pt idx="38">
                  <c:v>1167.5556</c:v>
                </c:pt>
                <c:pt idx="39">
                  <c:v>1182.3456</c:v>
                </c:pt>
                <c:pt idx="40">
                  <c:v>1167.3691</c:v>
                </c:pt>
                <c:pt idx="41">
                  <c:v>1220.7151</c:v>
                </c:pt>
                <c:pt idx="42">
                  <c:v>1243.0914</c:v>
                </c:pt>
                <c:pt idx="43">
                  <c:v>1252.9821</c:v>
                </c:pt>
                <c:pt idx="44">
                  <c:v>1186.966</c:v>
                </c:pt>
                <c:pt idx="45">
                  <c:v>1159.222</c:v>
                </c:pt>
                <c:pt idx="46">
                  <c:v>1146.841</c:v>
                </c:pt>
                <c:pt idx="47">
                  <c:v>1133.2437</c:v>
                </c:pt>
                <c:pt idx="48">
                  <c:v>1142.2846</c:v>
                </c:pt>
                <c:pt idx="49">
                  <c:v>1101.4072</c:v>
                </c:pt>
                <c:pt idx="50">
                  <c:v>1108.7737</c:v>
                </c:pt>
                <c:pt idx="51">
                  <c:v>1133.6079</c:v>
                </c:pt>
                <c:pt idx="52">
                  <c:v>1128.4868</c:v>
                </c:pt>
                <c:pt idx="53">
                  <c:v>1194.3371</c:v>
                </c:pt>
                <c:pt idx="54">
                  <c:v>1180.4848</c:v>
                </c:pt>
                <c:pt idx="55">
                  <c:v>1208.9673</c:v>
                </c:pt>
                <c:pt idx="56">
                  <c:v>1218.1888</c:v>
                </c:pt>
                <c:pt idx="57">
                  <c:v>1181.1963</c:v>
                </c:pt>
                <c:pt idx="58">
                  <c:v>1181.1467</c:v>
                </c:pt>
                <c:pt idx="59">
                  <c:v>1147.4411</c:v>
                </c:pt>
                <c:pt idx="60">
                  <c:v>1169.7636</c:v>
                </c:pt>
                <c:pt idx="61">
                  <c:v>1216.3485</c:v>
                </c:pt>
                <c:pt idx="62">
                  <c:v>1163.1764</c:v>
                </c:pt>
                <c:pt idx="63">
                  <c:v>1180.9111</c:v>
                </c:pt>
                <c:pt idx="64">
                  <c:v>1194.7289</c:v>
                </c:pt>
                <c:pt idx="65">
                  <c:v>1188.3899</c:v>
                </c:pt>
                <c:pt idx="66">
                  <c:v>1212.8067</c:v>
                </c:pt>
                <c:pt idx="67">
                  <c:v>1224.5645</c:v>
                </c:pt>
                <c:pt idx="68">
                  <c:v>1251.9316</c:v>
                </c:pt>
                <c:pt idx="69">
                  <c:v>1273.418</c:v>
                </c:pt>
                <c:pt idx="70">
                  <c:v>1262.0358</c:v>
                </c:pt>
                <c:pt idx="71">
                  <c:v>1322.3283</c:v>
                </c:pt>
                <c:pt idx="72">
                  <c:v>1400.2822</c:v>
                </c:pt>
                <c:pt idx="73">
                  <c:v>1370.2011</c:v>
                </c:pt>
                <c:pt idx="74">
                  <c:v>1363.2744</c:v>
                </c:pt>
                <c:pt idx="75">
                  <c:v>1300.6832</c:v>
                </c:pt>
                <c:pt idx="76">
                  <c:v>1283.7743</c:v>
                </c:pt>
                <c:pt idx="77">
                  <c:v>1271.4025</c:v>
                </c:pt>
                <c:pt idx="78">
                  <c:v>1374.1553</c:v>
                </c:pt>
                <c:pt idx="79">
                  <c:v>1342.1552</c:v>
                </c:pt>
                <c:pt idx="80">
                  <c:v>1352.6839</c:v>
                </c:pt>
                <c:pt idx="81">
                  <c:v>1309.4034</c:v>
                </c:pt>
                <c:pt idx="82">
                  <c:v>1330.0979</c:v>
                </c:pt>
                <c:pt idx="83">
                  <c:v>1259.5536</c:v>
                </c:pt>
                <c:pt idx="84">
                  <c:v>1290.4389</c:v>
                </c:pt>
                <c:pt idx="85">
                  <c:v>1280.1736</c:v>
                </c:pt>
                <c:pt idx="86">
                  <c:v>1308.1539</c:v>
                </c:pt>
                <c:pt idx="87">
                  <c:v>1291.2414</c:v>
                </c:pt>
                <c:pt idx="88">
                  <c:v>1350.6135</c:v>
                </c:pt>
                <c:pt idx="89">
                  <c:v>1344.1138</c:v>
                </c:pt>
                <c:pt idx="90">
                  <c:v>1388.2257</c:v>
                </c:pt>
                <c:pt idx="91">
                  <c:v>1388.1449</c:v>
                </c:pt>
                <c:pt idx="92">
                  <c:v>1299.5861</c:v>
                </c:pt>
                <c:pt idx="93">
                  <c:v>1349.0512</c:v>
                </c:pt>
                <c:pt idx="94">
                  <c:v>1295.1076</c:v>
                </c:pt>
                <c:pt idx="95">
                  <c:v>1256.0828</c:v>
                </c:pt>
                <c:pt idx="96">
                  <c:v>1272.3531</c:v>
                </c:pt>
                <c:pt idx="97">
                  <c:v>1248.1395</c:v>
                </c:pt>
                <c:pt idx="98">
                  <c:v>1225.6673</c:v>
                </c:pt>
                <c:pt idx="99">
                  <c:v>1189.0283</c:v>
                </c:pt>
                <c:pt idx="100">
                  <c:v>1180.1546</c:v>
                </c:pt>
                <c:pt idx="101">
                  <c:v>1184.3651</c:v>
                </c:pt>
                <c:pt idx="102">
                  <c:v>1203.2064</c:v>
                </c:pt>
                <c:pt idx="103">
                  <c:v>1208.6123</c:v>
                </c:pt>
                <c:pt idx="104">
                  <c:v>1268.0604</c:v>
                </c:pt>
              </c:numCache>
            </c:numRef>
          </c:xVal>
          <c:yVal>
            <c:numRef>
              <c:f>Sheet1!$B$2:$B$106</c:f>
              <c:numCache>
                <c:formatCode>General</c:formatCode>
                <c:ptCount val="105"/>
                <c:pt idx="0">
                  <c:v>0.4122219564697441</c:v>
                </c:pt>
                <c:pt idx="1">
                  <c:v>0.4575744740928985</c:v>
                </c:pt>
                <c:pt idx="2">
                  <c:v>0.49476552416463504</c:v>
                </c:pt>
                <c:pt idx="3">
                  <c:v>0.5041126225877887</c:v>
                </c:pt>
                <c:pt idx="4">
                  <c:v>0.4909317211948791</c:v>
                </c:pt>
                <c:pt idx="5">
                  <c:v>0.4645214521452145</c:v>
                </c:pt>
                <c:pt idx="6">
                  <c:v>0.4800604229607251</c:v>
                </c:pt>
                <c:pt idx="7">
                  <c:v>0.5052130967623926</c:v>
                </c:pt>
                <c:pt idx="8">
                  <c:v>0.4849351639969489</c:v>
                </c:pt>
                <c:pt idx="9">
                  <c:v>0.4531850086081314</c:v>
                </c:pt>
                <c:pt idx="10">
                  <c:v>0.4355716878402904</c:v>
                </c:pt>
                <c:pt idx="11">
                  <c:v>0.3866916087653661</c:v>
                </c:pt>
                <c:pt idx="12">
                  <c:v>0.36869308392813194</c:v>
                </c:pt>
                <c:pt idx="13">
                  <c:v>0.3492238112700159</c:v>
                </c:pt>
                <c:pt idx="14">
                  <c:v>0.32484937907291284</c:v>
                </c:pt>
                <c:pt idx="15">
                  <c:v>0.32006172839506175</c:v>
                </c:pt>
                <c:pt idx="16">
                  <c:v>0.29603977979044577</c:v>
                </c:pt>
                <c:pt idx="17">
                  <c:v>0.2994760177347844</c:v>
                </c:pt>
                <c:pt idx="18">
                  <c:v>0.27577554744525545</c:v>
                </c:pt>
                <c:pt idx="19">
                  <c:v>0.2894243641231593</c:v>
                </c:pt>
                <c:pt idx="20">
                  <c:v>0.28587269904635176</c:v>
                </c:pt>
                <c:pt idx="21">
                  <c:v>0.3412604042806183</c:v>
                </c:pt>
                <c:pt idx="22">
                  <c:v>0.412086409625376</c:v>
                </c:pt>
                <c:pt idx="23">
                  <c:v>0.42009264620729586</c:v>
                </c:pt>
                <c:pt idx="24">
                  <c:v>0.44516653127538586</c:v>
                </c:pt>
                <c:pt idx="25">
                  <c:v>0.44539093398235474</c:v>
                </c:pt>
                <c:pt idx="26">
                  <c:v>0.45406961528395706</c:v>
                </c:pt>
                <c:pt idx="27">
                  <c:v>0.43562179330564377</c:v>
                </c:pt>
                <c:pt idx="28">
                  <c:v>0.4154929577464789</c:v>
                </c:pt>
                <c:pt idx="29">
                  <c:v>0.4201169590643275</c:v>
                </c:pt>
                <c:pt idx="30">
                  <c:v>0.42677211482132393</c:v>
                </c:pt>
                <c:pt idx="31">
                  <c:v>0.44349267753523075</c:v>
                </c:pt>
                <c:pt idx="32">
                  <c:v>0.46293706293706294</c:v>
                </c:pt>
                <c:pt idx="33">
                  <c:v>0.4669873196327066</c:v>
                </c:pt>
                <c:pt idx="34">
                  <c:v>0.42886291968094975</c:v>
                </c:pt>
                <c:pt idx="35">
                  <c:v>0.41145750909954104</c:v>
                </c:pt>
                <c:pt idx="36">
                  <c:v>0.3726595530501309</c:v>
                </c:pt>
                <c:pt idx="37">
                  <c:v>0.3789173789173789</c:v>
                </c:pt>
                <c:pt idx="38">
                  <c:v>0.3680798004987531</c:v>
                </c:pt>
                <c:pt idx="39">
                  <c:v>0.3550706033376123</c:v>
                </c:pt>
                <c:pt idx="40">
                  <c:v>0.36861846217962074</c:v>
                </c:pt>
                <c:pt idx="41">
                  <c:v>0.36113090995485864</c:v>
                </c:pt>
                <c:pt idx="42">
                  <c:v>0.3616153375484397</c:v>
                </c:pt>
                <c:pt idx="43">
                  <c:v>0.35259259259259257</c:v>
                </c:pt>
                <c:pt idx="44">
                  <c:v>0.33795454545454545</c:v>
                </c:pt>
                <c:pt idx="45">
                  <c:v>0.3405964454262476</c:v>
                </c:pt>
                <c:pt idx="46">
                  <c:v>0.34828366283072687</c:v>
                </c:pt>
                <c:pt idx="47">
                  <c:v>0.3353148614609572</c:v>
                </c:pt>
                <c:pt idx="48">
                  <c:v>0.3398497337515501</c:v>
                </c:pt>
                <c:pt idx="49">
                  <c:v>0.3609284919591383</c:v>
                </c:pt>
                <c:pt idx="50">
                  <c:v>0.34944877111358347</c:v>
                </c:pt>
                <c:pt idx="51">
                  <c:v>0.3475601648716926</c:v>
                </c:pt>
                <c:pt idx="52">
                  <c:v>0.36118838322020697</c:v>
                </c:pt>
                <c:pt idx="53">
                  <c:v>0.3653656474566718</c:v>
                </c:pt>
                <c:pt idx="54">
                  <c:v>0.3803268183274591</c:v>
                </c:pt>
                <c:pt idx="55">
                  <c:v>0.3718364698247891</c:v>
                </c:pt>
                <c:pt idx="56">
                  <c:v>0.3866995073891626</c:v>
                </c:pt>
                <c:pt idx="57">
                  <c:v>0.38408820023837903</c:v>
                </c:pt>
                <c:pt idx="58">
                  <c:v>0.3851921274601687</c:v>
                </c:pt>
                <c:pt idx="59">
                  <c:v>0.4010805248263442</c:v>
                </c:pt>
                <c:pt idx="60">
                  <c:v>0.4094823507144885</c:v>
                </c:pt>
                <c:pt idx="61">
                  <c:v>0.39182215164747913</c:v>
                </c:pt>
                <c:pt idx="62">
                  <c:v>0.3949877750611247</c:v>
                </c:pt>
                <c:pt idx="63">
                  <c:v>0.4114875476778102</c:v>
                </c:pt>
                <c:pt idx="64">
                  <c:v>0.3671306877207563</c:v>
                </c:pt>
                <c:pt idx="65">
                  <c:v>0.3417593528816987</c:v>
                </c:pt>
                <c:pt idx="66">
                  <c:v>0.34050348658551</c:v>
                </c:pt>
                <c:pt idx="67">
                  <c:v>0.3321290322580645</c:v>
                </c:pt>
                <c:pt idx="68">
                  <c:v>0.32402055234425176</c:v>
                </c:pt>
                <c:pt idx="69">
                  <c:v>0.31514657980456023</c:v>
                </c:pt>
                <c:pt idx="70">
                  <c:v>0.3166468017481128</c:v>
                </c:pt>
                <c:pt idx="71">
                  <c:v>0.33052199680875316</c:v>
                </c:pt>
                <c:pt idx="72">
                  <c:v>0.3088602329450915</c:v>
                </c:pt>
                <c:pt idx="73">
                  <c:v>0.33105076741440376</c:v>
                </c:pt>
                <c:pt idx="74">
                  <c:v>0.3293321693583588</c:v>
                </c:pt>
                <c:pt idx="75">
                  <c:v>0.344019728729963</c:v>
                </c:pt>
                <c:pt idx="76">
                  <c:v>0.3415359653866955</c:v>
                </c:pt>
                <c:pt idx="77">
                  <c:v>0.34570699914990083</c:v>
                </c:pt>
                <c:pt idx="78">
                  <c:v>0.3243585682610073</c:v>
                </c:pt>
                <c:pt idx="79">
                  <c:v>0.31251815277374384</c:v>
                </c:pt>
                <c:pt idx="80">
                  <c:v>0.29278523489932884</c:v>
                </c:pt>
                <c:pt idx="81">
                  <c:v>0.30329008341056535</c:v>
                </c:pt>
                <c:pt idx="82">
                  <c:v>0.3128063725490196</c:v>
                </c:pt>
                <c:pt idx="83">
                  <c:v>0.3169877408056042</c:v>
                </c:pt>
                <c:pt idx="84">
                  <c:v>0.3171667829727844</c:v>
                </c:pt>
                <c:pt idx="85">
                  <c:v>0.3261065943992773</c:v>
                </c:pt>
                <c:pt idx="86">
                  <c:v>0.31790258885476086</c:v>
                </c:pt>
                <c:pt idx="87">
                  <c:v>0.33300414773849496</c:v>
                </c:pt>
                <c:pt idx="88">
                  <c:v>0.32550247977029495</c:v>
                </c:pt>
                <c:pt idx="89">
                  <c:v>0.3350208457415128</c:v>
                </c:pt>
                <c:pt idx="90">
                  <c:v>0.32857142857142857</c:v>
                </c:pt>
                <c:pt idx="91">
                  <c:v>0.30036518563603165</c:v>
                </c:pt>
                <c:pt idx="92">
                  <c:v>0.30674157303370786</c:v>
                </c:pt>
                <c:pt idx="93">
                  <c:v>0.29623213512343005</c:v>
                </c:pt>
                <c:pt idx="94">
                  <c:v>0.30102405334603477</c:v>
                </c:pt>
                <c:pt idx="95">
                  <c:v>0.30139616055846424</c:v>
                </c:pt>
                <c:pt idx="96">
                  <c:v>0.3043998087039694</c:v>
                </c:pt>
                <c:pt idx="97">
                  <c:v>0.30493638676844786</c:v>
                </c:pt>
                <c:pt idx="98">
                  <c:v>0.3089509994693083</c:v>
                </c:pt>
                <c:pt idx="99">
                  <c:v>0.31196711327649207</c:v>
                </c:pt>
                <c:pt idx="100">
                  <c:v>0.31757174144999156</c:v>
                </c:pt>
                <c:pt idx="101">
                  <c:v>0.3358239508700102</c:v>
                </c:pt>
                <c:pt idx="102">
                  <c:v>0.32883741386893417</c:v>
                </c:pt>
                <c:pt idx="103">
                  <c:v>0.2956072971675468</c:v>
                </c:pt>
                <c:pt idx="104">
                  <c:v>0.298840452076911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82.4767</c:v>
                </c:pt>
                <c:pt idx="1">
                  <c:v>1282.6729</c:v>
                </c:pt>
                <c:pt idx="2">
                  <c:v>1289.6809</c:v>
                </c:pt>
                <c:pt idx="3">
                  <c:v>1311.4037</c:v>
                </c:pt>
                <c:pt idx="4">
                  <c:v>1304.059</c:v>
                </c:pt>
                <c:pt idx="5">
                  <c:v>1285.8596</c:v>
                </c:pt>
                <c:pt idx="6">
                  <c:v>1177.6417</c:v>
                </c:pt>
                <c:pt idx="7">
                  <c:v>1248.4556</c:v>
                </c:pt>
                <c:pt idx="8">
                  <c:v>1292.7431</c:v>
                </c:pt>
                <c:pt idx="9">
                  <c:v>1239.8309</c:v>
                </c:pt>
                <c:pt idx="10">
                  <c:v>1280.3292</c:v>
                </c:pt>
                <c:pt idx="11">
                  <c:v>1103.5442</c:v>
                </c:pt>
                <c:pt idx="12">
                  <c:v>1165.5133</c:v>
                </c:pt>
                <c:pt idx="13">
                  <c:v>1245.8134</c:v>
                </c:pt>
                <c:pt idx="14">
                  <c:v>1205.4854</c:v>
                </c:pt>
                <c:pt idx="15">
                  <c:v>1243.4534</c:v>
                </c:pt>
                <c:pt idx="16">
                  <c:v>1285.3077</c:v>
                </c:pt>
                <c:pt idx="17">
                  <c:v>1262.392</c:v>
                </c:pt>
                <c:pt idx="18">
                  <c:v>1173.4408</c:v>
                </c:pt>
                <c:pt idx="19">
                  <c:v>1299.2262</c:v>
                </c:pt>
                <c:pt idx="20">
                  <c:v>1303.806</c:v>
                </c:pt>
                <c:pt idx="21">
                  <c:v>1178.9514</c:v>
                </c:pt>
                <c:pt idx="22">
                  <c:v>1265.0783</c:v>
                </c:pt>
                <c:pt idx="23">
                  <c:v>1286.6513</c:v>
                </c:pt>
                <c:pt idx="24">
                  <c:v>1304.7705</c:v>
                </c:pt>
                <c:pt idx="25">
                  <c:v>1283.9648</c:v>
                </c:pt>
                <c:pt idx="26">
                  <c:v>1290.2794</c:v>
                </c:pt>
                <c:pt idx="27">
                  <c:v>1290.0954</c:v>
                </c:pt>
                <c:pt idx="28">
                  <c:v>1316.5141</c:v>
                </c:pt>
                <c:pt idx="29">
                  <c:v>1331.4581</c:v>
                </c:pt>
                <c:pt idx="30">
                  <c:v>1299.9428</c:v>
                </c:pt>
                <c:pt idx="31">
                  <c:v>1275.3051</c:v>
                </c:pt>
                <c:pt idx="32">
                  <c:v>1301.9955</c:v>
                </c:pt>
                <c:pt idx="33">
                  <c:v>1313.5222</c:v>
                </c:pt>
                <c:pt idx="34">
                  <c:v>1330.0522</c:v>
                </c:pt>
                <c:pt idx="35">
                  <c:v>1348.4556</c:v>
                </c:pt>
                <c:pt idx="36">
                  <c:v>1375.6422</c:v>
                </c:pt>
                <c:pt idx="37">
                  <c:v>1341.8975</c:v>
                </c:pt>
                <c:pt idx="38">
                  <c:v>1377.9513</c:v>
                </c:pt>
                <c:pt idx="39">
                  <c:v>1316.3006</c:v>
                </c:pt>
                <c:pt idx="40">
                  <c:v>1358.602</c:v>
                </c:pt>
                <c:pt idx="41">
                  <c:v>1381.7271</c:v>
                </c:pt>
                <c:pt idx="42">
                  <c:v>1357.4954</c:v>
                </c:pt>
                <c:pt idx="43">
                  <c:v>1377.3759</c:v>
                </c:pt>
                <c:pt idx="44">
                  <c:v>1294.0245</c:v>
                </c:pt>
                <c:pt idx="45">
                  <c:v>1249.4546</c:v>
                </c:pt>
                <c:pt idx="46">
                  <c:v>1245.4123</c:v>
                </c:pt>
                <c:pt idx="47">
                  <c:v>1205.7996</c:v>
                </c:pt>
                <c:pt idx="48">
                  <c:v>1204.8154</c:v>
                </c:pt>
                <c:pt idx="49">
                  <c:v>1230.7839</c:v>
                </c:pt>
                <c:pt idx="50">
                  <c:v>1179.636</c:v>
                </c:pt>
                <c:pt idx="51">
                  <c:v>1128.7707</c:v>
                </c:pt>
              </c:numCache>
            </c:numRef>
          </c:xVal>
          <c:yVal>
            <c:numRef>
              <c:f>Sheet1!$B$109:$B$160</c:f>
              <c:numCache>
                <c:formatCode>General</c:formatCode>
                <c:ptCount val="52"/>
                <c:pt idx="0">
                  <c:v>0.31237458193979933</c:v>
                </c:pt>
                <c:pt idx="1">
                  <c:v>0.32443181818181815</c:v>
                </c:pt>
                <c:pt idx="2">
                  <c:v>0.33044856167723063</c:v>
                </c:pt>
                <c:pt idx="3">
                  <c:v>0.3529641185647426</c:v>
                </c:pt>
                <c:pt idx="4">
                  <c:v>0.34754054416298086</c:v>
                </c:pt>
                <c:pt idx="5">
                  <c:v>0.3389429397843807</c:v>
                </c:pt>
                <c:pt idx="6">
                  <c:v>0.35547283936256835</c:v>
                </c:pt>
                <c:pt idx="7">
                  <c:v>0.3351046698872786</c:v>
                </c:pt>
                <c:pt idx="8">
                  <c:v>0.3382022471910112</c:v>
                </c:pt>
                <c:pt idx="9">
                  <c:v>0.34418761599460096</c:v>
                </c:pt>
                <c:pt idx="10">
                  <c:v>0.33174577106257186</c:v>
                </c:pt>
                <c:pt idx="11">
                  <c:v>0.34265113699389904</c:v>
                </c:pt>
                <c:pt idx="12">
                  <c:v>0.3428795606120047</c:v>
                </c:pt>
                <c:pt idx="13">
                  <c:v>0.3516770727457529</c:v>
                </c:pt>
                <c:pt idx="14">
                  <c:v>0.35795454545454547</c:v>
                </c:pt>
                <c:pt idx="15">
                  <c:v>0.3407821229050279</c:v>
                </c:pt>
                <c:pt idx="16">
                  <c:v>0.3192142418661756</c:v>
                </c:pt>
                <c:pt idx="17">
                  <c:v>0.32514944491887277</c:v>
                </c:pt>
                <c:pt idx="18">
                  <c:v>0.34109263657957245</c:v>
                </c:pt>
                <c:pt idx="19">
                  <c:v>0.3400293973542381</c:v>
                </c:pt>
                <c:pt idx="20">
                  <c:v>0.34190966266437967</c:v>
                </c:pt>
                <c:pt idx="21">
                  <c:v>0.3686440677966102</c:v>
                </c:pt>
                <c:pt idx="22">
                  <c:v>0.3453166226912929</c:v>
                </c:pt>
                <c:pt idx="23">
                  <c:v>0.34934797529169526</c:v>
                </c:pt>
                <c:pt idx="24">
                  <c:v>0.34213067267460573</c:v>
                </c:pt>
                <c:pt idx="25">
                  <c:v>0.3386295928500497</c:v>
                </c:pt>
                <c:pt idx="26">
                  <c:v>0.3390840652446675</c:v>
                </c:pt>
                <c:pt idx="27">
                  <c:v>0.3300808475048787</c:v>
                </c:pt>
                <c:pt idx="28">
                  <c:v>0.32444782939832445</c:v>
                </c:pt>
                <c:pt idx="29">
                  <c:v>0.34571788413098237</c:v>
                </c:pt>
                <c:pt idx="30">
                  <c:v>0.3474148802017655</c:v>
                </c:pt>
                <c:pt idx="31">
                  <c:v>0.3254796364860316</c:v>
                </c:pt>
                <c:pt idx="32">
                  <c:v>0.3252799057159694</c:v>
                </c:pt>
                <c:pt idx="33">
                  <c:v>0.32288677996027365</c:v>
                </c:pt>
                <c:pt idx="34">
                  <c:v>0.3431355489820776</c:v>
                </c:pt>
                <c:pt idx="35">
                  <c:v>0.3260017421602787</c:v>
                </c:pt>
                <c:pt idx="36">
                  <c:v>0.33631805157593125</c:v>
                </c:pt>
                <c:pt idx="37">
                  <c:v>0.3538918205804749</c:v>
                </c:pt>
                <c:pt idx="38">
                  <c:v>0.3548872180451128</c:v>
                </c:pt>
                <c:pt idx="39">
                  <c:v>0.34538482607504795</c:v>
                </c:pt>
                <c:pt idx="40">
                  <c:v>0.32776280323450135</c:v>
                </c:pt>
                <c:pt idx="41">
                  <c:v>0.31910669975186107</c:v>
                </c:pt>
                <c:pt idx="42">
                  <c:v>0.3386408871197043</c:v>
                </c:pt>
                <c:pt idx="43">
                  <c:v>0.3311532592108132</c:v>
                </c:pt>
                <c:pt idx="44">
                  <c:v>0.3214661522272887</c:v>
                </c:pt>
                <c:pt idx="45">
                  <c:v>0.334070524634476</c:v>
                </c:pt>
                <c:pt idx="46">
                  <c:v>0.3437188789301465</c:v>
                </c:pt>
                <c:pt idx="47">
                  <c:v>0.3428534671298083</c:v>
                </c:pt>
                <c:pt idx="48">
                  <c:v>0.3184480234260615</c:v>
                </c:pt>
                <c:pt idx="49">
                  <c:v>0.32770896323027404</c:v>
                </c:pt>
                <c:pt idx="50">
                  <c:v>0.33717730310575283</c:v>
                </c:pt>
                <c:pt idx="51">
                  <c:v>0.342747265953611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877.9215416549985</c:v>
                </c:pt>
              </c:numCache>
            </c:numRef>
          </c:xVal>
          <c:yVal>
            <c:numRef>
              <c:f>Sheet1!$B$163:$B$164</c:f>
              <c:numCache>
                <c:formatCode>General</c:formatCode>
                <c:ptCount val="2"/>
                <c:pt idx="0">
                  <c:v>0.4771484927083585</c:v>
                </c:pt>
                <c:pt idx="1">
                  <c:v>0.477148492708358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877.9215416549985</c:v>
                </c:pt>
                <c:pt idx="1">
                  <c:v>-1877.9215416549985</c:v>
                </c:pt>
              </c:numCache>
            </c:numRef>
          </c:xVal>
          <c:yVal>
            <c:numRef>
              <c:f>Sheet1!$B$167:$B$168</c:f>
              <c:numCache>
                <c:formatCode>General</c:formatCode>
                <c:ptCount val="2"/>
                <c:pt idx="0">
                  <c:v>0.47714849270835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76.3097898103617</c:v>
                </c:pt>
              </c:numCache>
            </c:numRef>
          </c:xVal>
          <c:yVal>
            <c:numRef>
              <c:f>Sheet1!$B$171:$B$172</c:f>
              <c:numCache>
                <c:formatCode>General</c:formatCode>
                <c:ptCount val="2"/>
                <c:pt idx="0">
                  <c:v>0.34214748284217317</c:v>
                </c:pt>
                <c:pt idx="1">
                  <c:v>0.3421474828421731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76.3097898103617</c:v>
                </c:pt>
                <c:pt idx="1">
                  <c:v>1176.3097898103617</c:v>
                </c:pt>
              </c:numCache>
            </c:numRef>
          </c:xVal>
          <c:yVal>
            <c:numRef>
              <c:f>Sheet1!$B$175:$B$176</c:f>
              <c:numCache>
                <c:formatCode>General</c:formatCode>
                <c:ptCount val="2"/>
                <c:pt idx="0">
                  <c:v>0.3421474828421731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81.1039931599053</c:v>
                </c:pt>
              </c:numCache>
            </c:numRef>
          </c:xVal>
          <c:yVal>
            <c:numRef>
              <c:f>Sheet1!$B$179:$B$180</c:f>
              <c:numCache>
                <c:formatCode>General</c:formatCode>
                <c:ptCount val="2"/>
                <c:pt idx="0">
                  <c:v>0.33309531184841135</c:v>
                </c:pt>
                <c:pt idx="1">
                  <c:v>0.3330953118484113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81.1039931599053</c:v>
                </c:pt>
                <c:pt idx="1">
                  <c:v>1381.1039931599053</c:v>
                </c:pt>
              </c:numCache>
            </c:numRef>
          </c:xVal>
          <c:yVal>
            <c:numRef>
              <c:f>Sheet1!$B$183:$B$184</c:f>
              <c:numCache>
                <c:formatCode>General</c:formatCode>
                <c:ptCount val="2"/>
                <c:pt idx="0">
                  <c:v>0.3330953118484113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82.4767</c:v>
                </c:pt>
                <c:pt idx="1">
                  <c:v>1282.6729</c:v>
                </c:pt>
                <c:pt idx="2">
                  <c:v>1289.6809</c:v>
                </c:pt>
                <c:pt idx="3">
                  <c:v>1311.4037</c:v>
                </c:pt>
                <c:pt idx="4">
                  <c:v>1304.059</c:v>
                </c:pt>
                <c:pt idx="5">
                  <c:v>1285.8596</c:v>
                </c:pt>
                <c:pt idx="6">
                  <c:v>1177.6417</c:v>
                </c:pt>
                <c:pt idx="7">
                  <c:v>1248.4556</c:v>
                </c:pt>
                <c:pt idx="8">
                  <c:v>1292.7431</c:v>
                </c:pt>
                <c:pt idx="9">
                  <c:v>1239.8309</c:v>
                </c:pt>
                <c:pt idx="10">
                  <c:v>1280.3292</c:v>
                </c:pt>
                <c:pt idx="11">
                  <c:v>1103.5442</c:v>
                </c:pt>
                <c:pt idx="12">
                  <c:v>1165.5133</c:v>
                </c:pt>
                <c:pt idx="13">
                  <c:v>1245.8134</c:v>
                </c:pt>
                <c:pt idx="14">
                  <c:v>1205.4854</c:v>
                </c:pt>
                <c:pt idx="15">
                  <c:v>1243.4534</c:v>
                </c:pt>
                <c:pt idx="16">
                  <c:v>1285.3077</c:v>
                </c:pt>
                <c:pt idx="17">
                  <c:v>1262.392</c:v>
                </c:pt>
                <c:pt idx="18">
                  <c:v>1173.4408</c:v>
                </c:pt>
                <c:pt idx="19">
                  <c:v>1299.2262</c:v>
                </c:pt>
                <c:pt idx="20">
                  <c:v>1303.806</c:v>
                </c:pt>
                <c:pt idx="21">
                  <c:v>1178.9514</c:v>
                </c:pt>
                <c:pt idx="22">
                  <c:v>1265.0783</c:v>
                </c:pt>
                <c:pt idx="23">
                  <c:v>1286.6513</c:v>
                </c:pt>
                <c:pt idx="24">
                  <c:v>1304.7705</c:v>
                </c:pt>
                <c:pt idx="25">
                  <c:v>1283.9648</c:v>
                </c:pt>
                <c:pt idx="26">
                  <c:v>1290.2794</c:v>
                </c:pt>
                <c:pt idx="27">
                  <c:v>1290.0954</c:v>
                </c:pt>
                <c:pt idx="28">
                  <c:v>1316.5141</c:v>
                </c:pt>
                <c:pt idx="29">
                  <c:v>1331.4581</c:v>
                </c:pt>
                <c:pt idx="30">
                  <c:v>1299.9428</c:v>
                </c:pt>
                <c:pt idx="31">
                  <c:v>1275.3051</c:v>
                </c:pt>
                <c:pt idx="32">
                  <c:v>1301.9955</c:v>
                </c:pt>
                <c:pt idx="33">
                  <c:v>1313.5222</c:v>
                </c:pt>
                <c:pt idx="34">
                  <c:v>1330.0522</c:v>
                </c:pt>
                <c:pt idx="35">
                  <c:v>1348.4556</c:v>
                </c:pt>
                <c:pt idx="36">
                  <c:v>1375.6422</c:v>
                </c:pt>
                <c:pt idx="37">
                  <c:v>1341.8975</c:v>
                </c:pt>
                <c:pt idx="38">
                  <c:v>1377.9513</c:v>
                </c:pt>
                <c:pt idx="39">
                  <c:v>1316.3006</c:v>
                </c:pt>
                <c:pt idx="40">
                  <c:v>1358.602</c:v>
                </c:pt>
                <c:pt idx="41">
                  <c:v>1381.7271</c:v>
                </c:pt>
                <c:pt idx="42">
                  <c:v>1357.4954</c:v>
                </c:pt>
                <c:pt idx="43">
                  <c:v>1377.3759</c:v>
                </c:pt>
                <c:pt idx="44">
                  <c:v>1294.0245</c:v>
                </c:pt>
                <c:pt idx="45">
                  <c:v>1249.4546</c:v>
                </c:pt>
                <c:pt idx="46">
                  <c:v>1245.4123</c:v>
                </c:pt>
                <c:pt idx="47">
                  <c:v>1205.7996</c:v>
                </c:pt>
                <c:pt idx="48">
                  <c:v>1204.8154</c:v>
                </c:pt>
                <c:pt idx="49">
                  <c:v>1230.7839</c:v>
                </c:pt>
                <c:pt idx="50">
                  <c:v>1179.636</c:v>
                </c:pt>
                <c:pt idx="51">
                  <c:v>1128.7707</c:v>
                </c:pt>
                <c:pt idx="52">
                  <c:v>1176.3097898103617</c:v>
                </c:pt>
                <c:pt idx="53">
                  <c:v>-1877.9215416549985</c:v>
                </c:pt>
                <c:pt idx="54">
                  <c:v>1381.1039931599053</c:v>
                </c:pt>
              </c:numCache>
            </c:numRef>
          </c:xVal>
          <c:yVal>
            <c:numRef>
              <c:f>Sheet1!$B$187:$B$241</c:f>
              <c:numCache>
                <c:formatCode>General</c:formatCode>
                <c:ptCount val="55"/>
                <c:pt idx="0">
                  <c:v>0.33745476689026876</c:v>
                </c:pt>
                <c:pt idx="1">
                  <c:v>0.3374460945942763</c:v>
                </c:pt>
                <c:pt idx="2">
                  <c:v>0.33713633185057207</c:v>
                </c:pt>
                <c:pt idx="3">
                  <c:v>0.3361761557476984</c:v>
                </c:pt>
                <c:pt idx="4">
                  <c:v>0.33650080107071273</c:v>
                </c:pt>
                <c:pt idx="5">
                  <c:v>0.3373052382964221</c:v>
                </c:pt>
                <c:pt idx="6">
                  <c:v>0.3420886106739783</c:v>
                </c:pt>
                <c:pt idx="7">
                  <c:v>0.3389585438993779</c:v>
                </c:pt>
                <c:pt idx="8">
                  <c:v>0.33700097861515954</c:v>
                </c:pt>
                <c:pt idx="9">
                  <c:v>0.33933976689247525</c:v>
                </c:pt>
                <c:pt idx="10">
                  <c:v>0.3375496891922244</c:v>
                </c:pt>
                <c:pt idx="11">
                  <c:v>0.3453638168528633</c:v>
                </c:pt>
                <c:pt idx="12">
                  <c:v>0.34262470177853627</c:v>
                </c:pt>
                <c:pt idx="13">
                  <c:v>0.3390753325867945</c:v>
                </c:pt>
                <c:pt idx="14">
                  <c:v>0.3408578828048461</c:v>
                </c:pt>
                <c:pt idx="15">
                  <c:v>0.33917964766600994</c:v>
                </c:pt>
                <c:pt idx="16">
                  <c:v>0.3373296329965149</c:v>
                </c:pt>
                <c:pt idx="17">
                  <c:v>0.33834253683582766</c:v>
                </c:pt>
                <c:pt idx="18">
                  <c:v>0.34227429593511227</c:v>
                </c:pt>
                <c:pt idx="19">
                  <c:v>0.3367144171363198</c:v>
                </c:pt>
                <c:pt idx="20">
                  <c:v>0.33651198400081506</c:v>
                </c:pt>
                <c:pt idx="21">
                  <c:v>0.34203072022514414</c:v>
                </c:pt>
                <c:pt idx="22">
                  <c:v>0.3382237988708715</c:v>
                </c:pt>
                <c:pt idx="23">
                  <c:v>0.33727024412344975</c:v>
                </c:pt>
                <c:pt idx="24">
                  <c:v>0.33646935184238147</c:v>
                </c:pt>
                <c:pt idx="25">
                  <c:v>0.3373889909286668</c:v>
                </c:pt>
                <c:pt idx="26">
                  <c:v>0.33710987736967785</c:v>
                </c:pt>
                <c:pt idx="27">
                  <c:v>0.33711801040975226</c:v>
                </c:pt>
                <c:pt idx="28">
                  <c:v>0.33595026939989214</c:v>
                </c:pt>
                <c:pt idx="29">
                  <c:v>0.33528972510167343</c:v>
                </c:pt>
                <c:pt idx="30">
                  <c:v>0.33668274248133423</c:v>
                </c:pt>
                <c:pt idx="31">
                  <c:v>0.3377717609674305</c:v>
                </c:pt>
                <c:pt idx="32">
                  <c:v>0.3365920104630692</c:v>
                </c:pt>
                <c:pt idx="33">
                  <c:v>0.3360825152835806</c:v>
                </c:pt>
                <c:pt idx="34">
                  <c:v>0.33535186771602477</c:v>
                </c:pt>
                <c:pt idx="35">
                  <c:v>0.33453841342414586</c:v>
                </c:pt>
                <c:pt idx="36">
                  <c:v>0.33333673023236643</c:v>
                </c:pt>
                <c:pt idx="37">
                  <c:v>0.3348282900008421</c:v>
                </c:pt>
                <c:pt idx="38">
                  <c:v>0.3332346649995629</c:v>
                </c:pt>
                <c:pt idx="39">
                  <c:v>0.33595970637845674</c:v>
                </c:pt>
                <c:pt idx="40">
                  <c:v>0.33408992930560694</c:v>
                </c:pt>
                <c:pt idx="41">
                  <c:v>0.33306776971307905</c:v>
                </c:pt>
                <c:pt idx="42">
                  <c:v>0.33413884246944586</c:v>
                </c:pt>
                <c:pt idx="43">
                  <c:v>0.33326009843031734</c:v>
                </c:pt>
                <c:pt idx="44">
                  <c:v>0.3369443390632499</c:v>
                </c:pt>
                <c:pt idx="45">
                  <c:v>0.33891438679593033</c:v>
                </c:pt>
                <c:pt idx="46">
                  <c:v>0.33909306173013065</c:v>
                </c:pt>
                <c:pt idx="47">
                  <c:v>0.3408439947548929</c:v>
                </c:pt>
                <c:pt idx="48">
                  <c:v>0.34088749767903015</c:v>
                </c:pt>
                <c:pt idx="49">
                  <c:v>0.3397396560965695</c:v>
                </c:pt>
                <c:pt idx="50">
                  <c:v>0.3420004600119107</c:v>
                </c:pt>
                <c:pt idx="51">
                  <c:v>0.3442487726385289</c:v>
                </c:pt>
                <c:pt idx="52">
                  <c:v>0.34214748284217317</c:v>
                </c:pt>
                <c:pt idx="53">
                  <c:v>0.4771484927083585</c:v>
                </c:pt>
                <c:pt idx="54">
                  <c:v>0.3330953118484113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8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062557161148711"/>
          <c:min val="0.2206204379562043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9299453295541973</c:v>
                </c:pt>
                <c:pt idx="1">
                  <c:v>0.830969884658307</c:v>
                </c:pt>
                <c:pt idx="2">
                  <c:v>0.8305521411255314</c:v>
                </c:pt>
                <c:pt idx="3">
                  <c:v>0.8266039104900359</c:v>
                </c:pt>
                <c:pt idx="4">
                  <c:v>0.8180702409082593</c:v>
                </c:pt>
                <c:pt idx="5">
                  <c:v>0.8415657937725936</c:v>
                </c:pt>
                <c:pt idx="6">
                  <c:v>0.8393630913332522</c:v>
                </c:pt>
                <c:pt idx="7">
                  <c:v>0.8398205730922615</c:v>
                </c:pt>
                <c:pt idx="8">
                  <c:v>0.8305381746535522</c:v>
                </c:pt>
                <c:pt idx="9">
                  <c:v>0.896885758808439</c:v>
                </c:pt>
                <c:pt idx="10">
                  <c:v>0.9232955361674823</c:v>
                </c:pt>
                <c:pt idx="11">
                  <c:v>0.9307520915132282</c:v>
                </c:pt>
                <c:pt idx="12">
                  <c:v>0.938766341595858</c:v>
                </c:pt>
                <c:pt idx="13">
                  <c:v>0.9168387094629541</c:v>
                </c:pt>
                <c:pt idx="14">
                  <c:v>0.9307353802725099</c:v>
                </c:pt>
                <c:pt idx="15">
                  <c:v>0.9307735723265136</c:v>
                </c:pt>
                <c:pt idx="16">
                  <c:v>0.9026560471512336</c:v>
                </c:pt>
                <c:pt idx="17">
                  <c:v>0.9153980239955957</c:v>
                </c:pt>
                <c:pt idx="18">
                  <c:v>0.9749160047427862</c:v>
                </c:pt>
                <c:pt idx="19">
                  <c:v>1.0156205085840826</c:v>
                </c:pt>
                <c:pt idx="20">
                  <c:v>1.0106093025211655</c:v>
                </c:pt>
                <c:pt idx="21">
                  <c:v>0.9266945566005929</c:v>
                </c:pt>
                <c:pt idx="22">
                  <c:v>0.9230485473888358</c:v>
                </c:pt>
                <c:pt idx="23">
                  <c:v>0.8902881627607465</c:v>
                </c:pt>
                <c:pt idx="24">
                  <c:v>0.8819112303707947</c:v>
                </c:pt>
                <c:pt idx="25">
                  <c:v>0.8455451284139393</c:v>
                </c:pt>
                <c:pt idx="26">
                  <c:v>0.870794033040716</c:v>
                </c:pt>
                <c:pt idx="27">
                  <c:v>0.8474185561645665</c:v>
                </c:pt>
                <c:pt idx="28">
                  <c:v>0.8291928784100233</c:v>
                </c:pt>
                <c:pt idx="29">
                  <c:v>0.8132402763673611</c:v>
                </c:pt>
                <c:pt idx="30">
                  <c:v>0.8246163586971268</c:v>
                </c:pt>
                <c:pt idx="31">
                  <c:v>0.8590228569881017</c:v>
                </c:pt>
                <c:pt idx="32">
                  <c:v>0.8436210548572592</c:v>
                </c:pt>
                <c:pt idx="33">
                  <c:v>0.88029634400834</c:v>
                </c:pt>
                <c:pt idx="34">
                  <c:v>0.9462457105837492</c:v>
                </c:pt>
                <c:pt idx="35">
                  <c:v>1.0242859977418237</c:v>
                </c:pt>
                <c:pt idx="36">
                  <c:v>1.1051175844571481</c:v>
                </c:pt>
                <c:pt idx="37">
                  <c:v>1.1184650525825317</c:v>
                </c:pt>
                <c:pt idx="38">
                  <c:v>1.1808393399144719</c:v>
                </c:pt>
                <c:pt idx="39">
                  <c:v>1.1252515456610055</c:v>
                </c:pt>
                <c:pt idx="40">
                  <c:v>1.1115201591244797</c:v>
                </c:pt>
                <c:pt idx="41">
                  <c:v>1.0628234557723057</c:v>
                </c:pt>
                <c:pt idx="42">
                  <c:v>1.0856436354681824</c:v>
                </c:pt>
                <c:pt idx="43">
                  <c:v>1.0723622930996435</c:v>
                </c:pt>
                <c:pt idx="44">
                  <c:v>0.9630581277330935</c:v>
                </c:pt>
                <c:pt idx="45">
                  <c:v>0.9291389574538474</c:v>
                </c:pt>
                <c:pt idx="46">
                  <c:v>0.9547534183521419</c:v>
                </c:pt>
                <c:pt idx="47">
                  <c:v>0.9789602597042392</c:v>
                </c:pt>
                <c:pt idx="48">
                  <c:v>0.9526879318060911</c:v>
                </c:pt>
                <c:pt idx="49">
                  <c:v>0.9093653561351238</c:v>
                </c:pt>
                <c:pt idx="50">
                  <c:v>0.9102381873795262</c:v>
                </c:pt>
                <c:pt idx="51">
                  <c:v>0.9314961277196333</c:v>
                </c:pt>
                <c:pt idx="52">
                  <c:v>0.9227725344257506</c:v>
                </c:pt>
                <c:pt idx="53">
                  <c:v>0.9239329548777377</c:v>
                </c:pt>
                <c:pt idx="54">
                  <c:v>0.9415251473098678</c:v>
                </c:pt>
                <c:pt idx="55">
                  <c:v>0.9714074995160611</c:v>
                </c:pt>
                <c:pt idx="56">
                  <c:v>0.9421786349886387</c:v>
                </c:pt>
                <c:pt idx="57">
                  <c:v>0.9430709295706815</c:v>
                </c:pt>
                <c:pt idx="58">
                  <c:v>0.9132620545151191</c:v>
                </c:pt>
                <c:pt idx="59">
                  <c:v>0.8901771411200781</c:v>
                </c:pt>
                <c:pt idx="60">
                  <c:v>0.8716889177289985</c:v>
                </c:pt>
                <c:pt idx="61">
                  <c:v>0.9384738045140267</c:v>
                </c:pt>
                <c:pt idx="62">
                  <c:v>0.993748759157238</c:v>
                </c:pt>
                <c:pt idx="63">
                  <c:v>0.9980572740318797</c:v>
                </c:pt>
                <c:pt idx="64">
                  <c:v>1.0311747502216027</c:v>
                </c:pt>
                <c:pt idx="65">
                  <c:v>0.9928250110072717</c:v>
                </c:pt>
                <c:pt idx="66">
                  <c:v>0.9819521413181864</c:v>
                </c:pt>
                <c:pt idx="67">
                  <c:v>1.0792904516410862</c:v>
                </c:pt>
                <c:pt idx="68">
                  <c:v>1.1421934954875173</c:v>
                </c:pt>
                <c:pt idx="69">
                  <c:v>1.1302366029167437</c:v>
                </c:pt>
                <c:pt idx="70">
                  <c:v>1.0585496744735243</c:v>
                </c:pt>
                <c:pt idx="71">
                  <c:v>1.0001146674267118</c:v>
                </c:pt>
                <c:pt idx="72">
                  <c:v>1.1384092660244394</c:v>
                </c:pt>
                <c:pt idx="73">
                  <c:v>0.9963988035904688</c:v>
                </c:pt>
                <c:pt idx="74">
                  <c:v>0.9325165465664148</c:v>
                </c:pt>
                <c:pt idx="75">
                  <c:v>0.939281004351099</c:v>
                </c:pt>
                <c:pt idx="76">
                  <c:v>0.9694046810216066</c:v>
                </c:pt>
                <c:pt idx="77">
                  <c:v>1.0173549408916434</c:v>
                </c:pt>
                <c:pt idx="78">
                  <c:v>0.9965836641294742</c:v>
                </c:pt>
                <c:pt idx="79">
                  <c:v>1.0328013779076641</c:v>
                </c:pt>
                <c:pt idx="80">
                  <c:v>1.084534412488317</c:v>
                </c:pt>
                <c:pt idx="81">
                  <c:v>1.0941237139897309</c:v>
                </c:pt>
                <c:pt idx="82">
                  <c:v>1.0801811442644484</c:v>
                </c:pt>
                <c:pt idx="83">
                  <c:v>1.116663116737753</c:v>
                </c:pt>
                <c:pt idx="84">
                  <c:v>1.0979983006535736</c:v>
                </c:pt>
                <c:pt idx="85">
                  <c:v>1.0764221918959556</c:v>
                </c:pt>
                <c:pt idx="86">
                  <c:v>1.0393152333870503</c:v>
                </c:pt>
                <c:pt idx="87">
                  <c:v>1.028643036920654</c:v>
                </c:pt>
                <c:pt idx="88">
                  <c:v>0.9636552860674505</c:v>
                </c:pt>
                <c:pt idx="89">
                  <c:v>0.9372024684874936</c:v>
                </c:pt>
                <c:pt idx="90">
                  <c:v>0.9672264948873832</c:v>
                </c:pt>
                <c:pt idx="91">
                  <c:v>0.985965961466074</c:v>
                </c:pt>
                <c:pt idx="92">
                  <c:v>0.9731829274536239</c:v>
                </c:pt>
                <c:pt idx="93">
                  <c:v>0.9515286318937815</c:v>
                </c:pt>
                <c:pt idx="94">
                  <c:v>0.9971463596572058</c:v>
                </c:pt>
                <c:pt idx="95">
                  <c:v>0.9578439207268439</c:v>
                </c:pt>
                <c:pt idx="96">
                  <c:v>0.9278453160559194</c:v>
                </c:pt>
                <c:pt idx="97">
                  <c:v>1.022400586976035</c:v>
                </c:pt>
                <c:pt idx="98">
                  <c:v>1.0099109245942612</c:v>
                </c:pt>
                <c:pt idx="99">
                  <c:v>1.0090437409847266</c:v>
                </c:pt>
                <c:pt idx="100">
                  <c:v>0.9975241918258291</c:v>
                </c:pt>
                <c:pt idx="101">
                  <c:v>0.933479584692114</c:v>
                </c:pt>
                <c:pt idx="102">
                  <c:v>0.9720015851586377</c:v>
                </c:pt>
                <c:pt idx="103">
                  <c:v>0.6592896934375604</c:v>
                </c:pt>
                <c:pt idx="104">
                  <c:v>0.7306643580351092</c:v>
                </c:pt>
              </c:numCache>
            </c:numRef>
          </c:xVal>
          <c:yVal>
            <c:numRef>
              <c:f>Sheet1!$B$2:$B$106</c:f>
              <c:numCache>
                <c:formatCode>General</c:formatCode>
                <c:ptCount val="105"/>
                <c:pt idx="0">
                  <c:v>0.14195168619947382</c:v>
                </c:pt>
                <c:pt idx="1">
                  <c:v>0.15050120005647324</c:v>
                </c:pt>
                <c:pt idx="2">
                  <c:v>0.14211960418758066</c:v>
                </c:pt>
                <c:pt idx="3">
                  <c:v>0.14852894653590637</c:v>
                </c:pt>
                <c:pt idx="4">
                  <c:v>0.15576102418207682</c:v>
                </c:pt>
                <c:pt idx="5">
                  <c:v>0.14455445544554454</c:v>
                </c:pt>
                <c:pt idx="6">
                  <c:v>0.14290030211480362</c:v>
                </c:pt>
                <c:pt idx="7">
                  <c:v>0.14358880556063655</c:v>
                </c:pt>
                <c:pt idx="8">
                  <c:v>0.15579710144927536</c:v>
                </c:pt>
                <c:pt idx="9">
                  <c:v>0.13494901337571183</c:v>
                </c:pt>
                <c:pt idx="10">
                  <c:v>0.1387088410681877</c:v>
                </c:pt>
                <c:pt idx="11">
                  <c:v>0.1388295029396045</c:v>
                </c:pt>
                <c:pt idx="12">
                  <c:v>0.13758306669948314</c:v>
                </c:pt>
                <c:pt idx="13">
                  <c:v>0.1398362058428065</c:v>
                </c:pt>
                <c:pt idx="14">
                  <c:v>0.13131685724824788</c:v>
                </c:pt>
                <c:pt idx="15">
                  <c:v>0.13935185185185187</c:v>
                </c:pt>
                <c:pt idx="16">
                  <c:v>0.13922926656011367</c:v>
                </c:pt>
                <c:pt idx="17">
                  <c:v>0.14006449012494962</c:v>
                </c:pt>
                <c:pt idx="18">
                  <c:v>0.12545620437956204</c:v>
                </c:pt>
                <c:pt idx="19">
                  <c:v>0.10763052208835341</c:v>
                </c:pt>
                <c:pt idx="20">
                  <c:v>0.11133288977600354</c:v>
                </c:pt>
                <c:pt idx="21">
                  <c:v>0.11504161712247325</c:v>
                </c:pt>
                <c:pt idx="22">
                  <c:v>0.09789444900191414</c:v>
                </c:pt>
                <c:pt idx="23">
                  <c:v>0.10480602200347423</c:v>
                </c:pt>
                <c:pt idx="24">
                  <c:v>0.09991876523151909</c:v>
                </c:pt>
                <c:pt idx="25">
                  <c:v>0.10039549741405537</c:v>
                </c:pt>
                <c:pt idx="26">
                  <c:v>0.10102067521591207</c:v>
                </c:pt>
                <c:pt idx="27">
                  <c:v>0.0972391888590276</c:v>
                </c:pt>
                <c:pt idx="28">
                  <c:v>0.11006781429316641</c:v>
                </c:pt>
                <c:pt idx="29">
                  <c:v>0.11087719298245614</c:v>
                </c:pt>
                <c:pt idx="30">
                  <c:v>0.09285295840656121</c:v>
                </c:pt>
                <c:pt idx="31">
                  <c:v>0.08427742470295661</c:v>
                </c:pt>
                <c:pt idx="32">
                  <c:v>0.08587412587412588</c:v>
                </c:pt>
                <c:pt idx="33">
                  <c:v>0.09816353301268037</c:v>
                </c:pt>
                <c:pt idx="34">
                  <c:v>0.09497310332034872</c:v>
                </c:pt>
                <c:pt idx="35">
                  <c:v>0.09036239911378383</c:v>
                </c:pt>
                <c:pt idx="36">
                  <c:v>0.07871954902355546</c:v>
                </c:pt>
                <c:pt idx="37">
                  <c:v>0.07193732193732194</c:v>
                </c:pt>
                <c:pt idx="38">
                  <c:v>0.06608478802992519</c:v>
                </c:pt>
                <c:pt idx="39">
                  <c:v>0.08318356867779204</c:v>
                </c:pt>
                <c:pt idx="40">
                  <c:v>0.08314232131694103</c:v>
                </c:pt>
                <c:pt idx="41">
                  <c:v>0.08505583273936802</c:v>
                </c:pt>
                <c:pt idx="42">
                  <c:v>0.0830104017948195</c:v>
                </c:pt>
                <c:pt idx="43">
                  <c:v>0.08611111111111111</c:v>
                </c:pt>
                <c:pt idx="44">
                  <c:v>0.10602272727272727</c:v>
                </c:pt>
                <c:pt idx="45">
                  <c:v>0.12461090470930816</c:v>
                </c:pt>
                <c:pt idx="46">
                  <c:v>0.12609422641880594</c:v>
                </c:pt>
                <c:pt idx="47">
                  <c:v>0.12251889168765744</c:v>
                </c:pt>
                <c:pt idx="48">
                  <c:v>0.13815741483696842</c:v>
                </c:pt>
                <c:pt idx="49">
                  <c:v>0.15581066046323455</c:v>
                </c:pt>
                <c:pt idx="50">
                  <c:v>0.13583493476281985</c:v>
                </c:pt>
                <c:pt idx="51">
                  <c:v>0.12219119797899215</c:v>
                </c:pt>
                <c:pt idx="52">
                  <c:v>0.12529208857238233</c:v>
                </c:pt>
                <c:pt idx="53">
                  <c:v>0.11089192616598563</c:v>
                </c:pt>
                <c:pt idx="54">
                  <c:v>0.10493431592438321</c:v>
                </c:pt>
                <c:pt idx="55">
                  <c:v>0.10317975340687865</c:v>
                </c:pt>
                <c:pt idx="56">
                  <c:v>0.11541168191414497</c:v>
                </c:pt>
                <c:pt idx="57">
                  <c:v>0.10920738974970202</c:v>
                </c:pt>
                <c:pt idx="58">
                  <c:v>0.11996251171508904</c:v>
                </c:pt>
                <c:pt idx="59">
                  <c:v>0.12348855158219707</c:v>
                </c:pt>
                <c:pt idx="60">
                  <c:v>0.14592599602536196</c:v>
                </c:pt>
                <c:pt idx="61">
                  <c:v>0.15469101495302368</c:v>
                </c:pt>
                <c:pt idx="62">
                  <c:v>0.14254278728606357</c:v>
                </c:pt>
                <c:pt idx="63">
                  <c:v>0.14449181063495625</c:v>
                </c:pt>
                <c:pt idx="64">
                  <c:v>0.12331186370247248</c:v>
                </c:pt>
                <c:pt idx="65">
                  <c:v>0.11436917200314571</c:v>
                </c:pt>
                <c:pt idx="66">
                  <c:v>0.11357995508805106</c:v>
                </c:pt>
                <c:pt idx="67">
                  <c:v>0.10529032258064516</c:v>
                </c:pt>
                <c:pt idx="68">
                  <c:v>0.0859023763648041</c:v>
                </c:pt>
                <c:pt idx="69">
                  <c:v>0.08000814332247556</c:v>
                </c:pt>
                <c:pt idx="70">
                  <c:v>0.07508939213349225</c:v>
                </c:pt>
                <c:pt idx="71">
                  <c:v>0.0948256211534078</c:v>
                </c:pt>
                <c:pt idx="72">
                  <c:v>0.09068219633943428</c:v>
                </c:pt>
                <c:pt idx="73">
                  <c:v>0.09822904368358913</c:v>
                </c:pt>
                <c:pt idx="74">
                  <c:v>0.10279353993889132</c:v>
                </c:pt>
                <c:pt idx="75">
                  <c:v>0.09519112207151664</c:v>
                </c:pt>
                <c:pt idx="76">
                  <c:v>0.09653866955110871</c:v>
                </c:pt>
                <c:pt idx="77">
                  <c:v>0.08614338339472939</c:v>
                </c:pt>
                <c:pt idx="78">
                  <c:v>0.09059233449477352</c:v>
                </c:pt>
                <c:pt idx="79">
                  <c:v>0.08451931455126344</c:v>
                </c:pt>
                <c:pt idx="80">
                  <c:v>0.07410514541387024</c:v>
                </c:pt>
                <c:pt idx="81">
                  <c:v>0.0732159406858202</c:v>
                </c:pt>
                <c:pt idx="82">
                  <c:v>0.07567401960784313</c:v>
                </c:pt>
                <c:pt idx="83">
                  <c:v>0.06444833625218914</c:v>
                </c:pt>
                <c:pt idx="84">
                  <c:v>0.07013258897418004</c:v>
                </c:pt>
                <c:pt idx="85">
                  <c:v>0.07618187292984041</c:v>
                </c:pt>
                <c:pt idx="86">
                  <c:v>0.08073716542343133</c:v>
                </c:pt>
                <c:pt idx="87">
                  <c:v>0.08907762196326288</c:v>
                </c:pt>
                <c:pt idx="88">
                  <c:v>0.08535630383711824</c:v>
                </c:pt>
                <c:pt idx="89">
                  <c:v>0.08487194758784991</c:v>
                </c:pt>
                <c:pt idx="90">
                  <c:v>0.0878419452887538</c:v>
                </c:pt>
                <c:pt idx="91">
                  <c:v>0.08064516129032258</c:v>
                </c:pt>
                <c:pt idx="92">
                  <c:v>0.09415730337078651</c:v>
                </c:pt>
                <c:pt idx="93">
                  <c:v>0.08726721524469468</c:v>
                </c:pt>
                <c:pt idx="94">
                  <c:v>0.08216241962371994</c:v>
                </c:pt>
                <c:pt idx="95">
                  <c:v>0.09284467713787085</c:v>
                </c:pt>
                <c:pt idx="96">
                  <c:v>0.09337637494022</c:v>
                </c:pt>
                <c:pt idx="97">
                  <c:v>0.10137404580152672</c:v>
                </c:pt>
                <c:pt idx="98">
                  <c:v>0.11171059614364054</c:v>
                </c:pt>
                <c:pt idx="99">
                  <c:v>0.11396163215590743</c:v>
                </c:pt>
                <c:pt idx="100">
                  <c:v>0.11939125063177403</c:v>
                </c:pt>
                <c:pt idx="101">
                  <c:v>0.12548618219037871</c:v>
                </c:pt>
                <c:pt idx="102">
                  <c:v>0.10878170356252749</c:v>
                </c:pt>
                <c:pt idx="103">
                  <c:v>0.15746519443110898</c:v>
                </c:pt>
                <c:pt idx="104">
                  <c:v>0.147218552766769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8532294384568644</c:v>
                </c:pt>
                <c:pt idx="1">
                  <c:v>0.7661204990079102</c:v>
                </c:pt>
                <c:pt idx="2">
                  <c:v>0.7601105034423776</c:v>
                </c:pt>
                <c:pt idx="3">
                  <c:v>0.755567374665169</c:v>
                </c:pt>
                <c:pt idx="4">
                  <c:v>0.7518655107592171</c:v>
                </c:pt>
                <c:pt idx="5">
                  <c:v>0.7758800711096007</c:v>
                </c:pt>
                <c:pt idx="6">
                  <c:v>0.817401318776039</c:v>
                </c:pt>
                <c:pt idx="7">
                  <c:v>0.9088561446149171</c:v>
                </c:pt>
                <c:pt idx="8">
                  <c:v>0.9994961526457358</c:v>
                </c:pt>
                <c:pt idx="9">
                  <c:v>0.9837994834446776</c:v>
                </c:pt>
                <c:pt idx="10">
                  <c:v>1.0007586249066838</c:v>
                </c:pt>
                <c:pt idx="11">
                  <c:v>0.96790502841457</c:v>
                </c:pt>
                <c:pt idx="12">
                  <c:v>0.9742264895416354</c:v>
                </c:pt>
                <c:pt idx="13">
                  <c:v>0.9636700356629784</c:v>
                </c:pt>
                <c:pt idx="14">
                  <c:v>0.9596209230357825</c:v>
                </c:pt>
                <c:pt idx="15">
                  <c:v>0.9640769466617422</c:v>
                </c:pt>
                <c:pt idx="16">
                  <c:v>0.9820413720573326</c:v>
                </c:pt>
                <c:pt idx="17">
                  <c:v>0.9778695994870144</c:v>
                </c:pt>
                <c:pt idx="18">
                  <c:v>1.0852168996904943</c:v>
                </c:pt>
                <c:pt idx="19">
                  <c:v>1.0019469679540776</c:v>
                </c:pt>
                <c:pt idx="20">
                  <c:v>0.9451825900077945</c:v>
                </c:pt>
                <c:pt idx="21">
                  <c:v>0.8782382615369353</c:v>
                </c:pt>
                <c:pt idx="22">
                  <c:v>0.8683401562966344</c:v>
                </c:pt>
                <c:pt idx="23">
                  <c:v>0.8713890284013883</c:v>
                </c:pt>
                <c:pt idx="24">
                  <c:v>0.8881017225017327</c:v>
                </c:pt>
                <c:pt idx="25">
                  <c:v>0.913596997957354</c:v>
                </c:pt>
                <c:pt idx="26">
                  <c:v>0.9390698060586664</c:v>
                </c:pt>
                <c:pt idx="27">
                  <c:v>0.941127719608314</c:v>
                </c:pt>
                <c:pt idx="28">
                  <c:v>0.9380239717291787</c:v>
                </c:pt>
                <c:pt idx="29">
                  <c:v>0.904749710158997</c:v>
                </c:pt>
                <c:pt idx="30">
                  <c:v>0.9098388679945123</c:v>
                </c:pt>
                <c:pt idx="31">
                  <c:v>0.8727326379980462</c:v>
                </c:pt>
                <c:pt idx="32">
                  <c:v>0.8529414631304137</c:v>
                </c:pt>
                <c:pt idx="33">
                  <c:v>0.8909971209487835</c:v>
                </c:pt>
                <c:pt idx="34">
                  <c:v>0.9029243752190047</c:v>
                </c:pt>
                <c:pt idx="35">
                  <c:v>0.8618663734627583</c:v>
                </c:pt>
                <c:pt idx="36">
                  <c:v>0.824208565884926</c:v>
                </c:pt>
                <c:pt idx="37">
                  <c:v>0.9484474970558817</c:v>
                </c:pt>
                <c:pt idx="38">
                  <c:v>0.962537104207153</c:v>
                </c:pt>
                <c:pt idx="39">
                  <c:v>0.9642743658052437</c:v>
                </c:pt>
                <c:pt idx="40">
                  <c:v>1.0076849065520246</c:v>
                </c:pt>
                <c:pt idx="41">
                  <c:v>1.0163502021736848</c:v>
                </c:pt>
                <c:pt idx="42">
                  <c:v>0.9608521837806965</c:v>
                </c:pt>
                <c:pt idx="43">
                  <c:v>1.0431896194531025</c:v>
                </c:pt>
                <c:pt idx="44">
                  <c:v>1.0628090053225583</c:v>
                </c:pt>
                <c:pt idx="45">
                  <c:v>1.0122344630363234</c:v>
                </c:pt>
                <c:pt idx="46">
                  <c:v>0.9854233996681456</c:v>
                </c:pt>
                <c:pt idx="47">
                  <c:v>1.001205270410181</c:v>
                </c:pt>
                <c:pt idx="48">
                  <c:v>1.0700312122454194</c:v>
                </c:pt>
                <c:pt idx="49">
                  <c:v>1.079356858937695</c:v>
                </c:pt>
                <c:pt idx="50">
                  <c:v>0.9172486803149692</c:v>
                </c:pt>
                <c:pt idx="51">
                  <c:v>0.9367972079814884</c:v>
                </c:pt>
              </c:numCache>
            </c:numRef>
          </c:xVal>
          <c:yVal>
            <c:numRef>
              <c:f>Sheet1!$B$109:$B$160</c:f>
              <c:numCache>
                <c:formatCode>General</c:formatCode>
                <c:ptCount val="52"/>
                <c:pt idx="0">
                  <c:v>0.1268227424749164</c:v>
                </c:pt>
                <c:pt idx="1">
                  <c:v>0.1588068181818182</c:v>
                </c:pt>
                <c:pt idx="2">
                  <c:v>0.15699658703071673</c:v>
                </c:pt>
                <c:pt idx="3">
                  <c:v>0.1610764430577223</c:v>
                </c:pt>
                <c:pt idx="4">
                  <c:v>0.16432113657686637</c:v>
                </c:pt>
                <c:pt idx="5">
                  <c:v>0.15303707599263738</c:v>
                </c:pt>
                <c:pt idx="6">
                  <c:v>0.1380714202628824</c:v>
                </c:pt>
                <c:pt idx="7">
                  <c:v>0.1294685990338164</c:v>
                </c:pt>
                <c:pt idx="8">
                  <c:v>0.1196629213483146</c:v>
                </c:pt>
                <c:pt idx="9">
                  <c:v>0.12468365108824025</c:v>
                </c:pt>
                <c:pt idx="10">
                  <c:v>0.12678600755460667</c:v>
                </c:pt>
                <c:pt idx="11">
                  <c:v>0.12135330005546312</c:v>
                </c:pt>
                <c:pt idx="12">
                  <c:v>0.1178239832614097</c:v>
                </c:pt>
                <c:pt idx="13">
                  <c:v>0.11398286626978366</c:v>
                </c:pt>
                <c:pt idx="14">
                  <c:v>0.11931818181818182</c:v>
                </c:pt>
                <c:pt idx="15">
                  <c:v>0.11417597765363129</c:v>
                </c:pt>
                <c:pt idx="16">
                  <c:v>0.10456312666257418</c:v>
                </c:pt>
                <c:pt idx="17">
                  <c:v>0.10055508112724168</c:v>
                </c:pt>
                <c:pt idx="18">
                  <c:v>0.09002375296912114</c:v>
                </c:pt>
                <c:pt idx="19">
                  <c:v>0.10313571778539932</c:v>
                </c:pt>
                <c:pt idx="20">
                  <c:v>0.10834762721555175</c:v>
                </c:pt>
                <c:pt idx="21">
                  <c:v>0.11929595827900913</c:v>
                </c:pt>
                <c:pt idx="22">
                  <c:v>0.12532981530343007</c:v>
                </c:pt>
                <c:pt idx="23">
                  <c:v>0.12182566918325326</c:v>
                </c:pt>
                <c:pt idx="24">
                  <c:v>0.11522368844544577</c:v>
                </c:pt>
                <c:pt idx="25">
                  <c:v>0.10758027143330023</c:v>
                </c:pt>
                <c:pt idx="26">
                  <c:v>0.09849435382685069</c:v>
                </c:pt>
                <c:pt idx="27">
                  <c:v>0.10454418734318371</c:v>
                </c:pt>
                <c:pt idx="28">
                  <c:v>0.11221122112211221</c:v>
                </c:pt>
                <c:pt idx="29">
                  <c:v>0.11838790931989925</c:v>
                </c:pt>
                <c:pt idx="30">
                  <c:v>0.12200504413619168</c:v>
                </c:pt>
                <c:pt idx="31">
                  <c:v>0.12251767081790643</c:v>
                </c:pt>
                <c:pt idx="32">
                  <c:v>0.13170300530347673</c:v>
                </c:pt>
                <c:pt idx="33">
                  <c:v>0.13992496137717944</c:v>
                </c:pt>
                <c:pt idx="34">
                  <c:v>0.1425091352009744</c:v>
                </c:pt>
                <c:pt idx="35">
                  <c:v>0.14329268292682926</c:v>
                </c:pt>
                <c:pt idx="36">
                  <c:v>0.1296561604584527</c:v>
                </c:pt>
                <c:pt idx="37">
                  <c:v>0.09927440633245382</c:v>
                </c:pt>
                <c:pt idx="38">
                  <c:v>0.10601503759398496</c:v>
                </c:pt>
                <c:pt idx="39">
                  <c:v>0.11750205423171733</c:v>
                </c:pt>
                <c:pt idx="40">
                  <c:v>0.10727762803234502</c:v>
                </c:pt>
                <c:pt idx="41">
                  <c:v>0.11290322580645161</c:v>
                </c:pt>
                <c:pt idx="42">
                  <c:v>0.1174296275234575</c:v>
                </c:pt>
                <c:pt idx="43">
                  <c:v>0.10725964682799215</c:v>
                </c:pt>
                <c:pt idx="44">
                  <c:v>0.10224482637670992</c:v>
                </c:pt>
                <c:pt idx="45">
                  <c:v>0.10173239955768522</c:v>
                </c:pt>
                <c:pt idx="46">
                  <c:v>0.0998719590268886</c:v>
                </c:pt>
                <c:pt idx="47">
                  <c:v>0.0953299884214589</c:v>
                </c:pt>
                <c:pt idx="48">
                  <c:v>0.08533779544028446</c:v>
                </c:pt>
                <c:pt idx="49">
                  <c:v>0.0927533404857115</c:v>
                </c:pt>
                <c:pt idx="50">
                  <c:v>0.12069191455903551</c:v>
                </c:pt>
                <c:pt idx="51">
                  <c:v>0.1208989304170171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782656366803908</c:v>
                </c:pt>
              </c:numCache>
            </c:numRef>
          </c:xVal>
          <c:yVal>
            <c:numRef>
              <c:f>Sheet1!$B$163:$B$164</c:f>
              <c:numCache>
                <c:formatCode>General</c:formatCode>
                <c:ptCount val="2"/>
                <c:pt idx="0">
                  <c:v>0.14730034730353012</c:v>
                </c:pt>
                <c:pt idx="1">
                  <c:v>0.1473003473035301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82656366803908</c:v>
                </c:pt>
                <c:pt idx="1">
                  <c:v>0.782656366803908</c:v>
                </c:pt>
              </c:numCache>
            </c:numRef>
          </c:xVal>
          <c:yVal>
            <c:numRef>
              <c:f>Sheet1!$B$167:$B$168</c:f>
              <c:numCache>
                <c:formatCode>General</c:formatCode>
                <c:ptCount val="2"/>
                <c:pt idx="0">
                  <c:v>0.1473003473035301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928676841884706</c:v>
                </c:pt>
              </c:numCache>
            </c:numRef>
          </c:xVal>
          <c:yVal>
            <c:numRef>
              <c:f>Sheet1!$B$171:$B$172</c:f>
              <c:numCache>
                <c:formatCode>General</c:formatCode>
                <c:ptCount val="2"/>
                <c:pt idx="0">
                  <c:v>0.14536263821774342</c:v>
                </c:pt>
                <c:pt idx="1">
                  <c:v>0.1453626382177434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928676841884706</c:v>
                </c:pt>
                <c:pt idx="1">
                  <c:v>0.7928676841884706</c:v>
                </c:pt>
              </c:numCache>
            </c:numRef>
          </c:xVal>
          <c:yVal>
            <c:numRef>
              <c:f>Sheet1!$B$175:$B$176</c:f>
              <c:numCache>
                <c:formatCode>General</c:formatCode>
                <c:ptCount val="2"/>
                <c:pt idx="0">
                  <c:v>0.1453626382177434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9989897766642682</c:v>
                </c:pt>
              </c:numCache>
            </c:numRef>
          </c:xVal>
          <c:yVal>
            <c:numRef>
              <c:f>Sheet1!$B$179:$B$180</c:f>
              <c:numCache>
                <c:formatCode>General</c:formatCode>
                <c:ptCount val="2"/>
                <c:pt idx="0">
                  <c:v>0.10624871820821191</c:v>
                </c:pt>
                <c:pt idx="1">
                  <c:v>0.1062487182082119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9989897766642682</c:v>
                </c:pt>
                <c:pt idx="1">
                  <c:v>0.9989897766642682</c:v>
                </c:pt>
              </c:numCache>
            </c:numRef>
          </c:xVal>
          <c:yVal>
            <c:numRef>
              <c:f>Sheet1!$B$183:$B$184</c:f>
              <c:numCache>
                <c:formatCode>General</c:formatCode>
                <c:ptCount val="2"/>
                <c:pt idx="0">
                  <c:v>0.1062487182082119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8532294384568644</c:v>
                </c:pt>
                <c:pt idx="1">
                  <c:v>0.7661204990079102</c:v>
                </c:pt>
                <c:pt idx="2">
                  <c:v>0.7601105034423776</c:v>
                </c:pt>
                <c:pt idx="3">
                  <c:v>0.755567374665169</c:v>
                </c:pt>
                <c:pt idx="4">
                  <c:v>0.7518655107592171</c:v>
                </c:pt>
                <c:pt idx="5">
                  <c:v>0.7758800711096007</c:v>
                </c:pt>
                <c:pt idx="6">
                  <c:v>0.817401318776039</c:v>
                </c:pt>
                <c:pt idx="7">
                  <c:v>0.9088561446149171</c:v>
                </c:pt>
                <c:pt idx="8">
                  <c:v>0.9994961526457358</c:v>
                </c:pt>
                <c:pt idx="9">
                  <c:v>0.9837994834446776</c:v>
                </c:pt>
                <c:pt idx="10">
                  <c:v>1.0007586249066838</c:v>
                </c:pt>
                <c:pt idx="11">
                  <c:v>0.96790502841457</c:v>
                </c:pt>
                <c:pt idx="12">
                  <c:v>0.9742264895416354</c:v>
                </c:pt>
                <c:pt idx="13">
                  <c:v>0.9636700356629784</c:v>
                </c:pt>
                <c:pt idx="14">
                  <c:v>0.9596209230357825</c:v>
                </c:pt>
                <c:pt idx="15">
                  <c:v>0.9640769466617422</c:v>
                </c:pt>
                <c:pt idx="16">
                  <c:v>0.9820413720573326</c:v>
                </c:pt>
                <c:pt idx="17">
                  <c:v>0.9778695994870144</c:v>
                </c:pt>
                <c:pt idx="18">
                  <c:v>1.0852168996904943</c:v>
                </c:pt>
                <c:pt idx="19">
                  <c:v>1.0019469679540776</c:v>
                </c:pt>
                <c:pt idx="20">
                  <c:v>0.9451825900077945</c:v>
                </c:pt>
                <c:pt idx="21">
                  <c:v>0.8782382615369353</c:v>
                </c:pt>
                <c:pt idx="22">
                  <c:v>0.8683401562966344</c:v>
                </c:pt>
                <c:pt idx="23">
                  <c:v>0.8713890284013883</c:v>
                </c:pt>
                <c:pt idx="24">
                  <c:v>0.8881017225017327</c:v>
                </c:pt>
                <c:pt idx="25">
                  <c:v>0.913596997957354</c:v>
                </c:pt>
                <c:pt idx="26">
                  <c:v>0.9390698060586664</c:v>
                </c:pt>
                <c:pt idx="27">
                  <c:v>0.941127719608314</c:v>
                </c:pt>
                <c:pt idx="28">
                  <c:v>0.9380239717291787</c:v>
                </c:pt>
                <c:pt idx="29">
                  <c:v>0.904749710158997</c:v>
                </c:pt>
                <c:pt idx="30">
                  <c:v>0.9098388679945123</c:v>
                </c:pt>
                <c:pt idx="31">
                  <c:v>0.8727326379980462</c:v>
                </c:pt>
                <c:pt idx="32">
                  <c:v>0.8529414631304137</c:v>
                </c:pt>
                <c:pt idx="33">
                  <c:v>0.8909971209487835</c:v>
                </c:pt>
                <c:pt idx="34">
                  <c:v>0.9029243752190047</c:v>
                </c:pt>
                <c:pt idx="35">
                  <c:v>0.8618663734627583</c:v>
                </c:pt>
                <c:pt idx="36">
                  <c:v>0.824208565884926</c:v>
                </c:pt>
                <c:pt idx="37">
                  <c:v>0.9484474970558817</c:v>
                </c:pt>
                <c:pt idx="38">
                  <c:v>0.962537104207153</c:v>
                </c:pt>
                <c:pt idx="39">
                  <c:v>0.9642743658052437</c:v>
                </c:pt>
                <c:pt idx="40">
                  <c:v>1.0076849065520246</c:v>
                </c:pt>
                <c:pt idx="41">
                  <c:v>1.0163502021736848</c:v>
                </c:pt>
                <c:pt idx="42">
                  <c:v>0.9608521837806965</c:v>
                </c:pt>
                <c:pt idx="43">
                  <c:v>1.0431896194531025</c:v>
                </c:pt>
                <c:pt idx="44">
                  <c:v>1.0628090053225583</c:v>
                </c:pt>
                <c:pt idx="45">
                  <c:v>1.0122344630363234</c:v>
                </c:pt>
                <c:pt idx="46">
                  <c:v>0.9854233996681456</c:v>
                </c:pt>
                <c:pt idx="47">
                  <c:v>1.001205270410181</c:v>
                </c:pt>
                <c:pt idx="48">
                  <c:v>1.0700312122454194</c:v>
                </c:pt>
                <c:pt idx="49">
                  <c:v>1.079356858937695</c:v>
                </c:pt>
                <c:pt idx="50">
                  <c:v>0.9172486803149692</c:v>
                </c:pt>
                <c:pt idx="51">
                  <c:v>0.9367972079814884</c:v>
                </c:pt>
                <c:pt idx="52">
                  <c:v>0.7928676841884706</c:v>
                </c:pt>
                <c:pt idx="53">
                  <c:v>0.782656366803908</c:v>
                </c:pt>
                <c:pt idx="54">
                  <c:v>0.9989897766642682</c:v>
                </c:pt>
              </c:numCache>
            </c:numRef>
          </c:xVal>
          <c:yVal>
            <c:numRef>
              <c:f>Sheet1!$B$187:$B$241</c:f>
              <c:numCache>
                <c:formatCode>General</c:formatCode>
                <c:ptCount val="55"/>
                <c:pt idx="0">
                  <c:v>0.13390833557735</c:v>
                </c:pt>
                <c:pt idx="1">
                  <c:v>0.15043820895868865</c:v>
                </c:pt>
                <c:pt idx="2">
                  <c:v>0.1515786713078931</c:v>
                </c:pt>
                <c:pt idx="3">
                  <c:v>0.15244077965081904</c:v>
                </c:pt>
                <c:pt idx="4">
                  <c:v>0.15314324878920396</c:v>
                </c:pt>
                <c:pt idx="5">
                  <c:v>0.1485862234780076</c:v>
                </c:pt>
                <c:pt idx="6">
                  <c:v>0.1407071128964395</c:v>
                </c:pt>
                <c:pt idx="7">
                  <c:v>0.12335256007106715</c:v>
                </c:pt>
                <c:pt idx="8">
                  <c:v>0.10615262783092161</c:v>
                </c:pt>
                <c:pt idx="9">
                  <c:v>0.10913124238005517</c:v>
                </c:pt>
                <c:pt idx="10">
                  <c:v>0.10591305992029226</c:v>
                </c:pt>
                <c:pt idx="11">
                  <c:v>0.11214738895209583</c:v>
                </c:pt>
                <c:pt idx="12">
                  <c:v>0.11094782260819977</c:v>
                </c:pt>
                <c:pt idx="13">
                  <c:v>0.11295102511616278</c:v>
                </c:pt>
                <c:pt idx="14">
                  <c:v>0.11371938849491275</c:v>
                </c:pt>
                <c:pt idx="15">
                  <c:v>0.1128738093065158</c:v>
                </c:pt>
                <c:pt idx="16">
                  <c:v>0.1094648632323689</c:v>
                </c:pt>
                <c:pt idx="17">
                  <c:v>0.11025650267602796</c:v>
                </c:pt>
                <c:pt idx="18">
                  <c:v>0.08988617913154381</c:v>
                </c:pt>
                <c:pt idx="19">
                  <c:v>0.10568755883818434</c:v>
                </c:pt>
                <c:pt idx="20">
                  <c:v>0.11645922000130024</c:v>
                </c:pt>
                <c:pt idx="21">
                  <c:v>0.12916263804567332</c:v>
                </c:pt>
                <c:pt idx="22">
                  <c:v>0.13104091170360505</c:v>
                </c:pt>
                <c:pt idx="23">
                  <c:v>0.13046235489684915</c:v>
                </c:pt>
                <c:pt idx="24">
                  <c:v>0.12729093851768838</c:v>
                </c:pt>
                <c:pt idx="25">
                  <c:v>0.1224529313307138</c:v>
                </c:pt>
                <c:pt idx="26">
                  <c:v>0.11761918756979275</c:v>
                </c:pt>
                <c:pt idx="27">
                  <c:v>0.11722867598027503</c:v>
                </c:pt>
                <c:pt idx="28">
                  <c:v>0.11781764606502468</c:v>
                </c:pt>
                <c:pt idx="29">
                  <c:v>0.12413180089335846</c:v>
                </c:pt>
                <c:pt idx="30">
                  <c:v>0.12316607756839465</c:v>
                </c:pt>
                <c:pt idx="31">
                  <c:v>0.13020739028991898</c:v>
                </c:pt>
                <c:pt idx="32">
                  <c:v>0.13396298204318105</c:v>
                </c:pt>
                <c:pt idx="33">
                  <c:v>0.12674150501498432</c:v>
                </c:pt>
                <c:pt idx="34">
                  <c:v>0.124478178149556</c:v>
                </c:pt>
                <c:pt idx="35">
                  <c:v>0.13226938275628</c:v>
                </c:pt>
                <c:pt idx="36">
                  <c:v>0.1394153633527394</c:v>
                </c:pt>
                <c:pt idx="37">
                  <c:v>0.11583966820273486</c:v>
                </c:pt>
                <c:pt idx="38">
                  <c:v>0.11316601124310904</c:v>
                </c:pt>
                <c:pt idx="39">
                  <c:v>0.1128363468661994</c:v>
                </c:pt>
                <c:pt idx="40">
                  <c:v>0.104598722272225</c:v>
                </c:pt>
                <c:pt idx="41">
                  <c:v>0.10295438771432525</c:v>
                </c:pt>
                <c:pt idx="42">
                  <c:v>0.11348574331059999</c:v>
                </c:pt>
                <c:pt idx="43">
                  <c:v>0.09786131492450362</c:v>
                </c:pt>
                <c:pt idx="44">
                  <c:v>0.09413832201133915</c:v>
                </c:pt>
                <c:pt idx="45">
                  <c:v>0.10373539420162237</c:v>
                </c:pt>
                <c:pt idx="46">
                  <c:v>0.10882308652687137</c:v>
                </c:pt>
                <c:pt idx="47">
                  <c:v>0.10582830405406479</c:v>
                </c:pt>
                <c:pt idx="48">
                  <c:v>0.09276782930733052</c:v>
                </c:pt>
                <c:pt idx="49">
                  <c:v>0.09099818591599124</c:v>
                </c:pt>
                <c:pt idx="50">
                  <c:v>0.12175998468962171</c:v>
                </c:pt>
                <c:pt idx="51">
                  <c:v>0.11805043789496106</c:v>
                </c:pt>
                <c:pt idx="52">
                  <c:v>0.14536263821774342</c:v>
                </c:pt>
                <c:pt idx="53">
                  <c:v>0.14730034730353012</c:v>
                </c:pt>
                <c:pt idx="54">
                  <c:v>0.1062487182082119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718536389223965"/>
          <c:min val="0.05155866900175131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3.1205</c:v>
                </c:pt>
                <c:pt idx="1">
                  <c:v>972.9784</c:v>
                </c:pt>
                <c:pt idx="2">
                  <c:v>1058.4652</c:v>
                </c:pt>
                <c:pt idx="3">
                  <c:v>1077.2322</c:v>
                </c:pt>
                <c:pt idx="4">
                  <c:v>1054.6564</c:v>
                </c:pt>
                <c:pt idx="5">
                  <c:v>1038.0571</c:v>
                </c:pt>
                <c:pt idx="6">
                  <c:v>1019.6258</c:v>
                </c:pt>
                <c:pt idx="7">
                  <c:v>1045.4713</c:v>
                </c:pt>
                <c:pt idx="8">
                  <c:v>1019.2705</c:v>
                </c:pt>
                <c:pt idx="9">
                  <c:v>1026.8489</c:v>
                </c:pt>
                <c:pt idx="10">
                  <c:v>1041.2037</c:v>
                </c:pt>
                <c:pt idx="11">
                  <c:v>1060.2897</c:v>
                </c:pt>
                <c:pt idx="12">
                  <c:v>1048.3399</c:v>
                </c:pt>
                <c:pt idx="13">
                  <c:v>1020.4843</c:v>
                </c:pt>
                <c:pt idx="14">
                  <c:v>1040.1114</c:v>
                </c:pt>
                <c:pt idx="15">
                  <c:v>1037.3034</c:v>
                </c:pt>
                <c:pt idx="16">
                  <c:v>1012.1429</c:v>
                </c:pt>
                <c:pt idx="17">
                  <c:v>1040.846</c:v>
                </c:pt>
                <c:pt idx="18">
                  <c:v>1109.9291</c:v>
                </c:pt>
                <c:pt idx="19">
                  <c:v>1162.7761</c:v>
                </c:pt>
                <c:pt idx="20">
                  <c:v>1151.1892</c:v>
                </c:pt>
                <c:pt idx="21">
                  <c:v>1158.7752</c:v>
                </c:pt>
                <c:pt idx="22">
                  <c:v>1183.5754</c:v>
                </c:pt>
                <c:pt idx="23">
                  <c:v>1161.6796</c:v>
                </c:pt>
                <c:pt idx="24">
                  <c:v>1171.3821</c:v>
                </c:pt>
                <c:pt idx="25">
                  <c:v>1141.497</c:v>
                </c:pt>
                <c:pt idx="26">
                  <c:v>1171.4456</c:v>
                </c:pt>
                <c:pt idx="27">
                  <c:v>1108.0251</c:v>
                </c:pt>
                <c:pt idx="28">
                  <c:v>1104.3175</c:v>
                </c:pt>
                <c:pt idx="29">
                  <c:v>1091.8481</c:v>
                </c:pt>
                <c:pt idx="30">
                  <c:v>1106.2555</c:v>
                </c:pt>
                <c:pt idx="31">
                  <c:v>1100.6525</c:v>
                </c:pt>
                <c:pt idx="32">
                  <c:v>1117.1694</c:v>
                </c:pt>
                <c:pt idx="33">
                  <c:v>1146.3719</c:v>
                </c:pt>
                <c:pt idx="34">
                  <c:v>1169.0703</c:v>
                </c:pt>
                <c:pt idx="35">
                  <c:v>1217.2539</c:v>
                </c:pt>
                <c:pt idx="36">
                  <c:v>1287.4348</c:v>
                </c:pt>
                <c:pt idx="37">
                  <c:v>1301.0198</c:v>
                </c:pt>
                <c:pt idx="38">
                  <c:v>1379.8717</c:v>
                </c:pt>
                <c:pt idx="39">
                  <c:v>1284.9136</c:v>
                </c:pt>
                <c:pt idx="40">
                  <c:v>1324.3985</c:v>
                </c:pt>
                <c:pt idx="41">
                  <c:v>1309.1397</c:v>
                </c:pt>
                <c:pt idx="42">
                  <c:v>1364.9361</c:v>
                </c:pt>
                <c:pt idx="43">
                  <c:v>1358.1699</c:v>
                </c:pt>
                <c:pt idx="44">
                  <c:v>1154.8682</c:v>
                </c:pt>
                <c:pt idx="45">
                  <c:v>1089.4053</c:v>
                </c:pt>
                <c:pt idx="46">
                  <c:v>1111.993</c:v>
                </c:pt>
                <c:pt idx="47">
                  <c:v>1098.4079</c:v>
                </c:pt>
                <c:pt idx="48">
                  <c:v>1100.9921</c:v>
                </c:pt>
                <c:pt idx="49">
                  <c:v>1066.2668</c:v>
                </c:pt>
                <c:pt idx="50">
                  <c:v>1059.1385</c:v>
                </c:pt>
                <c:pt idx="51">
                  <c:v>1098.025</c:v>
                </c:pt>
                <c:pt idx="52">
                  <c:v>1111.8597</c:v>
                </c:pt>
                <c:pt idx="53">
                  <c:v>1227.2376</c:v>
                </c:pt>
                <c:pt idx="54">
                  <c:v>1284.5237</c:v>
                </c:pt>
                <c:pt idx="55">
                  <c:v>1288.6824</c:v>
                </c:pt>
                <c:pt idx="56">
                  <c:v>1297.686</c:v>
                </c:pt>
                <c:pt idx="57">
                  <c:v>1264.9632</c:v>
                </c:pt>
                <c:pt idx="58">
                  <c:v>1230.2165</c:v>
                </c:pt>
                <c:pt idx="59">
                  <c:v>1198.2792</c:v>
                </c:pt>
                <c:pt idx="60">
                  <c:v>1198.786</c:v>
                </c:pt>
                <c:pt idx="61">
                  <c:v>1172.7194</c:v>
                </c:pt>
                <c:pt idx="62">
                  <c:v>1162.7573</c:v>
                </c:pt>
                <c:pt idx="63">
                  <c:v>1160.3346</c:v>
                </c:pt>
                <c:pt idx="64">
                  <c:v>1165.642</c:v>
                </c:pt>
                <c:pt idx="65">
                  <c:v>1150.2397</c:v>
                </c:pt>
                <c:pt idx="66">
                  <c:v>1164.2383</c:v>
                </c:pt>
                <c:pt idx="67">
                  <c:v>1245.2292</c:v>
                </c:pt>
                <c:pt idx="68">
                  <c:v>1308.3196</c:v>
                </c:pt>
                <c:pt idx="69">
                  <c:v>1292.7913</c:v>
                </c:pt>
                <c:pt idx="70">
                  <c:v>1234.8254</c:v>
                </c:pt>
                <c:pt idx="71">
                  <c:v>1271.649</c:v>
                </c:pt>
                <c:pt idx="72">
                  <c:v>1352.3372</c:v>
                </c:pt>
                <c:pt idx="73">
                  <c:v>1285.4808</c:v>
                </c:pt>
                <c:pt idx="74">
                  <c:v>1224.9639</c:v>
                </c:pt>
                <c:pt idx="75">
                  <c:v>1237.2927</c:v>
                </c:pt>
                <c:pt idx="76">
                  <c:v>1285.8459</c:v>
                </c:pt>
                <c:pt idx="77">
                  <c:v>1289.0526</c:v>
                </c:pt>
                <c:pt idx="78">
                  <c:v>1304.4161</c:v>
                </c:pt>
                <c:pt idx="79">
                  <c:v>1330.5292</c:v>
                </c:pt>
                <c:pt idx="80">
                  <c:v>1353.4868</c:v>
                </c:pt>
                <c:pt idx="81">
                  <c:v>1366.5696</c:v>
                </c:pt>
                <c:pt idx="82">
                  <c:v>1366.8138</c:v>
                </c:pt>
                <c:pt idx="83">
                  <c:v>1401.8859</c:v>
                </c:pt>
                <c:pt idx="84">
                  <c:v>1363.8507</c:v>
                </c:pt>
                <c:pt idx="85">
                  <c:v>1356.2925</c:v>
                </c:pt>
                <c:pt idx="86">
                  <c:v>1307.4701</c:v>
                </c:pt>
                <c:pt idx="87">
                  <c:v>1310.4435</c:v>
                </c:pt>
                <c:pt idx="88">
                  <c:v>1287.7951</c:v>
                </c:pt>
                <c:pt idx="89">
                  <c:v>1247.5088</c:v>
                </c:pt>
                <c:pt idx="90">
                  <c:v>1316.7128</c:v>
                </c:pt>
                <c:pt idx="91">
                  <c:v>1314.6528</c:v>
                </c:pt>
                <c:pt idx="92">
                  <c:v>1254.5632</c:v>
                </c:pt>
                <c:pt idx="93">
                  <c:v>1264.0918</c:v>
                </c:pt>
                <c:pt idx="94">
                  <c:v>1305.6087</c:v>
                </c:pt>
                <c:pt idx="95">
                  <c:v>1239.703</c:v>
                </c:pt>
                <c:pt idx="96">
                  <c:v>1150.7004</c:v>
                </c:pt>
                <c:pt idx="97">
                  <c:v>1201.4307</c:v>
                </c:pt>
                <c:pt idx="98">
                  <c:v>1183.1465</c:v>
                </c:pt>
                <c:pt idx="99">
                  <c:v>1167.0387</c:v>
                </c:pt>
                <c:pt idx="100">
                  <c:v>1205.8246</c:v>
                </c:pt>
                <c:pt idx="101">
                  <c:v>1191.2259</c:v>
                </c:pt>
                <c:pt idx="102">
                  <c:v>1236.1887</c:v>
                </c:pt>
                <c:pt idx="103">
                  <c:v>825.3529</c:v>
                </c:pt>
                <c:pt idx="104">
                  <c:v>971.1675</c:v>
                </c:pt>
              </c:numCache>
            </c:numRef>
          </c:xVal>
          <c:yVal>
            <c:numRef>
              <c:f>Sheet1!$B$2:$B$106</c:f>
              <c:numCache>
                <c:formatCode>General</c:formatCode>
                <c:ptCount val="105"/>
                <c:pt idx="0">
                  <c:v>0.14195168619947382</c:v>
                </c:pt>
                <c:pt idx="1">
                  <c:v>0.15050120005647324</c:v>
                </c:pt>
                <c:pt idx="2">
                  <c:v>0.14211960418758066</c:v>
                </c:pt>
                <c:pt idx="3">
                  <c:v>0.14852894653590637</c:v>
                </c:pt>
                <c:pt idx="4">
                  <c:v>0.15576102418207682</c:v>
                </c:pt>
                <c:pt idx="5">
                  <c:v>0.14455445544554454</c:v>
                </c:pt>
                <c:pt idx="6">
                  <c:v>0.14290030211480362</c:v>
                </c:pt>
                <c:pt idx="7">
                  <c:v>0.14358880556063655</c:v>
                </c:pt>
                <c:pt idx="8">
                  <c:v>0.15579710144927536</c:v>
                </c:pt>
                <c:pt idx="9">
                  <c:v>0.13494901337571183</c:v>
                </c:pt>
                <c:pt idx="10">
                  <c:v>0.1387088410681877</c:v>
                </c:pt>
                <c:pt idx="11">
                  <c:v>0.1388295029396045</c:v>
                </c:pt>
                <c:pt idx="12">
                  <c:v>0.13758306669948314</c:v>
                </c:pt>
                <c:pt idx="13">
                  <c:v>0.1398362058428065</c:v>
                </c:pt>
                <c:pt idx="14">
                  <c:v>0.13131685724824788</c:v>
                </c:pt>
                <c:pt idx="15">
                  <c:v>0.13935185185185187</c:v>
                </c:pt>
                <c:pt idx="16">
                  <c:v>0.13922926656011367</c:v>
                </c:pt>
                <c:pt idx="17">
                  <c:v>0.14006449012494962</c:v>
                </c:pt>
                <c:pt idx="18">
                  <c:v>0.12545620437956204</c:v>
                </c:pt>
                <c:pt idx="19">
                  <c:v>0.10763052208835341</c:v>
                </c:pt>
                <c:pt idx="20">
                  <c:v>0.11133288977600354</c:v>
                </c:pt>
                <c:pt idx="21">
                  <c:v>0.11504161712247325</c:v>
                </c:pt>
                <c:pt idx="22">
                  <c:v>0.09789444900191414</c:v>
                </c:pt>
                <c:pt idx="23">
                  <c:v>0.10480602200347423</c:v>
                </c:pt>
                <c:pt idx="24">
                  <c:v>0.09991876523151909</c:v>
                </c:pt>
                <c:pt idx="25">
                  <c:v>0.10039549741405537</c:v>
                </c:pt>
                <c:pt idx="26">
                  <c:v>0.10102067521591207</c:v>
                </c:pt>
                <c:pt idx="27">
                  <c:v>0.0972391888590276</c:v>
                </c:pt>
                <c:pt idx="28">
                  <c:v>0.11006781429316641</c:v>
                </c:pt>
                <c:pt idx="29">
                  <c:v>0.11087719298245614</c:v>
                </c:pt>
                <c:pt idx="30">
                  <c:v>0.09285295840656121</c:v>
                </c:pt>
                <c:pt idx="31">
                  <c:v>0.08427742470295661</c:v>
                </c:pt>
                <c:pt idx="32">
                  <c:v>0.08587412587412588</c:v>
                </c:pt>
                <c:pt idx="33">
                  <c:v>0.09816353301268037</c:v>
                </c:pt>
                <c:pt idx="34">
                  <c:v>0.09497310332034872</c:v>
                </c:pt>
                <c:pt idx="35">
                  <c:v>0.09036239911378383</c:v>
                </c:pt>
                <c:pt idx="36">
                  <c:v>0.07871954902355546</c:v>
                </c:pt>
                <c:pt idx="37">
                  <c:v>0.07193732193732194</c:v>
                </c:pt>
                <c:pt idx="38">
                  <c:v>0.06608478802992519</c:v>
                </c:pt>
                <c:pt idx="39">
                  <c:v>0.08318356867779204</c:v>
                </c:pt>
                <c:pt idx="40">
                  <c:v>0.08314232131694103</c:v>
                </c:pt>
                <c:pt idx="41">
                  <c:v>0.08505583273936802</c:v>
                </c:pt>
                <c:pt idx="42">
                  <c:v>0.0830104017948195</c:v>
                </c:pt>
                <c:pt idx="43">
                  <c:v>0.08611111111111111</c:v>
                </c:pt>
                <c:pt idx="44">
                  <c:v>0.10602272727272727</c:v>
                </c:pt>
                <c:pt idx="45">
                  <c:v>0.12461090470930816</c:v>
                </c:pt>
                <c:pt idx="46">
                  <c:v>0.12609422641880594</c:v>
                </c:pt>
                <c:pt idx="47">
                  <c:v>0.12251889168765744</c:v>
                </c:pt>
                <c:pt idx="48">
                  <c:v>0.13815741483696842</c:v>
                </c:pt>
                <c:pt idx="49">
                  <c:v>0.15581066046323455</c:v>
                </c:pt>
                <c:pt idx="50">
                  <c:v>0.13583493476281985</c:v>
                </c:pt>
                <c:pt idx="51">
                  <c:v>0.12219119797899215</c:v>
                </c:pt>
                <c:pt idx="52">
                  <c:v>0.12529208857238233</c:v>
                </c:pt>
                <c:pt idx="53">
                  <c:v>0.11089192616598563</c:v>
                </c:pt>
                <c:pt idx="54">
                  <c:v>0.10493431592438321</c:v>
                </c:pt>
                <c:pt idx="55">
                  <c:v>0.10317975340687865</c:v>
                </c:pt>
                <c:pt idx="56">
                  <c:v>0.11541168191414497</c:v>
                </c:pt>
                <c:pt idx="57">
                  <c:v>0.10920738974970202</c:v>
                </c:pt>
                <c:pt idx="58">
                  <c:v>0.11996251171508904</c:v>
                </c:pt>
                <c:pt idx="59">
                  <c:v>0.12348855158219707</c:v>
                </c:pt>
                <c:pt idx="60">
                  <c:v>0.14592599602536196</c:v>
                </c:pt>
                <c:pt idx="61">
                  <c:v>0.15469101495302368</c:v>
                </c:pt>
                <c:pt idx="62">
                  <c:v>0.14254278728606357</c:v>
                </c:pt>
                <c:pt idx="63">
                  <c:v>0.14449181063495625</c:v>
                </c:pt>
                <c:pt idx="64">
                  <c:v>0.12331186370247248</c:v>
                </c:pt>
                <c:pt idx="65">
                  <c:v>0.11436917200314571</c:v>
                </c:pt>
                <c:pt idx="66">
                  <c:v>0.11357995508805106</c:v>
                </c:pt>
                <c:pt idx="67">
                  <c:v>0.10529032258064516</c:v>
                </c:pt>
                <c:pt idx="68">
                  <c:v>0.0859023763648041</c:v>
                </c:pt>
                <c:pt idx="69">
                  <c:v>0.08000814332247556</c:v>
                </c:pt>
                <c:pt idx="70">
                  <c:v>0.07508939213349225</c:v>
                </c:pt>
                <c:pt idx="71">
                  <c:v>0.0948256211534078</c:v>
                </c:pt>
                <c:pt idx="72">
                  <c:v>0.09068219633943428</c:v>
                </c:pt>
                <c:pt idx="73">
                  <c:v>0.09822904368358913</c:v>
                </c:pt>
                <c:pt idx="74">
                  <c:v>0.10279353993889132</c:v>
                </c:pt>
                <c:pt idx="75">
                  <c:v>0.09519112207151664</c:v>
                </c:pt>
                <c:pt idx="76">
                  <c:v>0.09653866955110871</c:v>
                </c:pt>
                <c:pt idx="77">
                  <c:v>0.08614338339472939</c:v>
                </c:pt>
                <c:pt idx="78">
                  <c:v>0.09059233449477352</c:v>
                </c:pt>
                <c:pt idx="79">
                  <c:v>0.08451931455126344</c:v>
                </c:pt>
                <c:pt idx="80">
                  <c:v>0.07410514541387024</c:v>
                </c:pt>
                <c:pt idx="81">
                  <c:v>0.0732159406858202</c:v>
                </c:pt>
                <c:pt idx="82">
                  <c:v>0.07567401960784313</c:v>
                </c:pt>
                <c:pt idx="83">
                  <c:v>0.06444833625218914</c:v>
                </c:pt>
                <c:pt idx="84">
                  <c:v>0.07013258897418004</c:v>
                </c:pt>
                <c:pt idx="85">
                  <c:v>0.07618187292984041</c:v>
                </c:pt>
                <c:pt idx="86">
                  <c:v>0.08073716542343133</c:v>
                </c:pt>
                <c:pt idx="87">
                  <c:v>0.08907762196326288</c:v>
                </c:pt>
                <c:pt idx="88">
                  <c:v>0.08535630383711824</c:v>
                </c:pt>
                <c:pt idx="89">
                  <c:v>0.08487194758784991</c:v>
                </c:pt>
                <c:pt idx="90">
                  <c:v>0.0878419452887538</c:v>
                </c:pt>
                <c:pt idx="91">
                  <c:v>0.08064516129032258</c:v>
                </c:pt>
                <c:pt idx="92">
                  <c:v>0.09415730337078651</c:v>
                </c:pt>
                <c:pt idx="93">
                  <c:v>0.08726721524469468</c:v>
                </c:pt>
                <c:pt idx="94">
                  <c:v>0.08216241962371994</c:v>
                </c:pt>
                <c:pt idx="95">
                  <c:v>0.09284467713787085</c:v>
                </c:pt>
                <c:pt idx="96">
                  <c:v>0.09337637494022</c:v>
                </c:pt>
                <c:pt idx="97">
                  <c:v>0.10137404580152672</c:v>
                </c:pt>
                <c:pt idx="98">
                  <c:v>0.11171059614364054</c:v>
                </c:pt>
                <c:pt idx="99">
                  <c:v>0.11396163215590743</c:v>
                </c:pt>
                <c:pt idx="100">
                  <c:v>0.11939125063177403</c:v>
                </c:pt>
                <c:pt idx="101">
                  <c:v>0.12548618219037871</c:v>
                </c:pt>
                <c:pt idx="102">
                  <c:v>0.10878170356252749</c:v>
                </c:pt>
                <c:pt idx="103">
                  <c:v>0.15746519443110898</c:v>
                </c:pt>
                <c:pt idx="104">
                  <c:v>0.147218552766769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67.5886</c:v>
                </c:pt>
                <c:pt idx="1">
                  <c:v>1107.415</c:v>
                </c:pt>
                <c:pt idx="2">
                  <c:v>1092.3789</c:v>
                </c:pt>
                <c:pt idx="3">
                  <c:v>1136.3487</c:v>
                </c:pt>
                <c:pt idx="4">
                  <c:v>1121.2626</c:v>
                </c:pt>
                <c:pt idx="5">
                  <c:v>1123.183</c:v>
                </c:pt>
                <c:pt idx="6">
                  <c:v>1084.8677</c:v>
                </c:pt>
                <c:pt idx="7">
                  <c:v>1207.9677</c:v>
                </c:pt>
                <c:pt idx="8">
                  <c:v>1358.457</c:v>
                </c:pt>
                <c:pt idx="9">
                  <c:v>1316.3789</c:v>
                </c:pt>
                <c:pt idx="10">
                  <c:v>1340.4132</c:v>
                </c:pt>
                <c:pt idx="11">
                  <c:v>1206.9616</c:v>
                </c:pt>
                <c:pt idx="12">
                  <c:v>1251.5272</c:v>
                </c:pt>
                <c:pt idx="13">
                  <c:v>1322.0038</c:v>
                </c:pt>
                <c:pt idx="14">
                  <c:v>1309.0926</c:v>
                </c:pt>
                <c:pt idx="15">
                  <c:v>1327.5596</c:v>
                </c:pt>
                <c:pt idx="16">
                  <c:v>1341.2779</c:v>
                </c:pt>
                <c:pt idx="17">
                  <c:v>1306.7601</c:v>
                </c:pt>
                <c:pt idx="18">
                  <c:v>1394.3456</c:v>
                </c:pt>
                <c:pt idx="19">
                  <c:v>1428.4798</c:v>
                </c:pt>
                <c:pt idx="20">
                  <c:v>1392.9446</c:v>
                </c:pt>
                <c:pt idx="21">
                  <c:v>1272.9426</c:v>
                </c:pt>
                <c:pt idx="22">
                  <c:v>1234.7474</c:v>
                </c:pt>
                <c:pt idx="23">
                  <c:v>1269.1437</c:v>
                </c:pt>
                <c:pt idx="24">
                  <c:v>1279.6592</c:v>
                </c:pt>
                <c:pt idx="25">
                  <c:v>1235.56</c:v>
                </c:pt>
                <c:pt idx="26">
                  <c:v>1290.5318</c:v>
                </c:pt>
                <c:pt idx="27">
                  <c:v>1283.3147</c:v>
                </c:pt>
                <c:pt idx="28">
                  <c:v>1298.8484</c:v>
                </c:pt>
                <c:pt idx="29">
                  <c:v>1297.3112</c:v>
                </c:pt>
                <c:pt idx="30">
                  <c:v>1307.4289</c:v>
                </c:pt>
                <c:pt idx="31">
                  <c:v>1223.228</c:v>
                </c:pt>
                <c:pt idx="32">
                  <c:v>1198.9306</c:v>
                </c:pt>
                <c:pt idx="33">
                  <c:v>1250.9637</c:v>
                </c:pt>
                <c:pt idx="34">
                  <c:v>1270.3541</c:v>
                </c:pt>
                <c:pt idx="35">
                  <c:v>1235.5213</c:v>
                </c:pt>
                <c:pt idx="36">
                  <c:v>1238.4309</c:v>
                </c:pt>
                <c:pt idx="37">
                  <c:v>1448.3056</c:v>
                </c:pt>
                <c:pt idx="38">
                  <c:v>1452.1702</c:v>
                </c:pt>
                <c:pt idx="39">
                  <c:v>1360.4219</c:v>
                </c:pt>
                <c:pt idx="40">
                  <c:v>1386.8719</c:v>
                </c:pt>
                <c:pt idx="41">
                  <c:v>1419.833</c:v>
                </c:pt>
                <c:pt idx="42">
                  <c:v>1374.7506</c:v>
                </c:pt>
                <c:pt idx="43">
                  <c:v>1421.2358</c:v>
                </c:pt>
                <c:pt idx="44">
                  <c:v>1327.693</c:v>
                </c:pt>
                <c:pt idx="45">
                  <c:v>1269.7295</c:v>
                </c:pt>
                <c:pt idx="46">
                  <c:v>1257.0256</c:v>
                </c:pt>
                <c:pt idx="47">
                  <c:v>1244.9541</c:v>
                </c:pt>
                <c:pt idx="48">
                  <c:v>1243.9375</c:v>
                </c:pt>
                <c:pt idx="49">
                  <c:v>1257.5794</c:v>
                </c:pt>
                <c:pt idx="50">
                  <c:v>1095.2617</c:v>
                </c:pt>
                <c:pt idx="51">
                  <c:v>1064.9891</c:v>
                </c:pt>
              </c:numCache>
            </c:numRef>
          </c:xVal>
          <c:yVal>
            <c:numRef>
              <c:f>Sheet1!$B$109:$B$160</c:f>
              <c:numCache>
                <c:formatCode>General</c:formatCode>
                <c:ptCount val="52"/>
                <c:pt idx="0">
                  <c:v>0.1268227424749164</c:v>
                </c:pt>
                <c:pt idx="1">
                  <c:v>0.1588068181818182</c:v>
                </c:pt>
                <c:pt idx="2">
                  <c:v>0.15699658703071673</c:v>
                </c:pt>
                <c:pt idx="3">
                  <c:v>0.1610764430577223</c:v>
                </c:pt>
                <c:pt idx="4">
                  <c:v>0.16432113657686637</c:v>
                </c:pt>
                <c:pt idx="5">
                  <c:v>0.15303707599263738</c:v>
                </c:pt>
                <c:pt idx="6">
                  <c:v>0.1380714202628824</c:v>
                </c:pt>
                <c:pt idx="7">
                  <c:v>0.1294685990338164</c:v>
                </c:pt>
                <c:pt idx="8">
                  <c:v>0.1196629213483146</c:v>
                </c:pt>
                <c:pt idx="9">
                  <c:v>0.12468365108824025</c:v>
                </c:pt>
                <c:pt idx="10">
                  <c:v>0.12678600755460667</c:v>
                </c:pt>
                <c:pt idx="11">
                  <c:v>0.12135330005546312</c:v>
                </c:pt>
                <c:pt idx="12">
                  <c:v>0.1178239832614097</c:v>
                </c:pt>
                <c:pt idx="13">
                  <c:v>0.11398286626978366</c:v>
                </c:pt>
                <c:pt idx="14">
                  <c:v>0.11931818181818182</c:v>
                </c:pt>
                <c:pt idx="15">
                  <c:v>0.11417597765363129</c:v>
                </c:pt>
                <c:pt idx="16">
                  <c:v>0.10456312666257418</c:v>
                </c:pt>
                <c:pt idx="17">
                  <c:v>0.10055508112724168</c:v>
                </c:pt>
                <c:pt idx="18">
                  <c:v>0.09002375296912114</c:v>
                </c:pt>
                <c:pt idx="19">
                  <c:v>0.10313571778539932</c:v>
                </c:pt>
                <c:pt idx="20">
                  <c:v>0.10834762721555175</c:v>
                </c:pt>
                <c:pt idx="21">
                  <c:v>0.11929595827900913</c:v>
                </c:pt>
                <c:pt idx="22">
                  <c:v>0.12532981530343007</c:v>
                </c:pt>
                <c:pt idx="23">
                  <c:v>0.12182566918325326</c:v>
                </c:pt>
                <c:pt idx="24">
                  <c:v>0.11522368844544577</c:v>
                </c:pt>
                <c:pt idx="25">
                  <c:v>0.10758027143330023</c:v>
                </c:pt>
                <c:pt idx="26">
                  <c:v>0.09849435382685069</c:v>
                </c:pt>
                <c:pt idx="27">
                  <c:v>0.10454418734318371</c:v>
                </c:pt>
                <c:pt idx="28">
                  <c:v>0.11221122112211221</c:v>
                </c:pt>
                <c:pt idx="29">
                  <c:v>0.11838790931989925</c:v>
                </c:pt>
                <c:pt idx="30">
                  <c:v>0.12200504413619168</c:v>
                </c:pt>
                <c:pt idx="31">
                  <c:v>0.12251767081790643</c:v>
                </c:pt>
                <c:pt idx="32">
                  <c:v>0.13170300530347673</c:v>
                </c:pt>
                <c:pt idx="33">
                  <c:v>0.13992496137717944</c:v>
                </c:pt>
                <c:pt idx="34">
                  <c:v>0.1425091352009744</c:v>
                </c:pt>
                <c:pt idx="35">
                  <c:v>0.14329268292682926</c:v>
                </c:pt>
                <c:pt idx="36">
                  <c:v>0.1296561604584527</c:v>
                </c:pt>
                <c:pt idx="37">
                  <c:v>0.09927440633245382</c:v>
                </c:pt>
                <c:pt idx="38">
                  <c:v>0.10601503759398496</c:v>
                </c:pt>
                <c:pt idx="39">
                  <c:v>0.11750205423171733</c:v>
                </c:pt>
                <c:pt idx="40">
                  <c:v>0.10727762803234502</c:v>
                </c:pt>
                <c:pt idx="41">
                  <c:v>0.11290322580645161</c:v>
                </c:pt>
                <c:pt idx="42">
                  <c:v>0.1174296275234575</c:v>
                </c:pt>
                <c:pt idx="43">
                  <c:v>0.10725964682799215</c:v>
                </c:pt>
                <c:pt idx="44">
                  <c:v>0.10224482637670992</c:v>
                </c:pt>
                <c:pt idx="45">
                  <c:v>0.10173239955768522</c:v>
                </c:pt>
                <c:pt idx="46">
                  <c:v>0.0998719590268886</c:v>
                </c:pt>
                <c:pt idx="47">
                  <c:v>0.0953299884214589</c:v>
                </c:pt>
                <c:pt idx="48">
                  <c:v>0.08533779544028446</c:v>
                </c:pt>
                <c:pt idx="49">
                  <c:v>0.0927533404857115</c:v>
                </c:pt>
                <c:pt idx="50">
                  <c:v>0.12069191455903551</c:v>
                </c:pt>
                <c:pt idx="51">
                  <c:v>0.1208989304170171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30.482678531442</c:v>
                </c:pt>
              </c:numCache>
            </c:numRef>
          </c:xVal>
          <c:yVal>
            <c:numRef>
              <c:f>Sheet1!$B$163:$B$164</c:f>
              <c:numCache>
                <c:formatCode>General</c:formatCode>
                <c:ptCount val="2"/>
                <c:pt idx="0">
                  <c:v>0.14730034730353012</c:v>
                </c:pt>
                <c:pt idx="1">
                  <c:v>0.1473003473035301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30.482678531442</c:v>
                </c:pt>
                <c:pt idx="1">
                  <c:v>1030.482678531442</c:v>
                </c:pt>
              </c:numCache>
            </c:numRef>
          </c:xVal>
          <c:yVal>
            <c:numRef>
              <c:f>Sheet1!$B$167:$B$168</c:f>
              <c:numCache>
                <c:formatCode>General</c:formatCode>
                <c:ptCount val="2"/>
                <c:pt idx="0">
                  <c:v>0.1473003473035301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47.0938233996233</c:v>
                </c:pt>
              </c:numCache>
            </c:numRef>
          </c:xVal>
          <c:yVal>
            <c:numRef>
              <c:f>Sheet1!$B$171:$B$172</c:f>
              <c:numCache>
                <c:formatCode>General</c:formatCode>
                <c:ptCount val="2"/>
                <c:pt idx="0">
                  <c:v>0.14536263821774342</c:v>
                </c:pt>
                <c:pt idx="1">
                  <c:v>0.1453626382177434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47.0938233996233</c:v>
                </c:pt>
                <c:pt idx="1">
                  <c:v>1047.0938233996233</c:v>
                </c:pt>
              </c:numCache>
            </c:numRef>
          </c:xVal>
          <c:yVal>
            <c:numRef>
              <c:f>Sheet1!$B$175:$B$176</c:f>
              <c:numCache>
                <c:formatCode>General</c:formatCode>
                <c:ptCount val="2"/>
                <c:pt idx="0">
                  <c:v>0.1453626382177434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82.4006021140378</c:v>
                </c:pt>
              </c:numCache>
            </c:numRef>
          </c:xVal>
          <c:yVal>
            <c:numRef>
              <c:f>Sheet1!$B$179:$B$180</c:f>
              <c:numCache>
                <c:formatCode>General</c:formatCode>
                <c:ptCount val="2"/>
                <c:pt idx="0">
                  <c:v>0.10624871820821191</c:v>
                </c:pt>
                <c:pt idx="1">
                  <c:v>0.1062487182082119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82.4006021140378</c:v>
                </c:pt>
                <c:pt idx="1">
                  <c:v>1382.4006021140378</c:v>
                </c:pt>
              </c:numCache>
            </c:numRef>
          </c:xVal>
          <c:yVal>
            <c:numRef>
              <c:f>Sheet1!$B$183:$B$184</c:f>
              <c:numCache>
                <c:formatCode>General</c:formatCode>
                <c:ptCount val="2"/>
                <c:pt idx="0">
                  <c:v>0.1062487182082119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67.5886</c:v>
                </c:pt>
                <c:pt idx="1">
                  <c:v>1107.415</c:v>
                </c:pt>
                <c:pt idx="2">
                  <c:v>1092.3789</c:v>
                </c:pt>
                <c:pt idx="3">
                  <c:v>1136.3487</c:v>
                </c:pt>
                <c:pt idx="4">
                  <c:v>1121.2626</c:v>
                </c:pt>
                <c:pt idx="5">
                  <c:v>1123.183</c:v>
                </c:pt>
                <c:pt idx="6">
                  <c:v>1084.8677</c:v>
                </c:pt>
                <c:pt idx="7">
                  <c:v>1207.9677</c:v>
                </c:pt>
                <c:pt idx="8">
                  <c:v>1358.457</c:v>
                </c:pt>
                <c:pt idx="9">
                  <c:v>1316.3789</c:v>
                </c:pt>
                <c:pt idx="10">
                  <c:v>1340.4132</c:v>
                </c:pt>
                <c:pt idx="11">
                  <c:v>1206.9616</c:v>
                </c:pt>
                <c:pt idx="12">
                  <c:v>1251.5272</c:v>
                </c:pt>
                <c:pt idx="13">
                  <c:v>1322.0038</c:v>
                </c:pt>
                <c:pt idx="14">
                  <c:v>1309.0926</c:v>
                </c:pt>
                <c:pt idx="15">
                  <c:v>1327.5596</c:v>
                </c:pt>
                <c:pt idx="16">
                  <c:v>1341.2779</c:v>
                </c:pt>
                <c:pt idx="17">
                  <c:v>1306.7601</c:v>
                </c:pt>
                <c:pt idx="18">
                  <c:v>1394.3456</c:v>
                </c:pt>
                <c:pt idx="19">
                  <c:v>1428.4798</c:v>
                </c:pt>
                <c:pt idx="20">
                  <c:v>1392.9446</c:v>
                </c:pt>
                <c:pt idx="21">
                  <c:v>1272.9426</c:v>
                </c:pt>
                <c:pt idx="22">
                  <c:v>1234.7474</c:v>
                </c:pt>
                <c:pt idx="23">
                  <c:v>1269.1437</c:v>
                </c:pt>
                <c:pt idx="24">
                  <c:v>1279.6592</c:v>
                </c:pt>
                <c:pt idx="25">
                  <c:v>1235.56</c:v>
                </c:pt>
                <c:pt idx="26">
                  <c:v>1290.5318</c:v>
                </c:pt>
                <c:pt idx="27">
                  <c:v>1283.3147</c:v>
                </c:pt>
                <c:pt idx="28">
                  <c:v>1298.8484</c:v>
                </c:pt>
                <c:pt idx="29">
                  <c:v>1297.3112</c:v>
                </c:pt>
                <c:pt idx="30">
                  <c:v>1307.4289</c:v>
                </c:pt>
                <c:pt idx="31">
                  <c:v>1223.228</c:v>
                </c:pt>
                <c:pt idx="32">
                  <c:v>1198.9306</c:v>
                </c:pt>
                <c:pt idx="33">
                  <c:v>1250.9637</c:v>
                </c:pt>
                <c:pt idx="34">
                  <c:v>1270.3541</c:v>
                </c:pt>
                <c:pt idx="35">
                  <c:v>1235.5213</c:v>
                </c:pt>
                <c:pt idx="36">
                  <c:v>1238.4309</c:v>
                </c:pt>
                <c:pt idx="37">
                  <c:v>1448.3056</c:v>
                </c:pt>
                <c:pt idx="38">
                  <c:v>1452.1702</c:v>
                </c:pt>
                <c:pt idx="39">
                  <c:v>1360.4219</c:v>
                </c:pt>
                <c:pt idx="40">
                  <c:v>1386.8719</c:v>
                </c:pt>
                <c:pt idx="41">
                  <c:v>1419.833</c:v>
                </c:pt>
                <c:pt idx="42">
                  <c:v>1374.7506</c:v>
                </c:pt>
                <c:pt idx="43">
                  <c:v>1421.2358</c:v>
                </c:pt>
                <c:pt idx="44">
                  <c:v>1327.693</c:v>
                </c:pt>
                <c:pt idx="45">
                  <c:v>1269.7295</c:v>
                </c:pt>
                <c:pt idx="46">
                  <c:v>1257.0256</c:v>
                </c:pt>
                <c:pt idx="47">
                  <c:v>1244.9541</c:v>
                </c:pt>
                <c:pt idx="48">
                  <c:v>1243.9375</c:v>
                </c:pt>
                <c:pt idx="49">
                  <c:v>1257.5794</c:v>
                </c:pt>
                <c:pt idx="50">
                  <c:v>1095.2617</c:v>
                </c:pt>
                <c:pt idx="51">
                  <c:v>1064.9891</c:v>
                </c:pt>
                <c:pt idx="52">
                  <c:v>1047.0938233996233</c:v>
                </c:pt>
                <c:pt idx="53">
                  <c:v>1030.482678531442</c:v>
                </c:pt>
                <c:pt idx="54">
                  <c:v>1382.4006021140378</c:v>
                </c:pt>
              </c:numCache>
            </c:numRef>
          </c:xVal>
          <c:yVal>
            <c:numRef>
              <c:f>Sheet1!$B$187:$B$241</c:f>
              <c:numCache>
                <c:formatCode>General</c:formatCode>
                <c:ptCount val="55"/>
                <c:pt idx="0">
                  <c:v>0.13130678443636892</c:v>
                </c:pt>
                <c:pt idx="1">
                  <c:v>0.13832610383727542</c:v>
                </c:pt>
                <c:pt idx="2">
                  <c:v>0.140080082134136</c:v>
                </c:pt>
                <c:pt idx="3">
                  <c:v>0.13495095457331235</c:v>
                </c:pt>
                <c:pt idx="4">
                  <c:v>0.13671076542747457</c:v>
                </c:pt>
                <c:pt idx="5">
                  <c:v>0.13648674856663356</c:v>
                </c:pt>
                <c:pt idx="6">
                  <c:v>0.14095627222221596</c:v>
                </c:pt>
                <c:pt idx="7">
                  <c:v>0.12659651614560452</c:v>
                </c:pt>
                <c:pt idx="8">
                  <c:v>0.1090417668349627</c:v>
                </c:pt>
                <c:pt idx="9">
                  <c:v>0.1139502254228365</c:v>
                </c:pt>
                <c:pt idx="10">
                  <c:v>0.1111465967837455</c:v>
                </c:pt>
                <c:pt idx="11">
                  <c:v>0.12671387886362787</c:v>
                </c:pt>
                <c:pt idx="12">
                  <c:v>0.12151525054999804</c:v>
                </c:pt>
                <c:pt idx="13">
                  <c:v>0.11329407439151781</c:v>
                </c:pt>
                <c:pt idx="14">
                  <c:v>0.11480018066817374</c:v>
                </c:pt>
                <c:pt idx="15">
                  <c:v>0.11264598395438996</c:v>
                </c:pt>
                <c:pt idx="16">
                  <c:v>0.11104572853777112</c:v>
                </c:pt>
                <c:pt idx="17">
                  <c:v>0.11507226946629476</c:v>
                </c:pt>
                <c:pt idx="18">
                  <c:v>0.1048553205154576</c:v>
                </c:pt>
                <c:pt idx="19">
                  <c:v>0.10087352696655208</c:v>
                </c:pt>
                <c:pt idx="20">
                  <c:v>0.10501874877104925</c:v>
                </c:pt>
                <c:pt idx="21">
                  <c:v>0.11901711959725175</c:v>
                </c:pt>
                <c:pt idx="22">
                  <c:v>0.12347263345019563</c:v>
                </c:pt>
                <c:pt idx="23">
                  <c:v>0.11946026563591494</c:v>
                </c:pt>
                <c:pt idx="24">
                  <c:v>0.11823362050980929</c:v>
                </c:pt>
                <c:pt idx="25">
                  <c:v>0.12337784272892954</c:v>
                </c:pt>
                <c:pt idx="26">
                  <c:v>0.11696531925945539</c:v>
                </c:pt>
                <c:pt idx="27">
                  <c:v>0.11780720224548719</c:v>
                </c:pt>
                <c:pt idx="28">
                  <c:v>0.11599517833836076</c:v>
                </c:pt>
                <c:pt idx="29">
                  <c:v>0.11617449448004205</c:v>
                </c:pt>
                <c:pt idx="30">
                  <c:v>0.11499425317982814</c:v>
                </c:pt>
                <c:pt idx="31">
                  <c:v>0.12481638466180339</c:v>
                </c:pt>
                <c:pt idx="32">
                  <c:v>0.1276507042174156</c:v>
                </c:pt>
                <c:pt idx="33">
                  <c:v>0.12158098347078738</c:v>
                </c:pt>
                <c:pt idx="34">
                  <c:v>0.11931907108875711</c:v>
                </c:pt>
                <c:pt idx="35">
                  <c:v>0.123382357128281</c:v>
                </c:pt>
                <c:pt idx="36">
                  <c:v>0.12304294895378459</c:v>
                </c:pt>
                <c:pt idx="37">
                  <c:v>0.09856082467553923</c:v>
                </c:pt>
                <c:pt idx="38">
                  <c:v>0.09811001465658167</c:v>
                </c:pt>
                <c:pt idx="39">
                  <c:v>0.10881255899812328</c:v>
                </c:pt>
                <c:pt idx="40">
                  <c:v>0.10572713618556134</c:v>
                </c:pt>
                <c:pt idx="41">
                  <c:v>0.10188218609606664</c:v>
                </c:pt>
                <c:pt idx="42">
                  <c:v>0.10714109972196614</c:v>
                </c:pt>
                <c:pt idx="43">
                  <c:v>0.10171854786841214</c:v>
                </c:pt>
                <c:pt idx="44">
                  <c:v>0.11263042269150922</c:v>
                </c:pt>
                <c:pt idx="45">
                  <c:v>0.11939193139456908</c:v>
                </c:pt>
                <c:pt idx="46">
                  <c:v>0.12087385588865246</c:v>
                </c:pt>
                <c:pt idx="47">
                  <c:v>0.12228201019798482</c:v>
                </c:pt>
                <c:pt idx="48">
                  <c:v>0.12240059775304155</c:v>
                </c:pt>
                <c:pt idx="49">
                  <c:v>0.12080925448397958</c:v>
                </c:pt>
                <c:pt idx="50">
                  <c:v>0.13974380021035324</c:v>
                </c:pt>
                <c:pt idx="51">
                  <c:v>0.14327513369373934</c:v>
                </c:pt>
                <c:pt idx="52">
                  <c:v>0.14536263821774342</c:v>
                </c:pt>
                <c:pt idx="53">
                  <c:v>0.1473003473035301</c:v>
                </c:pt>
                <c:pt idx="54">
                  <c:v>0.1062487182082119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43.0"/>
          <c:min val="66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718536389223965"/>
          <c:min val="0.05155866900175131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9794724454649828</c:v>
                </c:pt>
                <c:pt idx="1">
                  <c:v>1.107728220987692</c:v>
                </c:pt>
                <c:pt idx="2">
                  <c:v>1.225886193716539</c:v>
                </c:pt>
                <c:pt idx="3">
                  <c:v>1.2595298792082408</c:v>
                </c:pt>
                <c:pt idx="4">
                  <c:v>1.1727798410971635</c:v>
                </c:pt>
                <c:pt idx="5">
                  <c:v>1.131551546532225</c:v>
                </c:pt>
                <c:pt idx="6">
                  <c:v>1.0967224253516743</c:v>
                </c:pt>
                <c:pt idx="7">
                  <c:v>1.1268013418950311</c:v>
                </c:pt>
                <c:pt idx="8">
                  <c:v>1.0495770369416912</c:v>
                </c:pt>
                <c:pt idx="9">
                  <c:v>0.9806566381123393</c:v>
                </c:pt>
                <c:pt idx="10">
                  <c:v>1.0099285360734387</c:v>
                </c:pt>
                <c:pt idx="11">
                  <c:v>1.1051159663865546</c:v>
                </c:pt>
                <c:pt idx="12">
                  <c:v>1.0596537167685662</c:v>
                </c:pt>
                <c:pt idx="13">
                  <c:v>1.0815687046751619</c:v>
                </c:pt>
                <c:pt idx="14">
                  <c:v>1.0440707250033576</c:v>
                </c:pt>
                <c:pt idx="15">
                  <c:v>1.008353863096654</c:v>
                </c:pt>
                <c:pt idx="16">
                  <c:v>1.0534602427987112</c:v>
                </c:pt>
                <c:pt idx="17">
                  <c:v>1.0545207081875638</c:v>
                </c:pt>
                <c:pt idx="18">
                  <c:v>1.3562682351831366</c:v>
                </c:pt>
                <c:pt idx="19">
                  <c:v>1.356531058993281</c:v>
                </c:pt>
                <c:pt idx="20">
                  <c:v>1.2328259480169221</c:v>
                </c:pt>
                <c:pt idx="21">
                  <c:v>1.4167992855696614</c:v>
                </c:pt>
                <c:pt idx="22">
                  <c:v>1.446404267641189</c:v>
                </c:pt>
                <c:pt idx="23">
                  <c:v>1.4569664965818316</c:v>
                </c:pt>
                <c:pt idx="24">
                  <c:v>1.2890273746983851</c:v>
                </c:pt>
                <c:pt idx="25">
                  <c:v>1.2365238585278666</c:v>
                </c:pt>
                <c:pt idx="26">
                  <c:v>1.1696379245875501</c:v>
                </c:pt>
                <c:pt idx="27">
                  <c:v>0.9945907338378404</c:v>
                </c:pt>
                <c:pt idx="28">
                  <c:v>1.0194069182136227</c:v>
                </c:pt>
                <c:pt idx="29">
                  <c:v>0.831653051277401</c:v>
                </c:pt>
                <c:pt idx="30">
                  <c:v>0.8848224097267674</c:v>
                </c:pt>
                <c:pt idx="31">
                  <c:v>0.9486514123165039</c:v>
                </c:pt>
                <c:pt idx="32">
                  <c:v>0.8513036191377259</c:v>
                </c:pt>
                <c:pt idx="33">
                  <c:v>0.898933243395984</c:v>
                </c:pt>
                <c:pt idx="34">
                  <c:v>0.9965912491081088</c:v>
                </c:pt>
                <c:pt idx="35">
                  <c:v>1.1556977401280135</c:v>
                </c:pt>
                <c:pt idx="36">
                  <c:v>1.2089400171992752</c:v>
                </c:pt>
                <c:pt idx="37">
                  <c:v>1.080934867312487</c:v>
                </c:pt>
                <c:pt idx="38">
                  <c:v>1.1610738373625218</c:v>
                </c:pt>
                <c:pt idx="39">
                  <c:v>0.9343395792862258</c:v>
                </c:pt>
                <c:pt idx="40">
                  <c:v>0.9023658650768004</c:v>
                </c:pt>
                <c:pt idx="41">
                  <c:v>0.7665250942259769</c:v>
                </c:pt>
                <c:pt idx="42">
                  <c:v>1.0222848304253398</c:v>
                </c:pt>
                <c:pt idx="43">
                  <c:v>1.1139534330571492</c:v>
                </c:pt>
                <c:pt idx="44">
                  <c:v>1.0153717572754193</c:v>
                </c:pt>
                <c:pt idx="45">
                  <c:v>1.036558638257448</c:v>
                </c:pt>
                <c:pt idx="46">
                  <c:v>0.9913019835079117</c:v>
                </c:pt>
                <c:pt idx="47">
                  <c:v>0.966291671248543</c:v>
                </c:pt>
                <c:pt idx="48">
                  <c:v>1.205234652988998</c:v>
                </c:pt>
                <c:pt idx="49">
                  <c:v>1.1376724713633812</c:v>
                </c:pt>
                <c:pt idx="50">
                  <c:v>0.9288127843349856</c:v>
                </c:pt>
                <c:pt idx="51">
                  <c:v>0.8737020091505869</c:v>
                </c:pt>
                <c:pt idx="52">
                  <c:v>0.9399098637812526</c:v>
                </c:pt>
                <c:pt idx="53">
                  <c:v>0.8610036039389708</c:v>
                </c:pt>
                <c:pt idx="54">
                  <c:v>1.0045604403811612</c:v>
                </c:pt>
                <c:pt idx="55">
                  <c:v>0.8491377776653221</c:v>
                </c:pt>
                <c:pt idx="56">
                  <c:v>0.9501056973790285</c:v>
                </c:pt>
                <c:pt idx="57">
                  <c:v>0.8924427093317018</c:v>
                </c:pt>
                <c:pt idx="58">
                  <c:v>0.8716876296628586</c:v>
                </c:pt>
                <c:pt idx="59">
                  <c:v>0.9267433874709976</c:v>
                </c:pt>
                <c:pt idx="60">
                  <c:v>0.8786310375714437</c:v>
                </c:pt>
                <c:pt idx="61">
                  <c:v>0.7241596395156269</c:v>
                </c:pt>
                <c:pt idx="62">
                  <c:v>0.6910890341753343</c:v>
                </c:pt>
                <c:pt idx="63">
                  <c:v>0.7652239781319845</c:v>
                </c:pt>
                <c:pt idx="64">
                  <c:v>0.8057698675325017</c:v>
                </c:pt>
                <c:pt idx="65">
                  <c:v>0.6217751863504354</c:v>
                </c:pt>
                <c:pt idx="66">
                  <c:v>0.6141037294787469</c:v>
                </c:pt>
                <c:pt idx="67">
                  <c:v>0.6803601693757684</c:v>
                </c:pt>
                <c:pt idx="68">
                  <c:v>0.7431360347984437</c:v>
                </c:pt>
                <c:pt idx="69">
                  <c:v>0.5103219506587828</c:v>
                </c:pt>
                <c:pt idx="70">
                  <c:v>0.60550445579445</c:v>
                </c:pt>
                <c:pt idx="71">
                  <c:v>0.5453040308747855</c:v>
                </c:pt>
                <c:pt idx="72">
                  <c:v>0.5284926618215608</c:v>
                </c:pt>
                <c:pt idx="73">
                  <c:v>0.6478512335967213</c:v>
                </c:pt>
                <c:pt idx="74">
                  <c:v>0.3117154780838476</c:v>
                </c:pt>
                <c:pt idx="75">
                  <c:v>0.609864304022082</c:v>
                </c:pt>
                <c:pt idx="76">
                  <c:v>0.5607395584627964</c:v>
                </c:pt>
                <c:pt idx="77">
                  <c:v>0.42016056062581486</c:v>
                </c:pt>
                <c:pt idx="78">
                  <c:v>0.5195841864170484</c:v>
                </c:pt>
                <c:pt idx="79">
                  <c:v>0.6540012595084927</c:v>
                </c:pt>
                <c:pt idx="80">
                  <c:v>0.5925208042058837</c:v>
                </c:pt>
                <c:pt idx="81">
                  <c:v>0.9009988809458365</c:v>
                </c:pt>
                <c:pt idx="82">
                  <c:v>0.7926739525665865</c:v>
                </c:pt>
                <c:pt idx="83">
                  <c:v>0.8068619350895232</c:v>
                </c:pt>
                <c:pt idx="84">
                  <c:v>0.4927918413065472</c:v>
                </c:pt>
                <c:pt idx="85">
                  <c:v>0.4824660522622155</c:v>
                </c:pt>
                <c:pt idx="86">
                  <c:v>0.3707907796871883</c:v>
                </c:pt>
                <c:pt idx="87">
                  <c:v>0.516566658124521</c:v>
                </c:pt>
                <c:pt idx="88">
                  <c:v>0.5587448368622006</c:v>
                </c:pt>
                <c:pt idx="89">
                  <c:v>0.534808981297894</c:v>
                </c:pt>
                <c:pt idx="90">
                  <c:v>0.6649504811892858</c:v>
                </c:pt>
                <c:pt idx="91">
                  <c:v>0.6967303692337159</c:v>
                </c:pt>
                <c:pt idx="92">
                  <c:v>0.7232996252522341</c:v>
                </c:pt>
                <c:pt idx="93">
                  <c:v>0.5590852720035382</c:v>
                </c:pt>
                <c:pt idx="94">
                  <c:v>0.5815952781335264</c:v>
                </c:pt>
                <c:pt idx="95">
                  <c:v>0.5366098907044692</c:v>
                </c:pt>
                <c:pt idx="96">
                  <c:v>0.3940947658020661</c:v>
                </c:pt>
                <c:pt idx="97">
                  <c:v>0.4601923312711773</c:v>
                </c:pt>
                <c:pt idx="98">
                  <c:v>0.4254698288262371</c:v>
                </c:pt>
                <c:pt idx="99">
                  <c:v>0.4961899234693878</c:v>
                </c:pt>
                <c:pt idx="100">
                  <c:v>0.4049380750889918</c:v>
                </c:pt>
                <c:pt idx="101">
                  <c:v>0.4234717028083896</c:v>
                </c:pt>
                <c:pt idx="102">
                  <c:v>0.45761038720663355</c:v>
                </c:pt>
                <c:pt idx="103">
                  <c:v>0.2736036928992906</c:v>
                </c:pt>
                <c:pt idx="104">
                  <c:v>0.4100636933154637</c:v>
                </c:pt>
              </c:numCache>
            </c:numRef>
          </c:xVal>
          <c:yVal>
            <c:numRef>
              <c:f>Sheet1!$B$2:$B$106</c:f>
              <c:numCache>
                <c:formatCode>General</c:formatCode>
                <c:ptCount val="105"/>
                <c:pt idx="0">
                  <c:v>0.14195168619947382</c:v>
                </c:pt>
                <c:pt idx="1">
                  <c:v>0.15050120005647324</c:v>
                </c:pt>
                <c:pt idx="2">
                  <c:v>0.14211960418758066</c:v>
                </c:pt>
                <c:pt idx="3">
                  <c:v>0.14852894653590637</c:v>
                </c:pt>
                <c:pt idx="4">
                  <c:v>0.15576102418207682</c:v>
                </c:pt>
                <c:pt idx="5">
                  <c:v>0.14455445544554454</c:v>
                </c:pt>
                <c:pt idx="6">
                  <c:v>0.14290030211480362</c:v>
                </c:pt>
                <c:pt idx="7">
                  <c:v>0.14358880556063655</c:v>
                </c:pt>
                <c:pt idx="8">
                  <c:v>0.15579710144927536</c:v>
                </c:pt>
                <c:pt idx="9">
                  <c:v>0.13494901337571183</c:v>
                </c:pt>
                <c:pt idx="10">
                  <c:v>0.1387088410681877</c:v>
                </c:pt>
                <c:pt idx="11">
                  <c:v>0.1388295029396045</c:v>
                </c:pt>
                <c:pt idx="12">
                  <c:v>0.13758306669948314</c:v>
                </c:pt>
                <c:pt idx="13">
                  <c:v>0.1398362058428065</c:v>
                </c:pt>
                <c:pt idx="14">
                  <c:v>0.13131685724824788</c:v>
                </c:pt>
                <c:pt idx="15">
                  <c:v>0.13935185185185187</c:v>
                </c:pt>
                <c:pt idx="16">
                  <c:v>0.13922926656011367</c:v>
                </c:pt>
                <c:pt idx="17">
                  <c:v>0.14006449012494962</c:v>
                </c:pt>
                <c:pt idx="18">
                  <c:v>0.12545620437956204</c:v>
                </c:pt>
                <c:pt idx="19">
                  <c:v>0.10763052208835341</c:v>
                </c:pt>
                <c:pt idx="20">
                  <c:v>0.11133288977600354</c:v>
                </c:pt>
                <c:pt idx="21">
                  <c:v>0.11504161712247325</c:v>
                </c:pt>
                <c:pt idx="22">
                  <c:v>0.09789444900191414</c:v>
                </c:pt>
                <c:pt idx="23">
                  <c:v>0.10480602200347423</c:v>
                </c:pt>
                <c:pt idx="24">
                  <c:v>0.09991876523151909</c:v>
                </c:pt>
                <c:pt idx="25">
                  <c:v>0.10039549741405537</c:v>
                </c:pt>
                <c:pt idx="26">
                  <c:v>0.10102067521591207</c:v>
                </c:pt>
                <c:pt idx="27">
                  <c:v>0.0972391888590276</c:v>
                </c:pt>
                <c:pt idx="28">
                  <c:v>0.11006781429316641</c:v>
                </c:pt>
                <c:pt idx="29">
                  <c:v>0.11087719298245614</c:v>
                </c:pt>
                <c:pt idx="30">
                  <c:v>0.09285295840656121</c:v>
                </c:pt>
                <c:pt idx="31">
                  <c:v>0.08427742470295661</c:v>
                </c:pt>
                <c:pt idx="32">
                  <c:v>0.08587412587412588</c:v>
                </c:pt>
                <c:pt idx="33">
                  <c:v>0.09816353301268037</c:v>
                </c:pt>
                <c:pt idx="34">
                  <c:v>0.09497310332034872</c:v>
                </c:pt>
                <c:pt idx="35">
                  <c:v>0.09036239911378383</c:v>
                </c:pt>
                <c:pt idx="36">
                  <c:v>0.07871954902355546</c:v>
                </c:pt>
                <c:pt idx="37">
                  <c:v>0.07193732193732194</c:v>
                </c:pt>
                <c:pt idx="38">
                  <c:v>0.06608478802992519</c:v>
                </c:pt>
                <c:pt idx="39">
                  <c:v>0.08318356867779204</c:v>
                </c:pt>
                <c:pt idx="40">
                  <c:v>0.08314232131694103</c:v>
                </c:pt>
                <c:pt idx="41">
                  <c:v>0.08505583273936802</c:v>
                </c:pt>
                <c:pt idx="42">
                  <c:v>0.0830104017948195</c:v>
                </c:pt>
                <c:pt idx="43">
                  <c:v>0.08611111111111111</c:v>
                </c:pt>
                <c:pt idx="44">
                  <c:v>0.10602272727272727</c:v>
                </c:pt>
                <c:pt idx="45">
                  <c:v>0.12461090470930816</c:v>
                </c:pt>
                <c:pt idx="46">
                  <c:v>0.12609422641880594</c:v>
                </c:pt>
                <c:pt idx="47">
                  <c:v>0.12251889168765744</c:v>
                </c:pt>
                <c:pt idx="48">
                  <c:v>0.13815741483696842</c:v>
                </c:pt>
                <c:pt idx="49">
                  <c:v>0.15581066046323455</c:v>
                </c:pt>
                <c:pt idx="50">
                  <c:v>0.13583493476281985</c:v>
                </c:pt>
                <c:pt idx="51">
                  <c:v>0.12219119797899215</c:v>
                </c:pt>
                <c:pt idx="52">
                  <c:v>0.12529208857238233</c:v>
                </c:pt>
                <c:pt idx="53">
                  <c:v>0.11089192616598563</c:v>
                </c:pt>
                <c:pt idx="54">
                  <c:v>0.10493431592438321</c:v>
                </c:pt>
                <c:pt idx="55">
                  <c:v>0.10317975340687865</c:v>
                </c:pt>
                <c:pt idx="56">
                  <c:v>0.11541168191414497</c:v>
                </c:pt>
                <c:pt idx="57">
                  <c:v>0.10920738974970202</c:v>
                </c:pt>
                <c:pt idx="58">
                  <c:v>0.11996251171508904</c:v>
                </c:pt>
                <c:pt idx="59">
                  <c:v>0.12348855158219707</c:v>
                </c:pt>
                <c:pt idx="60">
                  <c:v>0.14592599602536196</c:v>
                </c:pt>
                <c:pt idx="61">
                  <c:v>0.15469101495302368</c:v>
                </c:pt>
                <c:pt idx="62">
                  <c:v>0.14254278728606357</c:v>
                </c:pt>
                <c:pt idx="63">
                  <c:v>0.14449181063495625</c:v>
                </c:pt>
                <c:pt idx="64">
                  <c:v>0.12331186370247248</c:v>
                </c:pt>
                <c:pt idx="65">
                  <c:v>0.11436917200314571</c:v>
                </c:pt>
                <c:pt idx="66">
                  <c:v>0.11357995508805106</c:v>
                </c:pt>
                <c:pt idx="67">
                  <c:v>0.10529032258064516</c:v>
                </c:pt>
                <c:pt idx="68">
                  <c:v>0.0859023763648041</c:v>
                </c:pt>
                <c:pt idx="69">
                  <c:v>0.08000814332247556</c:v>
                </c:pt>
                <c:pt idx="70">
                  <c:v>0.07508939213349225</c:v>
                </c:pt>
                <c:pt idx="71">
                  <c:v>0.0948256211534078</c:v>
                </c:pt>
                <c:pt idx="72">
                  <c:v>0.09068219633943428</c:v>
                </c:pt>
                <c:pt idx="73">
                  <c:v>0.09822904368358913</c:v>
                </c:pt>
                <c:pt idx="74">
                  <c:v>0.10279353993889132</c:v>
                </c:pt>
                <c:pt idx="75">
                  <c:v>0.09519112207151664</c:v>
                </c:pt>
                <c:pt idx="76">
                  <c:v>0.09653866955110871</c:v>
                </c:pt>
                <c:pt idx="77">
                  <c:v>0.08614338339472939</c:v>
                </c:pt>
                <c:pt idx="78">
                  <c:v>0.09059233449477352</c:v>
                </c:pt>
                <c:pt idx="79">
                  <c:v>0.08451931455126344</c:v>
                </c:pt>
                <c:pt idx="80">
                  <c:v>0.07410514541387024</c:v>
                </c:pt>
                <c:pt idx="81">
                  <c:v>0.0732159406858202</c:v>
                </c:pt>
                <c:pt idx="82">
                  <c:v>0.07567401960784313</c:v>
                </c:pt>
                <c:pt idx="83">
                  <c:v>0.06444833625218914</c:v>
                </c:pt>
                <c:pt idx="84">
                  <c:v>0.07013258897418004</c:v>
                </c:pt>
                <c:pt idx="85">
                  <c:v>0.07618187292984041</c:v>
                </c:pt>
                <c:pt idx="86">
                  <c:v>0.08073716542343133</c:v>
                </c:pt>
                <c:pt idx="87">
                  <c:v>0.08907762196326288</c:v>
                </c:pt>
                <c:pt idx="88">
                  <c:v>0.08535630383711824</c:v>
                </c:pt>
                <c:pt idx="89">
                  <c:v>0.08487194758784991</c:v>
                </c:pt>
                <c:pt idx="90">
                  <c:v>0.0878419452887538</c:v>
                </c:pt>
                <c:pt idx="91">
                  <c:v>0.08064516129032258</c:v>
                </c:pt>
                <c:pt idx="92">
                  <c:v>0.09415730337078651</c:v>
                </c:pt>
                <c:pt idx="93">
                  <c:v>0.08726721524469468</c:v>
                </c:pt>
                <c:pt idx="94">
                  <c:v>0.08216241962371994</c:v>
                </c:pt>
                <c:pt idx="95">
                  <c:v>0.09284467713787085</c:v>
                </c:pt>
                <c:pt idx="96">
                  <c:v>0.09337637494022</c:v>
                </c:pt>
                <c:pt idx="97">
                  <c:v>0.10137404580152672</c:v>
                </c:pt>
                <c:pt idx="98">
                  <c:v>0.11171059614364054</c:v>
                </c:pt>
                <c:pt idx="99">
                  <c:v>0.11396163215590743</c:v>
                </c:pt>
                <c:pt idx="100">
                  <c:v>0.11939125063177403</c:v>
                </c:pt>
                <c:pt idx="101">
                  <c:v>0.12548618219037871</c:v>
                </c:pt>
                <c:pt idx="102">
                  <c:v>0.10878170356252749</c:v>
                </c:pt>
                <c:pt idx="103">
                  <c:v>0.15746519443110898</c:v>
                </c:pt>
                <c:pt idx="104">
                  <c:v>0.147218552766769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5259408108108108</c:v>
                </c:pt>
                <c:pt idx="1">
                  <c:v>0.48978991596638655</c:v>
                </c:pt>
                <c:pt idx="2">
                  <c:v>0.44220751470163955</c:v>
                </c:pt>
                <c:pt idx="3">
                  <c:v>0.4356831147918105</c:v>
                </c:pt>
                <c:pt idx="4">
                  <c:v>0.7245425740309412</c:v>
                </c:pt>
                <c:pt idx="5">
                  <c:v>0.4304482681457367</c:v>
                </c:pt>
                <c:pt idx="6">
                  <c:v>0.3315357017342807</c:v>
                </c:pt>
                <c:pt idx="7">
                  <c:v>0.29771231053604436</c:v>
                </c:pt>
                <c:pt idx="8">
                  <c:v>0.3681787842788076</c:v>
                </c:pt>
                <c:pt idx="9">
                  <c:v>0.5748881561708445</c:v>
                </c:pt>
                <c:pt idx="10">
                  <c:v>0.5935846985964321</c:v>
                </c:pt>
                <c:pt idx="11">
                  <c:v>0.6101929221435795</c:v>
                </c:pt>
                <c:pt idx="12">
                  <c:v>0.37770550777123885</c:v>
                </c:pt>
                <c:pt idx="13">
                  <c:v>0.5213242496984549</c:v>
                </c:pt>
                <c:pt idx="14">
                  <c:v>0.6090061592265861</c:v>
                </c:pt>
                <c:pt idx="15">
                  <c:v>0.5977903777676452</c:v>
                </c:pt>
                <c:pt idx="16">
                  <c:v>0.35750726994069437</c:v>
                </c:pt>
                <c:pt idx="17">
                  <c:v>0.5709284725978079</c:v>
                </c:pt>
                <c:pt idx="18">
                  <c:v>0.5236782092691354</c:v>
                </c:pt>
                <c:pt idx="19">
                  <c:v>0.3295477827626286</c:v>
                </c:pt>
                <c:pt idx="20">
                  <c:v>0.5192904115717268</c:v>
                </c:pt>
                <c:pt idx="21">
                  <c:v>0.3994798681939432</c:v>
                </c:pt>
                <c:pt idx="22">
                  <c:v>0.3200762263883502</c:v>
                </c:pt>
                <c:pt idx="23">
                  <c:v>0.23179295769994496</c:v>
                </c:pt>
                <c:pt idx="24">
                  <c:v>0.26217152222905143</c:v>
                </c:pt>
                <c:pt idx="25">
                  <c:v>0.2990041744812148</c:v>
                </c:pt>
                <c:pt idx="26">
                  <c:v>0.42179755523597856</c:v>
                </c:pt>
                <c:pt idx="27">
                  <c:v>0.4539225437254902</c:v>
                </c:pt>
                <c:pt idx="28">
                  <c:v>0.5235180975413141</c:v>
                </c:pt>
                <c:pt idx="29">
                  <c:v>0.5536107158103847</c:v>
                </c:pt>
                <c:pt idx="30">
                  <c:v>0.4765116719817768</c:v>
                </c:pt>
                <c:pt idx="31">
                  <c:v>0.8054971684446202</c:v>
                </c:pt>
                <c:pt idx="32">
                  <c:v>0.45508847978743594</c:v>
                </c:pt>
                <c:pt idx="33">
                  <c:v>0.54011644574932</c:v>
                </c:pt>
                <c:pt idx="34">
                  <c:v>0.6895977980711517</c:v>
                </c:pt>
                <c:pt idx="35">
                  <c:v>0.7250711854460095</c:v>
                </c:pt>
                <c:pt idx="36">
                  <c:v>0.49776161575562705</c:v>
                </c:pt>
                <c:pt idx="37">
                  <c:v>0.5882877452374182</c:v>
                </c:pt>
                <c:pt idx="38">
                  <c:v>0.5571189033993085</c:v>
                </c:pt>
                <c:pt idx="39">
                  <c:v>0.6049904594575977</c:v>
                </c:pt>
                <c:pt idx="40">
                  <c:v>0.5705726334260472</c:v>
                </c:pt>
                <c:pt idx="41">
                  <c:v>0.6196536313595233</c:v>
                </c:pt>
                <c:pt idx="42">
                  <c:v>0.48947460056077263</c:v>
                </c:pt>
                <c:pt idx="43">
                  <c:v>0.6554759829355471</c:v>
                </c:pt>
                <c:pt idx="44">
                  <c:v>0.5583233809924306</c:v>
                </c:pt>
                <c:pt idx="45">
                  <c:v>0.5653082857612628</c:v>
                </c:pt>
                <c:pt idx="46">
                  <c:v>0.43310863021831436</c:v>
                </c:pt>
                <c:pt idx="47">
                  <c:v>0.6044095266803726</c:v>
                </c:pt>
                <c:pt idx="48">
                  <c:v>0.8434332304980168</c:v>
                </c:pt>
                <c:pt idx="49">
                  <c:v>0.468277078157864</c:v>
                </c:pt>
                <c:pt idx="50">
                  <c:v>0.5775935135135135</c:v>
                </c:pt>
                <c:pt idx="51">
                  <c:v>0.6156634477448133</c:v>
                </c:pt>
              </c:numCache>
            </c:numRef>
          </c:xVal>
          <c:yVal>
            <c:numRef>
              <c:f>Sheet1!$B$109:$B$160</c:f>
              <c:numCache>
                <c:formatCode>General</c:formatCode>
                <c:ptCount val="52"/>
                <c:pt idx="0">
                  <c:v>0.1268227424749164</c:v>
                </c:pt>
                <c:pt idx="1">
                  <c:v>0.1588068181818182</c:v>
                </c:pt>
                <c:pt idx="2">
                  <c:v>0.15699658703071673</c:v>
                </c:pt>
                <c:pt idx="3">
                  <c:v>0.1610764430577223</c:v>
                </c:pt>
                <c:pt idx="4">
                  <c:v>0.16432113657686637</c:v>
                </c:pt>
                <c:pt idx="5">
                  <c:v>0.15303707599263738</c:v>
                </c:pt>
                <c:pt idx="6">
                  <c:v>0.1380714202628824</c:v>
                </c:pt>
                <c:pt idx="7">
                  <c:v>0.1294685990338164</c:v>
                </c:pt>
                <c:pt idx="8">
                  <c:v>0.1196629213483146</c:v>
                </c:pt>
                <c:pt idx="9">
                  <c:v>0.12468365108824025</c:v>
                </c:pt>
                <c:pt idx="10">
                  <c:v>0.12678600755460667</c:v>
                </c:pt>
                <c:pt idx="11">
                  <c:v>0.12135330005546312</c:v>
                </c:pt>
                <c:pt idx="12">
                  <c:v>0.1178239832614097</c:v>
                </c:pt>
                <c:pt idx="13">
                  <c:v>0.11398286626978366</c:v>
                </c:pt>
                <c:pt idx="14">
                  <c:v>0.11931818181818182</c:v>
                </c:pt>
                <c:pt idx="15">
                  <c:v>0.11417597765363129</c:v>
                </c:pt>
                <c:pt idx="16">
                  <c:v>0.10456312666257418</c:v>
                </c:pt>
                <c:pt idx="17">
                  <c:v>0.10055508112724168</c:v>
                </c:pt>
                <c:pt idx="18">
                  <c:v>0.09002375296912114</c:v>
                </c:pt>
                <c:pt idx="19">
                  <c:v>0.10313571778539932</c:v>
                </c:pt>
                <c:pt idx="20">
                  <c:v>0.10834762721555175</c:v>
                </c:pt>
                <c:pt idx="21">
                  <c:v>0.11929595827900913</c:v>
                </c:pt>
                <c:pt idx="22">
                  <c:v>0.12532981530343007</c:v>
                </c:pt>
                <c:pt idx="23">
                  <c:v>0.12182566918325326</c:v>
                </c:pt>
                <c:pt idx="24">
                  <c:v>0.11522368844544577</c:v>
                </c:pt>
                <c:pt idx="25">
                  <c:v>0.10758027143330023</c:v>
                </c:pt>
                <c:pt idx="26">
                  <c:v>0.09849435382685069</c:v>
                </c:pt>
                <c:pt idx="27">
                  <c:v>0.10454418734318371</c:v>
                </c:pt>
                <c:pt idx="28">
                  <c:v>0.11221122112211221</c:v>
                </c:pt>
                <c:pt idx="29">
                  <c:v>0.11838790931989925</c:v>
                </c:pt>
                <c:pt idx="30">
                  <c:v>0.12200504413619168</c:v>
                </c:pt>
                <c:pt idx="31">
                  <c:v>0.12251767081790643</c:v>
                </c:pt>
                <c:pt idx="32">
                  <c:v>0.13170300530347673</c:v>
                </c:pt>
                <c:pt idx="33">
                  <c:v>0.13992496137717944</c:v>
                </c:pt>
                <c:pt idx="34">
                  <c:v>0.1425091352009744</c:v>
                </c:pt>
                <c:pt idx="35">
                  <c:v>0.14329268292682926</c:v>
                </c:pt>
                <c:pt idx="36">
                  <c:v>0.1296561604584527</c:v>
                </c:pt>
                <c:pt idx="37">
                  <c:v>0.09927440633245382</c:v>
                </c:pt>
                <c:pt idx="38">
                  <c:v>0.10601503759398496</c:v>
                </c:pt>
                <c:pt idx="39">
                  <c:v>0.11750205423171733</c:v>
                </c:pt>
                <c:pt idx="40">
                  <c:v>0.10727762803234502</c:v>
                </c:pt>
                <c:pt idx="41">
                  <c:v>0.11290322580645161</c:v>
                </c:pt>
                <c:pt idx="42">
                  <c:v>0.1174296275234575</c:v>
                </c:pt>
                <c:pt idx="43">
                  <c:v>0.10725964682799215</c:v>
                </c:pt>
                <c:pt idx="44">
                  <c:v>0.10224482637670992</c:v>
                </c:pt>
                <c:pt idx="45">
                  <c:v>0.10173239955768522</c:v>
                </c:pt>
                <c:pt idx="46">
                  <c:v>0.0998719590268886</c:v>
                </c:pt>
                <c:pt idx="47">
                  <c:v>0.0953299884214589</c:v>
                </c:pt>
                <c:pt idx="48">
                  <c:v>0.08533779544028446</c:v>
                </c:pt>
                <c:pt idx="49">
                  <c:v>0.0927533404857115</c:v>
                </c:pt>
                <c:pt idx="50">
                  <c:v>0.12069191455903551</c:v>
                </c:pt>
                <c:pt idx="51">
                  <c:v>0.1208989304170171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5.2542056040423</c:v>
                </c:pt>
              </c:numCache>
            </c:numRef>
          </c:xVal>
          <c:yVal>
            <c:numRef>
              <c:f>Sheet1!$B$163:$B$164</c:f>
              <c:numCache>
                <c:formatCode>General</c:formatCode>
                <c:ptCount val="2"/>
                <c:pt idx="0">
                  <c:v>0.14730034730353012</c:v>
                </c:pt>
                <c:pt idx="1">
                  <c:v>0.1473003473035301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5.2542056040423</c:v>
                </c:pt>
                <c:pt idx="1">
                  <c:v>-5.2542056040423</c:v>
                </c:pt>
              </c:numCache>
            </c:numRef>
          </c:xVal>
          <c:yVal>
            <c:numRef>
              <c:f>Sheet1!$B$167:$B$168</c:f>
              <c:numCache>
                <c:formatCode>General</c:formatCode>
                <c:ptCount val="2"/>
                <c:pt idx="0">
                  <c:v>0.1473003473035301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4.857751504676583</c:v>
                </c:pt>
              </c:numCache>
            </c:numRef>
          </c:xVal>
          <c:yVal>
            <c:numRef>
              <c:f>Sheet1!$B$171:$B$172</c:f>
              <c:numCache>
                <c:formatCode>General</c:formatCode>
                <c:ptCount val="2"/>
                <c:pt idx="0">
                  <c:v>0.14536263821774342</c:v>
                </c:pt>
                <c:pt idx="1">
                  <c:v>0.1453626382177434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4.857751504676583</c:v>
                </c:pt>
                <c:pt idx="1">
                  <c:v>-4.857751504676583</c:v>
                </c:pt>
              </c:numCache>
            </c:numRef>
          </c:xVal>
          <c:yVal>
            <c:numRef>
              <c:f>Sheet1!$B$175:$B$176</c:f>
              <c:numCache>
                <c:formatCode>General</c:formatCode>
                <c:ptCount val="2"/>
                <c:pt idx="0">
                  <c:v>0.1453626382177434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3.144932718557</c:v>
                </c:pt>
              </c:numCache>
            </c:numRef>
          </c:xVal>
          <c:yVal>
            <c:numRef>
              <c:f>Sheet1!$B$179:$B$180</c:f>
              <c:numCache>
                <c:formatCode>General</c:formatCode>
                <c:ptCount val="2"/>
                <c:pt idx="0">
                  <c:v>0.10624871820821191</c:v>
                </c:pt>
                <c:pt idx="1">
                  <c:v>0.1062487182082119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3.144932718557</c:v>
                </c:pt>
                <c:pt idx="1">
                  <c:v>3.144932718557</c:v>
                </c:pt>
              </c:numCache>
            </c:numRef>
          </c:xVal>
          <c:yVal>
            <c:numRef>
              <c:f>Sheet1!$B$183:$B$184</c:f>
              <c:numCache>
                <c:formatCode>General</c:formatCode>
                <c:ptCount val="2"/>
                <c:pt idx="0">
                  <c:v>0.1062487182082119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5259408108108108</c:v>
                </c:pt>
                <c:pt idx="1">
                  <c:v>0.48978991596638655</c:v>
                </c:pt>
                <c:pt idx="2">
                  <c:v>0.44220751470163955</c:v>
                </c:pt>
                <c:pt idx="3">
                  <c:v>0.4356831147918105</c:v>
                </c:pt>
                <c:pt idx="4">
                  <c:v>0.7245425740309412</c:v>
                </c:pt>
                <c:pt idx="5">
                  <c:v>0.4304482681457367</c:v>
                </c:pt>
                <c:pt idx="6">
                  <c:v>0.3315357017342807</c:v>
                </c:pt>
                <c:pt idx="7">
                  <c:v>0.29771231053604436</c:v>
                </c:pt>
                <c:pt idx="8">
                  <c:v>0.3681787842788076</c:v>
                </c:pt>
                <c:pt idx="9">
                  <c:v>0.5748881561708445</c:v>
                </c:pt>
                <c:pt idx="10">
                  <c:v>0.5935846985964321</c:v>
                </c:pt>
                <c:pt idx="11">
                  <c:v>0.6101929221435795</c:v>
                </c:pt>
                <c:pt idx="12">
                  <c:v>0.37770550777123885</c:v>
                </c:pt>
                <c:pt idx="13">
                  <c:v>0.5213242496984549</c:v>
                </c:pt>
                <c:pt idx="14">
                  <c:v>0.6090061592265861</c:v>
                </c:pt>
                <c:pt idx="15">
                  <c:v>0.5977903777676452</c:v>
                </c:pt>
                <c:pt idx="16">
                  <c:v>0.35750726994069437</c:v>
                </c:pt>
                <c:pt idx="17">
                  <c:v>0.5709284725978079</c:v>
                </c:pt>
                <c:pt idx="18">
                  <c:v>0.5236782092691354</c:v>
                </c:pt>
                <c:pt idx="19">
                  <c:v>0.3295477827626286</c:v>
                </c:pt>
                <c:pt idx="20">
                  <c:v>0.5192904115717268</c:v>
                </c:pt>
                <c:pt idx="21">
                  <c:v>0.3994798681939432</c:v>
                </c:pt>
                <c:pt idx="22">
                  <c:v>0.3200762263883502</c:v>
                </c:pt>
                <c:pt idx="23">
                  <c:v>0.23179295769994496</c:v>
                </c:pt>
                <c:pt idx="24">
                  <c:v>0.26217152222905143</c:v>
                </c:pt>
                <c:pt idx="25">
                  <c:v>0.2990041744812148</c:v>
                </c:pt>
                <c:pt idx="26">
                  <c:v>0.42179755523597856</c:v>
                </c:pt>
                <c:pt idx="27">
                  <c:v>0.4539225437254902</c:v>
                </c:pt>
                <c:pt idx="28">
                  <c:v>0.5235180975413141</c:v>
                </c:pt>
                <c:pt idx="29">
                  <c:v>0.5536107158103847</c:v>
                </c:pt>
                <c:pt idx="30">
                  <c:v>0.4765116719817768</c:v>
                </c:pt>
                <c:pt idx="31">
                  <c:v>0.8054971684446202</c:v>
                </c:pt>
                <c:pt idx="32">
                  <c:v>0.45508847978743594</c:v>
                </c:pt>
                <c:pt idx="33">
                  <c:v>0.54011644574932</c:v>
                </c:pt>
                <c:pt idx="34">
                  <c:v>0.6895977980711517</c:v>
                </c:pt>
                <c:pt idx="35">
                  <c:v>0.7250711854460095</c:v>
                </c:pt>
                <c:pt idx="36">
                  <c:v>0.49776161575562705</c:v>
                </c:pt>
                <c:pt idx="37">
                  <c:v>0.5882877452374182</c:v>
                </c:pt>
                <c:pt idx="38">
                  <c:v>0.5571189033993085</c:v>
                </c:pt>
                <c:pt idx="39">
                  <c:v>0.6049904594575977</c:v>
                </c:pt>
                <c:pt idx="40">
                  <c:v>0.5705726334260472</c:v>
                </c:pt>
                <c:pt idx="41">
                  <c:v>0.6196536313595233</c:v>
                </c:pt>
                <c:pt idx="42">
                  <c:v>0.48947460056077263</c:v>
                </c:pt>
                <c:pt idx="43">
                  <c:v>0.6554759829355471</c:v>
                </c:pt>
                <c:pt idx="44">
                  <c:v>0.5583233809924306</c:v>
                </c:pt>
                <c:pt idx="45">
                  <c:v>0.5653082857612628</c:v>
                </c:pt>
                <c:pt idx="46">
                  <c:v>0.43310863021831436</c:v>
                </c:pt>
                <c:pt idx="47">
                  <c:v>0.6044095266803726</c:v>
                </c:pt>
                <c:pt idx="48">
                  <c:v>0.8434332304980168</c:v>
                </c:pt>
                <c:pt idx="49">
                  <c:v>0.468277078157864</c:v>
                </c:pt>
                <c:pt idx="50">
                  <c:v>0.5775935135135135</c:v>
                </c:pt>
                <c:pt idx="51">
                  <c:v>0.6156634477448133</c:v>
                </c:pt>
                <c:pt idx="52">
                  <c:v>-4.857751504676583</c:v>
                </c:pt>
                <c:pt idx="53">
                  <c:v>-5.2542056040423</c:v>
                </c:pt>
                <c:pt idx="54">
                  <c:v>3.144932718557</c:v>
                </c:pt>
              </c:numCache>
            </c:numRef>
          </c:xVal>
          <c:yVal>
            <c:numRef>
              <c:f>Sheet1!$B$187:$B$241</c:f>
              <c:numCache>
                <c:formatCode>General</c:formatCode>
                <c:ptCount val="55"/>
                <c:pt idx="0">
                  <c:v>0.1190493032528887</c:v>
                </c:pt>
                <c:pt idx="1">
                  <c:v>0.11922599436924097</c:v>
                </c:pt>
                <c:pt idx="2">
                  <c:v>0.11945855811723037</c:v>
                </c:pt>
                <c:pt idx="3">
                  <c:v>0.11949044677471886</c:v>
                </c:pt>
                <c:pt idx="4">
                  <c:v>0.1180786172600825</c:v>
                </c:pt>
                <c:pt idx="5">
                  <c:v>0.11951603261157873</c:v>
                </c:pt>
                <c:pt idx="6">
                  <c:v>0.11999947767858798</c:v>
                </c:pt>
                <c:pt idx="7">
                  <c:v>0.12016479288794463</c:v>
                </c:pt>
                <c:pt idx="8">
                  <c:v>0.1198203809455958</c:v>
                </c:pt>
                <c:pt idx="9">
                  <c:v>0.11881006820403686</c:v>
                </c:pt>
                <c:pt idx="10">
                  <c:v>0.11871868698187565</c:v>
                </c:pt>
                <c:pt idx="11">
                  <c:v>0.1186375126272213</c:v>
                </c:pt>
                <c:pt idx="12">
                  <c:v>0.11977381813113987</c:v>
                </c:pt>
                <c:pt idx="13">
                  <c:v>0.11907186715732762</c:v>
                </c:pt>
                <c:pt idx="14">
                  <c:v>0.11864331304974339</c:v>
                </c:pt>
                <c:pt idx="15">
                  <c:v>0.11869813130404308</c:v>
                </c:pt>
                <c:pt idx="16">
                  <c:v>0.11987253903987494</c:v>
                </c:pt>
                <c:pt idx="17">
                  <c:v>0.11882942155376533</c:v>
                </c:pt>
                <c:pt idx="18">
                  <c:v>0.11906036194435346</c:v>
                </c:pt>
                <c:pt idx="19">
                  <c:v>0.1200091938315029</c:v>
                </c:pt>
                <c:pt idx="20">
                  <c:v>0.11908180774470832</c:v>
                </c:pt>
                <c:pt idx="21">
                  <c:v>0.11966739376550517</c:v>
                </c:pt>
                <c:pt idx="22">
                  <c:v>0.12005548701114802</c:v>
                </c:pt>
                <c:pt idx="23">
                  <c:v>0.12048698032180909</c:v>
                </c:pt>
                <c:pt idx="24">
                  <c:v>0.12033850204753879</c:v>
                </c:pt>
                <c:pt idx="25">
                  <c:v>0.12015847877362934</c:v>
                </c:pt>
                <c:pt idx="26">
                  <c:v>0.1195583138366451</c:v>
                </c:pt>
                <c:pt idx="27">
                  <c:v>0.11940129974049497</c:v>
                </c:pt>
                <c:pt idx="28">
                  <c:v>0.11906114450644636</c:v>
                </c:pt>
                <c:pt idx="29">
                  <c:v>0.11891406382313806</c:v>
                </c:pt>
                <c:pt idx="30">
                  <c:v>0.11929089311553578</c:v>
                </c:pt>
                <c:pt idx="31">
                  <c:v>0.11768294357835608</c:v>
                </c:pt>
                <c:pt idx="32">
                  <c:v>0.11939560111131119</c:v>
                </c:pt>
                <c:pt idx="33">
                  <c:v>0.11898001841850034</c:v>
                </c:pt>
                <c:pt idx="34">
                  <c:v>0.1182494133496838</c:v>
                </c:pt>
                <c:pt idx="35">
                  <c:v>0.11807603361889057</c:v>
                </c:pt>
                <c:pt idx="36">
                  <c:v>0.11918703188875335</c:v>
                </c:pt>
                <c:pt idx="37">
                  <c:v>0.11874457637151034</c:v>
                </c:pt>
                <c:pt idx="38">
                  <c:v>0.11889691720521538</c:v>
                </c:pt>
                <c:pt idx="39">
                  <c:v>0.1186629401842354</c:v>
                </c:pt>
                <c:pt idx="40">
                  <c:v>0.1188311607533279</c:v>
                </c:pt>
                <c:pt idx="41">
                  <c:v>0.11859127246414808</c:v>
                </c:pt>
                <c:pt idx="42">
                  <c:v>0.1192275355048411</c:v>
                </c:pt>
                <c:pt idx="43">
                  <c:v>0.11841618713589908</c:v>
                </c:pt>
                <c:pt idx="44">
                  <c:v>0.11889103020044092</c:v>
                </c:pt>
                <c:pt idx="45">
                  <c:v>0.11885689077936905</c:v>
                </c:pt>
                <c:pt idx="46">
                  <c:v>0.11950302982571331</c:v>
                </c:pt>
                <c:pt idx="47">
                  <c:v>0.11866577955132092</c:v>
                </c:pt>
                <c:pt idx="48">
                  <c:v>0.1174975272786194</c:v>
                </c:pt>
                <c:pt idx="49">
                  <c:v>0.11933114051692698</c:v>
                </c:pt>
                <c:pt idx="50">
                  <c:v>0.11879684549928597</c:v>
                </c:pt>
                <c:pt idx="51">
                  <c:v>0.11861077488588252</c:v>
                </c:pt>
                <c:pt idx="52">
                  <c:v>0.14536263821774342</c:v>
                </c:pt>
                <c:pt idx="53">
                  <c:v>0.14730034730353012</c:v>
                </c:pt>
                <c:pt idx="54">
                  <c:v>0.1062487182082119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718536389223965"/>
          <c:min val="0.05155866900175131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3.1205</c:v>
                </c:pt>
                <c:pt idx="1">
                  <c:v>972.9784</c:v>
                </c:pt>
                <c:pt idx="2">
                  <c:v>1058.4652</c:v>
                </c:pt>
                <c:pt idx="3">
                  <c:v>1077.2322</c:v>
                </c:pt>
                <c:pt idx="4">
                  <c:v>1054.6564</c:v>
                </c:pt>
                <c:pt idx="5">
                  <c:v>1038.0571</c:v>
                </c:pt>
                <c:pt idx="6">
                  <c:v>1019.6258</c:v>
                </c:pt>
                <c:pt idx="7">
                  <c:v>1045.4713</c:v>
                </c:pt>
                <c:pt idx="8">
                  <c:v>1019.2705</c:v>
                </c:pt>
                <c:pt idx="9">
                  <c:v>1026.8489</c:v>
                </c:pt>
                <c:pt idx="10">
                  <c:v>1041.2037</c:v>
                </c:pt>
                <c:pt idx="11">
                  <c:v>1060.2897</c:v>
                </c:pt>
                <c:pt idx="12">
                  <c:v>1048.3399</c:v>
                </c:pt>
                <c:pt idx="13">
                  <c:v>1020.4843</c:v>
                </c:pt>
                <c:pt idx="14">
                  <c:v>1040.1114</c:v>
                </c:pt>
                <c:pt idx="15">
                  <c:v>1037.3034</c:v>
                </c:pt>
                <c:pt idx="16">
                  <c:v>1012.1429</c:v>
                </c:pt>
                <c:pt idx="17">
                  <c:v>1040.846</c:v>
                </c:pt>
                <c:pt idx="18">
                  <c:v>1109.9291</c:v>
                </c:pt>
                <c:pt idx="19">
                  <c:v>1162.7761</c:v>
                </c:pt>
                <c:pt idx="20">
                  <c:v>1151.1892</c:v>
                </c:pt>
                <c:pt idx="21">
                  <c:v>1158.7752</c:v>
                </c:pt>
                <c:pt idx="22">
                  <c:v>1183.5754</c:v>
                </c:pt>
                <c:pt idx="23">
                  <c:v>1161.6796</c:v>
                </c:pt>
                <c:pt idx="24">
                  <c:v>1171.3821</c:v>
                </c:pt>
                <c:pt idx="25">
                  <c:v>1141.497</c:v>
                </c:pt>
                <c:pt idx="26">
                  <c:v>1171.4456</c:v>
                </c:pt>
                <c:pt idx="27">
                  <c:v>1108.0251</c:v>
                </c:pt>
                <c:pt idx="28">
                  <c:v>1104.3175</c:v>
                </c:pt>
                <c:pt idx="29">
                  <c:v>1091.8481</c:v>
                </c:pt>
                <c:pt idx="30">
                  <c:v>1106.2555</c:v>
                </c:pt>
                <c:pt idx="31">
                  <c:v>1100.6525</c:v>
                </c:pt>
                <c:pt idx="32">
                  <c:v>1117.1694</c:v>
                </c:pt>
                <c:pt idx="33">
                  <c:v>1146.3719</c:v>
                </c:pt>
                <c:pt idx="34">
                  <c:v>1169.0703</c:v>
                </c:pt>
                <c:pt idx="35">
                  <c:v>1217.2539</c:v>
                </c:pt>
                <c:pt idx="36">
                  <c:v>1287.4348</c:v>
                </c:pt>
                <c:pt idx="37">
                  <c:v>1301.0198</c:v>
                </c:pt>
                <c:pt idx="38">
                  <c:v>1379.8717</c:v>
                </c:pt>
                <c:pt idx="39">
                  <c:v>1284.9136</c:v>
                </c:pt>
                <c:pt idx="40">
                  <c:v>1324.3985</c:v>
                </c:pt>
                <c:pt idx="41">
                  <c:v>1309.1397</c:v>
                </c:pt>
                <c:pt idx="42">
                  <c:v>1364.9361</c:v>
                </c:pt>
                <c:pt idx="43">
                  <c:v>1358.1699</c:v>
                </c:pt>
                <c:pt idx="44">
                  <c:v>1154.8682</c:v>
                </c:pt>
                <c:pt idx="45">
                  <c:v>1089.4053</c:v>
                </c:pt>
                <c:pt idx="46">
                  <c:v>1111.993</c:v>
                </c:pt>
                <c:pt idx="47">
                  <c:v>1098.4079</c:v>
                </c:pt>
                <c:pt idx="48">
                  <c:v>1100.9921</c:v>
                </c:pt>
                <c:pt idx="49">
                  <c:v>1066.2668</c:v>
                </c:pt>
                <c:pt idx="50">
                  <c:v>1059.1385</c:v>
                </c:pt>
                <c:pt idx="51">
                  <c:v>1098.025</c:v>
                </c:pt>
                <c:pt idx="52">
                  <c:v>1111.8597</c:v>
                </c:pt>
                <c:pt idx="53">
                  <c:v>1227.2376</c:v>
                </c:pt>
                <c:pt idx="54">
                  <c:v>1284.5237</c:v>
                </c:pt>
                <c:pt idx="55">
                  <c:v>1288.6824</c:v>
                </c:pt>
                <c:pt idx="56">
                  <c:v>1297.686</c:v>
                </c:pt>
                <c:pt idx="57">
                  <c:v>1264.9632</c:v>
                </c:pt>
                <c:pt idx="58">
                  <c:v>1230.2165</c:v>
                </c:pt>
                <c:pt idx="59">
                  <c:v>1198.2792</c:v>
                </c:pt>
                <c:pt idx="60">
                  <c:v>1198.786</c:v>
                </c:pt>
                <c:pt idx="61">
                  <c:v>1172.7194</c:v>
                </c:pt>
                <c:pt idx="62">
                  <c:v>1162.7573</c:v>
                </c:pt>
                <c:pt idx="63">
                  <c:v>1160.3346</c:v>
                </c:pt>
                <c:pt idx="64">
                  <c:v>1165.642</c:v>
                </c:pt>
                <c:pt idx="65">
                  <c:v>1150.2397</c:v>
                </c:pt>
                <c:pt idx="66">
                  <c:v>1164.2383</c:v>
                </c:pt>
                <c:pt idx="67">
                  <c:v>1245.2292</c:v>
                </c:pt>
                <c:pt idx="68">
                  <c:v>1308.3196</c:v>
                </c:pt>
                <c:pt idx="69">
                  <c:v>1292.7913</c:v>
                </c:pt>
                <c:pt idx="70">
                  <c:v>1234.8254</c:v>
                </c:pt>
                <c:pt idx="71">
                  <c:v>1271.649</c:v>
                </c:pt>
                <c:pt idx="72">
                  <c:v>1352.3372</c:v>
                </c:pt>
                <c:pt idx="73">
                  <c:v>1285.4808</c:v>
                </c:pt>
                <c:pt idx="74">
                  <c:v>1224.9639</c:v>
                </c:pt>
                <c:pt idx="75">
                  <c:v>1237.2927</c:v>
                </c:pt>
                <c:pt idx="76">
                  <c:v>1285.8459</c:v>
                </c:pt>
                <c:pt idx="77">
                  <c:v>1289.0526</c:v>
                </c:pt>
                <c:pt idx="78">
                  <c:v>1304.4161</c:v>
                </c:pt>
                <c:pt idx="79">
                  <c:v>1330.5292</c:v>
                </c:pt>
                <c:pt idx="80">
                  <c:v>1353.4868</c:v>
                </c:pt>
                <c:pt idx="81">
                  <c:v>1366.5696</c:v>
                </c:pt>
                <c:pt idx="82">
                  <c:v>1366.8138</c:v>
                </c:pt>
                <c:pt idx="83">
                  <c:v>1401.8859</c:v>
                </c:pt>
                <c:pt idx="84">
                  <c:v>1363.8507</c:v>
                </c:pt>
                <c:pt idx="85">
                  <c:v>1356.2925</c:v>
                </c:pt>
                <c:pt idx="86">
                  <c:v>1307.4701</c:v>
                </c:pt>
                <c:pt idx="87">
                  <c:v>1310.4435</c:v>
                </c:pt>
                <c:pt idx="88">
                  <c:v>1287.7951</c:v>
                </c:pt>
                <c:pt idx="89">
                  <c:v>1247.5088</c:v>
                </c:pt>
                <c:pt idx="90">
                  <c:v>1316.7128</c:v>
                </c:pt>
                <c:pt idx="91">
                  <c:v>1314.6528</c:v>
                </c:pt>
                <c:pt idx="92">
                  <c:v>1254.5632</c:v>
                </c:pt>
                <c:pt idx="93">
                  <c:v>1264.0918</c:v>
                </c:pt>
                <c:pt idx="94">
                  <c:v>1305.6087</c:v>
                </c:pt>
                <c:pt idx="95">
                  <c:v>1239.703</c:v>
                </c:pt>
                <c:pt idx="96">
                  <c:v>1150.7004</c:v>
                </c:pt>
                <c:pt idx="97">
                  <c:v>1201.4307</c:v>
                </c:pt>
                <c:pt idx="98">
                  <c:v>1183.1465</c:v>
                </c:pt>
                <c:pt idx="99">
                  <c:v>1167.0387</c:v>
                </c:pt>
                <c:pt idx="100">
                  <c:v>1205.8246</c:v>
                </c:pt>
                <c:pt idx="101">
                  <c:v>1191.2259</c:v>
                </c:pt>
                <c:pt idx="102">
                  <c:v>1236.1887</c:v>
                </c:pt>
                <c:pt idx="103">
                  <c:v>825.3529</c:v>
                </c:pt>
                <c:pt idx="104">
                  <c:v>971.1675</c:v>
                </c:pt>
              </c:numCache>
            </c:numRef>
          </c:xVal>
          <c:yVal>
            <c:numRef>
              <c:f>Sheet1!$B$2:$B$106</c:f>
              <c:numCache>
                <c:formatCode>General</c:formatCode>
                <c:ptCount val="105"/>
                <c:pt idx="0">
                  <c:v>0.14195168619947382</c:v>
                </c:pt>
                <c:pt idx="1">
                  <c:v>0.15050120005647324</c:v>
                </c:pt>
                <c:pt idx="2">
                  <c:v>0.14211960418758066</c:v>
                </c:pt>
                <c:pt idx="3">
                  <c:v>0.14852894653590637</c:v>
                </c:pt>
                <c:pt idx="4">
                  <c:v>0.15576102418207682</c:v>
                </c:pt>
                <c:pt idx="5">
                  <c:v>0.14455445544554454</c:v>
                </c:pt>
                <c:pt idx="6">
                  <c:v>0.14290030211480362</c:v>
                </c:pt>
                <c:pt idx="7">
                  <c:v>0.14358880556063655</c:v>
                </c:pt>
                <c:pt idx="8">
                  <c:v>0.15579710144927536</c:v>
                </c:pt>
                <c:pt idx="9">
                  <c:v>0.13494901337571183</c:v>
                </c:pt>
                <c:pt idx="10">
                  <c:v>0.1387088410681877</c:v>
                </c:pt>
                <c:pt idx="11">
                  <c:v>0.1388295029396045</c:v>
                </c:pt>
                <c:pt idx="12">
                  <c:v>0.13758306669948314</c:v>
                </c:pt>
                <c:pt idx="13">
                  <c:v>0.1398362058428065</c:v>
                </c:pt>
                <c:pt idx="14">
                  <c:v>0.13131685724824788</c:v>
                </c:pt>
                <c:pt idx="15">
                  <c:v>0.13935185185185187</c:v>
                </c:pt>
                <c:pt idx="16">
                  <c:v>0.13922926656011367</c:v>
                </c:pt>
                <c:pt idx="17">
                  <c:v>0.14006449012494962</c:v>
                </c:pt>
                <c:pt idx="18">
                  <c:v>0.12545620437956204</c:v>
                </c:pt>
                <c:pt idx="19">
                  <c:v>0.10763052208835341</c:v>
                </c:pt>
                <c:pt idx="20">
                  <c:v>0.11133288977600354</c:v>
                </c:pt>
                <c:pt idx="21">
                  <c:v>0.11504161712247325</c:v>
                </c:pt>
                <c:pt idx="22">
                  <c:v>0.09789444900191414</c:v>
                </c:pt>
                <c:pt idx="23">
                  <c:v>0.10480602200347423</c:v>
                </c:pt>
                <c:pt idx="24">
                  <c:v>0.09991876523151909</c:v>
                </c:pt>
                <c:pt idx="25">
                  <c:v>0.10039549741405537</c:v>
                </c:pt>
                <c:pt idx="26">
                  <c:v>0.10102067521591207</c:v>
                </c:pt>
                <c:pt idx="27">
                  <c:v>0.0972391888590276</c:v>
                </c:pt>
                <c:pt idx="28">
                  <c:v>0.11006781429316641</c:v>
                </c:pt>
                <c:pt idx="29">
                  <c:v>0.11087719298245614</c:v>
                </c:pt>
                <c:pt idx="30">
                  <c:v>0.09285295840656121</c:v>
                </c:pt>
                <c:pt idx="31">
                  <c:v>0.08427742470295661</c:v>
                </c:pt>
                <c:pt idx="32">
                  <c:v>0.08587412587412588</c:v>
                </c:pt>
                <c:pt idx="33">
                  <c:v>0.09816353301268037</c:v>
                </c:pt>
                <c:pt idx="34">
                  <c:v>0.09497310332034872</c:v>
                </c:pt>
                <c:pt idx="35">
                  <c:v>0.09036239911378383</c:v>
                </c:pt>
                <c:pt idx="36">
                  <c:v>0.07871954902355546</c:v>
                </c:pt>
                <c:pt idx="37">
                  <c:v>0.07193732193732194</c:v>
                </c:pt>
                <c:pt idx="38">
                  <c:v>0.06608478802992519</c:v>
                </c:pt>
                <c:pt idx="39">
                  <c:v>0.08318356867779204</c:v>
                </c:pt>
                <c:pt idx="40">
                  <c:v>0.08314232131694103</c:v>
                </c:pt>
                <c:pt idx="41">
                  <c:v>0.08505583273936802</c:v>
                </c:pt>
                <c:pt idx="42">
                  <c:v>0.0830104017948195</c:v>
                </c:pt>
                <c:pt idx="43">
                  <c:v>0.08611111111111111</c:v>
                </c:pt>
                <c:pt idx="44">
                  <c:v>0.10602272727272727</c:v>
                </c:pt>
                <c:pt idx="45">
                  <c:v>0.12461090470930816</c:v>
                </c:pt>
                <c:pt idx="46">
                  <c:v>0.12609422641880594</c:v>
                </c:pt>
                <c:pt idx="47">
                  <c:v>0.12251889168765744</c:v>
                </c:pt>
                <c:pt idx="48">
                  <c:v>0.13815741483696842</c:v>
                </c:pt>
                <c:pt idx="49">
                  <c:v>0.15581066046323455</c:v>
                </c:pt>
                <c:pt idx="50">
                  <c:v>0.13583493476281985</c:v>
                </c:pt>
                <c:pt idx="51">
                  <c:v>0.12219119797899215</c:v>
                </c:pt>
                <c:pt idx="52">
                  <c:v>0.12529208857238233</c:v>
                </c:pt>
                <c:pt idx="53">
                  <c:v>0.11089192616598563</c:v>
                </c:pt>
                <c:pt idx="54">
                  <c:v>0.10493431592438321</c:v>
                </c:pt>
                <c:pt idx="55">
                  <c:v>0.10317975340687865</c:v>
                </c:pt>
                <c:pt idx="56">
                  <c:v>0.11541168191414497</c:v>
                </c:pt>
                <c:pt idx="57">
                  <c:v>0.10920738974970202</c:v>
                </c:pt>
                <c:pt idx="58">
                  <c:v>0.11996251171508904</c:v>
                </c:pt>
                <c:pt idx="59">
                  <c:v>0.12348855158219707</c:v>
                </c:pt>
                <c:pt idx="60">
                  <c:v>0.14592599602536196</c:v>
                </c:pt>
                <c:pt idx="61">
                  <c:v>0.15469101495302368</c:v>
                </c:pt>
                <c:pt idx="62">
                  <c:v>0.14254278728606357</c:v>
                </c:pt>
                <c:pt idx="63">
                  <c:v>0.14449181063495625</c:v>
                </c:pt>
                <c:pt idx="64">
                  <c:v>0.12331186370247248</c:v>
                </c:pt>
                <c:pt idx="65">
                  <c:v>0.11436917200314571</c:v>
                </c:pt>
                <c:pt idx="66">
                  <c:v>0.11357995508805106</c:v>
                </c:pt>
                <c:pt idx="67">
                  <c:v>0.10529032258064516</c:v>
                </c:pt>
                <c:pt idx="68">
                  <c:v>0.0859023763648041</c:v>
                </c:pt>
                <c:pt idx="69">
                  <c:v>0.08000814332247556</c:v>
                </c:pt>
                <c:pt idx="70">
                  <c:v>0.07508939213349225</c:v>
                </c:pt>
                <c:pt idx="71">
                  <c:v>0.0948256211534078</c:v>
                </c:pt>
                <c:pt idx="72">
                  <c:v>0.09068219633943428</c:v>
                </c:pt>
                <c:pt idx="73">
                  <c:v>0.09822904368358913</c:v>
                </c:pt>
                <c:pt idx="74">
                  <c:v>0.10279353993889132</c:v>
                </c:pt>
                <c:pt idx="75">
                  <c:v>0.09519112207151664</c:v>
                </c:pt>
                <c:pt idx="76">
                  <c:v>0.09653866955110871</c:v>
                </c:pt>
                <c:pt idx="77">
                  <c:v>0.08614338339472939</c:v>
                </c:pt>
                <c:pt idx="78">
                  <c:v>0.09059233449477352</c:v>
                </c:pt>
                <c:pt idx="79">
                  <c:v>0.08451931455126344</c:v>
                </c:pt>
                <c:pt idx="80">
                  <c:v>0.07410514541387024</c:v>
                </c:pt>
                <c:pt idx="81">
                  <c:v>0.0732159406858202</c:v>
                </c:pt>
                <c:pt idx="82">
                  <c:v>0.07567401960784313</c:v>
                </c:pt>
                <c:pt idx="83">
                  <c:v>0.06444833625218914</c:v>
                </c:pt>
                <c:pt idx="84">
                  <c:v>0.07013258897418004</c:v>
                </c:pt>
                <c:pt idx="85">
                  <c:v>0.07618187292984041</c:v>
                </c:pt>
                <c:pt idx="86">
                  <c:v>0.08073716542343133</c:v>
                </c:pt>
                <c:pt idx="87">
                  <c:v>0.08907762196326288</c:v>
                </c:pt>
                <c:pt idx="88">
                  <c:v>0.08535630383711824</c:v>
                </c:pt>
                <c:pt idx="89">
                  <c:v>0.08487194758784991</c:v>
                </c:pt>
                <c:pt idx="90">
                  <c:v>0.0878419452887538</c:v>
                </c:pt>
                <c:pt idx="91">
                  <c:v>0.08064516129032258</c:v>
                </c:pt>
                <c:pt idx="92">
                  <c:v>0.09415730337078651</c:v>
                </c:pt>
                <c:pt idx="93">
                  <c:v>0.08726721524469468</c:v>
                </c:pt>
                <c:pt idx="94">
                  <c:v>0.08216241962371994</c:v>
                </c:pt>
                <c:pt idx="95">
                  <c:v>0.09284467713787085</c:v>
                </c:pt>
                <c:pt idx="96">
                  <c:v>0.09337637494022</c:v>
                </c:pt>
                <c:pt idx="97">
                  <c:v>0.10137404580152672</c:v>
                </c:pt>
                <c:pt idx="98">
                  <c:v>0.11171059614364054</c:v>
                </c:pt>
                <c:pt idx="99">
                  <c:v>0.11396163215590743</c:v>
                </c:pt>
                <c:pt idx="100">
                  <c:v>0.11939125063177403</c:v>
                </c:pt>
                <c:pt idx="101">
                  <c:v>0.12548618219037871</c:v>
                </c:pt>
                <c:pt idx="102">
                  <c:v>0.10878170356252749</c:v>
                </c:pt>
                <c:pt idx="103">
                  <c:v>0.15746519443110898</c:v>
                </c:pt>
                <c:pt idx="104">
                  <c:v>0.147218552766769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67.5886</c:v>
                </c:pt>
                <c:pt idx="1">
                  <c:v>1107.415</c:v>
                </c:pt>
                <c:pt idx="2">
                  <c:v>1092.3789</c:v>
                </c:pt>
                <c:pt idx="3">
                  <c:v>1136.3487</c:v>
                </c:pt>
                <c:pt idx="4">
                  <c:v>1121.2626</c:v>
                </c:pt>
                <c:pt idx="5">
                  <c:v>1123.183</c:v>
                </c:pt>
                <c:pt idx="6">
                  <c:v>1084.8677</c:v>
                </c:pt>
                <c:pt idx="7">
                  <c:v>1207.9677</c:v>
                </c:pt>
                <c:pt idx="8">
                  <c:v>1358.457</c:v>
                </c:pt>
                <c:pt idx="9">
                  <c:v>1316.3789</c:v>
                </c:pt>
                <c:pt idx="10">
                  <c:v>1340.4132</c:v>
                </c:pt>
                <c:pt idx="11">
                  <c:v>1206.9616</c:v>
                </c:pt>
                <c:pt idx="12">
                  <c:v>1251.5272</c:v>
                </c:pt>
                <c:pt idx="13">
                  <c:v>1322.0038</c:v>
                </c:pt>
                <c:pt idx="14">
                  <c:v>1309.0926</c:v>
                </c:pt>
                <c:pt idx="15">
                  <c:v>1327.5596</c:v>
                </c:pt>
                <c:pt idx="16">
                  <c:v>1341.2779</c:v>
                </c:pt>
                <c:pt idx="17">
                  <c:v>1306.7601</c:v>
                </c:pt>
                <c:pt idx="18">
                  <c:v>1394.3456</c:v>
                </c:pt>
                <c:pt idx="19">
                  <c:v>1428.4798</c:v>
                </c:pt>
                <c:pt idx="20">
                  <c:v>1392.9446</c:v>
                </c:pt>
                <c:pt idx="21">
                  <c:v>1272.9426</c:v>
                </c:pt>
                <c:pt idx="22">
                  <c:v>1234.7474</c:v>
                </c:pt>
                <c:pt idx="23">
                  <c:v>1269.1437</c:v>
                </c:pt>
                <c:pt idx="24">
                  <c:v>1279.6592</c:v>
                </c:pt>
                <c:pt idx="25">
                  <c:v>1235.56</c:v>
                </c:pt>
                <c:pt idx="26">
                  <c:v>1290.5318</c:v>
                </c:pt>
                <c:pt idx="27">
                  <c:v>1283.3147</c:v>
                </c:pt>
                <c:pt idx="28">
                  <c:v>1298.8484</c:v>
                </c:pt>
                <c:pt idx="29">
                  <c:v>1297.3112</c:v>
                </c:pt>
                <c:pt idx="30">
                  <c:v>1307.4289</c:v>
                </c:pt>
                <c:pt idx="31">
                  <c:v>1223.228</c:v>
                </c:pt>
                <c:pt idx="32">
                  <c:v>1198.9306</c:v>
                </c:pt>
                <c:pt idx="33">
                  <c:v>1250.9637</c:v>
                </c:pt>
                <c:pt idx="34">
                  <c:v>1270.3541</c:v>
                </c:pt>
                <c:pt idx="35">
                  <c:v>1235.5213</c:v>
                </c:pt>
                <c:pt idx="36">
                  <c:v>1238.4309</c:v>
                </c:pt>
                <c:pt idx="37">
                  <c:v>1448.3056</c:v>
                </c:pt>
                <c:pt idx="38">
                  <c:v>1452.1702</c:v>
                </c:pt>
                <c:pt idx="39">
                  <c:v>1360.4219</c:v>
                </c:pt>
                <c:pt idx="40">
                  <c:v>1386.8719</c:v>
                </c:pt>
                <c:pt idx="41">
                  <c:v>1419.833</c:v>
                </c:pt>
                <c:pt idx="42">
                  <c:v>1374.7506</c:v>
                </c:pt>
                <c:pt idx="43">
                  <c:v>1421.2358</c:v>
                </c:pt>
                <c:pt idx="44">
                  <c:v>1327.693</c:v>
                </c:pt>
                <c:pt idx="45">
                  <c:v>1269.7295</c:v>
                </c:pt>
                <c:pt idx="46">
                  <c:v>1257.0256</c:v>
                </c:pt>
                <c:pt idx="47">
                  <c:v>1244.9541</c:v>
                </c:pt>
                <c:pt idx="48">
                  <c:v>1243.9375</c:v>
                </c:pt>
                <c:pt idx="49">
                  <c:v>1257.5794</c:v>
                </c:pt>
                <c:pt idx="50">
                  <c:v>1095.2617</c:v>
                </c:pt>
                <c:pt idx="51">
                  <c:v>1064.9891</c:v>
                </c:pt>
              </c:numCache>
            </c:numRef>
          </c:xVal>
          <c:yVal>
            <c:numRef>
              <c:f>Sheet1!$B$109:$B$160</c:f>
              <c:numCache>
                <c:formatCode>General</c:formatCode>
                <c:ptCount val="52"/>
                <c:pt idx="0">
                  <c:v>0.1268227424749164</c:v>
                </c:pt>
                <c:pt idx="1">
                  <c:v>0.1588068181818182</c:v>
                </c:pt>
                <c:pt idx="2">
                  <c:v>0.15699658703071673</c:v>
                </c:pt>
                <c:pt idx="3">
                  <c:v>0.1610764430577223</c:v>
                </c:pt>
                <c:pt idx="4">
                  <c:v>0.16432113657686637</c:v>
                </c:pt>
                <c:pt idx="5">
                  <c:v>0.15303707599263738</c:v>
                </c:pt>
                <c:pt idx="6">
                  <c:v>0.1380714202628824</c:v>
                </c:pt>
                <c:pt idx="7">
                  <c:v>0.1294685990338164</c:v>
                </c:pt>
                <c:pt idx="8">
                  <c:v>0.1196629213483146</c:v>
                </c:pt>
                <c:pt idx="9">
                  <c:v>0.12468365108824025</c:v>
                </c:pt>
                <c:pt idx="10">
                  <c:v>0.12678600755460667</c:v>
                </c:pt>
                <c:pt idx="11">
                  <c:v>0.12135330005546312</c:v>
                </c:pt>
                <c:pt idx="12">
                  <c:v>0.1178239832614097</c:v>
                </c:pt>
                <c:pt idx="13">
                  <c:v>0.11398286626978366</c:v>
                </c:pt>
                <c:pt idx="14">
                  <c:v>0.11931818181818182</c:v>
                </c:pt>
                <c:pt idx="15">
                  <c:v>0.11417597765363129</c:v>
                </c:pt>
                <c:pt idx="16">
                  <c:v>0.10456312666257418</c:v>
                </c:pt>
                <c:pt idx="17">
                  <c:v>0.10055508112724168</c:v>
                </c:pt>
                <c:pt idx="18">
                  <c:v>0.09002375296912114</c:v>
                </c:pt>
                <c:pt idx="19">
                  <c:v>0.10313571778539932</c:v>
                </c:pt>
                <c:pt idx="20">
                  <c:v>0.10834762721555175</c:v>
                </c:pt>
                <c:pt idx="21">
                  <c:v>0.11929595827900913</c:v>
                </c:pt>
                <c:pt idx="22">
                  <c:v>0.12532981530343007</c:v>
                </c:pt>
                <c:pt idx="23">
                  <c:v>0.12182566918325326</c:v>
                </c:pt>
                <c:pt idx="24">
                  <c:v>0.11522368844544577</c:v>
                </c:pt>
                <c:pt idx="25">
                  <c:v>0.10758027143330023</c:v>
                </c:pt>
                <c:pt idx="26">
                  <c:v>0.09849435382685069</c:v>
                </c:pt>
                <c:pt idx="27">
                  <c:v>0.10454418734318371</c:v>
                </c:pt>
                <c:pt idx="28">
                  <c:v>0.11221122112211221</c:v>
                </c:pt>
                <c:pt idx="29">
                  <c:v>0.11838790931989925</c:v>
                </c:pt>
                <c:pt idx="30">
                  <c:v>0.12200504413619168</c:v>
                </c:pt>
                <c:pt idx="31">
                  <c:v>0.12251767081790643</c:v>
                </c:pt>
                <c:pt idx="32">
                  <c:v>0.13170300530347673</c:v>
                </c:pt>
                <c:pt idx="33">
                  <c:v>0.13992496137717944</c:v>
                </c:pt>
                <c:pt idx="34">
                  <c:v>0.1425091352009744</c:v>
                </c:pt>
                <c:pt idx="35">
                  <c:v>0.14329268292682926</c:v>
                </c:pt>
                <c:pt idx="36">
                  <c:v>0.1296561604584527</c:v>
                </c:pt>
                <c:pt idx="37">
                  <c:v>0.09927440633245382</c:v>
                </c:pt>
                <c:pt idx="38">
                  <c:v>0.10601503759398496</c:v>
                </c:pt>
                <c:pt idx="39">
                  <c:v>0.11750205423171733</c:v>
                </c:pt>
                <c:pt idx="40">
                  <c:v>0.10727762803234502</c:v>
                </c:pt>
                <c:pt idx="41">
                  <c:v>0.11290322580645161</c:v>
                </c:pt>
                <c:pt idx="42">
                  <c:v>0.1174296275234575</c:v>
                </c:pt>
                <c:pt idx="43">
                  <c:v>0.10725964682799215</c:v>
                </c:pt>
                <c:pt idx="44">
                  <c:v>0.10224482637670992</c:v>
                </c:pt>
                <c:pt idx="45">
                  <c:v>0.10173239955768522</c:v>
                </c:pt>
                <c:pt idx="46">
                  <c:v>0.0998719590268886</c:v>
                </c:pt>
                <c:pt idx="47">
                  <c:v>0.0953299884214589</c:v>
                </c:pt>
                <c:pt idx="48">
                  <c:v>0.08533779544028446</c:v>
                </c:pt>
                <c:pt idx="49">
                  <c:v>0.0927533404857115</c:v>
                </c:pt>
                <c:pt idx="50">
                  <c:v>0.12069191455903551</c:v>
                </c:pt>
                <c:pt idx="51">
                  <c:v>0.1208989304170171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30.482678531442</c:v>
                </c:pt>
              </c:numCache>
            </c:numRef>
          </c:xVal>
          <c:yVal>
            <c:numRef>
              <c:f>Sheet1!$B$163:$B$164</c:f>
              <c:numCache>
                <c:formatCode>General</c:formatCode>
                <c:ptCount val="2"/>
                <c:pt idx="0">
                  <c:v>0.14730034730353012</c:v>
                </c:pt>
                <c:pt idx="1">
                  <c:v>0.1473003473035301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30.482678531442</c:v>
                </c:pt>
                <c:pt idx="1">
                  <c:v>1030.482678531442</c:v>
                </c:pt>
              </c:numCache>
            </c:numRef>
          </c:xVal>
          <c:yVal>
            <c:numRef>
              <c:f>Sheet1!$B$167:$B$168</c:f>
              <c:numCache>
                <c:formatCode>General</c:formatCode>
                <c:ptCount val="2"/>
                <c:pt idx="0">
                  <c:v>0.1473003473035301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47.0938233996233</c:v>
                </c:pt>
              </c:numCache>
            </c:numRef>
          </c:xVal>
          <c:yVal>
            <c:numRef>
              <c:f>Sheet1!$B$171:$B$172</c:f>
              <c:numCache>
                <c:formatCode>General</c:formatCode>
                <c:ptCount val="2"/>
                <c:pt idx="0">
                  <c:v>0.14536263821774342</c:v>
                </c:pt>
                <c:pt idx="1">
                  <c:v>0.1453626382177434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47.0938233996233</c:v>
                </c:pt>
                <c:pt idx="1">
                  <c:v>1047.0938233996233</c:v>
                </c:pt>
              </c:numCache>
            </c:numRef>
          </c:xVal>
          <c:yVal>
            <c:numRef>
              <c:f>Sheet1!$B$175:$B$176</c:f>
              <c:numCache>
                <c:formatCode>General</c:formatCode>
                <c:ptCount val="2"/>
                <c:pt idx="0">
                  <c:v>0.1453626382177434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82.4006021140378</c:v>
                </c:pt>
              </c:numCache>
            </c:numRef>
          </c:xVal>
          <c:yVal>
            <c:numRef>
              <c:f>Sheet1!$B$179:$B$180</c:f>
              <c:numCache>
                <c:formatCode>General</c:formatCode>
                <c:ptCount val="2"/>
                <c:pt idx="0">
                  <c:v>0.10624871820821191</c:v>
                </c:pt>
                <c:pt idx="1">
                  <c:v>0.1062487182082119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82.4006021140378</c:v>
                </c:pt>
                <c:pt idx="1">
                  <c:v>1382.4006021140378</c:v>
                </c:pt>
              </c:numCache>
            </c:numRef>
          </c:xVal>
          <c:yVal>
            <c:numRef>
              <c:f>Sheet1!$B$183:$B$184</c:f>
              <c:numCache>
                <c:formatCode>General</c:formatCode>
                <c:ptCount val="2"/>
                <c:pt idx="0">
                  <c:v>0.1062487182082119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67.5886</c:v>
                </c:pt>
                <c:pt idx="1">
                  <c:v>1107.415</c:v>
                </c:pt>
                <c:pt idx="2">
                  <c:v>1092.3789</c:v>
                </c:pt>
                <c:pt idx="3">
                  <c:v>1136.3487</c:v>
                </c:pt>
                <c:pt idx="4">
                  <c:v>1121.2626</c:v>
                </c:pt>
                <c:pt idx="5">
                  <c:v>1123.183</c:v>
                </c:pt>
                <c:pt idx="6">
                  <c:v>1084.8677</c:v>
                </c:pt>
                <c:pt idx="7">
                  <c:v>1207.9677</c:v>
                </c:pt>
                <c:pt idx="8">
                  <c:v>1358.457</c:v>
                </c:pt>
                <c:pt idx="9">
                  <c:v>1316.3789</c:v>
                </c:pt>
                <c:pt idx="10">
                  <c:v>1340.4132</c:v>
                </c:pt>
                <c:pt idx="11">
                  <c:v>1206.9616</c:v>
                </c:pt>
                <c:pt idx="12">
                  <c:v>1251.5272</c:v>
                </c:pt>
                <c:pt idx="13">
                  <c:v>1322.0038</c:v>
                </c:pt>
                <c:pt idx="14">
                  <c:v>1309.0926</c:v>
                </c:pt>
                <c:pt idx="15">
                  <c:v>1327.5596</c:v>
                </c:pt>
                <c:pt idx="16">
                  <c:v>1341.2779</c:v>
                </c:pt>
                <c:pt idx="17">
                  <c:v>1306.7601</c:v>
                </c:pt>
                <c:pt idx="18">
                  <c:v>1394.3456</c:v>
                </c:pt>
                <c:pt idx="19">
                  <c:v>1428.4798</c:v>
                </c:pt>
                <c:pt idx="20">
                  <c:v>1392.9446</c:v>
                </c:pt>
                <c:pt idx="21">
                  <c:v>1272.9426</c:v>
                </c:pt>
                <c:pt idx="22">
                  <c:v>1234.7474</c:v>
                </c:pt>
                <c:pt idx="23">
                  <c:v>1269.1437</c:v>
                </c:pt>
                <c:pt idx="24">
                  <c:v>1279.6592</c:v>
                </c:pt>
                <c:pt idx="25">
                  <c:v>1235.56</c:v>
                </c:pt>
                <c:pt idx="26">
                  <c:v>1290.5318</c:v>
                </c:pt>
                <c:pt idx="27">
                  <c:v>1283.3147</c:v>
                </c:pt>
                <c:pt idx="28">
                  <c:v>1298.8484</c:v>
                </c:pt>
                <c:pt idx="29">
                  <c:v>1297.3112</c:v>
                </c:pt>
                <c:pt idx="30">
                  <c:v>1307.4289</c:v>
                </c:pt>
                <c:pt idx="31">
                  <c:v>1223.228</c:v>
                </c:pt>
                <c:pt idx="32">
                  <c:v>1198.9306</c:v>
                </c:pt>
                <c:pt idx="33">
                  <c:v>1250.9637</c:v>
                </c:pt>
                <c:pt idx="34">
                  <c:v>1270.3541</c:v>
                </c:pt>
                <c:pt idx="35">
                  <c:v>1235.5213</c:v>
                </c:pt>
                <c:pt idx="36">
                  <c:v>1238.4309</c:v>
                </c:pt>
                <c:pt idx="37">
                  <c:v>1448.3056</c:v>
                </c:pt>
                <c:pt idx="38">
                  <c:v>1452.1702</c:v>
                </c:pt>
                <c:pt idx="39">
                  <c:v>1360.4219</c:v>
                </c:pt>
                <c:pt idx="40">
                  <c:v>1386.8719</c:v>
                </c:pt>
                <c:pt idx="41">
                  <c:v>1419.833</c:v>
                </c:pt>
                <c:pt idx="42">
                  <c:v>1374.7506</c:v>
                </c:pt>
                <c:pt idx="43">
                  <c:v>1421.2358</c:v>
                </c:pt>
                <c:pt idx="44">
                  <c:v>1327.693</c:v>
                </c:pt>
                <c:pt idx="45">
                  <c:v>1269.7295</c:v>
                </c:pt>
                <c:pt idx="46">
                  <c:v>1257.0256</c:v>
                </c:pt>
                <c:pt idx="47">
                  <c:v>1244.9541</c:v>
                </c:pt>
                <c:pt idx="48">
                  <c:v>1243.9375</c:v>
                </c:pt>
                <c:pt idx="49">
                  <c:v>1257.5794</c:v>
                </c:pt>
                <c:pt idx="50">
                  <c:v>1095.2617</c:v>
                </c:pt>
                <c:pt idx="51">
                  <c:v>1064.9891</c:v>
                </c:pt>
                <c:pt idx="52">
                  <c:v>1047.0938233996233</c:v>
                </c:pt>
                <c:pt idx="53">
                  <c:v>1030.482678531442</c:v>
                </c:pt>
                <c:pt idx="54">
                  <c:v>1382.4006021140378</c:v>
                </c:pt>
              </c:numCache>
            </c:numRef>
          </c:xVal>
          <c:yVal>
            <c:numRef>
              <c:f>Sheet1!$B$187:$B$241</c:f>
              <c:numCache>
                <c:formatCode>General</c:formatCode>
                <c:ptCount val="55"/>
                <c:pt idx="0">
                  <c:v>0.13130678443636892</c:v>
                </c:pt>
                <c:pt idx="1">
                  <c:v>0.13832610383727542</c:v>
                </c:pt>
                <c:pt idx="2">
                  <c:v>0.140080082134136</c:v>
                </c:pt>
                <c:pt idx="3">
                  <c:v>0.13495095457331235</c:v>
                </c:pt>
                <c:pt idx="4">
                  <c:v>0.13671076542747457</c:v>
                </c:pt>
                <c:pt idx="5">
                  <c:v>0.13648674856663356</c:v>
                </c:pt>
                <c:pt idx="6">
                  <c:v>0.14095627222221596</c:v>
                </c:pt>
                <c:pt idx="7">
                  <c:v>0.12659651614560452</c:v>
                </c:pt>
                <c:pt idx="8">
                  <c:v>0.1090417668349627</c:v>
                </c:pt>
                <c:pt idx="9">
                  <c:v>0.1139502254228365</c:v>
                </c:pt>
                <c:pt idx="10">
                  <c:v>0.1111465967837455</c:v>
                </c:pt>
                <c:pt idx="11">
                  <c:v>0.12671387886362787</c:v>
                </c:pt>
                <c:pt idx="12">
                  <c:v>0.12151525054999804</c:v>
                </c:pt>
                <c:pt idx="13">
                  <c:v>0.11329407439151781</c:v>
                </c:pt>
                <c:pt idx="14">
                  <c:v>0.11480018066817374</c:v>
                </c:pt>
                <c:pt idx="15">
                  <c:v>0.11264598395438996</c:v>
                </c:pt>
                <c:pt idx="16">
                  <c:v>0.11104572853777112</c:v>
                </c:pt>
                <c:pt idx="17">
                  <c:v>0.11507226946629476</c:v>
                </c:pt>
                <c:pt idx="18">
                  <c:v>0.1048553205154576</c:v>
                </c:pt>
                <c:pt idx="19">
                  <c:v>0.10087352696655208</c:v>
                </c:pt>
                <c:pt idx="20">
                  <c:v>0.10501874877104925</c:v>
                </c:pt>
                <c:pt idx="21">
                  <c:v>0.11901711959725175</c:v>
                </c:pt>
                <c:pt idx="22">
                  <c:v>0.12347263345019563</c:v>
                </c:pt>
                <c:pt idx="23">
                  <c:v>0.11946026563591494</c:v>
                </c:pt>
                <c:pt idx="24">
                  <c:v>0.11823362050980929</c:v>
                </c:pt>
                <c:pt idx="25">
                  <c:v>0.12337784272892954</c:v>
                </c:pt>
                <c:pt idx="26">
                  <c:v>0.11696531925945539</c:v>
                </c:pt>
                <c:pt idx="27">
                  <c:v>0.11780720224548719</c:v>
                </c:pt>
                <c:pt idx="28">
                  <c:v>0.11599517833836076</c:v>
                </c:pt>
                <c:pt idx="29">
                  <c:v>0.11617449448004205</c:v>
                </c:pt>
                <c:pt idx="30">
                  <c:v>0.11499425317982814</c:v>
                </c:pt>
                <c:pt idx="31">
                  <c:v>0.12481638466180339</c:v>
                </c:pt>
                <c:pt idx="32">
                  <c:v>0.1276507042174156</c:v>
                </c:pt>
                <c:pt idx="33">
                  <c:v>0.12158098347078738</c:v>
                </c:pt>
                <c:pt idx="34">
                  <c:v>0.11931907108875711</c:v>
                </c:pt>
                <c:pt idx="35">
                  <c:v>0.123382357128281</c:v>
                </c:pt>
                <c:pt idx="36">
                  <c:v>0.12304294895378459</c:v>
                </c:pt>
                <c:pt idx="37">
                  <c:v>0.09856082467553923</c:v>
                </c:pt>
                <c:pt idx="38">
                  <c:v>0.09811001465658167</c:v>
                </c:pt>
                <c:pt idx="39">
                  <c:v>0.10881255899812328</c:v>
                </c:pt>
                <c:pt idx="40">
                  <c:v>0.10572713618556134</c:v>
                </c:pt>
                <c:pt idx="41">
                  <c:v>0.10188218609606664</c:v>
                </c:pt>
                <c:pt idx="42">
                  <c:v>0.10714109972196614</c:v>
                </c:pt>
                <c:pt idx="43">
                  <c:v>0.10171854786841214</c:v>
                </c:pt>
                <c:pt idx="44">
                  <c:v>0.11263042269150922</c:v>
                </c:pt>
                <c:pt idx="45">
                  <c:v>0.11939193139456908</c:v>
                </c:pt>
                <c:pt idx="46">
                  <c:v>0.12087385588865246</c:v>
                </c:pt>
                <c:pt idx="47">
                  <c:v>0.12228201019798482</c:v>
                </c:pt>
                <c:pt idx="48">
                  <c:v>0.12240059775304155</c:v>
                </c:pt>
                <c:pt idx="49">
                  <c:v>0.12080925448397958</c:v>
                </c:pt>
                <c:pt idx="50">
                  <c:v>0.13974380021035324</c:v>
                </c:pt>
                <c:pt idx="51">
                  <c:v>0.14327513369373934</c:v>
                </c:pt>
                <c:pt idx="52">
                  <c:v>0.14536263821774342</c:v>
                </c:pt>
                <c:pt idx="53">
                  <c:v>0.1473003473035301</c:v>
                </c:pt>
                <c:pt idx="54">
                  <c:v>0.1062487182082119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43.0"/>
          <c:min val="66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718536389223965"/>
          <c:min val="0.05155866900175131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945090592334494</c:v>
                </c:pt>
                <c:pt idx="1">
                  <c:v>0.6780337282229965</c:v>
                </c:pt>
                <c:pt idx="2">
                  <c:v>0.7686748002904866</c:v>
                </c:pt>
                <c:pt idx="3">
                  <c:v>0.6952127783155856</c:v>
                </c:pt>
                <c:pt idx="4">
                  <c:v>1.0499317073170733</c:v>
                </c:pt>
                <c:pt idx="5">
                  <c:v>0.0</c:v>
                </c:pt>
                <c:pt idx="6">
                  <c:v>0.0</c:v>
                </c:pt>
                <c:pt idx="7">
                  <c:v>0.37178922475106685</c:v>
                </c:pt>
                <c:pt idx="8">
                  <c:v>0.54637925489145</c:v>
                </c:pt>
                <c:pt idx="9">
                  <c:v>0.7155741463414634</c:v>
                </c:pt>
                <c:pt idx="10">
                  <c:v>0.680228883270277</c:v>
                </c:pt>
                <c:pt idx="11">
                  <c:v>0.7696644163763067</c:v>
                </c:pt>
                <c:pt idx="12">
                  <c:v>0.5846848298940324</c:v>
                </c:pt>
                <c:pt idx="13">
                  <c:v>0.7407696718931476</c:v>
                </c:pt>
                <c:pt idx="14">
                  <c:v>0.70384801218068</c:v>
                </c:pt>
                <c:pt idx="15">
                  <c:v>0.8504229555236729</c:v>
                </c:pt>
                <c:pt idx="16">
                  <c:v>0.7125258007743752</c:v>
                </c:pt>
                <c:pt idx="17">
                  <c:v>0.7253282229965157</c:v>
                </c:pt>
                <c:pt idx="18">
                  <c:v>0.5524783972125435</c:v>
                </c:pt>
                <c:pt idx="19">
                  <c:v>0.8102969337979095</c:v>
                </c:pt>
                <c:pt idx="20">
                  <c:v>0.8756509919966787</c:v>
                </c:pt>
                <c:pt idx="21">
                  <c:v>0.46971025537089584</c:v>
                </c:pt>
                <c:pt idx="22">
                  <c:v>0.9689524355300859</c:v>
                </c:pt>
                <c:pt idx="23">
                  <c:v>1.0449891140932799</c:v>
                </c:pt>
                <c:pt idx="24">
                  <c:v>1.2274350061975203</c:v>
                </c:pt>
                <c:pt idx="25">
                  <c:v>1.5139217506631302</c:v>
                </c:pt>
                <c:pt idx="26">
                  <c:v>0.9661407010309279</c:v>
                </c:pt>
                <c:pt idx="27">
                  <c:v>0.551530662020906</c:v>
                </c:pt>
                <c:pt idx="28">
                  <c:v>0.5241184148077837</c:v>
                </c:pt>
                <c:pt idx="29">
                  <c:v>0.8426921059250808</c:v>
                </c:pt>
                <c:pt idx="30">
                  <c:v>0.8565663956639566</c:v>
                </c:pt>
                <c:pt idx="31">
                  <c:v>0.7912670740474478</c:v>
                </c:pt>
                <c:pt idx="32">
                  <c:v>1.2975254355400696</c:v>
                </c:pt>
                <c:pt idx="33">
                  <c:v>0.7988654355400697</c:v>
                </c:pt>
                <c:pt idx="34">
                  <c:v>0.7597943726214391</c:v>
                </c:pt>
                <c:pt idx="35">
                  <c:v>0.9326186791296353</c:v>
                </c:pt>
                <c:pt idx="36">
                  <c:v>0.9111357395612173</c:v>
                </c:pt>
                <c:pt idx="37">
                  <c:v>0.695360662747194</c:v>
                </c:pt>
                <c:pt idx="38">
                  <c:v>1.0802753674393362</c:v>
                </c:pt>
                <c:pt idx="39">
                  <c:v>1.1831616942909762</c:v>
                </c:pt>
                <c:pt idx="40">
                  <c:v>1.0773306962399865</c:v>
                </c:pt>
                <c:pt idx="41">
                  <c:v>1.0792577906018137</c:v>
                </c:pt>
                <c:pt idx="42">
                  <c:v>1.0960407948619055</c:v>
                </c:pt>
                <c:pt idx="43">
                  <c:v>0.9402353063343718</c:v>
                </c:pt>
                <c:pt idx="44">
                  <c:v>0.8471433706216761</c:v>
                </c:pt>
                <c:pt idx="45">
                  <c:v>0.42175969802555163</c:v>
                </c:pt>
                <c:pt idx="46">
                  <c:v>0.6457566782810685</c:v>
                </c:pt>
                <c:pt idx="47">
                  <c:v>0.7654410452961672</c:v>
                </c:pt>
                <c:pt idx="48">
                  <c:v>0.7761664434261544</c:v>
                </c:pt>
                <c:pt idx="49">
                  <c:v>0.7464763371604592</c:v>
                </c:pt>
                <c:pt idx="50">
                  <c:v>0.6310029788501639</c:v>
                </c:pt>
                <c:pt idx="51">
                  <c:v>0.5887533512064343</c:v>
                </c:pt>
                <c:pt idx="52">
                  <c:v>0.6523084188911704</c:v>
                </c:pt>
                <c:pt idx="53">
                  <c:v>0.7298469223907226</c:v>
                </c:pt>
                <c:pt idx="54">
                  <c:v>0.90886112992597</c:v>
                </c:pt>
                <c:pt idx="55">
                  <c:v>0.8324821705426356</c:v>
                </c:pt>
                <c:pt idx="56">
                  <c:v>1.061067865903516</c:v>
                </c:pt>
                <c:pt idx="57">
                  <c:v>0.9511001503759398</c:v>
                </c:pt>
                <c:pt idx="58">
                  <c:v>1.0794528786354818</c:v>
                </c:pt>
                <c:pt idx="59">
                  <c:v>0.981874139626352</c:v>
                </c:pt>
                <c:pt idx="60">
                  <c:v>0.8799505965243601</c:v>
                </c:pt>
                <c:pt idx="61">
                  <c:v>0.930483547487002</c:v>
                </c:pt>
                <c:pt idx="62">
                  <c:v>0.8893359442282975</c:v>
                </c:pt>
                <c:pt idx="63">
                  <c:v>0.9732989522354549</c:v>
                </c:pt>
                <c:pt idx="64">
                  <c:v>0.9584295346160171</c:v>
                </c:pt>
                <c:pt idx="65">
                  <c:v>0.9925971994571713</c:v>
                </c:pt>
                <c:pt idx="66">
                  <c:v>0.9272181582877053</c:v>
                </c:pt>
                <c:pt idx="67">
                  <c:v>0.9917206172224987</c:v>
                </c:pt>
                <c:pt idx="68">
                  <c:v>1.000669397490249</c:v>
                </c:pt>
                <c:pt idx="69">
                  <c:v>1.1261248257839722</c:v>
                </c:pt>
                <c:pt idx="70">
                  <c:v>1.0745087017055341</c:v>
                </c:pt>
                <c:pt idx="71">
                  <c:v>1.0026142182027389</c:v>
                </c:pt>
                <c:pt idx="72">
                  <c:v>0.9467496499579948</c:v>
                </c:pt>
                <c:pt idx="73">
                  <c:v>0.9095919334866442</c:v>
                </c:pt>
                <c:pt idx="74">
                  <c:v>1.116776205128205</c:v>
                </c:pt>
                <c:pt idx="75">
                  <c:v>1.4741375089014102</c:v>
                </c:pt>
                <c:pt idx="76">
                  <c:v>1.4427893515219885</c:v>
                </c:pt>
                <c:pt idx="77">
                  <c:v>1.0992489170196442</c:v>
                </c:pt>
                <c:pt idx="78">
                  <c:v>1.3537306109334502</c:v>
                </c:pt>
                <c:pt idx="79">
                  <c:v>1.1943709156193896</c:v>
                </c:pt>
                <c:pt idx="80">
                  <c:v>1.3662383120377417</c:v>
                </c:pt>
                <c:pt idx="81">
                  <c:v>1.167564730114476</c:v>
                </c:pt>
                <c:pt idx="82">
                  <c:v>1.216351161341995</c:v>
                </c:pt>
                <c:pt idx="83">
                  <c:v>1.1021115566037736</c:v>
                </c:pt>
                <c:pt idx="84">
                  <c:v>1.118434240430313</c:v>
                </c:pt>
                <c:pt idx="85">
                  <c:v>0.972252688172043</c:v>
                </c:pt>
                <c:pt idx="86">
                  <c:v>1.0513026520690794</c:v>
                </c:pt>
                <c:pt idx="87">
                  <c:v>1.0084767258470377</c:v>
                </c:pt>
                <c:pt idx="88">
                  <c:v>1.0109075280634272</c:v>
                </c:pt>
                <c:pt idx="89">
                  <c:v>0.8083908761016071</c:v>
                </c:pt>
                <c:pt idx="90">
                  <c:v>0.999857847976308</c:v>
                </c:pt>
                <c:pt idx="91">
                  <c:v>1.0470106918865107</c:v>
                </c:pt>
                <c:pt idx="92">
                  <c:v>0.9441482240296308</c:v>
                </c:pt>
                <c:pt idx="93">
                  <c:v>1.032661006014895</c:v>
                </c:pt>
                <c:pt idx="94">
                  <c:v>0.9570507990030787</c:v>
                </c:pt>
                <c:pt idx="95">
                  <c:v>0.8021001165006029</c:v>
                </c:pt>
                <c:pt idx="96">
                  <c:v>0.7989742138400588</c:v>
                </c:pt>
                <c:pt idx="97">
                  <c:v>0.8606237106017192</c:v>
                </c:pt>
                <c:pt idx="98">
                  <c:v>0.8282439621981099</c:v>
                </c:pt>
                <c:pt idx="99">
                  <c:v>0.9681754604280737</c:v>
                </c:pt>
                <c:pt idx="100">
                  <c:v>0.933662098335269</c:v>
                </c:pt>
                <c:pt idx="101">
                  <c:v>0.9320104841075794</c:v>
                </c:pt>
                <c:pt idx="102">
                  <c:v>0.7831414000633512</c:v>
                </c:pt>
                <c:pt idx="103">
                  <c:v>0.5973603474701966</c:v>
                </c:pt>
                <c:pt idx="104">
                  <c:v>0.6531052454606591</c:v>
                </c:pt>
              </c:numCache>
            </c:numRef>
          </c:xVal>
          <c:yVal>
            <c:numRef>
              <c:f>Sheet1!$B$2:$B$106</c:f>
              <c:numCache>
                <c:formatCode>General</c:formatCode>
                <c:ptCount val="105"/>
                <c:pt idx="0">
                  <c:v>0.14195168619947382</c:v>
                </c:pt>
                <c:pt idx="1">
                  <c:v>0.15050120005647324</c:v>
                </c:pt>
                <c:pt idx="2">
                  <c:v>0.14211960418758066</c:v>
                </c:pt>
                <c:pt idx="3">
                  <c:v>0.14852894653590637</c:v>
                </c:pt>
                <c:pt idx="4">
                  <c:v>0.15576102418207682</c:v>
                </c:pt>
                <c:pt idx="5">
                  <c:v>0.14455445544554454</c:v>
                </c:pt>
                <c:pt idx="6">
                  <c:v>0.14290030211480362</c:v>
                </c:pt>
                <c:pt idx="7">
                  <c:v>0.14358880556063655</c:v>
                </c:pt>
                <c:pt idx="8">
                  <c:v>0.15579710144927536</c:v>
                </c:pt>
                <c:pt idx="9">
                  <c:v>0.13494901337571183</c:v>
                </c:pt>
                <c:pt idx="10">
                  <c:v>0.1387088410681877</c:v>
                </c:pt>
                <c:pt idx="11">
                  <c:v>0.1388295029396045</c:v>
                </c:pt>
                <c:pt idx="12">
                  <c:v>0.13758306669948314</c:v>
                </c:pt>
                <c:pt idx="13">
                  <c:v>0.1398362058428065</c:v>
                </c:pt>
                <c:pt idx="14">
                  <c:v>0.13131685724824788</c:v>
                </c:pt>
                <c:pt idx="15">
                  <c:v>0.13935185185185187</c:v>
                </c:pt>
                <c:pt idx="16">
                  <c:v>0.13922926656011367</c:v>
                </c:pt>
                <c:pt idx="17">
                  <c:v>0.14006449012494962</c:v>
                </c:pt>
                <c:pt idx="18">
                  <c:v>0.12545620437956204</c:v>
                </c:pt>
                <c:pt idx="19">
                  <c:v>0.10763052208835341</c:v>
                </c:pt>
                <c:pt idx="20">
                  <c:v>0.11133288977600354</c:v>
                </c:pt>
                <c:pt idx="21">
                  <c:v>0.11504161712247325</c:v>
                </c:pt>
                <c:pt idx="22">
                  <c:v>0.09789444900191414</c:v>
                </c:pt>
                <c:pt idx="23">
                  <c:v>0.10480602200347423</c:v>
                </c:pt>
                <c:pt idx="24">
                  <c:v>0.09991876523151909</c:v>
                </c:pt>
                <c:pt idx="25">
                  <c:v>0.10039549741405537</c:v>
                </c:pt>
                <c:pt idx="26">
                  <c:v>0.10102067521591207</c:v>
                </c:pt>
                <c:pt idx="27">
                  <c:v>0.0972391888590276</c:v>
                </c:pt>
                <c:pt idx="28">
                  <c:v>0.11006781429316641</c:v>
                </c:pt>
                <c:pt idx="29">
                  <c:v>0.11087719298245614</c:v>
                </c:pt>
                <c:pt idx="30">
                  <c:v>0.09285295840656121</c:v>
                </c:pt>
                <c:pt idx="31">
                  <c:v>0.08427742470295661</c:v>
                </c:pt>
                <c:pt idx="32">
                  <c:v>0.08587412587412588</c:v>
                </c:pt>
                <c:pt idx="33">
                  <c:v>0.09816353301268037</c:v>
                </c:pt>
                <c:pt idx="34">
                  <c:v>0.09497310332034872</c:v>
                </c:pt>
                <c:pt idx="35">
                  <c:v>0.09036239911378383</c:v>
                </c:pt>
                <c:pt idx="36">
                  <c:v>0.07871954902355546</c:v>
                </c:pt>
                <c:pt idx="37">
                  <c:v>0.07193732193732194</c:v>
                </c:pt>
                <c:pt idx="38">
                  <c:v>0.06608478802992519</c:v>
                </c:pt>
                <c:pt idx="39">
                  <c:v>0.08318356867779204</c:v>
                </c:pt>
                <c:pt idx="40">
                  <c:v>0.08314232131694103</c:v>
                </c:pt>
                <c:pt idx="41">
                  <c:v>0.08505583273936802</c:v>
                </c:pt>
                <c:pt idx="42">
                  <c:v>0.0830104017948195</c:v>
                </c:pt>
                <c:pt idx="43">
                  <c:v>0.08611111111111111</c:v>
                </c:pt>
                <c:pt idx="44">
                  <c:v>0.10602272727272727</c:v>
                </c:pt>
                <c:pt idx="45">
                  <c:v>0.12461090470930816</c:v>
                </c:pt>
                <c:pt idx="46">
                  <c:v>0.12609422641880594</c:v>
                </c:pt>
                <c:pt idx="47">
                  <c:v>0.12251889168765744</c:v>
                </c:pt>
                <c:pt idx="48">
                  <c:v>0.13815741483696842</c:v>
                </c:pt>
                <c:pt idx="49">
                  <c:v>0.15581066046323455</c:v>
                </c:pt>
                <c:pt idx="50">
                  <c:v>0.13583493476281985</c:v>
                </c:pt>
                <c:pt idx="51">
                  <c:v>0.12219119797899215</c:v>
                </c:pt>
                <c:pt idx="52">
                  <c:v>0.12529208857238233</c:v>
                </c:pt>
                <c:pt idx="53">
                  <c:v>0.11089192616598563</c:v>
                </c:pt>
                <c:pt idx="54">
                  <c:v>0.10493431592438321</c:v>
                </c:pt>
                <c:pt idx="55">
                  <c:v>0.10317975340687865</c:v>
                </c:pt>
                <c:pt idx="56">
                  <c:v>0.11541168191414497</c:v>
                </c:pt>
                <c:pt idx="57">
                  <c:v>0.10920738974970202</c:v>
                </c:pt>
                <c:pt idx="58">
                  <c:v>0.11996251171508904</c:v>
                </c:pt>
                <c:pt idx="59">
                  <c:v>0.12348855158219707</c:v>
                </c:pt>
                <c:pt idx="60">
                  <c:v>0.14592599602536196</c:v>
                </c:pt>
                <c:pt idx="61">
                  <c:v>0.15469101495302368</c:v>
                </c:pt>
                <c:pt idx="62">
                  <c:v>0.14254278728606357</c:v>
                </c:pt>
                <c:pt idx="63">
                  <c:v>0.14449181063495625</c:v>
                </c:pt>
                <c:pt idx="64">
                  <c:v>0.12331186370247248</c:v>
                </c:pt>
                <c:pt idx="65">
                  <c:v>0.11436917200314571</c:v>
                </c:pt>
                <c:pt idx="66">
                  <c:v>0.11357995508805106</c:v>
                </c:pt>
                <c:pt idx="67">
                  <c:v>0.10529032258064516</c:v>
                </c:pt>
                <c:pt idx="68">
                  <c:v>0.0859023763648041</c:v>
                </c:pt>
                <c:pt idx="69">
                  <c:v>0.08000814332247556</c:v>
                </c:pt>
                <c:pt idx="70">
                  <c:v>0.07508939213349225</c:v>
                </c:pt>
                <c:pt idx="71">
                  <c:v>0.0948256211534078</c:v>
                </c:pt>
                <c:pt idx="72">
                  <c:v>0.09068219633943428</c:v>
                </c:pt>
                <c:pt idx="73">
                  <c:v>0.09822904368358913</c:v>
                </c:pt>
                <c:pt idx="74">
                  <c:v>0.10279353993889132</c:v>
                </c:pt>
                <c:pt idx="75">
                  <c:v>0.09519112207151664</c:v>
                </c:pt>
                <c:pt idx="76">
                  <c:v>0.09653866955110871</c:v>
                </c:pt>
                <c:pt idx="77">
                  <c:v>0.08614338339472939</c:v>
                </c:pt>
                <c:pt idx="78">
                  <c:v>0.09059233449477352</c:v>
                </c:pt>
                <c:pt idx="79">
                  <c:v>0.08451931455126344</c:v>
                </c:pt>
                <c:pt idx="80">
                  <c:v>0.07410514541387024</c:v>
                </c:pt>
                <c:pt idx="81">
                  <c:v>0.0732159406858202</c:v>
                </c:pt>
                <c:pt idx="82">
                  <c:v>0.07567401960784313</c:v>
                </c:pt>
                <c:pt idx="83">
                  <c:v>0.06444833625218914</c:v>
                </c:pt>
                <c:pt idx="84">
                  <c:v>0.07013258897418004</c:v>
                </c:pt>
                <c:pt idx="85">
                  <c:v>0.07618187292984041</c:v>
                </c:pt>
                <c:pt idx="86">
                  <c:v>0.08073716542343133</c:v>
                </c:pt>
                <c:pt idx="87">
                  <c:v>0.08907762196326288</c:v>
                </c:pt>
                <c:pt idx="88">
                  <c:v>0.08535630383711824</c:v>
                </c:pt>
                <c:pt idx="89">
                  <c:v>0.08487194758784991</c:v>
                </c:pt>
                <c:pt idx="90">
                  <c:v>0.0878419452887538</c:v>
                </c:pt>
                <c:pt idx="91">
                  <c:v>0.08064516129032258</c:v>
                </c:pt>
                <c:pt idx="92">
                  <c:v>0.09415730337078651</c:v>
                </c:pt>
                <c:pt idx="93">
                  <c:v>0.08726721524469468</c:v>
                </c:pt>
                <c:pt idx="94">
                  <c:v>0.08216241962371994</c:v>
                </c:pt>
                <c:pt idx="95">
                  <c:v>0.09284467713787085</c:v>
                </c:pt>
                <c:pt idx="96">
                  <c:v>0.09337637494022</c:v>
                </c:pt>
                <c:pt idx="97">
                  <c:v>0.10137404580152672</c:v>
                </c:pt>
                <c:pt idx="98">
                  <c:v>0.11171059614364054</c:v>
                </c:pt>
                <c:pt idx="99">
                  <c:v>0.11396163215590743</c:v>
                </c:pt>
                <c:pt idx="100">
                  <c:v>0.11939125063177403</c:v>
                </c:pt>
                <c:pt idx="101">
                  <c:v>0.12548618219037871</c:v>
                </c:pt>
                <c:pt idx="102">
                  <c:v>0.10878170356252749</c:v>
                </c:pt>
                <c:pt idx="103">
                  <c:v>0.15746519443110898</c:v>
                </c:pt>
                <c:pt idx="104">
                  <c:v>0.147218552766769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627974137021469</c:v>
                </c:pt>
                <c:pt idx="1">
                  <c:v>0.9051945398070949</c:v>
                </c:pt>
                <c:pt idx="2">
                  <c:v>0.773031150912338</c:v>
                </c:pt>
                <c:pt idx="3">
                  <c:v>0.7725664655392198</c:v>
                </c:pt>
                <c:pt idx="4">
                  <c:v>0.817710360873679</c:v>
                </c:pt>
                <c:pt idx="5">
                  <c:v>0.733786787156211</c:v>
                </c:pt>
                <c:pt idx="6">
                  <c:v>0.7957951219512195</c:v>
                </c:pt>
                <c:pt idx="7">
                  <c:v>0.9903403976224635</c:v>
                </c:pt>
                <c:pt idx="8">
                  <c:v>1.0512048535397398</c:v>
                </c:pt>
                <c:pt idx="9">
                  <c:v>1.1965267627169591</c:v>
                </c:pt>
                <c:pt idx="10">
                  <c:v>1.1676073170731707</c:v>
                </c:pt>
                <c:pt idx="11">
                  <c:v>0.8410882229965158</c:v>
                </c:pt>
                <c:pt idx="12">
                  <c:v>1.1305575429087624</c:v>
                </c:pt>
                <c:pt idx="13">
                  <c:v>0.8429354908169073</c:v>
                </c:pt>
                <c:pt idx="14">
                  <c:v>1.0299705743509047</c:v>
                </c:pt>
                <c:pt idx="15">
                  <c:v>0.9753399577555332</c:v>
                </c:pt>
                <c:pt idx="16">
                  <c:v>0.9926200925069381</c:v>
                </c:pt>
                <c:pt idx="17">
                  <c:v>1.119040976236352</c:v>
                </c:pt>
                <c:pt idx="18">
                  <c:v>0.9716694076655052</c:v>
                </c:pt>
                <c:pt idx="19">
                  <c:v>0.963344834513765</c:v>
                </c:pt>
                <c:pt idx="20">
                  <c:v>0.8089109175377468</c:v>
                </c:pt>
                <c:pt idx="21">
                  <c:v>0.9217542360608255</c:v>
                </c:pt>
                <c:pt idx="22">
                  <c:v>0.47802841656988</c:v>
                </c:pt>
                <c:pt idx="23">
                  <c:v>0.40200940766550525</c:v>
                </c:pt>
                <c:pt idx="24">
                  <c:v>0.47359703923019986</c:v>
                </c:pt>
                <c:pt idx="25">
                  <c:v>0.9063341280029341</c:v>
                </c:pt>
                <c:pt idx="26">
                  <c:v>0.8409199209183336</c:v>
                </c:pt>
                <c:pt idx="27">
                  <c:v>1.0082610779384036</c:v>
                </c:pt>
                <c:pt idx="28">
                  <c:v>1.1449650916784202</c:v>
                </c:pt>
                <c:pt idx="29">
                  <c:v>0.9040496167247387</c:v>
                </c:pt>
                <c:pt idx="30">
                  <c:v>1.0340515274345032</c:v>
                </c:pt>
                <c:pt idx="31">
                  <c:v>0.8387849334579414</c:v>
                </c:pt>
                <c:pt idx="32">
                  <c:v>0.7371985803893949</c:v>
                </c:pt>
                <c:pt idx="33">
                  <c:v>0.9018120893473005</c:v>
                </c:pt>
                <c:pt idx="34">
                  <c:v>0.8694558976446983</c:v>
                </c:pt>
                <c:pt idx="35">
                  <c:v>0.9246457051490018</c:v>
                </c:pt>
                <c:pt idx="36">
                  <c:v>1.0787725609756098</c:v>
                </c:pt>
                <c:pt idx="37">
                  <c:v>1.14690022172949</c:v>
                </c:pt>
                <c:pt idx="38">
                  <c:v>0.9370049038585624</c:v>
                </c:pt>
                <c:pt idx="39">
                  <c:v>1.057596736397946</c:v>
                </c:pt>
                <c:pt idx="40">
                  <c:v>1.104725107535447</c:v>
                </c:pt>
                <c:pt idx="41">
                  <c:v>1.0514685522455827</c:v>
                </c:pt>
                <c:pt idx="42">
                  <c:v>1.0957098008578694</c:v>
                </c:pt>
                <c:pt idx="43">
                  <c:v>1.1935635523829518</c:v>
                </c:pt>
                <c:pt idx="44">
                  <c:v>1.0500879652024149</c:v>
                </c:pt>
                <c:pt idx="45">
                  <c:v>1.017004004805767</c:v>
                </c:pt>
                <c:pt idx="46">
                  <c:v>0.9302113697634773</c:v>
                </c:pt>
                <c:pt idx="47">
                  <c:v>0.9347505073930229</c:v>
                </c:pt>
                <c:pt idx="48">
                  <c:v>1.2342180329902022</c:v>
                </c:pt>
                <c:pt idx="49">
                  <c:v>1.0699161136634336</c:v>
                </c:pt>
                <c:pt idx="50">
                  <c:v>0.9211620689655172</c:v>
                </c:pt>
                <c:pt idx="51">
                  <c:v>0.8023272247857614</c:v>
                </c:pt>
              </c:numCache>
            </c:numRef>
          </c:xVal>
          <c:yVal>
            <c:numRef>
              <c:f>Sheet1!$B$109:$B$160</c:f>
              <c:numCache>
                <c:formatCode>General</c:formatCode>
                <c:ptCount val="52"/>
                <c:pt idx="0">
                  <c:v>0.1268227424749164</c:v>
                </c:pt>
                <c:pt idx="1">
                  <c:v>0.1588068181818182</c:v>
                </c:pt>
                <c:pt idx="2">
                  <c:v>0.15699658703071673</c:v>
                </c:pt>
                <c:pt idx="3">
                  <c:v>0.1610764430577223</c:v>
                </c:pt>
                <c:pt idx="4">
                  <c:v>0.16432113657686637</c:v>
                </c:pt>
                <c:pt idx="5">
                  <c:v>0.15303707599263738</c:v>
                </c:pt>
                <c:pt idx="6">
                  <c:v>0.1380714202628824</c:v>
                </c:pt>
                <c:pt idx="7">
                  <c:v>0.1294685990338164</c:v>
                </c:pt>
                <c:pt idx="8">
                  <c:v>0.1196629213483146</c:v>
                </c:pt>
                <c:pt idx="9">
                  <c:v>0.12468365108824025</c:v>
                </c:pt>
                <c:pt idx="10">
                  <c:v>0.12678600755460667</c:v>
                </c:pt>
                <c:pt idx="11">
                  <c:v>0.12135330005546312</c:v>
                </c:pt>
                <c:pt idx="12">
                  <c:v>0.1178239832614097</c:v>
                </c:pt>
                <c:pt idx="13">
                  <c:v>0.11398286626978366</c:v>
                </c:pt>
                <c:pt idx="14">
                  <c:v>0.11931818181818182</c:v>
                </c:pt>
                <c:pt idx="15">
                  <c:v>0.11417597765363129</c:v>
                </c:pt>
                <c:pt idx="16">
                  <c:v>0.10456312666257418</c:v>
                </c:pt>
                <c:pt idx="17">
                  <c:v>0.10055508112724168</c:v>
                </c:pt>
                <c:pt idx="18">
                  <c:v>0.09002375296912114</c:v>
                </c:pt>
                <c:pt idx="19">
                  <c:v>0.10313571778539932</c:v>
                </c:pt>
                <c:pt idx="20">
                  <c:v>0.10834762721555175</c:v>
                </c:pt>
                <c:pt idx="21">
                  <c:v>0.11929595827900913</c:v>
                </c:pt>
                <c:pt idx="22">
                  <c:v>0.12532981530343007</c:v>
                </c:pt>
                <c:pt idx="23">
                  <c:v>0.12182566918325326</c:v>
                </c:pt>
                <c:pt idx="24">
                  <c:v>0.11522368844544577</c:v>
                </c:pt>
                <c:pt idx="25">
                  <c:v>0.10758027143330023</c:v>
                </c:pt>
                <c:pt idx="26">
                  <c:v>0.09849435382685069</c:v>
                </c:pt>
                <c:pt idx="27">
                  <c:v>0.10454418734318371</c:v>
                </c:pt>
                <c:pt idx="28">
                  <c:v>0.11221122112211221</c:v>
                </c:pt>
                <c:pt idx="29">
                  <c:v>0.11838790931989925</c:v>
                </c:pt>
                <c:pt idx="30">
                  <c:v>0.12200504413619168</c:v>
                </c:pt>
                <c:pt idx="31">
                  <c:v>0.12251767081790643</c:v>
                </c:pt>
                <c:pt idx="32">
                  <c:v>0.13170300530347673</c:v>
                </c:pt>
                <c:pt idx="33">
                  <c:v>0.13992496137717944</c:v>
                </c:pt>
                <c:pt idx="34">
                  <c:v>0.1425091352009744</c:v>
                </c:pt>
                <c:pt idx="35">
                  <c:v>0.14329268292682926</c:v>
                </c:pt>
                <c:pt idx="36">
                  <c:v>0.1296561604584527</c:v>
                </c:pt>
                <c:pt idx="37">
                  <c:v>0.09927440633245382</c:v>
                </c:pt>
                <c:pt idx="38">
                  <c:v>0.10601503759398496</c:v>
                </c:pt>
                <c:pt idx="39">
                  <c:v>0.11750205423171733</c:v>
                </c:pt>
                <c:pt idx="40">
                  <c:v>0.10727762803234502</c:v>
                </c:pt>
                <c:pt idx="41">
                  <c:v>0.11290322580645161</c:v>
                </c:pt>
                <c:pt idx="42">
                  <c:v>0.1174296275234575</c:v>
                </c:pt>
                <c:pt idx="43">
                  <c:v>0.10725964682799215</c:v>
                </c:pt>
                <c:pt idx="44">
                  <c:v>0.10224482637670992</c:v>
                </c:pt>
                <c:pt idx="45">
                  <c:v>0.10173239955768522</c:v>
                </c:pt>
                <c:pt idx="46">
                  <c:v>0.0998719590268886</c:v>
                </c:pt>
                <c:pt idx="47">
                  <c:v>0.0953299884214589</c:v>
                </c:pt>
                <c:pt idx="48">
                  <c:v>0.08533779544028446</c:v>
                </c:pt>
                <c:pt idx="49">
                  <c:v>0.0927533404857115</c:v>
                </c:pt>
                <c:pt idx="50">
                  <c:v>0.12069191455903551</c:v>
                </c:pt>
                <c:pt idx="51">
                  <c:v>0.1208989304170171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3650698866148168</c:v>
                </c:pt>
              </c:numCache>
            </c:numRef>
          </c:xVal>
          <c:yVal>
            <c:numRef>
              <c:f>Sheet1!$B$163:$B$164</c:f>
              <c:numCache>
                <c:formatCode>General</c:formatCode>
                <c:ptCount val="2"/>
                <c:pt idx="0">
                  <c:v>0.14730034730353012</c:v>
                </c:pt>
                <c:pt idx="1">
                  <c:v>0.1473003473035301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3650698866148168</c:v>
                </c:pt>
                <c:pt idx="1">
                  <c:v>0.23650698866148168</c:v>
                </c:pt>
              </c:numCache>
            </c:numRef>
          </c:xVal>
          <c:yVal>
            <c:numRef>
              <c:f>Sheet1!$B$167:$B$168</c:f>
              <c:numCache>
                <c:formatCode>General</c:formatCode>
                <c:ptCount val="2"/>
                <c:pt idx="0">
                  <c:v>0.1473003473035301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845734982796591</c:v>
                </c:pt>
              </c:numCache>
            </c:numRef>
          </c:xVal>
          <c:yVal>
            <c:numRef>
              <c:f>Sheet1!$B$171:$B$172</c:f>
              <c:numCache>
                <c:formatCode>General</c:formatCode>
                <c:ptCount val="2"/>
                <c:pt idx="0">
                  <c:v>0.14536263821774342</c:v>
                </c:pt>
                <c:pt idx="1">
                  <c:v>0.1453626382177434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845734982796591</c:v>
                </c:pt>
                <c:pt idx="1">
                  <c:v>0.2845734982796591</c:v>
                </c:pt>
              </c:numCache>
            </c:numRef>
          </c:xVal>
          <c:yVal>
            <c:numRef>
              <c:f>Sheet1!$B$175:$B$176</c:f>
              <c:numCache>
                <c:formatCode>General</c:formatCode>
                <c:ptCount val="2"/>
                <c:pt idx="0">
                  <c:v>0.1453626382177434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2548273026991583</c:v>
                </c:pt>
              </c:numCache>
            </c:numRef>
          </c:xVal>
          <c:yVal>
            <c:numRef>
              <c:f>Sheet1!$B$179:$B$180</c:f>
              <c:numCache>
                <c:formatCode>General</c:formatCode>
                <c:ptCount val="2"/>
                <c:pt idx="0">
                  <c:v>0.10624871820821191</c:v>
                </c:pt>
                <c:pt idx="1">
                  <c:v>0.1062487182082119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2548273026991583</c:v>
                </c:pt>
                <c:pt idx="1">
                  <c:v>1.2548273026991583</c:v>
                </c:pt>
              </c:numCache>
            </c:numRef>
          </c:xVal>
          <c:yVal>
            <c:numRef>
              <c:f>Sheet1!$B$183:$B$184</c:f>
              <c:numCache>
                <c:formatCode>General</c:formatCode>
                <c:ptCount val="2"/>
                <c:pt idx="0">
                  <c:v>0.1062487182082119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627974137021469</c:v>
                </c:pt>
                <c:pt idx="1">
                  <c:v>0.9051945398070949</c:v>
                </c:pt>
                <c:pt idx="2">
                  <c:v>0.773031150912338</c:v>
                </c:pt>
                <c:pt idx="3">
                  <c:v>0.7725664655392198</c:v>
                </c:pt>
                <c:pt idx="4">
                  <c:v>0.817710360873679</c:v>
                </c:pt>
                <c:pt idx="5">
                  <c:v>0.733786787156211</c:v>
                </c:pt>
                <c:pt idx="6">
                  <c:v>0.7957951219512195</c:v>
                </c:pt>
                <c:pt idx="7">
                  <c:v>0.9903403976224635</c:v>
                </c:pt>
                <c:pt idx="8">
                  <c:v>1.0512048535397398</c:v>
                </c:pt>
                <c:pt idx="9">
                  <c:v>1.1965267627169591</c:v>
                </c:pt>
                <c:pt idx="10">
                  <c:v>1.1676073170731707</c:v>
                </c:pt>
                <c:pt idx="11">
                  <c:v>0.8410882229965158</c:v>
                </c:pt>
                <c:pt idx="12">
                  <c:v>1.1305575429087624</c:v>
                </c:pt>
                <c:pt idx="13">
                  <c:v>0.8429354908169073</c:v>
                </c:pt>
                <c:pt idx="14">
                  <c:v>1.0299705743509047</c:v>
                </c:pt>
                <c:pt idx="15">
                  <c:v>0.9753399577555332</c:v>
                </c:pt>
                <c:pt idx="16">
                  <c:v>0.9926200925069381</c:v>
                </c:pt>
                <c:pt idx="17">
                  <c:v>1.119040976236352</c:v>
                </c:pt>
                <c:pt idx="18">
                  <c:v>0.9716694076655052</c:v>
                </c:pt>
                <c:pt idx="19">
                  <c:v>0.963344834513765</c:v>
                </c:pt>
                <c:pt idx="20">
                  <c:v>0.8089109175377468</c:v>
                </c:pt>
                <c:pt idx="21">
                  <c:v>0.9217542360608255</c:v>
                </c:pt>
                <c:pt idx="22">
                  <c:v>0.47802841656988</c:v>
                </c:pt>
                <c:pt idx="23">
                  <c:v>0.40200940766550525</c:v>
                </c:pt>
                <c:pt idx="24">
                  <c:v>0.47359703923019986</c:v>
                </c:pt>
                <c:pt idx="25">
                  <c:v>0.9063341280029341</c:v>
                </c:pt>
                <c:pt idx="26">
                  <c:v>0.8409199209183336</c:v>
                </c:pt>
                <c:pt idx="27">
                  <c:v>1.0082610779384036</c:v>
                </c:pt>
                <c:pt idx="28">
                  <c:v>1.1449650916784202</c:v>
                </c:pt>
                <c:pt idx="29">
                  <c:v>0.9040496167247387</c:v>
                </c:pt>
                <c:pt idx="30">
                  <c:v>1.0340515274345032</c:v>
                </c:pt>
                <c:pt idx="31">
                  <c:v>0.8387849334579414</c:v>
                </c:pt>
                <c:pt idx="32">
                  <c:v>0.7371985803893949</c:v>
                </c:pt>
                <c:pt idx="33">
                  <c:v>0.9018120893473005</c:v>
                </c:pt>
                <c:pt idx="34">
                  <c:v>0.8694558976446983</c:v>
                </c:pt>
                <c:pt idx="35">
                  <c:v>0.9246457051490018</c:v>
                </c:pt>
                <c:pt idx="36">
                  <c:v>1.0787725609756098</c:v>
                </c:pt>
                <c:pt idx="37">
                  <c:v>1.14690022172949</c:v>
                </c:pt>
                <c:pt idx="38">
                  <c:v>0.9370049038585624</c:v>
                </c:pt>
                <c:pt idx="39">
                  <c:v>1.057596736397946</c:v>
                </c:pt>
                <c:pt idx="40">
                  <c:v>1.104725107535447</c:v>
                </c:pt>
                <c:pt idx="41">
                  <c:v>1.0514685522455827</c:v>
                </c:pt>
                <c:pt idx="42">
                  <c:v>1.0957098008578694</c:v>
                </c:pt>
                <c:pt idx="43">
                  <c:v>1.1935635523829518</c:v>
                </c:pt>
                <c:pt idx="44">
                  <c:v>1.0500879652024149</c:v>
                </c:pt>
                <c:pt idx="45">
                  <c:v>1.017004004805767</c:v>
                </c:pt>
                <c:pt idx="46">
                  <c:v>0.9302113697634773</c:v>
                </c:pt>
                <c:pt idx="47">
                  <c:v>0.9347505073930229</c:v>
                </c:pt>
                <c:pt idx="48">
                  <c:v>1.2342180329902022</c:v>
                </c:pt>
                <c:pt idx="49">
                  <c:v>1.0699161136634336</c:v>
                </c:pt>
                <c:pt idx="50">
                  <c:v>0.9211620689655172</c:v>
                </c:pt>
                <c:pt idx="51">
                  <c:v>0.8023272247857614</c:v>
                </c:pt>
                <c:pt idx="52">
                  <c:v>0.2845734982796591</c:v>
                </c:pt>
                <c:pt idx="53">
                  <c:v>0.23650698866148168</c:v>
                </c:pt>
                <c:pt idx="54">
                  <c:v>1.2548273026991583</c:v>
                </c:pt>
              </c:numCache>
            </c:numRef>
          </c:xVal>
          <c:yVal>
            <c:numRef>
              <c:f>Sheet1!$B$187:$B$241</c:f>
              <c:numCache>
                <c:formatCode>General</c:formatCode>
                <c:ptCount val="55"/>
                <c:pt idx="0">
                  <c:v>0.12608395887706159</c:v>
                </c:pt>
                <c:pt idx="1">
                  <c:v>0.12034349202737121</c:v>
                </c:pt>
                <c:pt idx="2">
                  <c:v>0.12567140540206906</c:v>
                </c:pt>
                <c:pt idx="3">
                  <c:v>0.12569013830106</c:v>
                </c:pt>
                <c:pt idx="4">
                  <c:v>0.12387024880102639</c:v>
                </c:pt>
                <c:pt idx="5">
                  <c:v>0.1272534666089308</c:v>
                </c:pt>
                <c:pt idx="6">
                  <c:v>0.12475371959835627</c:v>
                </c:pt>
                <c:pt idx="7">
                  <c:v>0.11691100018187328</c:v>
                </c:pt>
                <c:pt idx="8">
                  <c:v>0.11445736645291683</c:v>
                </c:pt>
                <c:pt idx="9">
                  <c:v>0.1085989925869252</c:v>
                </c:pt>
                <c:pt idx="10">
                  <c:v>0.10976482453571915</c:v>
                </c:pt>
                <c:pt idx="11">
                  <c:v>0.12292781515644657</c:v>
                </c:pt>
                <c:pt idx="12">
                  <c:v>0.11125841507505736</c:v>
                </c:pt>
                <c:pt idx="13">
                  <c:v>0.12285334609955254</c:v>
                </c:pt>
                <c:pt idx="14">
                  <c:v>0.11531338566548677</c:v>
                </c:pt>
                <c:pt idx="15">
                  <c:v>0.11751571412619422</c:v>
                </c:pt>
                <c:pt idx="16">
                  <c:v>0.11681909865780679</c:v>
                </c:pt>
                <c:pt idx="17">
                  <c:v>0.11172268335780695</c:v>
                </c:pt>
                <c:pt idx="18">
                  <c:v>0.11766368530853678</c:v>
                </c:pt>
                <c:pt idx="19">
                  <c:v>0.11799927449858946</c:v>
                </c:pt>
                <c:pt idx="20">
                  <c:v>0.12422498147118168</c:v>
                </c:pt>
                <c:pt idx="21">
                  <c:v>0.1196759196543486</c:v>
                </c:pt>
                <c:pt idx="22">
                  <c:v>0.1375638744664574</c:v>
                </c:pt>
                <c:pt idx="23">
                  <c:v>0.14062843491439975</c:v>
                </c:pt>
                <c:pt idx="24">
                  <c:v>0.1377425169391865</c:v>
                </c:pt>
                <c:pt idx="25">
                  <c:v>0.12029755171635895</c:v>
                </c:pt>
                <c:pt idx="26">
                  <c:v>0.12293459993172236</c:v>
                </c:pt>
                <c:pt idx="27">
                  <c:v>0.11618856234838967</c:v>
                </c:pt>
                <c:pt idx="28">
                  <c:v>0.11067760239744362</c:v>
                </c:pt>
                <c:pt idx="29">
                  <c:v>0.12038964740409466</c:v>
                </c:pt>
                <c:pt idx="30">
                  <c:v>0.11514886987410573</c:v>
                </c:pt>
                <c:pt idx="31">
                  <c:v>0.12302066785371014</c:v>
                </c:pt>
                <c:pt idx="32">
                  <c:v>0.12711592671266453</c:v>
                </c:pt>
                <c:pt idx="33">
                  <c:v>0.12047984902604308</c:v>
                </c:pt>
                <c:pt idx="34">
                  <c:v>0.121784226796379</c:v>
                </c:pt>
                <c:pt idx="35">
                  <c:v>0.11955935562737977</c:v>
                </c:pt>
                <c:pt idx="36">
                  <c:v>0.11334602723571283</c:v>
                </c:pt>
                <c:pt idx="37">
                  <c:v>0.11059959134334538</c:v>
                </c:pt>
                <c:pt idx="38">
                  <c:v>0.1190611182512358</c:v>
                </c:pt>
                <c:pt idx="39">
                  <c:v>0.11419968996281973</c:v>
                </c:pt>
                <c:pt idx="40">
                  <c:v>0.11229980012940174</c:v>
                </c:pt>
                <c:pt idx="41">
                  <c:v>0.11444673594568257</c:v>
                </c:pt>
                <c:pt idx="42">
                  <c:v>0.11266323491588953</c:v>
                </c:pt>
                <c:pt idx="43">
                  <c:v>0.10871844872453357</c:v>
                </c:pt>
                <c:pt idx="44">
                  <c:v>0.11450239166269877</c:v>
                </c:pt>
                <c:pt idx="45">
                  <c:v>0.11583610803119807</c:v>
                </c:pt>
                <c:pt idx="46">
                  <c:v>0.11933498654009675</c:v>
                </c:pt>
                <c:pt idx="47">
                  <c:v>0.11915199991809579</c:v>
                </c:pt>
                <c:pt idx="48">
                  <c:v>0.10707954136312164</c:v>
                </c:pt>
                <c:pt idx="49">
                  <c:v>0.11370305791176807</c:v>
                </c:pt>
                <c:pt idx="50">
                  <c:v>0.11969979173430609</c:v>
                </c:pt>
                <c:pt idx="51">
                  <c:v>0.12449039040902404</c:v>
                </c:pt>
                <c:pt idx="52">
                  <c:v>0.14536263821774342</c:v>
                </c:pt>
                <c:pt idx="53">
                  <c:v>0.14730034730353012</c:v>
                </c:pt>
                <c:pt idx="54">
                  <c:v>0.1062487182082119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718536389223965"/>
          <c:min val="0.05155866900175131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3.1205</c:v>
                </c:pt>
                <c:pt idx="1">
                  <c:v>972.9784</c:v>
                </c:pt>
                <c:pt idx="2">
                  <c:v>1058.4652</c:v>
                </c:pt>
                <c:pt idx="3">
                  <c:v>1077.2322</c:v>
                </c:pt>
                <c:pt idx="4">
                  <c:v>1054.6564</c:v>
                </c:pt>
                <c:pt idx="5">
                  <c:v>1038.0571</c:v>
                </c:pt>
                <c:pt idx="6">
                  <c:v>1019.6258</c:v>
                </c:pt>
                <c:pt idx="7">
                  <c:v>1045.4713</c:v>
                </c:pt>
                <c:pt idx="8">
                  <c:v>1019.2705</c:v>
                </c:pt>
                <c:pt idx="9">
                  <c:v>1026.8489</c:v>
                </c:pt>
                <c:pt idx="10">
                  <c:v>1041.2037</c:v>
                </c:pt>
                <c:pt idx="11">
                  <c:v>1060.2897</c:v>
                </c:pt>
                <c:pt idx="12">
                  <c:v>1048.3399</c:v>
                </c:pt>
                <c:pt idx="13">
                  <c:v>1020.4843</c:v>
                </c:pt>
                <c:pt idx="14">
                  <c:v>1040.1114</c:v>
                </c:pt>
                <c:pt idx="15">
                  <c:v>1037.3034</c:v>
                </c:pt>
                <c:pt idx="16">
                  <c:v>1012.1429</c:v>
                </c:pt>
                <c:pt idx="17">
                  <c:v>1040.846</c:v>
                </c:pt>
                <c:pt idx="18">
                  <c:v>1109.9291</c:v>
                </c:pt>
                <c:pt idx="19">
                  <c:v>1162.7761</c:v>
                </c:pt>
                <c:pt idx="20">
                  <c:v>1151.1892</c:v>
                </c:pt>
                <c:pt idx="21">
                  <c:v>1158.7752</c:v>
                </c:pt>
                <c:pt idx="22">
                  <c:v>1183.5754</c:v>
                </c:pt>
                <c:pt idx="23">
                  <c:v>1161.6796</c:v>
                </c:pt>
                <c:pt idx="24">
                  <c:v>1171.3821</c:v>
                </c:pt>
                <c:pt idx="25">
                  <c:v>1141.497</c:v>
                </c:pt>
                <c:pt idx="26">
                  <c:v>1171.4456</c:v>
                </c:pt>
                <c:pt idx="27">
                  <c:v>1108.0251</c:v>
                </c:pt>
                <c:pt idx="28">
                  <c:v>1104.3175</c:v>
                </c:pt>
                <c:pt idx="29">
                  <c:v>1091.8481</c:v>
                </c:pt>
                <c:pt idx="30">
                  <c:v>1106.2555</c:v>
                </c:pt>
                <c:pt idx="31">
                  <c:v>1100.6525</c:v>
                </c:pt>
                <c:pt idx="32">
                  <c:v>1117.1694</c:v>
                </c:pt>
                <c:pt idx="33">
                  <c:v>1146.3719</c:v>
                </c:pt>
                <c:pt idx="34">
                  <c:v>1169.0703</c:v>
                </c:pt>
                <c:pt idx="35">
                  <c:v>1217.2539</c:v>
                </c:pt>
                <c:pt idx="36">
                  <c:v>1287.4348</c:v>
                </c:pt>
                <c:pt idx="37">
                  <c:v>1301.0198</c:v>
                </c:pt>
                <c:pt idx="38">
                  <c:v>1379.8717</c:v>
                </c:pt>
                <c:pt idx="39">
                  <c:v>1284.9136</c:v>
                </c:pt>
                <c:pt idx="40">
                  <c:v>1324.3985</c:v>
                </c:pt>
                <c:pt idx="41">
                  <c:v>1309.1397</c:v>
                </c:pt>
                <c:pt idx="42">
                  <c:v>1364.9361</c:v>
                </c:pt>
                <c:pt idx="43">
                  <c:v>1358.1699</c:v>
                </c:pt>
                <c:pt idx="44">
                  <c:v>1154.8682</c:v>
                </c:pt>
                <c:pt idx="45">
                  <c:v>1089.4053</c:v>
                </c:pt>
                <c:pt idx="46">
                  <c:v>1111.993</c:v>
                </c:pt>
                <c:pt idx="47">
                  <c:v>1098.4079</c:v>
                </c:pt>
                <c:pt idx="48">
                  <c:v>1100.9921</c:v>
                </c:pt>
                <c:pt idx="49">
                  <c:v>1066.2668</c:v>
                </c:pt>
                <c:pt idx="50">
                  <c:v>1059.1385</c:v>
                </c:pt>
                <c:pt idx="51">
                  <c:v>1098.025</c:v>
                </c:pt>
                <c:pt idx="52">
                  <c:v>1111.8597</c:v>
                </c:pt>
                <c:pt idx="53">
                  <c:v>1227.2376</c:v>
                </c:pt>
                <c:pt idx="54">
                  <c:v>1284.5237</c:v>
                </c:pt>
                <c:pt idx="55">
                  <c:v>1288.6824</c:v>
                </c:pt>
                <c:pt idx="56">
                  <c:v>1297.686</c:v>
                </c:pt>
                <c:pt idx="57">
                  <c:v>1264.9632</c:v>
                </c:pt>
                <c:pt idx="58">
                  <c:v>1230.2165</c:v>
                </c:pt>
                <c:pt idx="59">
                  <c:v>1198.2792</c:v>
                </c:pt>
                <c:pt idx="60">
                  <c:v>1198.786</c:v>
                </c:pt>
                <c:pt idx="61">
                  <c:v>1172.7194</c:v>
                </c:pt>
                <c:pt idx="62">
                  <c:v>1162.7573</c:v>
                </c:pt>
                <c:pt idx="63">
                  <c:v>1160.3346</c:v>
                </c:pt>
                <c:pt idx="64">
                  <c:v>1165.642</c:v>
                </c:pt>
                <c:pt idx="65">
                  <c:v>1150.2397</c:v>
                </c:pt>
                <c:pt idx="66">
                  <c:v>1164.2383</c:v>
                </c:pt>
                <c:pt idx="67">
                  <c:v>1245.2292</c:v>
                </c:pt>
                <c:pt idx="68">
                  <c:v>1308.3196</c:v>
                </c:pt>
                <c:pt idx="69">
                  <c:v>1292.7913</c:v>
                </c:pt>
                <c:pt idx="70">
                  <c:v>1234.8254</c:v>
                </c:pt>
                <c:pt idx="71">
                  <c:v>1271.649</c:v>
                </c:pt>
                <c:pt idx="72">
                  <c:v>1352.3372</c:v>
                </c:pt>
                <c:pt idx="73">
                  <c:v>1285.4808</c:v>
                </c:pt>
                <c:pt idx="74">
                  <c:v>1224.9639</c:v>
                </c:pt>
                <c:pt idx="75">
                  <c:v>1237.2927</c:v>
                </c:pt>
                <c:pt idx="76">
                  <c:v>1285.8459</c:v>
                </c:pt>
                <c:pt idx="77">
                  <c:v>1289.0526</c:v>
                </c:pt>
                <c:pt idx="78">
                  <c:v>1304.4161</c:v>
                </c:pt>
                <c:pt idx="79">
                  <c:v>1330.5292</c:v>
                </c:pt>
                <c:pt idx="80">
                  <c:v>1353.4868</c:v>
                </c:pt>
                <c:pt idx="81">
                  <c:v>1366.5696</c:v>
                </c:pt>
                <c:pt idx="82">
                  <c:v>1366.8138</c:v>
                </c:pt>
                <c:pt idx="83">
                  <c:v>1401.8859</c:v>
                </c:pt>
                <c:pt idx="84">
                  <c:v>1363.8507</c:v>
                </c:pt>
                <c:pt idx="85">
                  <c:v>1356.2925</c:v>
                </c:pt>
                <c:pt idx="86">
                  <c:v>1307.4701</c:v>
                </c:pt>
                <c:pt idx="87">
                  <c:v>1310.4435</c:v>
                </c:pt>
                <c:pt idx="88">
                  <c:v>1287.7951</c:v>
                </c:pt>
                <c:pt idx="89">
                  <c:v>1247.5088</c:v>
                </c:pt>
                <c:pt idx="90">
                  <c:v>1316.7128</c:v>
                </c:pt>
                <c:pt idx="91">
                  <c:v>1314.6528</c:v>
                </c:pt>
                <c:pt idx="92">
                  <c:v>1254.5632</c:v>
                </c:pt>
                <c:pt idx="93">
                  <c:v>1264.0918</c:v>
                </c:pt>
                <c:pt idx="94">
                  <c:v>1305.6087</c:v>
                </c:pt>
                <c:pt idx="95">
                  <c:v>1239.703</c:v>
                </c:pt>
                <c:pt idx="96">
                  <c:v>1150.7004</c:v>
                </c:pt>
                <c:pt idx="97">
                  <c:v>1201.4307</c:v>
                </c:pt>
                <c:pt idx="98">
                  <c:v>1183.1465</c:v>
                </c:pt>
                <c:pt idx="99">
                  <c:v>1167.0387</c:v>
                </c:pt>
                <c:pt idx="100">
                  <c:v>1205.8246</c:v>
                </c:pt>
                <c:pt idx="101">
                  <c:v>1191.2259</c:v>
                </c:pt>
                <c:pt idx="102">
                  <c:v>1236.1887</c:v>
                </c:pt>
                <c:pt idx="103">
                  <c:v>825.3529</c:v>
                </c:pt>
                <c:pt idx="104">
                  <c:v>971.1675</c:v>
                </c:pt>
              </c:numCache>
            </c:numRef>
          </c:xVal>
          <c:yVal>
            <c:numRef>
              <c:f>Sheet1!$B$2:$B$106</c:f>
              <c:numCache>
                <c:formatCode>General</c:formatCode>
                <c:ptCount val="105"/>
                <c:pt idx="0">
                  <c:v>0.14195168619947382</c:v>
                </c:pt>
                <c:pt idx="1">
                  <c:v>0.15050120005647324</c:v>
                </c:pt>
                <c:pt idx="2">
                  <c:v>0.14211960418758066</c:v>
                </c:pt>
                <c:pt idx="3">
                  <c:v>0.14852894653590637</c:v>
                </c:pt>
                <c:pt idx="4">
                  <c:v>0.15576102418207682</c:v>
                </c:pt>
                <c:pt idx="5">
                  <c:v>0.14455445544554454</c:v>
                </c:pt>
                <c:pt idx="6">
                  <c:v>0.14290030211480362</c:v>
                </c:pt>
                <c:pt idx="7">
                  <c:v>0.14358880556063655</c:v>
                </c:pt>
                <c:pt idx="8">
                  <c:v>0.15579710144927536</c:v>
                </c:pt>
                <c:pt idx="9">
                  <c:v>0.13494901337571183</c:v>
                </c:pt>
                <c:pt idx="10">
                  <c:v>0.1387088410681877</c:v>
                </c:pt>
                <c:pt idx="11">
                  <c:v>0.1388295029396045</c:v>
                </c:pt>
                <c:pt idx="12">
                  <c:v>0.13758306669948314</c:v>
                </c:pt>
                <c:pt idx="13">
                  <c:v>0.1398362058428065</c:v>
                </c:pt>
                <c:pt idx="14">
                  <c:v>0.13131685724824788</c:v>
                </c:pt>
                <c:pt idx="15">
                  <c:v>0.13935185185185187</c:v>
                </c:pt>
                <c:pt idx="16">
                  <c:v>0.13922926656011367</c:v>
                </c:pt>
                <c:pt idx="17">
                  <c:v>0.14006449012494962</c:v>
                </c:pt>
                <c:pt idx="18">
                  <c:v>0.12545620437956204</c:v>
                </c:pt>
                <c:pt idx="19">
                  <c:v>0.10763052208835341</c:v>
                </c:pt>
                <c:pt idx="20">
                  <c:v>0.11133288977600354</c:v>
                </c:pt>
                <c:pt idx="21">
                  <c:v>0.11504161712247325</c:v>
                </c:pt>
                <c:pt idx="22">
                  <c:v>0.09789444900191414</c:v>
                </c:pt>
                <c:pt idx="23">
                  <c:v>0.10480602200347423</c:v>
                </c:pt>
                <c:pt idx="24">
                  <c:v>0.09991876523151909</c:v>
                </c:pt>
                <c:pt idx="25">
                  <c:v>0.10039549741405537</c:v>
                </c:pt>
                <c:pt idx="26">
                  <c:v>0.10102067521591207</c:v>
                </c:pt>
                <c:pt idx="27">
                  <c:v>0.0972391888590276</c:v>
                </c:pt>
                <c:pt idx="28">
                  <c:v>0.11006781429316641</c:v>
                </c:pt>
                <c:pt idx="29">
                  <c:v>0.11087719298245614</c:v>
                </c:pt>
                <c:pt idx="30">
                  <c:v>0.09285295840656121</c:v>
                </c:pt>
                <c:pt idx="31">
                  <c:v>0.08427742470295661</c:v>
                </c:pt>
                <c:pt idx="32">
                  <c:v>0.08587412587412588</c:v>
                </c:pt>
                <c:pt idx="33">
                  <c:v>0.09816353301268037</c:v>
                </c:pt>
                <c:pt idx="34">
                  <c:v>0.09497310332034872</c:v>
                </c:pt>
                <c:pt idx="35">
                  <c:v>0.09036239911378383</c:v>
                </c:pt>
                <c:pt idx="36">
                  <c:v>0.07871954902355546</c:v>
                </c:pt>
                <c:pt idx="37">
                  <c:v>0.07193732193732194</c:v>
                </c:pt>
                <c:pt idx="38">
                  <c:v>0.06608478802992519</c:v>
                </c:pt>
                <c:pt idx="39">
                  <c:v>0.08318356867779204</c:v>
                </c:pt>
                <c:pt idx="40">
                  <c:v>0.08314232131694103</c:v>
                </c:pt>
                <c:pt idx="41">
                  <c:v>0.08505583273936802</c:v>
                </c:pt>
                <c:pt idx="42">
                  <c:v>0.0830104017948195</c:v>
                </c:pt>
                <c:pt idx="43">
                  <c:v>0.08611111111111111</c:v>
                </c:pt>
                <c:pt idx="44">
                  <c:v>0.10602272727272727</c:v>
                </c:pt>
                <c:pt idx="45">
                  <c:v>0.12461090470930816</c:v>
                </c:pt>
                <c:pt idx="46">
                  <c:v>0.12609422641880594</c:v>
                </c:pt>
                <c:pt idx="47">
                  <c:v>0.12251889168765744</c:v>
                </c:pt>
                <c:pt idx="48">
                  <c:v>0.13815741483696842</c:v>
                </c:pt>
                <c:pt idx="49">
                  <c:v>0.15581066046323455</c:v>
                </c:pt>
                <c:pt idx="50">
                  <c:v>0.13583493476281985</c:v>
                </c:pt>
                <c:pt idx="51">
                  <c:v>0.12219119797899215</c:v>
                </c:pt>
                <c:pt idx="52">
                  <c:v>0.12529208857238233</c:v>
                </c:pt>
                <c:pt idx="53">
                  <c:v>0.11089192616598563</c:v>
                </c:pt>
                <c:pt idx="54">
                  <c:v>0.10493431592438321</c:v>
                </c:pt>
                <c:pt idx="55">
                  <c:v>0.10317975340687865</c:v>
                </c:pt>
                <c:pt idx="56">
                  <c:v>0.11541168191414497</c:v>
                </c:pt>
                <c:pt idx="57">
                  <c:v>0.10920738974970202</c:v>
                </c:pt>
                <c:pt idx="58">
                  <c:v>0.11996251171508904</c:v>
                </c:pt>
                <c:pt idx="59">
                  <c:v>0.12348855158219707</c:v>
                </c:pt>
                <c:pt idx="60">
                  <c:v>0.14592599602536196</c:v>
                </c:pt>
                <c:pt idx="61">
                  <c:v>0.15469101495302368</c:v>
                </c:pt>
                <c:pt idx="62">
                  <c:v>0.14254278728606357</c:v>
                </c:pt>
                <c:pt idx="63">
                  <c:v>0.14449181063495625</c:v>
                </c:pt>
                <c:pt idx="64">
                  <c:v>0.12331186370247248</c:v>
                </c:pt>
                <c:pt idx="65">
                  <c:v>0.11436917200314571</c:v>
                </c:pt>
                <c:pt idx="66">
                  <c:v>0.11357995508805106</c:v>
                </c:pt>
                <c:pt idx="67">
                  <c:v>0.10529032258064516</c:v>
                </c:pt>
                <c:pt idx="68">
                  <c:v>0.0859023763648041</c:v>
                </c:pt>
                <c:pt idx="69">
                  <c:v>0.08000814332247556</c:v>
                </c:pt>
                <c:pt idx="70">
                  <c:v>0.07508939213349225</c:v>
                </c:pt>
                <c:pt idx="71">
                  <c:v>0.0948256211534078</c:v>
                </c:pt>
                <c:pt idx="72">
                  <c:v>0.09068219633943428</c:v>
                </c:pt>
                <c:pt idx="73">
                  <c:v>0.09822904368358913</c:v>
                </c:pt>
                <c:pt idx="74">
                  <c:v>0.10279353993889132</c:v>
                </c:pt>
                <c:pt idx="75">
                  <c:v>0.09519112207151664</c:v>
                </c:pt>
                <c:pt idx="76">
                  <c:v>0.09653866955110871</c:v>
                </c:pt>
                <c:pt idx="77">
                  <c:v>0.08614338339472939</c:v>
                </c:pt>
                <c:pt idx="78">
                  <c:v>0.09059233449477352</c:v>
                </c:pt>
                <c:pt idx="79">
                  <c:v>0.08451931455126344</c:v>
                </c:pt>
                <c:pt idx="80">
                  <c:v>0.07410514541387024</c:v>
                </c:pt>
                <c:pt idx="81">
                  <c:v>0.0732159406858202</c:v>
                </c:pt>
                <c:pt idx="82">
                  <c:v>0.07567401960784313</c:v>
                </c:pt>
                <c:pt idx="83">
                  <c:v>0.06444833625218914</c:v>
                </c:pt>
                <c:pt idx="84">
                  <c:v>0.07013258897418004</c:v>
                </c:pt>
                <c:pt idx="85">
                  <c:v>0.07618187292984041</c:v>
                </c:pt>
                <c:pt idx="86">
                  <c:v>0.08073716542343133</c:v>
                </c:pt>
                <c:pt idx="87">
                  <c:v>0.08907762196326288</c:v>
                </c:pt>
                <c:pt idx="88">
                  <c:v>0.08535630383711824</c:v>
                </c:pt>
                <c:pt idx="89">
                  <c:v>0.08487194758784991</c:v>
                </c:pt>
                <c:pt idx="90">
                  <c:v>0.0878419452887538</c:v>
                </c:pt>
                <c:pt idx="91">
                  <c:v>0.08064516129032258</c:v>
                </c:pt>
                <c:pt idx="92">
                  <c:v>0.09415730337078651</c:v>
                </c:pt>
                <c:pt idx="93">
                  <c:v>0.08726721524469468</c:v>
                </c:pt>
                <c:pt idx="94">
                  <c:v>0.08216241962371994</c:v>
                </c:pt>
                <c:pt idx="95">
                  <c:v>0.09284467713787085</c:v>
                </c:pt>
                <c:pt idx="96">
                  <c:v>0.09337637494022</c:v>
                </c:pt>
                <c:pt idx="97">
                  <c:v>0.10137404580152672</c:v>
                </c:pt>
                <c:pt idx="98">
                  <c:v>0.11171059614364054</c:v>
                </c:pt>
                <c:pt idx="99">
                  <c:v>0.11396163215590743</c:v>
                </c:pt>
                <c:pt idx="100">
                  <c:v>0.11939125063177403</c:v>
                </c:pt>
                <c:pt idx="101">
                  <c:v>0.12548618219037871</c:v>
                </c:pt>
                <c:pt idx="102">
                  <c:v>0.10878170356252749</c:v>
                </c:pt>
                <c:pt idx="103">
                  <c:v>0.15746519443110898</c:v>
                </c:pt>
                <c:pt idx="104">
                  <c:v>0.147218552766769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67.5886</c:v>
                </c:pt>
                <c:pt idx="1">
                  <c:v>1107.415</c:v>
                </c:pt>
                <c:pt idx="2">
                  <c:v>1092.3789</c:v>
                </c:pt>
                <c:pt idx="3">
                  <c:v>1136.3487</c:v>
                </c:pt>
                <c:pt idx="4">
                  <c:v>1121.2626</c:v>
                </c:pt>
                <c:pt idx="5">
                  <c:v>1123.183</c:v>
                </c:pt>
                <c:pt idx="6">
                  <c:v>1084.8677</c:v>
                </c:pt>
                <c:pt idx="7">
                  <c:v>1207.9677</c:v>
                </c:pt>
                <c:pt idx="8">
                  <c:v>1358.457</c:v>
                </c:pt>
                <c:pt idx="9">
                  <c:v>1316.3789</c:v>
                </c:pt>
                <c:pt idx="10">
                  <c:v>1340.4132</c:v>
                </c:pt>
                <c:pt idx="11">
                  <c:v>1206.9616</c:v>
                </c:pt>
                <c:pt idx="12">
                  <c:v>1251.5272</c:v>
                </c:pt>
                <c:pt idx="13">
                  <c:v>1322.0038</c:v>
                </c:pt>
                <c:pt idx="14">
                  <c:v>1309.0926</c:v>
                </c:pt>
                <c:pt idx="15">
                  <c:v>1327.5596</c:v>
                </c:pt>
                <c:pt idx="16">
                  <c:v>1341.2779</c:v>
                </c:pt>
                <c:pt idx="17">
                  <c:v>1306.7601</c:v>
                </c:pt>
                <c:pt idx="18">
                  <c:v>1394.3456</c:v>
                </c:pt>
                <c:pt idx="19">
                  <c:v>1428.4798</c:v>
                </c:pt>
                <c:pt idx="20">
                  <c:v>1392.9446</c:v>
                </c:pt>
                <c:pt idx="21">
                  <c:v>1272.9426</c:v>
                </c:pt>
                <c:pt idx="22">
                  <c:v>1234.7474</c:v>
                </c:pt>
                <c:pt idx="23">
                  <c:v>1269.1437</c:v>
                </c:pt>
                <c:pt idx="24">
                  <c:v>1279.6592</c:v>
                </c:pt>
                <c:pt idx="25">
                  <c:v>1235.56</c:v>
                </c:pt>
                <c:pt idx="26">
                  <c:v>1290.5318</c:v>
                </c:pt>
                <c:pt idx="27">
                  <c:v>1283.3147</c:v>
                </c:pt>
                <c:pt idx="28">
                  <c:v>1298.8484</c:v>
                </c:pt>
                <c:pt idx="29">
                  <c:v>1297.3112</c:v>
                </c:pt>
                <c:pt idx="30">
                  <c:v>1307.4289</c:v>
                </c:pt>
                <c:pt idx="31">
                  <c:v>1223.228</c:v>
                </c:pt>
                <c:pt idx="32">
                  <c:v>1198.9306</c:v>
                </c:pt>
                <c:pt idx="33">
                  <c:v>1250.9637</c:v>
                </c:pt>
                <c:pt idx="34">
                  <c:v>1270.3541</c:v>
                </c:pt>
                <c:pt idx="35">
                  <c:v>1235.5213</c:v>
                </c:pt>
                <c:pt idx="36">
                  <c:v>1238.4309</c:v>
                </c:pt>
                <c:pt idx="37">
                  <c:v>1448.3056</c:v>
                </c:pt>
                <c:pt idx="38">
                  <c:v>1452.1702</c:v>
                </c:pt>
                <c:pt idx="39">
                  <c:v>1360.4219</c:v>
                </c:pt>
                <c:pt idx="40">
                  <c:v>1386.8719</c:v>
                </c:pt>
                <c:pt idx="41">
                  <c:v>1419.833</c:v>
                </c:pt>
                <c:pt idx="42">
                  <c:v>1374.7506</c:v>
                </c:pt>
                <c:pt idx="43">
                  <c:v>1421.2358</c:v>
                </c:pt>
                <c:pt idx="44">
                  <c:v>1327.693</c:v>
                </c:pt>
                <c:pt idx="45">
                  <c:v>1269.7295</c:v>
                </c:pt>
                <c:pt idx="46">
                  <c:v>1257.0256</c:v>
                </c:pt>
                <c:pt idx="47">
                  <c:v>1244.9541</c:v>
                </c:pt>
                <c:pt idx="48">
                  <c:v>1243.9375</c:v>
                </c:pt>
                <c:pt idx="49">
                  <c:v>1257.5794</c:v>
                </c:pt>
                <c:pt idx="50">
                  <c:v>1095.2617</c:v>
                </c:pt>
                <c:pt idx="51">
                  <c:v>1064.9891</c:v>
                </c:pt>
              </c:numCache>
            </c:numRef>
          </c:xVal>
          <c:yVal>
            <c:numRef>
              <c:f>Sheet1!$B$109:$B$160</c:f>
              <c:numCache>
                <c:formatCode>General</c:formatCode>
                <c:ptCount val="52"/>
                <c:pt idx="0">
                  <c:v>0.1268227424749164</c:v>
                </c:pt>
                <c:pt idx="1">
                  <c:v>0.1588068181818182</c:v>
                </c:pt>
                <c:pt idx="2">
                  <c:v>0.15699658703071673</c:v>
                </c:pt>
                <c:pt idx="3">
                  <c:v>0.1610764430577223</c:v>
                </c:pt>
                <c:pt idx="4">
                  <c:v>0.16432113657686637</c:v>
                </c:pt>
                <c:pt idx="5">
                  <c:v>0.15303707599263738</c:v>
                </c:pt>
                <c:pt idx="6">
                  <c:v>0.1380714202628824</c:v>
                </c:pt>
                <c:pt idx="7">
                  <c:v>0.1294685990338164</c:v>
                </c:pt>
                <c:pt idx="8">
                  <c:v>0.1196629213483146</c:v>
                </c:pt>
                <c:pt idx="9">
                  <c:v>0.12468365108824025</c:v>
                </c:pt>
                <c:pt idx="10">
                  <c:v>0.12678600755460667</c:v>
                </c:pt>
                <c:pt idx="11">
                  <c:v>0.12135330005546312</c:v>
                </c:pt>
                <c:pt idx="12">
                  <c:v>0.1178239832614097</c:v>
                </c:pt>
                <c:pt idx="13">
                  <c:v>0.11398286626978366</c:v>
                </c:pt>
                <c:pt idx="14">
                  <c:v>0.11931818181818182</c:v>
                </c:pt>
                <c:pt idx="15">
                  <c:v>0.11417597765363129</c:v>
                </c:pt>
                <c:pt idx="16">
                  <c:v>0.10456312666257418</c:v>
                </c:pt>
                <c:pt idx="17">
                  <c:v>0.10055508112724168</c:v>
                </c:pt>
                <c:pt idx="18">
                  <c:v>0.09002375296912114</c:v>
                </c:pt>
                <c:pt idx="19">
                  <c:v>0.10313571778539932</c:v>
                </c:pt>
                <c:pt idx="20">
                  <c:v>0.10834762721555175</c:v>
                </c:pt>
                <c:pt idx="21">
                  <c:v>0.11929595827900913</c:v>
                </c:pt>
                <c:pt idx="22">
                  <c:v>0.12532981530343007</c:v>
                </c:pt>
                <c:pt idx="23">
                  <c:v>0.12182566918325326</c:v>
                </c:pt>
                <c:pt idx="24">
                  <c:v>0.11522368844544577</c:v>
                </c:pt>
                <c:pt idx="25">
                  <c:v>0.10758027143330023</c:v>
                </c:pt>
                <c:pt idx="26">
                  <c:v>0.09849435382685069</c:v>
                </c:pt>
                <c:pt idx="27">
                  <c:v>0.10454418734318371</c:v>
                </c:pt>
                <c:pt idx="28">
                  <c:v>0.11221122112211221</c:v>
                </c:pt>
                <c:pt idx="29">
                  <c:v>0.11838790931989925</c:v>
                </c:pt>
                <c:pt idx="30">
                  <c:v>0.12200504413619168</c:v>
                </c:pt>
                <c:pt idx="31">
                  <c:v>0.12251767081790643</c:v>
                </c:pt>
                <c:pt idx="32">
                  <c:v>0.13170300530347673</c:v>
                </c:pt>
                <c:pt idx="33">
                  <c:v>0.13992496137717944</c:v>
                </c:pt>
                <c:pt idx="34">
                  <c:v>0.1425091352009744</c:v>
                </c:pt>
                <c:pt idx="35">
                  <c:v>0.14329268292682926</c:v>
                </c:pt>
                <c:pt idx="36">
                  <c:v>0.1296561604584527</c:v>
                </c:pt>
                <c:pt idx="37">
                  <c:v>0.09927440633245382</c:v>
                </c:pt>
                <c:pt idx="38">
                  <c:v>0.10601503759398496</c:v>
                </c:pt>
                <c:pt idx="39">
                  <c:v>0.11750205423171733</c:v>
                </c:pt>
                <c:pt idx="40">
                  <c:v>0.10727762803234502</c:v>
                </c:pt>
                <c:pt idx="41">
                  <c:v>0.11290322580645161</c:v>
                </c:pt>
                <c:pt idx="42">
                  <c:v>0.1174296275234575</c:v>
                </c:pt>
                <c:pt idx="43">
                  <c:v>0.10725964682799215</c:v>
                </c:pt>
                <c:pt idx="44">
                  <c:v>0.10224482637670992</c:v>
                </c:pt>
                <c:pt idx="45">
                  <c:v>0.10173239955768522</c:v>
                </c:pt>
                <c:pt idx="46">
                  <c:v>0.0998719590268886</c:v>
                </c:pt>
                <c:pt idx="47">
                  <c:v>0.0953299884214589</c:v>
                </c:pt>
                <c:pt idx="48">
                  <c:v>0.08533779544028446</c:v>
                </c:pt>
                <c:pt idx="49">
                  <c:v>0.0927533404857115</c:v>
                </c:pt>
                <c:pt idx="50">
                  <c:v>0.12069191455903551</c:v>
                </c:pt>
                <c:pt idx="51">
                  <c:v>0.1208989304170171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1030.482678531442</c:v>
                </c:pt>
              </c:numCache>
            </c:numRef>
          </c:xVal>
          <c:yVal>
            <c:numRef>
              <c:f>Sheet1!$B$163:$B$164</c:f>
              <c:numCache>
                <c:formatCode>General</c:formatCode>
                <c:ptCount val="2"/>
                <c:pt idx="0">
                  <c:v>0.14730034730353012</c:v>
                </c:pt>
                <c:pt idx="1">
                  <c:v>0.1473003473035301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1030.482678531442</c:v>
                </c:pt>
                <c:pt idx="1">
                  <c:v>1030.482678531442</c:v>
                </c:pt>
              </c:numCache>
            </c:numRef>
          </c:xVal>
          <c:yVal>
            <c:numRef>
              <c:f>Sheet1!$B$167:$B$168</c:f>
              <c:numCache>
                <c:formatCode>General</c:formatCode>
                <c:ptCount val="2"/>
                <c:pt idx="0">
                  <c:v>0.1473003473035301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47.0938233996233</c:v>
                </c:pt>
              </c:numCache>
            </c:numRef>
          </c:xVal>
          <c:yVal>
            <c:numRef>
              <c:f>Sheet1!$B$171:$B$172</c:f>
              <c:numCache>
                <c:formatCode>General</c:formatCode>
                <c:ptCount val="2"/>
                <c:pt idx="0">
                  <c:v>0.14536263821774342</c:v>
                </c:pt>
                <c:pt idx="1">
                  <c:v>0.1453626382177434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47.0938233996233</c:v>
                </c:pt>
                <c:pt idx="1">
                  <c:v>1047.0938233996233</c:v>
                </c:pt>
              </c:numCache>
            </c:numRef>
          </c:xVal>
          <c:yVal>
            <c:numRef>
              <c:f>Sheet1!$B$175:$B$176</c:f>
              <c:numCache>
                <c:formatCode>General</c:formatCode>
                <c:ptCount val="2"/>
                <c:pt idx="0">
                  <c:v>0.1453626382177434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82.4006021140378</c:v>
                </c:pt>
              </c:numCache>
            </c:numRef>
          </c:xVal>
          <c:yVal>
            <c:numRef>
              <c:f>Sheet1!$B$179:$B$180</c:f>
              <c:numCache>
                <c:formatCode>General</c:formatCode>
                <c:ptCount val="2"/>
                <c:pt idx="0">
                  <c:v>0.10624871820821191</c:v>
                </c:pt>
                <c:pt idx="1">
                  <c:v>0.1062487182082119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82.4006021140378</c:v>
                </c:pt>
                <c:pt idx="1">
                  <c:v>1382.4006021140378</c:v>
                </c:pt>
              </c:numCache>
            </c:numRef>
          </c:xVal>
          <c:yVal>
            <c:numRef>
              <c:f>Sheet1!$B$183:$B$184</c:f>
              <c:numCache>
                <c:formatCode>General</c:formatCode>
                <c:ptCount val="2"/>
                <c:pt idx="0">
                  <c:v>0.1062487182082119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67.5886</c:v>
                </c:pt>
                <c:pt idx="1">
                  <c:v>1107.415</c:v>
                </c:pt>
                <c:pt idx="2">
                  <c:v>1092.3789</c:v>
                </c:pt>
                <c:pt idx="3">
                  <c:v>1136.3487</c:v>
                </c:pt>
                <c:pt idx="4">
                  <c:v>1121.2626</c:v>
                </c:pt>
                <c:pt idx="5">
                  <c:v>1123.183</c:v>
                </c:pt>
                <c:pt idx="6">
                  <c:v>1084.8677</c:v>
                </c:pt>
                <c:pt idx="7">
                  <c:v>1207.9677</c:v>
                </c:pt>
                <c:pt idx="8">
                  <c:v>1358.457</c:v>
                </c:pt>
                <c:pt idx="9">
                  <c:v>1316.3789</c:v>
                </c:pt>
                <c:pt idx="10">
                  <c:v>1340.4132</c:v>
                </c:pt>
                <c:pt idx="11">
                  <c:v>1206.9616</c:v>
                </c:pt>
                <c:pt idx="12">
                  <c:v>1251.5272</c:v>
                </c:pt>
                <c:pt idx="13">
                  <c:v>1322.0038</c:v>
                </c:pt>
                <c:pt idx="14">
                  <c:v>1309.0926</c:v>
                </c:pt>
                <c:pt idx="15">
                  <c:v>1327.5596</c:v>
                </c:pt>
                <c:pt idx="16">
                  <c:v>1341.2779</c:v>
                </c:pt>
                <c:pt idx="17">
                  <c:v>1306.7601</c:v>
                </c:pt>
                <c:pt idx="18">
                  <c:v>1394.3456</c:v>
                </c:pt>
                <c:pt idx="19">
                  <c:v>1428.4798</c:v>
                </c:pt>
                <c:pt idx="20">
                  <c:v>1392.9446</c:v>
                </c:pt>
                <c:pt idx="21">
                  <c:v>1272.9426</c:v>
                </c:pt>
                <c:pt idx="22">
                  <c:v>1234.7474</c:v>
                </c:pt>
                <c:pt idx="23">
                  <c:v>1269.1437</c:v>
                </c:pt>
                <c:pt idx="24">
                  <c:v>1279.6592</c:v>
                </c:pt>
                <c:pt idx="25">
                  <c:v>1235.56</c:v>
                </c:pt>
                <c:pt idx="26">
                  <c:v>1290.5318</c:v>
                </c:pt>
                <c:pt idx="27">
                  <c:v>1283.3147</c:v>
                </c:pt>
                <c:pt idx="28">
                  <c:v>1298.8484</c:v>
                </c:pt>
                <c:pt idx="29">
                  <c:v>1297.3112</c:v>
                </c:pt>
                <c:pt idx="30">
                  <c:v>1307.4289</c:v>
                </c:pt>
                <c:pt idx="31">
                  <c:v>1223.228</c:v>
                </c:pt>
                <c:pt idx="32">
                  <c:v>1198.9306</c:v>
                </c:pt>
                <c:pt idx="33">
                  <c:v>1250.9637</c:v>
                </c:pt>
                <c:pt idx="34">
                  <c:v>1270.3541</c:v>
                </c:pt>
                <c:pt idx="35">
                  <c:v>1235.5213</c:v>
                </c:pt>
                <c:pt idx="36">
                  <c:v>1238.4309</c:v>
                </c:pt>
                <c:pt idx="37">
                  <c:v>1448.3056</c:v>
                </c:pt>
                <c:pt idx="38">
                  <c:v>1452.1702</c:v>
                </c:pt>
                <c:pt idx="39">
                  <c:v>1360.4219</c:v>
                </c:pt>
                <c:pt idx="40">
                  <c:v>1386.8719</c:v>
                </c:pt>
                <c:pt idx="41">
                  <c:v>1419.833</c:v>
                </c:pt>
                <c:pt idx="42">
                  <c:v>1374.7506</c:v>
                </c:pt>
                <c:pt idx="43">
                  <c:v>1421.2358</c:v>
                </c:pt>
                <c:pt idx="44">
                  <c:v>1327.693</c:v>
                </c:pt>
                <c:pt idx="45">
                  <c:v>1269.7295</c:v>
                </c:pt>
                <c:pt idx="46">
                  <c:v>1257.0256</c:v>
                </c:pt>
                <c:pt idx="47">
                  <c:v>1244.9541</c:v>
                </c:pt>
                <c:pt idx="48">
                  <c:v>1243.9375</c:v>
                </c:pt>
                <c:pt idx="49">
                  <c:v>1257.5794</c:v>
                </c:pt>
                <c:pt idx="50">
                  <c:v>1095.2617</c:v>
                </c:pt>
                <c:pt idx="51">
                  <c:v>1064.9891</c:v>
                </c:pt>
                <c:pt idx="52">
                  <c:v>1047.0938233996233</c:v>
                </c:pt>
                <c:pt idx="53">
                  <c:v>1030.482678531442</c:v>
                </c:pt>
                <c:pt idx="54">
                  <c:v>1382.4006021140378</c:v>
                </c:pt>
              </c:numCache>
            </c:numRef>
          </c:xVal>
          <c:yVal>
            <c:numRef>
              <c:f>Sheet1!$B$187:$B$241</c:f>
              <c:numCache>
                <c:formatCode>General</c:formatCode>
                <c:ptCount val="55"/>
                <c:pt idx="0">
                  <c:v>0.13130678443636892</c:v>
                </c:pt>
                <c:pt idx="1">
                  <c:v>0.13832610383727542</c:v>
                </c:pt>
                <c:pt idx="2">
                  <c:v>0.140080082134136</c:v>
                </c:pt>
                <c:pt idx="3">
                  <c:v>0.13495095457331235</c:v>
                </c:pt>
                <c:pt idx="4">
                  <c:v>0.13671076542747457</c:v>
                </c:pt>
                <c:pt idx="5">
                  <c:v>0.13648674856663356</c:v>
                </c:pt>
                <c:pt idx="6">
                  <c:v>0.14095627222221596</c:v>
                </c:pt>
                <c:pt idx="7">
                  <c:v>0.12659651614560452</c:v>
                </c:pt>
                <c:pt idx="8">
                  <c:v>0.1090417668349627</c:v>
                </c:pt>
                <c:pt idx="9">
                  <c:v>0.1139502254228365</c:v>
                </c:pt>
                <c:pt idx="10">
                  <c:v>0.1111465967837455</c:v>
                </c:pt>
                <c:pt idx="11">
                  <c:v>0.12671387886362787</c:v>
                </c:pt>
                <c:pt idx="12">
                  <c:v>0.12151525054999804</c:v>
                </c:pt>
                <c:pt idx="13">
                  <c:v>0.11329407439151781</c:v>
                </c:pt>
                <c:pt idx="14">
                  <c:v>0.11480018066817374</c:v>
                </c:pt>
                <c:pt idx="15">
                  <c:v>0.11264598395438996</c:v>
                </c:pt>
                <c:pt idx="16">
                  <c:v>0.11104572853777112</c:v>
                </c:pt>
                <c:pt idx="17">
                  <c:v>0.11507226946629476</c:v>
                </c:pt>
                <c:pt idx="18">
                  <c:v>0.1048553205154576</c:v>
                </c:pt>
                <c:pt idx="19">
                  <c:v>0.10087352696655208</c:v>
                </c:pt>
                <c:pt idx="20">
                  <c:v>0.10501874877104925</c:v>
                </c:pt>
                <c:pt idx="21">
                  <c:v>0.11901711959725175</c:v>
                </c:pt>
                <c:pt idx="22">
                  <c:v>0.12347263345019563</c:v>
                </c:pt>
                <c:pt idx="23">
                  <c:v>0.11946026563591494</c:v>
                </c:pt>
                <c:pt idx="24">
                  <c:v>0.11823362050980929</c:v>
                </c:pt>
                <c:pt idx="25">
                  <c:v>0.12337784272892954</c:v>
                </c:pt>
                <c:pt idx="26">
                  <c:v>0.11696531925945539</c:v>
                </c:pt>
                <c:pt idx="27">
                  <c:v>0.11780720224548719</c:v>
                </c:pt>
                <c:pt idx="28">
                  <c:v>0.11599517833836076</c:v>
                </c:pt>
                <c:pt idx="29">
                  <c:v>0.11617449448004205</c:v>
                </c:pt>
                <c:pt idx="30">
                  <c:v>0.11499425317982814</c:v>
                </c:pt>
                <c:pt idx="31">
                  <c:v>0.12481638466180339</c:v>
                </c:pt>
                <c:pt idx="32">
                  <c:v>0.1276507042174156</c:v>
                </c:pt>
                <c:pt idx="33">
                  <c:v>0.12158098347078738</c:v>
                </c:pt>
                <c:pt idx="34">
                  <c:v>0.11931907108875711</c:v>
                </c:pt>
                <c:pt idx="35">
                  <c:v>0.123382357128281</c:v>
                </c:pt>
                <c:pt idx="36">
                  <c:v>0.12304294895378459</c:v>
                </c:pt>
                <c:pt idx="37">
                  <c:v>0.09856082467553923</c:v>
                </c:pt>
                <c:pt idx="38">
                  <c:v>0.09811001465658167</c:v>
                </c:pt>
                <c:pt idx="39">
                  <c:v>0.10881255899812328</c:v>
                </c:pt>
                <c:pt idx="40">
                  <c:v>0.10572713618556134</c:v>
                </c:pt>
                <c:pt idx="41">
                  <c:v>0.10188218609606664</c:v>
                </c:pt>
                <c:pt idx="42">
                  <c:v>0.10714109972196614</c:v>
                </c:pt>
                <c:pt idx="43">
                  <c:v>0.10171854786841214</c:v>
                </c:pt>
                <c:pt idx="44">
                  <c:v>0.11263042269150922</c:v>
                </c:pt>
                <c:pt idx="45">
                  <c:v>0.11939193139456908</c:v>
                </c:pt>
                <c:pt idx="46">
                  <c:v>0.12087385588865246</c:v>
                </c:pt>
                <c:pt idx="47">
                  <c:v>0.12228201019798482</c:v>
                </c:pt>
                <c:pt idx="48">
                  <c:v>0.12240059775304155</c:v>
                </c:pt>
                <c:pt idx="49">
                  <c:v>0.12080925448397958</c:v>
                </c:pt>
                <c:pt idx="50">
                  <c:v>0.13974380021035324</c:v>
                </c:pt>
                <c:pt idx="51">
                  <c:v>0.14327513369373934</c:v>
                </c:pt>
                <c:pt idx="52">
                  <c:v>0.14536263821774342</c:v>
                </c:pt>
                <c:pt idx="53">
                  <c:v>0.1473003473035301</c:v>
                </c:pt>
                <c:pt idx="54">
                  <c:v>0.1062487182082119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43.0"/>
          <c:min val="66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718536389223965"/>
          <c:min val="0.05155866900175131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0823097454419908</c:v>
                </c:pt>
                <c:pt idx="2">
                  <c:v>0.0</c:v>
                </c:pt>
                <c:pt idx="3">
                  <c:v>2.6233213931529775</c:v>
                </c:pt>
                <c:pt idx="4">
                  <c:v>2.9473540750675253</c:v>
                </c:pt>
                <c:pt idx="5">
                  <c:v>2.0289331899055325</c:v>
                </c:pt>
                <c:pt idx="6">
                  <c:v>1.4038373293243576</c:v>
                </c:pt>
                <c:pt idx="7">
                  <c:v>1.6519957759783825</c:v>
                </c:pt>
                <c:pt idx="8">
                  <c:v>1.9197246561433319</c:v>
                </c:pt>
                <c:pt idx="9">
                  <c:v>1.5998359419832915</c:v>
                </c:pt>
                <c:pt idx="10">
                  <c:v>1.7558380755739404</c:v>
                </c:pt>
                <c:pt idx="11">
                  <c:v>2.233410140592239</c:v>
                </c:pt>
                <c:pt idx="12">
                  <c:v>1.824917262547209</c:v>
                </c:pt>
                <c:pt idx="13">
                  <c:v>1.8737501349077585</c:v>
                </c:pt>
                <c:pt idx="14">
                  <c:v>1.7234675551548255</c:v>
                </c:pt>
                <c:pt idx="15">
                  <c:v>1.6284923751925653</c:v>
                </c:pt>
                <c:pt idx="16">
                  <c:v>1.5843147723766369</c:v>
                </c:pt>
                <c:pt idx="17">
                  <c:v>1.3178622837172076</c:v>
                </c:pt>
                <c:pt idx="18">
                  <c:v>1.0116653476987185</c:v>
                </c:pt>
                <c:pt idx="19">
                  <c:v>1.2392568804956463</c:v>
                </c:pt>
                <c:pt idx="20">
                  <c:v>1.1416408546985959</c:v>
                </c:pt>
                <c:pt idx="21">
                  <c:v>1.1362122294100527</c:v>
                </c:pt>
                <c:pt idx="22">
                  <c:v>0.5161766269796116</c:v>
                </c:pt>
                <c:pt idx="23">
                  <c:v>0.7014761372640863</c:v>
                </c:pt>
                <c:pt idx="24">
                  <c:v>2.6037942378683776</c:v>
                </c:pt>
                <c:pt idx="25">
                  <c:v>2.8064556669624987</c:v>
                </c:pt>
                <c:pt idx="26">
                  <c:v>2.904394320470935</c:v>
                </c:pt>
                <c:pt idx="27">
                  <c:v>2.1130855611218595</c:v>
                </c:pt>
                <c:pt idx="28">
                  <c:v>3.0161718164974625</c:v>
                </c:pt>
                <c:pt idx="29">
                  <c:v>2.940351948671334</c:v>
                </c:pt>
                <c:pt idx="30">
                  <c:v>2.529178949411305</c:v>
                </c:pt>
                <c:pt idx="31">
                  <c:v>2.7171205007033197</c:v>
                </c:pt>
                <c:pt idx="32">
                  <c:v>3.0163006257167897</c:v>
                </c:pt>
                <c:pt idx="33">
                  <c:v>2.8007191066017043</c:v>
                </c:pt>
                <c:pt idx="34">
                  <c:v>2.517062493229169</c:v>
                </c:pt>
                <c:pt idx="35">
                  <c:v>3.500480162694908</c:v>
                </c:pt>
                <c:pt idx="36">
                  <c:v>3.505069807879973</c:v>
                </c:pt>
                <c:pt idx="37">
                  <c:v>2.981221670817604</c:v>
                </c:pt>
                <c:pt idx="38">
                  <c:v>2.771478669685226</c:v>
                </c:pt>
                <c:pt idx="39">
                  <c:v>3.0414554666938165</c:v>
                </c:pt>
                <c:pt idx="40">
                  <c:v>2.675550128685665</c:v>
                </c:pt>
                <c:pt idx="41">
                  <c:v>3.180185845691759</c:v>
                </c:pt>
                <c:pt idx="42">
                  <c:v>3.1304658019174165</c:v>
                </c:pt>
                <c:pt idx="43">
                  <c:v>3.4889394705796053</c:v>
                </c:pt>
                <c:pt idx="44">
                  <c:v>3.467521736869623</c:v>
                </c:pt>
                <c:pt idx="45">
                  <c:v>2.7548014587494</c:v>
                </c:pt>
                <c:pt idx="46">
                  <c:v>2.9495917650434733</c:v>
                </c:pt>
                <c:pt idx="47">
                  <c:v>2.8440760011113624</c:v>
                </c:pt>
                <c:pt idx="48">
                  <c:v>2.992615116876159</c:v>
                </c:pt>
                <c:pt idx="49">
                  <c:v>3.2408652456524867</c:v>
                </c:pt>
                <c:pt idx="50">
                  <c:v>2.8603442405397326</c:v>
                </c:pt>
                <c:pt idx="51">
                  <c:v>3.027201904077459</c:v>
                </c:pt>
                <c:pt idx="52">
                  <c:v>3.2611677458418606</c:v>
                </c:pt>
                <c:pt idx="53">
                  <c:v>3.213450813327668</c:v>
                </c:pt>
              </c:numCache>
            </c:numRef>
          </c:xVal>
          <c:yVal>
            <c:numRef>
              <c:f>Sheet1!$B$2:$B$55</c:f>
              <c:numCache>
                <c:formatCode>General</c:formatCode>
                <c:ptCount val="54"/>
                <c:pt idx="0">
                  <c:v>0.0</c:v>
                </c:pt>
                <c:pt idx="1">
                  <c:v>0.00011127183709803049</c:v>
                </c:pt>
                <c:pt idx="2">
                  <c:v>0.0</c:v>
                </c:pt>
                <c:pt idx="3">
                  <c:v>0.00016020506247997436</c:v>
                </c:pt>
                <c:pt idx="4">
                  <c:v>0.00016223231667748214</c:v>
                </c:pt>
                <c:pt idx="5">
                  <c:v>0.0003518648838845883</c:v>
                </c:pt>
                <c:pt idx="6">
                  <c:v>0.0002979737783075089</c:v>
                </c:pt>
                <c:pt idx="7">
                  <c:v>0.0004016601954746285</c:v>
                </c:pt>
                <c:pt idx="8">
                  <c:v>0.0005145356315924878</c:v>
                </c:pt>
                <c:pt idx="9">
                  <c:v>0.001135610864010599</c:v>
                </c:pt>
                <c:pt idx="10">
                  <c:v>0.001323276432446738</c:v>
                </c:pt>
                <c:pt idx="11">
                  <c:v>0.0009779951100244498</c:v>
                </c:pt>
                <c:pt idx="12">
                  <c:v>0.0012340139107022662</c:v>
                </c:pt>
                <c:pt idx="13">
                  <c:v>0.0011427384167878663</c:v>
                </c:pt>
                <c:pt idx="14">
                  <c:v>0.0012358162004269184</c:v>
                </c:pt>
                <c:pt idx="15">
                  <c:v>0.0011818933932159319</c:v>
                </c:pt>
                <c:pt idx="16">
                  <c:v>0.0012903225806451613</c:v>
                </c:pt>
                <c:pt idx="17">
                  <c:v>0.0020873474630700066</c:v>
                </c:pt>
                <c:pt idx="18">
                  <c:v>0.0024429967426710096</c:v>
                </c:pt>
                <c:pt idx="19">
                  <c:v>0.0015891934843067143</c:v>
                </c:pt>
                <c:pt idx="20">
                  <c:v>0.0022794620469569183</c:v>
                </c:pt>
                <c:pt idx="21">
                  <c:v>0.0022878535773710484</c:v>
                </c:pt>
                <c:pt idx="22">
                  <c:v>0.0035419126328217238</c:v>
                </c:pt>
                <c:pt idx="23">
                  <c:v>0.003273679615888258</c:v>
                </c:pt>
                <c:pt idx="24">
                  <c:v>0.002959309494451295</c:v>
                </c:pt>
                <c:pt idx="25">
                  <c:v>0.004326663061114116</c:v>
                </c:pt>
                <c:pt idx="26">
                  <c:v>0.0056673278549164065</c:v>
                </c:pt>
                <c:pt idx="27">
                  <c:v>0.007602153943617358</c:v>
                </c:pt>
                <c:pt idx="28">
                  <c:v>0.005808887598024978</c:v>
                </c:pt>
                <c:pt idx="29">
                  <c:v>0.005313199105145414</c:v>
                </c:pt>
                <c:pt idx="30">
                  <c:v>0.006719184430027804</c:v>
                </c:pt>
                <c:pt idx="31">
                  <c:v>0.007352941176470588</c:v>
                </c:pt>
                <c:pt idx="32">
                  <c:v>0.006654991243432574</c:v>
                </c:pt>
                <c:pt idx="33">
                  <c:v>0.006629448709002094</c:v>
                </c:pt>
                <c:pt idx="34">
                  <c:v>0.007226738934056007</c:v>
                </c:pt>
                <c:pt idx="35">
                  <c:v>0.00614304519526108</c:v>
                </c:pt>
                <c:pt idx="36">
                  <c:v>0.005332806636381592</c:v>
                </c:pt>
                <c:pt idx="37">
                  <c:v>0.00809188201513965</c:v>
                </c:pt>
                <c:pt idx="38">
                  <c:v>0.01072066706372841</c:v>
                </c:pt>
                <c:pt idx="39">
                  <c:v>0.009422492401215805</c:v>
                </c:pt>
                <c:pt idx="40">
                  <c:v>0.010651247717589775</c:v>
                </c:pt>
                <c:pt idx="41">
                  <c:v>0.007865168539325843</c:v>
                </c:pt>
                <c:pt idx="42">
                  <c:v>0.007795582503248159</c:v>
                </c:pt>
                <c:pt idx="43">
                  <c:v>0.007382710169087878</c:v>
                </c:pt>
                <c:pt idx="44">
                  <c:v>0.007853403141361256</c:v>
                </c:pt>
                <c:pt idx="45">
                  <c:v>0.010282161645145864</c:v>
                </c:pt>
                <c:pt idx="46">
                  <c:v>0.011603053435114504</c:v>
                </c:pt>
                <c:pt idx="47">
                  <c:v>0.011056076419600212</c:v>
                </c:pt>
                <c:pt idx="48">
                  <c:v>0.010124847746650427</c:v>
                </c:pt>
                <c:pt idx="49">
                  <c:v>0.007862076711405626</c:v>
                </c:pt>
                <c:pt idx="50">
                  <c:v>0.011566018423746162</c:v>
                </c:pt>
                <c:pt idx="51">
                  <c:v>0.010702243072863217</c:v>
                </c:pt>
                <c:pt idx="52">
                  <c:v>0.008641382621219395</c:v>
                </c:pt>
                <c:pt idx="53">
                  <c:v>0.007338910905621606</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3.23766121067541</c:v>
                </c:pt>
                <c:pt idx="1">
                  <c:v>2.574958451635684</c:v>
                </c:pt>
                <c:pt idx="2">
                  <c:v>3.0303627009271317</c:v>
                </c:pt>
                <c:pt idx="3">
                  <c:v>2.4207361808507284</c:v>
                </c:pt>
                <c:pt idx="4">
                  <c:v>3.00010299687375</c:v>
                </c:pt>
                <c:pt idx="5">
                  <c:v>3.3439538360949266</c:v>
                </c:pt>
                <c:pt idx="6">
                  <c:v>3.397770369619704</c:v>
                </c:pt>
                <c:pt idx="7">
                  <c:v>3.1579583054104647</c:v>
                </c:pt>
                <c:pt idx="8">
                  <c:v>2.9960308777200435</c:v>
                </c:pt>
                <c:pt idx="9">
                  <c:v>3.0443785578198104</c:v>
                </c:pt>
                <c:pt idx="10">
                  <c:v>3.193887832070116</c:v>
                </c:pt>
                <c:pt idx="11">
                  <c:v>3.2015734771149735</c:v>
                </c:pt>
                <c:pt idx="12">
                  <c:v>2.9619620892068483</c:v>
                </c:pt>
                <c:pt idx="13">
                  <c:v>2.4825843019331373</c:v>
                </c:pt>
                <c:pt idx="14">
                  <c:v>2.4888190445695892</c:v>
                </c:pt>
                <c:pt idx="15">
                  <c:v>2.6277963693657047</c:v>
                </c:pt>
                <c:pt idx="16">
                  <c:v>2.741667318906735</c:v>
                </c:pt>
                <c:pt idx="17">
                  <c:v>2.18570780636603</c:v>
                </c:pt>
                <c:pt idx="18">
                  <c:v>3.1855089717176495</c:v>
                </c:pt>
                <c:pt idx="19">
                  <c:v>3.0441260598272857</c:v>
                </c:pt>
                <c:pt idx="20">
                  <c:v>2.789491458649806</c:v>
                </c:pt>
                <c:pt idx="21">
                  <c:v>2.6019704746853827</c:v>
                </c:pt>
                <c:pt idx="22">
                  <c:v>2.807648765495131</c:v>
                </c:pt>
                <c:pt idx="23">
                  <c:v>2.1096349677866306</c:v>
                </c:pt>
                <c:pt idx="24">
                  <c:v>2.765307837655631</c:v>
                </c:pt>
                <c:pt idx="25">
                  <c:v>2.7365050973722886</c:v>
                </c:pt>
                <c:pt idx="26">
                  <c:v>2.879791621142368</c:v>
                </c:pt>
                <c:pt idx="27">
                  <c:v>2.697762051345985</c:v>
                </c:pt>
                <c:pt idx="28">
                  <c:v>2.766059270390717</c:v>
                </c:pt>
                <c:pt idx="29">
                  <c:v>2.5486249429523724</c:v>
                </c:pt>
                <c:pt idx="30">
                  <c:v>2.4910257173069117</c:v>
                </c:pt>
                <c:pt idx="31">
                  <c:v>2.6629278625075163</c:v>
                </c:pt>
                <c:pt idx="32">
                  <c:v>3.000961980156687</c:v>
                </c:pt>
                <c:pt idx="33">
                  <c:v>3.300171395498674</c:v>
                </c:pt>
                <c:pt idx="34">
                  <c:v>3.3304612231001762</c:v>
                </c:pt>
                <c:pt idx="35">
                  <c:v>2.734185739709263</c:v>
                </c:pt>
                <c:pt idx="36">
                  <c:v>2.8113653688500864</c:v>
                </c:pt>
                <c:pt idx="37">
                  <c:v>2.7158380951439187</c:v>
                </c:pt>
                <c:pt idx="38">
                  <c:v>2.3802473417171623</c:v>
                </c:pt>
                <c:pt idx="39">
                  <c:v>2.2558773965153005</c:v>
                </c:pt>
                <c:pt idx="40">
                  <c:v>2.3438354649496707</c:v>
                </c:pt>
                <c:pt idx="41">
                  <c:v>2.4551624816149613</c:v>
                </c:pt>
                <c:pt idx="42">
                  <c:v>2.287850011091993</c:v>
                </c:pt>
                <c:pt idx="43">
                  <c:v>2.5306057092861134</c:v>
                </c:pt>
                <c:pt idx="44">
                  <c:v>3.260100280965052</c:v>
                </c:pt>
                <c:pt idx="45">
                  <c:v>3.325630740472525</c:v>
                </c:pt>
                <c:pt idx="46">
                  <c:v>3.218087865992673</c:v>
                </c:pt>
                <c:pt idx="47">
                  <c:v>3.2708155033143926</c:v>
                </c:pt>
                <c:pt idx="48">
                  <c:v>3.11047208037336</c:v>
                </c:pt>
                <c:pt idx="49">
                  <c:v>3.2590059454860927</c:v>
                </c:pt>
                <c:pt idx="50">
                  <c:v>3.435160151039367</c:v>
                </c:pt>
                <c:pt idx="51">
                  <c:v>3.7060164811144145</c:v>
                </c:pt>
              </c:numCache>
            </c:numRef>
          </c:xVal>
          <c:yVal>
            <c:numRef>
              <c:f>Sheet1!$B$58:$B$109</c:f>
              <c:numCache>
                <c:formatCode>General</c:formatCode>
                <c:ptCount val="52"/>
                <c:pt idx="0">
                  <c:v>0.007357859531772575</c:v>
                </c:pt>
                <c:pt idx="1">
                  <c:v>0.009232954545454546</c:v>
                </c:pt>
                <c:pt idx="2">
                  <c:v>0.008044856167723062</c:v>
                </c:pt>
                <c:pt idx="3">
                  <c:v>0.0093603744149766</c:v>
                </c:pt>
                <c:pt idx="4">
                  <c:v>0.008845999195818254</c:v>
                </c:pt>
                <c:pt idx="5">
                  <c:v>0.007494083618196161</c:v>
                </c:pt>
                <c:pt idx="6">
                  <c:v>0.007909735954402699</c:v>
                </c:pt>
                <c:pt idx="7">
                  <c:v>0.00966183574879227</c:v>
                </c:pt>
                <c:pt idx="8">
                  <c:v>0.012172284644194757</c:v>
                </c:pt>
                <c:pt idx="9">
                  <c:v>0.011979078791968956</c:v>
                </c:pt>
                <c:pt idx="10">
                  <c:v>0.011331910001642305</c:v>
                </c:pt>
                <c:pt idx="11">
                  <c:v>0.010759844703272323</c:v>
                </c:pt>
                <c:pt idx="12">
                  <c:v>0.0115077808290833</c:v>
                </c:pt>
                <c:pt idx="13">
                  <c:v>0.017859735733991577</c:v>
                </c:pt>
                <c:pt idx="14">
                  <c:v>0.017518939393939392</c:v>
                </c:pt>
                <c:pt idx="15">
                  <c:v>0.017283519553072627</c:v>
                </c:pt>
                <c:pt idx="16">
                  <c:v>0.016779210149375896</c:v>
                </c:pt>
                <c:pt idx="17">
                  <c:v>0.021989752348420155</c:v>
                </c:pt>
                <c:pt idx="18">
                  <c:v>0.011163895486935867</c:v>
                </c:pt>
                <c:pt idx="19">
                  <c:v>0.010779029887310143</c:v>
                </c:pt>
                <c:pt idx="20">
                  <c:v>0.01400800457404231</c:v>
                </c:pt>
                <c:pt idx="21">
                  <c:v>0.015971316818774447</c:v>
                </c:pt>
                <c:pt idx="22">
                  <c:v>0.014182058047493404</c:v>
                </c:pt>
                <c:pt idx="23">
                  <c:v>0.015442690459849005</c:v>
                </c:pt>
                <c:pt idx="24">
                  <c:v>0.013839716768587062</c:v>
                </c:pt>
                <c:pt idx="25">
                  <c:v>0.014233697451175108</c:v>
                </c:pt>
                <c:pt idx="26">
                  <c:v>0.014115432873274781</c:v>
                </c:pt>
                <c:pt idx="27">
                  <c:v>0.015054362977418455</c:v>
                </c:pt>
                <c:pt idx="28">
                  <c:v>0.011931962427011932</c:v>
                </c:pt>
                <c:pt idx="29">
                  <c:v>0.014798488664987406</c:v>
                </c:pt>
                <c:pt idx="30">
                  <c:v>0.014186633039092055</c:v>
                </c:pt>
                <c:pt idx="31">
                  <c:v>0.015146415348367553</c:v>
                </c:pt>
                <c:pt idx="32">
                  <c:v>0.012669416617560401</c:v>
                </c:pt>
                <c:pt idx="33">
                  <c:v>0.009710880600308983</c:v>
                </c:pt>
                <c:pt idx="34">
                  <c:v>0.009222202888463546</c:v>
                </c:pt>
                <c:pt idx="35">
                  <c:v>0.012630662020905924</c:v>
                </c:pt>
                <c:pt idx="36">
                  <c:v>0.015759312320916905</c:v>
                </c:pt>
                <c:pt idx="37">
                  <c:v>0.016490765171503958</c:v>
                </c:pt>
                <c:pt idx="38">
                  <c:v>0.02030075187969925</c:v>
                </c:pt>
                <c:pt idx="39">
                  <c:v>0.01862503423719529</c:v>
                </c:pt>
                <c:pt idx="40">
                  <c:v>0.016981132075471698</c:v>
                </c:pt>
                <c:pt idx="41">
                  <c:v>0.014143920595533498</c:v>
                </c:pt>
                <c:pt idx="42">
                  <c:v>0.01620699459766847</c:v>
                </c:pt>
                <c:pt idx="43">
                  <c:v>0.013080444735120994</c:v>
                </c:pt>
                <c:pt idx="44">
                  <c:v>0.009119607155384075</c:v>
                </c:pt>
                <c:pt idx="45">
                  <c:v>0.007003317360855142</c:v>
                </c:pt>
                <c:pt idx="46">
                  <c:v>0.007540190638782188</c:v>
                </c:pt>
                <c:pt idx="47">
                  <c:v>0.00681847420558343</c:v>
                </c:pt>
                <c:pt idx="48">
                  <c:v>0.007529805480025099</c:v>
                </c:pt>
                <c:pt idx="49">
                  <c:v>0.006729737637764557</c:v>
                </c:pt>
                <c:pt idx="50">
                  <c:v>0.005438343598479885</c:v>
                </c:pt>
                <c:pt idx="51">
                  <c:v>0.007210671794255498</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2.6207090602842307</c:v>
                </c:pt>
              </c:numCache>
            </c:numRef>
          </c:xVal>
          <c:yVal>
            <c:numRef>
              <c:f>Sheet1!$B$112:$B$113</c:f>
              <c:numCache>
                <c:formatCode>General</c:formatCode>
                <c:ptCount val="2"/>
                <c:pt idx="0">
                  <c:v>0.014533232174756099</c:v>
                </c:pt>
                <c:pt idx="1">
                  <c:v>0.014533232174756099</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2.6207090602842307</c:v>
                </c:pt>
                <c:pt idx="1">
                  <c:v>2.6207090602842307</c:v>
                </c:pt>
              </c:numCache>
            </c:numRef>
          </c:xVal>
          <c:yVal>
            <c:numRef>
              <c:f>Sheet1!$B$116:$B$117</c:f>
              <c:numCache>
                <c:formatCode>General</c:formatCode>
                <c:ptCount val="2"/>
                <c:pt idx="0">
                  <c:v>0.01453323217475609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2.6207090602842307</c:v>
                </c:pt>
              </c:numCache>
            </c:numRef>
          </c:xVal>
          <c:yVal>
            <c:numRef>
              <c:f>Sheet1!$B$120:$B$121</c:f>
              <c:numCache>
                <c:formatCode>General</c:formatCode>
                <c:ptCount val="2"/>
                <c:pt idx="0">
                  <c:v>0.014533232174756099</c:v>
                </c:pt>
                <c:pt idx="1">
                  <c:v>0.014533232174756099</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2.6207090602842307</c:v>
                </c:pt>
                <c:pt idx="1">
                  <c:v>2.6207090602842307</c:v>
                </c:pt>
              </c:numCache>
            </c:numRef>
          </c:xVal>
          <c:yVal>
            <c:numRef>
              <c:f>Sheet1!$B$124:$B$125</c:f>
              <c:numCache>
                <c:formatCode>General</c:formatCode>
                <c:ptCount val="2"/>
                <c:pt idx="0">
                  <c:v>0.01453323217475609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3.082006970142783</c:v>
                </c:pt>
              </c:numCache>
            </c:numRef>
          </c:xVal>
          <c:yVal>
            <c:numRef>
              <c:f>Sheet1!$B$128:$B$129</c:f>
              <c:numCache>
                <c:formatCode>General</c:formatCode>
                <c:ptCount val="2"/>
                <c:pt idx="0">
                  <c:v>0.010494436470163064</c:v>
                </c:pt>
                <c:pt idx="1">
                  <c:v>0.010494436470163064</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3.082006970142783</c:v>
                </c:pt>
                <c:pt idx="1">
                  <c:v>3.082006970142783</c:v>
                </c:pt>
              </c:numCache>
            </c:numRef>
          </c:xVal>
          <c:yVal>
            <c:numRef>
              <c:f>Sheet1!$B$132:$B$133</c:f>
              <c:numCache>
                <c:formatCode>General</c:formatCode>
                <c:ptCount val="2"/>
                <c:pt idx="0">
                  <c:v>0.0104944364701630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3.23766121067541</c:v>
                </c:pt>
                <c:pt idx="1">
                  <c:v>2.574958451635684</c:v>
                </c:pt>
                <c:pt idx="2">
                  <c:v>3.0303627009271317</c:v>
                </c:pt>
                <c:pt idx="3">
                  <c:v>2.4207361808507284</c:v>
                </c:pt>
                <c:pt idx="4">
                  <c:v>3.00010299687375</c:v>
                </c:pt>
                <c:pt idx="5">
                  <c:v>3.3439538360949266</c:v>
                </c:pt>
                <c:pt idx="6">
                  <c:v>3.397770369619704</c:v>
                </c:pt>
                <c:pt idx="7">
                  <c:v>3.1579583054104647</c:v>
                </c:pt>
                <c:pt idx="8">
                  <c:v>2.9960308777200435</c:v>
                </c:pt>
                <c:pt idx="9">
                  <c:v>3.0443785578198104</c:v>
                </c:pt>
                <c:pt idx="10">
                  <c:v>3.193887832070116</c:v>
                </c:pt>
                <c:pt idx="11">
                  <c:v>3.2015734771149735</c:v>
                </c:pt>
                <c:pt idx="12">
                  <c:v>2.9619620892068483</c:v>
                </c:pt>
                <c:pt idx="13">
                  <c:v>2.4825843019331373</c:v>
                </c:pt>
                <c:pt idx="14">
                  <c:v>2.4888190445695892</c:v>
                </c:pt>
                <c:pt idx="15">
                  <c:v>2.6277963693657047</c:v>
                </c:pt>
                <c:pt idx="16">
                  <c:v>2.741667318906735</c:v>
                </c:pt>
                <c:pt idx="17">
                  <c:v>2.18570780636603</c:v>
                </c:pt>
                <c:pt idx="18">
                  <c:v>3.1855089717176495</c:v>
                </c:pt>
                <c:pt idx="19">
                  <c:v>3.0441260598272857</c:v>
                </c:pt>
                <c:pt idx="20">
                  <c:v>2.789491458649806</c:v>
                </c:pt>
                <c:pt idx="21">
                  <c:v>2.6019704746853827</c:v>
                </c:pt>
                <c:pt idx="22">
                  <c:v>2.807648765495131</c:v>
                </c:pt>
                <c:pt idx="23">
                  <c:v>2.1096349677866306</c:v>
                </c:pt>
                <c:pt idx="24">
                  <c:v>2.765307837655631</c:v>
                </c:pt>
                <c:pt idx="25">
                  <c:v>2.7365050973722886</c:v>
                </c:pt>
                <c:pt idx="26">
                  <c:v>2.879791621142368</c:v>
                </c:pt>
                <c:pt idx="27">
                  <c:v>2.697762051345985</c:v>
                </c:pt>
                <c:pt idx="28">
                  <c:v>2.766059270390717</c:v>
                </c:pt>
                <c:pt idx="29">
                  <c:v>2.5486249429523724</c:v>
                </c:pt>
                <c:pt idx="30">
                  <c:v>2.4910257173069117</c:v>
                </c:pt>
                <c:pt idx="31">
                  <c:v>2.6629278625075163</c:v>
                </c:pt>
                <c:pt idx="32">
                  <c:v>3.000961980156687</c:v>
                </c:pt>
                <c:pt idx="33">
                  <c:v>3.300171395498674</c:v>
                </c:pt>
                <c:pt idx="34">
                  <c:v>3.3304612231001762</c:v>
                </c:pt>
                <c:pt idx="35">
                  <c:v>2.734185739709263</c:v>
                </c:pt>
                <c:pt idx="36">
                  <c:v>2.8113653688500864</c:v>
                </c:pt>
                <c:pt idx="37">
                  <c:v>2.7158380951439187</c:v>
                </c:pt>
                <c:pt idx="38">
                  <c:v>2.3802473417171623</c:v>
                </c:pt>
                <c:pt idx="39">
                  <c:v>2.2558773965153005</c:v>
                </c:pt>
                <c:pt idx="40">
                  <c:v>2.3438354649496707</c:v>
                </c:pt>
                <c:pt idx="41">
                  <c:v>2.4551624816149613</c:v>
                </c:pt>
                <c:pt idx="42">
                  <c:v>2.287850011091993</c:v>
                </c:pt>
                <c:pt idx="43">
                  <c:v>2.5306057092861134</c:v>
                </c:pt>
                <c:pt idx="44">
                  <c:v>3.260100280965052</c:v>
                </c:pt>
                <c:pt idx="45">
                  <c:v>3.325630740472525</c:v>
                </c:pt>
                <c:pt idx="46">
                  <c:v>3.218087865992673</c:v>
                </c:pt>
                <c:pt idx="47">
                  <c:v>3.2708155033143926</c:v>
                </c:pt>
                <c:pt idx="48">
                  <c:v>3.11047208037336</c:v>
                </c:pt>
                <c:pt idx="49">
                  <c:v>3.2590059454860927</c:v>
                </c:pt>
                <c:pt idx="50">
                  <c:v>3.435160151039367</c:v>
                </c:pt>
                <c:pt idx="51">
                  <c:v>3.7060164811144145</c:v>
                </c:pt>
                <c:pt idx="52">
                  <c:v>2.6207090602842307</c:v>
                </c:pt>
                <c:pt idx="53">
                  <c:v>2.6207090602842307</c:v>
                </c:pt>
                <c:pt idx="54">
                  <c:v>3.082006970142783</c:v>
                </c:pt>
              </c:numCache>
            </c:numRef>
          </c:xVal>
          <c:yVal>
            <c:numRef>
              <c:f>Sheet1!$B$136:$B$190</c:f>
              <c:numCache>
                <c:formatCode>General</c:formatCode>
                <c:ptCount val="55"/>
                <c:pt idx="0">
                  <c:v>0.009131638883983603</c:v>
                </c:pt>
                <c:pt idx="1">
                  <c:v>0.014933791894935461</c:v>
                </c:pt>
                <c:pt idx="2">
                  <c:v>0.01094659688150977</c:v>
                </c:pt>
                <c:pt idx="3">
                  <c:v>0.0162840521746533</c:v>
                </c:pt>
                <c:pt idx="4">
                  <c:v>0.011211529282331895</c:v>
                </c:pt>
                <c:pt idx="5">
                  <c:v>0.008201016416810723</c:v>
                </c:pt>
                <c:pt idx="6">
                  <c:v>0.0077298372074737325</c:v>
                </c:pt>
                <c:pt idx="7">
                  <c:v>0.009829460713539157</c:v>
                </c:pt>
                <c:pt idx="8">
                  <c:v>0.011247181855203129</c:v>
                </c:pt>
                <c:pt idx="9">
                  <c:v>0.010823884028482323</c:v>
                </c:pt>
                <c:pt idx="10">
                  <c:v>0.009514887387192292</c:v>
                </c:pt>
                <c:pt idx="11">
                  <c:v>0.009447597357190387</c:v>
                </c:pt>
                <c:pt idx="12">
                  <c:v>0.011545463884597047</c:v>
                </c:pt>
                <c:pt idx="13">
                  <c:v>0.015742554109246115</c:v>
                </c:pt>
                <c:pt idx="14">
                  <c:v>0.015687967146588804</c:v>
                </c:pt>
                <c:pt idx="15">
                  <c:v>0.01447118074798038</c:v>
                </c:pt>
                <c:pt idx="16">
                  <c:v>0.013474207876316462</c:v>
                </c:pt>
                <c:pt idx="17">
                  <c:v>0.01834179310310742</c:v>
                </c:pt>
                <c:pt idx="18">
                  <c:v>0.009588246716332332</c:v>
                </c:pt>
                <c:pt idx="19">
                  <c:v>0.010826094720934713</c:v>
                </c:pt>
                <c:pt idx="20">
                  <c:v>0.013055493795800902</c:v>
                </c:pt>
                <c:pt idx="21">
                  <c:v>0.014697293874168484</c:v>
                </c:pt>
                <c:pt idx="22">
                  <c:v>0.012896521358842835</c:v>
                </c:pt>
                <c:pt idx="23">
                  <c:v>0.019007832656126177</c:v>
                </c:pt>
                <c:pt idx="24">
                  <c:v>0.013267228344138071</c:v>
                </c:pt>
                <c:pt idx="25">
                  <c:v>0.013519404608653428</c:v>
                </c:pt>
                <c:pt idx="26">
                  <c:v>0.01226488993524831</c:v>
                </c:pt>
                <c:pt idx="27">
                  <c:v>0.013858611105214115</c:v>
                </c:pt>
                <c:pt idx="28">
                  <c:v>0.013260649334699923</c:v>
                </c:pt>
                <c:pt idx="29">
                  <c:v>0.015164349327527415</c:v>
                </c:pt>
                <c:pt idx="30">
                  <c:v>0.015668647092926143</c:v>
                </c:pt>
                <c:pt idx="31">
                  <c:v>0.014163594434310332</c:v>
                </c:pt>
                <c:pt idx="32">
                  <c:v>0.011204008636954362</c:v>
                </c:pt>
                <c:pt idx="33">
                  <c:v>0.00858434426035323</c:v>
                </c:pt>
                <c:pt idx="34">
                  <c:v>0.008319148119214585</c:v>
                </c:pt>
                <c:pt idx="35">
                  <c:v>0.01353971125120838</c:v>
                </c:pt>
                <c:pt idx="36">
                  <c:v>0.012863981428908464</c:v>
                </c:pt>
                <c:pt idx="37">
                  <c:v>0.013700350149578055</c:v>
                </c:pt>
                <c:pt idx="38">
                  <c:v>0.016638543591331833</c:v>
                </c:pt>
                <c:pt idx="39">
                  <c:v>0.01772743818575081</c:v>
                </c:pt>
                <c:pt idx="40">
                  <c:v>0.01695734003142368</c:v>
                </c:pt>
                <c:pt idx="41">
                  <c:v>0.015982640022809285</c:v>
                </c:pt>
                <c:pt idx="42">
                  <c:v>0.017447508761278565</c:v>
                </c:pt>
                <c:pt idx="43">
                  <c:v>0.015322112894142446</c:v>
                </c:pt>
                <c:pt idx="44">
                  <c:v>0.00893517837817152</c:v>
                </c:pt>
                <c:pt idx="45">
                  <c:v>0.008361440382133468</c:v>
                </c:pt>
                <c:pt idx="46">
                  <c:v>0.009303009138952673</c:v>
                </c:pt>
                <c:pt idx="47">
                  <c:v>0.008841363528649344</c:v>
                </c:pt>
                <c:pt idx="48">
                  <c:v>0.01024521625374094</c:v>
                </c:pt>
                <c:pt idx="49">
                  <c:v>0.008944759599628087</c:v>
                </c:pt>
                <c:pt idx="50">
                  <c:v>0.0074024789312575855</c:v>
                </c:pt>
                <c:pt idx="51">
                  <c:v>0.005031053960343743</c:v>
                </c:pt>
                <c:pt idx="52">
                  <c:v>0.014533232174756099</c:v>
                </c:pt>
                <c:pt idx="53">
                  <c:v>0.014533232174756099</c:v>
                </c:pt>
                <c:pt idx="54">
                  <c:v>0.01049443647016306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638770281810418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0.00011127183709803049</c:v>
                </c:pt>
                <c:pt idx="2">
                  <c:v>0.0</c:v>
                </c:pt>
                <c:pt idx="3">
                  <c:v>0.00016020506247997436</c:v>
                </c:pt>
                <c:pt idx="4">
                  <c:v>0.00016223231667748214</c:v>
                </c:pt>
                <c:pt idx="5">
                  <c:v>0.0003518648838845883</c:v>
                </c:pt>
                <c:pt idx="6">
                  <c:v>0.0002979737783075089</c:v>
                </c:pt>
                <c:pt idx="7">
                  <c:v>0.0004016601954746285</c:v>
                </c:pt>
                <c:pt idx="8">
                  <c:v>0.0005145356315924878</c:v>
                </c:pt>
                <c:pt idx="9">
                  <c:v>0.001135610864010599</c:v>
                </c:pt>
                <c:pt idx="10">
                  <c:v>0.001323276432446738</c:v>
                </c:pt>
                <c:pt idx="11">
                  <c:v>0.0009779951100244498</c:v>
                </c:pt>
                <c:pt idx="12">
                  <c:v>0.0012340139107022662</c:v>
                </c:pt>
                <c:pt idx="13">
                  <c:v>0.0011427384167878663</c:v>
                </c:pt>
                <c:pt idx="14">
                  <c:v>0.0012358162004269184</c:v>
                </c:pt>
                <c:pt idx="15">
                  <c:v>0.0011818933932159319</c:v>
                </c:pt>
                <c:pt idx="16">
                  <c:v>0.0012903225806451613</c:v>
                </c:pt>
                <c:pt idx="17">
                  <c:v>0.0020873474630700066</c:v>
                </c:pt>
                <c:pt idx="18">
                  <c:v>0.0024429967426710096</c:v>
                </c:pt>
                <c:pt idx="19">
                  <c:v>0.0015891934843067143</c:v>
                </c:pt>
                <c:pt idx="20">
                  <c:v>0.0022794620469569183</c:v>
                </c:pt>
                <c:pt idx="21">
                  <c:v>0.0022878535773710484</c:v>
                </c:pt>
                <c:pt idx="22">
                  <c:v>0.0035419126328217238</c:v>
                </c:pt>
                <c:pt idx="23">
                  <c:v>0.003273679615888258</c:v>
                </c:pt>
                <c:pt idx="24">
                  <c:v>0.002959309494451295</c:v>
                </c:pt>
                <c:pt idx="25">
                  <c:v>0.004326663061114116</c:v>
                </c:pt>
                <c:pt idx="26">
                  <c:v>0.0056673278549164065</c:v>
                </c:pt>
                <c:pt idx="27">
                  <c:v>0.007602153943617358</c:v>
                </c:pt>
                <c:pt idx="28">
                  <c:v>0.005808887598024978</c:v>
                </c:pt>
                <c:pt idx="29">
                  <c:v>0.005313199105145414</c:v>
                </c:pt>
                <c:pt idx="30">
                  <c:v>0.006719184430027804</c:v>
                </c:pt>
                <c:pt idx="31">
                  <c:v>0.007352941176470588</c:v>
                </c:pt>
                <c:pt idx="32">
                  <c:v>0.006654991243432574</c:v>
                </c:pt>
                <c:pt idx="33">
                  <c:v>0.006629448709002094</c:v>
                </c:pt>
                <c:pt idx="34">
                  <c:v>0.007226738934056007</c:v>
                </c:pt>
                <c:pt idx="35">
                  <c:v>0.00614304519526108</c:v>
                </c:pt>
                <c:pt idx="36">
                  <c:v>0.005332806636381592</c:v>
                </c:pt>
                <c:pt idx="37">
                  <c:v>0.00809188201513965</c:v>
                </c:pt>
                <c:pt idx="38">
                  <c:v>0.01072066706372841</c:v>
                </c:pt>
                <c:pt idx="39">
                  <c:v>0.009422492401215805</c:v>
                </c:pt>
                <c:pt idx="40">
                  <c:v>0.010651247717589775</c:v>
                </c:pt>
                <c:pt idx="41">
                  <c:v>0.007865168539325843</c:v>
                </c:pt>
                <c:pt idx="42">
                  <c:v>0.007795582503248159</c:v>
                </c:pt>
                <c:pt idx="43">
                  <c:v>0.007382710169087878</c:v>
                </c:pt>
                <c:pt idx="44">
                  <c:v>0.007853403141361256</c:v>
                </c:pt>
                <c:pt idx="45">
                  <c:v>0.010282161645145864</c:v>
                </c:pt>
                <c:pt idx="46">
                  <c:v>0.011603053435114504</c:v>
                </c:pt>
                <c:pt idx="47">
                  <c:v>0.011056076419600212</c:v>
                </c:pt>
                <c:pt idx="48">
                  <c:v>0.010124847746650427</c:v>
                </c:pt>
                <c:pt idx="49">
                  <c:v>0.007862076711405626</c:v>
                </c:pt>
                <c:pt idx="50">
                  <c:v>0.011566018423746162</c:v>
                </c:pt>
                <c:pt idx="51">
                  <c:v>0.010702243072863217</c:v>
                </c:pt>
                <c:pt idx="52">
                  <c:v>0.008641382621219395</c:v>
                </c:pt>
                <c:pt idx="53">
                  <c:v>0.007338910905621606</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7357859531772575</c:v>
                </c:pt>
                <c:pt idx="1">
                  <c:v>0.009232954545454546</c:v>
                </c:pt>
                <c:pt idx="2">
                  <c:v>0.008044856167723062</c:v>
                </c:pt>
                <c:pt idx="3">
                  <c:v>0.0093603744149766</c:v>
                </c:pt>
                <c:pt idx="4">
                  <c:v>0.008845999195818254</c:v>
                </c:pt>
                <c:pt idx="5">
                  <c:v>0.007494083618196161</c:v>
                </c:pt>
                <c:pt idx="6">
                  <c:v>0.007909735954402699</c:v>
                </c:pt>
                <c:pt idx="7">
                  <c:v>0.00966183574879227</c:v>
                </c:pt>
                <c:pt idx="8">
                  <c:v>0.012172284644194757</c:v>
                </c:pt>
                <c:pt idx="9">
                  <c:v>0.011979078791968956</c:v>
                </c:pt>
                <c:pt idx="10">
                  <c:v>0.011331910001642305</c:v>
                </c:pt>
                <c:pt idx="11">
                  <c:v>0.010759844703272323</c:v>
                </c:pt>
                <c:pt idx="12">
                  <c:v>0.0115077808290833</c:v>
                </c:pt>
                <c:pt idx="13">
                  <c:v>0.017859735733991577</c:v>
                </c:pt>
                <c:pt idx="14">
                  <c:v>0.017518939393939392</c:v>
                </c:pt>
                <c:pt idx="15">
                  <c:v>0.017283519553072627</c:v>
                </c:pt>
                <c:pt idx="16">
                  <c:v>0.016779210149375896</c:v>
                </c:pt>
                <c:pt idx="17">
                  <c:v>0.021989752348420155</c:v>
                </c:pt>
                <c:pt idx="18">
                  <c:v>0.011163895486935867</c:v>
                </c:pt>
                <c:pt idx="19">
                  <c:v>0.010779029887310143</c:v>
                </c:pt>
                <c:pt idx="20">
                  <c:v>0.01400800457404231</c:v>
                </c:pt>
                <c:pt idx="21">
                  <c:v>0.015971316818774447</c:v>
                </c:pt>
                <c:pt idx="22">
                  <c:v>0.014182058047493404</c:v>
                </c:pt>
                <c:pt idx="23">
                  <c:v>0.015442690459849005</c:v>
                </c:pt>
                <c:pt idx="24">
                  <c:v>0.013839716768587062</c:v>
                </c:pt>
                <c:pt idx="25">
                  <c:v>0.014233697451175108</c:v>
                </c:pt>
                <c:pt idx="26">
                  <c:v>0.014115432873274781</c:v>
                </c:pt>
                <c:pt idx="27">
                  <c:v>0.015054362977418455</c:v>
                </c:pt>
                <c:pt idx="28">
                  <c:v>0.011931962427011932</c:v>
                </c:pt>
                <c:pt idx="29">
                  <c:v>0.014798488664987406</c:v>
                </c:pt>
                <c:pt idx="30">
                  <c:v>0.014186633039092055</c:v>
                </c:pt>
                <c:pt idx="31">
                  <c:v>0.015146415348367553</c:v>
                </c:pt>
                <c:pt idx="32">
                  <c:v>0.012669416617560401</c:v>
                </c:pt>
                <c:pt idx="33">
                  <c:v>0.009710880600308983</c:v>
                </c:pt>
                <c:pt idx="34">
                  <c:v>0.009222202888463546</c:v>
                </c:pt>
                <c:pt idx="35">
                  <c:v>0.012630662020905924</c:v>
                </c:pt>
                <c:pt idx="36">
                  <c:v>0.015759312320916905</c:v>
                </c:pt>
                <c:pt idx="37">
                  <c:v>0.016490765171503958</c:v>
                </c:pt>
                <c:pt idx="38">
                  <c:v>0.02030075187969925</c:v>
                </c:pt>
                <c:pt idx="39">
                  <c:v>0.01862503423719529</c:v>
                </c:pt>
                <c:pt idx="40">
                  <c:v>0.016981132075471698</c:v>
                </c:pt>
                <c:pt idx="41">
                  <c:v>0.014143920595533498</c:v>
                </c:pt>
                <c:pt idx="42">
                  <c:v>0.01620699459766847</c:v>
                </c:pt>
                <c:pt idx="43">
                  <c:v>0.013080444735120994</c:v>
                </c:pt>
                <c:pt idx="44">
                  <c:v>0.009119607155384075</c:v>
                </c:pt>
                <c:pt idx="45">
                  <c:v>0.007003317360855142</c:v>
                </c:pt>
                <c:pt idx="46">
                  <c:v>0.007540190638782188</c:v>
                </c:pt>
                <c:pt idx="47">
                  <c:v>0.00681847420558343</c:v>
                </c:pt>
                <c:pt idx="48">
                  <c:v>0.007529805480025099</c:v>
                </c:pt>
                <c:pt idx="49">
                  <c:v>0.006729737637764557</c:v>
                </c:pt>
                <c:pt idx="50">
                  <c:v>0.005438343598479885</c:v>
                </c:pt>
                <c:pt idx="51">
                  <c:v>0.007210671794255498</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571.0437246492334</c:v>
                </c:pt>
              </c:numCache>
            </c:numRef>
          </c:xVal>
          <c:yVal>
            <c:numRef>
              <c:f>Sheet1!$B$112:$B$113</c:f>
              <c:numCache>
                <c:formatCode>General</c:formatCode>
                <c:ptCount val="2"/>
                <c:pt idx="0">
                  <c:v>0.014533232174756099</c:v>
                </c:pt>
                <c:pt idx="1">
                  <c:v>0.014533232174756099</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571.0437246492334</c:v>
                </c:pt>
                <c:pt idx="1">
                  <c:v>3571.0437246492334</c:v>
                </c:pt>
              </c:numCache>
            </c:numRef>
          </c:xVal>
          <c:yVal>
            <c:numRef>
              <c:f>Sheet1!$B$116:$B$117</c:f>
              <c:numCache>
                <c:formatCode>General</c:formatCode>
                <c:ptCount val="2"/>
                <c:pt idx="0">
                  <c:v>0.01453323217475609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571.0437246492334</c:v>
                </c:pt>
              </c:numCache>
            </c:numRef>
          </c:xVal>
          <c:yVal>
            <c:numRef>
              <c:f>Sheet1!$B$120:$B$121</c:f>
              <c:numCache>
                <c:formatCode>General</c:formatCode>
                <c:ptCount val="2"/>
                <c:pt idx="0">
                  <c:v>0.014533232174756099</c:v>
                </c:pt>
                <c:pt idx="1">
                  <c:v>0.014533232174756099</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571.0437246492334</c:v>
                </c:pt>
                <c:pt idx="1">
                  <c:v>3571.0437246492334</c:v>
                </c:pt>
              </c:numCache>
            </c:numRef>
          </c:xVal>
          <c:yVal>
            <c:numRef>
              <c:f>Sheet1!$B$124:$B$125</c:f>
              <c:numCache>
                <c:formatCode>General</c:formatCode>
                <c:ptCount val="2"/>
                <c:pt idx="0">
                  <c:v>0.01453323217475609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06.713664730105</c:v>
                </c:pt>
              </c:numCache>
            </c:numRef>
          </c:xVal>
          <c:yVal>
            <c:numRef>
              <c:f>Sheet1!$B$128:$B$129</c:f>
              <c:numCache>
                <c:formatCode>General</c:formatCode>
                <c:ptCount val="2"/>
                <c:pt idx="0">
                  <c:v>0.010494436470163064</c:v>
                </c:pt>
                <c:pt idx="1">
                  <c:v>0.010494436470163064</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06.713664730105</c:v>
                </c:pt>
                <c:pt idx="1">
                  <c:v>4206.713664730105</c:v>
                </c:pt>
              </c:numCache>
            </c:numRef>
          </c:xVal>
          <c:yVal>
            <c:numRef>
              <c:f>Sheet1!$B$132:$B$133</c:f>
              <c:numCache>
                <c:formatCode>General</c:formatCode>
                <c:ptCount val="2"/>
                <c:pt idx="0">
                  <c:v>0.0104944364701630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571.0437246492334</c:v>
                </c:pt>
                <c:pt idx="53">
                  <c:v>3571.0437246492334</c:v>
                </c:pt>
                <c:pt idx="54">
                  <c:v>4206.713664730105</c:v>
                </c:pt>
              </c:numCache>
            </c:numRef>
          </c:xVal>
          <c:yVal>
            <c:numRef>
              <c:f>Sheet1!$B$136:$B$190</c:f>
              <c:numCache>
                <c:formatCode>General</c:formatCode>
                <c:ptCount val="55"/>
                <c:pt idx="0">
                  <c:v>0.009072413039823726</c:v>
                </c:pt>
                <c:pt idx="1">
                  <c:v>0.013573724883399401</c:v>
                </c:pt>
                <c:pt idx="2">
                  <c:v>0.009552091155908413</c:v>
                </c:pt>
                <c:pt idx="3">
                  <c:v>0.014090610981038528</c:v>
                </c:pt>
                <c:pt idx="4">
                  <c:v>0.0087957230728275</c:v>
                </c:pt>
                <c:pt idx="5">
                  <c:v>0.006465769077854899</c:v>
                </c:pt>
                <c:pt idx="6">
                  <c:v>0.008570184708901252</c:v>
                </c:pt>
                <c:pt idx="7">
                  <c:v>0.010554458752431967</c:v>
                </c:pt>
                <c:pt idx="8">
                  <c:v>0.011350158191855659</c:v>
                </c:pt>
                <c:pt idx="9">
                  <c:v>0.011340510242675236</c:v>
                </c:pt>
                <c:pt idx="10">
                  <c:v>0.01004224763734599</c:v>
                </c:pt>
                <c:pt idx="11">
                  <c:v>0.01185667711222926</c:v>
                </c:pt>
                <c:pt idx="12">
                  <c:v>0.01304647732673924</c:v>
                </c:pt>
                <c:pt idx="13">
                  <c:v>0.015583663043574492</c:v>
                </c:pt>
                <c:pt idx="14">
                  <c:v>0.015650542360441798</c:v>
                </c:pt>
                <c:pt idx="15">
                  <c:v>0.014231424657756297</c:v>
                </c:pt>
                <c:pt idx="16">
                  <c:v>0.013430616919918998</c:v>
                </c:pt>
                <c:pt idx="17">
                  <c:v>0.018664401573560998</c:v>
                </c:pt>
                <c:pt idx="18">
                  <c:v>0.011217468869841218</c:v>
                </c:pt>
                <c:pt idx="19">
                  <c:v>0.009647443518187079</c:v>
                </c:pt>
                <c:pt idx="20">
                  <c:v>0.011102822515283196</c:v>
                </c:pt>
                <c:pt idx="21">
                  <c:v>0.013260455306382455</c:v>
                </c:pt>
                <c:pt idx="22">
                  <c:v>0.011856278105835758</c:v>
                </c:pt>
                <c:pt idx="23">
                  <c:v>0.017700146711942748</c:v>
                </c:pt>
                <c:pt idx="24">
                  <c:v>0.01190622061787576</c:v>
                </c:pt>
                <c:pt idx="25">
                  <c:v>0.013708280259200008</c:v>
                </c:pt>
                <c:pt idx="26">
                  <c:v>0.012077206293979771</c:v>
                </c:pt>
                <c:pt idx="27">
                  <c:v>0.013849556478361204</c:v>
                </c:pt>
                <c:pt idx="28">
                  <c:v>0.012887520930966675</c:v>
                </c:pt>
                <c:pt idx="29">
                  <c:v>0.014003321978855267</c:v>
                </c:pt>
                <c:pt idx="30">
                  <c:v>0.014479010031004949</c:v>
                </c:pt>
                <c:pt idx="31">
                  <c:v>0.013508179188219928</c:v>
                </c:pt>
                <c:pt idx="32">
                  <c:v>0.010420954262897048</c:v>
                </c:pt>
                <c:pt idx="33">
                  <c:v>0.00778309376888129</c:v>
                </c:pt>
                <c:pt idx="34">
                  <c:v>0.007450919040210495</c:v>
                </c:pt>
                <c:pt idx="35">
                  <c:v>0.01231884024543237</c:v>
                </c:pt>
                <c:pt idx="36">
                  <c:v>0.010382873296016702</c:v>
                </c:pt>
                <c:pt idx="37">
                  <c:v>0.010872816931687047</c:v>
                </c:pt>
                <c:pt idx="38">
                  <c:v>0.014406084623627215</c:v>
                </c:pt>
                <c:pt idx="39">
                  <c:v>0.01700095090802228</c:v>
                </c:pt>
                <c:pt idx="40">
                  <c:v>0.016726714067913484</c:v>
                </c:pt>
                <c:pt idx="41">
                  <c:v>0.015430371522012837</c:v>
                </c:pt>
                <c:pt idx="42">
                  <c:v>0.016424543603457145</c:v>
                </c:pt>
                <c:pt idx="43">
                  <c:v>0.0153170155846287</c:v>
                </c:pt>
                <c:pt idx="44">
                  <c:v>0.011346443874377308</c:v>
                </c:pt>
                <c:pt idx="45">
                  <c:v>0.010717445875211493</c:v>
                </c:pt>
                <c:pt idx="46">
                  <c:v>0.011140325304109265</c:v>
                </c:pt>
                <c:pt idx="47">
                  <c:v>0.01138140267976456</c:v>
                </c:pt>
                <c:pt idx="48">
                  <c:v>0.014247597759263559</c:v>
                </c:pt>
                <c:pt idx="49">
                  <c:v>0.013096766745611808</c:v>
                </c:pt>
                <c:pt idx="50">
                  <c:v>0.011160817586290117</c:v>
                </c:pt>
                <c:pt idx="51">
                  <c:v>0.010453542538261765</c:v>
                </c:pt>
                <c:pt idx="52">
                  <c:v>0.014533232174756099</c:v>
                </c:pt>
                <c:pt idx="53">
                  <c:v>0.014533232174756099</c:v>
                </c:pt>
                <c:pt idx="54">
                  <c:v>0.01049443647016306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638770281810418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1209814945421286</c:v>
                </c:pt>
                <c:pt idx="2">
                  <c:v>0.0</c:v>
                </c:pt>
                <c:pt idx="3">
                  <c:v>2.798953274372576</c:v>
                </c:pt>
                <c:pt idx="4">
                  <c:v>2.5763746836857626</c:v>
                </c:pt>
                <c:pt idx="5">
                  <c:v>2.0460037107017377</c:v>
                </c:pt>
                <c:pt idx="6">
                  <c:v>1.3284731300259127</c:v>
                </c:pt>
                <c:pt idx="7">
                  <c:v>1.5767919788808125</c:v>
                </c:pt>
                <c:pt idx="8">
                  <c:v>1.9985821345707657</c:v>
                </c:pt>
                <c:pt idx="9">
                  <c:v>1.6125770157902573</c:v>
                </c:pt>
                <c:pt idx="10">
                  <c:v>1.354866871871683</c:v>
                </c:pt>
                <c:pt idx="11">
                  <c:v>1.5531946508172363</c:v>
                </c:pt>
                <c:pt idx="12">
                  <c:v>1.3991886876058186</c:v>
                </c:pt>
                <c:pt idx="13">
                  <c:v>1.4641663769105757</c:v>
                </c:pt>
                <c:pt idx="14">
                  <c:v>1.0793537112729648</c:v>
                </c:pt>
                <c:pt idx="15">
                  <c:v>1.0184439739506632</c:v>
                </c:pt>
                <c:pt idx="16">
                  <c:v>0.9987160224013113</c:v>
                </c:pt>
                <c:pt idx="17">
                  <c:v>0.8574299852005509</c:v>
                </c:pt>
                <c:pt idx="18">
                  <c:v>0.45678491770588686</c:v>
                </c:pt>
                <c:pt idx="19">
                  <c:v>0.7088713747772373</c:v>
                </c:pt>
                <c:pt idx="20">
                  <c:v>0.6224699828473413</c:v>
                </c:pt>
                <c:pt idx="21">
                  <c:v>0.5274727142832634</c:v>
                </c:pt>
                <c:pt idx="22">
                  <c:v>0.3356142774735612</c:v>
                </c:pt>
                <c:pt idx="23">
                  <c:v>0.2344848145556333</c:v>
                </c:pt>
                <c:pt idx="24">
                  <c:v>1.690613515378549</c:v>
                </c:pt>
                <c:pt idx="25">
                  <c:v>1.6233578631779777</c:v>
                </c:pt>
                <c:pt idx="26">
                  <c:v>1.1994947848761408</c:v>
                </c:pt>
                <c:pt idx="27">
                  <c:v>1.1016895837482574</c:v>
                </c:pt>
                <c:pt idx="28">
                  <c:v>1.909931773018717</c:v>
                </c:pt>
                <c:pt idx="29">
                  <c:v>1.6064217799025753</c:v>
                </c:pt>
                <c:pt idx="30">
                  <c:v>2.0827511313338922</c:v>
                </c:pt>
                <c:pt idx="31">
                  <c:v>1.993916167050695</c:v>
                </c:pt>
                <c:pt idx="32">
                  <c:v>2.1794739373031065</c:v>
                </c:pt>
                <c:pt idx="33">
                  <c:v>1.256988762826998</c:v>
                </c:pt>
                <c:pt idx="34">
                  <c:v>1.1281792716170123</c:v>
                </c:pt>
                <c:pt idx="35">
                  <c:v>1.2488470553590105</c:v>
                </c:pt>
                <c:pt idx="36">
                  <c:v>1.7601851489413989</c:v>
                </c:pt>
                <c:pt idx="37">
                  <c:v>1.7285664699757028</c:v>
                </c:pt>
                <c:pt idx="38">
                  <c:v>1.5815277209152778</c:v>
                </c:pt>
                <c:pt idx="39">
                  <c:v>2.0909448684295113</c:v>
                </c:pt>
                <c:pt idx="40">
                  <c:v>1.8906707755819647</c:v>
                </c:pt>
                <c:pt idx="41">
                  <c:v>2.3636123955030266</c:v>
                </c:pt>
                <c:pt idx="42">
                  <c:v>1.8393532950022113</c:v>
                </c:pt>
                <c:pt idx="43">
                  <c:v>2.0349577593407204</c:v>
                </c:pt>
                <c:pt idx="44">
                  <c:v>1.942598809652635</c:v>
                </c:pt>
                <c:pt idx="45">
                  <c:v>1.1700795562906143</c:v>
                </c:pt>
                <c:pt idx="46">
                  <c:v>1.3276396042263223</c:v>
                </c:pt>
                <c:pt idx="47">
                  <c:v>1.1981933256616801</c:v>
                </c:pt>
                <c:pt idx="48">
                  <c:v>1.471596726190476</c:v>
                </c:pt>
                <c:pt idx="49">
                  <c:v>1.3156069245751898</c:v>
                </c:pt>
                <c:pt idx="50">
                  <c:v>1.2975911482403129</c:v>
                </c:pt>
                <c:pt idx="51">
                  <c:v>1.4251818686606945</c:v>
                </c:pt>
                <c:pt idx="52">
                  <c:v>1.3533770470065638</c:v>
                </c:pt>
                <c:pt idx="53">
                  <c:v>1.8034539310830957</c:v>
                </c:pt>
              </c:numCache>
            </c:numRef>
          </c:xVal>
          <c:yVal>
            <c:numRef>
              <c:f>Sheet1!$B$2:$B$55</c:f>
              <c:numCache>
                <c:formatCode>General</c:formatCode>
                <c:ptCount val="54"/>
                <c:pt idx="0">
                  <c:v>0.0</c:v>
                </c:pt>
                <c:pt idx="1">
                  <c:v>0.00011127183709803049</c:v>
                </c:pt>
                <c:pt idx="2">
                  <c:v>0.0</c:v>
                </c:pt>
                <c:pt idx="3">
                  <c:v>0.00016020506247997436</c:v>
                </c:pt>
                <c:pt idx="4">
                  <c:v>0.00016223231667748214</c:v>
                </c:pt>
                <c:pt idx="5">
                  <c:v>0.0003518648838845883</c:v>
                </c:pt>
                <c:pt idx="6">
                  <c:v>0.0002979737783075089</c:v>
                </c:pt>
                <c:pt idx="7">
                  <c:v>0.0004016601954746285</c:v>
                </c:pt>
                <c:pt idx="8">
                  <c:v>0.0005145356315924878</c:v>
                </c:pt>
                <c:pt idx="9">
                  <c:v>0.001135610864010599</c:v>
                </c:pt>
                <c:pt idx="10">
                  <c:v>0.001323276432446738</c:v>
                </c:pt>
                <c:pt idx="11">
                  <c:v>0.0009779951100244498</c:v>
                </c:pt>
                <c:pt idx="12">
                  <c:v>0.0012340139107022662</c:v>
                </c:pt>
                <c:pt idx="13">
                  <c:v>0.0011427384167878663</c:v>
                </c:pt>
                <c:pt idx="14">
                  <c:v>0.0012358162004269184</c:v>
                </c:pt>
                <c:pt idx="15">
                  <c:v>0.0011818933932159319</c:v>
                </c:pt>
                <c:pt idx="16">
                  <c:v>0.0012903225806451613</c:v>
                </c:pt>
                <c:pt idx="17">
                  <c:v>0.0020873474630700066</c:v>
                </c:pt>
                <c:pt idx="18">
                  <c:v>0.0024429967426710096</c:v>
                </c:pt>
                <c:pt idx="19">
                  <c:v>0.0015891934843067143</c:v>
                </c:pt>
                <c:pt idx="20">
                  <c:v>0.0022794620469569183</c:v>
                </c:pt>
                <c:pt idx="21">
                  <c:v>0.0022878535773710484</c:v>
                </c:pt>
                <c:pt idx="22">
                  <c:v>0.0035419126328217238</c:v>
                </c:pt>
                <c:pt idx="23">
                  <c:v>0.003273679615888258</c:v>
                </c:pt>
                <c:pt idx="24">
                  <c:v>0.002959309494451295</c:v>
                </c:pt>
                <c:pt idx="25">
                  <c:v>0.004326663061114116</c:v>
                </c:pt>
                <c:pt idx="26">
                  <c:v>0.0056673278549164065</c:v>
                </c:pt>
                <c:pt idx="27">
                  <c:v>0.007602153943617358</c:v>
                </c:pt>
                <c:pt idx="28">
                  <c:v>0.005808887598024978</c:v>
                </c:pt>
                <c:pt idx="29">
                  <c:v>0.005313199105145414</c:v>
                </c:pt>
                <c:pt idx="30">
                  <c:v>0.006719184430027804</c:v>
                </c:pt>
                <c:pt idx="31">
                  <c:v>0.007352941176470588</c:v>
                </c:pt>
                <c:pt idx="32">
                  <c:v>0.006654991243432574</c:v>
                </c:pt>
                <c:pt idx="33">
                  <c:v>0.006629448709002094</c:v>
                </c:pt>
                <c:pt idx="34">
                  <c:v>0.007226738934056007</c:v>
                </c:pt>
                <c:pt idx="35">
                  <c:v>0.00614304519526108</c:v>
                </c:pt>
                <c:pt idx="36">
                  <c:v>0.005332806636381592</c:v>
                </c:pt>
                <c:pt idx="37">
                  <c:v>0.00809188201513965</c:v>
                </c:pt>
                <c:pt idx="38">
                  <c:v>0.01072066706372841</c:v>
                </c:pt>
                <c:pt idx="39">
                  <c:v>0.009422492401215805</c:v>
                </c:pt>
                <c:pt idx="40">
                  <c:v>0.010651247717589775</c:v>
                </c:pt>
                <c:pt idx="41">
                  <c:v>0.007865168539325843</c:v>
                </c:pt>
                <c:pt idx="42">
                  <c:v>0.007795582503248159</c:v>
                </c:pt>
                <c:pt idx="43">
                  <c:v>0.007382710169087878</c:v>
                </c:pt>
                <c:pt idx="44">
                  <c:v>0.007853403141361256</c:v>
                </c:pt>
                <c:pt idx="45">
                  <c:v>0.010282161645145864</c:v>
                </c:pt>
                <c:pt idx="46">
                  <c:v>0.011603053435114504</c:v>
                </c:pt>
                <c:pt idx="47">
                  <c:v>0.011056076419600212</c:v>
                </c:pt>
                <c:pt idx="48">
                  <c:v>0.010124847746650427</c:v>
                </c:pt>
                <c:pt idx="49">
                  <c:v>0.007862076711405626</c:v>
                </c:pt>
                <c:pt idx="50">
                  <c:v>0.011566018423746162</c:v>
                </c:pt>
                <c:pt idx="51">
                  <c:v>0.010702243072863217</c:v>
                </c:pt>
                <c:pt idx="52">
                  <c:v>0.008641382621219395</c:v>
                </c:pt>
                <c:pt idx="53">
                  <c:v>0.007338910905621606</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1.995733018018018</c:v>
                </c:pt>
                <c:pt idx="1">
                  <c:v>1.646201459531181</c:v>
                </c:pt>
                <c:pt idx="2">
                  <c:v>1.762966243135359</c:v>
                </c:pt>
                <c:pt idx="3">
                  <c:v>1.395870063645426</c:v>
                </c:pt>
                <c:pt idx="4">
                  <c:v>2.891078679108304</c:v>
                </c:pt>
                <c:pt idx="5">
                  <c:v>1.855182509647196</c:v>
                </c:pt>
                <c:pt idx="6">
                  <c:v>1.3781262128504852</c:v>
                </c:pt>
                <c:pt idx="7">
                  <c:v>1.034446506469501</c:v>
                </c:pt>
                <c:pt idx="8">
                  <c:v>1.1036310678143366</c:v>
                </c:pt>
                <c:pt idx="9">
                  <c:v>1.7789978600751157</c:v>
                </c:pt>
                <c:pt idx="10">
                  <c:v>1.8944058027248385</c:v>
                </c:pt>
                <c:pt idx="11">
                  <c:v>2.0183565722952475</c:v>
                </c:pt>
                <c:pt idx="12">
                  <c:v>1.1483463105477592</c:v>
                </c:pt>
                <c:pt idx="13">
                  <c:v>1.3430233903953026</c:v>
                </c:pt>
                <c:pt idx="14">
                  <c:v>1.5794842431617027</c:v>
                </c:pt>
                <c:pt idx="15">
                  <c:v>1.629404571677545</c:v>
                </c:pt>
                <c:pt idx="16">
                  <c:v>0.9980903311787832</c:v>
                </c:pt>
                <c:pt idx="17">
                  <c:v>1.276123953631748</c:v>
                </c:pt>
                <c:pt idx="18">
                  <c:v>1.537187298129648</c:v>
                </c:pt>
                <c:pt idx="19">
                  <c:v>1.0012356197997878</c:v>
                </c:pt>
                <c:pt idx="20">
                  <c:v>1.5325675514464658</c:v>
                </c:pt>
                <c:pt idx="21">
                  <c:v>1.183545363251216</c:v>
                </c:pt>
                <c:pt idx="22">
                  <c:v>1.034918879850351</c:v>
                </c:pt>
                <c:pt idx="23">
                  <c:v>0.5611713171872111</c:v>
                </c:pt>
                <c:pt idx="24">
                  <c:v>0.8163309977463634</c:v>
                </c:pt>
                <c:pt idx="25">
                  <c:v>0.8956098251557868</c:v>
                </c:pt>
                <c:pt idx="26">
                  <c:v>1.2935024186168127</c:v>
                </c:pt>
                <c:pt idx="27">
                  <c:v>1.301178349334689</c:v>
                </c:pt>
                <c:pt idx="28">
                  <c:v>1.5437580814187828</c:v>
                </c:pt>
                <c:pt idx="29">
                  <c:v>1.5594877380531131</c:v>
                </c:pt>
                <c:pt idx="30">
                  <c:v>1.304629722095672</c:v>
                </c:pt>
                <c:pt idx="31">
                  <c:v>2.457775451073357</c:v>
                </c:pt>
                <c:pt idx="32">
                  <c:v>1.60116876067565</c:v>
                </c:pt>
                <c:pt idx="33">
                  <c:v>2.000541643279651</c:v>
                </c:pt>
                <c:pt idx="34">
                  <c:v>2.54360031586718</c:v>
                </c:pt>
                <c:pt idx="35">
                  <c:v>2.3002165492957745</c:v>
                </c:pt>
                <c:pt idx="36">
                  <c:v>1.697858802250804</c:v>
                </c:pt>
                <c:pt idx="37">
                  <c:v>1.6845363337259838</c:v>
                </c:pt>
                <c:pt idx="38">
                  <c:v>1.3776931642847</c:v>
                </c:pt>
                <c:pt idx="39">
                  <c:v>1.415348526306722</c:v>
                </c:pt>
                <c:pt idx="40">
                  <c:v>1.327129507307604</c:v>
                </c:pt>
                <c:pt idx="41">
                  <c:v>1.496876120117488</c:v>
                </c:pt>
                <c:pt idx="42">
                  <c:v>1.1654700787752013</c:v>
                </c:pt>
                <c:pt idx="43">
                  <c:v>1.5900764671970484</c:v>
                </c:pt>
                <c:pt idx="44">
                  <c:v>1.7126221194280908</c:v>
                </c:pt>
                <c:pt idx="45">
                  <c:v>1.8572837436616887</c:v>
                </c:pt>
                <c:pt idx="46">
                  <c:v>1.4143987528930604</c:v>
                </c:pt>
                <c:pt idx="47">
                  <c:v>1.974532204976469</c:v>
                </c:pt>
                <c:pt idx="48">
                  <c:v>2.4517747567549244</c:v>
                </c:pt>
                <c:pt idx="49">
                  <c:v>1.4139140074148808</c:v>
                </c:pt>
                <c:pt idx="50">
                  <c:v>2.1631279103493735</c:v>
                </c:pt>
                <c:pt idx="51">
                  <c:v>2.435595307844991</c:v>
                </c:pt>
              </c:numCache>
            </c:numRef>
          </c:xVal>
          <c:yVal>
            <c:numRef>
              <c:f>Sheet1!$B$58:$B$109</c:f>
              <c:numCache>
                <c:formatCode>General</c:formatCode>
                <c:ptCount val="52"/>
                <c:pt idx="0">
                  <c:v>0.007357859531772575</c:v>
                </c:pt>
                <c:pt idx="1">
                  <c:v>0.009232954545454546</c:v>
                </c:pt>
                <c:pt idx="2">
                  <c:v>0.008044856167723062</c:v>
                </c:pt>
                <c:pt idx="3">
                  <c:v>0.0093603744149766</c:v>
                </c:pt>
                <c:pt idx="4">
                  <c:v>0.008845999195818254</c:v>
                </c:pt>
                <c:pt idx="5">
                  <c:v>0.007494083618196161</c:v>
                </c:pt>
                <c:pt idx="6">
                  <c:v>0.007909735954402699</c:v>
                </c:pt>
                <c:pt idx="7">
                  <c:v>0.00966183574879227</c:v>
                </c:pt>
                <c:pt idx="8">
                  <c:v>0.012172284644194757</c:v>
                </c:pt>
                <c:pt idx="9">
                  <c:v>0.011979078791968956</c:v>
                </c:pt>
                <c:pt idx="10">
                  <c:v>0.011331910001642305</c:v>
                </c:pt>
                <c:pt idx="11">
                  <c:v>0.010759844703272323</c:v>
                </c:pt>
                <c:pt idx="12">
                  <c:v>0.0115077808290833</c:v>
                </c:pt>
                <c:pt idx="13">
                  <c:v>0.017859735733991577</c:v>
                </c:pt>
                <c:pt idx="14">
                  <c:v>0.017518939393939392</c:v>
                </c:pt>
                <c:pt idx="15">
                  <c:v>0.017283519553072627</c:v>
                </c:pt>
                <c:pt idx="16">
                  <c:v>0.016779210149375896</c:v>
                </c:pt>
                <c:pt idx="17">
                  <c:v>0.021989752348420155</c:v>
                </c:pt>
                <c:pt idx="18">
                  <c:v>0.011163895486935867</c:v>
                </c:pt>
                <c:pt idx="19">
                  <c:v>0.010779029887310143</c:v>
                </c:pt>
                <c:pt idx="20">
                  <c:v>0.01400800457404231</c:v>
                </c:pt>
                <c:pt idx="21">
                  <c:v>0.015971316818774447</c:v>
                </c:pt>
                <c:pt idx="22">
                  <c:v>0.014182058047493404</c:v>
                </c:pt>
                <c:pt idx="23">
                  <c:v>0.015442690459849005</c:v>
                </c:pt>
                <c:pt idx="24">
                  <c:v>0.013839716768587062</c:v>
                </c:pt>
                <c:pt idx="25">
                  <c:v>0.014233697451175108</c:v>
                </c:pt>
                <c:pt idx="26">
                  <c:v>0.014115432873274781</c:v>
                </c:pt>
                <c:pt idx="27">
                  <c:v>0.015054362977418455</c:v>
                </c:pt>
                <c:pt idx="28">
                  <c:v>0.011931962427011932</c:v>
                </c:pt>
                <c:pt idx="29">
                  <c:v>0.014798488664987406</c:v>
                </c:pt>
                <c:pt idx="30">
                  <c:v>0.014186633039092055</c:v>
                </c:pt>
                <c:pt idx="31">
                  <c:v>0.015146415348367553</c:v>
                </c:pt>
                <c:pt idx="32">
                  <c:v>0.012669416617560401</c:v>
                </c:pt>
                <c:pt idx="33">
                  <c:v>0.009710880600308983</c:v>
                </c:pt>
                <c:pt idx="34">
                  <c:v>0.009222202888463546</c:v>
                </c:pt>
                <c:pt idx="35">
                  <c:v>0.012630662020905924</c:v>
                </c:pt>
                <c:pt idx="36">
                  <c:v>0.015759312320916905</c:v>
                </c:pt>
                <c:pt idx="37">
                  <c:v>0.016490765171503958</c:v>
                </c:pt>
                <c:pt idx="38">
                  <c:v>0.02030075187969925</c:v>
                </c:pt>
                <c:pt idx="39">
                  <c:v>0.01862503423719529</c:v>
                </c:pt>
                <c:pt idx="40">
                  <c:v>0.016981132075471698</c:v>
                </c:pt>
                <c:pt idx="41">
                  <c:v>0.014143920595533498</c:v>
                </c:pt>
                <c:pt idx="42">
                  <c:v>0.01620699459766847</c:v>
                </c:pt>
                <c:pt idx="43">
                  <c:v>0.013080444735120994</c:v>
                </c:pt>
                <c:pt idx="44">
                  <c:v>0.009119607155384075</c:v>
                </c:pt>
                <c:pt idx="45">
                  <c:v>0.007003317360855142</c:v>
                </c:pt>
                <c:pt idx="46">
                  <c:v>0.007540190638782188</c:v>
                </c:pt>
                <c:pt idx="47">
                  <c:v>0.00681847420558343</c:v>
                </c:pt>
                <c:pt idx="48">
                  <c:v>0.007529805480025099</c:v>
                </c:pt>
                <c:pt idx="49">
                  <c:v>0.006729737637764557</c:v>
                </c:pt>
                <c:pt idx="50">
                  <c:v>0.005438343598479885</c:v>
                </c:pt>
                <c:pt idx="51">
                  <c:v>0.007210671794255498</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1.016099804281328</c:v>
                </c:pt>
              </c:numCache>
            </c:numRef>
          </c:xVal>
          <c:yVal>
            <c:numRef>
              <c:f>Sheet1!$B$112:$B$113</c:f>
              <c:numCache>
                <c:formatCode>General</c:formatCode>
                <c:ptCount val="2"/>
                <c:pt idx="0">
                  <c:v>0.014533232174756099</c:v>
                </c:pt>
                <c:pt idx="1">
                  <c:v>0.014533232174756099</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1.016099804281328</c:v>
                </c:pt>
                <c:pt idx="1">
                  <c:v>1.016099804281328</c:v>
                </c:pt>
              </c:numCache>
            </c:numRef>
          </c:xVal>
          <c:yVal>
            <c:numRef>
              <c:f>Sheet1!$B$116:$B$117</c:f>
              <c:numCache>
                <c:formatCode>General</c:formatCode>
                <c:ptCount val="2"/>
                <c:pt idx="0">
                  <c:v>0.01453323217475609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1.016099804281328</c:v>
                </c:pt>
              </c:numCache>
            </c:numRef>
          </c:xVal>
          <c:yVal>
            <c:numRef>
              <c:f>Sheet1!$B$120:$B$121</c:f>
              <c:numCache>
                <c:formatCode>General</c:formatCode>
                <c:ptCount val="2"/>
                <c:pt idx="0">
                  <c:v>0.014533232174756099</c:v>
                </c:pt>
                <c:pt idx="1">
                  <c:v>0.014533232174756099</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1.016099804281328</c:v>
                </c:pt>
                <c:pt idx="1">
                  <c:v>1.016099804281328</c:v>
                </c:pt>
              </c:numCache>
            </c:numRef>
          </c:xVal>
          <c:yVal>
            <c:numRef>
              <c:f>Sheet1!$B$124:$B$125</c:f>
              <c:numCache>
                <c:formatCode>General</c:formatCode>
                <c:ptCount val="2"/>
                <c:pt idx="0">
                  <c:v>0.01453323217475609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2.095041422592847</c:v>
                </c:pt>
              </c:numCache>
            </c:numRef>
          </c:xVal>
          <c:yVal>
            <c:numRef>
              <c:f>Sheet1!$B$128:$B$129</c:f>
              <c:numCache>
                <c:formatCode>General</c:formatCode>
                <c:ptCount val="2"/>
                <c:pt idx="0">
                  <c:v>0.010494436470163064</c:v>
                </c:pt>
                <c:pt idx="1">
                  <c:v>0.010494436470163064</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2.095041422592847</c:v>
                </c:pt>
                <c:pt idx="1">
                  <c:v>2.095041422592847</c:v>
                </c:pt>
              </c:numCache>
            </c:numRef>
          </c:xVal>
          <c:yVal>
            <c:numRef>
              <c:f>Sheet1!$B$132:$B$133</c:f>
              <c:numCache>
                <c:formatCode>General</c:formatCode>
                <c:ptCount val="2"/>
                <c:pt idx="0">
                  <c:v>0.0104944364701630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1.995733018018018</c:v>
                </c:pt>
                <c:pt idx="1">
                  <c:v>1.646201459531181</c:v>
                </c:pt>
                <c:pt idx="2">
                  <c:v>1.762966243135359</c:v>
                </c:pt>
                <c:pt idx="3">
                  <c:v>1.395870063645426</c:v>
                </c:pt>
                <c:pt idx="4">
                  <c:v>2.891078679108304</c:v>
                </c:pt>
                <c:pt idx="5">
                  <c:v>1.855182509647196</c:v>
                </c:pt>
                <c:pt idx="6">
                  <c:v>1.3781262128504852</c:v>
                </c:pt>
                <c:pt idx="7">
                  <c:v>1.034446506469501</c:v>
                </c:pt>
                <c:pt idx="8">
                  <c:v>1.1036310678143366</c:v>
                </c:pt>
                <c:pt idx="9">
                  <c:v>1.7789978600751157</c:v>
                </c:pt>
                <c:pt idx="10">
                  <c:v>1.8944058027248385</c:v>
                </c:pt>
                <c:pt idx="11">
                  <c:v>2.0183565722952475</c:v>
                </c:pt>
                <c:pt idx="12">
                  <c:v>1.1483463105477592</c:v>
                </c:pt>
                <c:pt idx="13">
                  <c:v>1.3430233903953026</c:v>
                </c:pt>
                <c:pt idx="14">
                  <c:v>1.5794842431617027</c:v>
                </c:pt>
                <c:pt idx="15">
                  <c:v>1.629404571677545</c:v>
                </c:pt>
                <c:pt idx="16">
                  <c:v>0.9980903311787832</c:v>
                </c:pt>
                <c:pt idx="17">
                  <c:v>1.276123953631748</c:v>
                </c:pt>
                <c:pt idx="18">
                  <c:v>1.537187298129648</c:v>
                </c:pt>
                <c:pt idx="19">
                  <c:v>1.0012356197997878</c:v>
                </c:pt>
                <c:pt idx="20">
                  <c:v>1.5325675514464658</c:v>
                </c:pt>
                <c:pt idx="21">
                  <c:v>1.183545363251216</c:v>
                </c:pt>
                <c:pt idx="22">
                  <c:v>1.034918879850351</c:v>
                </c:pt>
                <c:pt idx="23">
                  <c:v>0.5611713171872111</c:v>
                </c:pt>
                <c:pt idx="24">
                  <c:v>0.8163309977463634</c:v>
                </c:pt>
                <c:pt idx="25">
                  <c:v>0.8956098251557868</c:v>
                </c:pt>
                <c:pt idx="26">
                  <c:v>1.2935024186168127</c:v>
                </c:pt>
                <c:pt idx="27">
                  <c:v>1.301178349334689</c:v>
                </c:pt>
                <c:pt idx="28">
                  <c:v>1.5437580814187828</c:v>
                </c:pt>
                <c:pt idx="29">
                  <c:v>1.5594877380531131</c:v>
                </c:pt>
                <c:pt idx="30">
                  <c:v>1.304629722095672</c:v>
                </c:pt>
                <c:pt idx="31">
                  <c:v>2.457775451073357</c:v>
                </c:pt>
                <c:pt idx="32">
                  <c:v>1.60116876067565</c:v>
                </c:pt>
                <c:pt idx="33">
                  <c:v>2.000541643279651</c:v>
                </c:pt>
                <c:pt idx="34">
                  <c:v>2.54360031586718</c:v>
                </c:pt>
                <c:pt idx="35">
                  <c:v>2.3002165492957745</c:v>
                </c:pt>
                <c:pt idx="36">
                  <c:v>1.697858802250804</c:v>
                </c:pt>
                <c:pt idx="37">
                  <c:v>1.6845363337259838</c:v>
                </c:pt>
                <c:pt idx="38">
                  <c:v>1.3776931642847</c:v>
                </c:pt>
                <c:pt idx="39">
                  <c:v>1.415348526306722</c:v>
                </c:pt>
                <c:pt idx="40">
                  <c:v>1.327129507307604</c:v>
                </c:pt>
                <c:pt idx="41">
                  <c:v>1.496876120117488</c:v>
                </c:pt>
                <c:pt idx="42">
                  <c:v>1.1654700787752013</c:v>
                </c:pt>
                <c:pt idx="43">
                  <c:v>1.5900764671970484</c:v>
                </c:pt>
                <c:pt idx="44">
                  <c:v>1.7126221194280908</c:v>
                </c:pt>
                <c:pt idx="45">
                  <c:v>1.8572837436616887</c:v>
                </c:pt>
                <c:pt idx="46">
                  <c:v>1.4143987528930604</c:v>
                </c:pt>
                <c:pt idx="47">
                  <c:v>1.974532204976469</c:v>
                </c:pt>
                <c:pt idx="48">
                  <c:v>2.4517747567549244</c:v>
                </c:pt>
                <c:pt idx="49">
                  <c:v>1.4139140074148808</c:v>
                </c:pt>
                <c:pt idx="50">
                  <c:v>2.1631279103493735</c:v>
                </c:pt>
                <c:pt idx="51">
                  <c:v>2.435595307844991</c:v>
                </c:pt>
                <c:pt idx="52">
                  <c:v>1.016099804281328</c:v>
                </c:pt>
                <c:pt idx="53">
                  <c:v>1.016099804281328</c:v>
                </c:pt>
                <c:pt idx="54">
                  <c:v>2.095041422592847</c:v>
                </c:pt>
              </c:numCache>
            </c:numRef>
          </c:xVal>
          <c:yVal>
            <c:numRef>
              <c:f>Sheet1!$B$136:$B$190</c:f>
              <c:numCache>
                <c:formatCode>General</c:formatCode>
                <c:ptCount val="55"/>
                <c:pt idx="0">
                  <c:v>0.01086617702685276</c:v>
                </c:pt>
                <c:pt idx="1">
                  <c:v>0.012174576418513595</c:v>
                </c:pt>
                <c:pt idx="2">
                  <c:v>0.011737491502643634</c:v>
                </c:pt>
                <c:pt idx="3">
                  <c:v>0.013111640435017453</c:v>
                </c:pt>
                <c:pt idx="4">
                  <c:v>0.007514634970484156</c:v>
                </c:pt>
                <c:pt idx="5">
                  <c:v>0.011392298903933368</c:v>
                </c:pt>
                <c:pt idx="6">
                  <c:v>0.013178060885537933</c:v>
                </c:pt>
                <c:pt idx="7">
                  <c:v>0.014464555074222151</c:v>
                </c:pt>
                <c:pt idx="8">
                  <c:v>0.014205576919666434</c:v>
                </c:pt>
                <c:pt idx="9">
                  <c:v>0.011677480446869087</c:v>
                </c:pt>
                <c:pt idx="10">
                  <c:v>0.011245474585626056</c:v>
                </c:pt>
                <c:pt idx="11">
                  <c:v>0.010781490411481956</c:v>
                </c:pt>
                <c:pt idx="12">
                  <c:v>0.014038194619070594</c:v>
                </c:pt>
                <c:pt idx="13">
                  <c:v>0.013309461070816679</c:v>
                </c:pt>
                <c:pt idx="14">
                  <c:v>0.012424318575385009</c:v>
                </c:pt>
                <c:pt idx="15">
                  <c:v>0.0122374521083215</c:v>
                </c:pt>
                <c:pt idx="16">
                  <c:v>0.014600646927671433</c:v>
                </c:pt>
                <c:pt idx="17">
                  <c:v>0.013559885332199028</c:v>
                </c:pt>
                <c:pt idx="18">
                  <c:v>0.012582648476663825</c:v>
                </c:pt>
                <c:pt idx="19">
                  <c:v>0.01458887318759447</c:v>
                </c:pt>
                <c:pt idx="20">
                  <c:v>0.012599941546783358</c:v>
                </c:pt>
                <c:pt idx="21">
                  <c:v>0.013906434215679222</c:v>
                </c:pt>
                <c:pt idx="22">
                  <c:v>0.014462786841771793</c:v>
                </c:pt>
                <c:pt idx="23">
                  <c:v>0.016236163258690088</c:v>
                </c:pt>
                <c:pt idx="24">
                  <c:v>0.015281025553055591</c:v>
                </c:pt>
                <c:pt idx="25">
                  <c:v>0.014984261592733594</c:v>
                </c:pt>
                <c:pt idx="26">
                  <c:v>0.013494832628194578</c:v>
                </c:pt>
                <c:pt idx="27">
                  <c:v>0.013466099362662912</c:v>
                </c:pt>
                <c:pt idx="28">
                  <c:v>0.012558052102890146</c:v>
                </c:pt>
                <c:pt idx="29">
                  <c:v>0.012499171373320295</c:v>
                </c:pt>
                <c:pt idx="30">
                  <c:v>0.013453179859656047</c:v>
                </c:pt>
                <c:pt idx="31">
                  <c:v>0.009136616351564372</c:v>
                </c:pt>
                <c:pt idx="32">
                  <c:v>0.012343147050712006</c:v>
                </c:pt>
                <c:pt idx="33">
                  <c:v>0.01084817692868056</c:v>
                </c:pt>
                <c:pt idx="34">
                  <c:v>0.008815348648665835</c:v>
                </c:pt>
                <c:pt idx="35">
                  <c:v>0.009726405645924472</c:v>
                </c:pt>
                <c:pt idx="36">
                  <c:v>0.01198120779657351</c:v>
                </c:pt>
                <c:pt idx="37">
                  <c:v>0.012031077713295068</c:v>
                </c:pt>
                <c:pt idx="38">
                  <c:v>0.013179681913643337</c:v>
                </c:pt>
                <c:pt idx="39">
                  <c:v>0.013038726822275708</c:v>
                </c:pt>
                <c:pt idx="40">
                  <c:v>0.013368956548286867</c:v>
                </c:pt>
                <c:pt idx="41">
                  <c:v>0.012733545068137776</c:v>
                </c:pt>
                <c:pt idx="42">
                  <c:v>0.013974095319915121</c:v>
                </c:pt>
                <c:pt idx="43">
                  <c:v>0.012384668766526037</c:v>
                </c:pt>
                <c:pt idx="44">
                  <c:v>0.011925944359711668</c:v>
                </c:pt>
                <c:pt idx="45">
                  <c:v>0.011384433367218453</c:v>
                </c:pt>
                <c:pt idx="46">
                  <c:v>0.013042282103412638</c:v>
                </c:pt>
                <c:pt idx="47">
                  <c:v>0.010945537903468205</c:v>
                </c:pt>
                <c:pt idx="48">
                  <c:v>0.009159078714704824</c:v>
                </c:pt>
                <c:pt idx="49">
                  <c:v>0.013044096648260912</c:v>
                </c:pt>
                <c:pt idx="50">
                  <c:v>0.010239568727900767</c:v>
                </c:pt>
                <c:pt idx="51">
                  <c:v>0.009219643149008864</c:v>
                </c:pt>
                <c:pt idx="52">
                  <c:v>0.014533232174756099</c:v>
                </c:pt>
                <c:pt idx="53">
                  <c:v>0.014533232174756099</c:v>
                </c:pt>
                <c:pt idx="54">
                  <c:v>0.01049443647016306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638770281810418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0.6593630241965018</c:v>
                </c:pt>
                <c:pt idx="1">
                  <c:v>1.1518680100516847</c:v>
                </c:pt>
                <c:pt idx="2">
                  <c:v>1.1546220866287324</c:v>
                </c:pt>
                <c:pt idx="3">
                  <c:v>1.3897784203487513</c:v>
                </c:pt>
                <c:pt idx="4">
                  <c:v>1.062298922307349</c:v>
                </c:pt>
                <c:pt idx="5">
                  <c:v>0.8123726862375293</c:v>
                </c:pt>
                <c:pt idx="6">
                  <c:v>1.070433805591621</c:v>
                </c:pt>
                <c:pt idx="7">
                  <c:v>0.6456259301125604</c:v>
                </c:pt>
                <c:pt idx="8">
                  <c:v>0.9458313208929685</c:v>
                </c:pt>
                <c:pt idx="9">
                  <c:v>0.8902207923846459</c:v>
                </c:pt>
                <c:pt idx="10">
                  <c:v>1.3330064878525578</c:v>
                </c:pt>
                <c:pt idx="11">
                  <c:v>0.8700561353340357</c:v>
                </c:pt>
                <c:pt idx="12">
                  <c:v>1.1797804436674029</c:v>
                </c:pt>
                <c:pt idx="13">
                  <c:v>1.0367398851254452</c:v>
                </c:pt>
                <c:pt idx="14">
                  <c:v>1.1432710966819306</c:v>
                </c:pt>
                <c:pt idx="15">
                  <c:v>0.7000795414363356</c:v>
                </c:pt>
                <c:pt idx="16">
                  <c:v>0.3857111854004411</c:v>
                </c:pt>
                <c:pt idx="17">
                  <c:v>0.7667267103222597</c:v>
                </c:pt>
                <c:pt idx="18">
                  <c:v>0.6019525366986681</c:v>
                </c:pt>
                <c:pt idx="19">
                  <c:v>0.6356418420338333</c:v>
                </c:pt>
                <c:pt idx="20">
                  <c:v>0.5336404509977409</c:v>
                </c:pt>
                <c:pt idx="21">
                  <c:v>0.6592042834973055</c:v>
                </c:pt>
                <c:pt idx="22">
                  <c:v>0.9895200460054941</c:v>
                </c:pt>
                <c:pt idx="23">
                  <c:v>0.7531117349171879</c:v>
                </c:pt>
                <c:pt idx="24">
                  <c:v>0.5617562796757503</c:v>
                </c:pt>
                <c:pt idx="25">
                  <c:v>0.9567362784886525</c:v>
                </c:pt>
                <c:pt idx="26">
                  <c:v>1.11820753557372</c:v>
                </c:pt>
                <c:pt idx="27">
                  <c:v>0.4747581321168044</c:v>
                </c:pt>
                <c:pt idx="28">
                  <c:v>1.0154308443878513</c:v>
                </c:pt>
                <c:pt idx="29">
                  <c:v>0.5191303469990144</c:v>
                </c:pt>
                <c:pt idx="30">
                  <c:v>0.654491620646235</c:v>
                </c:pt>
                <c:pt idx="31">
                  <c:v>0.7641930316904136</c:v>
                </c:pt>
                <c:pt idx="32">
                  <c:v>0.4663222765849501</c:v>
                </c:pt>
                <c:pt idx="33">
                  <c:v>0.4987644083004832</c:v>
                </c:pt>
                <c:pt idx="34">
                  <c:v>0.5659620823530634</c:v>
                </c:pt>
                <c:pt idx="35">
                  <c:v>0.9029010239145515</c:v>
                </c:pt>
                <c:pt idx="36">
                  <c:v>0.582250615964384</c:v>
                </c:pt>
                <c:pt idx="37">
                  <c:v>0.9824846689825423</c:v>
                </c:pt>
                <c:pt idx="38">
                  <c:v>0.712277196869653</c:v>
                </c:pt>
                <c:pt idx="39">
                  <c:v>0.7773605781924586</c:v>
                </c:pt>
                <c:pt idx="40">
                  <c:v>0.6891914913272374</c:v>
                </c:pt>
                <c:pt idx="41">
                  <c:v>1.4084300192866928</c:v>
                </c:pt>
                <c:pt idx="42">
                  <c:v>0.7631614110063994</c:v>
                </c:pt>
                <c:pt idx="43">
                  <c:v>0.5830606784248723</c:v>
                </c:pt>
                <c:pt idx="44">
                  <c:v>0.6991501933335076</c:v>
                </c:pt>
                <c:pt idx="45">
                  <c:v>0.6506799302664708</c:v>
                </c:pt>
                <c:pt idx="46">
                  <c:v>0.5872913121931779</c:v>
                </c:pt>
                <c:pt idx="47">
                  <c:v>0.7846391053157014</c:v>
                </c:pt>
                <c:pt idx="48">
                  <c:v>0.6309511513174553</c:v>
                </c:pt>
                <c:pt idx="49">
                  <c:v>0.6220493004117846</c:v>
                </c:pt>
                <c:pt idx="50">
                  <c:v>0.6611976210874101</c:v>
                </c:pt>
                <c:pt idx="51">
                  <c:v>0.7296523387282194</c:v>
                </c:pt>
                <c:pt idx="52">
                  <c:v>0.5540563752043274</c:v>
                </c:pt>
                <c:pt idx="53">
                  <c:v>0.5230096199396719</c:v>
                </c:pt>
                <c:pt idx="54">
                  <c:v>0.6447757148964547</c:v>
                </c:pt>
                <c:pt idx="55">
                  <c:v>2.3453052718272374</c:v>
                </c:pt>
                <c:pt idx="56">
                  <c:v>0.9554059626605014</c:v>
                </c:pt>
                <c:pt idx="57">
                  <c:v>1.7323898398840343</c:v>
                </c:pt>
                <c:pt idx="58">
                  <c:v>0.8819437894957488</c:v>
                </c:pt>
                <c:pt idx="59">
                  <c:v>0.7368020641157169</c:v>
                </c:pt>
                <c:pt idx="60">
                  <c:v>0.7007914950930962</c:v>
                </c:pt>
                <c:pt idx="61">
                  <c:v>0.6812703410170703</c:v>
                </c:pt>
                <c:pt idx="62">
                  <c:v>0.6329324794929968</c:v>
                </c:pt>
                <c:pt idx="63">
                  <c:v>0.5436736385239097</c:v>
                </c:pt>
                <c:pt idx="64">
                  <c:v>0.5610918669792222</c:v>
                </c:pt>
                <c:pt idx="65">
                  <c:v>1.188252957752792</c:v>
                </c:pt>
                <c:pt idx="66">
                  <c:v>1.7763196006045703</c:v>
                </c:pt>
                <c:pt idx="67">
                  <c:v>0.8894548618769961</c:v>
                </c:pt>
                <c:pt idx="68">
                  <c:v>2.835284812320067</c:v>
                </c:pt>
                <c:pt idx="69">
                  <c:v>0.9029305902319952</c:v>
                </c:pt>
                <c:pt idx="70">
                  <c:v>0.8830140627295553</c:v>
                </c:pt>
                <c:pt idx="71">
                  <c:v>0.9194504163899427</c:v>
                </c:pt>
                <c:pt idx="72">
                  <c:v>0.9034967570474944</c:v>
                </c:pt>
                <c:pt idx="73">
                  <c:v>0.8829179836779175</c:v>
                </c:pt>
                <c:pt idx="74">
                  <c:v>0.8177888508977417</c:v>
                </c:pt>
                <c:pt idx="75">
                  <c:v>1.1329504043352514</c:v>
                </c:pt>
                <c:pt idx="76">
                  <c:v>1.1215530976132977</c:v>
                </c:pt>
                <c:pt idx="77">
                  <c:v>0.6017512064212491</c:v>
                </c:pt>
                <c:pt idx="78">
                  <c:v>2.9106730043634244</c:v>
                </c:pt>
                <c:pt idx="79">
                  <c:v>2.278694795627389</c:v>
                </c:pt>
                <c:pt idx="80">
                  <c:v>2.2159930549115074</c:v>
                </c:pt>
                <c:pt idx="81">
                  <c:v>1.9516402157271153</c:v>
                </c:pt>
                <c:pt idx="82">
                  <c:v>2.65367705521549</c:v>
                </c:pt>
                <c:pt idx="83">
                  <c:v>3.476850290652538</c:v>
                </c:pt>
                <c:pt idx="84">
                  <c:v>1.1710000203456645</c:v>
                </c:pt>
                <c:pt idx="85">
                  <c:v>2.1014901975334146</c:v>
                </c:pt>
                <c:pt idx="86">
                  <c:v>1.0056684829912337</c:v>
                </c:pt>
                <c:pt idx="87">
                  <c:v>1.8215376811886486</c:v>
                </c:pt>
              </c:numCache>
            </c:numRef>
          </c:xVal>
          <c:yVal>
            <c:numRef>
              <c:f>Sheet1!$B$2:$B$89</c:f>
              <c:numCache>
                <c:formatCode>General</c:formatCode>
                <c:ptCount val="88"/>
                <c:pt idx="0">
                  <c:v>0.0011991434689507495</c:v>
                </c:pt>
                <c:pt idx="1">
                  <c:v>0.00028042624789680314</c:v>
                </c:pt>
                <c:pt idx="2">
                  <c:v>0.0002781125428756837</c:v>
                </c:pt>
                <c:pt idx="3">
                  <c:v>0.00019022256039566293</c:v>
                </c:pt>
                <c:pt idx="4">
                  <c:v>0.00021652051531882645</c:v>
                </c:pt>
                <c:pt idx="5">
                  <c:v>0.0005567308762943993</c:v>
                </c:pt>
                <c:pt idx="6">
                  <c:v>0.0006385016494625945</c:v>
                </c:pt>
                <c:pt idx="7">
                  <c:v>0.0008297771455666193</c:v>
                </c:pt>
                <c:pt idx="8">
                  <c:v>0.0004679457182966776</c:v>
                </c:pt>
                <c:pt idx="9">
                  <c:v>0.000599101347978033</c:v>
                </c:pt>
                <c:pt idx="10">
                  <c:v>0.00028153153153153153</c:v>
                </c:pt>
                <c:pt idx="11">
                  <c:v>0.0006146821215314366</c:v>
                </c:pt>
                <c:pt idx="12">
                  <c:v>0.00046289152908501776</c:v>
                </c:pt>
                <c:pt idx="13">
                  <c:v>0.0005209237714881056</c:v>
                </c:pt>
                <c:pt idx="14">
                  <c:v>0.00018675880100849752</c:v>
                </c:pt>
                <c:pt idx="15">
                  <c:v>0.0005408913890090869</c:v>
                </c:pt>
                <c:pt idx="16">
                  <c:v>0.0004919444102816382</c:v>
                </c:pt>
                <c:pt idx="17">
                  <c:v>0.0004095004095004095</c:v>
                </c:pt>
                <c:pt idx="18">
                  <c:v>0.0005367686527106817</c:v>
                </c:pt>
                <c:pt idx="19">
                  <c:v>0.0005787874403125452</c:v>
                </c:pt>
                <c:pt idx="20">
                  <c:v>0.00034246575342465754</c:v>
                </c:pt>
                <c:pt idx="21">
                  <c:v>0.000943040362127499</c:v>
                </c:pt>
                <c:pt idx="22">
                  <c:v>0.0005824111822947001</c:v>
                </c:pt>
                <c:pt idx="23">
                  <c:v>0.0009085953116481918</c:v>
                </c:pt>
                <c:pt idx="24">
                  <c:v>0.001445086705202312</c:v>
                </c:pt>
                <c:pt idx="25">
                  <c:v>0.0008476012883539584</c:v>
                </c:pt>
                <c:pt idx="26">
                  <c:v>0.00035180299032541777</c:v>
                </c:pt>
                <c:pt idx="27">
                  <c:v>0.0008799718409010912</c:v>
                </c:pt>
                <c:pt idx="28">
                  <c:v>0.0006350214319733291</c:v>
                </c:pt>
                <c:pt idx="29">
                  <c:v>0.0007874015748031496</c:v>
                </c:pt>
                <c:pt idx="30">
                  <c:v>0.0008008008008008008</c:v>
                </c:pt>
                <c:pt idx="31">
                  <c:v>0.0006087662337662338</c:v>
                </c:pt>
                <c:pt idx="32">
                  <c:v>0.001777145903678692</c:v>
                </c:pt>
                <c:pt idx="33">
                  <c:v>0.001896633475580844</c:v>
                </c:pt>
                <c:pt idx="34">
                  <c:v>0.001708150317227916</c:v>
                </c:pt>
                <c:pt idx="35">
                  <c:v>0.0005660911406736484</c:v>
                </c:pt>
                <c:pt idx="36">
                  <c:v>0.0007027406886858749</c:v>
                </c:pt>
                <c:pt idx="37">
                  <c:v>0.0003351206434316354</c:v>
                </c:pt>
                <c:pt idx="38">
                  <c:v>0.0007473841554559044</c:v>
                </c:pt>
                <c:pt idx="39">
                  <c:v>0.00045676004872107184</c:v>
                </c:pt>
                <c:pt idx="40">
                  <c:v>0.0005029337803855825</c:v>
                </c:pt>
                <c:pt idx="41">
                  <c:v>0.0001405283867341203</c:v>
                </c:pt>
                <c:pt idx="42">
                  <c:v>0.0004873294346978557</c:v>
                </c:pt>
                <c:pt idx="43">
                  <c:v>0.0006576475009394964</c:v>
                </c:pt>
                <c:pt idx="44">
                  <c:v>0.00043825050398807957</c:v>
                </c:pt>
                <c:pt idx="45">
                  <c:v>0.0009446114212108201</c:v>
                </c:pt>
                <c:pt idx="46">
                  <c:v>0.0011339846475924634</c:v>
                </c:pt>
                <c:pt idx="47">
                  <c:v>0.0006391409945033875</c:v>
                </c:pt>
                <c:pt idx="48">
                  <c:v>0.0007207359986433205</c:v>
                </c:pt>
                <c:pt idx="49">
                  <c:v>0.0008355964069354502</c:v>
                </c:pt>
                <c:pt idx="50">
                  <c:v>0.0007998080460689434</c:v>
                </c:pt>
                <c:pt idx="51">
                  <c:v>0.00027660604384205796</c:v>
                </c:pt>
                <c:pt idx="52">
                  <c:v>0.00046048996131884323</c:v>
                </c:pt>
                <c:pt idx="53">
                  <c:v>0.0010156408693885843</c:v>
                </c:pt>
                <c:pt idx="54">
                  <c:v>0.000524824183898394</c:v>
                </c:pt>
                <c:pt idx="55">
                  <c:v>9.974067424695791e-05</c:v>
                </c:pt>
                <c:pt idx="56">
                  <c:v>0.0001799694052011158</c:v>
                </c:pt>
                <c:pt idx="57">
                  <c:v>8.116224332440549e-05</c:v>
                </c:pt>
                <c:pt idx="58">
                  <c:v>0.00021578464692237147</c:v>
                </c:pt>
                <c:pt idx="59">
                  <c:v>0.00022507314877335134</c:v>
                </c:pt>
                <c:pt idx="60">
                  <c:v>0.000373440884308014</c:v>
                </c:pt>
                <c:pt idx="61">
                  <c:v>0.00030483158055174517</c:v>
                </c:pt>
                <c:pt idx="62">
                  <c:v>0.0003925417075564279</c:v>
                </c:pt>
                <c:pt idx="63">
                  <c:v>0.0005675368898978433</c:v>
                </c:pt>
                <c:pt idx="64">
                  <c:v>0.0003447800303406427</c:v>
                </c:pt>
                <c:pt idx="65">
                  <c:v>7.407956144899622e-05</c:v>
                </c:pt>
                <c:pt idx="66">
                  <c:v>7.678722260615834e-05</c:v>
                </c:pt>
                <c:pt idx="67">
                  <c:v>0.00023070711731456916</c:v>
                </c:pt>
                <c:pt idx="68">
                  <c:v>0.00011132138483802739</c:v>
                </c:pt>
                <c:pt idx="69">
                  <c:v>0.0005693463903438852</c:v>
                </c:pt>
                <c:pt idx="70">
                  <c:v>0.0008230452674897119</c:v>
                </c:pt>
                <c:pt idx="71">
                  <c:v>0.0006932889628397116</c:v>
                </c:pt>
                <c:pt idx="72">
                  <c:v>0.0007217090069284065</c:v>
                </c:pt>
                <c:pt idx="73">
                  <c:v>0.0007265329845975008</c:v>
                </c:pt>
                <c:pt idx="74">
                  <c:v>0.0011488593467914</c:v>
                </c:pt>
                <c:pt idx="75">
                  <c:v>0.0008382229673093043</c:v>
                </c:pt>
                <c:pt idx="76">
                  <c:v>0.0006619228859837829</c:v>
                </c:pt>
                <c:pt idx="77">
                  <c:v>0.0014915254237288136</c:v>
                </c:pt>
                <c:pt idx="78">
                  <c:v>0.00016943409013893597</c:v>
                </c:pt>
                <c:pt idx="79">
                  <c:v>0.00021222410865874363</c:v>
                </c:pt>
                <c:pt idx="80">
                  <c:v>0.00021235931195582927</c:v>
                </c:pt>
                <c:pt idx="81">
                  <c:v>7.328154770628756e-05</c:v>
                </c:pt>
                <c:pt idx="82">
                  <c:v>5.774672287347693e-05</c:v>
                </c:pt>
                <c:pt idx="83">
                  <c:v>3.8968124074507054e-05</c:v>
                </c:pt>
                <c:pt idx="84">
                  <c:v>0.00012721027859051011</c:v>
                </c:pt>
                <c:pt idx="85">
                  <c:v>6.444544692917445e-05</c:v>
                </c:pt>
                <c:pt idx="86">
                  <c:v>0.00020827547903360177</c:v>
                </c:pt>
                <c:pt idx="87">
                  <c:v>7.61266747868453e-05</c:v>
                </c:pt>
              </c:numCache>
            </c:numRef>
          </c:yVal>
          <c:smooth val="0"/>
          <c:extLst>
            <c:ext xmlns:c16="http://schemas.microsoft.com/office/drawing/2014/chart" uri="{C3380CC4-5D6E-409C-BE32-E72D297353CC}">
              <c16:uniqueId val="{00000000-096C-4121-9522-6AB7243CCAAE}"/>
            </c:ext>
          </c:extLst>
        </c:ser>
        <c:ser>
          <c:idx val="1"/>
          <c:order val="1"/>
          <c:tx>
            <c:strRef>
              <c:f>Sheet1!$B$9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947122463243624</c:v>
                </c:pt>
                <c:pt idx="21">
                  <c:v>1.061367763887824</c:v>
                </c:pt>
                <c:pt idx="22">
                  <c:v>0.0</c:v>
                </c:pt>
                <c:pt idx="23">
                  <c:v>0.0</c:v>
                </c:pt>
                <c:pt idx="24">
                  <c:v>1.5367525210306048</c:v>
                </c:pt>
                <c:pt idx="25">
                  <c:v>0.0</c:v>
                </c:pt>
                <c:pt idx="26">
                  <c:v>0.8239675932648869</c:v>
                </c:pt>
                <c:pt idx="27">
                  <c:v>1.2511552025620791</c:v>
                </c:pt>
                <c:pt idx="28">
                  <c:v>1.524883017228131</c:v>
                </c:pt>
                <c:pt idx="29">
                  <c:v>0.0</c:v>
                </c:pt>
                <c:pt idx="30">
                  <c:v>0.0</c:v>
                </c:pt>
                <c:pt idx="31">
                  <c:v>2.2455006877745163</c:v>
                </c:pt>
                <c:pt idx="32">
                  <c:v>1.8630201591585918</c:v>
                </c:pt>
                <c:pt idx="33">
                  <c:v>1.7131171162732897</c:v>
                </c:pt>
                <c:pt idx="34">
                  <c:v>0.0</c:v>
                </c:pt>
                <c:pt idx="35">
                  <c:v>0.0</c:v>
                </c:pt>
                <c:pt idx="36">
                  <c:v>1.777133631343406</c:v>
                </c:pt>
                <c:pt idx="37">
                  <c:v>0.0</c:v>
                </c:pt>
                <c:pt idx="38">
                  <c:v>0.9342125399153389</c:v>
                </c:pt>
                <c:pt idx="39">
                  <c:v>0.7509426202127689</c:v>
                </c:pt>
                <c:pt idx="40">
                  <c:v>0.8248064003631735</c:v>
                </c:pt>
                <c:pt idx="41">
                  <c:v>1.4505690132035487</c:v>
                </c:pt>
                <c:pt idx="42">
                  <c:v>0.642940847615439</c:v>
                </c:pt>
                <c:pt idx="43">
                  <c:v>0.5294861617588247</c:v>
                </c:pt>
                <c:pt idx="44">
                  <c:v>0.5894101247441538</c:v>
                </c:pt>
                <c:pt idx="45">
                  <c:v>0.9419683181399864</c:v>
                </c:pt>
                <c:pt idx="46">
                  <c:v>0.687427516124962</c:v>
                </c:pt>
                <c:pt idx="47">
                  <c:v>0.8088399974767335</c:v>
                </c:pt>
                <c:pt idx="48">
                  <c:v>0.0</c:v>
                </c:pt>
                <c:pt idx="49">
                  <c:v>0.6970772876415939</c:v>
                </c:pt>
                <c:pt idx="50">
                  <c:v>0.284667636686498</c:v>
                </c:pt>
                <c:pt idx="51">
                  <c:v>0.27640772765083393</c:v>
                </c:pt>
                <c:pt idx="52">
                  <c:v>0.48100419295627433</c:v>
                </c:pt>
                <c:pt idx="53">
                  <c:v>0.0</c:v>
                </c:pt>
                <c:pt idx="54">
                  <c:v>0.0</c:v>
                </c:pt>
                <c:pt idx="55">
                  <c:v>0.0</c:v>
                </c:pt>
                <c:pt idx="56">
                  <c:v>0.0</c:v>
                </c:pt>
                <c:pt idx="57">
                  <c:v>1.6741216893254285</c:v>
                </c:pt>
                <c:pt idx="58">
                  <c:v>1.2689261539374557</c:v>
                </c:pt>
                <c:pt idx="59">
                  <c:v>1.5603948915717598</c:v>
                </c:pt>
                <c:pt idx="60">
                  <c:v>0.0</c:v>
                </c:pt>
                <c:pt idx="61">
                  <c:v>0.0</c:v>
                </c:pt>
                <c:pt idx="62">
                  <c:v>0.0</c:v>
                </c:pt>
                <c:pt idx="63">
                  <c:v>0.0</c:v>
                </c:pt>
                <c:pt idx="64">
                  <c:v>0.0</c:v>
                </c:pt>
                <c:pt idx="65">
                  <c:v>0.0</c:v>
                </c:pt>
                <c:pt idx="66">
                  <c:v>0.0</c:v>
                </c:pt>
                <c:pt idx="67">
                  <c:v>0.8460093737838614</c:v>
                </c:pt>
                <c:pt idx="68">
                  <c:v>2.3198606390673793</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6.82081713389264e-05</c:v>
                </c:pt>
                <c:pt idx="21">
                  <c:v>0.00014652014652014652</c:v>
                </c:pt>
                <c:pt idx="22">
                  <c:v>0.0</c:v>
                </c:pt>
                <c:pt idx="23">
                  <c:v>0.0</c:v>
                </c:pt>
                <c:pt idx="24">
                  <c:v>0.00010643959552953698</c:v>
                </c:pt>
                <c:pt idx="25">
                  <c:v>0.0</c:v>
                </c:pt>
                <c:pt idx="26">
                  <c:v>0.00019327406262079628</c:v>
                </c:pt>
                <c:pt idx="27">
                  <c:v>8.983111749910169e-05</c:v>
                </c:pt>
                <c:pt idx="28">
                  <c:v>0.00015355086372360844</c:v>
                </c:pt>
                <c:pt idx="29">
                  <c:v>0.0</c:v>
                </c:pt>
                <c:pt idx="30">
                  <c:v>0.0</c:v>
                </c:pt>
                <c:pt idx="31">
                  <c:v>8.554319931565441e-05</c:v>
                </c:pt>
                <c:pt idx="32">
                  <c:v>8.918219923303308e-05</c:v>
                </c:pt>
                <c:pt idx="33">
                  <c:v>0.00019845207382417147</c:v>
                </c:pt>
                <c:pt idx="34">
                  <c:v>0.0</c:v>
                </c:pt>
                <c:pt idx="35">
                  <c:v>0.0</c:v>
                </c:pt>
                <c:pt idx="36">
                  <c:v>0.00011122233344455567</c:v>
                </c:pt>
                <c:pt idx="37">
                  <c:v>0.0</c:v>
                </c:pt>
                <c:pt idx="38">
                  <c:v>0.0003213883978788366</c:v>
                </c:pt>
                <c:pt idx="39">
                  <c:v>0.0003180155827635554</c:v>
                </c:pt>
                <c:pt idx="40">
                  <c:v>0.00015946420028703555</c:v>
                </c:pt>
                <c:pt idx="41">
                  <c:v>0.00014992503748125936</c:v>
                </c:pt>
                <c:pt idx="42">
                  <c:v>0.00047244094488188977</c:v>
                </c:pt>
                <c:pt idx="43">
                  <c:v>0.000792016473942658</c:v>
                </c:pt>
                <c:pt idx="44">
                  <c:v>0.00028814291888776836</c:v>
                </c:pt>
                <c:pt idx="45">
                  <c:v>0.00026215755669157164</c:v>
                </c:pt>
                <c:pt idx="46">
                  <c:v>0.00031660598385309483</c:v>
                </c:pt>
                <c:pt idx="47">
                  <c:v>0.00016564518800728838</c:v>
                </c:pt>
                <c:pt idx="48">
                  <c:v>0.0</c:v>
                </c:pt>
                <c:pt idx="49">
                  <c:v>0.0001686056314280897</c:v>
                </c:pt>
                <c:pt idx="50">
                  <c:v>0.0006701289998324678</c:v>
                </c:pt>
                <c:pt idx="51">
                  <c:v>0.0005676657584014533</c:v>
                </c:pt>
                <c:pt idx="52">
                  <c:v>0.0006191183754333828</c:v>
                </c:pt>
                <c:pt idx="53">
                  <c:v>0.0</c:v>
                </c:pt>
                <c:pt idx="54">
                  <c:v>0.0</c:v>
                </c:pt>
                <c:pt idx="55">
                  <c:v>0.0</c:v>
                </c:pt>
                <c:pt idx="56">
                  <c:v>0.0</c:v>
                </c:pt>
                <c:pt idx="57">
                  <c:v>0.0001386193512614361</c:v>
                </c:pt>
                <c:pt idx="58">
                  <c:v>0.00012913223140495868</c:v>
                </c:pt>
                <c:pt idx="59">
                  <c:v>0.0001426533523537803</c:v>
                </c:pt>
                <c:pt idx="60">
                  <c:v>0.0</c:v>
                </c:pt>
                <c:pt idx="61">
                  <c:v>0.0</c:v>
                </c:pt>
                <c:pt idx="62">
                  <c:v>0.0</c:v>
                </c:pt>
                <c:pt idx="63">
                  <c:v>0.0</c:v>
                </c:pt>
                <c:pt idx="64">
                  <c:v>0.0</c:v>
                </c:pt>
                <c:pt idx="65">
                  <c:v>0.0</c:v>
                </c:pt>
                <c:pt idx="66">
                  <c:v>0.0</c:v>
                </c:pt>
                <c:pt idx="67">
                  <c:v>0.00014715620631300125</c:v>
                </c:pt>
                <c:pt idx="68">
                  <c:v>5.969436485195797e-0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1.538348494722184</c:v>
                </c:pt>
              </c:numCache>
            </c:numRef>
          </c:xVal>
          <c:yVal>
            <c:numRef>
              <c:f>Sheet1!$B$163:$B$164</c:f>
              <c:numCache>
                <c:formatCode>General</c:formatCode>
                <c:ptCount val="2"/>
                <c:pt idx="0">
                  <c:v>0.0009587907001120169</c:v>
                </c:pt>
                <c:pt idx="1">
                  <c:v>0.000958790700112016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1.538348494722184</c:v>
                </c:pt>
                <c:pt idx="1">
                  <c:v>11.538348494722184</c:v>
                </c:pt>
              </c:numCache>
            </c:numRef>
          </c:xVal>
          <c:yVal>
            <c:numRef>
              <c:f>Sheet1!$B$167:$B$168</c:f>
              <c:numCache>
                <c:formatCode>General</c:formatCode>
                <c:ptCount val="2"/>
                <c:pt idx="0">
                  <c:v>0.000958790700112016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3.452602150502327</c:v>
                </c:pt>
              </c:numCache>
            </c:numRef>
          </c:xVal>
          <c:yVal>
            <c:numRef>
              <c:f>Sheet1!$B$171:$B$172</c:f>
              <c:numCache>
                <c:formatCode>General</c:formatCode>
                <c:ptCount val="2"/>
                <c:pt idx="0">
                  <c:v>0.00033313955972754864</c:v>
                </c:pt>
                <c:pt idx="1">
                  <c:v>0.0003331395597275486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3.452602150502327</c:v>
                </c:pt>
                <c:pt idx="1">
                  <c:v>3.452602150502327</c:v>
                </c:pt>
              </c:numCache>
            </c:numRef>
          </c:xVal>
          <c:yVal>
            <c:numRef>
              <c:f>Sheet1!$B$175:$B$176</c:f>
              <c:numCache>
                <c:formatCode>General</c:formatCode>
                <c:ptCount val="2"/>
                <c:pt idx="0">
                  <c:v>0.000333139559727548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23916942493908222</c:v>
                </c:pt>
              </c:numCache>
            </c:numRef>
          </c:xVal>
          <c:yVal>
            <c:numRef>
              <c:f>Sheet1!$B$179:$B$180</c:f>
              <c:numCache>
                <c:formatCode>General</c:formatCode>
                <c:ptCount val="2"/>
                <c:pt idx="0">
                  <c:v>4.748119278347187e-05</c:v>
                </c:pt>
                <c:pt idx="1">
                  <c:v>4.748119278347187e-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23916942493908222</c:v>
                </c:pt>
                <c:pt idx="1">
                  <c:v>-0.23916942493908222</c:v>
                </c:pt>
              </c:numCache>
            </c:numRef>
          </c:xVal>
          <c:yVal>
            <c:numRef>
              <c:f>Sheet1!$B$183:$B$184</c:f>
              <c:numCache>
                <c:formatCode>General</c:formatCode>
                <c:ptCount val="2"/>
                <c:pt idx="0">
                  <c:v>4.748119278347187e-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947122463243624</c:v>
                </c:pt>
                <c:pt idx="21">
                  <c:v>1.061367763887824</c:v>
                </c:pt>
                <c:pt idx="22">
                  <c:v>0.0</c:v>
                </c:pt>
                <c:pt idx="23">
                  <c:v>0.0</c:v>
                </c:pt>
                <c:pt idx="24">
                  <c:v>1.5367525210306048</c:v>
                </c:pt>
                <c:pt idx="25">
                  <c:v>0.0</c:v>
                </c:pt>
                <c:pt idx="26">
                  <c:v>0.8239675932648869</c:v>
                </c:pt>
                <c:pt idx="27">
                  <c:v>1.2511552025620791</c:v>
                </c:pt>
                <c:pt idx="28">
                  <c:v>1.524883017228131</c:v>
                </c:pt>
                <c:pt idx="29">
                  <c:v>0.0</c:v>
                </c:pt>
                <c:pt idx="30">
                  <c:v>0.0</c:v>
                </c:pt>
                <c:pt idx="31">
                  <c:v>2.2455006877745163</c:v>
                </c:pt>
                <c:pt idx="32">
                  <c:v>1.8630201591585918</c:v>
                </c:pt>
                <c:pt idx="33">
                  <c:v>1.7131171162732897</c:v>
                </c:pt>
                <c:pt idx="34">
                  <c:v>0.0</c:v>
                </c:pt>
                <c:pt idx="35">
                  <c:v>0.0</c:v>
                </c:pt>
                <c:pt idx="36">
                  <c:v>1.777133631343406</c:v>
                </c:pt>
                <c:pt idx="37">
                  <c:v>0.0</c:v>
                </c:pt>
                <c:pt idx="38">
                  <c:v>0.9342125399153389</c:v>
                </c:pt>
                <c:pt idx="39">
                  <c:v>0.7509426202127689</c:v>
                </c:pt>
                <c:pt idx="40">
                  <c:v>0.8248064003631735</c:v>
                </c:pt>
                <c:pt idx="41">
                  <c:v>1.4505690132035487</c:v>
                </c:pt>
                <c:pt idx="42">
                  <c:v>0.642940847615439</c:v>
                </c:pt>
                <c:pt idx="43">
                  <c:v>0.5294861617588247</c:v>
                </c:pt>
                <c:pt idx="44">
                  <c:v>0.5894101247441538</c:v>
                </c:pt>
                <c:pt idx="45">
                  <c:v>0.9419683181399864</c:v>
                </c:pt>
                <c:pt idx="46">
                  <c:v>0.687427516124962</c:v>
                </c:pt>
                <c:pt idx="47">
                  <c:v>0.8088399974767335</c:v>
                </c:pt>
                <c:pt idx="48">
                  <c:v>0.0</c:v>
                </c:pt>
                <c:pt idx="49">
                  <c:v>0.6970772876415939</c:v>
                </c:pt>
                <c:pt idx="50">
                  <c:v>0.284667636686498</c:v>
                </c:pt>
                <c:pt idx="51">
                  <c:v>0.27640772765083393</c:v>
                </c:pt>
                <c:pt idx="52">
                  <c:v>0.48100419295627433</c:v>
                </c:pt>
                <c:pt idx="53">
                  <c:v>0.0</c:v>
                </c:pt>
                <c:pt idx="54">
                  <c:v>0.0</c:v>
                </c:pt>
                <c:pt idx="55">
                  <c:v>0.0</c:v>
                </c:pt>
                <c:pt idx="56">
                  <c:v>0.0</c:v>
                </c:pt>
                <c:pt idx="57">
                  <c:v>1.6741216893254285</c:v>
                </c:pt>
                <c:pt idx="58">
                  <c:v>1.2689261539374557</c:v>
                </c:pt>
                <c:pt idx="59">
                  <c:v>1.5603948915717598</c:v>
                </c:pt>
                <c:pt idx="60">
                  <c:v>0.0</c:v>
                </c:pt>
                <c:pt idx="61">
                  <c:v>0.0</c:v>
                </c:pt>
                <c:pt idx="62">
                  <c:v>0.0</c:v>
                </c:pt>
                <c:pt idx="63">
                  <c:v>0.0</c:v>
                </c:pt>
                <c:pt idx="64">
                  <c:v>0.0</c:v>
                </c:pt>
                <c:pt idx="65">
                  <c:v>0.0</c:v>
                </c:pt>
                <c:pt idx="66">
                  <c:v>0.0</c:v>
                </c:pt>
                <c:pt idx="67">
                  <c:v>0.8460093737838614</c:v>
                </c:pt>
                <c:pt idx="68">
                  <c:v>2.3198606390673793</c:v>
                </c:pt>
                <c:pt idx="69">
                  <c:v>3.452602150502327</c:v>
                </c:pt>
                <c:pt idx="70">
                  <c:v>11.538348494722184</c:v>
                </c:pt>
                <c:pt idx="71">
                  <c:v>-0.23916942493908222</c:v>
                </c:pt>
              </c:numCache>
            </c:numRef>
          </c:xVal>
          <c:yVal>
            <c:numRef>
              <c:f>Sheet1!$B$187:$B$258</c:f>
              <c:numCache>
                <c:formatCode>General</c:formatCode>
                <c:ptCount val="72"/>
                <c:pt idx="0">
                  <c:v>6.598741559680597e-05</c:v>
                </c:pt>
                <c:pt idx="1">
                  <c:v>6.598741559680597e-05</c:v>
                </c:pt>
                <c:pt idx="2">
                  <c:v>6.598741559680597e-05</c:v>
                </c:pt>
                <c:pt idx="3">
                  <c:v>6.598741559680597e-05</c:v>
                </c:pt>
                <c:pt idx="4">
                  <c:v>6.598741559680597e-05</c:v>
                </c:pt>
                <c:pt idx="5">
                  <c:v>6.598741559680597e-05</c:v>
                </c:pt>
                <c:pt idx="6">
                  <c:v>6.598741559680597e-05</c:v>
                </c:pt>
                <c:pt idx="7">
                  <c:v>6.598741559680597e-05</c:v>
                </c:pt>
                <c:pt idx="8">
                  <c:v>6.598741559680597e-05</c:v>
                </c:pt>
                <c:pt idx="9">
                  <c:v>6.598741559680597e-05</c:v>
                </c:pt>
                <c:pt idx="10">
                  <c:v>6.598741559680597e-05</c:v>
                </c:pt>
                <c:pt idx="11">
                  <c:v>6.598741559680597e-05</c:v>
                </c:pt>
                <c:pt idx="12">
                  <c:v>6.598741559680597e-05</c:v>
                </c:pt>
                <c:pt idx="13">
                  <c:v>6.598741559680597e-05</c:v>
                </c:pt>
                <c:pt idx="14">
                  <c:v>6.598741559680597e-05</c:v>
                </c:pt>
                <c:pt idx="15">
                  <c:v>6.598741559680597e-05</c:v>
                </c:pt>
                <c:pt idx="16">
                  <c:v>6.598741559680597e-05</c:v>
                </c:pt>
                <c:pt idx="17">
                  <c:v>6.598741559680597e-05</c:v>
                </c:pt>
                <c:pt idx="18">
                  <c:v>6.598741559680597e-05</c:v>
                </c:pt>
                <c:pt idx="19">
                  <c:v>6.598741559680597e-05</c:v>
                </c:pt>
                <c:pt idx="20">
                  <c:v>0.0002166499936366723</c:v>
                </c:pt>
                <c:pt idx="21">
                  <c:v>0.00014811291441590107</c:v>
                </c:pt>
                <c:pt idx="22">
                  <c:v>6.598741559680597e-05</c:v>
                </c:pt>
                <c:pt idx="23">
                  <c:v>6.598741559680597e-05</c:v>
                </c:pt>
                <c:pt idx="24">
                  <c:v>0.0001848967810827537</c:v>
                </c:pt>
                <c:pt idx="25">
                  <c:v>6.598741559680597e-05</c:v>
                </c:pt>
                <c:pt idx="26">
                  <c:v>0.00012974359126938838</c:v>
                </c:pt>
                <c:pt idx="27">
                  <c:v>0.00016279810516790598</c:v>
                </c:pt>
                <c:pt idx="28">
                  <c:v>0.00018397835397984013</c:v>
                </c:pt>
                <c:pt idx="29">
                  <c:v>6.598741559680597e-05</c:v>
                </c:pt>
                <c:pt idx="30">
                  <c:v>6.598741559680597e-05</c:v>
                </c:pt>
                <c:pt idx="31">
                  <c:v>0.00023973761826604194</c:v>
                </c:pt>
                <c:pt idx="32">
                  <c:v>0.00021014240605975355</c:v>
                </c:pt>
                <c:pt idx="33">
                  <c:v>0.00019854335190498955</c:v>
                </c:pt>
                <c:pt idx="34">
                  <c:v>6.598741559680597e-05</c:v>
                </c:pt>
                <c:pt idx="35">
                  <c:v>6.598741559680597e-05</c:v>
                </c:pt>
                <c:pt idx="36">
                  <c:v>0.0002034967605270259</c:v>
                </c:pt>
                <c:pt idx="37">
                  <c:v>6.598741559680597e-05</c:v>
                </c:pt>
                <c:pt idx="38">
                  <c:v>0.00013827401921717917</c:v>
                </c:pt>
                <c:pt idx="39">
                  <c:v>0.000124093134809143</c:v>
                </c:pt>
                <c:pt idx="40">
                  <c:v>0.00012980849568207514</c:v>
                </c:pt>
                <c:pt idx="41">
                  <c:v>0.0001782281561149575</c:v>
                </c:pt>
                <c:pt idx="42">
                  <c:v>0.00011573627703591254</c:v>
                </c:pt>
                <c:pt idx="43">
                  <c:v>0.00010695748896041285</c:v>
                </c:pt>
                <c:pt idx="44">
                  <c:v>0.00011159422800490797</c:v>
                </c:pt>
                <c:pt idx="45">
                  <c:v>0.0001388741384002758</c:v>
                </c:pt>
                <c:pt idx="46">
                  <c:v>0.00011917852388611029</c:v>
                </c:pt>
                <c:pt idx="47">
                  <c:v>0.0001285730626436791</c:v>
                </c:pt>
                <c:pt idx="48">
                  <c:v>6.598741559680597e-05</c:v>
                </c:pt>
                <c:pt idx="49">
                  <c:v>0.00011992519466909202</c:v>
                </c:pt>
                <c:pt idx="50">
                  <c:v>8.801415548467998e-05</c:v>
                </c:pt>
                <c:pt idx="51">
                  <c:v>8.737502815027758e-05</c:v>
                </c:pt>
                <c:pt idx="52">
                  <c:v>0.00010320609758872044</c:v>
                </c:pt>
                <c:pt idx="53">
                  <c:v>6.598741559680597e-05</c:v>
                </c:pt>
                <c:pt idx="54">
                  <c:v>6.598741559680597e-05</c:v>
                </c:pt>
                <c:pt idx="55">
                  <c:v>6.598741559680597e-05</c:v>
                </c:pt>
                <c:pt idx="56">
                  <c:v>6.598741559680597e-05</c:v>
                </c:pt>
                <c:pt idx="57">
                  <c:v>0.0001955260010877518</c:v>
                </c:pt>
                <c:pt idx="58">
                  <c:v>0.00016417316883183966</c:v>
                </c:pt>
                <c:pt idx="59">
                  <c:v>0.00018672615779836632</c:v>
                </c:pt>
                <c:pt idx="60">
                  <c:v>6.598741559680597e-05</c:v>
                </c:pt>
                <c:pt idx="61">
                  <c:v>6.598741559680597e-05</c:v>
                </c:pt>
                <c:pt idx="62">
                  <c:v>6.598741559680597e-05</c:v>
                </c:pt>
                <c:pt idx="63">
                  <c:v>6.598741559680597e-05</c:v>
                </c:pt>
                <c:pt idx="64">
                  <c:v>6.598741559680597e-05</c:v>
                </c:pt>
                <c:pt idx="65">
                  <c:v>6.598741559680597e-05</c:v>
                </c:pt>
                <c:pt idx="66">
                  <c:v>6.598741559680597e-05</c:v>
                </c:pt>
                <c:pt idx="67">
                  <c:v>0.0001314491190624608</c:v>
                </c:pt>
                <c:pt idx="68">
                  <c:v>0.0002454913713946657</c:v>
                </c:pt>
                <c:pt idx="69">
                  <c:v>0.00033313955972754864</c:v>
                </c:pt>
                <c:pt idx="70">
                  <c:v>0.0009587907001120169</c:v>
                </c:pt>
                <c:pt idx="71">
                  <c:v>4.748119278347187e-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275960170697012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0.00011127183709803049</c:v>
                </c:pt>
                <c:pt idx="2">
                  <c:v>0.0</c:v>
                </c:pt>
                <c:pt idx="3">
                  <c:v>0.00016020506247997436</c:v>
                </c:pt>
                <c:pt idx="4">
                  <c:v>0.00016223231667748214</c:v>
                </c:pt>
                <c:pt idx="5">
                  <c:v>0.0003518648838845883</c:v>
                </c:pt>
                <c:pt idx="6">
                  <c:v>0.0002979737783075089</c:v>
                </c:pt>
                <c:pt idx="7">
                  <c:v>0.0004016601954746285</c:v>
                </c:pt>
                <c:pt idx="8">
                  <c:v>0.0005145356315924878</c:v>
                </c:pt>
                <c:pt idx="9">
                  <c:v>0.001135610864010599</c:v>
                </c:pt>
                <c:pt idx="10">
                  <c:v>0.001323276432446738</c:v>
                </c:pt>
                <c:pt idx="11">
                  <c:v>0.0009779951100244498</c:v>
                </c:pt>
                <c:pt idx="12">
                  <c:v>0.0012340139107022662</c:v>
                </c:pt>
                <c:pt idx="13">
                  <c:v>0.0011427384167878663</c:v>
                </c:pt>
                <c:pt idx="14">
                  <c:v>0.0012358162004269184</c:v>
                </c:pt>
                <c:pt idx="15">
                  <c:v>0.0011818933932159319</c:v>
                </c:pt>
                <c:pt idx="16">
                  <c:v>0.0012903225806451613</c:v>
                </c:pt>
                <c:pt idx="17">
                  <c:v>0.0020873474630700066</c:v>
                </c:pt>
                <c:pt idx="18">
                  <c:v>0.0024429967426710096</c:v>
                </c:pt>
                <c:pt idx="19">
                  <c:v>0.0015891934843067143</c:v>
                </c:pt>
                <c:pt idx="20">
                  <c:v>0.0022794620469569183</c:v>
                </c:pt>
                <c:pt idx="21">
                  <c:v>0.0022878535773710484</c:v>
                </c:pt>
                <c:pt idx="22">
                  <c:v>0.0035419126328217238</c:v>
                </c:pt>
                <c:pt idx="23">
                  <c:v>0.003273679615888258</c:v>
                </c:pt>
                <c:pt idx="24">
                  <c:v>0.002959309494451295</c:v>
                </c:pt>
                <c:pt idx="25">
                  <c:v>0.004326663061114116</c:v>
                </c:pt>
                <c:pt idx="26">
                  <c:v>0.0056673278549164065</c:v>
                </c:pt>
                <c:pt idx="27">
                  <c:v>0.007602153943617358</c:v>
                </c:pt>
                <c:pt idx="28">
                  <c:v>0.005808887598024978</c:v>
                </c:pt>
                <c:pt idx="29">
                  <c:v>0.005313199105145414</c:v>
                </c:pt>
                <c:pt idx="30">
                  <c:v>0.006719184430027804</c:v>
                </c:pt>
                <c:pt idx="31">
                  <c:v>0.007352941176470588</c:v>
                </c:pt>
                <c:pt idx="32">
                  <c:v>0.006654991243432574</c:v>
                </c:pt>
                <c:pt idx="33">
                  <c:v>0.006629448709002094</c:v>
                </c:pt>
                <c:pt idx="34">
                  <c:v>0.007226738934056007</c:v>
                </c:pt>
                <c:pt idx="35">
                  <c:v>0.00614304519526108</c:v>
                </c:pt>
                <c:pt idx="36">
                  <c:v>0.005332806636381592</c:v>
                </c:pt>
                <c:pt idx="37">
                  <c:v>0.00809188201513965</c:v>
                </c:pt>
                <c:pt idx="38">
                  <c:v>0.01072066706372841</c:v>
                </c:pt>
                <c:pt idx="39">
                  <c:v>0.009422492401215805</c:v>
                </c:pt>
                <c:pt idx="40">
                  <c:v>0.010651247717589775</c:v>
                </c:pt>
                <c:pt idx="41">
                  <c:v>0.007865168539325843</c:v>
                </c:pt>
                <c:pt idx="42">
                  <c:v>0.007795582503248159</c:v>
                </c:pt>
                <c:pt idx="43">
                  <c:v>0.007382710169087878</c:v>
                </c:pt>
                <c:pt idx="44">
                  <c:v>0.007853403141361256</c:v>
                </c:pt>
                <c:pt idx="45">
                  <c:v>0.010282161645145864</c:v>
                </c:pt>
                <c:pt idx="46">
                  <c:v>0.011603053435114504</c:v>
                </c:pt>
                <c:pt idx="47">
                  <c:v>0.011056076419600212</c:v>
                </c:pt>
                <c:pt idx="48">
                  <c:v>0.010124847746650427</c:v>
                </c:pt>
                <c:pt idx="49">
                  <c:v>0.007862076711405626</c:v>
                </c:pt>
                <c:pt idx="50">
                  <c:v>0.011566018423746162</c:v>
                </c:pt>
                <c:pt idx="51">
                  <c:v>0.010702243072863217</c:v>
                </c:pt>
                <c:pt idx="52">
                  <c:v>0.008641382621219395</c:v>
                </c:pt>
                <c:pt idx="53">
                  <c:v>0.007338910905621606</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7357859531772575</c:v>
                </c:pt>
                <c:pt idx="1">
                  <c:v>0.009232954545454546</c:v>
                </c:pt>
                <c:pt idx="2">
                  <c:v>0.008044856167723062</c:v>
                </c:pt>
                <c:pt idx="3">
                  <c:v>0.0093603744149766</c:v>
                </c:pt>
                <c:pt idx="4">
                  <c:v>0.008845999195818254</c:v>
                </c:pt>
                <c:pt idx="5">
                  <c:v>0.007494083618196161</c:v>
                </c:pt>
                <c:pt idx="6">
                  <c:v>0.007909735954402699</c:v>
                </c:pt>
                <c:pt idx="7">
                  <c:v>0.00966183574879227</c:v>
                </c:pt>
                <c:pt idx="8">
                  <c:v>0.012172284644194757</c:v>
                </c:pt>
                <c:pt idx="9">
                  <c:v>0.011979078791968956</c:v>
                </c:pt>
                <c:pt idx="10">
                  <c:v>0.011331910001642305</c:v>
                </c:pt>
                <c:pt idx="11">
                  <c:v>0.010759844703272323</c:v>
                </c:pt>
                <c:pt idx="12">
                  <c:v>0.0115077808290833</c:v>
                </c:pt>
                <c:pt idx="13">
                  <c:v>0.017859735733991577</c:v>
                </c:pt>
                <c:pt idx="14">
                  <c:v>0.017518939393939392</c:v>
                </c:pt>
                <c:pt idx="15">
                  <c:v>0.017283519553072627</c:v>
                </c:pt>
                <c:pt idx="16">
                  <c:v>0.016779210149375896</c:v>
                </c:pt>
                <c:pt idx="17">
                  <c:v>0.021989752348420155</c:v>
                </c:pt>
                <c:pt idx="18">
                  <c:v>0.011163895486935867</c:v>
                </c:pt>
                <c:pt idx="19">
                  <c:v>0.010779029887310143</c:v>
                </c:pt>
                <c:pt idx="20">
                  <c:v>0.01400800457404231</c:v>
                </c:pt>
                <c:pt idx="21">
                  <c:v>0.015971316818774447</c:v>
                </c:pt>
                <c:pt idx="22">
                  <c:v>0.014182058047493404</c:v>
                </c:pt>
                <c:pt idx="23">
                  <c:v>0.015442690459849005</c:v>
                </c:pt>
                <c:pt idx="24">
                  <c:v>0.013839716768587062</c:v>
                </c:pt>
                <c:pt idx="25">
                  <c:v>0.014233697451175108</c:v>
                </c:pt>
                <c:pt idx="26">
                  <c:v>0.014115432873274781</c:v>
                </c:pt>
                <c:pt idx="27">
                  <c:v>0.015054362977418455</c:v>
                </c:pt>
                <c:pt idx="28">
                  <c:v>0.011931962427011932</c:v>
                </c:pt>
                <c:pt idx="29">
                  <c:v>0.014798488664987406</c:v>
                </c:pt>
                <c:pt idx="30">
                  <c:v>0.014186633039092055</c:v>
                </c:pt>
                <c:pt idx="31">
                  <c:v>0.015146415348367553</c:v>
                </c:pt>
                <c:pt idx="32">
                  <c:v>0.012669416617560401</c:v>
                </c:pt>
                <c:pt idx="33">
                  <c:v>0.009710880600308983</c:v>
                </c:pt>
                <c:pt idx="34">
                  <c:v>0.009222202888463546</c:v>
                </c:pt>
                <c:pt idx="35">
                  <c:v>0.012630662020905924</c:v>
                </c:pt>
                <c:pt idx="36">
                  <c:v>0.015759312320916905</c:v>
                </c:pt>
                <c:pt idx="37">
                  <c:v>0.016490765171503958</c:v>
                </c:pt>
                <c:pt idx="38">
                  <c:v>0.02030075187969925</c:v>
                </c:pt>
                <c:pt idx="39">
                  <c:v>0.01862503423719529</c:v>
                </c:pt>
                <c:pt idx="40">
                  <c:v>0.016981132075471698</c:v>
                </c:pt>
                <c:pt idx="41">
                  <c:v>0.014143920595533498</c:v>
                </c:pt>
                <c:pt idx="42">
                  <c:v>0.01620699459766847</c:v>
                </c:pt>
                <c:pt idx="43">
                  <c:v>0.013080444735120994</c:v>
                </c:pt>
                <c:pt idx="44">
                  <c:v>0.009119607155384075</c:v>
                </c:pt>
                <c:pt idx="45">
                  <c:v>0.007003317360855142</c:v>
                </c:pt>
                <c:pt idx="46">
                  <c:v>0.007540190638782188</c:v>
                </c:pt>
                <c:pt idx="47">
                  <c:v>0.00681847420558343</c:v>
                </c:pt>
                <c:pt idx="48">
                  <c:v>0.007529805480025099</c:v>
                </c:pt>
                <c:pt idx="49">
                  <c:v>0.006729737637764557</c:v>
                </c:pt>
                <c:pt idx="50">
                  <c:v>0.005438343598479885</c:v>
                </c:pt>
                <c:pt idx="51">
                  <c:v>0.007210671794255498</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571.0437246492334</c:v>
                </c:pt>
              </c:numCache>
            </c:numRef>
          </c:xVal>
          <c:yVal>
            <c:numRef>
              <c:f>Sheet1!$B$112:$B$113</c:f>
              <c:numCache>
                <c:formatCode>General</c:formatCode>
                <c:ptCount val="2"/>
                <c:pt idx="0">
                  <c:v>0.014533232174756099</c:v>
                </c:pt>
                <c:pt idx="1">
                  <c:v>0.014533232174756099</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571.0437246492334</c:v>
                </c:pt>
                <c:pt idx="1">
                  <c:v>3571.0437246492334</c:v>
                </c:pt>
              </c:numCache>
            </c:numRef>
          </c:xVal>
          <c:yVal>
            <c:numRef>
              <c:f>Sheet1!$B$116:$B$117</c:f>
              <c:numCache>
                <c:formatCode>General</c:formatCode>
                <c:ptCount val="2"/>
                <c:pt idx="0">
                  <c:v>0.01453323217475609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571.0437246492334</c:v>
                </c:pt>
              </c:numCache>
            </c:numRef>
          </c:xVal>
          <c:yVal>
            <c:numRef>
              <c:f>Sheet1!$B$120:$B$121</c:f>
              <c:numCache>
                <c:formatCode>General</c:formatCode>
                <c:ptCount val="2"/>
                <c:pt idx="0">
                  <c:v>0.014533232174756099</c:v>
                </c:pt>
                <c:pt idx="1">
                  <c:v>0.014533232174756099</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571.0437246492334</c:v>
                </c:pt>
                <c:pt idx="1">
                  <c:v>3571.0437246492334</c:v>
                </c:pt>
              </c:numCache>
            </c:numRef>
          </c:xVal>
          <c:yVal>
            <c:numRef>
              <c:f>Sheet1!$B$124:$B$125</c:f>
              <c:numCache>
                <c:formatCode>General</c:formatCode>
                <c:ptCount val="2"/>
                <c:pt idx="0">
                  <c:v>0.01453323217475609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06.713664730105</c:v>
                </c:pt>
              </c:numCache>
            </c:numRef>
          </c:xVal>
          <c:yVal>
            <c:numRef>
              <c:f>Sheet1!$B$128:$B$129</c:f>
              <c:numCache>
                <c:formatCode>General</c:formatCode>
                <c:ptCount val="2"/>
                <c:pt idx="0">
                  <c:v>0.010494436470163064</c:v>
                </c:pt>
                <c:pt idx="1">
                  <c:v>0.010494436470163064</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06.713664730105</c:v>
                </c:pt>
                <c:pt idx="1">
                  <c:v>4206.713664730105</c:v>
                </c:pt>
              </c:numCache>
            </c:numRef>
          </c:xVal>
          <c:yVal>
            <c:numRef>
              <c:f>Sheet1!$B$132:$B$133</c:f>
              <c:numCache>
                <c:formatCode>General</c:formatCode>
                <c:ptCount val="2"/>
                <c:pt idx="0">
                  <c:v>0.0104944364701630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571.0437246492334</c:v>
                </c:pt>
                <c:pt idx="53">
                  <c:v>3571.0437246492334</c:v>
                </c:pt>
                <c:pt idx="54">
                  <c:v>4206.713664730105</c:v>
                </c:pt>
              </c:numCache>
            </c:numRef>
          </c:xVal>
          <c:yVal>
            <c:numRef>
              <c:f>Sheet1!$B$136:$B$190</c:f>
              <c:numCache>
                <c:formatCode>General</c:formatCode>
                <c:ptCount val="55"/>
                <c:pt idx="0">
                  <c:v>0.009072413039823726</c:v>
                </c:pt>
                <c:pt idx="1">
                  <c:v>0.013573724883399401</c:v>
                </c:pt>
                <c:pt idx="2">
                  <c:v>0.009552091155908413</c:v>
                </c:pt>
                <c:pt idx="3">
                  <c:v>0.014090610981038528</c:v>
                </c:pt>
                <c:pt idx="4">
                  <c:v>0.0087957230728275</c:v>
                </c:pt>
                <c:pt idx="5">
                  <c:v>0.006465769077854899</c:v>
                </c:pt>
                <c:pt idx="6">
                  <c:v>0.008570184708901252</c:v>
                </c:pt>
                <c:pt idx="7">
                  <c:v>0.010554458752431967</c:v>
                </c:pt>
                <c:pt idx="8">
                  <c:v>0.011350158191855659</c:v>
                </c:pt>
                <c:pt idx="9">
                  <c:v>0.011340510242675236</c:v>
                </c:pt>
                <c:pt idx="10">
                  <c:v>0.01004224763734599</c:v>
                </c:pt>
                <c:pt idx="11">
                  <c:v>0.01185667711222926</c:v>
                </c:pt>
                <c:pt idx="12">
                  <c:v>0.01304647732673924</c:v>
                </c:pt>
                <c:pt idx="13">
                  <c:v>0.015583663043574492</c:v>
                </c:pt>
                <c:pt idx="14">
                  <c:v>0.015650542360441798</c:v>
                </c:pt>
                <c:pt idx="15">
                  <c:v>0.014231424657756297</c:v>
                </c:pt>
                <c:pt idx="16">
                  <c:v>0.013430616919918998</c:v>
                </c:pt>
                <c:pt idx="17">
                  <c:v>0.018664401573560998</c:v>
                </c:pt>
                <c:pt idx="18">
                  <c:v>0.011217468869841218</c:v>
                </c:pt>
                <c:pt idx="19">
                  <c:v>0.009647443518187079</c:v>
                </c:pt>
                <c:pt idx="20">
                  <c:v>0.011102822515283196</c:v>
                </c:pt>
                <c:pt idx="21">
                  <c:v>0.013260455306382455</c:v>
                </c:pt>
                <c:pt idx="22">
                  <c:v>0.011856278105835758</c:v>
                </c:pt>
                <c:pt idx="23">
                  <c:v>0.017700146711942748</c:v>
                </c:pt>
                <c:pt idx="24">
                  <c:v>0.01190622061787576</c:v>
                </c:pt>
                <c:pt idx="25">
                  <c:v>0.013708280259200008</c:v>
                </c:pt>
                <c:pt idx="26">
                  <c:v>0.012077206293979771</c:v>
                </c:pt>
                <c:pt idx="27">
                  <c:v>0.013849556478361204</c:v>
                </c:pt>
                <c:pt idx="28">
                  <c:v>0.012887520930966675</c:v>
                </c:pt>
                <c:pt idx="29">
                  <c:v>0.014003321978855267</c:v>
                </c:pt>
                <c:pt idx="30">
                  <c:v>0.014479010031004949</c:v>
                </c:pt>
                <c:pt idx="31">
                  <c:v>0.013508179188219928</c:v>
                </c:pt>
                <c:pt idx="32">
                  <c:v>0.010420954262897048</c:v>
                </c:pt>
                <c:pt idx="33">
                  <c:v>0.00778309376888129</c:v>
                </c:pt>
                <c:pt idx="34">
                  <c:v>0.007450919040210495</c:v>
                </c:pt>
                <c:pt idx="35">
                  <c:v>0.01231884024543237</c:v>
                </c:pt>
                <c:pt idx="36">
                  <c:v>0.010382873296016702</c:v>
                </c:pt>
                <c:pt idx="37">
                  <c:v>0.010872816931687047</c:v>
                </c:pt>
                <c:pt idx="38">
                  <c:v>0.014406084623627215</c:v>
                </c:pt>
                <c:pt idx="39">
                  <c:v>0.01700095090802228</c:v>
                </c:pt>
                <c:pt idx="40">
                  <c:v>0.016726714067913484</c:v>
                </c:pt>
                <c:pt idx="41">
                  <c:v>0.015430371522012837</c:v>
                </c:pt>
                <c:pt idx="42">
                  <c:v>0.016424543603457145</c:v>
                </c:pt>
                <c:pt idx="43">
                  <c:v>0.0153170155846287</c:v>
                </c:pt>
                <c:pt idx="44">
                  <c:v>0.011346443874377308</c:v>
                </c:pt>
                <c:pt idx="45">
                  <c:v>0.010717445875211493</c:v>
                </c:pt>
                <c:pt idx="46">
                  <c:v>0.011140325304109265</c:v>
                </c:pt>
                <c:pt idx="47">
                  <c:v>0.01138140267976456</c:v>
                </c:pt>
                <c:pt idx="48">
                  <c:v>0.014247597759263559</c:v>
                </c:pt>
                <c:pt idx="49">
                  <c:v>0.013096766745611808</c:v>
                </c:pt>
                <c:pt idx="50">
                  <c:v>0.011160817586290117</c:v>
                </c:pt>
                <c:pt idx="51">
                  <c:v>0.010453542538261765</c:v>
                </c:pt>
                <c:pt idx="52">
                  <c:v>0.014533232174756099</c:v>
                </c:pt>
                <c:pt idx="53">
                  <c:v>0.014533232174756099</c:v>
                </c:pt>
                <c:pt idx="54">
                  <c:v>0.01049443647016306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638770281810418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1.4719859196245233</c:v>
                </c:pt>
                <c:pt idx="2">
                  <c:v>0.0</c:v>
                </c:pt>
                <c:pt idx="3">
                  <c:v>2.532311380479042</c:v>
                </c:pt>
                <c:pt idx="4">
                  <c:v>2.5258397932816536</c:v>
                </c:pt>
                <c:pt idx="5">
                  <c:v>2.284955028618152</c:v>
                </c:pt>
                <c:pt idx="6">
                  <c:v>1.4157894736842105</c:v>
                </c:pt>
                <c:pt idx="7">
                  <c:v>1.952617638121742</c:v>
                </c:pt>
                <c:pt idx="8">
                  <c:v>2.11747517207473</c:v>
                </c:pt>
                <c:pt idx="9">
                  <c:v>1.6149988405920932</c:v>
                </c:pt>
                <c:pt idx="10">
                  <c:v>1.7408886998383681</c:v>
                </c:pt>
                <c:pt idx="11">
                  <c:v>1.9987465623777194</c:v>
                </c:pt>
                <c:pt idx="12">
                  <c:v>1.779647426823782</c:v>
                </c:pt>
                <c:pt idx="13">
                  <c:v>1.7415646275283672</c:v>
                </c:pt>
                <c:pt idx="14">
                  <c:v>1.7230720918950013</c:v>
                </c:pt>
                <c:pt idx="15">
                  <c:v>1.5377202588352414</c:v>
                </c:pt>
                <c:pt idx="16">
                  <c:v>1.4557690393230465</c:v>
                </c:pt>
                <c:pt idx="17">
                  <c:v>1.1545718502446451</c:v>
                </c:pt>
                <c:pt idx="18">
                  <c:v>1.0079849303135888</c:v>
                </c:pt>
                <c:pt idx="19">
                  <c:v>1.2579403063000347</c:v>
                </c:pt>
                <c:pt idx="20">
                  <c:v>1.1444941168066785</c:v>
                </c:pt>
                <c:pt idx="21">
                  <c:v>0.944922500700084</c:v>
                </c:pt>
                <c:pt idx="22">
                  <c:v>0.4712070051300195</c:v>
                </c:pt>
                <c:pt idx="23">
                  <c:v>0.8400836011396011</c:v>
                </c:pt>
                <c:pt idx="24">
                  <c:v>4.086477564991166</c:v>
                </c:pt>
                <c:pt idx="25">
                  <c:v>4.176918505845119</c:v>
                </c:pt>
                <c:pt idx="26">
                  <c:v>3.1381892229053663</c:v>
                </c:pt>
                <c:pt idx="27">
                  <c:v>2.870354703346322</c:v>
                </c:pt>
                <c:pt idx="28">
                  <c:v>3.488016157989228</c:v>
                </c:pt>
                <c:pt idx="29">
                  <c:v>3.704097755582175</c:v>
                </c:pt>
                <c:pt idx="30">
                  <c:v>2.6989453749362204</c:v>
                </c:pt>
                <c:pt idx="31">
                  <c:v>3.059646702856634</c:v>
                </c:pt>
                <c:pt idx="32">
                  <c:v>2.9769943396226415</c:v>
                </c:pt>
                <c:pt idx="33">
                  <c:v>2.852846078893016</c:v>
                </c:pt>
                <c:pt idx="34">
                  <c:v>2.2734767025089604</c:v>
                </c:pt>
                <c:pt idx="35">
                  <c:v>3.5408545553241875</c:v>
                </c:pt>
                <c:pt idx="36">
                  <c:v>3.43635371731852</c:v>
                </c:pt>
                <c:pt idx="37">
                  <c:v>3.127404034853599</c:v>
                </c:pt>
                <c:pt idx="38">
                  <c:v>2.3905592923794714</c:v>
                </c:pt>
                <c:pt idx="39">
                  <c:v>3.1440651530108585</c:v>
                </c:pt>
                <c:pt idx="40">
                  <c:v>2.8412031458437035</c:v>
                </c:pt>
                <c:pt idx="41">
                  <c:v>3.085305684667519</c:v>
                </c:pt>
                <c:pt idx="42">
                  <c:v>3.397385907210546</c:v>
                </c:pt>
                <c:pt idx="43">
                  <c:v>3.348648145433221</c:v>
                </c:pt>
                <c:pt idx="44">
                  <c:v>2.9037085572365013</c:v>
                </c:pt>
                <c:pt idx="45">
                  <c:v>2.3721791679089517</c:v>
                </c:pt>
                <c:pt idx="46">
                  <c:v>2.482870845272206</c:v>
                </c:pt>
                <c:pt idx="47">
                  <c:v>2.3324718235911797</c:v>
                </c:pt>
                <c:pt idx="48">
                  <c:v>2.871408246225319</c:v>
                </c:pt>
                <c:pt idx="49">
                  <c:v>3.033383120402633</c:v>
                </c:pt>
                <c:pt idx="50">
                  <c:v>2.8558426601466995</c:v>
                </c:pt>
                <c:pt idx="51">
                  <c:v>2.43901571111815</c:v>
                </c:pt>
                <c:pt idx="52">
                  <c:v>2.9548350553718925</c:v>
                </c:pt>
                <c:pt idx="53">
                  <c:v>2.872347007397445</c:v>
                </c:pt>
              </c:numCache>
            </c:numRef>
          </c:xVal>
          <c:yVal>
            <c:numRef>
              <c:f>Sheet1!$B$2:$B$55</c:f>
              <c:numCache>
                <c:formatCode>General</c:formatCode>
                <c:ptCount val="54"/>
                <c:pt idx="0">
                  <c:v>0.0</c:v>
                </c:pt>
                <c:pt idx="1">
                  <c:v>0.00011127183709803049</c:v>
                </c:pt>
                <c:pt idx="2">
                  <c:v>0.0</c:v>
                </c:pt>
                <c:pt idx="3">
                  <c:v>0.00016020506247997436</c:v>
                </c:pt>
                <c:pt idx="4">
                  <c:v>0.00016223231667748214</c:v>
                </c:pt>
                <c:pt idx="5">
                  <c:v>0.0003518648838845883</c:v>
                </c:pt>
                <c:pt idx="6">
                  <c:v>0.0002979737783075089</c:v>
                </c:pt>
                <c:pt idx="7">
                  <c:v>0.0004016601954746285</c:v>
                </c:pt>
                <c:pt idx="8">
                  <c:v>0.0005145356315924878</c:v>
                </c:pt>
                <c:pt idx="9">
                  <c:v>0.001135610864010599</c:v>
                </c:pt>
                <c:pt idx="10">
                  <c:v>0.001323276432446738</c:v>
                </c:pt>
                <c:pt idx="11">
                  <c:v>0.0009779951100244498</c:v>
                </c:pt>
                <c:pt idx="12">
                  <c:v>0.0012340139107022662</c:v>
                </c:pt>
                <c:pt idx="13">
                  <c:v>0.0011427384167878663</c:v>
                </c:pt>
                <c:pt idx="14">
                  <c:v>0.0012358162004269184</c:v>
                </c:pt>
                <c:pt idx="15">
                  <c:v>0.0011818933932159319</c:v>
                </c:pt>
                <c:pt idx="16">
                  <c:v>0.0012903225806451613</c:v>
                </c:pt>
                <c:pt idx="17">
                  <c:v>0.0020873474630700066</c:v>
                </c:pt>
                <c:pt idx="18">
                  <c:v>0.0024429967426710096</c:v>
                </c:pt>
                <c:pt idx="19">
                  <c:v>0.0015891934843067143</c:v>
                </c:pt>
                <c:pt idx="20">
                  <c:v>0.0022794620469569183</c:v>
                </c:pt>
                <c:pt idx="21">
                  <c:v>0.0022878535773710484</c:v>
                </c:pt>
                <c:pt idx="22">
                  <c:v>0.0035419126328217238</c:v>
                </c:pt>
                <c:pt idx="23">
                  <c:v>0.003273679615888258</c:v>
                </c:pt>
                <c:pt idx="24">
                  <c:v>0.002959309494451295</c:v>
                </c:pt>
                <c:pt idx="25">
                  <c:v>0.004326663061114116</c:v>
                </c:pt>
                <c:pt idx="26">
                  <c:v>0.0056673278549164065</c:v>
                </c:pt>
                <c:pt idx="27">
                  <c:v>0.007602153943617358</c:v>
                </c:pt>
                <c:pt idx="28">
                  <c:v>0.005808887598024978</c:v>
                </c:pt>
                <c:pt idx="29">
                  <c:v>0.005313199105145414</c:v>
                </c:pt>
                <c:pt idx="30">
                  <c:v>0.006719184430027804</c:v>
                </c:pt>
                <c:pt idx="31">
                  <c:v>0.007352941176470588</c:v>
                </c:pt>
                <c:pt idx="32">
                  <c:v>0.006654991243432574</c:v>
                </c:pt>
                <c:pt idx="33">
                  <c:v>0.006629448709002094</c:v>
                </c:pt>
                <c:pt idx="34">
                  <c:v>0.007226738934056007</c:v>
                </c:pt>
                <c:pt idx="35">
                  <c:v>0.00614304519526108</c:v>
                </c:pt>
                <c:pt idx="36">
                  <c:v>0.005332806636381592</c:v>
                </c:pt>
                <c:pt idx="37">
                  <c:v>0.00809188201513965</c:v>
                </c:pt>
                <c:pt idx="38">
                  <c:v>0.01072066706372841</c:v>
                </c:pt>
                <c:pt idx="39">
                  <c:v>0.009422492401215805</c:v>
                </c:pt>
                <c:pt idx="40">
                  <c:v>0.010651247717589775</c:v>
                </c:pt>
                <c:pt idx="41">
                  <c:v>0.007865168539325843</c:v>
                </c:pt>
                <c:pt idx="42">
                  <c:v>0.007795582503248159</c:v>
                </c:pt>
                <c:pt idx="43">
                  <c:v>0.007382710169087878</c:v>
                </c:pt>
                <c:pt idx="44">
                  <c:v>0.007853403141361256</c:v>
                </c:pt>
                <c:pt idx="45">
                  <c:v>0.010282161645145864</c:v>
                </c:pt>
                <c:pt idx="46">
                  <c:v>0.011603053435114504</c:v>
                </c:pt>
                <c:pt idx="47">
                  <c:v>0.011056076419600212</c:v>
                </c:pt>
                <c:pt idx="48">
                  <c:v>0.010124847746650427</c:v>
                </c:pt>
                <c:pt idx="49">
                  <c:v>0.007862076711405626</c:v>
                </c:pt>
                <c:pt idx="50">
                  <c:v>0.011566018423746162</c:v>
                </c:pt>
                <c:pt idx="51">
                  <c:v>0.010702243072863217</c:v>
                </c:pt>
                <c:pt idx="52">
                  <c:v>0.008641382621219395</c:v>
                </c:pt>
                <c:pt idx="53">
                  <c:v>0.007338910905621606</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2.8945081904506056</c:v>
                </c:pt>
                <c:pt idx="1">
                  <c:v>3.0423912865783875</c:v>
                </c:pt>
                <c:pt idx="2">
                  <c:v>3.081873958813288</c:v>
                </c:pt>
                <c:pt idx="3">
                  <c:v>2.475198980198861</c:v>
                </c:pt>
                <c:pt idx="4">
                  <c:v>3.262837926632168</c:v>
                </c:pt>
                <c:pt idx="5">
                  <c:v>3.1625366253803</c:v>
                </c:pt>
                <c:pt idx="6">
                  <c:v>3.3079578213827254</c:v>
                </c:pt>
                <c:pt idx="7">
                  <c:v>3.441087681902029</c:v>
                </c:pt>
                <c:pt idx="8">
                  <c:v>3.1510298380613517</c:v>
                </c:pt>
                <c:pt idx="9">
                  <c:v>3.702665514235252</c:v>
                </c:pt>
                <c:pt idx="10">
                  <c:v>3.7263798780487805</c:v>
                </c:pt>
                <c:pt idx="11">
                  <c:v>2.7820970731707315</c:v>
                </c:pt>
                <c:pt idx="12">
                  <c:v>3.437258807588076</c:v>
                </c:pt>
                <c:pt idx="13">
                  <c:v>2.1715507794165947</c:v>
                </c:pt>
                <c:pt idx="14">
                  <c:v>2.6712739575137685</c:v>
                </c:pt>
                <c:pt idx="15">
                  <c:v>2.6584960969786025</c:v>
                </c:pt>
                <c:pt idx="16">
                  <c:v>2.7712010360777057</c:v>
                </c:pt>
                <c:pt idx="17">
                  <c:v>2.501250267608649</c:v>
                </c:pt>
                <c:pt idx="18">
                  <c:v>2.852205505226481</c:v>
                </c:pt>
                <c:pt idx="19">
                  <c:v>2.926844642617616</c:v>
                </c:pt>
                <c:pt idx="20">
                  <c:v>2.3873166085946576</c:v>
                </c:pt>
                <c:pt idx="21">
                  <c:v>2.730895944967415</c:v>
                </c:pt>
                <c:pt idx="22">
                  <c:v>1.5456337979094077</c:v>
                </c:pt>
                <c:pt idx="23">
                  <c:v>0.9732657586316122</c:v>
                </c:pt>
                <c:pt idx="24">
                  <c:v>1.4746527017024427</c:v>
                </c:pt>
                <c:pt idx="25">
                  <c:v>2.714750559325142</c:v>
                </c:pt>
                <c:pt idx="26">
                  <c:v>2.578800986559492</c:v>
                </c:pt>
                <c:pt idx="27">
                  <c:v>2.890201209930861</c:v>
                </c:pt>
                <c:pt idx="28">
                  <c:v>3.376290373765867</c:v>
                </c:pt>
                <c:pt idx="29">
                  <c:v>2.546652822299652</c:v>
                </c:pt>
                <c:pt idx="30">
                  <c:v>2.831104537815126</c:v>
                </c:pt>
                <c:pt idx="31">
                  <c:v>2.5593448356421677</c:v>
                </c:pt>
                <c:pt idx="32">
                  <c:v>2.593735921166959</c:v>
                </c:pt>
                <c:pt idx="33">
                  <c:v>3.3402290438488755</c:v>
                </c:pt>
                <c:pt idx="34">
                  <c:v>3.2070118293119205</c:v>
                </c:pt>
                <c:pt idx="35">
                  <c:v>2.933346953941763</c:v>
                </c:pt>
                <c:pt idx="36">
                  <c:v>3.6796800522648088</c:v>
                </c:pt>
                <c:pt idx="37">
                  <c:v>3.284098828001267</c:v>
                </c:pt>
                <c:pt idx="38">
                  <c:v>2.3171090463285586</c:v>
                </c:pt>
                <c:pt idx="39">
                  <c:v>2.4742009710857986</c:v>
                </c:pt>
                <c:pt idx="40">
                  <c:v>2.569547156284849</c:v>
                </c:pt>
                <c:pt idx="41">
                  <c:v>2.5399966808194687</c:v>
                </c:pt>
                <c:pt idx="42">
                  <c:v>2.608954553428412</c:v>
                </c:pt>
                <c:pt idx="43">
                  <c:v>2.895388032752467</c:v>
                </c:pt>
                <c:pt idx="44">
                  <c:v>3.2210792844716507</c:v>
                </c:pt>
                <c:pt idx="45">
                  <c:v>3.3413007609130956</c:v>
                </c:pt>
                <c:pt idx="46">
                  <c:v>3.0377824626981367</c:v>
                </c:pt>
                <c:pt idx="47">
                  <c:v>3.0537158978992567</c:v>
                </c:pt>
                <c:pt idx="48">
                  <c:v>3.587746496341312</c:v>
                </c:pt>
                <c:pt idx="49">
                  <c:v>3.230500595541943</c:v>
                </c:pt>
                <c:pt idx="50">
                  <c:v>3.44981606391926</c:v>
                </c:pt>
                <c:pt idx="51">
                  <c:v>3.1740465203879835</c:v>
                </c:pt>
              </c:numCache>
            </c:numRef>
          </c:xVal>
          <c:yVal>
            <c:numRef>
              <c:f>Sheet1!$B$58:$B$109</c:f>
              <c:numCache>
                <c:formatCode>General</c:formatCode>
                <c:ptCount val="52"/>
                <c:pt idx="0">
                  <c:v>0.007357859531772575</c:v>
                </c:pt>
                <c:pt idx="1">
                  <c:v>0.009232954545454546</c:v>
                </c:pt>
                <c:pt idx="2">
                  <c:v>0.008044856167723062</c:v>
                </c:pt>
                <c:pt idx="3">
                  <c:v>0.0093603744149766</c:v>
                </c:pt>
                <c:pt idx="4">
                  <c:v>0.008845999195818254</c:v>
                </c:pt>
                <c:pt idx="5">
                  <c:v>0.007494083618196161</c:v>
                </c:pt>
                <c:pt idx="6">
                  <c:v>0.007909735954402699</c:v>
                </c:pt>
                <c:pt idx="7">
                  <c:v>0.00966183574879227</c:v>
                </c:pt>
                <c:pt idx="8">
                  <c:v>0.012172284644194757</c:v>
                </c:pt>
                <c:pt idx="9">
                  <c:v>0.011979078791968956</c:v>
                </c:pt>
                <c:pt idx="10">
                  <c:v>0.011331910001642305</c:v>
                </c:pt>
                <c:pt idx="11">
                  <c:v>0.010759844703272323</c:v>
                </c:pt>
                <c:pt idx="12">
                  <c:v>0.0115077808290833</c:v>
                </c:pt>
                <c:pt idx="13">
                  <c:v>0.017859735733991577</c:v>
                </c:pt>
                <c:pt idx="14">
                  <c:v>0.017518939393939392</c:v>
                </c:pt>
                <c:pt idx="15">
                  <c:v>0.017283519553072627</c:v>
                </c:pt>
                <c:pt idx="16">
                  <c:v>0.016779210149375896</c:v>
                </c:pt>
                <c:pt idx="17">
                  <c:v>0.021989752348420155</c:v>
                </c:pt>
                <c:pt idx="18">
                  <c:v>0.011163895486935867</c:v>
                </c:pt>
                <c:pt idx="19">
                  <c:v>0.010779029887310143</c:v>
                </c:pt>
                <c:pt idx="20">
                  <c:v>0.01400800457404231</c:v>
                </c:pt>
                <c:pt idx="21">
                  <c:v>0.015971316818774447</c:v>
                </c:pt>
                <c:pt idx="22">
                  <c:v>0.014182058047493404</c:v>
                </c:pt>
                <c:pt idx="23">
                  <c:v>0.015442690459849005</c:v>
                </c:pt>
                <c:pt idx="24">
                  <c:v>0.013839716768587062</c:v>
                </c:pt>
                <c:pt idx="25">
                  <c:v>0.014233697451175108</c:v>
                </c:pt>
                <c:pt idx="26">
                  <c:v>0.014115432873274781</c:v>
                </c:pt>
                <c:pt idx="27">
                  <c:v>0.015054362977418455</c:v>
                </c:pt>
                <c:pt idx="28">
                  <c:v>0.011931962427011932</c:v>
                </c:pt>
                <c:pt idx="29">
                  <c:v>0.014798488664987406</c:v>
                </c:pt>
                <c:pt idx="30">
                  <c:v>0.014186633039092055</c:v>
                </c:pt>
                <c:pt idx="31">
                  <c:v>0.015146415348367553</c:v>
                </c:pt>
                <c:pt idx="32">
                  <c:v>0.012669416617560401</c:v>
                </c:pt>
                <c:pt idx="33">
                  <c:v>0.009710880600308983</c:v>
                </c:pt>
                <c:pt idx="34">
                  <c:v>0.009222202888463546</c:v>
                </c:pt>
                <c:pt idx="35">
                  <c:v>0.012630662020905924</c:v>
                </c:pt>
                <c:pt idx="36">
                  <c:v>0.015759312320916905</c:v>
                </c:pt>
                <c:pt idx="37">
                  <c:v>0.016490765171503958</c:v>
                </c:pt>
                <c:pt idx="38">
                  <c:v>0.02030075187969925</c:v>
                </c:pt>
                <c:pt idx="39">
                  <c:v>0.01862503423719529</c:v>
                </c:pt>
                <c:pt idx="40">
                  <c:v>0.016981132075471698</c:v>
                </c:pt>
                <c:pt idx="41">
                  <c:v>0.014143920595533498</c:v>
                </c:pt>
                <c:pt idx="42">
                  <c:v>0.01620699459766847</c:v>
                </c:pt>
                <c:pt idx="43">
                  <c:v>0.013080444735120994</c:v>
                </c:pt>
                <c:pt idx="44">
                  <c:v>0.009119607155384075</c:v>
                </c:pt>
                <c:pt idx="45">
                  <c:v>0.007003317360855142</c:v>
                </c:pt>
                <c:pt idx="46">
                  <c:v>0.007540190638782188</c:v>
                </c:pt>
                <c:pt idx="47">
                  <c:v>0.00681847420558343</c:v>
                </c:pt>
                <c:pt idx="48">
                  <c:v>0.007529805480025099</c:v>
                </c:pt>
                <c:pt idx="49">
                  <c:v>0.006729737637764557</c:v>
                </c:pt>
                <c:pt idx="50">
                  <c:v>0.005438343598479885</c:v>
                </c:pt>
                <c:pt idx="51">
                  <c:v>0.007210671794255498</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2.30324224904078</c:v>
                </c:pt>
              </c:numCache>
            </c:numRef>
          </c:xVal>
          <c:yVal>
            <c:numRef>
              <c:f>Sheet1!$B$112:$B$113</c:f>
              <c:numCache>
                <c:formatCode>General</c:formatCode>
                <c:ptCount val="2"/>
                <c:pt idx="0">
                  <c:v>0.014533232174756099</c:v>
                </c:pt>
                <c:pt idx="1">
                  <c:v>0.014533232174756099</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2.30324224904078</c:v>
                </c:pt>
                <c:pt idx="1">
                  <c:v>2.30324224904078</c:v>
                </c:pt>
              </c:numCache>
            </c:numRef>
          </c:xVal>
          <c:yVal>
            <c:numRef>
              <c:f>Sheet1!$B$116:$B$117</c:f>
              <c:numCache>
                <c:formatCode>General</c:formatCode>
                <c:ptCount val="2"/>
                <c:pt idx="0">
                  <c:v>0.01453323217475609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2.30324224904078</c:v>
                </c:pt>
              </c:numCache>
            </c:numRef>
          </c:xVal>
          <c:yVal>
            <c:numRef>
              <c:f>Sheet1!$B$120:$B$121</c:f>
              <c:numCache>
                <c:formatCode>General</c:formatCode>
                <c:ptCount val="2"/>
                <c:pt idx="0">
                  <c:v>0.014533232174756099</c:v>
                </c:pt>
                <c:pt idx="1">
                  <c:v>0.014533232174756099</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2.30324224904078</c:v>
                </c:pt>
                <c:pt idx="1">
                  <c:v>2.30324224904078</c:v>
                </c:pt>
              </c:numCache>
            </c:numRef>
          </c:xVal>
          <c:yVal>
            <c:numRef>
              <c:f>Sheet1!$B$124:$B$125</c:f>
              <c:numCache>
                <c:formatCode>General</c:formatCode>
                <c:ptCount val="2"/>
                <c:pt idx="0">
                  <c:v>0.01453323217475609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3.3771178304031233</c:v>
                </c:pt>
              </c:numCache>
            </c:numRef>
          </c:xVal>
          <c:yVal>
            <c:numRef>
              <c:f>Sheet1!$B$128:$B$129</c:f>
              <c:numCache>
                <c:formatCode>General</c:formatCode>
                <c:ptCount val="2"/>
                <c:pt idx="0">
                  <c:v>0.010494436470163064</c:v>
                </c:pt>
                <c:pt idx="1">
                  <c:v>0.010494436470163064</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3.3771178304031233</c:v>
                </c:pt>
                <c:pt idx="1">
                  <c:v>3.3771178304031233</c:v>
                </c:pt>
              </c:numCache>
            </c:numRef>
          </c:xVal>
          <c:yVal>
            <c:numRef>
              <c:f>Sheet1!$B$132:$B$133</c:f>
              <c:numCache>
                <c:formatCode>General</c:formatCode>
                <c:ptCount val="2"/>
                <c:pt idx="0">
                  <c:v>0.0104944364701630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2.8945081904506056</c:v>
                </c:pt>
                <c:pt idx="1">
                  <c:v>3.0423912865783875</c:v>
                </c:pt>
                <c:pt idx="2">
                  <c:v>3.081873958813288</c:v>
                </c:pt>
                <c:pt idx="3">
                  <c:v>2.475198980198861</c:v>
                </c:pt>
                <c:pt idx="4">
                  <c:v>3.262837926632168</c:v>
                </c:pt>
                <c:pt idx="5">
                  <c:v>3.1625366253803</c:v>
                </c:pt>
                <c:pt idx="6">
                  <c:v>3.3079578213827254</c:v>
                </c:pt>
                <c:pt idx="7">
                  <c:v>3.441087681902029</c:v>
                </c:pt>
                <c:pt idx="8">
                  <c:v>3.1510298380613517</c:v>
                </c:pt>
                <c:pt idx="9">
                  <c:v>3.702665514235252</c:v>
                </c:pt>
                <c:pt idx="10">
                  <c:v>3.7263798780487805</c:v>
                </c:pt>
                <c:pt idx="11">
                  <c:v>2.7820970731707315</c:v>
                </c:pt>
                <c:pt idx="12">
                  <c:v>3.437258807588076</c:v>
                </c:pt>
                <c:pt idx="13">
                  <c:v>2.1715507794165947</c:v>
                </c:pt>
                <c:pt idx="14">
                  <c:v>2.6712739575137685</c:v>
                </c:pt>
                <c:pt idx="15">
                  <c:v>2.6584960969786025</c:v>
                </c:pt>
                <c:pt idx="16">
                  <c:v>2.7712010360777057</c:v>
                </c:pt>
                <c:pt idx="17">
                  <c:v>2.501250267608649</c:v>
                </c:pt>
                <c:pt idx="18">
                  <c:v>2.852205505226481</c:v>
                </c:pt>
                <c:pt idx="19">
                  <c:v>2.926844642617616</c:v>
                </c:pt>
                <c:pt idx="20">
                  <c:v>2.3873166085946576</c:v>
                </c:pt>
                <c:pt idx="21">
                  <c:v>2.730895944967415</c:v>
                </c:pt>
                <c:pt idx="22">
                  <c:v>1.5456337979094077</c:v>
                </c:pt>
                <c:pt idx="23">
                  <c:v>0.9732657586316122</c:v>
                </c:pt>
                <c:pt idx="24">
                  <c:v>1.4746527017024427</c:v>
                </c:pt>
                <c:pt idx="25">
                  <c:v>2.714750559325142</c:v>
                </c:pt>
                <c:pt idx="26">
                  <c:v>2.578800986559492</c:v>
                </c:pt>
                <c:pt idx="27">
                  <c:v>2.890201209930861</c:v>
                </c:pt>
                <c:pt idx="28">
                  <c:v>3.376290373765867</c:v>
                </c:pt>
                <c:pt idx="29">
                  <c:v>2.546652822299652</c:v>
                </c:pt>
                <c:pt idx="30">
                  <c:v>2.831104537815126</c:v>
                </c:pt>
                <c:pt idx="31">
                  <c:v>2.5593448356421677</c:v>
                </c:pt>
                <c:pt idx="32">
                  <c:v>2.593735921166959</c:v>
                </c:pt>
                <c:pt idx="33">
                  <c:v>3.3402290438488755</c:v>
                </c:pt>
                <c:pt idx="34">
                  <c:v>3.2070118293119205</c:v>
                </c:pt>
                <c:pt idx="35">
                  <c:v>2.933346953941763</c:v>
                </c:pt>
                <c:pt idx="36">
                  <c:v>3.6796800522648088</c:v>
                </c:pt>
                <c:pt idx="37">
                  <c:v>3.284098828001267</c:v>
                </c:pt>
                <c:pt idx="38">
                  <c:v>2.3171090463285586</c:v>
                </c:pt>
                <c:pt idx="39">
                  <c:v>2.4742009710857986</c:v>
                </c:pt>
                <c:pt idx="40">
                  <c:v>2.569547156284849</c:v>
                </c:pt>
                <c:pt idx="41">
                  <c:v>2.5399966808194687</c:v>
                </c:pt>
                <c:pt idx="42">
                  <c:v>2.608954553428412</c:v>
                </c:pt>
                <c:pt idx="43">
                  <c:v>2.895388032752467</c:v>
                </c:pt>
                <c:pt idx="44">
                  <c:v>3.2210792844716507</c:v>
                </c:pt>
                <c:pt idx="45">
                  <c:v>3.3413007609130956</c:v>
                </c:pt>
                <c:pt idx="46">
                  <c:v>3.0377824626981367</c:v>
                </c:pt>
                <c:pt idx="47">
                  <c:v>3.0537158978992567</c:v>
                </c:pt>
                <c:pt idx="48">
                  <c:v>3.587746496341312</c:v>
                </c:pt>
                <c:pt idx="49">
                  <c:v>3.230500595541943</c:v>
                </c:pt>
                <c:pt idx="50">
                  <c:v>3.44981606391926</c:v>
                </c:pt>
                <c:pt idx="51">
                  <c:v>3.1740465203879835</c:v>
                </c:pt>
                <c:pt idx="52">
                  <c:v>2.30324224904078</c:v>
                </c:pt>
                <c:pt idx="53">
                  <c:v>2.30324224904078</c:v>
                </c:pt>
                <c:pt idx="54">
                  <c:v>3.3771178304031233</c:v>
                </c:pt>
              </c:numCache>
            </c:numRef>
          </c:xVal>
          <c:yVal>
            <c:numRef>
              <c:f>Sheet1!$B$136:$B$190</c:f>
              <c:numCache>
                <c:formatCode>General</c:formatCode>
                <c:ptCount val="55"/>
                <c:pt idx="0">
                  <c:v>0.012309508695162041</c:v>
                </c:pt>
                <c:pt idx="1">
                  <c:v>0.011753327305261086</c:v>
                </c:pt>
                <c:pt idx="2">
                  <c:v>0.011604834826434188</c:v>
                </c:pt>
                <c:pt idx="3">
                  <c:v>0.013886510972383604</c:v>
                </c:pt>
                <c:pt idx="4">
                  <c:v>0.010924237829353952</c:v>
                </c:pt>
                <c:pt idx="5">
                  <c:v>0.011301466319964775</c:v>
                </c:pt>
                <c:pt idx="6">
                  <c:v>0.010754544020990174</c:v>
                </c:pt>
                <c:pt idx="7">
                  <c:v>0.010253848858393857</c:v>
                </c:pt>
                <c:pt idx="8">
                  <c:v>0.01134474280748717</c:v>
                </c:pt>
                <c:pt idx="9">
                  <c:v>0.009270066897075836</c:v>
                </c:pt>
                <c:pt idx="10">
                  <c:v>0.009180878286803378</c:v>
                </c:pt>
                <c:pt idx="11">
                  <c:v>0.01273228163599239</c:v>
                </c:pt>
                <c:pt idx="12">
                  <c:v>0.010268249075142434</c:v>
                </c:pt>
                <c:pt idx="13">
                  <c:v>0.015028517616645889</c:v>
                </c:pt>
                <c:pt idx="14">
                  <c:v>0.013149082177184634</c:v>
                </c:pt>
                <c:pt idx="15">
                  <c:v>0.013197139111469188</c:v>
                </c:pt>
                <c:pt idx="16">
                  <c:v>0.012773261120554812</c:v>
                </c:pt>
                <c:pt idx="17">
                  <c:v>0.013788533302050238</c:v>
                </c:pt>
                <c:pt idx="18">
                  <c:v>0.012468607110603427</c:v>
                </c:pt>
                <c:pt idx="19">
                  <c:v>0.012187892814905022</c:v>
                </c:pt>
                <c:pt idx="20">
                  <c:v>0.014217032450946531</c:v>
                </c:pt>
                <c:pt idx="21">
                  <c:v>0.012924846678206623</c:v>
                </c:pt>
                <c:pt idx="22">
                  <c:v>0.017382562033165766</c:v>
                </c:pt>
                <c:pt idx="23">
                  <c:v>0.019535211389014654</c:v>
                </c:pt>
                <c:pt idx="24">
                  <c:v>0.01764951860750589</c:v>
                </c:pt>
                <c:pt idx="25">
                  <c:v>0.012985568716506708</c:v>
                </c:pt>
                <c:pt idx="26">
                  <c:v>0.01349686868463765</c:v>
                </c:pt>
                <c:pt idx="27">
                  <c:v>0.012325707046930916</c:v>
                </c:pt>
                <c:pt idx="28">
                  <c:v>0.01049754849577412</c:v>
                </c:pt>
                <c:pt idx="29">
                  <c:v>0.01361777642290513</c:v>
                </c:pt>
                <c:pt idx="30">
                  <c:v>0.01254796685955649</c:v>
                </c:pt>
                <c:pt idx="31">
                  <c:v>0.013570042355886528</c:v>
                </c:pt>
                <c:pt idx="32">
                  <c:v>0.013440699095918173</c:v>
                </c:pt>
                <c:pt idx="33">
                  <c:v>0.010633173466579295</c:v>
                </c:pt>
                <c:pt idx="34">
                  <c:v>0.011134197163539734</c:v>
                </c:pt>
                <c:pt idx="35">
                  <c:v>0.01216343792692575</c:v>
                </c:pt>
                <c:pt idx="36">
                  <c:v>0.009356514141696614</c:v>
                </c:pt>
                <c:pt idx="37">
                  <c:v>0.010844276576285549</c:v>
                </c:pt>
                <c:pt idx="38">
                  <c:v>0.014481079800408136</c:v>
                </c:pt>
                <c:pt idx="39">
                  <c:v>0.013890264437858502</c:v>
                </c:pt>
                <c:pt idx="40">
                  <c:v>0.013531671906363623</c:v>
                </c:pt>
                <c:pt idx="41">
                  <c:v>0.013642809858887744</c:v>
                </c:pt>
                <c:pt idx="42">
                  <c:v>0.013383462533625394</c:v>
                </c:pt>
                <c:pt idx="43">
                  <c:v>0.01230619964952291</c:v>
                </c:pt>
                <c:pt idx="44">
                  <c:v>0.01108129012434475</c:v>
                </c:pt>
                <c:pt idx="45">
                  <c:v>0.010629142788956455</c:v>
                </c:pt>
                <c:pt idx="46">
                  <c:v>0.011770660875754577</c:v>
                </c:pt>
                <c:pt idx="47">
                  <c:v>0.011710735973124744</c:v>
                </c:pt>
                <c:pt idx="48">
                  <c:v>0.00970227193451349</c:v>
                </c:pt>
                <c:pt idx="49">
                  <c:v>0.011045857015199965</c:v>
                </c:pt>
                <c:pt idx="50">
                  <c:v>0.010221021822924331</c:v>
                </c:pt>
                <c:pt idx="51">
                  <c:v>0.011258178144570773</c:v>
                </c:pt>
                <c:pt idx="52">
                  <c:v>0.014533232174756099</c:v>
                </c:pt>
                <c:pt idx="53">
                  <c:v>0.014533232174756099</c:v>
                </c:pt>
                <c:pt idx="54">
                  <c:v>0.01049443647016306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6387702818104184"/>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0.00011127183709803049</c:v>
                </c:pt>
                <c:pt idx="2">
                  <c:v>0.0</c:v>
                </c:pt>
                <c:pt idx="3">
                  <c:v>0.00016020506247997436</c:v>
                </c:pt>
                <c:pt idx="4">
                  <c:v>0.00016223231667748214</c:v>
                </c:pt>
                <c:pt idx="5">
                  <c:v>0.0003518648838845883</c:v>
                </c:pt>
                <c:pt idx="6">
                  <c:v>0.0002979737783075089</c:v>
                </c:pt>
                <c:pt idx="7">
                  <c:v>0.0004016601954746285</c:v>
                </c:pt>
                <c:pt idx="8">
                  <c:v>0.0005145356315924878</c:v>
                </c:pt>
                <c:pt idx="9">
                  <c:v>0.001135610864010599</c:v>
                </c:pt>
                <c:pt idx="10">
                  <c:v>0.001323276432446738</c:v>
                </c:pt>
                <c:pt idx="11">
                  <c:v>0.0009779951100244498</c:v>
                </c:pt>
                <c:pt idx="12">
                  <c:v>0.0012340139107022662</c:v>
                </c:pt>
                <c:pt idx="13">
                  <c:v>0.0011427384167878663</c:v>
                </c:pt>
                <c:pt idx="14">
                  <c:v>0.0012358162004269184</c:v>
                </c:pt>
                <c:pt idx="15">
                  <c:v>0.0011818933932159319</c:v>
                </c:pt>
                <c:pt idx="16">
                  <c:v>0.0012903225806451613</c:v>
                </c:pt>
                <c:pt idx="17">
                  <c:v>0.0020873474630700066</c:v>
                </c:pt>
                <c:pt idx="18">
                  <c:v>0.0024429967426710096</c:v>
                </c:pt>
                <c:pt idx="19">
                  <c:v>0.0015891934843067143</c:v>
                </c:pt>
                <c:pt idx="20">
                  <c:v>0.0022794620469569183</c:v>
                </c:pt>
                <c:pt idx="21">
                  <c:v>0.0022878535773710484</c:v>
                </c:pt>
                <c:pt idx="22">
                  <c:v>0.0035419126328217238</c:v>
                </c:pt>
                <c:pt idx="23">
                  <c:v>0.003273679615888258</c:v>
                </c:pt>
                <c:pt idx="24">
                  <c:v>0.002959309494451295</c:v>
                </c:pt>
                <c:pt idx="25">
                  <c:v>0.004326663061114116</c:v>
                </c:pt>
                <c:pt idx="26">
                  <c:v>0.0056673278549164065</c:v>
                </c:pt>
                <c:pt idx="27">
                  <c:v>0.007602153943617358</c:v>
                </c:pt>
                <c:pt idx="28">
                  <c:v>0.005808887598024978</c:v>
                </c:pt>
                <c:pt idx="29">
                  <c:v>0.005313199105145414</c:v>
                </c:pt>
                <c:pt idx="30">
                  <c:v>0.006719184430027804</c:v>
                </c:pt>
                <c:pt idx="31">
                  <c:v>0.007352941176470588</c:v>
                </c:pt>
                <c:pt idx="32">
                  <c:v>0.006654991243432574</c:v>
                </c:pt>
                <c:pt idx="33">
                  <c:v>0.006629448709002094</c:v>
                </c:pt>
                <c:pt idx="34">
                  <c:v>0.007226738934056007</c:v>
                </c:pt>
                <c:pt idx="35">
                  <c:v>0.00614304519526108</c:v>
                </c:pt>
                <c:pt idx="36">
                  <c:v>0.005332806636381592</c:v>
                </c:pt>
                <c:pt idx="37">
                  <c:v>0.00809188201513965</c:v>
                </c:pt>
                <c:pt idx="38">
                  <c:v>0.01072066706372841</c:v>
                </c:pt>
                <c:pt idx="39">
                  <c:v>0.009422492401215805</c:v>
                </c:pt>
                <c:pt idx="40">
                  <c:v>0.010651247717589775</c:v>
                </c:pt>
                <c:pt idx="41">
                  <c:v>0.007865168539325843</c:v>
                </c:pt>
                <c:pt idx="42">
                  <c:v>0.007795582503248159</c:v>
                </c:pt>
                <c:pt idx="43">
                  <c:v>0.007382710169087878</c:v>
                </c:pt>
                <c:pt idx="44">
                  <c:v>0.007853403141361256</c:v>
                </c:pt>
                <c:pt idx="45">
                  <c:v>0.010282161645145864</c:v>
                </c:pt>
                <c:pt idx="46">
                  <c:v>0.011603053435114504</c:v>
                </c:pt>
                <c:pt idx="47">
                  <c:v>0.011056076419600212</c:v>
                </c:pt>
                <c:pt idx="48">
                  <c:v>0.010124847746650427</c:v>
                </c:pt>
                <c:pt idx="49">
                  <c:v>0.007862076711405626</c:v>
                </c:pt>
                <c:pt idx="50">
                  <c:v>0.011566018423746162</c:v>
                </c:pt>
                <c:pt idx="51">
                  <c:v>0.010702243072863217</c:v>
                </c:pt>
                <c:pt idx="52">
                  <c:v>0.008641382621219395</c:v>
                </c:pt>
                <c:pt idx="53">
                  <c:v>0.007338910905621606</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7357859531772575</c:v>
                </c:pt>
                <c:pt idx="1">
                  <c:v>0.009232954545454546</c:v>
                </c:pt>
                <c:pt idx="2">
                  <c:v>0.008044856167723062</c:v>
                </c:pt>
                <c:pt idx="3">
                  <c:v>0.0093603744149766</c:v>
                </c:pt>
                <c:pt idx="4">
                  <c:v>0.008845999195818254</c:v>
                </c:pt>
                <c:pt idx="5">
                  <c:v>0.007494083618196161</c:v>
                </c:pt>
                <c:pt idx="6">
                  <c:v>0.007909735954402699</c:v>
                </c:pt>
                <c:pt idx="7">
                  <c:v>0.00966183574879227</c:v>
                </c:pt>
                <c:pt idx="8">
                  <c:v>0.012172284644194757</c:v>
                </c:pt>
                <c:pt idx="9">
                  <c:v>0.011979078791968956</c:v>
                </c:pt>
                <c:pt idx="10">
                  <c:v>0.011331910001642305</c:v>
                </c:pt>
                <c:pt idx="11">
                  <c:v>0.010759844703272323</c:v>
                </c:pt>
                <c:pt idx="12">
                  <c:v>0.0115077808290833</c:v>
                </c:pt>
                <c:pt idx="13">
                  <c:v>0.017859735733991577</c:v>
                </c:pt>
                <c:pt idx="14">
                  <c:v>0.017518939393939392</c:v>
                </c:pt>
                <c:pt idx="15">
                  <c:v>0.017283519553072627</c:v>
                </c:pt>
                <c:pt idx="16">
                  <c:v>0.016779210149375896</c:v>
                </c:pt>
                <c:pt idx="17">
                  <c:v>0.021989752348420155</c:v>
                </c:pt>
                <c:pt idx="18">
                  <c:v>0.011163895486935867</c:v>
                </c:pt>
                <c:pt idx="19">
                  <c:v>0.010779029887310143</c:v>
                </c:pt>
                <c:pt idx="20">
                  <c:v>0.01400800457404231</c:v>
                </c:pt>
                <c:pt idx="21">
                  <c:v>0.015971316818774447</c:v>
                </c:pt>
                <c:pt idx="22">
                  <c:v>0.014182058047493404</c:v>
                </c:pt>
                <c:pt idx="23">
                  <c:v>0.015442690459849005</c:v>
                </c:pt>
                <c:pt idx="24">
                  <c:v>0.013839716768587062</c:v>
                </c:pt>
                <c:pt idx="25">
                  <c:v>0.014233697451175108</c:v>
                </c:pt>
                <c:pt idx="26">
                  <c:v>0.014115432873274781</c:v>
                </c:pt>
                <c:pt idx="27">
                  <c:v>0.015054362977418455</c:v>
                </c:pt>
                <c:pt idx="28">
                  <c:v>0.011931962427011932</c:v>
                </c:pt>
                <c:pt idx="29">
                  <c:v>0.014798488664987406</c:v>
                </c:pt>
                <c:pt idx="30">
                  <c:v>0.014186633039092055</c:v>
                </c:pt>
                <c:pt idx="31">
                  <c:v>0.015146415348367553</c:v>
                </c:pt>
                <c:pt idx="32">
                  <c:v>0.012669416617560401</c:v>
                </c:pt>
                <c:pt idx="33">
                  <c:v>0.009710880600308983</c:v>
                </c:pt>
                <c:pt idx="34">
                  <c:v>0.009222202888463546</c:v>
                </c:pt>
                <c:pt idx="35">
                  <c:v>0.012630662020905924</c:v>
                </c:pt>
                <c:pt idx="36">
                  <c:v>0.015759312320916905</c:v>
                </c:pt>
                <c:pt idx="37">
                  <c:v>0.016490765171503958</c:v>
                </c:pt>
                <c:pt idx="38">
                  <c:v>0.02030075187969925</c:v>
                </c:pt>
                <c:pt idx="39">
                  <c:v>0.01862503423719529</c:v>
                </c:pt>
                <c:pt idx="40">
                  <c:v>0.016981132075471698</c:v>
                </c:pt>
                <c:pt idx="41">
                  <c:v>0.014143920595533498</c:v>
                </c:pt>
                <c:pt idx="42">
                  <c:v>0.01620699459766847</c:v>
                </c:pt>
                <c:pt idx="43">
                  <c:v>0.013080444735120994</c:v>
                </c:pt>
                <c:pt idx="44">
                  <c:v>0.009119607155384075</c:v>
                </c:pt>
                <c:pt idx="45">
                  <c:v>0.007003317360855142</c:v>
                </c:pt>
                <c:pt idx="46">
                  <c:v>0.007540190638782188</c:v>
                </c:pt>
                <c:pt idx="47">
                  <c:v>0.00681847420558343</c:v>
                </c:pt>
                <c:pt idx="48">
                  <c:v>0.007529805480025099</c:v>
                </c:pt>
                <c:pt idx="49">
                  <c:v>0.006729737637764557</c:v>
                </c:pt>
                <c:pt idx="50">
                  <c:v>0.005438343598479885</c:v>
                </c:pt>
                <c:pt idx="51">
                  <c:v>0.007210671794255498</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571.0437246492334</c:v>
                </c:pt>
              </c:numCache>
            </c:numRef>
          </c:xVal>
          <c:yVal>
            <c:numRef>
              <c:f>Sheet1!$B$112:$B$113</c:f>
              <c:numCache>
                <c:formatCode>General</c:formatCode>
                <c:ptCount val="2"/>
                <c:pt idx="0">
                  <c:v>0.014533232174756099</c:v>
                </c:pt>
                <c:pt idx="1">
                  <c:v>0.014533232174756099</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571.0437246492334</c:v>
                </c:pt>
                <c:pt idx="1">
                  <c:v>3571.0437246492334</c:v>
                </c:pt>
              </c:numCache>
            </c:numRef>
          </c:xVal>
          <c:yVal>
            <c:numRef>
              <c:f>Sheet1!$B$116:$B$117</c:f>
              <c:numCache>
                <c:formatCode>General</c:formatCode>
                <c:ptCount val="2"/>
                <c:pt idx="0">
                  <c:v>0.01453323217475609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571.0437246492334</c:v>
                </c:pt>
              </c:numCache>
            </c:numRef>
          </c:xVal>
          <c:yVal>
            <c:numRef>
              <c:f>Sheet1!$B$120:$B$121</c:f>
              <c:numCache>
                <c:formatCode>General</c:formatCode>
                <c:ptCount val="2"/>
                <c:pt idx="0">
                  <c:v>0.014533232174756099</c:v>
                </c:pt>
                <c:pt idx="1">
                  <c:v>0.014533232174756099</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571.0437246492334</c:v>
                </c:pt>
                <c:pt idx="1">
                  <c:v>3571.0437246492334</c:v>
                </c:pt>
              </c:numCache>
            </c:numRef>
          </c:xVal>
          <c:yVal>
            <c:numRef>
              <c:f>Sheet1!$B$124:$B$125</c:f>
              <c:numCache>
                <c:formatCode>General</c:formatCode>
                <c:ptCount val="2"/>
                <c:pt idx="0">
                  <c:v>0.01453323217475609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06.713664730105</c:v>
                </c:pt>
              </c:numCache>
            </c:numRef>
          </c:xVal>
          <c:yVal>
            <c:numRef>
              <c:f>Sheet1!$B$128:$B$129</c:f>
              <c:numCache>
                <c:formatCode>General</c:formatCode>
                <c:ptCount val="2"/>
                <c:pt idx="0">
                  <c:v>0.010494436470163064</c:v>
                </c:pt>
                <c:pt idx="1">
                  <c:v>0.010494436470163064</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06.713664730105</c:v>
                </c:pt>
                <c:pt idx="1">
                  <c:v>4206.713664730105</c:v>
                </c:pt>
              </c:numCache>
            </c:numRef>
          </c:xVal>
          <c:yVal>
            <c:numRef>
              <c:f>Sheet1!$B$132:$B$133</c:f>
              <c:numCache>
                <c:formatCode>General</c:formatCode>
                <c:ptCount val="2"/>
                <c:pt idx="0">
                  <c:v>0.0104944364701630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571.0437246492334</c:v>
                </c:pt>
                <c:pt idx="53">
                  <c:v>3571.0437246492334</c:v>
                </c:pt>
                <c:pt idx="54">
                  <c:v>4206.713664730105</c:v>
                </c:pt>
              </c:numCache>
            </c:numRef>
          </c:xVal>
          <c:yVal>
            <c:numRef>
              <c:f>Sheet1!$B$136:$B$190</c:f>
              <c:numCache>
                <c:formatCode>General</c:formatCode>
                <c:ptCount val="55"/>
                <c:pt idx="0">
                  <c:v>0.009072413039823726</c:v>
                </c:pt>
                <c:pt idx="1">
                  <c:v>0.013573724883399401</c:v>
                </c:pt>
                <c:pt idx="2">
                  <c:v>0.009552091155908413</c:v>
                </c:pt>
                <c:pt idx="3">
                  <c:v>0.014090610981038528</c:v>
                </c:pt>
                <c:pt idx="4">
                  <c:v>0.0087957230728275</c:v>
                </c:pt>
                <c:pt idx="5">
                  <c:v>0.006465769077854899</c:v>
                </c:pt>
                <c:pt idx="6">
                  <c:v>0.008570184708901252</c:v>
                </c:pt>
                <c:pt idx="7">
                  <c:v>0.010554458752431967</c:v>
                </c:pt>
                <c:pt idx="8">
                  <c:v>0.011350158191855659</c:v>
                </c:pt>
                <c:pt idx="9">
                  <c:v>0.011340510242675236</c:v>
                </c:pt>
                <c:pt idx="10">
                  <c:v>0.01004224763734599</c:v>
                </c:pt>
                <c:pt idx="11">
                  <c:v>0.01185667711222926</c:v>
                </c:pt>
                <c:pt idx="12">
                  <c:v>0.01304647732673924</c:v>
                </c:pt>
                <c:pt idx="13">
                  <c:v>0.015583663043574492</c:v>
                </c:pt>
                <c:pt idx="14">
                  <c:v>0.015650542360441798</c:v>
                </c:pt>
                <c:pt idx="15">
                  <c:v>0.014231424657756297</c:v>
                </c:pt>
                <c:pt idx="16">
                  <c:v>0.013430616919918998</c:v>
                </c:pt>
                <c:pt idx="17">
                  <c:v>0.018664401573560998</c:v>
                </c:pt>
                <c:pt idx="18">
                  <c:v>0.011217468869841218</c:v>
                </c:pt>
                <c:pt idx="19">
                  <c:v>0.009647443518187079</c:v>
                </c:pt>
                <c:pt idx="20">
                  <c:v>0.011102822515283196</c:v>
                </c:pt>
                <c:pt idx="21">
                  <c:v>0.013260455306382455</c:v>
                </c:pt>
                <c:pt idx="22">
                  <c:v>0.011856278105835758</c:v>
                </c:pt>
                <c:pt idx="23">
                  <c:v>0.017700146711942748</c:v>
                </c:pt>
                <c:pt idx="24">
                  <c:v>0.01190622061787576</c:v>
                </c:pt>
                <c:pt idx="25">
                  <c:v>0.013708280259200008</c:v>
                </c:pt>
                <c:pt idx="26">
                  <c:v>0.012077206293979771</c:v>
                </c:pt>
                <c:pt idx="27">
                  <c:v>0.013849556478361204</c:v>
                </c:pt>
                <c:pt idx="28">
                  <c:v>0.012887520930966675</c:v>
                </c:pt>
                <c:pt idx="29">
                  <c:v>0.014003321978855267</c:v>
                </c:pt>
                <c:pt idx="30">
                  <c:v>0.014479010031004949</c:v>
                </c:pt>
                <c:pt idx="31">
                  <c:v>0.013508179188219928</c:v>
                </c:pt>
                <c:pt idx="32">
                  <c:v>0.010420954262897048</c:v>
                </c:pt>
                <c:pt idx="33">
                  <c:v>0.00778309376888129</c:v>
                </c:pt>
                <c:pt idx="34">
                  <c:v>0.007450919040210495</c:v>
                </c:pt>
                <c:pt idx="35">
                  <c:v>0.01231884024543237</c:v>
                </c:pt>
                <c:pt idx="36">
                  <c:v>0.010382873296016702</c:v>
                </c:pt>
                <c:pt idx="37">
                  <c:v>0.010872816931687047</c:v>
                </c:pt>
                <c:pt idx="38">
                  <c:v>0.014406084623627215</c:v>
                </c:pt>
                <c:pt idx="39">
                  <c:v>0.01700095090802228</c:v>
                </c:pt>
                <c:pt idx="40">
                  <c:v>0.016726714067913484</c:v>
                </c:pt>
                <c:pt idx="41">
                  <c:v>0.015430371522012837</c:v>
                </c:pt>
                <c:pt idx="42">
                  <c:v>0.016424543603457145</c:v>
                </c:pt>
                <c:pt idx="43">
                  <c:v>0.0153170155846287</c:v>
                </c:pt>
                <c:pt idx="44">
                  <c:v>0.011346443874377308</c:v>
                </c:pt>
                <c:pt idx="45">
                  <c:v>0.010717445875211493</c:v>
                </c:pt>
                <c:pt idx="46">
                  <c:v>0.011140325304109265</c:v>
                </c:pt>
                <c:pt idx="47">
                  <c:v>0.01138140267976456</c:v>
                </c:pt>
                <c:pt idx="48">
                  <c:v>0.014247597759263559</c:v>
                </c:pt>
                <c:pt idx="49">
                  <c:v>0.013096766745611808</c:v>
                </c:pt>
                <c:pt idx="50">
                  <c:v>0.011160817586290117</c:v>
                </c:pt>
                <c:pt idx="51">
                  <c:v>0.010453542538261765</c:v>
                </c:pt>
                <c:pt idx="52">
                  <c:v>0.014533232174756099</c:v>
                </c:pt>
                <c:pt idx="53">
                  <c:v>0.014533232174756099</c:v>
                </c:pt>
                <c:pt idx="54">
                  <c:v>0.01049443647016306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6387702818104184"/>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0</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0</c:v>
                </c:pt>
              </c:numCache>
            </c:numRef>
          </c:xVal>
          <c:yVal>
            <c:numRef>
              <c:f>Sheet1!$B$7:$B$8</c:f>
              <c:numCache>
                <c:formatCode>General</c:formatCode>
                <c:ptCount val="2"/>
                <c:pt idx="0">
                  <c:v>0.0</c:v>
                </c:pt>
                <c:pt idx="1">
                  <c:v>0.0</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0</c:v>
                </c:pt>
                <c:pt idx="1">
                  <c:v>0.0</c:v>
                </c:pt>
              </c:numCache>
            </c:numRef>
          </c:xVal>
          <c:yVal>
            <c:numRef>
              <c:f>Sheet1!$B$11:$B$12</c:f>
              <c:numCache>
                <c:formatCode>General</c:formatCode>
                <c:ptCount val="2"/>
                <c:pt idx="0">
                  <c:v>0.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0</c:v>
                </c:pt>
                <c:pt idx="2">
                  <c:v>0</c:v>
                </c:pt>
              </c:numCache>
            </c:numRef>
          </c:xVal>
          <c:yVal>
            <c:numRef>
              <c:f>Sheet1!$B$15:$B$17</c:f>
              <c:numCache>
                <c:formatCode>General</c:formatCode>
                <c:ptCount val="3"/>
                <c:pt idx="0">
                  <c:v>0</c:v>
                </c:pt>
                <c:pt idx="1">
                  <c:v>0.0</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2</c:f>
              <c:numCache>
                <c:formatCode>General</c:formatCode>
                <c:ptCount val="11"/>
                <c:pt idx="0">
                  <c:v>0.0</c:v>
                </c:pt>
                <c:pt idx="1">
                  <c:v>0.0</c:v>
                </c:pt>
                <c:pt idx="2">
                  <c:v>0.0</c:v>
                </c:pt>
                <c:pt idx="3">
                  <c:v>0.0</c:v>
                </c:pt>
                <c:pt idx="4">
                  <c:v>0.0</c:v>
                </c:pt>
                <c:pt idx="5">
                  <c:v>0.0</c:v>
                </c:pt>
                <c:pt idx="6">
                  <c:v>0.0</c:v>
                </c:pt>
                <c:pt idx="7">
                  <c:v>0.0</c:v>
                </c:pt>
                <c:pt idx="8">
                  <c:v>0.0</c:v>
                </c:pt>
                <c:pt idx="9">
                  <c:v>0.0</c:v>
                </c:pt>
                <c:pt idx="10">
                  <c:v>0.0</c:v>
                </c:pt>
              </c:numCache>
            </c:numRef>
          </c:xVal>
          <c:yVal>
            <c:numRef>
              <c:f>Sheet1!$B$2:$B$12</c:f>
              <c:numCache>
                <c:formatCode>General</c:formatCode>
                <c:ptCount val="11"/>
                <c:pt idx="0">
                  <c:v>0.9809523809523809</c:v>
                </c:pt>
                <c:pt idx="1">
                  <c:v>0.9780821917808219</c:v>
                </c:pt>
                <c:pt idx="2">
                  <c:v>0.972488038277512</c:v>
                </c:pt>
                <c:pt idx="3">
                  <c:v>0.9773299748110831</c:v>
                </c:pt>
                <c:pt idx="4">
                  <c:v>0.9682299546142209</c:v>
                </c:pt>
                <c:pt idx="5">
                  <c:v>0.9570200573065902</c:v>
                </c:pt>
                <c:pt idx="6">
                  <c:v>0.9568733153638814</c:v>
                </c:pt>
                <c:pt idx="7">
                  <c:v>0.9511111111111111</c:v>
                </c:pt>
                <c:pt idx="8">
                  <c:v>0.9375</c:v>
                </c:pt>
                <c:pt idx="9">
                  <c:v>0.9263959390862944</c:v>
                </c:pt>
                <c:pt idx="10">
                  <c:v>0.9478458049886621</c:v>
                </c:pt>
              </c:numCache>
            </c:numRef>
          </c:yVal>
          <c:smooth val="0"/>
          <c:extLst>
            <c:ext xmlns:c16="http://schemas.microsoft.com/office/drawing/2014/chart" uri="{C3380CC4-5D6E-409C-BE32-E72D297353CC}">
              <c16:uniqueId val="{00000000-096C-4121-9522-6AB7243CCAAE}"/>
            </c:ext>
          </c:extLst>
        </c:ser>
        <c:ser>
          <c:idx val="1"/>
          <c:order val="1"/>
          <c:tx>
            <c:strRef>
              <c:f>Sheet1!$B$1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5:$A$59</c:f>
              <c:numCache>
                <c:formatCode>General</c:formatCode>
                <c:ptCount val="45"/>
                <c:pt idx="0">
                  <c:v>0.1486498666442861</c:v>
                </c:pt>
                <c:pt idx="1">
                  <c:v>0.18615715838087477</c:v>
                </c:pt>
                <c:pt idx="2">
                  <c:v>0.18226489443829086</c:v>
                </c:pt>
                <c:pt idx="3">
                  <c:v>0.22198381086984456</c:v>
                </c:pt>
                <c:pt idx="4">
                  <c:v>0.2741623084700316</c:v>
                </c:pt>
                <c:pt idx="5">
                  <c:v>0.28353914671795133</c:v>
                </c:pt>
                <c:pt idx="6">
                  <c:v>0.19319127844950212</c:v>
                </c:pt>
                <c:pt idx="7">
                  <c:v>0.17513403114628542</c:v>
                </c:pt>
                <c:pt idx="8">
                  <c:v>0.1132321881091618</c:v>
                </c:pt>
                <c:pt idx="9">
                  <c:v>0.11727603033300363</c:v>
                </c:pt>
                <c:pt idx="10">
                  <c:v>0.1642356103608012</c:v>
                </c:pt>
                <c:pt idx="11">
                  <c:v>0.24950775132795594</c:v>
                </c:pt>
                <c:pt idx="12">
                  <c:v>0.20689877538366144</c:v>
                </c:pt>
                <c:pt idx="13">
                  <c:v>0.17358603111552465</c:v>
                </c:pt>
                <c:pt idx="14">
                  <c:v>0.24515089859965974</c:v>
                </c:pt>
                <c:pt idx="15">
                  <c:v>0.22952834210636922</c:v>
                </c:pt>
                <c:pt idx="16">
                  <c:v>0.2564384214580218</c:v>
                </c:pt>
                <c:pt idx="17">
                  <c:v>0.2568917840172786</c:v>
                </c:pt>
                <c:pt idx="18">
                  <c:v>0.13695508862948552</c:v>
                </c:pt>
                <c:pt idx="19">
                  <c:v>0.3068364910203276</c:v>
                </c:pt>
                <c:pt idx="20">
                  <c:v>0.11163896166134187</c:v>
                </c:pt>
                <c:pt idx="21">
                  <c:v>0.25381293752769163</c:v>
                </c:pt>
                <c:pt idx="22">
                  <c:v>0.10640637537993922</c:v>
                </c:pt>
                <c:pt idx="23">
                  <c:v>0.10414773778718732</c:v>
                </c:pt>
                <c:pt idx="24">
                  <c:v>0.16849783255924733</c:v>
                </c:pt>
                <c:pt idx="25">
                  <c:v>0.137405847815876</c:v>
                </c:pt>
                <c:pt idx="26">
                  <c:v>0.11869751033769814</c:v>
                </c:pt>
                <c:pt idx="27">
                  <c:v>0.1173183715715025</c:v>
                </c:pt>
                <c:pt idx="28">
                  <c:v>0.09334960425859776</c:v>
                </c:pt>
                <c:pt idx="29">
                  <c:v>0.12049170355941208</c:v>
                </c:pt>
                <c:pt idx="30">
                  <c:v>0.10103072386435442</c:v>
                </c:pt>
                <c:pt idx="31">
                  <c:v>0.13459461249505733</c:v>
                </c:pt>
                <c:pt idx="32">
                  <c:v>0.14766510681586978</c:v>
                </c:pt>
                <c:pt idx="33">
                  <c:v>0.23627378045992778</c:v>
                </c:pt>
                <c:pt idx="34">
                  <c:v>0.27522115394255353</c:v>
                </c:pt>
                <c:pt idx="35">
                  <c:v>0.0898066919277353</c:v>
                </c:pt>
                <c:pt idx="36">
                  <c:v>0.1142594484858738</c:v>
                </c:pt>
                <c:pt idx="37">
                  <c:v>0.23997549944802535</c:v>
                </c:pt>
                <c:pt idx="38">
                  <c:v>0.23579125432852163</c:v>
                </c:pt>
                <c:pt idx="39">
                  <c:v>0.2659889147476727</c:v>
                </c:pt>
                <c:pt idx="40">
                  <c:v>0.21221382954582294</c:v>
                </c:pt>
                <c:pt idx="41">
                  <c:v>0.2410998497203026</c:v>
                </c:pt>
                <c:pt idx="42">
                  <c:v>0.21896068610861358</c:v>
                </c:pt>
                <c:pt idx="43">
                  <c:v>0.1999953919573908</c:v>
                </c:pt>
                <c:pt idx="44">
                  <c:v>0.15171310187680498</c:v>
                </c:pt>
              </c:numCache>
            </c:numRef>
          </c:xVal>
          <c:yVal>
            <c:numRef>
              <c:f>Sheet1!$B$15:$B$59</c:f>
              <c:numCache>
                <c:formatCode>General</c:formatCode>
                <c:ptCount val="45"/>
                <c:pt idx="0">
                  <c:v>0.9739819004524887</c:v>
                </c:pt>
                <c:pt idx="1">
                  <c:v>0.9735516372795969</c:v>
                </c:pt>
                <c:pt idx="2">
                  <c:v>0.9699481865284975</c:v>
                </c:pt>
                <c:pt idx="3">
                  <c:v>0.9732142857142857</c:v>
                </c:pt>
                <c:pt idx="4">
                  <c:v>0.9765208110992529</c:v>
                </c:pt>
                <c:pt idx="5">
                  <c:v>0.9752530933633295</c:v>
                </c:pt>
                <c:pt idx="6">
                  <c:v>0.9832089552238806</c:v>
                </c:pt>
                <c:pt idx="7">
                  <c:v>0.9839650145772595</c:v>
                </c:pt>
                <c:pt idx="8">
                  <c:v>0.9702457956015524</c:v>
                </c:pt>
                <c:pt idx="9">
                  <c:v>0.9638989169675091</c:v>
                </c:pt>
                <c:pt idx="10">
                  <c:v>0.9830377794911334</c:v>
                </c:pt>
                <c:pt idx="11">
                  <c:v>0.972997299729973</c:v>
                </c:pt>
                <c:pt idx="12">
                  <c:v>0.9759277833500501</c:v>
                </c:pt>
                <c:pt idx="13">
                  <c:v>0.9752321981424149</c:v>
                </c:pt>
                <c:pt idx="14">
                  <c:v>0.9655990510083037</c:v>
                </c:pt>
                <c:pt idx="15">
                  <c:v>0.9559748427672956</c:v>
                </c:pt>
                <c:pt idx="16">
                  <c:v>0.9568627450980393</c:v>
                </c:pt>
                <c:pt idx="17">
                  <c:v>0.9477611940298507</c:v>
                </c:pt>
                <c:pt idx="18">
                  <c:v>0.9194630872483222</c:v>
                </c:pt>
                <c:pt idx="19">
                  <c:v>0.9296482412060302</c:v>
                </c:pt>
                <c:pt idx="20">
                  <c:v>0.9454545454545454</c:v>
                </c:pt>
                <c:pt idx="21">
                  <c:v>0.9376947040498442</c:v>
                </c:pt>
                <c:pt idx="22">
                  <c:v>0.9516129032258065</c:v>
                </c:pt>
                <c:pt idx="23">
                  <c:v>0.9444444444444444</c:v>
                </c:pt>
                <c:pt idx="24">
                  <c:v>0.9405940594059405</c:v>
                </c:pt>
                <c:pt idx="25">
                  <c:v>0.9275</c:v>
                </c:pt>
                <c:pt idx="26">
                  <c:v>0.9427244582043344</c:v>
                </c:pt>
                <c:pt idx="27">
                  <c:v>0.9474885844748858</c:v>
                </c:pt>
                <c:pt idx="28">
                  <c:v>0.9284712482468443</c:v>
                </c:pt>
                <c:pt idx="29">
                  <c:v>0.9096209912536443</c:v>
                </c:pt>
                <c:pt idx="30">
                  <c:v>0.8908045977011494</c:v>
                </c:pt>
                <c:pt idx="31">
                  <c:v>0.9287833827893175</c:v>
                </c:pt>
                <c:pt idx="32">
                  <c:v>0.9226519337016574</c:v>
                </c:pt>
                <c:pt idx="33">
                  <c:v>0.7151335311572701</c:v>
                </c:pt>
                <c:pt idx="34">
                  <c:v>0.8321917808219178</c:v>
                </c:pt>
                <c:pt idx="35">
                  <c:v>0.8809523809523809</c:v>
                </c:pt>
                <c:pt idx="36">
                  <c:v>0.8850771869639794</c:v>
                </c:pt>
                <c:pt idx="37">
                  <c:v>0.9068047337278107</c:v>
                </c:pt>
                <c:pt idx="38">
                  <c:v>0.9331243469174504</c:v>
                </c:pt>
                <c:pt idx="39">
                  <c:v>0.9308093994778068</c:v>
                </c:pt>
                <c:pt idx="40">
                  <c:v>0.9431396786155748</c:v>
                </c:pt>
                <c:pt idx="41">
                  <c:v>0.9531914893617022</c:v>
                </c:pt>
                <c:pt idx="42">
                  <c:v>0.9577221742881795</c:v>
                </c:pt>
                <c:pt idx="43">
                  <c:v>0.9723104857013164</c:v>
                </c:pt>
                <c:pt idx="44">
                  <c:v>0.9591078066914498</c:v>
                </c:pt>
              </c:numCache>
            </c:numRef>
          </c:yVal>
          <c:smooth val="0"/>
          <c:extLst>
            <c:ext xmlns:c16="http://schemas.microsoft.com/office/drawing/2014/chart" uri="{C3380CC4-5D6E-409C-BE32-E72D297353CC}">
              <c16:uniqueId val="{00000002-096C-4121-9522-6AB7243CCAAE}"/>
            </c:ext>
          </c:extLst>
        </c:ser>
        <c:ser>
          <c:idx val="2"/>
          <c:order val="2"/>
          <c:tx>
            <c:strRef>
              <c:f>Sheet1!$B$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62:$A$63</c:f>
              <c:numCache>
                <c:formatCode>General</c:formatCode>
                <c:ptCount val="2"/>
                <c:pt idx="0">
                  <c:v>0</c:v>
                </c:pt>
                <c:pt idx="1">
                  <c:v>5.193868319816923</c:v>
                </c:pt>
              </c:numCache>
            </c:numRef>
          </c:xVal>
          <c:yVal>
            <c:numRef>
              <c:f>Sheet1!$B$62:$B$63</c:f>
              <c:numCache>
                <c:formatCode>General</c:formatCode>
                <c:ptCount val="2"/>
                <c:pt idx="0">
                  <c:v>0.9759020326672777</c:v>
                </c:pt>
                <c:pt idx="1">
                  <c:v>0.9759020326672777</c:v>
                </c:pt>
              </c:numCache>
            </c:numRef>
          </c:yVal>
          <c:smooth val="0"/>
          <c:extLst>
            <c:ext xmlns:c16="http://schemas.microsoft.com/office/drawing/2014/chart" uri="{C3380CC4-5D6E-409C-BE32-E72D297353CC}">
              <c16:uniqueId val="{00000005-096C-4121-9522-6AB7243CCAAE}"/>
            </c:ext>
          </c:extLst>
        </c:ser>
        <c:ser>
          <c:idx val="3"/>
          <c:order val="3"/>
          <c:tx>
            <c:strRef>
              <c:f>Sheet1!$B$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6:$A$67</c:f>
              <c:numCache>
                <c:formatCode>General</c:formatCode>
                <c:ptCount val="2"/>
                <c:pt idx="0">
                  <c:v>5.193868319816923</c:v>
                </c:pt>
                <c:pt idx="1">
                  <c:v>5.193868319816923</c:v>
                </c:pt>
              </c:numCache>
            </c:numRef>
          </c:xVal>
          <c:yVal>
            <c:numRef>
              <c:f>Sheet1!$B$66:$B$67</c:f>
              <c:numCache>
                <c:formatCode>General</c:formatCode>
                <c:ptCount val="2"/>
                <c:pt idx="0">
                  <c:v>0.975902032667277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70:$A$71</c:f>
              <c:numCache>
                <c:formatCode>General</c:formatCode>
                <c:ptCount val="2"/>
                <c:pt idx="0">
                  <c:v>0</c:v>
                </c:pt>
                <c:pt idx="1">
                  <c:v>5.111872552962782</c:v>
                </c:pt>
              </c:numCache>
            </c:numRef>
          </c:xVal>
          <c:yVal>
            <c:numRef>
              <c:f>Sheet1!$B$70:$B$71</c:f>
              <c:numCache>
                <c:formatCode>General</c:formatCode>
                <c:ptCount val="2"/>
                <c:pt idx="0">
                  <c:v>0.9753193154280902</c:v>
                </c:pt>
                <c:pt idx="1">
                  <c:v>0.9753193154280902</c:v>
                </c:pt>
              </c:numCache>
            </c:numRef>
          </c:yVal>
          <c:smooth val="0"/>
          <c:extLst>
            <c:ext xmlns:c16="http://schemas.microsoft.com/office/drawing/2014/chart" uri="{C3380CC4-5D6E-409C-BE32-E72D297353CC}">
              <c16:uniqueId val="{0000000D-096C-4121-9522-6AB7243CCAAE}"/>
            </c:ext>
          </c:extLst>
        </c:ser>
        <c:ser>
          <c:idx val="5"/>
          <c:order val="5"/>
          <c:tx>
            <c:strRef>
              <c:f>Sheet1!$B$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4:$A$75</c:f>
              <c:numCache>
                <c:formatCode>General</c:formatCode>
                <c:ptCount val="2"/>
                <c:pt idx="0">
                  <c:v>5.111872552962782</c:v>
                </c:pt>
                <c:pt idx="1">
                  <c:v>5.111872552962782</c:v>
                </c:pt>
              </c:numCache>
            </c:numRef>
          </c:xVal>
          <c:yVal>
            <c:numRef>
              <c:f>Sheet1!$B$74:$B$75</c:f>
              <c:numCache>
                <c:formatCode>General</c:formatCode>
                <c:ptCount val="2"/>
                <c:pt idx="0">
                  <c:v>0.97531931542809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78:$A$79</c:f>
              <c:numCache>
                <c:formatCode>General</c:formatCode>
                <c:ptCount val="2"/>
                <c:pt idx="0">
                  <c:v>0</c:v>
                </c:pt>
                <c:pt idx="1">
                  <c:v>-4.4883566315539625</c:v>
                </c:pt>
              </c:numCache>
            </c:numRef>
          </c:xVal>
          <c:yVal>
            <c:numRef>
              <c:f>Sheet1!$B$78:$B$79</c:f>
              <c:numCache>
                <c:formatCode>General</c:formatCode>
                <c:ptCount val="2"/>
                <c:pt idx="0">
                  <c:v>0.9070936098752688</c:v>
                </c:pt>
                <c:pt idx="1">
                  <c:v>0.9070936098752688</c:v>
                </c:pt>
              </c:numCache>
            </c:numRef>
          </c:yVal>
          <c:smooth val="0"/>
          <c:extLst>
            <c:ext xmlns:c16="http://schemas.microsoft.com/office/drawing/2014/chart" uri="{C3380CC4-5D6E-409C-BE32-E72D297353CC}">
              <c16:uniqueId val="{00000015-096C-4121-9522-6AB7243CCAAE}"/>
            </c:ext>
          </c:extLst>
        </c:ser>
        <c:ser>
          <c:idx val="7"/>
          <c:order val="7"/>
          <c:tx>
            <c:strRef>
              <c:f>Sheet1!$B$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2:$A$83</c:f>
              <c:numCache>
                <c:formatCode>General</c:formatCode>
                <c:ptCount val="2"/>
                <c:pt idx="0">
                  <c:v>-4.4883566315539625</c:v>
                </c:pt>
                <c:pt idx="1">
                  <c:v>-4.4883566315539625</c:v>
                </c:pt>
              </c:numCache>
            </c:numRef>
          </c:xVal>
          <c:yVal>
            <c:numRef>
              <c:f>Sheet1!$B$82:$B$83</c:f>
              <c:numCache>
                <c:formatCode>General</c:formatCode>
                <c:ptCount val="2"/>
                <c:pt idx="0">
                  <c:v>0.90709360987526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86:$A$133</c:f>
              <c:numCache>
                <c:formatCode>General</c:formatCode>
                <c:ptCount val="48"/>
                <c:pt idx="0">
                  <c:v>0.1486498666442861</c:v>
                </c:pt>
                <c:pt idx="1">
                  <c:v>0.18615715838087477</c:v>
                </c:pt>
                <c:pt idx="2">
                  <c:v>0.18226489443829086</c:v>
                </c:pt>
                <c:pt idx="3">
                  <c:v>0.22198381086984456</c:v>
                </c:pt>
                <c:pt idx="4">
                  <c:v>0.2741623084700316</c:v>
                </c:pt>
                <c:pt idx="5">
                  <c:v>0.28353914671795133</c:v>
                </c:pt>
                <c:pt idx="6">
                  <c:v>0.19319127844950212</c:v>
                </c:pt>
                <c:pt idx="7">
                  <c:v>0.17513403114628542</c:v>
                </c:pt>
                <c:pt idx="8">
                  <c:v>0.1132321881091618</c:v>
                </c:pt>
                <c:pt idx="9">
                  <c:v>0.11727603033300363</c:v>
                </c:pt>
                <c:pt idx="10">
                  <c:v>0.1642356103608012</c:v>
                </c:pt>
                <c:pt idx="11">
                  <c:v>0.24950775132795594</c:v>
                </c:pt>
                <c:pt idx="12">
                  <c:v>0.20689877538366144</c:v>
                </c:pt>
                <c:pt idx="13">
                  <c:v>0.17358603111552465</c:v>
                </c:pt>
                <c:pt idx="14">
                  <c:v>0.24515089859965974</c:v>
                </c:pt>
                <c:pt idx="15">
                  <c:v>0.22952834210636922</c:v>
                </c:pt>
                <c:pt idx="16">
                  <c:v>0.2564384214580218</c:v>
                </c:pt>
                <c:pt idx="17">
                  <c:v>0.2568917840172786</c:v>
                </c:pt>
                <c:pt idx="18">
                  <c:v>0.13695508862948552</c:v>
                </c:pt>
                <c:pt idx="19">
                  <c:v>0.3068364910203276</c:v>
                </c:pt>
                <c:pt idx="20">
                  <c:v>0.11163896166134187</c:v>
                </c:pt>
                <c:pt idx="21">
                  <c:v>0.25381293752769163</c:v>
                </c:pt>
                <c:pt idx="22">
                  <c:v>0.10640637537993922</c:v>
                </c:pt>
                <c:pt idx="23">
                  <c:v>0.10414773778718732</c:v>
                </c:pt>
                <c:pt idx="24">
                  <c:v>0.16849783255924733</c:v>
                </c:pt>
                <c:pt idx="25">
                  <c:v>0.137405847815876</c:v>
                </c:pt>
                <c:pt idx="26">
                  <c:v>0.11869751033769814</c:v>
                </c:pt>
                <c:pt idx="27">
                  <c:v>0.1173183715715025</c:v>
                </c:pt>
                <c:pt idx="28">
                  <c:v>0.09334960425859776</c:v>
                </c:pt>
                <c:pt idx="29">
                  <c:v>0.12049170355941208</c:v>
                </c:pt>
                <c:pt idx="30">
                  <c:v>0.10103072386435442</c:v>
                </c:pt>
                <c:pt idx="31">
                  <c:v>0.13459461249505733</c:v>
                </c:pt>
                <c:pt idx="32">
                  <c:v>0.14766510681586978</c:v>
                </c:pt>
                <c:pt idx="33">
                  <c:v>0.23627378045992778</c:v>
                </c:pt>
                <c:pt idx="34">
                  <c:v>0.27522115394255353</c:v>
                </c:pt>
                <c:pt idx="35">
                  <c:v>0.0898066919277353</c:v>
                </c:pt>
                <c:pt idx="36">
                  <c:v>0.1142594484858738</c:v>
                </c:pt>
                <c:pt idx="37">
                  <c:v>0.23997549944802535</c:v>
                </c:pt>
                <c:pt idx="38">
                  <c:v>0.23579125432852163</c:v>
                </c:pt>
                <c:pt idx="39">
                  <c:v>0.2659889147476727</c:v>
                </c:pt>
                <c:pt idx="40">
                  <c:v>0.21221382954582294</c:v>
                </c:pt>
                <c:pt idx="41">
                  <c:v>0.2410998497203026</c:v>
                </c:pt>
                <c:pt idx="42">
                  <c:v>0.21896068610861358</c:v>
                </c:pt>
                <c:pt idx="43">
                  <c:v>0.1999953919573908</c:v>
                </c:pt>
                <c:pt idx="44">
                  <c:v>0.15171310187680498</c:v>
                </c:pt>
                <c:pt idx="45">
                  <c:v>5.111872552962782</c:v>
                </c:pt>
                <c:pt idx="46">
                  <c:v>5.193868319816923</c:v>
                </c:pt>
                <c:pt idx="47">
                  <c:v>-4.4883566315539625</c:v>
                </c:pt>
              </c:numCache>
            </c:numRef>
          </c:xVal>
          <c:yVal>
            <c:numRef>
              <c:f>Sheet1!$B$86:$B$133</c:f>
              <c:numCache>
                <c:formatCode>General</c:formatCode>
                <c:ptCount val="48"/>
                <c:pt idx="0">
                  <c:v>0.940047306491473</c:v>
                </c:pt>
                <c:pt idx="1">
                  <c:v>0.9403138586115235</c:v>
                </c:pt>
                <c:pt idx="2">
                  <c:v>0.9402861975579614</c:v>
                </c:pt>
                <c:pt idx="3">
                  <c:v>0.9405684669752069</c:v>
                </c:pt>
                <c:pt idx="4">
                  <c:v>0.9409392825823176</c:v>
                </c:pt>
                <c:pt idx="5">
                  <c:v>0.9410059207211603</c:v>
                </c:pt>
                <c:pt idx="6">
                  <c:v>0.9403638478144271</c:v>
                </c:pt>
                <c:pt idx="7">
                  <c:v>0.940235520832443</c:v>
                </c:pt>
                <c:pt idx="8">
                  <c:v>0.9397956045726271</c:v>
                </c:pt>
                <c:pt idx="9">
                  <c:v>0.9398243428437209</c:v>
                </c:pt>
                <c:pt idx="10">
                  <c:v>0.9401580693015253</c:v>
                </c:pt>
                <c:pt idx="11">
                  <c:v>0.9407640706656247</c:v>
                </c:pt>
                <c:pt idx="12">
                  <c:v>0.940461262535651</c:v>
                </c:pt>
                <c:pt idx="13">
                  <c:v>0.9402245196998383</c:v>
                </c:pt>
                <c:pt idx="14">
                  <c:v>0.9407331079307082</c:v>
                </c:pt>
                <c:pt idx="15">
                  <c:v>0.9406220835042276</c:v>
                </c:pt>
                <c:pt idx="16">
                  <c:v>0.9408133246834705</c:v>
                </c:pt>
                <c:pt idx="17">
                  <c:v>0.9408165465836857</c:v>
                </c:pt>
                <c:pt idx="18">
                  <c:v>0.9399641955088069</c:v>
                </c:pt>
                <c:pt idx="19">
                  <c:v>0.9411714873677463</c:v>
                </c:pt>
                <c:pt idx="20">
                  <c:v>0.93978428203059</c:v>
                </c:pt>
                <c:pt idx="21">
                  <c:v>0.9407946662233315</c:v>
                </c:pt>
                <c:pt idx="22">
                  <c:v>0.9397470957422157</c:v>
                </c:pt>
                <c:pt idx="23">
                  <c:v>0.939731044339651</c:v>
                </c:pt>
                <c:pt idx="24">
                  <c:v>0.9401883595280526</c:v>
                </c:pt>
                <c:pt idx="25">
                  <c:v>0.9399673989076982</c:v>
                </c:pt>
                <c:pt idx="26">
                  <c:v>0.9398344448396613</c:v>
                </c:pt>
                <c:pt idx="27">
                  <c:v>0.9398246437491279</c:v>
                </c:pt>
                <c:pt idx="28">
                  <c:v>0.9396543055176415</c:v>
                </c:pt>
                <c:pt idx="29">
                  <c:v>0.9398471955871796</c:v>
                </c:pt>
                <c:pt idx="30">
                  <c:v>0.9397088927357657</c:v>
                </c:pt>
                <c:pt idx="31">
                  <c:v>0.939947420372858</c:v>
                </c:pt>
                <c:pt idx="32">
                  <c:v>0.9400403081237462</c:v>
                </c:pt>
                <c:pt idx="33">
                  <c:v>0.9406700211400996</c:v>
                </c:pt>
                <c:pt idx="34">
                  <c:v>0.9409468074526146</c:v>
                </c:pt>
                <c:pt idx="35">
                  <c:v>0.9396291271923287</c:v>
                </c:pt>
                <c:pt idx="36">
                  <c:v>0.9398029049779237</c:v>
                </c:pt>
                <c:pt idx="37">
                  <c:v>0.9406963280526605</c:v>
                </c:pt>
                <c:pt idx="38">
                  <c:v>0.9406665919838648</c:v>
                </c:pt>
                <c:pt idx="39">
                  <c:v>0.9408811969321992</c:v>
                </c:pt>
                <c:pt idx="40">
                  <c:v>0.9404990348964244</c:v>
                </c:pt>
                <c:pt idx="41">
                  <c:v>0.9407043184442584</c:v>
                </c:pt>
                <c:pt idx="42">
                  <c:v>0.940546982611048</c:v>
                </c:pt>
                <c:pt idx="43">
                  <c:v>0.9404122024355319</c:v>
                </c:pt>
                <c:pt idx="44">
                  <c:v>0.9400690759077021</c:v>
                </c:pt>
                <c:pt idx="45">
                  <c:v>0.9753193154280902</c:v>
                </c:pt>
                <c:pt idx="46">
                  <c:v>0.9759020326672777</c:v>
                </c:pt>
                <c:pt idx="47">
                  <c:v>0.907093609875268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Mustel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807580174927113"/>
          <c:min val="0.572106824925816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c:f>
              <c:numCache>
                <c:formatCode>General</c:formatCode>
                <c:ptCount val="4"/>
                <c:pt idx="0">
                  <c:v>1231.0113</c:v>
                </c:pt>
                <c:pt idx="1">
                  <c:v>1303.2353</c:v>
                </c:pt>
                <c:pt idx="2">
                  <c:v>1254.5843</c:v>
                </c:pt>
                <c:pt idx="3">
                  <c:v>1306.4575</c:v>
                </c:pt>
              </c:numCache>
            </c:numRef>
          </c:xVal>
          <c:yVal>
            <c:numRef>
              <c:f>Sheet1!$B$2:$B$5</c:f>
              <c:numCache>
                <c:formatCode>General</c:formatCode>
                <c:ptCount val="4"/>
                <c:pt idx="0">
                  <c:v>0.9809523809523809</c:v>
                </c:pt>
                <c:pt idx="1">
                  <c:v>0.9780821917808219</c:v>
                </c:pt>
                <c:pt idx="2">
                  <c:v>0.972488038277512</c:v>
                </c:pt>
                <c:pt idx="3">
                  <c:v>0.9773299748110831</c:v>
                </c:pt>
              </c:numCache>
            </c:numRef>
          </c:yVal>
          <c:smooth val="0"/>
          <c:extLst>
            <c:ext xmlns:c16="http://schemas.microsoft.com/office/drawing/2014/chart" uri="{C3380CC4-5D6E-409C-BE32-E72D297353CC}">
              <c16:uniqueId val="{00000000-F32D-48B7-BC20-E66FC6253BAD}"/>
            </c:ext>
          </c:extLst>
        </c:ser>
        <c:ser>
          <c:idx val="1"/>
          <c:order val="1"/>
          <c:tx>
            <c:strRef>
              <c:f>Sheet1!$B$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A$59</c:f>
              <c:numCache>
                <c:formatCode>General</c:formatCode>
                <c:ptCount val="52"/>
                <c:pt idx="0">
                  <c:v>1332.101</c:v>
                </c:pt>
                <c:pt idx="1">
                  <c:v>1370.489</c:v>
                </c:pt>
                <c:pt idx="2">
                  <c:v>1357.5545</c:v>
                </c:pt>
                <c:pt idx="3">
                  <c:v>1382.16</c:v>
                </c:pt>
                <c:pt idx="4">
                  <c:v>1391.6087</c:v>
                </c:pt>
                <c:pt idx="5">
                  <c:v>1400.6125</c:v>
                </c:pt>
                <c:pt idx="6">
                  <c:v>1303.8093</c:v>
                </c:pt>
                <c:pt idx="7">
                  <c:v>1372.0</c:v>
                </c:pt>
                <c:pt idx="8">
                  <c:v>1454.0563</c:v>
                </c:pt>
                <c:pt idx="9">
                  <c:v>1394.1147</c:v>
                </c:pt>
                <c:pt idx="10">
                  <c:v>1422.7928</c:v>
                </c:pt>
                <c:pt idx="11">
                  <c:v>1258.6196</c:v>
                </c:pt>
                <c:pt idx="12">
                  <c:v>1268.2479</c:v>
                </c:pt>
                <c:pt idx="13">
                  <c:v>1334.704</c:v>
                </c:pt>
                <c:pt idx="14">
                  <c:v>1311.0085</c:v>
                </c:pt>
                <c:pt idx="15">
                  <c:v>1366.3894</c:v>
                </c:pt>
                <c:pt idx="16">
                  <c:v>1442.2796</c:v>
                </c:pt>
                <c:pt idx="17">
                  <c:v>1414.9631</c:v>
                </c:pt>
                <c:pt idx="18">
                  <c:v>1486.7612</c:v>
                </c:pt>
                <c:pt idx="19">
                  <c:v>1583.8856</c:v>
                </c:pt>
                <c:pt idx="20">
                  <c:v>1554.7405</c:v>
                </c:pt>
                <c:pt idx="21">
                  <c:v>1397.7198</c:v>
                </c:pt>
                <c:pt idx="22">
                  <c:v>1454.3593</c:v>
                </c:pt>
                <c:pt idx="23">
                  <c:v>1432.1395</c:v>
                </c:pt>
                <c:pt idx="24">
                  <c:v>1400.3079</c:v>
                </c:pt>
                <c:pt idx="25">
                  <c:v>1328.1961</c:v>
                </c:pt>
                <c:pt idx="26">
                  <c:v>1382.1662</c:v>
                </c:pt>
                <c:pt idx="27">
                  <c:v>1414.8763</c:v>
                </c:pt>
                <c:pt idx="28">
                  <c:v>1418.4019</c:v>
                </c:pt>
                <c:pt idx="29">
                  <c:v>1486.3072</c:v>
                </c:pt>
                <c:pt idx="30">
                  <c:v>1335.2274</c:v>
                </c:pt>
                <c:pt idx="31">
                  <c:v>1170.1482</c:v>
                </c:pt>
                <c:pt idx="32">
                  <c:v>1332.0167</c:v>
                </c:pt>
                <c:pt idx="33">
                  <c:v>1377.8407</c:v>
                </c:pt>
                <c:pt idx="34">
                  <c:v>1360.1892</c:v>
                </c:pt>
                <c:pt idx="35">
                  <c:v>1332.7523</c:v>
                </c:pt>
                <c:pt idx="36">
                  <c:v>1360.8333</c:v>
                </c:pt>
                <c:pt idx="37">
                  <c:v>1438.9806</c:v>
                </c:pt>
                <c:pt idx="38">
                  <c:v>1361.5591</c:v>
                </c:pt>
                <c:pt idx="39">
                  <c:v>1306.3932</c:v>
                </c:pt>
                <c:pt idx="40">
                  <c:v>1292.0041</c:v>
                </c:pt>
                <c:pt idx="41">
                  <c:v>1372.5967</c:v>
                </c:pt>
                <c:pt idx="42">
                  <c:v>1327.2531</c:v>
                </c:pt>
                <c:pt idx="43">
                  <c:v>1350.7752</c:v>
                </c:pt>
                <c:pt idx="44">
                  <c:v>1347.7504</c:v>
                </c:pt>
                <c:pt idx="45">
                  <c:v>1302.0</c:v>
                </c:pt>
                <c:pt idx="46">
                  <c:v>1302.9201</c:v>
                </c:pt>
                <c:pt idx="47">
                  <c:v>1309.232</c:v>
                </c:pt>
                <c:pt idx="48">
                  <c:v>1297.3181</c:v>
                </c:pt>
                <c:pt idx="49">
                  <c:v>1330.5928</c:v>
                </c:pt>
                <c:pt idx="50">
                  <c:v>1201.3501</c:v>
                </c:pt>
                <c:pt idx="51">
                  <c:v>1154.031</c:v>
                </c:pt>
              </c:numCache>
            </c:numRef>
          </c:xVal>
          <c:yVal>
            <c:numRef>
              <c:f>Sheet1!$B$8:$B$59</c:f>
              <c:numCache>
                <c:formatCode>General</c:formatCode>
                <c:ptCount val="52"/>
                <c:pt idx="0">
                  <c:v>0.9739819004524887</c:v>
                </c:pt>
                <c:pt idx="1">
                  <c:v>0.9735516372795969</c:v>
                </c:pt>
                <c:pt idx="2">
                  <c:v>0.9699481865284975</c:v>
                </c:pt>
                <c:pt idx="3">
                  <c:v>0.9732142857142857</c:v>
                </c:pt>
                <c:pt idx="4">
                  <c:v>0.9765208110992529</c:v>
                </c:pt>
                <c:pt idx="5">
                  <c:v>0.9752530933633295</c:v>
                </c:pt>
                <c:pt idx="6">
                  <c:v>0.9832089552238806</c:v>
                </c:pt>
                <c:pt idx="7">
                  <c:v>0.9839650145772595</c:v>
                </c:pt>
                <c:pt idx="8">
                  <c:v>0.9682299546142209</c:v>
                </c:pt>
                <c:pt idx="9">
                  <c:v>0.9702457956015524</c:v>
                </c:pt>
                <c:pt idx="10">
                  <c:v>0.9638989169675091</c:v>
                </c:pt>
                <c:pt idx="11">
                  <c:v>0.9830377794911334</c:v>
                </c:pt>
                <c:pt idx="12">
                  <c:v>0.972997299729973</c:v>
                </c:pt>
                <c:pt idx="13">
                  <c:v>0.9759277833500501</c:v>
                </c:pt>
                <c:pt idx="14">
                  <c:v>0.9752321981424149</c:v>
                </c:pt>
                <c:pt idx="15">
                  <c:v>0.9655990510083037</c:v>
                </c:pt>
                <c:pt idx="16">
                  <c:v>0.9559748427672956</c:v>
                </c:pt>
                <c:pt idx="17">
                  <c:v>0.9568627450980393</c:v>
                </c:pt>
                <c:pt idx="18">
                  <c:v>0.9477611940298507</c:v>
                </c:pt>
                <c:pt idx="19">
                  <c:v>0.9194630872483222</c:v>
                </c:pt>
                <c:pt idx="20">
                  <c:v>0.9296482412060302</c:v>
                </c:pt>
                <c:pt idx="21">
                  <c:v>0.9454545454545454</c:v>
                </c:pt>
                <c:pt idx="22">
                  <c:v>0.9570200573065902</c:v>
                </c:pt>
                <c:pt idx="23">
                  <c:v>0.9376947040498442</c:v>
                </c:pt>
                <c:pt idx="24">
                  <c:v>0.9516129032258065</c:v>
                </c:pt>
                <c:pt idx="25">
                  <c:v>0.9444444444444444</c:v>
                </c:pt>
                <c:pt idx="26">
                  <c:v>0.9568733153638814</c:v>
                </c:pt>
                <c:pt idx="27">
                  <c:v>0.9405940594059405</c:v>
                </c:pt>
                <c:pt idx="28">
                  <c:v>0.9511111111111111</c:v>
                </c:pt>
                <c:pt idx="29">
                  <c:v>0.9375</c:v>
                </c:pt>
                <c:pt idx="30">
                  <c:v>0.9263959390862944</c:v>
                </c:pt>
                <c:pt idx="31">
                  <c:v>0.9275</c:v>
                </c:pt>
                <c:pt idx="32">
                  <c:v>0.9478458049886621</c:v>
                </c:pt>
                <c:pt idx="33">
                  <c:v>0.9427244582043344</c:v>
                </c:pt>
                <c:pt idx="34">
                  <c:v>0.9474885844748858</c:v>
                </c:pt>
                <c:pt idx="35">
                  <c:v>0.9284712482468443</c:v>
                </c:pt>
                <c:pt idx="36">
                  <c:v>0.9096209912536443</c:v>
                </c:pt>
                <c:pt idx="37">
                  <c:v>0.8908045977011494</c:v>
                </c:pt>
                <c:pt idx="38">
                  <c:v>0.9287833827893175</c:v>
                </c:pt>
                <c:pt idx="39">
                  <c:v>0.9226519337016574</c:v>
                </c:pt>
                <c:pt idx="40">
                  <c:v>0.7151335311572701</c:v>
                </c:pt>
                <c:pt idx="41">
                  <c:v>0.8321917808219178</c:v>
                </c:pt>
                <c:pt idx="42">
                  <c:v>0.8809523809523809</c:v>
                </c:pt>
                <c:pt idx="43">
                  <c:v>0.8850771869639794</c:v>
                </c:pt>
                <c:pt idx="44">
                  <c:v>0.9068047337278107</c:v>
                </c:pt>
                <c:pt idx="45">
                  <c:v>0.9331243469174504</c:v>
                </c:pt>
                <c:pt idx="46">
                  <c:v>0.9308093994778068</c:v>
                </c:pt>
                <c:pt idx="47">
                  <c:v>0.9431396786155748</c:v>
                </c:pt>
                <c:pt idx="48">
                  <c:v>0.9531914893617022</c:v>
                </c:pt>
                <c:pt idx="49">
                  <c:v>0.9577221742881795</c:v>
                </c:pt>
                <c:pt idx="50">
                  <c:v>0.9723104857013164</c:v>
                </c:pt>
                <c:pt idx="51">
                  <c:v>0.9591078066914498</c:v>
                </c:pt>
              </c:numCache>
            </c:numRef>
          </c:yVal>
          <c:smooth val="0"/>
          <c:extLst>
            <c:ext xmlns:c16="http://schemas.microsoft.com/office/drawing/2014/chart" uri="{C3380CC4-5D6E-409C-BE32-E72D297353CC}">
              <c16:uniqueId val="{00000002-F32D-48B7-BC20-E66FC6253BAD}"/>
            </c:ext>
          </c:extLst>
        </c:ser>
        <c:ser>
          <c:idx val="2"/>
          <c:order val="2"/>
          <c:tx>
            <c:strRef>
              <c:f>Sheet1!$B$61</c:f>
              <c:strCache>
                <c:ptCount val="1"/>
                <c:pt idx="0">
                  <c:v>Custom Linep3yQ</c:v>
                </c:pt>
              </c:strCache>
            </c:strRef>
          </c:tx>
          <c:spPr>
            <a:ln w="19050" cap="rnd">
              <a:solidFill>
                <a:srgbClr val="C00000"/>
              </a:solidFill>
              <a:prstDash val="sysDot"/>
              <a:round/>
            </a:ln>
            <a:effectLst/>
          </c:spPr>
          <c:marker>
            <c:symbol val="none"/>
          </c:marker>
          <c:xVal>
            <c:numRef>
              <c:f>Sheet1!$A$62:$A$63</c:f>
              <c:numCache>
                <c:formatCode>General</c:formatCode>
                <c:ptCount val="2"/>
                <c:pt idx="0">
                  <c:v>0</c:v>
                </c:pt>
                <c:pt idx="1">
                  <c:v>6693.720616172095</c:v>
                </c:pt>
              </c:numCache>
            </c:numRef>
          </c:xVal>
          <c:yVal>
            <c:numRef>
              <c:f>Sheet1!$B$62:$B$63</c:f>
              <c:numCache>
                <c:formatCode>General</c:formatCode>
                <c:ptCount val="2"/>
                <c:pt idx="0">
                  <c:v>0.9759020326672777</c:v>
                </c:pt>
                <c:pt idx="1">
                  <c:v>0.9759020326672777</c:v>
                </c:pt>
              </c:numCache>
            </c:numRef>
          </c:yVal>
          <c:smooth val="0"/>
          <c:extLst>
            <c:ext xmlns:c16="http://schemas.microsoft.com/office/drawing/2014/chart" uri="{C3380CC4-5D6E-409C-BE32-E72D297353CC}">
              <c16:uniqueId val="{00000003-F32D-48B7-BC20-E66FC6253BAD}"/>
            </c:ext>
          </c:extLst>
        </c:ser>
        <c:ser>
          <c:idx val="3"/>
          <c:order val="3"/>
          <c:tx>
            <c:strRef>
              <c:f>Sheet1!$B$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6:$A$67</c:f>
              <c:numCache>
                <c:formatCode>General</c:formatCode>
                <c:ptCount val="2"/>
                <c:pt idx="0">
                  <c:v>6693.720616172095</c:v>
                </c:pt>
                <c:pt idx="1">
                  <c:v>6693.720616172095</c:v>
                </c:pt>
              </c:numCache>
            </c:numRef>
          </c:xVal>
          <c:yVal>
            <c:numRef>
              <c:f>Sheet1!$B$66:$B$67</c:f>
              <c:numCache>
                <c:formatCode>General</c:formatCode>
                <c:ptCount val="2"/>
                <c:pt idx="0">
                  <c:v>0.975902032667277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70:$A$71</c:f>
              <c:numCache>
                <c:formatCode>General</c:formatCode>
                <c:ptCount val="2"/>
                <c:pt idx="0">
                  <c:v>0</c:v>
                </c:pt>
                <c:pt idx="1">
                  <c:v>6603.393797331428</c:v>
                </c:pt>
              </c:numCache>
            </c:numRef>
          </c:xVal>
          <c:yVal>
            <c:numRef>
              <c:f>Sheet1!$B$70:$B$71</c:f>
              <c:numCache>
                <c:formatCode>General</c:formatCode>
                <c:ptCount val="2"/>
                <c:pt idx="0">
                  <c:v>0.9753193154280902</c:v>
                </c:pt>
                <c:pt idx="1">
                  <c:v>0.9753193154280902</c:v>
                </c:pt>
              </c:numCache>
            </c:numRef>
          </c:yVal>
          <c:smooth val="0"/>
          <c:extLst>
            <c:ext xmlns:c16="http://schemas.microsoft.com/office/drawing/2014/chart" uri="{C3380CC4-5D6E-409C-BE32-E72D297353CC}">
              <c16:uniqueId val="{0000000A-F32D-48B7-BC20-E66FC6253BAD}"/>
            </c:ext>
          </c:extLst>
        </c:ser>
        <c:ser>
          <c:idx val="5"/>
          <c:order val="5"/>
          <c:tx>
            <c:strRef>
              <c:f>Sheet1!$B$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4:$A$75</c:f>
              <c:numCache>
                <c:formatCode>General</c:formatCode>
                <c:ptCount val="2"/>
                <c:pt idx="0">
                  <c:v>6603.393797331428</c:v>
                </c:pt>
                <c:pt idx="1">
                  <c:v>6603.393797331428</c:v>
                </c:pt>
              </c:numCache>
            </c:numRef>
          </c:xVal>
          <c:yVal>
            <c:numRef>
              <c:f>Sheet1!$B$74:$B$75</c:f>
              <c:numCache>
                <c:formatCode>General</c:formatCode>
                <c:ptCount val="2"/>
                <c:pt idx="0">
                  <c:v>0.97531931542809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78:$A$79</c:f>
              <c:numCache>
                <c:formatCode>General</c:formatCode>
                <c:ptCount val="2"/>
                <c:pt idx="0">
                  <c:v>0</c:v>
                </c:pt>
                <c:pt idx="1">
                  <c:v>-3972.251698140055</c:v>
                </c:pt>
              </c:numCache>
            </c:numRef>
          </c:xVal>
          <c:yVal>
            <c:numRef>
              <c:f>Sheet1!$B$78:$B$79</c:f>
              <c:numCache>
                <c:formatCode>General</c:formatCode>
                <c:ptCount val="2"/>
                <c:pt idx="0">
                  <c:v>0.9070936098752688</c:v>
                </c:pt>
                <c:pt idx="1">
                  <c:v>0.9070936098752688</c:v>
                </c:pt>
              </c:numCache>
            </c:numRef>
          </c:yVal>
          <c:smooth val="0"/>
          <c:extLst>
            <c:ext xmlns:c16="http://schemas.microsoft.com/office/drawing/2014/chart" uri="{C3380CC4-5D6E-409C-BE32-E72D297353CC}">
              <c16:uniqueId val="{00000011-F32D-48B7-BC20-E66FC6253BAD}"/>
            </c:ext>
          </c:extLst>
        </c:ser>
        <c:ser>
          <c:idx val="7"/>
          <c:order val="7"/>
          <c:tx>
            <c:strRef>
              <c:f>Sheet1!$B$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2:$A$83</c:f>
              <c:numCache>
                <c:formatCode>General</c:formatCode>
                <c:ptCount val="2"/>
                <c:pt idx="0">
                  <c:v>-3972.251698140055</c:v>
                </c:pt>
                <c:pt idx="1">
                  <c:v>-3972.251698140055</c:v>
                </c:pt>
              </c:numCache>
            </c:numRef>
          </c:xVal>
          <c:yVal>
            <c:numRef>
              <c:f>Sheet1!$B$82:$B$83</c:f>
              <c:numCache>
                <c:formatCode>General</c:formatCode>
                <c:ptCount val="2"/>
                <c:pt idx="0">
                  <c:v>0.90709360987526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86:$A$140</c:f>
              <c:numCache>
                <c:formatCode>General</c:formatCode>
                <c:ptCount val="55"/>
                <c:pt idx="0">
                  <c:v>1332.101</c:v>
                </c:pt>
                <c:pt idx="1">
                  <c:v>1370.489</c:v>
                </c:pt>
                <c:pt idx="2">
                  <c:v>1357.5545</c:v>
                </c:pt>
                <c:pt idx="3">
                  <c:v>1382.16</c:v>
                </c:pt>
                <c:pt idx="4">
                  <c:v>1391.6087</c:v>
                </c:pt>
                <c:pt idx="5">
                  <c:v>1400.6125</c:v>
                </c:pt>
                <c:pt idx="6">
                  <c:v>1303.8093</c:v>
                </c:pt>
                <c:pt idx="7">
                  <c:v>1372.0</c:v>
                </c:pt>
                <c:pt idx="8">
                  <c:v>1454.0563</c:v>
                </c:pt>
                <c:pt idx="9">
                  <c:v>1394.1147</c:v>
                </c:pt>
                <c:pt idx="10">
                  <c:v>1422.7928</c:v>
                </c:pt>
                <c:pt idx="11">
                  <c:v>1258.6196</c:v>
                </c:pt>
                <c:pt idx="12">
                  <c:v>1268.2479</c:v>
                </c:pt>
                <c:pt idx="13">
                  <c:v>1334.704</c:v>
                </c:pt>
                <c:pt idx="14">
                  <c:v>1311.0085</c:v>
                </c:pt>
                <c:pt idx="15">
                  <c:v>1366.3894</c:v>
                </c:pt>
                <c:pt idx="16">
                  <c:v>1442.2796</c:v>
                </c:pt>
                <c:pt idx="17">
                  <c:v>1414.9631</c:v>
                </c:pt>
                <c:pt idx="18">
                  <c:v>1486.7612</c:v>
                </c:pt>
                <c:pt idx="19">
                  <c:v>1583.8856</c:v>
                </c:pt>
                <c:pt idx="20">
                  <c:v>1554.7405</c:v>
                </c:pt>
                <c:pt idx="21">
                  <c:v>1397.7198</c:v>
                </c:pt>
                <c:pt idx="22">
                  <c:v>1454.3593</c:v>
                </c:pt>
                <c:pt idx="23">
                  <c:v>1432.1395</c:v>
                </c:pt>
                <c:pt idx="24">
                  <c:v>1400.3079</c:v>
                </c:pt>
                <c:pt idx="25">
                  <c:v>1328.1961</c:v>
                </c:pt>
                <c:pt idx="26">
                  <c:v>1382.1662</c:v>
                </c:pt>
                <c:pt idx="27">
                  <c:v>1414.8763</c:v>
                </c:pt>
                <c:pt idx="28">
                  <c:v>1418.4019</c:v>
                </c:pt>
                <c:pt idx="29">
                  <c:v>1486.3072</c:v>
                </c:pt>
                <c:pt idx="30">
                  <c:v>1335.2274</c:v>
                </c:pt>
                <c:pt idx="31">
                  <c:v>1170.1482</c:v>
                </c:pt>
                <c:pt idx="32">
                  <c:v>1332.0167</c:v>
                </c:pt>
                <c:pt idx="33">
                  <c:v>1377.8407</c:v>
                </c:pt>
                <c:pt idx="34">
                  <c:v>1360.1892</c:v>
                </c:pt>
                <c:pt idx="35">
                  <c:v>1332.7523</c:v>
                </c:pt>
                <c:pt idx="36">
                  <c:v>1360.8333</c:v>
                </c:pt>
                <c:pt idx="37">
                  <c:v>1438.9806</c:v>
                </c:pt>
                <c:pt idx="38">
                  <c:v>1361.5591</c:v>
                </c:pt>
                <c:pt idx="39">
                  <c:v>1306.3932</c:v>
                </c:pt>
                <c:pt idx="40">
                  <c:v>1292.0041</c:v>
                </c:pt>
                <c:pt idx="41">
                  <c:v>1372.5967</c:v>
                </c:pt>
                <c:pt idx="42">
                  <c:v>1327.2531</c:v>
                </c:pt>
                <c:pt idx="43">
                  <c:v>1350.7752</c:v>
                </c:pt>
                <c:pt idx="44">
                  <c:v>1347.7504</c:v>
                </c:pt>
                <c:pt idx="45">
                  <c:v>1302.0</c:v>
                </c:pt>
                <c:pt idx="46">
                  <c:v>1302.9201</c:v>
                </c:pt>
                <c:pt idx="47">
                  <c:v>1309.232</c:v>
                </c:pt>
                <c:pt idx="48">
                  <c:v>1297.3181</c:v>
                </c:pt>
                <c:pt idx="49">
                  <c:v>1330.5928</c:v>
                </c:pt>
                <c:pt idx="50">
                  <c:v>1201.3501</c:v>
                </c:pt>
                <c:pt idx="51">
                  <c:v>1154.031</c:v>
                </c:pt>
                <c:pt idx="52">
                  <c:v>6603.393797331428</c:v>
                </c:pt>
                <c:pt idx="53">
                  <c:v>6693.720616172095</c:v>
                </c:pt>
                <c:pt idx="54">
                  <c:v>-3972.251698140055</c:v>
                </c:pt>
              </c:numCache>
            </c:numRef>
          </c:xVal>
          <c:yVal>
            <c:numRef>
              <c:f>Sheet1!$B$86:$B$140</c:f>
              <c:numCache>
                <c:formatCode>General</c:formatCode>
                <c:ptCount val="55"/>
                <c:pt idx="0">
                  <c:v>0.9413131008261125</c:v>
                </c:pt>
                <c:pt idx="1">
                  <c:v>0.941560749859534</c:v>
                </c:pt>
                <c:pt idx="2">
                  <c:v>0.9414773066891997</c:v>
                </c:pt>
                <c:pt idx="3">
                  <c:v>0.9416360419265617</c:v>
                </c:pt>
                <c:pt idx="4">
                  <c:v>0.9416969974705361</c:v>
                </c:pt>
                <c:pt idx="5">
                  <c:v>0.9417550828713677</c:v>
                </c:pt>
                <c:pt idx="6">
                  <c:v>0.9411305851399905</c:v>
                </c:pt>
                <c:pt idx="7">
                  <c:v>0.9415704976372119</c:v>
                </c:pt>
                <c:pt idx="8">
                  <c:v>0.942099860026009</c:v>
                </c:pt>
                <c:pt idx="9">
                  <c:v>0.9417131642017478</c:v>
                </c:pt>
                <c:pt idx="10">
                  <c:v>0.9418981726352522</c:v>
                </c:pt>
                <c:pt idx="11">
                  <c:v>0.9408390569143573</c:v>
                </c:pt>
                <c:pt idx="12">
                  <c:v>0.9409011710955726</c:v>
                </c:pt>
                <c:pt idx="13">
                  <c:v>0.9413298933246536</c:v>
                </c:pt>
                <c:pt idx="14">
                  <c:v>0.9411770286880109</c:v>
                </c:pt>
                <c:pt idx="15">
                  <c:v>0.9415343024807329</c:v>
                </c:pt>
                <c:pt idx="16">
                  <c:v>0.9420238860661284</c:v>
                </c:pt>
                <c:pt idx="17">
                  <c:v>0.9418476615995905</c:v>
                </c:pt>
                <c:pt idx="18">
                  <c:v>0.9423108461902568</c:v>
                </c:pt>
                <c:pt idx="19">
                  <c:v>0.9429374160501516</c:v>
                </c:pt>
                <c:pt idx="20">
                  <c:v>0.9427493949017726</c:v>
                </c:pt>
                <c:pt idx="21">
                  <c:v>0.9417364214574108</c:v>
                </c:pt>
                <c:pt idx="22">
                  <c:v>0.9421018147425122</c:v>
                </c:pt>
                <c:pt idx="23">
                  <c:v>0.9419584701558492</c:v>
                </c:pt>
                <c:pt idx="24">
                  <c:v>0.941753117832929</c:v>
                </c:pt>
                <c:pt idx="25">
                  <c:v>0.941287909497817</c:v>
                </c:pt>
                <c:pt idx="26">
                  <c:v>0.9416360819240611</c:v>
                </c:pt>
                <c:pt idx="27">
                  <c:v>0.9418471016345988</c:v>
                </c:pt>
                <c:pt idx="28">
                  <c:v>0.9418698460191</c:v>
                </c:pt>
                <c:pt idx="29">
                  <c:v>0.9423079173411067</c:v>
                </c:pt>
                <c:pt idx="30">
                  <c:v>0.9413332698877487</c:v>
                </c:pt>
                <c:pt idx="31">
                  <c:v>0.9402683093709728</c:v>
                </c:pt>
                <c:pt idx="32">
                  <c:v>0.9413125569891447</c:v>
                </c:pt>
                <c:pt idx="33">
                  <c:v>0.9416081772170156</c:v>
                </c:pt>
                <c:pt idx="34">
                  <c:v>0.9414943036910846</c:v>
                </c:pt>
                <c:pt idx="35">
                  <c:v>0.941317302498913</c:v>
                </c:pt>
                <c:pt idx="36">
                  <c:v>0.9414984589151761</c:v>
                </c:pt>
                <c:pt idx="37">
                  <c:v>0.9420026035257185</c:v>
                </c:pt>
                <c:pt idx="38">
                  <c:v>0.9415031412030905</c:v>
                </c:pt>
                <c:pt idx="39">
                  <c:v>0.9411472544204286</c:v>
                </c:pt>
                <c:pt idx="40">
                  <c:v>0.9410544273206369</c:v>
                </c:pt>
                <c:pt idx="41">
                  <c:v>0.9415743470739693</c:v>
                </c:pt>
                <c:pt idx="42">
                  <c:v>0.9412818260071815</c:v>
                </c:pt>
                <c:pt idx="43">
                  <c:v>0.9414335720040826</c:v>
                </c:pt>
                <c:pt idx="44">
                  <c:v>0.94141405838534</c:v>
                </c:pt>
                <c:pt idx="45">
                  <c:v>0.9411189129664944</c:v>
                </c:pt>
                <c:pt idx="46">
                  <c:v>0.9411248487244305</c:v>
                </c:pt>
                <c:pt idx="47">
                  <c:v>0.941165568114189</c:v>
                </c:pt>
                <c:pt idx="48">
                  <c:v>0.941088709048354</c:v>
                </c:pt>
                <c:pt idx="49">
                  <c:v>0.9413033711118214</c:v>
                </c:pt>
                <c:pt idx="50">
                  <c:v>0.9404695993672194</c:v>
                </c:pt>
                <c:pt idx="51">
                  <c:v>0.9401643339359029</c:v>
                </c:pt>
                <c:pt idx="52">
                  <c:v>0.9753193154280902</c:v>
                </c:pt>
                <c:pt idx="53">
                  <c:v>0.9759020326672777</c:v>
                </c:pt>
                <c:pt idx="54">
                  <c:v>0.907093609875268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3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807580174927113"/>
          <c:min val="0.572106824925816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5779835873388043</c:v>
                </c:pt>
                <c:pt idx="1">
                  <c:v>0.0</c:v>
                </c:pt>
                <c:pt idx="2">
                  <c:v>0.29224519621109607</c:v>
                </c:pt>
                <c:pt idx="3">
                  <c:v>0.2493217884702678</c:v>
                </c:pt>
                <c:pt idx="4">
                  <c:v>0.3531828305519898</c:v>
                </c:pt>
                <c:pt idx="5">
                  <c:v>0.0</c:v>
                </c:pt>
                <c:pt idx="6">
                  <c:v>0.0</c:v>
                </c:pt>
                <c:pt idx="7">
                  <c:v>0.0</c:v>
                </c:pt>
                <c:pt idx="8">
                  <c:v>0.0</c:v>
                </c:pt>
                <c:pt idx="9">
                  <c:v>0.29452988838362965</c:v>
                </c:pt>
                <c:pt idx="10">
                  <c:v>0.18667574808629087</c:v>
                </c:pt>
                <c:pt idx="11">
                  <c:v>0.21252933003425964</c:v>
                </c:pt>
                <c:pt idx="12">
                  <c:v>0.0</c:v>
                </c:pt>
                <c:pt idx="13">
                  <c:v>0.0</c:v>
                </c:pt>
                <c:pt idx="14">
                  <c:v>0.18155160527205136</c:v>
                </c:pt>
                <c:pt idx="15">
                  <c:v>0.32089257735101356</c:v>
                </c:pt>
                <c:pt idx="16">
                  <c:v>0.0</c:v>
                </c:pt>
                <c:pt idx="17">
                  <c:v>0.17450870134118418</c:v>
                </c:pt>
                <c:pt idx="18">
                  <c:v>0.23867363357215965</c:v>
                </c:pt>
                <c:pt idx="19">
                  <c:v>0.2998778370514064</c:v>
                </c:pt>
                <c:pt idx="20">
                  <c:v>0.21492063638035683</c:v>
                </c:pt>
                <c:pt idx="21">
                  <c:v>0.32972420820710546</c:v>
                </c:pt>
                <c:pt idx="22">
                  <c:v>0.0</c:v>
                </c:pt>
                <c:pt idx="23">
                  <c:v>0.18007830401443392</c:v>
                </c:pt>
                <c:pt idx="24">
                  <c:v>0.4871278844169246</c:v>
                </c:pt>
                <c:pt idx="25">
                  <c:v>0.4930781950142001</c:v>
                </c:pt>
                <c:pt idx="26">
                  <c:v>0.520069362607819</c:v>
                </c:pt>
                <c:pt idx="27">
                  <c:v>0.6967671891285622</c:v>
                </c:pt>
                <c:pt idx="28">
                  <c:v>0.6190115984039372</c:v>
                </c:pt>
                <c:pt idx="29">
                  <c:v>0.4280618175636704</c:v>
                </c:pt>
                <c:pt idx="30">
                  <c:v>0.4722650401142983</c:v>
                </c:pt>
                <c:pt idx="31">
                  <c:v>0.34193571313196575</c:v>
                </c:pt>
                <c:pt idx="32">
                  <c:v>0.44243785555673043</c:v>
                </c:pt>
                <c:pt idx="33">
                  <c:v>0.38972079769214124</c:v>
                </c:pt>
                <c:pt idx="34">
                  <c:v>0.5304202416299785</c:v>
                </c:pt>
                <c:pt idx="35">
                  <c:v>0.3302717481221189</c:v>
                </c:pt>
                <c:pt idx="36">
                  <c:v>0.5206556761268781</c:v>
                </c:pt>
                <c:pt idx="37">
                  <c:v>0.345662865990991</c:v>
                </c:pt>
                <c:pt idx="38">
                  <c:v>0.3450541926541926</c:v>
                </c:pt>
                <c:pt idx="39">
                  <c:v>0.7789509619824534</c:v>
                </c:pt>
                <c:pt idx="40">
                  <c:v>0.3780175639097744</c:v>
                </c:pt>
                <c:pt idx="41">
                  <c:v>0.8173271193390859</c:v>
                </c:pt>
                <c:pt idx="42">
                  <c:v>0.7154594815476951</c:v>
                </c:pt>
                <c:pt idx="43">
                  <c:v>0.9038078474980143</c:v>
                </c:pt>
                <c:pt idx="44">
                  <c:v>0.6579325333970282</c:v>
                </c:pt>
                <c:pt idx="45">
                  <c:v>0.5505877363097315</c:v>
                </c:pt>
                <c:pt idx="46">
                  <c:v>0.3744826342610741</c:v>
                </c:pt>
                <c:pt idx="47">
                  <c:v>0.4009307316655243</c:v>
                </c:pt>
                <c:pt idx="48">
                  <c:v>0.5297195590729226</c:v>
                </c:pt>
                <c:pt idx="49">
                  <c:v>0.7891514338420259</c:v>
                </c:pt>
                <c:pt idx="50">
                  <c:v>0.5770645885083887</c:v>
                </c:pt>
                <c:pt idx="51">
                  <c:v>0.6677656279539002</c:v>
                </c:pt>
                <c:pt idx="52">
                  <c:v>0.42428620181167054</c:v>
                </c:pt>
                <c:pt idx="53">
                  <c:v>0.5862020616851812</c:v>
                </c:pt>
                <c:pt idx="54">
                  <c:v>0.6790599047539476</c:v>
                </c:pt>
                <c:pt idx="55">
                  <c:v>0.7114604422851114</c:v>
                </c:pt>
                <c:pt idx="56">
                  <c:v>0.3996370239802483</c:v>
                </c:pt>
                <c:pt idx="57">
                  <c:v>0.7129149497051682</c:v>
                </c:pt>
                <c:pt idx="58">
                  <c:v>0.6208997424632631</c:v>
                </c:pt>
                <c:pt idx="59">
                  <c:v>0.6537191653290529</c:v>
                </c:pt>
                <c:pt idx="60">
                  <c:v>0.6435461854017422</c:v>
                </c:pt>
                <c:pt idx="61">
                  <c:v>0.8874306122358832</c:v>
                </c:pt>
                <c:pt idx="62">
                  <c:v>0.6173886986483289</c:v>
                </c:pt>
                <c:pt idx="63">
                  <c:v>0.6018320131111717</c:v>
                </c:pt>
                <c:pt idx="64">
                  <c:v>0.6042169445203608</c:v>
                </c:pt>
                <c:pt idx="65">
                  <c:v>0.343739356277884</c:v>
                </c:pt>
                <c:pt idx="66">
                  <c:v>0.5469852156057495</c:v>
                </c:pt>
                <c:pt idx="67">
                  <c:v>0.42549987182773646</c:v>
                </c:pt>
                <c:pt idx="68">
                  <c:v>0.0</c:v>
                </c:pt>
                <c:pt idx="69">
                  <c:v>0.0</c:v>
                </c:pt>
                <c:pt idx="70">
                  <c:v>0.5011302845528456</c:v>
                </c:pt>
                <c:pt idx="71">
                  <c:v>0.8267449197860962</c:v>
                </c:pt>
                <c:pt idx="72">
                  <c:v>0.0</c:v>
                </c:pt>
                <c:pt idx="73">
                  <c:v>0.7575235074626866</c:v>
                </c:pt>
                <c:pt idx="74">
                  <c:v>0.3409884342379958</c:v>
                </c:pt>
                <c:pt idx="75">
                  <c:v>0.7283879245283018</c:v>
                </c:pt>
                <c:pt idx="76">
                  <c:v>0.0</c:v>
                </c:pt>
                <c:pt idx="77">
                  <c:v>0.0</c:v>
                </c:pt>
                <c:pt idx="78">
                  <c:v>0.0</c:v>
                </c:pt>
                <c:pt idx="79">
                  <c:v>0.515944918541505</c:v>
                </c:pt>
                <c:pt idx="80">
                  <c:v>0.2754322502030869</c:v>
                </c:pt>
                <c:pt idx="81">
                  <c:v>0.0</c:v>
                </c:pt>
                <c:pt idx="82">
                  <c:v>0.0</c:v>
                </c:pt>
                <c:pt idx="83">
                  <c:v>3.4046127104961585</c:v>
                </c:pt>
                <c:pt idx="84">
                  <c:v>0.0</c:v>
                </c:pt>
                <c:pt idx="85">
                  <c:v>0.0</c:v>
                </c:pt>
                <c:pt idx="86">
                  <c:v>0.0</c:v>
                </c:pt>
                <c:pt idx="87">
                  <c:v>0.0</c:v>
                </c:pt>
                <c:pt idx="88">
                  <c:v>0.0</c:v>
                </c:pt>
                <c:pt idx="89">
                  <c:v>0.0</c:v>
                </c:pt>
                <c:pt idx="90">
                  <c:v>0.0</c:v>
                </c:pt>
                <c:pt idx="91">
                  <c:v>0.0</c:v>
                </c:pt>
                <c:pt idx="92">
                  <c:v>0.0</c:v>
                </c:pt>
                <c:pt idx="93">
                  <c:v>0.0</c:v>
                </c:pt>
                <c:pt idx="94">
                  <c:v>0.0</c:v>
                </c:pt>
                <c:pt idx="95">
                  <c:v>0.0</c:v>
                </c:pt>
                <c:pt idx="96">
                  <c:v>0.0</c:v>
                </c:pt>
                <c:pt idx="97">
                  <c:v>0.0</c:v>
                </c:pt>
                <c:pt idx="98">
                  <c:v>0.0</c:v>
                </c:pt>
                <c:pt idx="99">
                  <c:v>0.0</c:v>
                </c:pt>
                <c:pt idx="100">
                  <c:v>0.0</c:v>
                </c:pt>
                <c:pt idx="101">
                  <c:v>0.0</c:v>
                </c:pt>
                <c:pt idx="102">
                  <c:v>0.0</c:v>
                </c:pt>
                <c:pt idx="103">
                  <c:v>0.0</c:v>
                </c:pt>
                <c:pt idx="104">
                  <c:v>0.0</c:v>
                </c:pt>
              </c:numCache>
            </c:numRef>
          </c:xVal>
          <c:yVal>
            <c:numRef>
              <c:f>Sheet1!$B$2:$B$106</c:f>
              <c:numCache>
                <c:formatCode>General</c:formatCode>
                <c:ptCount val="105"/>
                <c:pt idx="0">
                  <c:v>0.9988317757009346</c:v>
                </c:pt>
                <c:pt idx="1">
                  <c:v>1.0</c:v>
                </c:pt>
                <c:pt idx="2">
                  <c:v>0.9977401129943503</c:v>
                </c:pt>
                <c:pt idx="3">
                  <c:v>0.9988193624557261</c:v>
                </c:pt>
                <c:pt idx="4">
                  <c:v>0.998639455782313</c:v>
                </c:pt>
                <c:pt idx="5">
                  <c:v>1.0</c:v>
                </c:pt>
                <c:pt idx="6">
                  <c:v>1.0</c:v>
                </c:pt>
                <c:pt idx="7">
                  <c:v>1.0</c:v>
                </c:pt>
                <c:pt idx="8">
                  <c:v>1.0</c:v>
                </c:pt>
                <c:pt idx="9">
                  <c:v>0.9977452085682075</c:v>
                </c:pt>
                <c:pt idx="10">
                  <c:v>0.9989816700610998</c:v>
                </c:pt>
                <c:pt idx="11">
                  <c:v>0.9989680082559339</c:v>
                </c:pt>
                <c:pt idx="12">
                  <c:v>1.0</c:v>
                </c:pt>
                <c:pt idx="13">
                  <c:v>1.0</c:v>
                </c:pt>
                <c:pt idx="14">
                  <c:v>0.9989235737351991</c:v>
                </c:pt>
                <c:pt idx="15">
                  <c:v>0.9973297730307076</c:v>
                </c:pt>
                <c:pt idx="16">
                  <c:v>1.0</c:v>
                </c:pt>
                <c:pt idx="17">
                  <c:v>0.9978540772532188</c:v>
                </c:pt>
                <c:pt idx="18">
                  <c:v>0.9969604863221885</c:v>
                </c:pt>
                <c:pt idx="19">
                  <c:v>0.9961685823754789</c:v>
                </c:pt>
                <c:pt idx="20">
                  <c:v>0.9970674486803519</c:v>
                </c:pt>
                <c:pt idx="21">
                  <c:v>0.9929078014184397</c:v>
                </c:pt>
                <c:pt idx="22">
                  <c:v>1.0</c:v>
                </c:pt>
                <c:pt idx="23">
                  <c:v>0.9962264150943396</c:v>
                </c:pt>
                <c:pt idx="24">
                  <c:v>0.9873417721518988</c:v>
                </c:pt>
                <c:pt idx="25">
                  <c:v>0.9868852459016394</c:v>
                </c:pt>
                <c:pt idx="26">
                  <c:v>0.988950276243094</c:v>
                </c:pt>
                <c:pt idx="27">
                  <c:v>0.9837837837837838</c:v>
                </c:pt>
                <c:pt idx="28">
                  <c:v>0.9809782608695652</c:v>
                </c:pt>
                <c:pt idx="29">
                  <c:v>0.9937629937629938</c:v>
                </c:pt>
                <c:pt idx="30">
                  <c:v>0.9893617021276596</c:v>
                </c:pt>
                <c:pt idx="31">
                  <c:v>0.9943977591036415</c:v>
                </c:pt>
                <c:pt idx="32">
                  <c:v>0.9888888888888889</c:v>
                </c:pt>
                <c:pt idx="33">
                  <c:v>0.994392523364486</c:v>
                </c:pt>
                <c:pt idx="34">
                  <c:v>0.9925595238095238</c:v>
                </c:pt>
                <c:pt idx="35">
                  <c:v>0.9959349593495935</c:v>
                </c:pt>
                <c:pt idx="36">
                  <c:v>0.9923469387755102</c:v>
                </c:pt>
                <c:pt idx="37">
                  <c:v>0.9939024390243902</c:v>
                </c:pt>
                <c:pt idx="38">
                  <c:v>0.99375</c:v>
                </c:pt>
                <c:pt idx="39">
                  <c:v>0.9863481228668942</c:v>
                </c:pt>
                <c:pt idx="40">
                  <c:v>0.9949367088607595</c:v>
                </c:pt>
                <c:pt idx="41">
                  <c:v>0.9791666666666666</c:v>
                </c:pt>
                <c:pt idx="42">
                  <c:v>0.9901234567901235</c:v>
                </c:pt>
                <c:pt idx="43">
                  <c:v>0.9838383838383838</c:v>
                </c:pt>
                <c:pt idx="44">
                  <c:v>0.993607305936073</c:v>
                </c:pt>
                <c:pt idx="45">
                  <c:v>0.9948152948801037</c:v>
                </c:pt>
                <c:pt idx="46">
                  <c:v>0.9977103606182026</c:v>
                </c:pt>
                <c:pt idx="47">
                  <c:v>0.9972051425377306</c:v>
                </c:pt>
                <c:pt idx="48">
                  <c:v>0.9975062344139651</c:v>
                </c:pt>
                <c:pt idx="49">
                  <c:v>0.9977477477477478</c:v>
                </c:pt>
                <c:pt idx="50">
                  <c:v>0.996662958843159</c:v>
                </c:pt>
                <c:pt idx="51">
                  <c:v>0.9943775100401606</c:v>
                </c:pt>
                <c:pt idx="52">
                  <c:v>0.9975654290931223</c:v>
                </c:pt>
                <c:pt idx="53">
                  <c:v>0.9955123410620793</c:v>
                </c:pt>
                <c:pt idx="54">
                  <c:v>0.9935379644588045</c:v>
                </c:pt>
                <c:pt idx="55">
                  <c:v>0.9945054945054945</c:v>
                </c:pt>
                <c:pt idx="56">
                  <c:v>0.9971857410881801</c:v>
                </c:pt>
                <c:pt idx="57">
                  <c:v>0.9953952417498081</c:v>
                </c:pt>
                <c:pt idx="58">
                  <c:v>0.9972991222147198</c:v>
                </c:pt>
                <c:pt idx="59">
                  <c:v>0.997639653815893</c:v>
                </c:pt>
                <c:pt idx="60">
                  <c:v>0.9969578444154715</c:v>
                </c:pt>
                <c:pt idx="61">
                  <c:v>0.9963235294117647</c:v>
                </c:pt>
                <c:pt idx="62">
                  <c:v>0.998109640831758</c:v>
                </c:pt>
                <c:pt idx="63">
                  <c:v>0.9988706945228685</c:v>
                </c:pt>
                <c:pt idx="64">
                  <c:v>0.9976076555023924</c:v>
                </c:pt>
                <c:pt idx="65">
                  <c:v>0.9993403693931399</c:v>
                </c:pt>
                <c:pt idx="66">
                  <c:v>0.9988151658767772</c:v>
                </c:pt>
                <c:pt idx="67">
                  <c:v>0.9988857938718663</c:v>
                </c:pt>
                <c:pt idx="68">
                  <c:v>1.0</c:v>
                </c:pt>
                <c:pt idx="69">
                  <c:v>1.0</c:v>
                </c:pt>
                <c:pt idx="70">
                  <c:v>0.999001996007984</c:v>
                </c:pt>
                <c:pt idx="71">
                  <c:v>0.9989177489177489</c:v>
                </c:pt>
                <c:pt idx="72">
                  <c:v>1.0</c:v>
                </c:pt>
                <c:pt idx="73">
                  <c:v>0.9988962472406181</c:v>
                </c:pt>
                <c:pt idx="74">
                  <c:v>0.9989775051124744</c:v>
                </c:pt>
                <c:pt idx="75">
                  <c:v>0.9989281886387996</c:v>
                </c:pt>
                <c:pt idx="76">
                  <c:v>1.0</c:v>
                </c:pt>
                <c:pt idx="77">
                  <c:v>1.0</c:v>
                </c:pt>
                <c:pt idx="78">
                  <c:v>1.0</c:v>
                </c:pt>
                <c:pt idx="79">
                  <c:v>0.9989088925259137</c:v>
                </c:pt>
                <c:pt idx="80">
                  <c:v>0.9994121105232217</c:v>
                </c:pt>
                <c:pt idx="81">
                  <c:v>1.0</c:v>
                </c:pt>
                <c:pt idx="82">
                  <c:v>1.0</c:v>
                </c:pt>
                <c:pt idx="83">
                  <c:v>0.9955555555555555</c:v>
                </c:pt>
                <c:pt idx="84">
                  <c:v>1.0</c:v>
                </c:pt>
                <c:pt idx="85">
                  <c:v>1.0</c:v>
                </c:pt>
                <c:pt idx="86">
                  <c:v>1.0</c:v>
                </c:pt>
                <c:pt idx="87">
                  <c:v>1.0</c:v>
                </c:pt>
                <c:pt idx="88">
                  <c:v>1.0</c:v>
                </c:pt>
                <c:pt idx="89">
                  <c:v>1.0</c:v>
                </c:pt>
                <c:pt idx="90">
                  <c:v>1.0</c:v>
                </c:pt>
                <c:pt idx="91">
                  <c:v>1.0</c:v>
                </c:pt>
                <c:pt idx="92">
                  <c:v>0.9916981132075472</c:v>
                </c:pt>
                <c:pt idx="93">
                  <c:v>0.9924060751398881</c:v>
                </c:pt>
                <c:pt idx="94">
                  <c:v>0.972488038277512</c:v>
                </c:pt>
                <c:pt idx="95">
                  <c:v>0.9773299748110831</c:v>
                </c:pt>
                <c:pt idx="96">
                  <c:v>0.9739819004524887</c:v>
                </c:pt>
                <c:pt idx="97">
                  <c:v>0.9702457956015524</c:v>
                </c:pt>
                <c:pt idx="98">
                  <c:v>0.9830377794911334</c:v>
                </c:pt>
                <c:pt idx="99">
                  <c:v>0.972997299729973</c:v>
                </c:pt>
                <c:pt idx="100">
                  <c:v>0.8908045977011494</c:v>
                </c:pt>
                <c:pt idx="101">
                  <c:v>0.9287833827893175</c:v>
                </c:pt>
                <c:pt idx="102">
                  <c:v>0.9431396786155748</c:v>
                </c:pt>
                <c:pt idx="103">
                  <c:v>0.9723104857013164</c:v>
                </c:pt>
                <c:pt idx="104">
                  <c:v>0.959107806691449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18</c:f>
              <c:numCache>
                <c:formatCode>General</c:formatCode>
                <c:ptCount val="10"/>
                <c:pt idx="0">
                  <c:v>0.4851070181953212</c:v>
                </c:pt>
                <c:pt idx="1">
                  <c:v>6.244325873514138</c:v>
                </c:pt>
                <c:pt idx="2">
                  <c:v>6.674946908124674</c:v>
                </c:pt>
                <c:pt idx="3">
                  <c:v>6.434052869394243</c:v>
                </c:pt>
                <c:pt idx="4">
                  <c:v>5.162197558955725</c:v>
                </c:pt>
                <c:pt idx="5">
                  <c:v>4.717126164143692</c:v>
                </c:pt>
                <c:pt idx="6">
                  <c:v>3.3200167173806445</c:v>
                </c:pt>
                <c:pt idx="7">
                  <c:v>2.6563100917431193</c:v>
                </c:pt>
                <c:pt idx="8">
                  <c:v>0.6525744969818913</c:v>
                </c:pt>
                <c:pt idx="9">
                  <c:v>0.6437313981615868</c:v>
                </c:pt>
              </c:numCache>
            </c:numRef>
          </c:xVal>
          <c:yVal>
            <c:numRef>
              <c:f>Sheet1!$B$109:$B$118</c:f>
              <c:numCache>
                <c:formatCode>General</c:formatCode>
                <c:ptCount val="10"/>
                <c:pt idx="0">
                  <c:v>0.9226519337016574</c:v>
                </c:pt>
                <c:pt idx="1">
                  <c:v>0.7151335311572701</c:v>
                </c:pt>
                <c:pt idx="2">
                  <c:v>0.8321917808219178</c:v>
                </c:pt>
                <c:pt idx="3">
                  <c:v>0.8809523809523809</c:v>
                </c:pt>
                <c:pt idx="4">
                  <c:v>0.8850771869639794</c:v>
                </c:pt>
                <c:pt idx="5">
                  <c:v>0.9068047337278107</c:v>
                </c:pt>
                <c:pt idx="6">
                  <c:v>0.9331243469174504</c:v>
                </c:pt>
                <c:pt idx="7">
                  <c:v>0.9308093994778068</c:v>
                </c:pt>
                <c:pt idx="8">
                  <c:v>0.9531914893617022</c:v>
                </c:pt>
                <c:pt idx="9">
                  <c:v>0.9577221742881795</c:v>
                </c:pt>
              </c:numCache>
            </c:numRef>
          </c:yVal>
          <c:smooth val="0"/>
          <c:extLst>
            <c:ext xmlns:c16="http://schemas.microsoft.com/office/drawing/2014/chart" uri="{C3380CC4-5D6E-409C-BE32-E72D297353CC}">
              <c16:uniqueId val="{00000002-096C-4121-9522-6AB7243CCAAE}"/>
            </c:ext>
          </c:extLst>
        </c:ser>
        <c:ser>
          <c:idx val="2"/>
          <c:order val="2"/>
          <c:tx>
            <c:strRef>
              <c:f>Sheet1!$B$12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1:$A$122</c:f>
              <c:numCache>
                <c:formatCode>General</c:formatCode>
                <c:ptCount val="2"/>
                <c:pt idx="0">
                  <c:v>0</c:v>
                </c:pt>
                <c:pt idx="1">
                  <c:v>-1.3576247841446945</c:v>
                </c:pt>
              </c:numCache>
            </c:numRef>
          </c:xVal>
          <c:yVal>
            <c:numRef>
              <c:f>Sheet1!$B$121:$B$122</c:f>
              <c:numCache>
                <c:formatCode>General</c:formatCode>
                <c:ptCount val="2"/>
                <c:pt idx="0">
                  <c:v>0.9993678655658434</c:v>
                </c:pt>
                <c:pt idx="1">
                  <c:v>0.9993678655658434</c:v>
                </c:pt>
              </c:numCache>
            </c:numRef>
          </c:yVal>
          <c:smooth val="0"/>
          <c:extLst>
            <c:ext xmlns:c16="http://schemas.microsoft.com/office/drawing/2014/chart" uri="{C3380CC4-5D6E-409C-BE32-E72D297353CC}">
              <c16:uniqueId val="{00000005-096C-4121-9522-6AB7243CCAAE}"/>
            </c:ext>
          </c:extLst>
        </c:ser>
        <c:ser>
          <c:idx val="3"/>
          <c:order val="3"/>
          <c:tx>
            <c:strRef>
              <c:f>Sheet1!$B$12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5:$A$126</c:f>
              <c:numCache>
                <c:formatCode>General</c:formatCode>
                <c:ptCount val="2"/>
                <c:pt idx="0">
                  <c:v>-1.3576247841446945</c:v>
                </c:pt>
                <c:pt idx="1">
                  <c:v>-1.3576247841446945</c:v>
                </c:pt>
              </c:numCache>
            </c:numRef>
          </c:xVal>
          <c:yVal>
            <c:numRef>
              <c:f>Sheet1!$B$125:$B$126</c:f>
              <c:numCache>
                <c:formatCode>General</c:formatCode>
                <c:ptCount val="2"/>
                <c:pt idx="0">
                  <c:v>0.99936786556584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9:$A$130</c:f>
              <c:numCache>
                <c:formatCode>General</c:formatCode>
                <c:ptCount val="2"/>
                <c:pt idx="0">
                  <c:v>0</c:v>
                </c:pt>
                <c:pt idx="1">
                  <c:v>-0.23254206594846968</c:v>
                </c:pt>
              </c:numCache>
            </c:numRef>
          </c:xVal>
          <c:yVal>
            <c:numRef>
              <c:f>Sheet1!$B$129:$B$130</c:f>
              <c:numCache>
                <c:formatCode>General</c:formatCode>
                <c:ptCount val="2"/>
                <c:pt idx="0">
                  <c:v>0.9754269582742197</c:v>
                </c:pt>
                <c:pt idx="1">
                  <c:v>0.9754269582742197</c:v>
                </c:pt>
              </c:numCache>
            </c:numRef>
          </c:yVal>
          <c:smooth val="0"/>
          <c:extLst>
            <c:ext xmlns:c16="http://schemas.microsoft.com/office/drawing/2014/chart" uri="{C3380CC4-5D6E-409C-BE32-E72D297353CC}">
              <c16:uniqueId val="{0000000D-096C-4121-9522-6AB7243CCAAE}"/>
            </c:ext>
          </c:extLst>
        </c:ser>
        <c:ser>
          <c:idx val="5"/>
          <c:order val="5"/>
          <c:tx>
            <c:strRef>
              <c:f>Sheet1!$B$13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3:$A$134</c:f>
              <c:numCache>
                <c:formatCode>General</c:formatCode>
                <c:ptCount val="2"/>
                <c:pt idx="0">
                  <c:v>-0.23254206594846968</c:v>
                </c:pt>
                <c:pt idx="1">
                  <c:v>-0.23254206594846968</c:v>
                </c:pt>
              </c:numCache>
            </c:numRef>
          </c:xVal>
          <c:yVal>
            <c:numRef>
              <c:f>Sheet1!$B$133:$B$134</c:f>
              <c:numCache>
                <c:formatCode>General</c:formatCode>
                <c:ptCount val="2"/>
                <c:pt idx="0">
                  <c:v>0.975426958274219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7:$A$138</c:f>
              <c:numCache>
                <c:formatCode>General</c:formatCode>
                <c:ptCount val="2"/>
                <c:pt idx="0">
                  <c:v>0</c:v>
                </c:pt>
                <c:pt idx="1">
                  <c:v>2.9787259291888555</c:v>
                </c:pt>
              </c:numCache>
            </c:numRef>
          </c:xVal>
          <c:yVal>
            <c:numRef>
              <c:f>Sheet1!$B$137:$B$138</c:f>
              <c:numCache>
                <c:formatCode>General</c:formatCode>
                <c:ptCount val="2"/>
                <c:pt idx="0">
                  <c:v>0.9070936098752688</c:v>
                </c:pt>
                <c:pt idx="1">
                  <c:v>0.9070936098752688</c:v>
                </c:pt>
              </c:numCache>
            </c:numRef>
          </c:yVal>
          <c:smooth val="0"/>
          <c:extLst>
            <c:ext xmlns:c16="http://schemas.microsoft.com/office/drawing/2014/chart" uri="{C3380CC4-5D6E-409C-BE32-E72D297353CC}">
              <c16:uniqueId val="{00000015-096C-4121-9522-6AB7243CCAAE}"/>
            </c:ext>
          </c:extLst>
        </c:ser>
        <c:ser>
          <c:idx val="7"/>
          <c:order val="7"/>
          <c:tx>
            <c:strRef>
              <c:f>Sheet1!$B$14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1:$A$142</c:f>
              <c:numCache>
                <c:formatCode>General</c:formatCode>
                <c:ptCount val="2"/>
                <c:pt idx="0">
                  <c:v>2.9787259291888555</c:v>
                </c:pt>
                <c:pt idx="1">
                  <c:v>2.9787259291888555</c:v>
                </c:pt>
              </c:numCache>
            </c:numRef>
          </c:xVal>
          <c:yVal>
            <c:numRef>
              <c:f>Sheet1!$B$141:$B$142</c:f>
              <c:numCache>
                <c:formatCode>General</c:formatCode>
                <c:ptCount val="2"/>
                <c:pt idx="0">
                  <c:v>0.90709360987526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5:$A$157</c:f>
              <c:numCache>
                <c:formatCode>General</c:formatCode>
                <c:ptCount val="13"/>
                <c:pt idx="0">
                  <c:v>0.4851070181953212</c:v>
                </c:pt>
                <c:pt idx="1">
                  <c:v>6.244325873514138</c:v>
                </c:pt>
                <c:pt idx="2">
                  <c:v>6.674946908124674</c:v>
                </c:pt>
                <c:pt idx="3">
                  <c:v>6.434052869394243</c:v>
                </c:pt>
                <c:pt idx="4">
                  <c:v>5.162197558955725</c:v>
                </c:pt>
                <c:pt idx="5">
                  <c:v>4.717126164143692</c:v>
                </c:pt>
                <c:pt idx="6">
                  <c:v>3.3200167173806445</c:v>
                </c:pt>
                <c:pt idx="7">
                  <c:v>2.6563100917431193</c:v>
                </c:pt>
                <c:pt idx="8">
                  <c:v>0.6525744969818913</c:v>
                </c:pt>
                <c:pt idx="9">
                  <c:v>0.6437313981615868</c:v>
                </c:pt>
                <c:pt idx="10">
                  <c:v>-0.23254206594846968</c:v>
                </c:pt>
                <c:pt idx="11">
                  <c:v>-1.3576247841446945</c:v>
                </c:pt>
                <c:pt idx="12">
                  <c:v>2.9787259291888555</c:v>
                </c:pt>
              </c:numCache>
            </c:numRef>
          </c:xVal>
          <c:yVal>
            <c:numRef>
              <c:f>Sheet1!$B$145:$B$157</c:f>
              <c:numCache>
                <c:formatCode>General</c:formatCode>
                <c:ptCount val="13"/>
                <c:pt idx="0">
                  <c:v>0.9601559298302393</c:v>
                </c:pt>
                <c:pt idx="1">
                  <c:v>0.8376041187879228</c:v>
                </c:pt>
                <c:pt idx="2">
                  <c:v>0.8284408296353151</c:v>
                </c:pt>
                <c:pt idx="3">
                  <c:v>0.8335668721520789</c:v>
                </c:pt>
                <c:pt idx="4">
                  <c:v>0.8606309889348748</c:v>
                </c:pt>
                <c:pt idx="5">
                  <c:v>0.8701017707974135</c:v>
                </c:pt>
                <c:pt idx="6">
                  <c:v>0.8998312006430973</c:v>
                </c:pt>
                <c:pt idx="7">
                  <c:v>0.913954374465107</c:v>
                </c:pt>
                <c:pt idx="8">
                  <c:v>0.956592348842684</c:v>
                </c:pt>
                <c:pt idx="9">
                  <c:v>0.9567805232814194</c:v>
                </c:pt>
                <c:pt idx="10">
                  <c:v>0.9754269582742197</c:v>
                </c:pt>
                <c:pt idx="11">
                  <c:v>0.9993678655658434</c:v>
                </c:pt>
                <c:pt idx="12">
                  <c:v>0.907093609875268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572106824925816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7</c:f>
              <c:numCache>
                <c:formatCode>General</c:formatCode>
                <c:ptCount val="96"/>
                <c:pt idx="0">
                  <c:v>942.214</c:v>
                </c:pt>
                <c:pt idx="1">
                  <c:v>1031.7783</c:v>
                </c:pt>
                <c:pt idx="2">
                  <c:v>1079.846</c:v>
                </c:pt>
                <c:pt idx="3">
                  <c:v>1098.5118</c:v>
                </c:pt>
                <c:pt idx="4">
                  <c:v>1100.5177</c:v>
                </c:pt>
                <c:pt idx="5">
                  <c:v>1080.1912</c:v>
                </c:pt>
                <c:pt idx="6">
                  <c:v>1027.1185</c:v>
                </c:pt>
                <c:pt idx="7">
                  <c:v>1065.1193</c:v>
                </c:pt>
                <c:pt idx="8">
                  <c:v>1062.7407</c:v>
                </c:pt>
                <c:pt idx="9">
                  <c:v>1068.7017</c:v>
                </c:pt>
                <c:pt idx="10">
                  <c:v>1073.0122</c:v>
                </c:pt>
                <c:pt idx="11">
                  <c:v>1116.6291</c:v>
                </c:pt>
                <c:pt idx="12">
                  <c:v>1111.0277</c:v>
                </c:pt>
                <c:pt idx="13">
                  <c:v>1066.6064</c:v>
                </c:pt>
                <c:pt idx="14">
                  <c:v>1074.4224</c:v>
                </c:pt>
                <c:pt idx="15">
                  <c:v>1052.6881</c:v>
                </c:pt>
                <c:pt idx="16">
                  <c:v>1059.7802</c:v>
                </c:pt>
                <c:pt idx="17">
                  <c:v>1066.9462</c:v>
                </c:pt>
                <c:pt idx="18">
                  <c:v>1165.9207</c:v>
                </c:pt>
                <c:pt idx="19">
                  <c:v>1236.6962</c:v>
                </c:pt>
                <c:pt idx="20">
                  <c:v>1168.5235</c:v>
                </c:pt>
                <c:pt idx="21">
                  <c:v>1197.2286</c:v>
                </c:pt>
                <c:pt idx="22">
                  <c:v>1195.3934</c:v>
                </c:pt>
                <c:pt idx="23">
                  <c:v>1197.7008</c:v>
                </c:pt>
                <c:pt idx="24">
                  <c:v>1180.0673</c:v>
                </c:pt>
                <c:pt idx="25">
                  <c:v>1171.9236</c:v>
                </c:pt>
                <c:pt idx="26">
                  <c:v>1160.6648</c:v>
                </c:pt>
                <c:pt idx="27">
                  <c:v>1134.9176</c:v>
                </c:pt>
                <c:pt idx="28">
                  <c:v>1102.3712</c:v>
                </c:pt>
                <c:pt idx="29">
                  <c:v>1067.4435</c:v>
                </c:pt>
                <c:pt idx="30">
                  <c:v>1074.2849</c:v>
                </c:pt>
                <c:pt idx="31">
                  <c:v>1058.462</c:v>
                </c:pt>
                <c:pt idx="32">
                  <c:v>1046.0337</c:v>
                </c:pt>
                <c:pt idx="33">
                  <c:v>1022.8872</c:v>
                </c:pt>
                <c:pt idx="34">
                  <c:v>1036.1229</c:v>
                </c:pt>
                <c:pt idx="35">
                  <c:v>1086.1537</c:v>
                </c:pt>
                <c:pt idx="36">
                  <c:v>1247.491</c:v>
                </c:pt>
                <c:pt idx="37">
                  <c:v>1227.7945</c:v>
                </c:pt>
                <c:pt idx="38">
                  <c:v>1244.783</c:v>
                </c:pt>
                <c:pt idx="39">
                  <c:v>1265.2111</c:v>
                </c:pt>
                <c:pt idx="40">
                  <c:v>1256.9084</c:v>
                </c:pt>
                <c:pt idx="41">
                  <c:v>1328.8571</c:v>
                </c:pt>
                <c:pt idx="42">
                  <c:v>1400.6908</c:v>
                </c:pt>
                <c:pt idx="43">
                  <c:v>1422.3676</c:v>
                </c:pt>
                <c:pt idx="44">
                  <c:v>1112.0</c:v>
                </c:pt>
                <c:pt idx="45">
                  <c:v>986.5844</c:v>
                </c:pt>
                <c:pt idx="46">
                  <c:v>955.3052</c:v>
                </c:pt>
                <c:pt idx="47">
                  <c:v>935.9327</c:v>
                </c:pt>
                <c:pt idx="48">
                  <c:v>937.0739</c:v>
                </c:pt>
                <c:pt idx="49">
                  <c:v>941.142</c:v>
                </c:pt>
                <c:pt idx="50">
                  <c:v>952.5413</c:v>
                </c:pt>
                <c:pt idx="51">
                  <c:v>982.6648</c:v>
                </c:pt>
                <c:pt idx="52">
                  <c:v>1007.0433</c:v>
                </c:pt>
                <c:pt idx="53">
                  <c:v>1018.0376</c:v>
                </c:pt>
                <c:pt idx="54">
                  <c:v>1015.9585</c:v>
                </c:pt>
                <c:pt idx="55">
                  <c:v>1028.8904</c:v>
                </c:pt>
                <c:pt idx="56">
                  <c:v>1050.1129</c:v>
                </c:pt>
                <c:pt idx="57">
                  <c:v>1027.6669</c:v>
                </c:pt>
                <c:pt idx="58">
                  <c:v>1024.6398</c:v>
                </c:pt>
                <c:pt idx="59">
                  <c:v>1018.1676</c:v>
                </c:pt>
                <c:pt idx="60">
                  <c:v>1073.527</c:v>
                </c:pt>
                <c:pt idx="61">
                  <c:v>1064.7688</c:v>
                </c:pt>
                <c:pt idx="62">
                  <c:v>1075.0795</c:v>
                </c:pt>
                <c:pt idx="63">
                  <c:v>1101.6535</c:v>
                </c:pt>
                <c:pt idx="64">
                  <c:v>1105.4149</c:v>
                </c:pt>
                <c:pt idx="65">
                  <c:v>1078.6541</c:v>
                </c:pt>
                <c:pt idx="66">
                  <c:v>932.3363</c:v>
                </c:pt>
                <c:pt idx="67">
                  <c:v>829.9375</c:v>
                </c:pt>
                <c:pt idx="68">
                  <c:v>807.6562</c:v>
                </c:pt>
                <c:pt idx="69">
                  <c:v>805.8433</c:v>
                </c:pt>
                <c:pt idx="70">
                  <c:v>739.6683</c:v>
                </c:pt>
                <c:pt idx="71">
                  <c:v>773.0065</c:v>
                </c:pt>
                <c:pt idx="72">
                  <c:v>836.2576</c:v>
                </c:pt>
                <c:pt idx="73">
                  <c:v>812.0652</c:v>
                </c:pt>
                <c:pt idx="74">
                  <c:v>816.6673</c:v>
                </c:pt>
                <c:pt idx="75">
                  <c:v>772.0912</c:v>
                </c:pt>
                <c:pt idx="76">
                  <c:v>767.2214</c:v>
                </c:pt>
                <c:pt idx="77">
                  <c:v>723.6301</c:v>
                </c:pt>
                <c:pt idx="78">
                  <c:v>821.5251</c:v>
                </c:pt>
                <c:pt idx="79">
                  <c:v>332.5265</c:v>
                </c:pt>
                <c:pt idx="80">
                  <c:v>339.0571</c:v>
                </c:pt>
                <c:pt idx="81">
                  <c:v>518.2318</c:v>
                </c:pt>
                <c:pt idx="82">
                  <c:v>502.0328</c:v>
                </c:pt>
                <c:pt idx="83">
                  <c:v>523.1756</c:v>
                </c:pt>
                <c:pt idx="84">
                  <c:v>551.9233</c:v>
                </c:pt>
                <c:pt idx="85">
                  <c:v>913.4663</c:v>
                </c:pt>
                <c:pt idx="86">
                  <c:v>956.3719</c:v>
                </c:pt>
                <c:pt idx="87">
                  <c:v>781.6955</c:v>
                </c:pt>
                <c:pt idx="88">
                  <c:v>901.2125</c:v>
                </c:pt>
                <c:pt idx="89">
                  <c:v>1044.4023</c:v>
                </c:pt>
                <c:pt idx="90">
                  <c:v>1054.1648</c:v>
                </c:pt>
                <c:pt idx="91">
                  <c:v>1244.6186</c:v>
                </c:pt>
                <c:pt idx="92">
                  <c:v>1255.812</c:v>
                </c:pt>
                <c:pt idx="93">
                  <c:v>1206.7592</c:v>
                </c:pt>
                <c:pt idx="94">
                  <c:v>1254.5843</c:v>
                </c:pt>
                <c:pt idx="95">
                  <c:v>1306.4575</c:v>
                </c:pt>
              </c:numCache>
            </c:numRef>
          </c:xVal>
          <c:yVal>
            <c:numRef>
              <c:f>Sheet1!$B$2:$B$97</c:f>
              <c:numCache>
                <c:formatCode>General</c:formatCode>
                <c:ptCount val="96"/>
                <c:pt idx="0">
                  <c:v>0.9988317757009346</c:v>
                </c:pt>
                <c:pt idx="1">
                  <c:v>1.0</c:v>
                </c:pt>
                <c:pt idx="2">
                  <c:v>0.9977401129943503</c:v>
                </c:pt>
                <c:pt idx="3">
                  <c:v>0.9988193624557261</c:v>
                </c:pt>
                <c:pt idx="4">
                  <c:v>0.998639455782313</c:v>
                </c:pt>
                <c:pt idx="5">
                  <c:v>1.0</c:v>
                </c:pt>
                <c:pt idx="6">
                  <c:v>1.0</c:v>
                </c:pt>
                <c:pt idx="7">
                  <c:v>1.0</c:v>
                </c:pt>
                <c:pt idx="8">
                  <c:v>1.0</c:v>
                </c:pt>
                <c:pt idx="9">
                  <c:v>0.9977452085682075</c:v>
                </c:pt>
                <c:pt idx="10">
                  <c:v>0.9989816700610998</c:v>
                </c:pt>
                <c:pt idx="11">
                  <c:v>0.9989680082559339</c:v>
                </c:pt>
                <c:pt idx="12">
                  <c:v>1.0</c:v>
                </c:pt>
                <c:pt idx="13">
                  <c:v>1.0</c:v>
                </c:pt>
                <c:pt idx="14">
                  <c:v>0.9989235737351991</c:v>
                </c:pt>
                <c:pt idx="15">
                  <c:v>0.9973297730307076</c:v>
                </c:pt>
                <c:pt idx="16">
                  <c:v>1.0</c:v>
                </c:pt>
                <c:pt idx="17">
                  <c:v>0.9978540772532188</c:v>
                </c:pt>
                <c:pt idx="18">
                  <c:v>0.9969604863221885</c:v>
                </c:pt>
                <c:pt idx="19">
                  <c:v>0.9961685823754789</c:v>
                </c:pt>
                <c:pt idx="20">
                  <c:v>0.9970674486803519</c:v>
                </c:pt>
                <c:pt idx="21">
                  <c:v>0.9929078014184397</c:v>
                </c:pt>
                <c:pt idx="22">
                  <c:v>1.0</c:v>
                </c:pt>
                <c:pt idx="23">
                  <c:v>0.9962264150943396</c:v>
                </c:pt>
                <c:pt idx="24">
                  <c:v>0.9873417721518988</c:v>
                </c:pt>
                <c:pt idx="25">
                  <c:v>0.9868852459016394</c:v>
                </c:pt>
                <c:pt idx="26">
                  <c:v>0.988950276243094</c:v>
                </c:pt>
                <c:pt idx="27">
                  <c:v>0.9837837837837838</c:v>
                </c:pt>
                <c:pt idx="28">
                  <c:v>0.9809782608695652</c:v>
                </c:pt>
                <c:pt idx="29">
                  <c:v>0.9937629937629938</c:v>
                </c:pt>
                <c:pt idx="30">
                  <c:v>0.9893617021276596</c:v>
                </c:pt>
                <c:pt idx="31">
                  <c:v>0.9943977591036415</c:v>
                </c:pt>
                <c:pt idx="32">
                  <c:v>0.9888888888888889</c:v>
                </c:pt>
                <c:pt idx="33">
                  <c:v>0.994392523364486</c:v>
                </c:pt>
                <c:pt idx="34">
                  <c:v>0.9925595238095238</c:v>
                </c:pt>
                <c:pt idx="35">
                  <c:v>0.9959349593495935</c:v>
                </c:pt>
                <c:pt idx="36">
                  <c:v>0.9923469387755102</c:v>
                </c:pt>
                <c:pt idx="37">
                  <c:v>0.9939024390243902</c:v>
                </c:pt>
                <c:pt idx="38">
                  <c:v>0.99375</c:v>
                </c:pt>
                <c:pt idx="39">
                  <c:v>0.9863481228668942</c:v>
                </c:pt>
                <c:pt idx="40">
                  <c:v>0.9949367088607595</c:v>
                </c:pt>
                <c:pt idx="41">
                  <c:v>0.9791666666666666</c:v>
                </c:pt>
                <c:pt idx="42">
                  <c:v>0.9901234567901235</c:v>
                </c:pt>
                <c:pt idx="43">
                  <c:v>0.9838383838383838</c:v>
                </c:pt>
                <c:pt idx="44">
                  <c:v>0.993607305936073</c:v>
                </c:pt>
                <c:pt idx="45">
                  <c:v>0.9948152948801037</c:v>
                </c:pt>
                <c:pt idx="46">
                  <c:v>0.9977103606182026</c:v>
                </c:pt>
                <c:pt idx="47">
                  <c:v>0.9972051425377306</c:v>
                </c:pt>
                <c:pt idx="48">
                  <c:v>0.9975062344139651</c:v>
                </c:pt>
                <c:pt idx="49">
                  <c:v>0.9977477477477478</c:v>
                </c:pt>
                <c:pt idx="50">
                  <c:v>0.996662958843159</c:v>
                </c:pt>
                <c:pt idx="51">
                  <c:v>0.9943775100401606</c:v>
                </c:pt>
                <c:pt idx="52">
                  <c:v>0.9975654290931223</c:v>
                </c:pt>
                <c:pt idx="53">
                  <c:v>0.9955123410620793</c:v>
                </c:pt>
                <c:pt idx="54">
                  <c:v>0.9935379644588045</c:v>
                </c:pt>
                <c:pt idx="55">
                  <c:v>0.9945054945054945</c:v>
                </c:pt>
                <c:pt idx="56">
                  <c:v>0.9971857410881801</c:v>
                </c:pt>
                <c:pt idx="57">
                  <c:v>0.9953952417498081</c:v>
                </c:pt>
                <c:pt idx="58">
                  <c:v>0.9972991222147198</c:v>
                </c:pt>
                <c:pt idx="59">
                  <c:v>0.997639653815893</c:v>
                </c:pt>
                <c:pt idx="60">
                  <c:v>0.9969578444154715</c:v>
                </c:pt>
                <c:pt idx="61">
                  <c:v>0.9963235294117647</c:v>
                </c:pt>
                <c:pt idx="62">
                  <c:v>0.998109640831758</c:v>
                </c:pt>
                <c:pt idx="63">
                  <c:v>0.9988706945228685</c:v>
                </c:pt>
                <c:pt idx="64">
                  <c:v>0.9976076555023924</c:v>
                </c:pt>
                <c:pt idx="65">
                  <c:v>0.9993403693931399</c:v>
                </c:pt>
                <c:pt idx="66">
                  <c:v>0.9988151658767772</c:v>
                </c:pt>
                <c:pt idx="67">
                  <c:v>0.9988857938718663</c:v>
                </c:pt>
                <c:pt idx="68">
                  <c:v>1.0</c:v>
                </c:pt>
                <c:pt idx="69">
                  <c:v>1.0</c:v>
                </c:pt>
                <c:pt idx="70">
                  <c:v>0.999001996007984</c:v>
                </c:pt>
                <c:pt idx="71">
                  <c:v>0.9989177489177489</c:v>
                </c:pt>
                <c:pt idx="72">
                  <c:v>1.0</c:v>
                </c:pt>
                <c:pt idx="73">
                  <c:v>0.9988962472406181</c:v>
                </c:pt>
                <c:pt idx="74">
                  <c:v>0.9989775051124744</c:v>
                </c:pt>
                <c:pt idx="75">
                  <c:v>0.9989281886387996</c:v>
                </c:pt>
                <c:pt idx="76">
                  <c:v>1.0</c:v>
                </c:pt>
                <c:pt idx="77">
                  <c:v>1.0</c:v>
                </c:pt>
                <c:pt idx="78">
                  <c:v>1.0</c:v>
                </c:pt>
                <c:pt idx="79">
                  <c:v>0.9989088925259137</c:v>
                </c:pt>
                <c:pt idx="80">
                  <c:v>0.9994121105232217</c:v>
                </c:pt>
                <c:pt idx="81">
                  <c:v>1.0</c:v>
                </c:pt>
                <c:pt idx="82">
                  <c:v>1.0</c:v>
                </c:pt>
                <c:pt idx="83">
                  <c:v>0.9955555555555555</c:v>
                </c:pt>
                <c:pt idx="84">
                  <c:v>1.0</c:v>
                </c:pt>
                <c:pt idx="85">
                  <c:v>1.0</c:v>
                </c:pt>
                <c:pt idx="86">
                  <c:v>1.0</c:v>
                </c:pt>
                <c:pt idx="87">
                  <c:v>1.0</c:v>
                </c:pt>
                <c:pt idx="88">
                  <c:v>1.0</c:v>
                </c:pt>
                <c:pt idx="89">
                  <c:v>1.0</c:v>
                </c:pt>
                <c:pt idx="90">
                  <c:v>1.0</c:v>
                </c:pt>
                <c:pt idx="91">
                  <c:v>1.0</c:v>
                </c:pt>
                <c:pt idx="92">
                  <c:v>0.9916981132075472</c:v>
                </c:pt>
                <c:pt idx="93">
                  <c:v>0.9924060751398881</c:v>
                </c:pt>
                <c:pt idx="94">
                  <c:v>0.972488038277512</c:v>
                </c:pt>
                <c:pt idx="95">
                  <c:v>0.9773299748110831</c:v>
                </c:pt>
              </c:numCache>
            </c:numRef>
          </c:yVal>
          <c:smooth val="0"/>
          <c:extLst>
            <c:ext xmlns:c16="http://schemas.microsoft.com/office/drawing/2014/chart" uri="{C3380CC4-5D6E-409C-BE32-E72D297353CC}">
              <c16:uniqueId val="{00000000-F32D-48B7-BC20-E66FC6253BAD}"/>
            </c:ext>
          </c:extLst>
        </c:ser>
        <c:ser>
          <c:idx val="1"/>
          <c:order val="1"/>
          <c:tx>
            <c:strRef>
              <c:f>Sheet1!$B$9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0:$A$118</c:f>
              <c:numCache>
                <c:formatCode>General</c:formatCode>
                <c:ptCount val="19"/>
                <c:pt idx="0">
                  <c:v>1332.101</c:v>
                </c:pt>
                <c:pt idx="1">
                  <c:v>1394.1147</c:v>
                </c:pt>
                <c:pt idx="2">
                  <c:v>1258.6196</c:v>
                </c:pt>
                <c:pt idx="3">
                  <c:v>1268.2479</c:v>
                </c:pt>
                <c:pt idx="4">
                  <c:v>1438.9806</c:v>
                </c:pt>
                <c:pt idx="5">
                  <c:v>1361.5591</c:v>
                </c:pt>
                <c:pt idx="6">
                  <c:v>1306.3932</c:v>
                </c:pt>
                <c:pt idx="7">
                  <c:v>1292.0041</c:v>
                </c:pt>
                <c:pt idx="8">
                  <c:v>1372.5967</c:v>
                </c:pt>
                <c:pt idx="9">
                  <c:v>1327.2531</c:v>
                </c:pt>
                <c:pt idx="10">
                  <c:v>1350.7752</c:v>
                </c:pt>
                <c:pt idx="11">
                  <c:v>1347.7504</c:v>
                </c:pt>
                <c:pt idx="12">
                  <c:v>1302.0</c:v>
                </c:pt>
                <c:pt idx="13">
                  <c:v>1302.9201</c:v>
                </c:pt>
                <c:pt idx="14">
                  <c:v>1309.232</c:v>
                </c:pt>
                <c:pt idx="15">
                  <c:v>1297.3181</c:v>
                </c:pt>
                <c:pt idx="16">
                  <c:v>1330.5928</c:v>
                </c:pt>
                <c:pt idx="17">
                  <c:v>1201.3501</c:v>
                </c:pt>
                <c:pt idx="18">
                  <c:v>1154.031</c:v>
                </c:pt>
              </c:numCache>
            </c:numRef>
          </c:xVal>
          <c:yVal>
            <c:numRef>
              <c:f>Sheet1!$B$100:$B$118</c:f>
              <c:numCache>
                <c:formatCode>General</c:formatCode>
                <c:ptCount val="19"/>
                <c:pt idx="0">
                  <c:v>0.9739819004524887</c:v>
                </c:pt>
                <c:pt idx="1">
                  <c:v>0.9702457956015524</c:v>
                </c:pt>
                <c:pt idx="2">
                  <c:v>0.9830377794911334</c:v>
                </c:pt>
                <c:pt idx="3">
                  <c:v>0.972997299729973</c:v>
                </c:pt>
                <c:pt idx="4">
                  <c:v>0.8908045977011494</c:v>
                </c:pt>
                <c:pt idx="5">
                  <c:v>0.9287833827893175</c:v>
                </c:pt>
                <c:pt idx="6">
                  <c:v>0.9226519337016574</c:v>
                </c:pt>
                <c:pt idx="7">
                  <c:v>0.7151335311572701</c:v>
                </c:pt>
                <c:pt idx="8">
                  <c:v>0.8321917808219178</c:v>
                </c:pt>
                <c:pt idx="9">
                  <c:v>0.8809523809523809</c:v>
                </c:pt>
                <c:pt idx="10">
                  <c:v>0.8850771869639794</c:v>
                </c:pt>
                <c:pt idx="11">
                  <c:v>0.9068047337278107</c:v>
                </c:pt>
                <c:pt idx="12">
                  <c:v>0.9331243469174504</c:v>
                </c:pt>
                <c:pt idx="13">
                  <c:v>0.9308093994778068</c:v>
                </c:pt>
                <c:pt idx="14">
                  <c:v>0.9431396786155748</c:v>
                </c:pt>
                <c:pt idx="15">
                  <c:v>0.9531914893617022</c:v>
                </c:pt>
                <c:pt idx="16">
                  <c:v>0.9577221742881795</c:v>
                </c:pt>
                <c:pt idx="17">
                  <c:v>0.9723104857013164</c:v>
                </c:pt>
                <c:pt idx="18">
                  <c:v>0.9591078066914498</c:v>
                </c:pt>
              </c:numCache>
            </c:numRef>
          </c:yVal>
          <c:smooth val="0"/>
          <c:extLst>
            <c:ext xmlns:c16="http://schemas.microsoft.com/office/drawing/2014/chart" uri="{C3380CC4-5D6E-409C-BE32-E72D297353CC}">
              <c16:uniqueId val="{00000002-F32D-48B7-BC20-E66FC6253BAD}"/>
            </c:ext>
          </c:extLst>
        </c:ser>
        <c:ser>
          <c:idx val="2"/>
          <c:order val="2"/>
          <c:tx>
            <c:strRef>
              <c:f>Sheet1!$B$120</c:f>
              <c:strCache>
                <c:ptCount val="1"/>
                <c:pt idx="0">
                  <c:v>Custom Linep3yQ</c:v>
                </c:pt>
              </c:strCache>
            </c:strRef>
          </c:tx>
          <c:spPr>
            <a:ln w="19050" cap="rnd">
              <a:solidFill>
                <a:srgbClr val="C00000"/>
              </a:solidFill>
              <a:prstDash val="sysDot"/>
              <a:round/>
            </a:ln>
            <a:effectLst/>
          </c:spPr>
          <c:marker>
            <c:symbol val="none"/>
          </c:marker>
          <c:xVal>
            <c:numRef>
              <c:f>Sheet1!$A$121:$A$122</c:f>
              <c:numCache>
                <c:formatCode>General</c:formatCode>
                <c:ptCount val="2"/>
                <c:pt idx="0">
                  <c:v>0</c:v>
                </c:pt>
                <c:pt idx="1">
                  <c:v>1011.8943206232602</c:v>
                </c:pt>
              </c:numCache>
            </c:numRef>
          </c:xVal>
          <c:yVal>
            <c:numRef>
              <c:f>Sheet1!$B$121:$B$122</c:f>
              <c:numCache>
                <c:formatCode>General</c:formatCode>
                <c:ptCount val="2"/>
                <c:pt idx="0">
                  <c:v>0.9993678655658434</c:v>
                </c:pt>
                <c:pt idx="1">
                  <c:v>0.9993678655658434</c:v>
                </c:pt>
              </c:numCache>
            </c:numRef>
          </c:yVal>
          <c:smooth val="0"/>
          <c:extLst>
            <c:ext xmlns:c16="http://schemas.microsoft.com/office/drawing/2014/chart" uri="{C3380CC4-5D6E-409C-BE32-E72D297353CC}">
              <c16:uniqueId val="{00000003-F32D-48B7-BC20-E66FC6253BAD}"/>
            </c:ext>
          </c:extLst>
        </c:ser>
        <c:ser>
          <c:idx val="3"/>
          <c:order val="3"/>
          <c:tx>
            <c:strRef>
              <c:f>Sheet1!$B$12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5:$A$126</c:f>
              <c:numCache>
                <c:formatCode>General</c:formatCode>
                <c:ptCount val="2"/>
                <c:pt idx="0">
                  <c:v>1011.8943206232602</c:v>
                </c:pt>
                <c:pt idx="1">
                  <c:v>1011.8943206232602</c:v>
                </c:pt>
              </c:numCache>
            </c:numRef>
          </c:xVal>
          <c:yVal>
            <c:numRef>
              <c:f>Sheet1!$B$125:$B$126</c:f>
              <c:numCache>
                <c:formatCode>General</c:formatCode>
                <c:ptCount val="2"/>
                <c:pt idx="0">
                  <c:v>0.99936786556584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9:$A$130</c:f>
              <c:numCache>
                <c:formatCode>General</c:formatCode>
                <c:ptCount val="2"/>
                <c:pt idx="0">
                  <c:v>0</c:v>
                </c:pt>
                <c:pt idx="1">
                  <c:v>1104.7083346768013</c:v>
                </c:pt>
              </c:numCache>
            </c:numRef>
          </c:xVal>
          <c:yVal>
            <c:numRef>
              <c:f>Sheet1!$B$129:$B$130</c:f>
              <c:numCache>
                <c:formatCode>General</c:formatCode>
                <c:ptCount val="2"/>
                <c:pt idx="0">
                  <c:v>0.9754269582742197</c:v>
                </c:pt>
                <c:pt idx="1">
                  <c:v>0.9754269582742197</c:v>
                </c:pt>
              </c:numCache>
            </c:numRef>
          </c:yVal>
          <c:smooth val="0"/>
          <c:extLst>
            <c:ext xmlns:c16="http://schemas.microsoft.com/office/drawing/2014/chart" uri="{C3380CC4-5D6E-409C-BE32-E72D297353CC}">
              <c16:uniqueId val="{0000000A-F32D-48B7-BC20-E66FC6253BAD}"/>
            </c:ext>
          </c:extLst>
        </c:ser>
        <c:ser>
          <c:idx val="5"/>
          <c:order val="5"/>
          <c:tx>
            <c:strRef>
              <c:f>Sheet1!$B$13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3:$A$134</c:f>
              <c:numCache>
                <c:formatCode>General</c:formatCode>
                <c:ptCount val="2"/>
                <c:pt idx="0">
                  <c:v>1104.7083346768013</c:v>
                </c:pt>
                <c:pt idx="1">
                  <c:v>1104.7083346768013</c:v>
                </c:pt>
              </c:numCache>
            </c:numRef>
          </c:xVal>
          <c:yVal>
            <c:numRef>
              <c:f>Sheet1!$B$133:$B$134</c:f>
              <c:numCache>
                <c:formatCode>General</c:formatCode>
                <c:ptCount val="2"/>
                <c:pt idx="0">
                  <c:v>0.975426958274219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7:$A$138</c:f>
              <c:numCache>
                <c:formatCode>General</c:formatCode>
                <c:ptCount val="2"/>
                <c:pt idx="0">
                  <c:v>0</c:v>
                </c:pt>
                <c:pt idx="1">
                  <c:v>1369.6227876409428</c:v>
                </c:pt>
              </c:numCache>
            </c:numRef>
          </c:xVal>
          <c:yVal>
            <c:numRef>
              <c:f>Sheet1!$B$137:$B$138</c:f>
              <c:numCache>
                <c:formatCode>General</c:formatCode>
                <c:ptCount val="2"/>
                <c:pt idx="0">
                  <c:v>0.9070936098752688</c:v>
                </c:pt>
                <c:pt idx="1">
                  <c:v>0.9070936098752688</c:v>
                </c:pt>
              </c:numCache>
            </c:numRef>
          </c:yVal>
          <c:smooth val="0"/>
          <c:extLst>
            <c:ext xmlns:c16="http://schemas.microsoft.com/office/drawing/2014/chart" uri="{C3380CC4-5D6E-409C-BE32-E72D297353CC}">
              <c16:uniqueId val="{00000011-F32D-48B7-BC20-E66FC6253BAD}"/>
            </c:ext>
          </c:extLst>
        </c:ser>
        <c:ser>
          <c:idx val="7"/>
          <c:order val="7"/>
          <c:tx>
            <c:strRef>
              <c:f>Sheet1!$B$14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1:$A$142</c:f>
              <c:numCache>
                <c:formatCode>General</c:formatCode>
                <c:ptCount val="2"/>
                <c:pt idx="0">
                  <c:v>1369.6227876409428</c:v>
                </c:pt>
                <c:pt idx="1">
                  <c:v>1369.6227876409428</c:v>
                </c:pt>
              </c:numCache>
            </c:numRef>
          </c:xVal>
          <c:yVal>
            <c:numRef>
              <c:f>Sheet1!$B$141:$B$142</c:f>
              <c:numCache>
                <c:formatCode>General</c:formatCode>
                <c:ptCount val="2"/>
                <c:pt idx="0">
                  <c:v>0.90709360987526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5:$A$166</c:f>
              <c:numCache>
                <c:formatCode>General</c:formatCode>
                <c:ptCount val="22"/>
                <c:pt idx="0">
                  <c:v>1332.101</c:v>
                </c:pt>
                <c:pt idx="1">
                  <c:v>1394.1147</c:v>
                </c:pt>
                <c:pt idx="2">
                  <c:v>1258.6196</c:v>
                </c:pt>
                <c:pt idx="3">
                  <c:v>1268.2479</c:v>
                </c:pt>
                <c:pt idx="4">
                  <c:v>1438.9806</c:v>
                </c:pt>
                <c:pt idx="5">
                  <c:v>1361.5591</c:v>
                </c:pt>
                <c:pt idx="6">
                  <c:v>1306.3932</c:v>
                </c:pt>
                <c:pt idx="7">
                  <c:v>1292.0041</c:v>
                </c:pt>
                <c:pt idx="8">
                  <c:v>1372.5967</c:v>
                </c:pt>
                <c:pt idx="9">
                  <c:v>1327.2531</c:v>
                </c:pt>
                <c:pt idx="10">
                  <c:v>1350.7752</c:v>
                </c:pt>
                <c:pt idx="11">
                  <c:v>1347.7504</c:v>
                </c:pt>
                <c:pt idx="12">
                  <c:v>1302.0</c:v>
                </c:pt>
                <c:pt idx="13">
                  <c:v>1302.9201</c:v>
                </c:pt>
                <c:pt idx="14">
                  <c:v>1309.232</c:v>
                </c:pt>
                <c:pt idx="15">
                  <c:v>1297.3181</c:v>
                </c:pt>
                <c:pt idx="16">
                  <c:v>1330.5928</c:v>
                </c:pt>
                <c:pt idx="17">
                  <c:v>1201.3501</c:v>
                </c:pt>
                <c:pt idx="18">
                  <c:v>1154.031</c:v>
                </c:pt>
                <c:pt idx="19">
                  <c:v>1104.7083346768013</c:v>
                </c:pt>
                <c:pt idx="20">
                  <c:v>1011.8943206232602</c:v>
                </c:pt>
                <c:pt idx="21">
                  <c:v>1369.6227876409428</c:v>
                </c:pt>
              </c:numCache>
            </c:numRef>
          </c:xVal>
          <c:yVal>
            <c:numRef>
              <c:f>Sheet1!$B$145:$B$166</c:f>
              <c:numCache>
                <c:formatCode>General</c:formatCode>
                <c:ptCount val="22"/>
                <c:pt idx="0">
                  <c:v>0.9167721659477344</c:v>
                </c:pt>
                <c:pt idx="1">
                  <c:v>0.900776044482132</c:v>
                </c:pt>
                <c:pt idx="2">
                  <c:v>0.9357263228495563</c:v>
                </c:pt>
                <c:pt idx="3">
                  <c:v>0.9332427513757164</c:v>
                </c:pt>
                <c:pt idx="4">
                  <c:v>0.8892031116291725</c:v>
                </c:pt>
                <c:pt idx="5">
                  <c:v>0.9091735974742219</c:v>
                </c:pt>
                <c:pt idx="6">
                  <c:v>0.9234033634317325</c:v>
                </c:pt>
                <c:pt idx="7">
                  <c:v>0.9271149592787904</c:v>
                </c:pt>
                <c:pt idx="8">
                  <c:v>0.9063265041659894</c:v>
                </c:pt>
                <c:pt idx="9">
                  <c:v>0.9180226573271085</c:v>
                </c:pt>
                <c:pt idx="10">
                  <c:v>0.9119552501456947</c:v>
                </c:pt>
                <c:pt idx="11">
                  <c:v>0.9127354820655632</c:v>
                </c:pt>
                <c:pt idx="12">
                  <c:v>0.924536567237064</c:v>
                </c:pt>
                <c:pt idx="13">
                  <c:v>0.9242992320778893</c:v>
                </c:pt>
                <c:pt idx="14">
                  <c:v>0.9226711092747228</c:v>
                </c:pt>
                <c:pt idx="15">
                  <c:v>0.9257442397528113</c:v>
                </c:pt>
                <c:pt idx="16">
                  <c:v>0.9171611985388299</c:v>
                </c:pt>
                <c:pt idx="17">
                  <c:v>0.9504987018283032</c:v>
                </c:pt>
                <c:pt idx="18">
                  <c:v>0.9627044252610768</c:v>
                </c:pt>
                <c:pt idx="19">
                  <c:v>0.9754269582742197</c:v>
                </c:pt>
                <c:pt idx="20">
                  <c:v>0.9993678655658434</c:v>
                </c:pt>
                <c:pt idx="21">
                  <c:v>0.907093609875268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727.0"/>
          <c:min val="26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572106824925816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c:f>
              <c:numCache>
                <c:formatCode>General</c:formatCode>
                <c:ptCount val="9"/>
                <c:pt idx="0">
                  <c:v>0.0</c:v>
                </c:pt>
                <c:pt idx="1">
                  <c:v>0.8903558139534884</c:v>
                </c:pt>
                <c:pt idx="2">
                  <c:v>0.8548754254594962</c:v>
                </c:pt>
                <c:pt idx="3">
                  <c:v>0.8240190635451505</c:v>
                </c:pt>
                <c:pt idx="4">
                  <c:v>0.7735635897435897</c:v>
                </c:pt>
                <c:pt idx="5">
                  <c:v>0.724124294117647</c:v>
                </c:pt>
                <c:pt idx="6">
                  <c:v>0.5297704471544715</c:v>
                </c:pt>
                <c:pt idx="7">
                  <c:v>0.9658077752117012</c:v>
                </c:pt>
                <c:pt idx="8">
                  <c:v>0.9265656028368794</c:v>
                </c:pt>
              </c:numCache>
            </c:numRef>
          </c:xVal>
          <c:yVal>
            <c:numRef>
              <c:f>Sheet1!$B$2:$B$10</c:f>
              <c:numCache>
                <c:formatCode>General</c:formatCode>
                <c:ptCount val="9"/>
                <c:pt idx="0">
                  <c:v>1.0</c:v>
                </c:pt>
                <c:pt idx="1">
                  <c:v>0.9942748091603053</c:v>
                </c:pt>
                <c:pt idx="2">
                  <c:v>0.9916981132075472</c:v>
                </c:pt>
                <c:pt idx="3">
                  <c:v>0.9929622520793346</c:v>
                </c:pt>
                <c:pt idx="4">
                  <c:v>0.9924060751398881</c:v>
                </c:pt>
                <c:pt idx="5">
                  <c:v>0.9809523809523809</c:v>
                </c:pt>
                <c:pt idx="6">
                  <c:v>0.9780821917808219</c:v>
                </c:pt>
                <c:pt idx="7">
                  <c:v>0.972488038277512</c:v>
                </c:pt>
                <c:pt idx="8">
                  <c:v>0.9773299748110831</c:v>
                </c:pt>
              </c:numCache>
            </c:numRef>
          </c:yVal>
          <c:smooth val="0"/>
          <c:extLst>
            <c:ext xmlns:c16="http://schemas.microsoft.com/office/drawing/2014/chart" uri="{C3380CC4-5D6E-409C-BE32-E72D297353CC}">
              <c16:uniqueId val="{00000000-096C-4121-9522-6AB7243CCAAE}"/>
            </c:ext>
          </c:extLst>
        </c:ser>
        <c:ser>
          <c:idx val="1"/>
          <c:order val="1"/>
          <c:tx>
            <c:strRef>
              <c:f>Sheet1!$B$1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3:$A$64</c:f>
              <c:numCache>
                <c:formatCode>General</c:formatCode>
                <c:ptCount val="52"/>
                <c:pt idx="0">
                  <c:v>1.0478670599803344</c:v>
                </c:pt>
                <c:pt idx="1">
                  <c:v>0.6869619047619048</c:v>
                </c:pt>
                <c:pt idx="2">
                  <c:v>0.9594024734982332</c:v>
                </c:pt>
                <c:pt idx="3">
                  <c:v>0.7808813559322034</c:v>
                </c:pt>
                <c:pt idx="4">
                  <c:v>0.6706547951807229</c:v>
                </c:pt>
                <c:pt idx="5">
                  <c:v>0.8753828124999999</c:v>
                </c:pt>
                <c:pt idx="6">
                  <c:v>1.2536627884615383</c:v>
                </c:pt>
                <c:pt idx="7">
                  <c:v>0.6982188295165395</c:v>
                </c:pt>
                <c:pt idx="8">
                  <c:v>0.5735922287968441</c:v>
                </c:pt>
                <c:pt idx="9">
                  <c:v>1.2326389920424403</c:v>
                </c:pt>
                <c:pt idx="10">
                  <c:v>0.7970828011204482</c:v>
                </c:pt>
                <c:pt idx="11">
                  <c:v>0.9813798050682261</c:v>
                </c:pt>
                <c:pt idx="12">
                  <c:v>0.7785438305709025</c:v>
                </c:pt>
                <c:pt idx="13">
                  <c:v>0.7822441025641025</c:v>
                </c:pt>
                <c:pt idx="14">
                  <c:v>0.8740056666666666</c:v>
                </c:pt>
                <c:pt idx="15">
                  <c:v>0.8018717136150235</c:v>
                </c:pt>
                <c:pt idx="16">
                  <c:v>0.9771542005420055</c:v>
                </c:pt>
                <c:pt idx="17">
                  <c:v>0.5895679583333333</c:v>
                </c:pt>
                <c:pt idx="18">
                  <c:v>1.0600792869875222</c:v>
                </c:pt>
                <c:pt idx="19">
                  <c:v>1.1680572271386431</c:v>
                </c:pt>
                <c:pt idx="20">
                  <c:v>0.7325043580683157</c:v>
                </c:pt>
                <c:pt idx="21">
                  <c:v>0.8238843501326261</c:v>
                </c:pt>
                <c:pt idx="22">
                  <c:v>0.9413328802588997</c:v>
                </c:pt>
                <c:pt idx="23">
                  <c:v>0.5649465483234714</c:v>
                </c:pt>
                <c:pt idx="24">
                  <c:v>0.8450862401931201</c:v>
                </c:pt>
                <c:pt idx="25">
                  <c:v>0.8051299695871899</c:v>
                </c:pt>
                <c:pt idx="26">
                  <c:v>1.0443265583679637</c:v>
                </c:pt>
                <c:pt idx="27">
                  <c:v>1.2599076580587711</c:v>
                </c:pt>
                <c:pt idx="28">
                  <c:v>1.256779992911572</c:v>
                </c:pt>
                <c:pt idx="29">
                  <c:v>1.2716522929500342</c:v>
                </c:pt>
                <c:pt idx="30">
                  <c:v>1.4388226293103448</c:v>
                </c:pt>
                <c:pt idx="31">
                  <c:v>2.0586703026038005</c:v>
                </c:pt>
                <c:pt idx="32">
                  <c:v>0.9016867151802335</c:v>
                </c:pt>
                <c:pt idx="33">
                  <c:v>0.9285892303544953</c:v>
                </c:pt>
                <c:pt idx="34">
                  <c:v>0.9533145500420522</c:v>
                </c:pt>
                <c:pt idx="35">
                  <c:v>1.1943047867724936</c:v>
                </c:pt>
                <c:pt idx="36">
                  <c:v>0.7611775925718761</c:v>
                </c:pt>
                <c:pt idx="37">
                  <c:v>1.0174610405804148</c:v>
                </c:pt>
                <c:pt idx="38">
                  <c:v>0.814086158445441</c:v>
                </c:pt>
                <c:pt idx="39">
                  <c:v>0.8345560648406931</c:v>
                </c:pt>
                <c:pt idx="40">
                  <c:v>0.9061245337979522</c:v>
                </c:pt>
                <c:pt idx="41">
                  <c:v>0.9860608477011494</c:v>
                </c:pt>
                <c:pt idx="42">
                  <c:v>0.8715136743771178</c:v>
                </c:pt>
                <c:pt idx="43">
                  <c:v>0.9525438563953832</c:v>
                </c:pt>
                <c:pt idx="44">
                  <c:v>0.9633669764117226</c:v>
                </c:pt>
                <c:pt idx="45">
                  <c:v>0.9271980076209694</c:v>
                </c:pt>
                <c:pt idx="46">
                  <c:v>1.0310136530246676</c:v>
                </c:pt>
                <c:pt idx="47">
                  <c:v>0.9269719444198602</c:v>
                </c:pt>
                <c:pt idx="48">
                  <c:v>0.9867412816124739</c:v>
                </c:pt>
                <c:pt idx="49">
                  <c:v>0.9193938849542235</c:v>
                </c:pt>
                <c:pt idx="50">
                  <c:v>0.7713942370976805</c:v>
                </c:pt>
                <c:pt idx="51">
                  <c:v>0.8661729013303202</c:v>
                </c:pt>
              </c:numCache>
            </c:numRef>
          </c:xVal>
          <c:yVal>
            <c:numRef>
              <c:f>Sheet1!$B$13:$B$64</c:f>
              <c:numCache>
                <c:formatCode>General</c:formatCode>
                <c:ptCount val="52"/>
                <c:pt idx="0">
                  <c:v>0.9739819004524887</c:v>
                </c:pt>
                <c:pt idx="1">
                  <c:v>0.9735516372795969</c:v>
                </c:pt>
                <c:pt idx="2">
                  <c:v>0.9699481865284975</c:v>
                </c:pt>
                <c:pt idx="3">
                  <c:v>0.9732142857142857</c:v>
                </c:pt>
                <c:pt idx="4">
                  <c:v>0.9765208110992529</c:v>
                </c:pt>
                <c:pt idx="5">
                  <c:v>0.9752530933633295</c:v>
                </c:pt>
                <c:pt idx="6">
                  <c:v>0.9832089552238806</c:v>
                </c:pt>
                <c:pt idx="7">
                  <c:v>0.9839650145772595</c:v>
                </c:pt>
                <c:pt idx="8">
                  <c:v>0.9682299546142209</c:v>
                </c:pt>
                <c:pt idx="9">
                  <c:v>0.9702457956015524</c:v>
                </c:pt>
                <c:pt idx="10">
                  <c:v>0.9638989169675091</c:v>
                </c:pt>
                <c:pt idx="11">
                  <c:v>0.9830377794911334</c:v>
                </c:pt>
                <c:pt idx="12">
                  <c:v>0.972997299729973</c:v>
                </c:pt>
                <c:pt idx="13">
                  <c:v>0.9759277833500501</c:v>
                </c:pt>
                <c:pt idx="14">
                  <c:v>0.9752321981424149</c:v>
                </c:pt>
                <c:pt idx="15">
                  <c:v>0.9655990510083037</c:v>
                </c:pt>
                <c:pt idx="16">
                  <c:v>0.9559748427672956</c:v>
                </c:pt>
                <c:pt idx="17">
                  <c:v>0.9568627450980393</c:v>
                </c:pt>
                <c:pt idx="18">
                  <c:v>0.9477611940298507</c:v>
                </c:pt>
                <c:pt idx="19">
                  <c:v>0.9194630872483222</c:v>
                </c:pt>
                <c:pt idx="20">
                  <c:v>0.9296482412060302</c:v>
                </c:pt>
                <c:pt idx="21">
                  <c:v>0.9454545454545454</c:v>
                </c:pt>
                <c:pt idx="22">
                  <c:v>0.9570200573065902</c:v>
                </c:pt>
                <c:pt idx="23">
                  <c:v>0.9376947040498442</c:v>
                </c:pt>
                <c:pt idx="24">
                  <c:v>0.9516129032258065</c:v>
                </c:pt>
                <c:pt idx="25">
                  <c:v>0.9444444444444444</c:v>
                </c:pt>
                <c:pt idx="26">
                  <c:v>0.9568733153638814</c:v>
                </c:pt>
                <c:pt idx="27">
                  <c:v>0.9405940594059405</c:v>
                </c:pt>
                <c:pt idx="28">
                  <c:v>0.9511111111111111</c:v>
                </c:pt>
                <c:pt idx="29">
                  <c:v>0.9375</c:v>
                </c:pt>
                <c:pt idx="30">
                  <c:v>0.9263959390862944</c:v>
                </c:pt>
                <c:pt idx="31">
                  <c:v>0.9275</c:v>
                </c:pt>
                <c:pt idx="32">
                  <c:v>0.9478458049886621</c:v>
                </c:pt>
                <c:pt idx="33">
                  <c:v>0.9427244582043344</c:v>
                </c:pt>
                <c:pt idx="34">
                  <c:v>0.9474885844748858</c:v>
                </c:pt>
                <c:pt idx="35">
                  <c:v>0.9284712482468443</c:v>
                </c:pt>
                <c:pt idx="36">
                  <c:v>0.9096209912536443</c:v>
                </c:pt>
                <c:pt idx="37">
                  <c:v>0.8908045977011494</c:v>
                </c:pt>
                <c:pt idx="38">
                  <c:v>0.9287833827893175</c:v>
                </c:pt>
                <c:pt idx="39">
                  <c:v>0.9226519337016574</c:v>
                </c:pt>
                <c:pt idx="40">
                  <c:v>0.7151335311572701</c:v>
                </c:pt>
                <c:pt idx="41">
                  <c:v>0.8321917808219178</c:v>
                </c:pt>
                <c:pt idx="42">
                  <c:v>0.8809523809523809</c:v>
                </c:pt>
                <c:pt idx="43">
                  <c:v>0.8850771869639794</c:v>
                </c:pt>
                <c:pt idx="44">
                  <c:v>0.9068047337278107</c:v>
                </c:pt>
                <c:pt idx="45">
                  <c:v>0.9331243469174504</c:v>
                </c:pt>
                <c:pt idx="46">
                  <c:v>0.9308093994778068</c:v>
                </c:pt>
                <c:pt idx="47">
                  <c:v>0.9431396786155748</c:v>
                </c:pt>
                <c:pt idx="48">
                  <c:v>0.9531914893617022</c:v>
                </c:pt>
                <c:pt idx="49">
                  <c:v>0.9577221742881795</c:v>
                </c:pt>
                <c:pt idx="50">
                  <c:v>0.9723104857013164</c:v>
                </c:pt>
                <c:pt idx="51">
                  <c:v>0.9591078066914498</c:v>
                </c:pt>
              </c:numCache>
            </c:numRef>
          </c:yVal>
          <c:smooth val="0"/>
          <c:extLst>
            <c:ext xmlns:c16="http://schemas.microsoft.com/office/drawing/2014/chart" uri="{C3380CC4-5D6E-409C-BE32-E72D297353CC}">
              <c16:uniqueId val="{00000002-096C-4121-9522-6AB7243CCAAE}"/>
            </c:ext>
          </c:extLst>
        </c:ser>
        <c:ser>
          <c:idx val="2"/>
          <c:order val="2"/>
          <c:tx>
            <c:strRef>
              <c:f>Sheet1!$B$6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67:$A$68</c:f>
              <c:numCache>
                <c:formatCode>General</c:formatCode>
                <c:ptCount val="2"/>
                <c:pt idx="0">
                  <c:v>0</c:v>
                </c:pt>
                <c:pt idx="1">
                  <c:v>-1.5861032529741752</c:v>
                </c:pt>
              </c:numCache>
            </c:numRef>
          </c:xVal>
          <c:yVal>
            <c:numRef>
              <c:f>Sheet1!$B$67:$B$68</c:f>
              <c:numCache>
                <c:formatCode>General</c:formatCode>
                <c:ptCount val="2"/>
                <c:pt idx="0">
                  <c:v>0.994268249917415</c:v>
                </c:pt>
                <c:pt idx="1">
                  <c:v>0.994268249917415</c:v>
                </c:pt>
              </c:numCache>
            </c:numRef>
          </c:yVal>
          <c:smooth val="0"/>
          <c:extLst>
            <c:ext xmlns:c16="http://schemas.microsoft.com/office/drawing/2014/chart" uri="{C3380CC4-5D6E-409C-BE32-E72D297353CC}">
              <c16:uniqueId val="{00000005-096C-4121-9522-6AB7243CCAAE}"/>
            </c:ext>
          </c:extLst>
        </c:ser>
        <c:ser>
          <c:idx val="3"/>
          <c:order val="3"/>
          <c:tx>
            <c:strRef>
              <c:f>Sheet1!$B$7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1:$A$72</c:f>
              <c:numCache>
                <c:formatCode>General</c:formatCode>
                <c:ptCount val="2"/>
                <c:pt idx="0">
                  <c:v>-1.5861032529741752</c:v>
                </c:pt>
                <c:pt idx="1">
                  <c:v>-1.5861032529741752</c:v>
                </c:pt>
              </c:numCache>
            </c:numRef>
          </c:xVal>
          <c:yVal>
            <c:numRef>
              <c:f>Sheet1!$B$71:$B$72</c:f>
              <c:numCache>
                <c:formatCode>General</c:formatCode>
                <c:ptCount val="2"/>
                <c:pt idx="0">
                  <c:v>0.99426824991741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7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75:$A$76</c:f>
              <c:numCache>
                <c:formatCode>General</c:formatCode>
                <c:ptCount val="2"/>
                <c:pt idx="0">
                  <c:v>0</c:v>
                </c:pt>
                <c:pt idx="1">
                  <c:v>-0.6769245274411585</c:v>
                </c:pt>
              </c:numCache>
            </c:numRef>
          </c:xVal>
          <c:yVal>
            <c:numRef>
              <c:f>Sheet1!$B$75:$B$76</c:f>
              <c:numCache>
                <c:formatCode>General</c:formatCode>
                <c:ptCount val="2"/>
                <c:pt idx="0">
                  <c:v>0.9753193154280902</c:v>
                </c:pt>
                <c:pt idx="1">
                  <c:v>0.9753193154280902</c:v>
                </c:pt>
              </c:numCache>
            </c:numRef>
          </c:yVal>
          <c:smooth val="0"/>
          <c:extLst>
            <c:ext xmlns:c16="http://schemas.microsoft.com/office/drawing/2014/chart" uri="{C3380CC4-5D6E-409C-BE32-E72D297353CC}">
              <c16:uniqueId val="{0000000D-096C-4121-9522-6AB7243CCAAE}"/>
            </c:ext>
          </c:extLst>
        </c:ser>
        <c:ser>
          <c:idx val="5"/>
          <c:order val="5"/>
          <c:tx>
            <c:strRef>
              <c:f>Sheet1!$B$7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9:$A$80</c:f>
              <c:numCache>
                <c:formatCode>General</c:formatCode>
                <c:ptCount val="2"/>
                <c:pt idx="0">
                  <c:v>-0.6769245274411585</c:v>
                </c:pt>
                <c:pt idx="1">
                  <c:v>-0.6769245274411585</c:v>
                </c:pt>
              </c:numCache>
            </c:numRef>
          </c:xVal>
          <c:yVal>
            <c:numRef>
              <c:f>Sheet1!$B$79:$B$80</c:f>
              <c:numCache>
                <c:formatCode>General</c:formatCode>
                <c:ptCount val="2"/>
                <c:pt idx="0">
                  <c:v>0.97531931542809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82</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83:$A$84</c:f>
              <c:numCache>
                <c:formatCode>General</c:formatCode>
                <c:ptCount val="2"/>
                <c:pt idx="0">
                  <c:v>0</c:v>
                </c:pt>
                <c:pt idx="1">
                  <c:v>2.596576684885606</c:v>
                </c:pt>
              </c:numCache>
            </c:numRef>
          </c:xVal>
          <c:yVal>
            <c:numRef>
              <c:f>Sheet1!$B$83:$B$84</c:f>
              <c:numCache>
                <c:formatCode>General</c:formatCode>
                <c:ptCount val="2"/>
                <c:pt idx="0">
                  <c:v>0.9070936098752688</c:v>
                </c:pt>
                <c:pt idx="1">
                  <c:v>0.9070936098752688</c:v>
                </c:pt>
              </c:numCache>
            </c:numRef>
          </c:yVal>
          <c:smooth val="0"/>
          <c:extLst>
            <c:ext xmlns:c16="http://schemas.microsoft.com/office/drawing/2014/chart" uri="{C3380CC4-5D6E-409C-BE32-E72D297353CC}">
              <c16:uniqueId val="{00000015-096C-4121-9522-6AB7243CCAAE}"/>
            </c:ext>
          </c:extLst>
        </c:ser>
        <c:ser>
          <c:idx val="7"/>
          <c:order val="7"/>
          <c:tx>
            <c:strRef>
              <c:f>Sheet1!$B$86</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7:$A$88</c:f>
              <c:numCache>
                <c:formatCode>General</c:formatCode>
                <c:ptCount val="2"/>
                <c:pt idx="0">
                  <c:v>2.596576684885606</c:v>
                </c:pt>
                <c:pt idx="1">
                  <c:v>2.596576684885606</c:v>
                </c:pt>
              </c:numCache>
            </c:numRef>
          </c:xVal>
          <c:yVal>
            <c:numRef>
              <c:f>Sheet1!$B$87:$B$88</c:f>
              <c:numCache>
                <c:formatCode>General</c:formatCode>
                <c:ptCount val="2"/>
                <c:pt idx="0">
                  <c:v>0.90709360987526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90</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91:$A$145</c:f>
              <c:numCache>
                <c:formatCode>General</c:formatCode>
                <c:ptCount val="55"/>
                <c:pt idx="0">
                  <c:v>1.0478670599803344</c:v>
                </c:pt>
                <c:pt idx="1">
                  <c:v>0.6869619047619048</c:v>
                </c:pt>
                <c:pt idx="2">
                  <c:v>0.9594024734982332</c:v>
                </c:pt>
                <c:pt idx="3">
                  <c:v>0.7808813559322034</c:v>
                </c:pt>
                <c:pt idx="4">
                  <c:v>0.6706547951807229</c:v>
                </c:pt>
                <c:pt idx="5">
                  <c:v>0.8753828124999999</c:v>
                </c:pt>
                <c:pt idx="6">
                  <c:v>1.2536627884615383</c:v>
                </c:pt>
                <c:pt idx="7">
                  <c:v>0.6982188295165395</c:v>
                </c:pt>
                <c:pt idx="8">
                  <c:v>0.5735922287968441</c:v>
                </c:pt>
                <c:pt idx="9">
                  <c:v>1.2326389920424403</c:v>
                </c:pt>
                <c:pt idx="10">
                  <c:v>0.7970828011204482</c:v>
                </c:pt>
                <c:pt idx="11">
                  <c:v>0.9813798050682261</c:v>
                </c:pt>
                <c:pt idx="12">
                  <c:v>0.7785438305709025</c:v>
                </c:pt>
                <c:pt idx="13">
                  <c:v>0.7822441025641025</c:v>
                </c:pt>
                <c:pt idx="14">
                  <c:v>0.8740056666666666</c:v>
                </c:pt>
                <c:pt idx="15">
                  <c:v>0.8018717136150235</c:v>
                </c:pt>
                <c:pt idx="16">
                  <c:v>0.9771542005420055</c:v>
                </c:pt>
                <c:pt idx="17">
                  <c:v>0.5895679583333333</c:v>
                </c:pt>
                <c:pt idx="18">
                  <c:v>1.0600792869875222</c:v>
                </c:pt>
                <c:pt idx="19">
                  <c:v>1.1680572271386431</c:v>
                </c:pt>
                <c:pt idx="20">
                  <c:v>0.7325043580683157</c:v>
                </c:pt>
                <c:pt idx="21">
                  <c:v>0.8238843501326261</c:v>
                </c:pt>
                <c:pt idx="22">
                  <c:v>0.9413328802588997</c:v>
                </c:pt>
                <c:pt idx="23">
                  <c:v>0.5649465483234714</c:v>
                </c:pt>
                <c:pt idx="24">
                  <c:v>0.8450862401931201</c:v>
                </c:pt>
                <c:pt idx="25">
                  <c:v>0.8051299695871899</c:v>
                </c:pt>
                <c:pt idx="26">
                  <c:v>1.0443265583679637</c:v>
                </c:pt>
                <c:pt idx="27">
                  <c:v>1.2599076580587711</c:v>
                </c:pt>
                <c:pt idx="28">
                  <c:v>1.256779992911572</c:v>
                </c:pt>
                <c:pt idx="29">
                  <c:v>1.2716522929500342</c:v>
                </c:pt>
                <c:pt idx="30">
                  <c:v>1.4388226293103448</c:v>
                </c:pt>
                <c:pt idx="31">
                  <c:v>2.0586703026038005</c:v>
                </c:pt>
                <c:pt idx="32">
                  <c:v>0.9016867151802335</c:v>
                </c:pt>
                <c:pt idx="33">
                  <c:v>0.9285892303544953</c:v>
                </c:pt>
                <c:pt idx="34">
                  <c:v>0.9533145500420522</c:v>
                </c:pt>
                <c:pt idx="35">
                  <c:v>1.1943047867724936</c:v>
                </c:pt>
                <c:pt idx="36">
                  <c:v>0.7611775925718761</c:v>
                </c:pt>
                <c:pt idx="37">
                  <c:v>1.0174610405804148</c:v>
                </c:pt>
                <c:pt idx="38">
                  <c:v>0.814086158445441</c:v>
                </c:pt>
                <c:pt idx="39">
                  <c:v>0.8345560648406931</c:v>
                </c:pt>
                <c:pt idx="40">
                  <c:v>0.9061245337979522</c:v>
                </c:pt>
                <c:pt idx="41">
                  <c:v>0.9860608477011494</c:v>
                </c:pt>
                <c:pt idx="42">
                  <c:v>0.8715136743771178</c:v>
                </c:pt>
                <c:pt idx="43">
                  <c:v>0.9525438563953832</c:v>
                </c:pt>
                <c:pt idx="44">
                  <c:v>0.9633669764117226</c:v>
                </c:pt>
                <c:pt idx="45">
                  <c:v>0.9271980076209694</c:v>
                </c:pt>
                <c:pt idx="46">
                  <c:v>1.0310136530246676</c:v>
                </c:pt>
                <c:pt idx="47">
                  <c:v>0.9269719444198602</c:v>
                </c:pt>
                <c:pt idx="48">
                  <c:v>0.9867412816124739</c:v>
                </c:pt>
                <c:pt idx="49">
                  <c:v>0.9193938849542235</c:v>
                </c:pt>
                <c:pt idx="50">
                  <c:v>0.7713942370976805</c:v>
                </c:pt>
                <c:pt idx="51">
                  <c:v>0.8661729013303202</c:v>
                </c:pt>
                <c:pt idx="52">
                  <c:v>-0.6769245274411585</c:v>
                </c:pt>
                <c:pt idx="53">
                  <c:v>-1.5861032529741752</c:v>
                </c:pt>
                <c:pt idx="54">
                  <c:v>2.596576684885606</c:v>
                </c:pt>
              </c:numCache>
            </c:numRef>
          </c:xVal>
          <c:yVal>
            <c:numRef>
              <c:f>Sheet1!$B$91:$B$145</c:f>
              <c:numCache>
                <c:formatCode>General</c:formatCode>
                <c:ptCount val="55"/>
                <c:pt idx="0">
                  <c:v>0.9393715288379151</c:v>
                </c:pt>
                <c:pt idx="1">
                  <c:v>0.9468934471923995</c:v>
                </c:pt>
                <c:pt idx="2">
                  <c:v>0.9412152913532464</c:v>
                </c:pt>
                <c:pt idx="3">
                  <c:v>0.9449359953982477</c:v>
                </c:pt>
                <c:pt idx="4">
                  <c:v>0.947233316947912</c:v>
                </c:pt>
                <c:pt idx="5">
                  <c:v>0.9429664135554707</c:v>
                </c:pt>
                <c:pt idx="6">
                  <c:v>0.9350823724073276</c:v>
                </c:pt>
                <c:pt idx="7">
                  <c:v>0.9466588324530348</c:v>
                </c:pt>
                <c:pt idx="8">
                  <c:v>0.9492562769667967</c:v>
                </c:pt>
                <c:pt idx="9">
                  <c:v>0.9355205464757198</c:v>
                </c:pt>
                <c:pt idx="10">
                  <c:v>0.9445983278804289</c:v>
                </c:pt>
                <c:pt idx="11">
                  <c:v>0.9407572438819687</c:v>
                </c:pt>
                <c:pt idx="12">
                  <c:v>0.9449847136685883</c:v>
                </c:pt>
                <c:pt idx="13">
                  <c:v>0.9449075932855187</c:v>
                </c:pt>
                <c:pt idx="14">
                  <c:v>0.9429951157736872</c:v>
                </c:pt>
                <c:pt idx="15">
                  <c:v>0.9444985182537995</c:v>
                </c:pt>
                <c:pt idx="16">
                  <c:v>0.9408453131483258</c:v>
                </c:pt>
                <c:pt idx="17">
                  <c:v>0.9489233137727574</c:v>
                </c:pt>
                <c:pt idx="18">
                  <c:v>0.9391170038660595</c:v>
                </c:pt>
                <c:pt idx="19">
                  <c:v>0.9368665476501858</c:v>
                </c:pt>
                <c:pt idx="20">
                  <c:v>0.9459442598214782</c:v>
                </c:pt>
                <c:pt idx="21">
                  <c:v>0.944039734963347</c:v>
                </c:pt>
                <c:pt idx="22">
                  <c:v>0.9415918944665014</c:v>
                </c:pt>
                <c:pt idx="23">
                  <c:v>0.9494364686368224</c:v>
                </c:pt>
                <c:pt idx="24">
                  <c:v>0.943597849100289</c:v>
                </c:pt>
                <c:pt idx="25">
                  <c:v>0.9444306102867165</c:v>
                </c:pt>
                <c:pt idx="26">
                  <c:v>0.9394453193163195</c:v>
                </c:pt>
                <c:pt idx="27">
                  <c:v>0.9349522179926134</c:v>
                </c:pt>
                <c:pt idx="28">
                  <c:v>0.9350174042099263</c:v>
                </c:pt>
                <c:pt idx="29">
                  <c:v>0.934707438488974</c:v>
                </c:pt>
                <c:pt idx="30">
                  <c:v>0.9312233053220954</c:v>
                </c:pt>
                <c:pt idx="31">
                  <c:v>0.9183045549985964</c:v>
                </c:pt>
                <c:pt idx="32">
                  <c:v>0.9424181924910049</c:v>
                </c:pt>
                <c:pt idx="33">
                  <c:v>0.9418574952558861</c:v>
                </c:pt>
                <c:pt idx="34">
                  <c:v>0.9413421747255774</c:v>
                </c:pt>
                <c:pt idx="35">
                  <c:v>0.9363195008770502</c:v>
                </c:pt>
                <c:pt idx="36">
                  <c:v>0.9453466575822853</c:v>
                </c:pt>
                <c:pt idx="37">
                  <c:v>0.9400052454587614</c:v>
                </c:pt>
                <c:pt idx="38">
                  <c:v>0.9442439470584831</c:v>
                </c:pt>
                <c:pt idx="39">
                  <c:v>0.9438173170633094</c:v>
                </c:pt>
                <c:pt idx="40">
                  <c:v>0.9423257002978849</c:v>
                </c:pt>
                <c:pt idx="41">
                  <c:v>0.9406596824590031</c:v>
                </c:pt>
                <c:pt idx="42">
                  <c:v>0.9430470534151173</c:v>
                </c:pt>
                <c:pt idx="43">
                  <c:v>0.94135823737972</c:v>
                </c:pt>
                <c:pt idx="44">
                  <c:v>0.9411326639183091</c:v>
                </c:pt>
                <c:pt idx="45">
                  <c:v>0.9418864908622475</c:v>
                </c:pt>
                <c:pt idx="46">
                  <c:v>0.9397227844220551</c:v>
                </c:pt>
                <c:pt idx="47">
                  <c:v>0.9418912024295862</c:v>
                </c:pt>
                <c:pt idx="48">
                  <c:v>0.9406455009815357</c:v>
                </c:pt>
                <c:pt idx="49">
                  <c:v>0.9420491429404427</c:v>
                </c:pt>
                <c:pt idx="50">
                  <c:v>0.9451337241706432</c:v>
                </c:pt>
                <c:pt idx="51">
                  <c:v>0.9431583648170936</c:v>
                </c:pt>
                <c:pt idx="52">
                  <c:v>0.9753193154280902</c:v>
                </c:pt>
                <c:pt idx="53">
                  <c:v>0.994268249917415</c:v>
                </c:pt>
                <c:pt idx="54">
                  <c:v>0.907093609875268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cean Poti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572106824925816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9622147734528931</c:v>
                </c:pt>
                <c:pt idx="1">
                  <c:v>0.10790074193560802</c:v>
                </c:pt>
                <c:pt idx="2">
                  <c:v>0.10897292086697698</c:v>
                </c:pt>
                <c:pt idx="3">
                  <c:v>0.10748239227249541</c:v>
                </c:pt>
                <c:pt idx="4">
                  <c:v>0.1085285409512891</c:v>
                </c:pt>
                <c:pt idx="5">
                  <c:v>0.10613652495665556</c:v>
                </c:pt>
                <c:pt idx="6">
                  <c:v>0.10298948843471367</c:v>
                </c:pt>
                <c:pt idx="7">
                  <c:v>0.10053866560861201</c:v>
                </c:pt>
                <c:pt idx="8">
                  <c:v>0.09957682900746379</c:v>
                </c:pt>
                <c:pt idx="9">
                  <c:v>0.09702589414018913</c:v>
                </c:pt>
                <c:pt idx="10">
                  <c:v>0.09704965840646985</c:v>
                </c:pt>
                <c:pt idx="11">
                  <c:v>0.09985797181562124</c:v>
                </c:pt>
                <c:pt idx="12">
                  <c:v>0.10006166320118368</c:v>
                </c:pt>
                <c:pt idx="13">
                  <c:v>0.09777907614642341</c:v>
                </c:pt>
                <c:pt idx="14">
                  <c:v>0.10349984502732548</c:v>
                </c:pt>
                <c:pt idx="15">
                  <c:v>0.1022588352038144</c:v>
                </c:pt>
                <c:pt idx="16">
                  <c:v>0.09963991249495571</c:v>
                </c:pt>
                <c:pt idx="17">
                  <c:v>0.09275827518744274</c:v>
                </c:pt>
                <c:pt idx="18">
                  <c:v>0.09989450361079825</c:v>
                </c:pt>
                <c:pt idx="19">
                  <c:v>0.10161503946493469</c:v>
                </c:pt>
                <c:pt idx="20">
                  <c:v>0.10345859948124109</c:v>
                </c:pt>
                <c:pt idx="21">
                  <c:v>0.10246419048653563</c:v>
                </c:pt>
                <c:pt idx="22">
                  <c:v>0.09521179728725787</c:v>
                </c:pt>
                <c:pt idx="23">
                  <c:v>0.09556088619766603</c:v>
                </c:pt>
                <c:pt idx="24">
                  <c:v>0.09596299353326697</c:v>
                </c:pt>
                <c:pt idx="25">
                  <c:v>0.09489833366106636</c:v>
                </c:pt>
                <c:pt idx="26">
                  <c:v>0.09956715819926878</c:v>
                </c:pt>
                <c:pt idx="27">
                  <c:v>0.09747298328211143</c:v>
                </c:pt>
                <c:pt idx="28">
                  <c:v>0.09921514309410925</c:v>
                </c:pt>
                <c:pt idx="29">
                  <c:v>0.10030689859613706</c:v>
                </c:pt>
                <c:pt idx="30">
                  <c:v>0.0997928223291679</c:v>
                </c:pt>
                <c:pt idx="31">
                  <c:v>0.09745495034953036</c:v>
                </c:pt>
                <c:pt idx="32">
                  <c:v>0.092838664068026</c:v>
                </c:pt>
                <c:pt idx="33">
                  <c:v>0.093306324997915</c:v>
                </c:pt>
                <c:pt idx="34">
                  <c:v>0.09477265869235625</c:v>
                </c:pt>
                <c:pt idx="35">
                  <c:v>0.10105896393236241</c:v>
                </c:pt>
                <c:pt idx="36">
                  <c:v>0.09842710615834543</c:v>
                </c:pt>
                <c:pt idx="37">
                  <c:v>0.099618098885223</c:v>
                </c:pt>
                <c:pt idx="38">
                  <c:v>0.10439856314149427</c:v>
                </c:pt>
                <c:pt idx="39">
                  <c:v>0.1106261270135992</c:v>
                </c:pt>
                <c:pt idx="40">
                  <c:v>0.11395179153875233</c:v>
                </c:pt>
                <c:pt idx="41">
                  <c:v>0.1140328765021332</c:v>
                </c:pt>
                <c:pt idx="42">
                  <c:v>0.11475808868799434</c:v>
                </c:pt>
                <c:pt idx="43">
                  <c:v>0.12213907486418345</c:v>
                </c:pt>
                <c:pt idx="44">
                  <c:v>0.1161830686930025</c:v>
                </c:pt>
                <c:pt idx="45">
                  <c:v>0.11316223400253729</c:v>
                </c:pt>
                <c:pt idx="46">
                  <c:v>0.11437670490289566</c:v>
                </c:pt>
                <c:pt idx="47">
                  <c:v>0.11040784297298996</c:v>
                </c:pt>
                <c:pt idx="48">
                  <c:v>0.11436814768657624</c:v>
                </c:pt>
                <c:pt idx="49">
                  <c:v>0.11966963511134371</c:v>
                </c:pt>
                <c:pt idx="50">
                  <c:v>0.108815625678095</c:v>
                </c:pt>
                <c:pt idx="51">
                  <c:v>0.10643603113450584</c:v>
                </c:pt>
                <c:pt idx="52">
                  <c:v>0.11053407986901212</c:v>
                </c:pt>
                <c:pt idx="53">
                  <c:v>0.12312439140930338</c:v>
                </c:pt>
                <c:pt idx="54">
                  <c:v>0.11791765659681577</c:v>
                </c:pt>
                <c:pt idx="55">
                  <c:v>0.1162430482681231</c:v>
                </c:pt>
                <c:pt idx="56">
                  <c:v>0.11454784061999995</c:v>
                </c:pt>
                <c:pt idx="57">
                  <c:v>0.11188722469264292</c:v>
                </c:pt>
                <c:pt idx="58">
                  <c:v>0.11237476172872457</c:v>
                </c:pt>
                <c:pt idx="59">
                  <c:v>0.11326034519127849</c:v>
                </c:pt>
                <c:pt idx="60">
                  <c:v>0.11429154470209438</c:v>
                </c:pt>
                <c:pt idx="61">
                  <c:v>0.11498383573669604</c:v>
                </c:pt>
                <c:pt idx="62">
                  <c:v>0.1042234718482614</c:v>
                </c:pt>
                <c:pt idx="63">
                  <c:v>0.10651159445001712</c:v>
                </c:pt>
                <c:pt idx="64">
                  <c:v>0.11232451371236546</c:v>
                </c:pt>
                <c:pt idx="65">
                  <c:v>0.10765163605295626</c:v>
                </c:pt>
                <c:pt idx="66">
                  <c:v>0.11144096827636349</c:v>
                </c:pt>
                <c:pt idx="67">
                  <c:v>0.11426455425690533</c:v>
                </c:pt>
                <c:pt idx="68">
                  <c:v>0.11323093820381484</c:v>
                </c:pt>
                <c:pt idx="69">
                  <c:v>0.11228029815782706</c:v>
                </c:pt>
                <c:pt idx="70">
                  <c:v>0.11048772446337113</c:v>
                </c:pt>
                <c:pt idx="71">
                  <c:v>0.11396588961433766</c:v>
                </c:pt>
                <c:pt idx="72">
                  <c:v>0.12015393125869835</c:v>
                </c:pt>
                <c:pt idx="73">
                  <c:v>0.11781339485721327</c:v>
                </c:pt>
                <c:pt idx="74">
                  <c:v>0.11607881443681103</c:v>
                </c:pt>
                <c:pt idx="75">
                  <c:v>0.11074032778468489</c:v>
                </c:pt>
                <c:pt idx="76">
                  <c:v>0.10949299666189576</c:v>
                </c:pt>
                <c:pt idx="77">
                  <c:v>0.10960231081581633</c:v>
                </c:pt>
                <c:pt idx="78">
                  <c:v>0.10943339306258557</c:v>
                </c:pt>
                <c:pt idx="79">
                  <c:v>0.10722214346064236</c:v>
                </c:pt>
                <c:pt idx="80">
                  <c:v>0.10791664289211439</c:v>
                </c:pt>
                <c:pt idx="81">
                  <c:v>0.11106547631336046</c:v>
                </c:pt>
                <c:pt idx="82">
                  <c:v>0.11243672535285888</c:v>
                </c:pt>
                <c:pt idx="83">
                  <c:v>0.10423227123587932</c:v>
                </c:pt>
                <c:pt idx="84">
                  <c:v>0.10887460892734545</c:v>
                </c:pt>
                <c:pt idx="85">
                  <c:v>0.10513521280193693</c:v>
                </c:pt>
                <c:pt idx="86">
                  <c:v>0.10785724878333892</c:v>
                </c:pt>
                <c:pt idx="87">
                  <c:v>0.10598613684113532</c:v>
                </c:pt>
                <c:pt idx="88">
                  <c:v>0.1101819202189713</c:v>
                </c:pt>
                <c:pt idx="89">
                  <c:v>0.10686690483482258</c:v>
                </c:pt>
                <c:pt idx="90">
                  <c:v>0.1127369458744462</c:v>
                </c:pt>
                <c:pt idx="91">
                  <c:v>0.11384918644472737</c:v>
                </c:pt>
                <c:pt idx="92">
                  <c:v>0.11125360558667512</c:v>
                </c:pt>
                <c:pt idx="93">
                  <c:v>0.11262190924339828</c:v>
                </c:pt>
                <c:pt idx="94">
                  <c:v>0.10923863834298427</c:v>
                </c:pt>
                <c:pt idx="95">
                  <c:v>0.10543124786976649</c:v>
                </c:pt>
                <c:pt idx="96">
                  <c:v>0.10626327666898627</c:v>
                </c:pt>
                <c:pt idx="97">
                  <c:v>0.10537634801967878</c:v>
                </c:pt>
                <c:pt idx="98">
                  <c:v>0.10419221361586373</c:v>
                </c:pt>
                <c:pt idx="99">
                  <c:v>0.10447184998359837</c:v>
                </c:pt>
                <c:pt idx="100">
                  <c:v>0.10655031617269795</c:v>
                </c:pt>
                <c:pt idx="101">
                  <c:v>0.10787694978362576</c:v>
                </c:pt>
                <c:pt idx="102">
                  <c:v>0.10738207737323509</c:v>
                </c:pt>
                <c:pt idx="103">
                  <c:v>0.10604190047446284</c:v>
                </c:pt>
                <c:pt idx="104">
                  <c:v>0.1076732033424913</c:v>
                </c:pt>
              </c:numCache>
            </c:numRef>
          </c:xVal>
          <c:yVal>
            <c:numRef>
              <c:f>Sheet1!$B$2:$B$106</c:f>
              <c:numCache>
                <c:formatCode>General</c:formatCode>
                <c:ptCount val="105"/>
                <c:pt idx="0">
                  <c:v>0.2222146569528608</c:v>
                </c:pt>
                <c:pt idx="1">
                  <c:v>0.21436831795331712</c:v>
                </c:pt>
                <c:pt idx="2">
                  <c:v>0.21788056610286502</c:v>
                </c:pt>
                <c:pt idx="3">
                  <c:v>0.22284236976901517</c:v>
                </c:pt>
                <c:pt idx="4">
                  <c:v>0.23230982175644757</c:v>
                </c:pt>
                <c:pt idx="5">
                  <c:v>0.23291621013782365</c:v>
                </c:pt>
                <c:pt idx="6">
                  <c:v>0.26065601535595323</c:v>
                </c:pt>
                <c:pt idx="7">
                  <c:v>0.26437738022850193</c:v>
                </c:pt>
                <c:pt idx="8">
                  <c:v>0.257263214202133</c:v>
                </c:pt>
                <c:pt idx="9">
                  <c:v>0.25305166789434913</c:v>
                </c:pt>
                <c:pt idx="10">
                  <c:v>0.24550973309251456</c:v>
                </c:pt>
                <c:pt idx="11">
                  <c:v>0.22982810920121335</c:v>
                </c:pt>
                <c:pt idx="12">
                  <c:v>0.22160040869403677</c:v>
                </c:pt>
                <c:pt idx="13">
                  <c:v>0.21053404833614928</c:v>
                </c:pt>
                <c:pt idx="14">
                  <c:v>0.1929620755584598</c:v>
                </c:pt>
                <c:pt idx="15">
                  <c:v>0.19070869326553608</c:v>
                </c:pt>
                <c:pt idx="16">
                  <c:v>0.18037248344153714</c:v>
                </c:pt>
                <c:pt idx="17">
                  <c:v>0.17803368978219664</c:v>
                </c:pt>
                <c:pt idx="18">
                  <c:v>0.16207250612115948</c:v>
                </c:pt>
                <c:pt idx="19">
                  <c:v>0.1645387436742653</c:v>
                </c:pt>
                <c:pt idx="20">
                  <c:v>0.17074384594770492</c:v>
                </c:pt>
                <c:pt idx="21">
                  <c:v>0.1679692794217303</c:v>
                </c:pt>
                <c:pt idx="22">
                  <c:v>0.18874264911789415</c:v>
                </c:pt>
                <c:pt idx="23">
                  <c:v>0.19065880039331368</c:v>
                </c:pt>
                <c:pt idx="24">
                  <c:v>0.19545118343195267</c:v>
                </c:pt>
                <c:pt idx="25">
                  <c:v>0.1965481171548117</c:v>
                </c:pt>
                <c:pt idx="26">
                  <c:v>0.2142291015898177</c:v>
                </c:pt>
                <c:pt idx="27">
                  <c:v>0.2190428532435629</c:v>
                </c:pt>
                <c:pt idx="28">
                  <c:v>0.21610719584569732</c:v>
                </c:pt>
                <c:pt idx="29">
                  <c:v>0.21404179201561102</c:v>
                </c:pt>
                <c:pt idx="30">
                  <c:v>0.21525529915422367</c:v>
                </c:pt>
                <c:pt idx="31">
                  <c:v>0.2158156532331743</c:v>
                </c:pt>
                <c:pt idx="32">
                  <c:v>0.22579515903180636</c:v>
                </c:pt>
                <c:pt idx="33">
                  <c:v>0.2243625609463672</c:v>
                </c:pt>
                <c:pt idx="34">
                  <c:v>0.22853110411464553</c:v>
                </c:pt>
                <c:pt idx="35">
                  <c:v>0.24465431218816822</c:v>
                </c:pt>
                <c:pt idx="36">
                  <c:v>0.21023367645953867</c:v>
                </c:pt>
                <c:pt idx="37">
                  <c:v>0.21509433962264152</c:v>
                </c:pt>
                <c:pt idx="38">
                  <c:v>0.2002953183357943</c:v>
                </c:pt>
                <c:pt idx="39">
                  <c:v>0.18644224973338897</c:v>
                </c:pt>
                <c:pt idx="40">
                  <c:v>0.1933965902954563</c:v>
                </c:pt>
                <c:pt idx="41">
                  <c:v>0.1845035313668467</c:v>
                </c:pt>
                <c:pt idx="42">
                  <c:v>0.1825368689733409</c:v>
                </c:pt>
                <c:pt idx="43">
                  <c:v>0.18491152406925856</c:v>
                </c:pt>
                <c:pt idx="44">
                  <c:v>0.179719027169339</c:v>
                </c:pt>
                <c:pt idx="45">
                  <c:v>0.19425275927214875</c:v>
                </c:pt>
                <c:pt idx="46">
                  <c:v>0.20227789562193046</c:v>
                </c:pt>
                <c:pt idx="47">
                  <c:v>0.19447760619247506</c:v>
                </c:pt>
                <c:pt idx="48">
                  <c:v>0.1946365151844604</c:v>
                </c:pt>
                <c:pt idx="49">
                  <c:v>0.2024177181681814</c:v>
                </c:pt>
                <c:pt idx="50">
                  <c:v>0.19343004525223934</c:v>
                </c:pt>
                <c:pt idx="51">
                  <c:v>0.1905886056027699</c:v>
                </c:pt>
                <c:pt idx="52">
                  <c:v>0.19163722255841645</c:v>
                </c:pt>
                <c:pt idx="53">
                  <c:v>0.1821459475050476</c:v>
                </c:pt>
                <c:pt idx="54">
                  <c:v>0.18893706477466823</c:v>
                </c:pt>
                <c:pt idx="55">
                  <c:v>0.18618821936357483</c:v>
                </c:pt>
                <c:pt idx="56">
                  <c:v>0.1827687615728134</c:v>
                </c:pt>
                <c:pt idx="57">
                  <c:v>0.17984808924756707</c:v>
                </c:pt>
                <c:pt idx="58">
                  <c:v>0.19077375079479927</c:v>
                </c:pt>
                <c:pt idx="59">
                  <c:v>0.18824739239018656</c:v>
                </c:pt>
                <c:pt idx="60">
                  <c:v>0.1917924831352393</c:v>
                </c:pt>
                <c:pt idx="61">
                  <c:v>0.18711292376081656</c:v>
                </c:pt>
                <c:pt idx="62">
                  <c:v>0.19957863689034025</c:v>
                </c:pt>
                <c:pt idx="63">
                  <c:v>0.2039075557604749</c:v>
                </c:pt>
                <c:pt idx="64">
                  <c:v>0.1943246991790681</c:v>
                </c:pt>
                <c:pt idx="65">
                  <c:v>0.19147112834115487</c:v>
                </c:pt>
                <c:pt idx="66">
                  <c:v>0.18685303480699092</c:v>
                </c:pt>
                <c:pt idx="67">
                  <c:v>0.1743600914933014</c:v>
                </c:pt>
                <c:pt idx="68">
                  <c:v>0.16798753104031278</c:v>
                </c:pt>
                <c:pt idx="69">
                  <c:v>0.1637571027589512</c:v>
                </c:pt>
                <c:pt idx="70">
                  <c:v>0.16157501697216564</c:v>
                </c:pt>
                <c:pt idx="71">
                  <c:v>0.15957227341493604</c:v>
                </c:pt>
                <c:pt idx="72">
                  <c:v>0.16045343380263072</c:v>
                </c:pt>
                <c:pt idx="73">
                  <c:v>0.16063700882811147</c:v>
                </c:pt>
                <c:pt idx="74">
                  <c:v>0.16004937942079275</c:v>
                </c:pt>
                <c:pt idx="75">
                  <c:v>0.1704176288700145</c:v>
                </c:pt>
                <c:pt idx="76">
                  <c:v>0.17403464829889376</c:v>
                </c:pt>
                <c:pt idx="77">
                  <c:v>0.16306754103838603</c:v>
                </c:pt>
                <c:pt idx="78">
                  <c:v>0.17122101414413549</c:v>
                </c:pt>
                <c:pt idx="79">
                  <c:v>0.16867216425445977</c:v>
                </c:pt>
                <c:pt idx="80">
                  <c:v>0.15128412624047022</c:v>
                </c:pt>
                <c:pt idx="81">
                  <c:v>0.15918572867213351</c:v>
                </c:pt>
                <c:pt idx="82">
                  <c:v>0.1604518736223365</c:v>
                </c:pt>
                <c:pt idx="83">
                  <c:v>0.15352127547249497</c:v>
                </c:pt>
                <c:pt idx="84">
                  <c:v>0.1606915980776667</c:v>
                </c:pt>
                <c:pt idx="85">
                  <c:v>0.16671613733056298</c:v>
                </c:pt>
                <c:pt idx="86">
                  <c:v>0.1759307231144993</c:v>
                </c:pt>
                <c:pt idx="87">
                  <c:v>0.19704711230134958</c:v>
                </c:pt>
                <c:pt idx="88">
                  <c:v>0.18048567053161235</c:v>
                </c:pt>
                <c:pt idx="89">
                  <c:v>0.17244673736505206</c:v>
                </c:pt>
                <c:pt idx="90">
                  <c:v>0.1624969158647915</c:v>
                </c:pt>
                <c:pt idx="91">
                  <c:v>0.1546732452057345</c:v>
                </c:pt>
                <c:pt idx="92">
                  <c:v>0.17381197362905376</c:v>
                </c:pt>
                <c:pt idx="93">
                  <c:v>0.16256891670391893</c:v>
                </c:pt>
                <c:pt idx="94">
                  <c:v>0.16598507525612377</c:v>
                </c:pt>
                <c:pt idx="95">
                  <c:v>0.17649211625850134</c:v>
                </c:pt>
                <c:pt idx="96">
                  <c:v>0.17222309294046526</c:v>
                </c:pt>
                <c:pt idx="97">
                  <c:v>0.17688563038294014</c:v>
                </c:pt>
                <c:pt idx="98">
                  <c:v>0.184845203101095</c:v>
                </c:pt>
                <c:pt idx="99">
                  <c:v>0.1852970193428802</c:v>
                </c:pt>
                <c:pt idx="100">
                  <c:v>0.18696157822191592</c:v>
                </c:pt>
                <c:pt idx="101">
                  <c:v>0.17836053875657837</c:v>
                </c:pt>
                <c:pt idx="102">
                  <c:v>0.16761097479366496</c:v>
                </c:pt>
                <c:pt idx="103">
                  <c:v>0.16980733033013978</c:v>
                </c:pt>
                <c:pt idx="104">
                  <c:v>0.1651442481502012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472940506475111</c:v>
                </c:pt>
                <c:pt idx="1">
                  <c:v>0.11906274390310362</c:v>
                </c:pt>
                <c:pt idx="2">
                  <c:v>0.1161665648739643</c:v>
                </c:pt>
                <c:pt idx="3">
                  <c:v>0.11454985035564462</c:v>
                </c:pt>
                <c:pt idx="4">
                  <c:v>0.11449163297450499</c:v>
                </c:pt>
                <c:pt idx="5">
                  <c:v>0.10815563823142704</c:v>
                </c:pt>
                <c:pt idx="6">
                  <c:v>0.10234248797240796</c:v>
                </c:pt>
                <c:pt idx="7">
                  <c:v>0.10644056737799232</c:v>
                </c:pt>
                <c:pt idx="8">
                  <c:v>0.11231876709921845</c:v>
                </c:pt>
                <c:pt idx="9">
                  <c:v>0.11058876897206615</c:v>
                </c:pt>
                <c:pt idx="10">
                  <c:v>0.11148826692066278</c:v>
                </c:pt>
                <c:pt idx="11">
                  <c:v>0.10346076452917194</c:v>
                </c:pt>
                <c:pt idx="12">
                  <c:v>0.1063737824434978</c:v>
                </c:pt>
                <c:pt idx="13">
                  <c:v>0.10763537292649433</c:v>
                </c:pt>
                <c:pt idx="14">
                  <c:v>0.1073770783300555</c:v>
                </c:pt>
                <c:pt idx="15">
                  <c:v>0.1061257759336403</c:v>
                </c:pt>
                <c:pt idx="16">
                  <c:v>0.10994580527260069</c:v>
                </c:pt>
                <c:pt idx="17">
                  <c:v>0.10638413452895416</c:v>
                </c:pt>
                <c:pt idx="18">
                  <c:v>0.10574421493281155</c:v>
                </c:pt>
                <c:pt idx="19">
                  <c:v>0.11577528009189078</c:v>
                </c:pt>
                <c:pt idx="20">
                  <c:v>0.11298550543408335</c:v>
                </c:pt>
                <c:pt idx="21">
                  <c:v>0.10221207390542877</c:v>
                </c:pt>
                <c:pt idx="22">
                  <c:v>0.11253556991853013</c:v>
                </c:pt>
                <c:pt idx="23">
                  <c:v>0.11390277569116557</c:v>
                </c:pt>
                <c:pt idx="24">
                  <c:v>0.1089009145069108</c:v>
                </c:pt>
                <c:pt idx="25">
                  <c:v>0.10872500559853071</c:v>
                </c:pt>
                <c:pt idx="26">
                  <c:v>0.10842026941842389</c:v>
                </c:pt>
                <c:pt idx="27">
                  <c:v>0.108368381444172</c:v>
                </c:pt>
                <c:pt idx="28">
                  <c:v>0.11429655015004012</c:v>
                </c:pt>
                <c:pt idx="29">
                  <c:v>0.11524506098193411</c:v>
                </c:pt>
                <c:pt idx="30">
                  <c:v>0.11660471736125037</c:v>
                </c:pt>
                <c:pt idx="31">
                  <c:v>0.11386870508651224</c:v>
                </c:pt>
                <c:pt idx="32">
                  <c:v>0.11717775335086034</c:v>
                </c:pt>
                <c:pt idx="33">
                  <c:v>0.11906752158776206</c:v>
                </c:pt>
                <c:pt idx="34">
                  <c:v>0.11558871161845946</c:v>
                </c:pt>
                <c:pt idx="35">
                  <c:v>0.11509668689865633</c:v>
                </c:pt>
                <c:pt idx="36">
                  <c:v>0.11583941498405595</c:v>
                </c:pt>
                <c:pt idx="37">
                  <c:v>0.11400585186048422</c:v>
                </c:pt>
                <c:pt idx="38">
                  <c:v>0.11395403708672987</c:v>
                </c:pt>
                <c:pt idx="39">
                  <c:v>0.11213769326986213</c:v>
                </c:pt>
                <c:pt idx="40">
                  <c:v>0.11678469364306224</c:v>
                </c:pt>
                <c:pt idx="41">
                  <c:v>0.12002733751964496</c:v>
                </c:pt>
                <c:pt idx="42">
                  <c:v>0.11786776274376644</c:v>
                </c:pt>
                <c:pt idx="43">
                  <c:v>0.12128165454230924</c:v>
                </c:pt>
                <c:pt idx="44">
                  <c:v>0.11832815714550646</c:v>
                </c:pt>
                <c:pt idx="45">
                  <c:v>0.11732388349135797</c:v>
                </c:pt>
                <c:pt idx="46">
                  <c:v>0.11571873606383597</c:v>
                </c:pt>
                <c:pt idx="47">
                  <c:v>0.1127047000629279</c:v>
                </c:pt>
                <c:pt idx="48">
                  <c:v>0.11262564882500123</c:v>
                </c:pt>
                <c:pt idx="49">
                  <c:v>0.11716636273442503</c:v>
                </c:pt>
                <c:pt idx="50">
                  <c:v>0.11704497525584724</c:v>
                </c:pt>
                <c:pt idx="51">
                  <c:v>0.10915771030654148</c:v>
                </c:pt>
              </c:numCache>
            </c:numRef>
          </c:xVal>
          <c:yVal>
            <c:numRef>
              <c:f>Sheet1!$B$109:$B$160</c:f>
              <c:numCache>
                <c:formatCode>General</c:formatCode>
                <c:ptCount val="52"/>
                <c:pt idx="0">
                  <c:v>0.17802485284499672</c:v>
                </c:pt>
                <c:pt idx="1">
                  <c:v>0.17281702961977452</c:v>
                </c:pt>
                <c:pt idx="2">
                  <c:v>0.19121979964643487</c:v>
                </c:pt>
                <c:pt idx="3">
                  <c:v>0.20584655418450432</c:v>
                </c:pt>
                <c:pt idx="4">
                  <c:v>0.1907154821727686</c:v>
                </c:pt>
                <c:pt idx="5">
                  <c:v>0.1865470261731862</c:v>
                </c:pt>
                <c:pt idx="6">
                  <c:v>0.1957534188576993</c:v>
                </c:pt>
                <c:pt idx="7">
                  <c:v>0.19280505867608522</c:v>
                </c:pt>
                <c:pt idx="8">
                  <c:v>0.18257041154062326</c:v>
                </c:pt>
                <c:pt idx="9">
                  <c:v>0.19004784140716763</c:v>
                </c:pt>
                <c:pt idx="10">
                  <c:v>0.19452803622208112</c:v>
                </c:pt>
                <c:pt idx="11">
                  <c:v>0.19565534334451087</c:v>
                </c:pt>
                <c:pt idx="12">
                  <c:v>0.19433398432904303</c:v>
                </c:pt>
                <c:pt idx="13">
                  <c:v>0.19587603827658231</c:v>
                </c:pt>
                <c:pt idx="14">
                  <c:v>0.19433897134967207</c:v>
                </c:pt>
                <c:pt idx="15">
                  <c:v>0.18689389213406682</c:v>
                </c:pt>
                <c:pt idx="16">
                  <c:v>0.1760687035086039</c:v>
                </c:pt>
                <c:pt idx="17">
                  <c:v>0.17739695871575167</c:v>
                </c:pt>
                <c:pt idx="18">
                  <c:v>0.17960259529602596</c:v>
                </c:pt>
                <c:pt idx="19">
                  <c:v>0.1812227074235808</c:v>
                </c:pt>
                <c:pt idx="20">
                  <c:v>0.16823110535685387</c:v>
                </c:pt>
                <c:pt idx="21">
                  <c:v>0.18844209005538165</c:v>
                </c:pt>
                <c:pt idx="22">
                  <c:v>0.16644015144160762</c:v>
                </c:pt>
                <c:pt idx="23">
                  <c:v>0.17566196611545096</c:v>
                </c:pt>
                <c:pt idx="24">
                  <c:v>0.18963132541613012</c:v>
                </c:pt>
                <c:pt idx="25">
                  <c:v>0.17986905892348443</c:v>
                </c:pt>
                <c:pt idx="26">
                  <c:v>0.17374981951196034</c:v>
                </c:pt>
                <c:pt idx="27">
                  <c:v>0.17513859275053306</c:v>
                </c:pt>
                <c:pt idx="28">
                  <c:v>0.16510977099838398</c:v>
                </c:pt>
                <c:pt idx="29">
                  <c:v>0.16586046511627908</c:v>
                </c:pt>
                <c:pt idx="30">
                  <c:v>0.17418667699457785</c:v>
                </c:pt>
                <c:pt idx="31">
                  <c:v>0.1685892228540482</c:v>
                </c:pt>
                <c:pt idx="32">
                  <c:v>0.16543958423559982</c:v>
                </c:pt>
                <c:pt idx="33">
                  <c:v>0.18127976309576213</c:v>
                </c:pt>
                <c:pt idx="34">
                  <c:v>0.20100297758971947</c:v>
                </c:pt>
                <c:pt idx="35">
                  <c:v>0.19222462203023757</c:v>
                </c:pt>
                <c:pt idx="36">
                  <c:v>0.17836587596148673</c:v>
                </c:pt>
                <c:pt idx="37">
                  <c:v>0.16997222357584912</c:v>
                </c:pt>
                <c:pt idx="38">
                  <c:v>0.1698518359458879</c:v>
                </c:pt>
                <c:pt idx="39">
                  <c:v>0.18550688671051</c:v>
                </c:pt>
                <c:pt idx="40">
                  <c:v>0.17479890572046874</c:v>
                </c:pt>
                <c:pt idx="41">
                  <c:v>0.17807064592751512</c:v>
                </c:pt>
                <c:pt idx="42">
                  <c:v>0.17420122365737595</c:v>
                </c:pt>
                <c:pt idx="43">
                  <c:v>0.17370469237448943</c:v>
                </c:pt>
                <c:pt idx="44">
                  <c:v>0.17378871696197118</c:v>
                </c:pt>
                <c:pt idx="45">
                  <c:v>0.19017245932275692</c:v>
                </c:pt>
                <c:pt idx="46">
                  <c:v>0.19968408262454435</c:v>
                </c:pt>
                <c:pt idx="47">
                  <c:v>0.19999542344568774</c:v>
                </c:pt>
                <c:pt idx="48">
                  <c:v>0.19529320987654322</c:v>
                </c:pt>
                <c:pt idx="49">
                  <c:v>0.20265524023602136</c:v>
                </c:pt>
                <c:pt idx="50">
                  <c:v>0.21063819791886876</c:v>
                </c:pt>
                <c:pt idx="51">
                  <c:v>0.19908222402436854</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2740820900514432</c:v>
                </c:pt>
              </c:numCache>
            </c:numRef>
          </c:xVal>
          <c:yVal>
            <c:numRef>
              <c:f>Sheet1!$B$163:$B$164</c:f>
              <c:numCache>
                <c:formatCode>General</c:formatCode>
                <c:ptCount val="2"/>
                <c:pt idx="0">
                  <c:v>0.23609206138432418</c:v>
                </c:pt>
                <c:pt idx="1">
                  <c:v>0.23609206138432418</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2740820900514432</c:v>
                </c:pt>
                <c:pt idx="1">
                  <c:v>0.02740820900514432</c:v>
                </c:pt>
              </c:numCache>
            </c:numRef>
          </c:xVal>
          <c:yVal>
            <c:numRef>
              <c:f>Sheet1!$B$167:$B$168</c:f>
              <c:numCache>
                <c:formatCode>General</c:formatCode>
                <c:ptCount val="2"/>
                <c:pt idx="0">
                  <c:v>0.2360920613843241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330307703158654</c:v>
                </c:pt>
              </c:numCache>
            </c:numRef>
          </c:xVal>
          <c:yVal>
            <c:numRef>
              <c:f>Sheet1!$B$171:$B$172</c:f>
              <c:numCache>
                <c:formatCode>General</c:formatCode>
                <c:ptCount val="2"/>
                <c:pt idx="0">
                  <c:v>0.20191721801395046</c:v>
                </c:pt>
                <c:pt idx="1">
                  <c:v>0.2019172180139504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330307703158654</c:v>
                </c:pt>
                <c:pt idx="1">
                  <c:v>0.08330307703158654</c:v>
                </c:pt>
              </c:numCache>
            </c:numRef>
          </c:xVal>
          <c:yVal>
            <c:numRef>
              <c:f>Sheet1!$B$175:$B$176</c:f>
              <c:numCache>
                <c:formatCode>General</c:formatCode>
                <c:ptCount val="2"/>
                <c:pt idx="0">
                  <c:v>0.2019172180139504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0435544043769372</c:v>
                </c:pt>
              </c:numCache>
            </c:numRef>
          </c:xVal>
          <c:yVal>
            <c:numRef>
              <c:f>Sheet1!$B$179:$B$180</c:f>
              <c:numCache>
                <c:formatCode>General</c:formatCode>
                <c:ptCount val="2"/>
                <c:pt idx="0">
                  <c:v>0.1890455314462401</c:v>
                </c:pt>
                <c:pt idx="1">
                  <c:v>0.189045531446240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0435544043769372</c:v>
                </c:pt>
                <c:pt idx="1">
                  <c:v>0.10435544043769372</c:v>
                </c:pt>
              </c:numCache>
            </c:numRef>
          </c:xVal>
          <c:yVal>
            <c:numRef>
              <c:f>Sheet1!$B$183:$B$184</c:f>
              <c:numCache>
                <c:formatCode>General</c:formatCode>
                <c:ptCount val="2"/>
                <c:pt idx="0">
                  <c:v>0.189045531446240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472940506475111</c:v>
                </c:pt>
                <c:pt idx="1">
                  <c:v>0.11906274390310362</c:v>
                </c:pt>
                <c:pt idx="2">
                  <c:v>0.1161665648739643</c:v>
                </c:pt>
                <c:pt idx="3">
                  <c:v>0.11454985035564462</c:v>
                </c:pt>
                <c:pt idx="4">
                  <c:v>0.11449163297450499</c:v>
                </c:pt>
                <c:pt idx="5">
                  <c:v>0.10815563823142704</c:v>
                </c:pt>
                <c:pt idx="6">
                  <c:v>0.10234248797240796</c:v>
                </c:pt>
                <c:pt idx="7">
                  <c:v>0.10644056737799232</c:v>
                </c:pt>
                <c:pt idx="8">
                  <c:v>0.11231876709921845</c:v>
                </c:pt>
                <c:pt idx="9">
                  <c:v>0.11058876897206615</c:v>
                </c:pt>
                <c:pt idx="10">
                  <c:v>0.11148826692066278</c:v>
                </c:pt>
                <c:pt idx="11">
                  <c:v>0.10346076452917194</c:v>
                </c:pt>
                <c:pt idx="12">
                  <c:v>0.1063737824434978</c:v>
                </c:pt>
                <c:pt idx="13">
                  <c:v>0.10763537292649433</c:v>
                </c:pt>
                <c:pt idx="14">
                  <c:v>0.1073770783300555</c:v>
                </c:pt>
                <c:pt idx="15">
                  <c:v>0.1061257759336403</c:v>
                </c:pt>
                <c:pt idx="16">
                  <c:v>0.10994580527260069</c:v>
                </c:pt>
                <c:pt idx="17">
                  <c:v>0.10638413452895416</c:v>
                </c:pt>
                <c:pt idx="18">
                  <c:v>0.10574421493281155</c:v>
                </c:pt>
                <c:pt idx="19">
                  <c:v>0.11577528009189078</c:v>
                </c:pt>
                <c:pt idx="20">
                  <c:v>0.11298550543408335</c:v>
                </c:pt>
                <c:pt idx="21">
                  <c:v>0.10221207390542877</c:v>
                </c:pt>
                <c:pt idx="22">
                  <c:v>0.11253556991853013</c:v>
                </c:pt>
                <c:pt idx="23">
                  <c:v>0.11390277569116557</c:v>
                </c:pt>
                <c:pt idx="24">
                  <c:v>0.1089009145069108</c:v>
                </c:pt>
                <c:pt idx="25">
                  <c:v>0.10872500559853071</c:v>
                </c:pt>
                <c:pt idx="26">
                  <c:v>0.10842026941842389</c:v>
                </c:pt>
                <c:pt idx="27">
                  <c:v>0.108368381444172</c:v>
                </c:pt>
                <c:pt idx="28">
                  <c:v>0.11429655015004012</c:v>
                </c:pt>
                <c:pt idx="29">
                  <c:v>0.11524506098193411</c:v>
                </c:pt>
                <c:pt idx="30">
                  <c:v>0.11660471736125037</c:v>
                </c:pt>
                <c:pt idx="31">
                  <c:v>0.11386870508651224</c:v>
                </c:pt>
                <c:pt idx="32">
                  <c:v>0.11717775335086034</c:v>
                </c:pt>
                <c:pt idx="33">
                  <c:v>0.11906752158776206</c:v>
                </c:pt>
                <c:pt idx="34">
                  <c:v>0.11558871161845946</c:v>
                </c:pt>
                <c:pt idx="35">
                  <c:v>0.11509668689865633</c:v>
                </c:pt>
                <c:pt idx="36">
                  <c:v>0.11583941498405595</c:v>
                </c:pt>
                <c:pt idx="37">
                  <c:v>0.11400585186048422</c:v>
                </c:pt>
                <c:pt idx="38">
                  <c:v>0.11395403708672987</c:v>
                </c:pt>
                <c:pt idx="39">
                  <c:v>0.11213769326986213</c:v>
                </c:pt>
                <c:pt idx="40">
                  <c:v>0.11678469364306224</c:v>
                </c:pt>
                <c:pt idx="41">
                  <c:v>0.12002733751964496</c:v>
                </c:pt>
                <c:pt idx="42">
                  <c:v>0.11786776274376644</c:v>
                </c:pt>
                <c:pt idx="43">
                  <c:v>0.12128165454230924</c:v>
                </c:pt>
                <c:pt idx="44">
                  <c:v>0.11832815714550646</c:v>
                </c:pt>
                <c:pt idx="45">
                  <c:v>0.11732388349135797</c:v>
                </c:pt>
                <c:pt idx="46">
                  <c:v>0.11571873606383597</c:v>
                </c:pt>
                <c:pt idx="47">
                  <c:v>0.1127047000629279</c:v>
                </c:pt>
                <c:pt idx="48">
                  <c:v>0.11262564882500123</c:v>
                </c:pt>
                <c:pt idx="49">
                  <c:v>0.11716636273442503</c:v>
                </c:pt>
                <c:pt idx="50">
                  <c:v>0.11704497525584724</c:v>
                </c:pt>
                <c:pt idx="51">
                  <c:v>0.10915771030654148</c:v>
                </c:pt>
                <c:pt idx="52">
                  <c:v>0.08330307703158654</c:v>
                </c:pt>
                <c:pt idx="53">
                  <c:v>0.02740820900514432</c:v>
                </c:pt>
                <c:pt idx="54">
                  <c:v>0.10435544043769372</c:v>
                </c:pt>
              </c:numCache>
            </c:numRef>
          </c:xVal>
          <c:yVal>
            <c:numRef>
              <c:f>Sheet1!$B$187:$B$241</c:f>
              <c:numCache>
                <c:formatCode>General</c:formatCode>
                <c:ptCount val="55"/>
                <c:pt idx="0">
                  <c:v>0.18270275564629068</c:v>
                </c:pt>
                <c:pt idx="1">
                  <c:v>0.1800532963792718</c:v>
                </c:pt>
                <c:pt idx="2">
                  <c:v>0.18182405759918513</c:v>
                </c:pt>
                <c:pt idx="3">
                  <c:v>0.182812537711743</c:v>
                </c:pt>
                <c:pt idx="4">
                  <c:v>0.18284813256959181</c:v>
                </c:pt>
                <c:pt idx="5">
                  <c:v>0.18672204149156593</c:v>
                </c:pt>
                <c:pt idx="6">
                  <c:v>0.19027627655115034</c:v>
                </c:pt>
                <c:pt idx="7">
                  <c:v>0.18777065793623662</c:v>
                </c:pt>
                <c:pt idx="8">
                  <c:v>0.18417665079630308</c:v>
                </c:pt>
                <c:pt idx="9">
                  <c:v>0.18523439396869057</c:v>
                </c:pt>
                <c:pt idx="10">
                  <c:v>0.1846844293191503</c:v>
                </c:pt>
                <c:pt idx="11">
                  <c:v>0.18959254783827298</c:v>
                </c:pt>
                <c:pt idx="12">
                  <c:v>0.1878114911067304</c:v>
                </c:pt>
                <c:pt idx="13">
                  <c:v>0.1870401384105658</c:v>
                </c:pt>
                <c:pt idx="14">
                  <c:v>0.18719806305889908</c:v>
                </c:pt>
                <c:pt idx="15">
                  <c:v>0.18796312548620875</c:v>
                </c:pt>
                <c:pt idx="16">
                  <c:v>0.1856275102689504</c:v>
                </c:pt>
                <c:pt idx="17">
                  <c:v>0.18780516170813766</c:v>
                </c:pt>
                <c:pt idx="18">
                  <c:v>0.18819641680435617</c:v>
                </c:pt>
                <c:pt idx="19">
                  <c:v>0.18206329416262507</c:v>
                </c:pt>
                <c:pt idx="20">
                  <c:v>0.1837689983772607</c:v>
                </c:pt>
                <c:pt idx="21">
                  <c:v>0.19035601339407837</c:v>
                </c:pt>
                <c:pt idx="22">
                  <c:v>0.18404409475576053</c:v>
                </c:pt>
                <c:pt idx="23">
                  <c:v>0.18320816750904473</c:v>
                </c:pt>
                <c:pt idx="24">
                  <c:v>0.18626636996246843</c:v>
                </c:pt>
                <c:pt idx="25">
                  <c:v>0.18637392293832478</c:v>
                </c:pt>
                <c:pt idx="26">
                  <c:v>0.18656024257002174</c:v>
                </c:pt>
                <c:pt idx="27">
                  <c:v>0.18659196754684831</c:v>
                </c:pt>
                <c:pt idx="28">
                  <c:v>0.18296740872509115</c:v>
                </c:pt>
                <c:pt idx="29">
                  <c:v>0.18238747696642335</c:v>
                </c:pt>
                <c:pt idx="30">
                  <c:v>0.18155616551617212</c:v>
                </c:pt>
                <c:pt idx="31">
                  <c:v>0.18322899871624987</c:v>
                </c:pt>
                <c:pt idx="32">
                  <c:v>0.1812058039198044</c:v>
                </c:pt>
                <c:pt idx="33">
                  <c:v>0.1800503752412382</c:v>
                </c:pt>
                <c:pt idx="34">
                  <c:v>0.18217736453406502</c:v>
                </c:pt>
                <c:pt idx="35">
                  <c:v>0.18247819479500543</c:v>
                </c:pt>
                <c:pt idx="36">
                  <c:v>0.1820240812621977</c:v>
                </c:pt>
                <c:pt idx="37">
                  <c:v>0.18314514540941268</c:v>
                </c:pt>
                <c:pt idx="38">
                  <c:v>0.18317682563051077</c:v>
                </c:pt>
                <c:pt idx="39">
                  <c:v>0.1842873616714732</c:v>
                </c:pt>
                <c:pt idx="40">
                  <c:v>0.18144612569572932</c:v>
                </c:pt>
                <c:pt idx="41">
                  <c:v>0.1794635313985983</c:v>
                </c:pt>
                <c:pt idx="42">
                  <c:v>0.18078392327567266</c:v>
                </c:pt>
                <c:pt idx="43">
                  <c:v>0.17869662578991047</c:v>
                </c:pt>
                <c:pt idx="44">
                  <c:v>0.18050243219923578</c:v>
                </c:pt>
                <c:pt idx="45">
                  <c:v>0.18111645806678556</c:v>
                </c:pt>
                <c:pt idx="46">
                  <c:v>0.18209786591081112</c:v>
                </c:pt>
                <c:pt idx="47">
                  <c:v>0.18394068640365085</c:v>
                </c:pt>
                <c:pt idx="48">
                  <c:v>0.1839890193503017</c:v>
                </c:pt>
                <c:pt idx="49">
                  <c:v>0.181212768289635</c:v>
                </c:pt>
                <c:pt idx="50">
                  <c:v>0.18128698615996897</c:v>
                </c:pt>
                <c:pt idx="51">
                  <c:v>0.18610936169783854</c:v>
                </c:pt>
                <c:pt idx="52">
                  <c:v>0.20191721801395046</c:v>
                </c:pt>
                <c:pt idx="53">
                  <c:v>0.23609206138432418</c:v>
                </c:pt>
                <c:pt idx="54">
                  <c:v>0.189045531446240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72528562742023"/>
          <c:min val="0.1210273009923761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3581.0714</c:v>
                </c:pt>
                <c:pt idx="1">
                  <c:v>6230.0</c:v>
                </c:pt>
                <c:pt idx="2">
                  <c:v>6349.6667</c:v>
                </c:pt>
                <c:pt idx="3">
                  <c:v>7566.0</c:v>
                </c:pt>
                <c:pt idx="4">
                  <c:v>5972.0</c:v>
                </c:pt>
                <c:pt idx="5">
                  <c:v>4616.6</c:v>
                </c:pt>
                <c:pt idx="6">
                  <c:v>5895.1667</c:v>
                </c:pt>
                <c:pt idx="7">
                  <c:v>3666.0</c:v>
                </c:pt>
                <c:pt idx="8">
                  <c:v>5288.0</c:v>
                </c:pt>
                <c:pt idx="9">
                  <c:v>4848.0</c:v>
                </c:pt>
                <c:pt idx="10">
                  <c:v>7054.0</c:v>
                </c:pt>
                <c:pt idx="11">
                  <c:v>4469.4286</c:v>
                </c:pt>
                <c:pt idx="12">
                  <c:v>5880.3333</c:v>
                </c:pt>
                <c:pt idx="13">
                  <c:v>5253.1667</c:v>
                </c:pt>
                <c:pt idx="14">
                  <c:v>5922.0</c:v>
                </c:pt>
                <c:pt idx="15">
                  <c:v>3753.2</c:v>
                </c:pt>
                <c:pt idx="16">
                  <c:v>2170.25</c:v>
                </c:pt>
                <c:pt idx="17">
                  <c:v>4387.0</c:v>
                </c:pt>
                <c:pt idx="18">
                  <c:v>3807.0</c:v>
                </c:pt>
                <c:pt idx="19">
                  <c:v>3804.25</c:v>
                </c:pt>
                <c:pt idx="20">
                  <c:v>3359.5</c:v>
                </c:pt>
                <c:pt idx="21">
                  <c:v>4369.8</c:v>
                </c:pt>
                <c:pt idx="22">
                  <c:v>6539.0</c:v>
                </c:pt>
                <c:pt idx="23">
                  <c:v>5053.4</c:v>
                </c:pt>
                <c:pt idx="24">
                  <c:v>3948.1429</c:v>
                </c:pt>
                <c:pt idx="25">
                  <c:v>6402.2</c:v>
                </c:pt>
                <c:pt idx="26">
                  <c:v>7763.5</c:v>
                </c:pt>
                <c:pt idx="27">
                  <c:v>3345.6</c:v>
                </c:pt>
                <c:pt idx="28">
                  <c:v>7017.25</c:v>
                </c:pt>
                <c:pt idx="29">
                  <c:v>3873.25</c:v>
                </c:pt>
                <c:pt idx="30">
                  <c:v>5011.5</c:v>
                </c:pt>
                <c:pt idx="31">
                  <c:v>5771.0</c:v>
                </c:pt>
                <c:pt idx="32">
                  <c:v>3461.5</c:v>
                </c:pt>
                <c:pt idx="33">
                  <c:v>3505.5833</c:v>
                </c:pt>
                <c:pt idx="34">
                  <c:v>3707.6429</c:v>
                </c:pt>
                <c:pt idx="35">
                  <c:v>6483.0</c:v>
                </c:pt>
                <c:pt idx="36">
                  <c:v>4574.5</c:v>
                </c:pt>
                <c:pt idx="37">
                  <c:v>7663.0</c:v>
                </c:pt>
                <c:pt idx="38">
                  <c:v>5601.0</c:v>
                </c:pt>
                <c:pt idx="39">
                  <c:v>5694.6667</c:v>
                </c:pt>
                <c:pt idx="40">
                  <c:v>5335.6667</c:v>
                </c:pt>
                <c:pt idx="41">
                  <c:v>10645.0</c:v>
                </c:pt>
                <c:pt idx="42">
                  <c:v>5430.5</c:v>
                </c:pt>
                <c:pt idx="43">
                  <c:v>3861.5714</c:v>
                </c:pt>
                <c:pt idx="44">
                  <c:v>4392.6</c:v>
                </c:pt>
                <c:pt idx="45">
                  <c:v>4084.4545</c:v>
                </c:pt>
                <c:pt idx="46">
                  <c:v>3682.6154</c:v>
                </c:pt>
                <c:pt idx="47">
                  <c:v>4401.9</c:v>
                </c:pt>
                <c:pt idx="48">
                  <c:v>3202.1176</c:v>
                </c:pt>
                <c:pt idx="49">
                  <c:v>3614.8333</c:v>
                </c:pt>
                <c:pt idx="50">
                  <c:v>4083.9</c:v>
                </c:pt>
                <c:pt idx="51">
                  <c:v>4174.75</c:v>
                </c:pt>
                <c:pt idx="52">
                  <c:v>3479.2</c:v>
                </c:pt>
                <c:pt idx="53">
                  <c:v>3423.5</c:v>
                </c:pt>
                <c:pt idx="54">
                  <c:v>4202.4</c:v>
                </c:pt>
                <c:pt idx="55">
                  <c:v>15202.0</c:v>
                </c:pt>
                <c:pt idx="56">
                  <c:v>6202.5</c:v>
                </c:pt>
                <c:pt idx="57">
                  <c:v>10480.0</c:v>
                </c:pt>
                <c:pt idx="58">
                  <c:v>4706.5</c:v>
                </c:pt>
                <c:pt idx="59">
                  <c:v>3925.25</c:v>
                </c:pt>
                <c:pt idx="60">
                  <c:v>3984.0</c:v>
                </c:pt>
                <c:pt idx="61">
                  <c:v>3894.25</c:v>
                </c:pt>
                <c:pt idx="62">
                  <c:v>3523.6667</c:v>
                </c:pt>
                <c:pt idx="63">
                  <c:v>2920.0</c:v>
                </c:pt>
                <c:pt idx="64">
                  <c:v>3077.6</c:v>
                </c:pt>
                <c:pt idx="65">
                  <c:v>6638.0</c:v>
                </c:pt>
                <c:pt idx="66">
                  <c:v>10119.0</c:v>
                </c:pt>
                <c:pt idx="67">
                  <c:v>5730.5</c:v>
                </c:pt>
                <c:pt idx="68">
                  <c:v>17630.0</c:v>
                </c:pt>
                <c:pt idx="69">
                  <c:v>5701.0</c:v>
                </c:pt>
                <c:pt idx="70">
                  <c:v>5620.2857</c:v>
                </c:pt>
                <c:pt idx="71">
                  <c:v>6033.2</c:v>
                </c:pt>
                <c:pt idx="72">
                  <c:v>5945.6</c:v>
                </c:pt>
                <c:pt idx="73">
                  <c:v>5831.6</c:v>
                </c:pt>
                <c:pt idx="74">
                  <c:v>5610.1429</c:v>
                </c:pt>
                <c:pt idx="75">
                  <c:v>8324.4</c:v>
                </c:pt>
                <c:pt idx="76">
                  <c:v>8366.5</c:v>
                </c:pt>
                <c:pt idx="77">
                  <c:v>4291.4545</c:v>
                </c:pt>
                <c:pt idx="78">
                  <c:v>22182.0</c:v>
                </c:pt>
                <c:pt idx="79">
                  <c:v>18169.0</c:v>
                </c:pt>
                <c:pt idx="80">
                  <c:v>17887.0</c:v>
                </c:pt>
                <c:pt idx="81">
                  <c:v>11855.0</c:v>
                </c:pt>
                <c:pt idx="82">
                  <c:v>14450.0</c:v>
                </c:pt>
                <c:pt idx="83">
                  <c:v>17175.0</c:v>
                </c:pt>
                <c:pt idx="84">
                  <c:v>6509.5</c:v>
                </c:pt>
                <c:pt idx="85">
                  <c:v>11668.0</c:v>
                </c:pt>
                <c:pt idx="86">
                  <c:v>5744.6667</c:v>
                </c:pt>
                <c:pt idx="87">
                  <c:v>10423.0</c:v>
                </c:pt>
              </c:numCache>
            </c:numRef>
          </c:xVal>
          <c:yVal>
            <c:numRef>
              <c:f>Sheet1!$B$2:$B$89</c:f>
              <c:numCache>
                <c:formatCode>General</c:formatCode>
                <c:ptCount val="88"/>
                <c:pt idx="0">
                  <c:v>0.0011991434689507495</c:v>
                </c:pt>
                <c:pt idx="1">
                  <c:v>0.00028042624789680314</c:v>
                </c:pt>
                <c:pt idx="2">
                  <c:v>0.0002781125428756837</c:v>
                </c:pt>
                <c:pt idx="3">
                  <c:v>0.00019022256039566293</c:v>
                </c:pt>
                <c:pt idx="4">
                  <c:v>0.00021652051531882645</c:v>
                </c:pt>
                <c:pt idx="5">
                  <c:v>0.0005567308762943993</c:v>
                </c:pt>
                <c:pt idx="6">
                  <c:v>0.0006385016494625945</c:v>
                </c:pt>
                <c:pt idx="7">
                  <c:v>0.0008297771455666193</c:v>
                </c:pt>
                <c:pt idx="8">
                  <c:v>0.0004679457182966776</c:v>
                </c:pt>
                <c:pt idx="9">
                  <c:v>0.000599101347978033</c:v>
                </c:pt>
                <c:pt idx="10">
                  <c:v>0.00028153153153153153</c:v>
                </c:pt>
                <c:pt idx="11">
                  <c:v>0.0006146821215314366</c:v>
                </c:pt>
                <c:pt idx="12">
                  <c:v>0.00046289152908501776</c:v>
                </c:pt>
                <c:pt idx="13">
                  <c:v>0.0005209237714881056</c:v>
                </c:pt>
                <c:pt idx="14">
                  <c:v>0.00018675880100849752</c:v>
                </c:pt>
                <c:pt idx="15">
                  <c:v>0.0005408913890090869</c:v>
                </c:pt>
                <c:pt idx="16">
                  <c:v>0.0004919444102816382</c:v>
                </c:pt>
                <c:pt idx="17">
                  <c:v>0.0004095004095004095</c:v>
                </c:pt>
                <c:pt idx="18">
                  <c:v>0.0005367686527106817</c:v>
                </c:pt>
                <c:pt idx="19">
                  <c:v>0.0005787874403125452</c:v>
                </c:pt>
                <c:pt idx="20">
                  <c:v>0.00034246575342465754</c:v>
                </c:pt>
                <c:pt idx="21">
                  <c:v>0.000943040362127499</c:v>
                </c:pt>
                <c:pt idx="22">
                  <c:v>0.0005824111822947001</c:v>
                </c:pt>
                <c:pt idx="23">
                  <c:v>0.0009085953116481918</c:v>
                </c:pt>
                <c:pt idx="24">
                  <c:v>0.001445086705202312</c:v>
                </c:pt>
                <c:pt idx="25">
                  <c:v>0.0008476012883539584</c:v>
                </c:pt>
                <c:pt idx="26">
                  <c:v>0.00035180299032541777</c:v>
                </c:pt>
                <c:pt idx="27">
                  <c:v>0.0008799718409010912</c:v>
                </c:pt>
                <c:pt idx="28">
                  <c:v>0.0006350214319733291</c:v>
                </c:pt>
                <c:pt idx="29">
                  <c:v>0.0007874015748031496</c:v>
                </c:pt>
                <c:pt idx="30">
                  <c:v>0.0008008008008008008</c:v>
                </c:pt>
                <c:pt idx="31">
                  <c:v>0.0006087662337662338</c:v>
                </c:pt>
                <c:pt idx="32">
                  <c:v>0.001777145903678692</c:v>
                </c:pt>
                <c:pt idx="33">
                  <c:v>0.001896633475580844</c:v>
                </c:pt>
                <c:pt idx="34">
                  <c:v>0.001708150317227916</c:v>
                </c:pt>
                <c:pt idx="35">
                  <c:v>0.0005660911406736484</c:v>
                </c:pt>
                <c:pt idx="36">
                  <c:v>0.0007027406886858749</c:v>
                </c:pt>
                <c:pt idx="37">
                  <c:v>0.0003351206434316354</c:v>
                </c:pt>
                <c:pt idx="38">
                  <c:v>0.0007473841554559044</c:v>
                </c:pt>
                <c:pt idx="39">
                  <c:v>0.00045676004872107184</c:v>
                </c:pt>
                <c:pt idx="40">
                  <c:v>0.0005029337803855825</c:v>
                </c:pt>
                <c:pt idx="41">
                  <c:v>0.0001405283867341203</c:v>
                </c:pt>
                <c:pt idx="42">
                  <c:v>0.0004873294346978557</c:v>
                </c:pt>
                <c:pt idx="43">
                  <c:v>0.0006576475009394964</c:v>
                </c:pt>
                <c:pt idx="44">
                  <c:v>0.00043825050398807957</c:v>
                </c:pt>
                <c:pt idx="45">
                  <c:v>0.0009446114212108201</c:v>
                </c:pt>
                <c:pt idx="46">
                  <c:v>0.0011339846475924634</c:v>
                </c:pt>
                <c:pt idx="47">
                  <c:v>0.0006391409945033875</c:v>
                </c:pt>
                <c:pt idx="48">
                  <c:v>0.0007207359986433205</c:v>
                </c:pt>
                <c:pt idx="49">
                  <c:v>0.0008355964069354502</c:v>
                </c:pt>
                <c:pt idx="50">
                  <c:v>0.0007998080460689434</c:v>
                </c:pt>
                <c:pt idx="51">
                  <c:v>0.00027660604384205796</c:v>
                </c:pt>
                <c:pt idx="52">
                  <c:v>0.00046048996131884323</c:v>
                </c:pt>
                <c:pt idx="53">
                  <c:v>0.0010156408693885843</c:v>
                </c:pt>
                <c:pt idx="54">
                  <c:v>0.000524824183898394</c:v>
                </c:pt>
                <c:pt idx="55">
                  <c:v>9.974067424695791e-05</c:v>
                </c:pt>
                <c:pt idx="56">
                  <c:v>0.0001799694052011158</c:v>
                </c:pt>
                <c:pt idx="57">
                  <c:v>8.116224332440549e-05</c:v>
                </c:pt>
                <c:pt idx="58">
                  <c:v>0.00021578464692237147</c:v>
                </c:pt>
                <c:pt idx="59">
                  <c:v>0.00022507314877335134</c:v>
                </c:pt>
                <c:pt idx="60">
                  <c:v>0.000373440884308014</c:v>
                </c:pt>
                <c:pt idx="61">
                  <c:v>0.00030483158055174517</c:v>
                </c:pt>
                <c:pt idx="62">
                  <c:v>0.0003925417075564279</c:v>
                </c:pt>
                <c:pt idx="63">
                  <c:v>0.0005675368898978433</c:v>
                </c:pt>
                <c:pt idx="64">
                  <c:v>0.0003447800303406427</c:v>
                </c:pt>
                <c:pt idx="65">
                  <c:v>7.407956144899622e-05</c:v>
                </c:pt>
                <c:pt idx="66">
                  <c:v>7.678722260615834e-05</c:v>
                </c:pt>
                <c:pt idx="67">
                  <c:v>0.00023070711731456916</c:v>
                </c:pt>
                <c:pt idx="68">
                  <c:v>0.00011132138483802739</c:v>
                </c:pt>
                <c:pt idx="69">
                  <c:v>0.0005693463903438852</c:v>
                </c:pt>
                <c:pt idx="70">
                  <c:v>0.0008230452674897119</c:v>
                </c:pt>
                <c:pt idx="71">
                  <c:v>0.0006932889628397116</c:v>
                </c:pt>
                <c:pt idx="72">
                  <c:v>0.0007217090069284065</c:v>
                </c:pt>
                <c:pt idx="73">
                  <c:v>0.0007265329845975008</c:v>
                </c:pt>
                <c:pt idx="74">
                  <c:v>0.0011488593467914</c:v>
                </c:pt>
                <c:pt idx="75">
                  <c:v>0.0008382229673093043</c:v>
                </c:pt>
                <c:pt idx="76">
                  <c:v>0.0006619228859837829</c:v>
                </c:pt>
                <c:pt idx="77">
                  <c:v>0.0014915254237288136</c:v>
                </c:pt>
                <c:pt idx="78">
                  <c:v>0.00016943409013893597</c:v>
                </c:pt>
                <c:pt idx="79">
                  <c:v>0.00021222410865874363</c:v>
                </c:pt>
                <c:pt idx="80">
                  <c:v>0.00021235931195582927</c:v>
                </c:pt>
                <c:pt idx="81">
                  <c:v>7.328154770628756e-05</c:v>
                </c:pt>
                <c:pt idx="82">
                  <c:v>5.774672287347693e-05</c:v>
                </c:pt>
                <c:pt idx="83">
                  <c:v>3.8968124074507054e-05</c:v>
                </c:pt>
                <c:pt idx="84">
                  <c:v>0.00012721027859051011</c:v>
                </c:pt>
                <c:pt idx="85">
                  <c:v>6.444544692917445e-05</c:v>
                </c:pt>
                <c:pt idx="86">
                  <c:v>0.00020827547903360177</c:v>
                </c:pt>
                <c:pt idx="87">
                  <c:v>7.61266747868453e-05</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6.82081713389264e-05</c:v>
                </c:pt>
                <c:pt idx="21">
                  <c:v>0.00014652014652014652</c:v>
                </c:pt>
                <c:pt idx="22">
                  <c:v>0.0</c:v>
                </c:pt>
                <c:pt idx="23">
                  <c:v>0.0</c:v>
                </c:pt>
                <c:pt idx="24">
                  <c:v>0.00010643959552953698</c:v>
                </c:pt>
                <c:pt idx="25">
                  <c:v>0.0</c:v>
                </c:pt>
                <c:pt idx="26">
                  <c:v>0.00019327406262079628</c:v>
                </c:pt>
                <c:pt idx="27">
                  <c:v>8.983111749910169e-05</c:v>
                </c:pt>
                <c:pt idx="28">
                  <c:v>0.00015355086372360844</c:v>
                </c:pt>
                <c:pt idx="29">
                  <c:v>0.0</c:v>
                </c:pt>
                <c:pt idx="30">
                  <c:v>0.0</c:v>
                </c:pt>
                <c:pt idx="31">
                  <c:v>8.554319931565441e-05</c:v>
                </c:pt>
                <c:pt idx="32">
                  <c:v>8.918219923303308e-05</c:v>
                </c:pt>
                <c:pt idx="33">
                  <c:v>0.00019845207382417147</c:v>
                </c:pt>
                <c:pt idx="34">
                  <c:v>0.0</c:v>
                </c:pt>
                <c:pt idx="35">
                  <c:v>0.0</c:v>
                </c:pt>
                <c:pt idx="36">
                  <c:v>0.00011122233344455567</c:v>
                </c:pt>
                <c:pt idx="37">
                  <c:v>0.0</c:v>
                </c:pt>
                <c:pt idx="38">
                  <c:v>0.0003213883978788366</c:v>
                </c:pt>
                <c:pt idx="39">
                  <c:v>0.0003180155827635554</c:v>
                </c:pt>
                <c:pt idx="40">
                  <c:v>0.00015946420028703555</c:v>
                </c:pt>
                <c:pt idx="41">
                  <c:v>0.00014992503748125936</c:v>
                </c:pt>
                <c:pt idx="42">
                  <c:v>0.00047244094488188977</c:v>
                </c:pt>
                <c:pt idx="43">
                  <c:v>0.000792016473942658</c:v>
                </c:pt>
                <c:pt idx="44">
                  <c:v>0.00028814291888776836</c:v>
                </c:pt>
                <c:pt idx="45">
                  <c:v>0.00026215755669157164</c:v>
                </c:pt>
                <c:pt idx="46">
                  <c:v>0.00031660598385309483</c:v>
                </c:pt>
                <c:pt idx="47">
                  <c:v>0.00016564518800728838</c:v>
                </c:pt>
                <c:pt idx="48">
                  <c:v>0.0</c:v>
                </c:pt>
                <c:pt idx="49">
                  <c:v>0.0001686056314280897</c:v>
                </c:pt>
                <c:pt idx="50">
                  <c:v>0.0006701289998324678</c:v>
                </c:pt>
                <c:pt idx="51">
                  <c:v>0.0005676657584014533</c:v>
                </c:pt>
                <c:pt idx="52">
                  <c:v>0.0006191183754333828</c:v>
                </c:pt>
                <c:pt idx="53">
                  <c:v>0.0</c:v>
                </c:pt>
                <c:pt idx="54">
                  <c:v>0.0</c:v>
                </c:pt>
                <c:pt idx="55">
                  <c:v>0.0</c:v>
                </c:pt>
                <c:pt idx="56">
                  <c:v>0.0</c:v>
                </c:pt>
                <c:pt idx="57">
                  <c:v>0.0001386193512614361</c:v>
                </c:pt>
                <c:pt idx="58">
                  <c:v>0.00012913223140495868</c:v>
                </c:pt>
                <c:pt idx="59">
                  <c:v>0.0001426533523537803</c:v>
                </c:pt>
                <c:pt idx="60">
                  <c:v>0.0</c:v>
                </c:pt>
                <c:pt idx="61">
                  <c:v>0.0</c:v>
                </c:pt>
                <c:pt idx="62">
                  <c:v>0.0</c:v>
                </c:pt>
                <c:pt idx="63">
                  <c:v>0.0</c:v>
                </c:pt>
                <c:pt idx="64">
                  <c:v>0.0</c:v>
                </c:pt>
                <c:pt idx="65">
                  <c:v>0.0</c:v>
                </c:pt>
                <c:pt idx="66">
                  <c:v>0.0</c:v>
                </c:pt>
                <c:pt idx="67">
                  <c:v>0.00014715620631300125</c:v>
                </c:pt>
                <c:pt idx="68">
                  <c:v>5.969436485195797e-0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6084.41892733451</c:v>
                </c:pt>
              </c:numCache>
            </c:numRef>
          </c:xVal>
          <c:yVal>
            <c:numRef>
              <c:f>Sheet1!$B$163:$B$164</c:f>
              <c:numCache>
                <c:formatCode>General</c:formatCode>
                <c:ptCount val="2"/>
                <c:pt idx="0">
                  <c:v>0.0009587907001120169</c:v>
                </c:pt>
                <c:pt idx="1">
                  <c:v>0.000958790700112016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6084.41892733451</c:v>
                </c:pt>
                <c:pt idx="1">
                  <c:v>66084.41892733451</c:v>
                </c:pt>
              </c:numCache>
            </c:numRef>
          </c:xVal>
          <c:yVal>
            <c:numRef>
              <c:f>Sheet1!$B$167:$B$168</c:f>
              <c:numCache>
                <c:formatCode>General</c:formatCode>
                <c:ptCount val="2"/>
                <c:pt idx="0">
                  <c:v>0.000958790700112016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20133.573273890583</c:v>
                </c:pt>
              </c:numCache>
            </c:numRef>
          </c:xVal>
          <c:yVal>
            <c:numRef>
              <c:f>Sheet1!$B$171:$B$172</c:f>
              <c:numCache>
                <c:formatCode>General</c:formatCode>
                <c:ptCount val="2"/>
                <c:pt idx="0">
                  <c:v>0.00033313955972754864</c:v>
                </c:pt>
                <c:pt idx="1">
                  <c:v>0.0003331395597275486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20133.573273890583</c:v>
                </c:pt>
                <c:pt idx="1">
                  <c:v>20133.573273890583</c:v>
                </c:pt>
              </c:numCache>
            </c:numRef>
          </c:xVal>
          <c:yVal>
            <c:numRef>
              <c:f>Sheet1!$B$175:$B$176</c:f>
              <c:numCache>
                <c:formatCode>General</c:formatCode>
                <c:ptCount val="2"/>
                <c:pt idx="0">
                  <c:v>0.000333139559727548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46.5587546324125</c:v>
                </c:pt>
              </c:numCache>
            </c:numRef>
          </c:xVal>
          <c:yVal>
            <c:numRef>
              <c:f>Sheet1!$B$179:$B$180</c:f>
              <c:numCache>
                <c:formatCode>General</c:formatCode>
                <c:ptCount val="2"/>
                <c:pt idx="0">
                  <c:v>4.748119278347187e-05</c:v>
                </c:pt>
                <c:pt idx="1">
                  <c:v>4.748119278347187e-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46.5587546324125</c:v>
                </c:pt>
                <c:pt idx="1">
                  <c:v>-846.5587546324125</c:v>
                </c:pt>
              </c:numCache>
            </c:numRef>
          </c:xVal>
          <c:yVal>
            <c:numRef>
              <c:f>Sheet1!$B$183:$B$184</c:f>
              <c:numCache>
                <c:formatCode>General</c:formatCode>
                <c:ptCount val="2"/>
                <c:pt idx="0">
                  <c:v>4.748119278347187e-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pt idx="69">
                  <c:v>20133.573273890583</c:v>
                </c:pt>
                <c:pt idx="70">
                  <c:v>66084.41892733451</c:v>
                </c:pt>
                <c:pt idx="71">
                  <c:v>-846.5587546324125</c:v>
                </c:pt>
              </c:numCache>
            </c:numRef>
          </c:xVal>
          <c:yVal>
            <c:numRef>
              <c:f>Sheet1!$B$187:$B$258</c:f>
              <c:numCache>
                <c:formatCode>General</c:formatCode>
                <c:ptCount val="72"/>
                <c:pt idx="0">
                  <c:v>5.900764986399631e-05</c:v>
                </c:pt>
                <c:pt idx="1">
                  <c:v>5.900764986399631e-05</c:v>
                </c:pt>
                <c:pt idx="2">
                  <c:v>5.900764986399631e-05</c:v>
                </c:pt>
                <c:pt idx="3">
                  <c:v>5.900764986399631e-05</c:v>
                </c:pt>
                <c:pt idx="4">
                  <c:v>5.900764986399631e-05</c:v>
                </c:pt>
                <c:pt idx="5">
                  <c:v>5.900764986399631e-05</c:v>
                </c:pt>
                <c:pt idx="6">
                  <c:v>5.900764986399631e-05</c:v>
                </c:pt>
                <c:pt idx="7">
                  <c:v>5.900764986399631e-05</c:v>
                </c:pt>
                <c:pt idx="8">
                  <c:v>5.900764986399631e-05</c:v>
                </c:pt>
                <c:pt idx="9">
                  <c:v>5.900764986399631e-05</c:v>
                </c:pt>
                <c:pt idx="10">
                  <c:v>5.900764986399631e-05</c:v>
                </c:pt>
                <c:pt idx="11">
                  <c:v>5.900764986399631e-05</c:v>
                </c:pt>
                <c:pt idx="12">
                  <c:v>5.900764986399631e-05</c:v>
                </c:pt>
                <c:pt idx="13">
                  <c:v>5.900764986399631e-05</c:v>
                </c:pt>
                <c:pt idx="14">
                  <c:v>5.900764986399631e-05</c:v>
                </c:pt>
                <c:pt idx="15">
                  <c:v>5.900764986399631e-05</c:v>
                </c:pt>
                <c:pt idx="16">
                  <c:v>5.900764986399631e-05</c:v>
                </c:pt>
                <c:pt idx="17">
                  <c:v>5.900764986399631e-05</c:v>
                </c:pt>
                <c:pt idx="18">
                  <c:v>5.900764986399631e-05</c:v>
                </c:pt>
                <c:pt idx="19">
                  <c:v>5.900764986399631e-05</c:v>
                </c:pt>
                <c:pt idx="20">
                  <c:v>0.00021128520329212263</c:v>
                </c:pt>
                <c:pt idx="21">
                  <c:v>0.00014428934298784012</c:v>
                </c:pt>
                <c:pt idx="22">
                  <c:v>5.900764986399631e-05</c:v>
                </c:pt>
                <c:pt idx="23">
                  <c:v>5.900764986399631e-05</c:v>
                </c:pt>
                <c:pt idx="24">
                  <c:v>0.00018817942645310882</c:v>
                </c:pt>
                <c:pt idx="25">
                  <c:v>5.900764986399631e-05</c:v>
                </c:pt>
                <c:pt idx="26">
                  <c:v>0.00012656856010276264</c:v>
                </c:pt>
                <c:pt idx="27">
                  <c:v>0.00015783011792384438</c:v>
                </c:pt>
                <c:pt idx="28">
                  <c:v>0.00017654484406717054</c:v>
                </c:pt>
                <c:pt idx="29">
                  <c:v>5.900764986399631e-05</c:v>
                </c:pt>
                <c:pt idx="30">
                  <c:v>5.900764986399631e-05</c:v>
                </c:pt>
                <c:pt idx="31">
                  <c:v>0.00024386748023717863</c:v>
                </c:pt>
                <c:pt idx="32">
                  <c:v>0.00021907336142524926</c:v>
                </c:pt>
                <c:pt idx="33">
                  <c:v>0.00021081546298514208</c:v>
                </c:pt>
                <c:pt idx="34">
                  <c:v>5.900764986399631e-05</c:v>
                </c:pt>
                <c:pt idx="35">
                  <c:v>5.900764986399631e-05</c:v>
                </c:pt>
                <c:pt idx="36">
                  <c:v>0.00021738501945233368</c:v>
                </c:pt>
                <c:pt idx="37">
                  <c:v>5.900764986399631e-05</c:v>
                </c:pt>
                <c:pt idx="38">
                  <c:v>0.00015156010600023457</c:v>
                </c:pt>
                <c:pt idx="39">
                  <c:v>0.0001315042372413263</c:v>
                </c:pt>
                <c:pt idx="40">
                  <c:v>0.00014584833618057263</c:v>
                </c:pt>
                <c:pt idx="41">
                  <c:v>0.0002119387550235738</c:v>
                </c:pt>
                <c:pt idx="42">
                  <c:v>0.00012736734600616946</c:v>
                </c:pt>
                <c:pt idx="43">
                  <c:v>0.00011472293497020991</c:v>
                </c:pt>
                <c:pt idx="44">
                  <c:v>0.00012148311069240812</c:v>
                </c:pt>
                <c:pt idx="45">
                  <c:v>0.0001574897263970469</c:v>
                </c:pt>
                <c:pt idx="46">
                  <c:v>0.00013375082131818975</c:v>
                </c:pt>
                <c:pt idx="47">
                  <c:v>0.00014870762500567158</c:v>
                </c:pt>
                <c:pt idx="48">
                  <c:v>5.900764986399631e-05</c:v>
                </c:pt>
                <c:pt idx="49">
                  <c:v>0.0001388226550674724</c:v>
                </c:pt>
                <c:pt idx="50">
                  <c:v>8.965650293684255e-05</c:v>
                </c:pt>
                <c:pt idx="51">
                  <c:v>8.638874427958662e-05</c:v>
                </c:pt>
                <c:pt idx="52">
                  <c:v>0.0001069565618947983</c:v>
                </c:pt>
                <c:pt idx="53">
                  <c:v>5.900764986399631e-05</c:v>
                </c:pt>
                <c:pt idx="54">
                  <c:v>5.900764986399631e-05</c:v>
                </c:pt>
                <c:pt idx="55">
                  <c:v>5.900764986399631e-05</c:v>
                </c:pt>
                <c:pt idx="56">
                  <c:v>5.900764986399631e-05</c:v>
                </c:pt>
                <c:pt idx="57">
                  <c:v>0.00023066028899743592</c:v>
                </c:pt>
                <c:pt idx="58">
                  <c:v>0.00018605538332589248</c:v>
                </c:pt>
                <c:pt idx="59">
                  <c:v>0.00021997199505599464</c:v>
                </c:pt>
                <c:pt idx="60">
                  <c:v>5.900764986399631e-05</c:v>
                </c:pt>
                <c:pt idx="61">
                  <c:v>5.900764986399631e-05</c:v>
                </c:pt>
                <c:pt idx="62">
                  <c:v>5.900764986399631e-05</c:v>
                </c:pt>
                <c:pt idx="63">
                  <c:v>5.900764986399631e-05</c:v>
                </c:pt>
                <c:pt idx="64">
                  <c:v>5.900764986399631e-05</c:v>
                </c:pt>
                <c:pt idx="65">
                  <c:v>5.900764986399631e-05</c:v>
                </c:pt>
                <c:pt idx="66">
                  <c:v>5.900764986399631e-05</c:v>
                </c:pt>
                <c:pt idx="67">
                  <c:v>0.00012170776910009446</c:v>
                </c:pt>
                <c:pt idx="68">
                  <c:v>0.000250062606024893</c:v>
                </c:pt>
                <c:pt idx="69">
                  <c:v>0.00033313955972754864</c:v>
                </c:pt>
                <c:pt idx="70">
                  <c:v>0.000958790700112017</c:v>
                </c:pt>
                <c:pt idx="71">
                  <c:v>4.748119278347187e-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930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275960170697012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c:f>
              <c:numCache>
                <c:formatCode>General</c:formatCode>
                <c:ptCount val="9"/>
                <c:pt idx="0">
                  <c:v>1220.6507</c:v>
                </c:pt>
                <c:pt idx="1">
                  <c:v>1225.1296</c:v>
                </c:pt>
                <c:pt idx="2">
                  <c:v>1255.812</c:v>
                </c:pt>
                <c:pt idx="3">
                  <c:v>1231.9085</c:v>
                </c:pt>
                <c:pt idx="4">
                  <c:v>1206.7592</c:v>
                </c:pt>
                <c:pt idx="5">
                  <c:v>1231.0113</c:v>
                </c:pt>
                <c:pt idx="6">
                  <c:v>1303.2353</c:v>
                </c:pt>
                <c:pt idx="7">
                  <c:v>1254.5843</c:v>
                </c:pt>
                <c:pt idx="8">
                  <c:v>1306.4575</c:v>
                </c:pt>
              </c:numCache>
            </c:numRef>
          </c:xVal>
          <c:yVal>
            <c:numRef>
              <c:f>Sheet1!$B$2:$B$10</c:f>
              <c:numCache>
                <c:formatCode>General</c:formatCode>
                <c:ptCount val="9"/>
                <c:pt idx="0">
                  <c:v>1.0</c:v>
                </c:pt>
                <c:pt idx="1">
                  <c:v>0.9942748091603053</c:v>
                </c:pt>
                <c:pt idx="2">
                  <c:v>0.9916981132075472</c:v>
                </c:pt>
                <c:pt idx="3">
                  <c:v>0.9929622520793346</c:v>
                </c:pt>
                <c:pt idx="4">
                  <c:v>0.9924060751398881</c:v>
                </c:pt>
                <c:pt idx="5">
                  <c:v>0.9809523809523809</c:v>
                </c:pt>
                <c:pt idx="6">
                  <c:v>0.9780821917808219</c:v>
                </c:pt>
                <c:pt idx="7">
                  <c:v>0.972488038277512</c:v>
                </c:pt>
                <c:pt idx="8">
                  <c:v>0.9773299748110831</c:v>
                </c:pt>
              </c:numCache>
            </c:numRef>
          </c:yVal>
          <c:smooth val="0"/>
          <c:extLst>
            <c:ext xmlns:c16="http://schemas.microsoft.com/office/drawing/2014/chart" uri="{C3380CC4-5D6E-409C-BE32-E72D297353CC}">
              <c16:uniqueId val="{00000000-F32D-48B7-BC20-E66FC6253BAD}"/>
            </c:ext>
          </c:extLst>
        </c:ser>
        <c:ser>
          <c:idx val="1"/>
          <c:order val="1"/>
          <c:tx>
            <c:strRef>
              <c:f>Sheet1!$B$1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3:$A$64</c:f>
              <c:numCache>
                <c:formatCode>General</c:formatCode>
                <c:ptCount val="52"/>
                <c:pt idx="0">
                  <c:v>1332.101</c:v>
                </c:pt>
                <c:pt idx="1">
                  <c:v>1370.489</c:v>
                </c:pt>
                <c:pt idx="2">
                  <c:v>1357.5545</c:v>
                </c:pt>
                <c:pt idx="3">
                  <c:v>1382.16</c:v>
                </c:pt>
                <c:pt idx="4">
                  <c:v>1391.6087</c:v>
                </c:pt>
                <c:pt idx="5">
                  <c:v>1400.6125</c:v>
                </c:pt>
                <c:pt idx="6">
                  <c:v>1303.8093</c:v>
                </c:pt>
                <c:pt idx="7">
                  <c:v>1372.0</c:v>
                </c:pt>
                <c:pt idx="8">
                  <c:v>1454.0563</c:v>
                </c:pt>
                <c:pt idx="9">
                  <c:v>1394.1147</c:v>
                </c:pt>
                <c:pt idx="10">
                  <c:v>1422.7928</c:v>
                </c:pt>
                <c:pt idx="11">
                  <c:v>1258.6196</c:v>
                </c:pt>
                <c:pt idx="12">
                  <c:v>1268.2479</c:v>
                </c:pt>
                <c:pt idx="13">
                  <c:v>1334.704</c:v>
                </c:pt>
                <c:pt idx="14">
                  <c:v>1311.0085</c:v>
                </c:pt>
                <c:pt idx="15">
                  <c:v>1366.3894</c:v>
                </c:pt>
                <c:pt idx="16">
                  <c:v>1442.2796</c:v>
                </c:pt>
                <c:pt idx="17">
                  <c:v>1414.9631</c:v>
                </c:pt>
                <c:pt idx="18">
                  <c:v>1486.7612</c:v>
                </c:pt>
                <c:pt idx="19">
                  <c:v>1583.8856</c:v>
                </c:pt>
                <c:pt idx="20">
                  <c:v>1554.7405</c:v>
                </c:pt>
                <c:pt idx="21">
                  <c:v>1397.7198</c:v>
                </c:pt>
                <c:pt idx="22">
                  <c:v>1454.3593</c:v>
                </c:pt>
                <c:pt idx="23">
                  <c:v>1432.1395</c:v>
                </c:pt>
                <c:pt idx="24">
                  <c:v>1400.3079</c:v>
                </c:pt>
                <c:pt idx="25">
                  <c:v>1328.1961</c:v>
                </c:pt>
                <c:pt idx="26">
                  <c:v>1382.1662</c:v>
                </c:pt>
                <c:pt idx="27">
                  <c:v>1414.8763</c:v>
                </c:pt>
                <c:pt idx="28">
                  <c:v>1418.4019</c:v>
                </c:pt>
                <c:pt idx="29">
                  <c:v>1486.3072</c:v>
                </c:pt>
                <c:pt idx="30">
                  <c:v>1335.2274</c:v>
                </c:pt>
                <c:pt idx="31">
                  <c:v>1170.1482</c:v>
                </c:pt>
                <c:pt idx="32">
                  <c:v>1332.0167</c:v>
                </c:pt>
                <c:pt idx="33">
                  <c:v>1377.8407</c:v>
                </c:pt>
                <c:pt idx="34">
                  <c:v>1360.1892</c:v>
                </c:pt>
                <c:pt idx="35">
                  <c:v>1332.7523</c:v>
                </c:pt>
                <c:pt idx="36">
                  <c:v>1360.8333</c:v>
                </c:pt>
                <c:pt idx="37">
                  <c:v>1438.9806</c:v>
                </c:pt>
                <c:pt idx="38">
                  <c:v>1361.5591</c:v>
                </c:pt>
                <c:pt idx="39">
                  <c:v>1306.3932</c:v>
                </c:pt>
                <c:pt idx="40">
                  <c:v>1292.0041</c:v>
                </c:pt>
                <c:pt idx="41">
                  <c:v>1372.5967</c:v>
                </c:pt>
                <c:pt idx="42">
                  <c:v>1327.2531</c:v>
                </c:pt>
                <c:pt idx="43">
                  <c:v>1350.7752</c:v>
                </c:pt>
                <c:pt idx="44">
                  <c:v>1347.7504</c:v>
                </c:pt>
                <c:pt idx="45">
                  <c:v>1302.0</c:v>
                </c:pt>
                <c:pt idx="46">
                  <c:v>1302.9201</c:v>
                </c:pt>
                <c:pt idx="47">
                  <c:v>1309.232</c:v>
                </c:pt>
                <c:pt idx="48">
                  <c:v>1297.3181</c:v>
                </c:pt>
                <c:pt idx="49">
                  <c:v>1330.5928</c:v>
                </c:pt>
                <c:pt idx="50">
                  <c:v>1201.3501</c:v>
                </c:pt>
                <c:pt idx="51">
                  <c:v>1154.031</c:v>
                </c:pt>
              </c:numCache>
            </c:numRef>
          </c:xVal>
          <c:yVal>
            <c:numRef>
              <c:f>Sheet1!$B$13:$B$64</c:f>
              <c:numCache>
                <c:formatCode>General</c:formatCode>
                <c:ptCount val="52"/>
                <c:pt idx="0">
                  <c:v>0.9739819004524887</c:v>
                </c:pt>
                <c:pt idx="1">
                  <c:v>0.9735516372795969</c:v>
                </c:pt>
                <c:pt idx="2">
                  <c:v>0.9699481865284975</c:v>
                </c:pt>
                <c:pt idx="3">
                  <c:v>0.9732142857142857</c:v>
                </c:pt>
                <c:pt idx="4">
                  <c:v>0.9765208110992529</c:v>
                </c:pt>
                <c:pt idx="5">
                  <c:v>0.9752530933633295</c:v>
                </c:pt>
                <c:pt idx="6">
                  <c:v>0.9832089552238806</c:v>
                </c:pt>
                <c:pt idx="7">
                  <c:v>0.9839650145772595</c:v>
                </c:pt>
                <c:pt idx="8">
                  <c:v>0.9682299546142209</c:v>
                </c:pt>
                <c:pt idx="9">
                  <c:v>0.9702457956015524</c:v>
                </c:pt>
                <c:pt idx="10">
                  <c:v>0.9638989169675091</c:v>
                </c:pt>
                <c:pt idx="11">
                  <c:v>0.9830377794911334</c:v>
                </c:pt>
                <c:pt idx="12">
                  <c:v>0.972997299729973</c:v>
                </c:pt>
                <c:pt idx="13">
                  <c:v>0.9759277833500501</c:v>
                </c:pt>
                <c:pt idx="14">
                  <c:v>0.9752321981424149</c:v>
                </c:pt>
                <c:pt idx="15">
                  <c:v>0.9655990510083037</c:v>
                </c:pt>
                <c:pt idx="16">
                  <c:v>0.9559748427672956</c:v>
                </c:pt>
                <c:pt idx="17">
                  <c:v>0.9568627450980393</c:v>
                </c:pt>
                <c:pt idx="18">
                  <c:v>0.9477611940298507</c:v>
                </c:pt>
                <c:pt idx="19">
                  <c:v>0.9194630872483222</c:v>
                </c:pt>
                <c:pt idx="20">
                  <c:v>0.9296482412060302</c:v>
                </c:pt>
                <c:pt idx="21">
                  <c:v>0.9454545454545454</c:v>
                </c:pt>
                <c:pt idx="22">
                  <c:v>0.9570200573065902</c:v>
                </c:pt>
                <c:pt idx="23">
                  <c:v>0.9376947040498442</c:v>
                </c:pt>
                <c:pt idx="24">
                  <c:v>0.9516129032258065</c:v>
                </c:pt>
                <c:pt idx="25">
                  <c:v>0.9444444444444444</c:v>
                </c:pt>
                <c:pt idx="26">
                  <c:v>0.9568733153638814</c:v>
                </c:pt>
                <c:pt idx="27">
                  <c:v>0.9405940594059405</c:v>
                </c:pt>
                <c:pt idx="28">
                  <c:v>0.9511111111111111</c:v>
                </c:pt>
                <c:pt idx="29">
                  <c:v>0.9375</c:v>
                </c:pt>
                <c:pt idx="30">
                  <c:v>0.9263959390862944</c:v>
                </c:pt>
                <c:pt idx="31">
                  <c:v>0.9275</c:v>
                </c:pt>
                <c:pt idx="32">
                  <c:v>0.9478458049886621</c:v>
                </c:pt>
                <c:pt idx="33">
                  <c:v>0.9427244582043344</c:v>
                </c:pt>
                <c:pt idx="34">
                  <c:v>0.9474885844748858</c:v>
                </c:pt>
                <c:pt idx="35">
                  <c:v>0.9284712482468443</c:v>
                </c:pt>
                <c:pt idx="36">
                  <c:v>0.9096209912536443</c:v>
                </c:pt>
                <c:pt idx="37">
                  <c:v>0.8908045977011494</c:v>
                </c:pt>
                <c:pt idx="38">
                  <c:v>0.9287833827893175</c:v>
                </c:pt>
                <c:pt idx="39">
                  <c:v>0.9226519337016574</c:v>
                </c:pt>
                <c:pt idx="40">
                  <c:v>0.7151335311572701</c:v>
                </c:pt>
                <c:pt idx="41">
                  <c:v>0.8321917808219178</c:v>
                </c:pt>
                <c:pt idx="42">
                  <c:v>0.8809523809523809</c:v>
                </c:pt>
                <c:pt idx="43">
                  <c:v>0.8850771869639794</c:v>
                </c:pt>
                <c:pt idx="44">
                  <c:v>0.9068047337278107</c:v>
                </c:pt>
                <c:pt idx="45">
                  <c:v>0.9331243469174504</c:v>
                </c:pt>
                <c:pt idx="46">
                  <c:v>0.9308093994778068</c:v>
                </c:pt>
                <c:pt idx="47">
                  <c:v>0.9431396786155748</c:v>
                </c:pt>
                <c:pt idx="48">
                  <c:v>0.9531914893617022</c:v>
                </c:pt>
                <c:pt idx="49">
                  <c:v>0.9577221742881795</c:v>
                </c:pt>
                <c:pt idx="50">
                  <c:v>0.9723104857013164</c:v>
                </c:pt>
                <c:pt idx="51">
                  <c:v>0.9591078066914498</c:v>
                </c:pt>
              </c:numCache>
            </c:numRef>
          </c:yVal>
          <c:smooth val="0"/>
          <c:extLst>
            <c:ext xmlns:c16="http://schemas.microsoft.com/office/drawing/2014/chart" uri="{C3380CC4-5D6E-409C-BE32-E72D297353CC}">
              <c16:uniqueId val="{00000002-F32D-48B7-BC20-E66FC6253BAD}"/>
            </c:ext>
          </c:extLst>
        </c:ser>
        <c:ser>
          <c:idx val="2"/>
          <c:order val="2"/>
          <c:tx>
            <c:strRef>
              <c:f>Sheet1!$B$66</c:f>
              <c:strCache>
                <c:ptCount val="1"/>
                <c:pt idx="0">
                  <c:v>Custom Linep3yQ</c:v>
                </c:pt>
              </c:strCache>
            </c:strRef>
          </c:tx>
          <c:spPr>
            <a:ln w="19050" cap="rnd">
              <a:solidFill>
                <a:srgbClr val="C00000"/>
              </a:solidFill>
              <a:prstDash val="sysDot"/>
              <a:round/>
            </a:ln>
            <a:effectLst/>
          </c:spPr>
          <c:marker>
            <c:symbol val="none"/>
          </c:marker>
          <c:xVal>
            <c:numRef>
              <c:f>Sheet1!$A$67:$A$68</c:f>
              <c:numCache>
                <c:formatCode>General</c:formatCode>
                <c:ptCount val="2"/>
                <c:pt idx="0">
                  <c:v>0</c:v>
                </c:pt>
                <c:pt idx="1">
                  <c:v>9540.662266044601</c:v>
                </c:pt>
              </c:numCache>
            </c:numRef>
          </c:xVal>
          <c:yVal>
            <c:numRef>
              <c:f>Sheet1!$B$67:$B$68</c:f>
              <c:numCache>
                <c:formatCode>General</c:formatCode>
                <c:ptCount val="2"/>
                <c:pt idx="0">
                  <c:v>0.994268249917415</c:v>
                </c:pt>
                <c:pt idx="1">
                  <c:v>0.994268249917415</c:v>
                </c:pt>
              </c:numCache>
            </c:numRef>
          </c:yVal>
          <c:smooth val="0"/>
          <c:extLst>
            <c:ext xmlns:c16="http://schemas.microsoft.com/office/drawing/2014/chart" uri="{C3380CC4-5D6E-409C-BE32-E72D297353CC}">
              <c16:uniqueId val="{00000003-F32D-48B7-BC20-E66FC6253BAD}"/>
            </c:ext>
          </c:extLst>
        </c:ser>
        <c:ser>
          <c:idx val="3"/>
          <c:order val="3"/>
          <c:tx>
            <c:strRef>
              <c:f>Sheet1!$B$7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1:$A$72</c:f>
              <c:numCache>
                <c:formatCode>General</c:formatCode>
                <c:ptCount val="2"/>
                <c:pt idx="0">
                  <c:v>9540.662266044601</c:v>
                </c:pt>
                <c:pt idx="1">
                  <c:v>9540.662266044601</c:v>
                </c:pt>
              </c:numCache>
            </c:numRef>
          </c:xVal>
          <c:yVal>
            <c:numRef>
              <c:f>Sheet1!$B$71:$B$72</c:f>
              <c:numCache>
                <c:formatCode>General</c:formatCode>
                <c:ptCount val="2"/>
                <c:pt idx="0">
                  <c:v>0.99426824991741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7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75:$A$76</c:f>
              <c:numCache>
                <c:formatCode>General</c:formatCode>
                <c:ptCount val="2"/>
                <c:pt idx="0">
                  <c:v>0</c:v>
                </c:pt>
                <c:pt idx="1">
                  <c:v>6603.393797331428</c:v>
                </c:pt>
              </c:numCache>
            </c:numRef>
          </c:xVal>
          <c:yVal>
            <c:numRef>
              <c:f>Sheet1!$B$75:$B$76</c:f>
              <c:numCache>
                <c:formatCode>General</c:formatCode>
                <c:ptCount val="2"/>
                <c:pt idx="0">
                  <c:v>0.9753193154280902</c:v>
                </c:pt>
                <c:pt idx="1">
                  <c:v>0.9753193154280902</c:v>
                </c:pt>
              </c:numCache>
            </c:numRef>
          </c:yVal>
          <c:smooth val="0"/>
          <c:extLst>
            <c:ext xmlns:c16="http://schemas.microsoft.com/office/drawing/2014/chart" uri="{C3380CC4-5D6E-409C-BE32-E72D297353CC}">
              <c16:uniqueId val="{0000000A-F32D-48B7-BC20-E66FC6253BAD}"/>
            </c:ext>
          </c:extLst>
        </c:ser>
        <c:ser>
          <c:idx val="5"/>
          <c:order val="5"/>
          <c:tx>
            <c:strRef>
              <c:f>Sheet1!$B$7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9:$A$80</c:f>
              <c:numCache>
                <c:formatCode>General</c:formatCode>
                <c:ptCount val="2"/>
                <c:pt idx="0">
                  <c:v>6603.393797331428</c:v>
                </c:pt>
                <c:pt idx="1">
                  <c:v>6603.393797331428</c:v>
                </c:pt>
              </c:numCache>
            </c:numRef>
          </c:xVal>
          <c:yVal>
            <c:numRef>
              <c:f>Sheet1!$B$79:$B$80</c:f>
              <c:numCache>
                <c:formatCode>General</c:formatCode>
                <c:ptCount val="2"/>
                <c:pt idx="0">
                  <c:v>0.97531931542809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82</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83:$A$84</c:f>
              <c:numCache>
                <c:formatCode>General</c:formatCode>
                <c:ptCount val="2"/>
                <c:pt idx="0">
                  <c:v>0</c:v>
                </c:pt>
                <c:pt idx="1">
                  <c:v>-3972.251698140055</c:v>
                </c:pt>
              </c:numCache>
            </c:numRef>
          </c:xVal>
          <c:yVal>
            <c:numRef>
              <c:f>Sheet1!$B$83:$B$84</c:f>
              <c:numCache>
                <c:formatCode>General</c:formatCode>
                <c:ptCount val="2"/>
                <c:pt idx="0">
                  <c:v>0.9070936098752688</c:v>
                </c:pt>
                <c:pt idx="1">
                  <c:v>0.9070936098752688</c:v>
                </c:pt>
              </c:numCache>
            </c:numRef>
          </c:yVal>
          <c:smooth val="0"/>
          <c:extLst>
            <c:ext xmlns:c16="http://schemas.microsoft.com/office/drawing/2014/chart" uri="{C3380CC4-5D6E-409C-BE32-E72D297353CC}">
              <c16:uniqueId val="{00000011-F32D-48B7-BC20-E66FC6253BAD}"/>
            </c:ext>
          </c:extLst>
        </c:ser>
        <c:ser>
          <c:idx val="7"/>
          <c:order val="7"/>
          <c:tx>
            <c:strRef>
              <c:f>Sheet1!$B$86</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7:$A$88</c:f>
              <c:numCache>
                <c:formatCode>General</c:formatCode>
                <c:ptCount val="2"/>
                <c:pt idx="0">
                  <c:v>-3972.251698140055</c:v>
                </c:pt>
                <c:pt idx="1">
                  <c:v>-3972.251698140055</c:v>
                </c:pt>
              </c:numCache>
            </c:numRef>
          </c:xVal>
          <c:yVal>
            <c:numRef>
              <c:f>Sheet1!$B$87:$B$88</c:f>
              <c:numCache>
                <c:formatCode>General</c:formatCode>
                <c:ptCount val="2"/>
                <c:pt idx="0">
                  <c:v>0.90709360987526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90</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91:$A$145</c:f>
              <c:numCache>
                <c:formatCode>General</c:formatCode>
                <c:ptCount val="55"/>
                <c:pt idx="0">
                  <c:v>1332.101</c:v>
                </c:pt>
                <c:pt idx="1">
                  <c:v>1370.489</c:v>
                </c:pt>
                <c:pt idx="2">
                  <c:v>1357.5545</c:v>
                </c:pt>
                <c:pt idx="3">
                  <c:v>1382.16</c:v>
                </c:pt>
                <c:pt idx="4">
                  <c:v>1391.6087</c:v>
                </c:pt>
                <c:pt idx="5">
                  <c:v>1400.6125</c:v>
                </c:pt>
                <c:pt idx="6">
                  <c:v>1303.8093</c:v>
                </c:pt>
                <c:pt idx="7">
                  <c:v>1372.0</c:v>
                </c:pt>
                <c:pt idx="8">
                  <c:v>1454.0563</c:v>
                </c:pt>
                <c:pt idx="9">
                  <c:v>1394.1147</c:v>
                </c:pt>
                <c:pt idx="10">
                  <c:v>1422.7928</c:v>
                </c:pt>
                <c:pt idx="11">
                  <c:v>1258.6196</c:v>
                </c:pt>
                <c:pt idx="12">
                  <c:v>1268.2479</c:v>
                </c:pt>
                <c:pt idx="13">
                  <c:v>1334.704</c:v>
                </c:pt>
                <c:pt idx="14">
                  <c:v>1311.0085</c:v>
                </c:pt>
                <c:pt idx="15">
                  <c:v>1366.3894</c:v>
                </c:pt>
                <c:pt idx="16">
                  <c:v>1442.2796</c:v>
                </c:pt>
                <c:pt idx="17">
                  <c:v>1414.9631</c:v>
                </c:pt>
                <c:pt idx="18">
                  <c:v>1486.7612</c:v>
                </c:pt>
                <c:pt idx="19">
                  <c:v>1583.8856</c:v>
                </c:pt>
                <c:pt idx="20">
                  <c:v>1554.7405</c:v>
                </c:pt>
                <c:pt idx="21">
                  <c:v>1397.7198</c:v>
                </c:pt>
                <c:pt idx="22">
                  <c:v>1454.3593</c:v>
                </c:pt>
                <c:pt idx="23">
                  <c:v>1432.1395</c:v>
                </c:pt>
                <c:pt idx="24">
                  <c:v>1400.3079</c:v>
                </c:pt>
                <c:pt idx="25">
                  <c:v>1328.1961</c:v>
                </c:pt>
                <c:pt idx="26">
                  <c:v>1382.1662</c:v>
                </c:pt>
                <c:pt idx="27">
                  <c:v>1414.8763</c:v>
                </c:pt>
                <c:pt idx="28">
                  <c:v>1418.4019</c:v>
                </c:pt>
                <c:pt idx="29">
                  <c:v>1486.3072</c:v>
                </c:pt>
                <c:pt idx="30">
                  <c:v>1335.2274</c:v>
                </c:pt>
                <c:pt idx="31">
                  <c:v>1170.1482</c:v>
                </c:pt>
                <c:pt idx="32">
                  <c:v>1332.0167</c:v>
                </c:pt>
                <c:pt idx="33">
                  <c:v>1377.8407</c:v>
                </c:pt>
                <c:pt idx="34">
                  <c:v>1360.1892</c:v>
                </c:pt>
                <c:pt idx="35">
                  <c:v>1332.7523</c:v>
                </c:pt>
                <c:pt idx="36">
                  <c:v>1360.8333</c:v>
                </c:pt>
                <c:pt idx="37">
                  <c:v>1438.9806</c:v>
                </c:pt>
                <c:pt idx="38">
                  <c:v>1361.5591</c:v>
                </c:pt>
                <c:pt idx="39">
                  <c:v>1306.3932</c:v>
                </c:pt>
                <c:pt idx="40">
                  <c:v>1292.0041</c:v>
                </c:pt>
                <c:pt idx="41">
                  <c:v>1372.5967</c:v>
                </c:pt>
                <c:pt idx="42">
                  <c:v>1327.2531</c:v>
                </c:pt>
                <c:pt idx="43">
                  <c:v>1350.7752</c:v>
                </c:pt>
                <c:pt idx="44">
                  <c:v>1347.7504</c:v>
                </c:pt>
                <c:pt idx="45">
                  <c:v>1302.0</c:v>
                </c:pt>
                <c:pt idx="46">
                  <c:v>1302.9201</c:v>
                </c:pt>
                <c:pt idx="47">
                  <c:v>1309.232</c:v>
                </c:pt>
                <c:pt idx="48">
                  <c:v>1297.3181</c:v>
                </c:pt>
                <c:pt idx="49">
                  <c:v>1330.5928</c:v>
                </c:pt>
                <c:pt idx="50">
                  <c:v>1201.3501</c:v>
                </c:pt>
                <c:pt idx="51">
                  <c:v>1154.031</c:v>
                </c:pt>
                <c:pt idx="52">
                  <c:v>6603.393797331428</c:v>
                </c:pt>
                <c:pt idx="53">
                  <c:v>9540.662266044601</c:v>
                </c:pt>
                <c:pt idx="54">
                  <c:v>-3972.251698140055</c:v>
                </c:pt>
              </c:numCache>
            </c:numRef>
          </c:xVal>
          <c:yVal>
            <c:numRef>
              <c:f>Sheet1!$B$91:$B$145</c:f>
              <c:numCache>
                <c:formatCode>General</c:formatCode>
                <c:ptCount val="55"/>
                <c:pt idx="0">
                  <c:v>0.9413131008261125</c:v>
                </c:pt>
                <c:pt idx="1">
                  <c:v>0.941560749859534</c:v>
                </c:pt>
                <c:pt idx="2">
                  <c:v>0.9414773066891997</c:v>
                </c:pt>
                <c:pt idx="3">
                  <c:v>0.9416360419265617</c:v>
                </c:pt>
                <c:pt idx="4">
                  <c:v>0.9416969974705361</c:v>
                </c:pt>
                <c:pt idx="5">
                  <c:v>0.9417550828713677</c:v>
                </c:pt>
                <c:pt idx="6">
                  <c:v>0.9411305851399905</c:v>
                </c:pt>
                <c:pt idx="7">
                  <c:v>0.9415704976372119</c:v>
                </c:pt>
                <c:pt idx="8">
                  <c:v>0.942099860026009</c:v>
                </c:pt>
                <c:pt idx="9">
                  <c:v>0.9417131642017478</c:v>
                </c:pt>
                <c:pt idx="10">
                  <c:v>0.9418981726352522</c:v>
                </c:pt>
                <c:pt idx="11">
                  <c:v>0.9408390569143573</c:v>
                </c:pt>
                <c:pt idx="12">
                  <c:v>0.9409011710955726</c:v>
                </c:pt>
                <c:pt idx="13">
                  <c:v>0.9413298933246536</c:v>
                </c:pt>
                <c:pt idx="14">
                  <c:v>0.9411770286880109</c:v>
                </c:pt>
                <c:pt idx="15">
                  <c:v>0.9415343024807329</c:v>
                </c:pt>
                <c:pt idx="16">
                  <c:v>0.9420238860661284</c:v>
                </c:pt>
                <c:pt idx="17">
                  <c:v>0.9418476615995905</c:v>
                </c:pt>
                <c:pt idx="18">
                  <c:v>0.9423108461902568</c:v>
                </c:pt>
                <c:pt idx="19">
                  <c:v>0.9429374160501516</c:v>
                </c:pt>
                <c:pt idx="20">
                  <c:v>0.9427493949017726</c:v>
                </c:pt>
                <c:pt idx="21">
                  <c:v>0.9417364214574108</c:v>
                </c:pt>
                <c:pt idx="22">
                  <c:v>0.9421018147425122</c:v>
                </c:pt>
                <c:pt idx="23">
                  <c:v>0.9419584701558492</c:v>
                </c:pt>
                <c:pt idx="24">
                  <c:v>0.941753117832929</c:v>
                </c:pt>
                <c:pt idx="25">
                  <c:v>0.941287909497817</c:v>
                </c:pt>
                <c:pt idx="26">
                  <c:v>0.9416360819240611</c:v>
                </c:pt>
                <c:pt idx="27">
                  <c:v>0.9418471016345988</c:v>
                </c:pt>
                <c:pt idx="28">
                  <c:v>0.9418698460191</c:v>
                </c:pt>
                <c:pt idx="29">
                  <c:v>0.9423079173411067</c:v>
                </c:pt>
                <c:pt idx="30">
                  <c:v>0.9413332698877487</c:v>
                </c:pt>
                <c:pt idx="31">
                  <c:v>0.9402683093709728</c:v>
                </c:pt>
                <c:pt idx="32">
                  <c:v>0.9413125569891447</c:v>
                </c:pt>
                <c:pt idx="33">
                  <c:v>0.9416081772170156</c:v>
                </c:pt>
                <c:pt idx="34">
                  <c:v>0.9414943036910846</c:v>
                </c:pt>
                <c:pt idx="35">
                  <c:v>0.941317302498913</c:v>
                </c:pt>
                <c:pt idx="36">
                  <c:v>0.9414984589151761</c:v>
                </c:pt>
                <c:pt idx="37">
                  <c:v>0.9420026035257185</c:v>
                </c:pt>
                <c:pt idx="38">
                  <c:v>0.9415031412030905</c:v>
                </c:pt>
                <c:pt idx="39">
                  <c:v>0.9411472544204286</c:v>
                </c:pt>
                <c:pt idx="40">
                  <c:v>0.9410544273206369</c:v>
                </c:pt>
                <c:pt idx="41">
                  <c:v>0.9415743470739693</c:v>
                </c:pt>
                <c:pt idx="42">
                  <c:v>0.9412818260071815</c:v>
                </c:pt>
                <c:pt idx="43">
                  <c:v>0.9414335720040826</c:v>
                </c:pt>
                <c:pt idx="44">
                  <c:v>0.94141405838534</c:v>
                </c:pt>
                <c:pt idx="45">
                  <c:v>0.9411189129664944</c:v>
                </c:pt>
                <c:pt idx="46">
                  <c:v>0.9411248487244305</c:v>
                </c:pt>
                <c:pt idx="47">
                  <c:v>0.941165568114189</c:v>
                </c:pt>
                <c:pt idx="48">
                  <c:v>0.941088709048354</c:v>
                </c:pt>
                <c:pt idx="49">
                  <c:v>0.9413033711118214</c:v>
                </c:pt>
                <c:pt idx="50">
                  <c:v>0.9404695993672194</c:v>
                </c:pt>
                <c:pt idx="51">
                  <c:v>0.9401643339359029</c:v>
                </c:pt>
                <c:pt idx="52">
                  <c:v>0.9753193154280902</c:v>
                </c:pt>
                <c:pt idx="53">
                  <c:v>0.994268249917415</c:v>
                </c:pt>
                <c:pt idx="54">
                  <c:v>0.907093609875268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144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572106824925816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7</c:f>
              <c:numCache>
                <c:formatCode>General</c:formatCode>
                <c:ptCount val="56"/>
                <c:pt idx="0">
                  <c:v>0.0</c:v>
                </c:pt>
                <c:pt idx="1">
                  <c:v>0.5515182503821541</c:v>
                </c:pt>
                <c:pt idx="2">
                  <c:v>0.6272663174858985</c:v>
                </c:pt>
                <c:pt idx="3">
                  <c:v>0.5886192284755282</c:v>
                </c:pt>
                <c:pt idx="4">
                  <c:v>0.6112803516319087</c:v>
                </c:pt>
                <c:pt idx="5">
                  <c:v>0.6971241142773298</c:v>
                </c:pt>
                <c:pt idx="6">
                  <c:v>0.6735856662498215</c:v>
                </c:pt>
                <c:pt idx="7">
                  <c:v>0.8030927162367224</c:v>
                </c:pt>
                <c:pt idx="8">
                  <c:v>0.6056381798002219</c:v>
                </c:pt>
                <c:pt idx="9">
                  <c:v>0.5826012079831933</c:v>
                </c:pt>
                <c:pt idx="10">
                  <c:v>0.6169031827459107</c:v>
                </c:pt>
                <c:pt idx="11">
                  <c:v>0.6741838720362108</c:v>
                </c:pt>
                <c:pt idx="12">
                  <c:v>0.8108580038018757</c:v>
                </c:pt>
                <c:pt idx="13">
                  <c:v>0.5286469467787115</c:v>
                </c:pt>
                <c:pt idx="14">
                  <c:v>0.6484210302958858</c:v>
                </c:pt>
                <c:pt idx="15">
                  <c:v>0.7499046446391033</c:v>
                </c:pt>
                <c:pt idx="16">
                  <c:v>0.6887452471482889</c:v>
                </c:pt>
                <c:pt idx="17">
                  <c:v>0.6140514503816794</c:v>
                </c:pt>
                <c:pt idx="18">
                  <c:v>0.6184746466768526</c:v>
                </c:pt>
                <c:pt idx="19">
                  <c:v>0.7988123223267002</c:v>
                </c:pt>
                <c:pt idx="20">
                  <c:v>0.8589015794937097</c:v>
                </c:pt>
                <c:pt idx="21">
                  <c:v>0.6376117346427498</c:v>
                </c:pt>
                <c:pt idx="22">
                  <c:v>0.5137550901443745</c:v>
                </c:pt>
                <c:pt idx="23">
                  <c:v>0.44453685086155675</c:v>
                </c:pt>
                <c:pt idx="24">
                  <c:v>0.32901652734658116</c:v>
                </c:pt>
                <c:pt idx="25">
                  <c:v>0.4123261119081779</c:v>
                </c:pt>
                <c:pt idx="26">
                  <c:v>0.41397610779791777</c:v>
                </c:pt>
                <c:pt idx="27">
                  <c:v>0.3732141282300026</c:v>
                </c:pt>
                <c:pt idx="28">
                  <c:v>0.6773800005610351</c:v>
                </c:pt>
                <c:pt idx="29">
                  <c:v>0.5999243951612904</c:v>
                </c:pt>
                <c:pt idx="30">
                  <c:v>0.5614761416500994</c:v>
                </c:pt>
                <c:pt idx="31">
                  <c:v>0.3981570673076923</c:v>
                </c:pt>
                <c:pt idx="32">
                  <c:v>0.6386725379909216</c:v>
                </c:pt>
                <c:pt idx="33">
                  <c:v>0.6743295019157088</c:v>
                </c:pt>
                <c:pt idx="34">
                  <c:v>0.6554607930570103</c:v>
                </c:pt>
                <c:pt idx="35">
                  <c:v>0.70080575347939</c:v>
                </c:pt>
                <c:pt idx="36">
                  <c:v>0.6349339627162506</c:v>
                </c:pt>
                <c:pt idx="37">
                  <c:v>0.6286136124734872</c:v>
                </c:pt>
                <c:pt idx="38">
                  <c:v>0.6043253115856342</c:v>
                </c:pt>
                <c:pt idx="39">
                  <c:v>0.7433483924082388</c:v>
                </c:pt>
                <c:pt idx="40">
                  <c:v>0.7729962423062351</c:v>
                </c:pt>
                <c:pt idx="41">
                  <c:v>0.7349400568532938</c:v>
                </c:pt>
                <c:pt idx="42">
                  <c:v>0.6985874445711496</c:v>
                </c:pt>
                <c:pt idx="43">
                  <c:v>0.7222094262924802</c:v>
                </c:pt>
                <c:pt idx="44">
                  <c:v>0.6760185417850921</c:v>
                </c:pt>
                <c:pt idx="45">
                  <c:v>0.6036458575906851</c:v>
                </c:pt>
                <c:pt idx="46">
                  <c:v>0.5446543620474535</c:v>
                </c:pt>
                <c:pt idx="47">
                  <c:v>0.5753228762222548</c:v>
                </c:pt>
                <c:pt idx="48">
                  <c:v>0.4965504777565848</c:v>
                </c:pt>
                <c:pt idx="49">
                  <c:v>0.6466159046522109</c:v>
                </c:pt>
                <c:pt idx="50">
                  <c:v>0.6608352039609245</c:v>
                </c:pt>
                <c:pt idx="51">
                  <c:v>0.652515640418202</c:v>
                </c:pt>
                <c:pt idx="52">
                  <c:v>0.7373022617575978</c:v>
                </c:pt>
                <c:pt idx="53">
                  <c:v>0.583544417729072</c:v>
                </c:pt>
                <c:pt idx="54">
                  <c:v>0.6723374100719425</c:v>
                </c:pt>
                <c:pt idx="55">
                  <c:v>0.584583142204646</c:v>
                </c:pt>
              </c:numCache>
            </c:numRef>
          </c:xVal>
          <c:yVal>
            <c:numRef>
              <c:f>Sheet1!$B$2:$B$57</c:f>
              <c:numCache>
                <c:formatCode>General</c:formatCode>
                <c:ptCount val="56"/>
                <c:pt idx="0">
                  <c:v>0.9777777777777777</c:v>
                </c:pt>
                <c:pt idx="1">
                  <c:v>0.7096774193548387</c:v>
                </c:pt>
                <c:pt idx="2">
                  <c:v>0.4827586206896552</c:v>
                </c:pt>
                <c:pt idx="3">
                  <c:v>0.5135135135135135</c:v>
                </c:pt>
                <c:pt idx="4">
                  <c:v>0.5428571428571428</c:v>
                </c:pt>
                <c:pt idx="5">
                  <c:v>0.4827586206896552</c:v>
                </c:pt>
                <c:pt idx="6">
                  <c:v>0.59375</c:v>
                </c:pt>
                <c:pt idx="7">
                  <c:v>0.45161290322580644</c:v>
                </c:pt>
                <c:pt idx="8">
                  <c:v>0.6666666666666666</c:v>
                </c:pt>
                <c:pt idx="9">
                  <c:v>0.7746478873239436</c:v>
                </c:pt>
                <c:pt idx="10">
                  <c:v>0.7288135593220338</c:v>
                </c:pt>
                <c:pt idx="11">
                  <c:v>0.7428571428571429</c:v>
                </c:pt>
                <c:pt idx="12">
                  <c:v>0.7317073170731707</c:v>
                </c:pt>
                <c:pt idx="13">
                  <c:v>0.7796610169491526</c:v>
                </c:pt>
                <c:pt idx="14">
                  <c:v>0.6428571428571429</c:v>
                </c:pt>
                <c:pt idx="15">
                  <c:v>0.5882352941176471</c:v>
                </c:pt>
                <c:pt idx="16">
                  <c:v>0.5952380952380952</c:v>
                </c:pt>
                <c:pt idx="17">
                  <c:v>0.6792452830188679</c:v>
                </c:pt>
                <c:pt idx="18">
                  <c:v>0.6428571428571429</c:v>
                </c:pt>
                <c:pt idx="19">
                  <c:v>0.5161290322580645</c:v>
                </c:pt>
                <c:pt idx="20">
                  <c:v>0.5263157894736842</c:v>
                </c:pt>
                <c:pt idx="21">
                  <c:v>0.5238095238095238</c:v>
                </c:pt>
                <c:pt idx="22">
                  <c:v>0.75</c:v>
                </c:pt>
                <c:pt idx="23">
                  <c:v>0.75</c:v>
                </c:pt>
                <c:pt idx="24">
                  <c:v>0.7346938775510204</c:v>
                </c:pt>
                <c:pt idx="25">
                  <c:v>0.6216216216216216</c:v>
                </c:pt>
                <c:pt idx="26">
                  <c:v>0.5588235294117647</c:v>
                </c:pt>
                <c:pt idx="27">
                  <c:v>0.6153846153846154</c:v>
                </c:pt>
                <c:pt idx="28">
                  <c:v>0.38095238095238093</c:v>
                </c:pt>
                <c:pt idx="29">
                  <c:v>0.42105263157894735</c:v>
                </c:pt>
                <c:pt idx="30">
                  <c:v>0.5</c:v>
                </c:pt>
                <c:pt idx="31">
                  <c:v>0.6</c:v>
                </c:pt>
                <c:pt idx="32">
                  <c:v>0.34210526315789475</c:v>
                </c:pt>
                <c:pt idx="33">
                  <c:v>0.29411764705882354</c:v>
                </c:pt>
                <c:pt idx="34">
                  <c:v>0.36</c:v>
                </c:pt>
                <c:pt idx="35">
                  <c:v>0.2727272727272727</c:v>
                </c:pt>
                <c:pt idx="36">
                  <c:v>0.5454545454545454</c:v>
                </c:pt>
                <c:pt idx="37">
                  <c:v>0.39473684210526316</c:v>
                </c:pt>
                <c:pt idx="38">
                  <c:v>0.3877551020408163</c:v>
                </c:pt>
                <c:pt idx="39">
                  <c:v>0.32727272727272727</c:v>
                </c:pt>
                <c:pt idx="40">
                  <c:v>0.4864864864864865</c:v>
                </c:pt>
                <c:pt idx="41">
                  <c:v>0.45454545454545453</c:v>
                </c:pt>
                <c:pt idx="42">
                  <c:v>0.32558139534883723</c:v>
                </c:pt>
                <c:pt idx="43">
                  <c:v>0.3148148148148148</c:v>
                </c:pt>
                <c:pt idx="44">
                  <c:v>0.32653061224489793</c:v>
                </c:pt>
                <c:pt idx="45">
                  <c:v>0.32075471698113206</c:v>
                </c:pt>
                <c:pt idx="46">
                  <c:v>0.30952380952380953</c:v>
                </c:pt>
                <c:pt idx="47">
                  <c:v>0.4</c:v>
                </c:pt>
                <c:pt idx="48">
                  <c:v>0.4222222222222222</c:v>
                </c:pt>
                <c:pt idx="49">
                  <c:v>0.5238095238095238</c:v>
                </c:pt>
                <c:pt idx="50">
                  <c:v>0.5964912280701754</c:v>
                </c:pt>
                <c:pt idx="51">
                  <c:v>0.4603174603174603</c:v>
                </c:pt>
                <c:pt idx="52">
                  <c:v>0.3404255319148936</c:v>
                </c:pt>
                <c:pt idx="53">
                  <c:v>0.46875</c:v>
                </c:pt>
                <c:pt idx="54">
                  <c:v>0.4473684210526316</c:v>
                </c:pt>
                <c:pt idx="55">
                  <c:v>0.4</c:v>
                </c:pt>
              </c:numCache>
            </c:numRef>
          </c:yVal>
          <c:smooth val="0"/>
          <c:extLst>
            <c:ext xmlns:c16="http://schemas.microsoft.com/office/drawing/2014/chart" uri="{C3380CC4-5D6E-409C-BE32-E72D297353CC}">
              <c16:uniqueId val="{00000000-096C-4121-9522-6AB7243CCAAE}"/>
            </c:ext>
          </c:extLst>
        </c:ser>
        <c:ser>
          <c:idx val="1"/>
          <c:order val="1"/>
          <c:tx>
            <c:strRef>
              <c:f>Sheet1!$B$5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0:$A$111</c:f>
              <c:numCache>
                <c:formatCode>General</c:formatCode>
                <c:ptCount val="52"/>
                <c:pt idx="0">
                  <c:v>0.773814685919329</c:v>
                </c:pt>
                <c:pt idx="1">
                  <c:v>0.6582560315115706</c:v>
                </c:pt>
                <c:pt idx="2">
                  <c:v>0.6331142442239822</c:v>
                </c:pt>
                <c:pt idx="3">
                  <c:v>0.6682882378176497</c:v>
                </c:pt>
                <c:pt idx="4">
                  <c:v>0.6006177112659055</c:v>
                </c:pt>
                <c:pt idx="5">
                  <c:v>0.6380372863278757</c:v>
                </c:pt>
                <c:pt idx="6">
                  <c:v>0.5062379243674892</c:v>
                </c:pt>
                <c:pt idx="7">
                  <c:v>0.5054523607655165</c:v>
                </c:pt>
                <c:pt idx="8">
                  <c:v>0.642081957488878</c:v>
                </c:pt>
                <c:pt idx="9">
                  <c:v>0.5653406888089589</c:v>
                </c:pt>
                <c:pt idx="10">
                  <c:v>0.562566010387728</c:v>
                </c:pt>
                <c:pt idx="11">
                  <c:v>0.498328128342246</c:v>
                </c:pt>
                <c:pt idx="12">
                  <c:v>0.39691132818362296</c:v>
                </c:pt>
                <c:pt idx="13">
                  <c:v>0.3904371008802871</c:v>
                </c:pt>
                <c:pt idx="14">
                  <c:v>0.3919700801508086</c:v>
                </c:pt>
                <c:pt idx="15">
                  <c:v>0.39487653024343894</c:v>
                </c:pt>
                <c:pt idx="16">
                  <c:v>0.4408166126784502</c:v>
                </c:pt>
                <c:pt idx="17">
                  <c:v>0.2694523921530451</c:v>
                </c:pt>
                <c:pt idx="18">
                  <c:v>0.40294632470803754</c:v>
                </c:pt>
                <c:pt idx="19">
                  <c:v>0.3887333534478304</c:v>
                </c:pt>
                <c:pt idx="20">
                  <c:v>0.3436207045248958</c:v>
                </c:pt>
                <c:pt idx="21">
                  <c:v>0.5632775735995422</c:v>
                </c:pt>
                <c:pt idx="22">
                  <c:v>0.5166204175101465</c:v>
                </c:pt>
                <c:pt idx="23">
                  <c:v>0.6049795249027051</c:v>
                </c:pt>
                <c:pt idx="24">
                  <c:v>0.4808405460750853</c:v>
                </c:pt>
                <c:pt idx="25">
                  <c:v>0.4163483678483679</c:v>
                </c:pt>
                <c:pt idx="26">
                  <c:v>0.5564195967338778</c:v>
                </c:pt>
                <c:pt idx="27">
                  <c:v>0.4814823093289167</c:v>
                </c:pt>
                <c:pt idx="28">
                  <c:v>0.6389809218961884</c:v>
                </c:pt>
                <c:pt idx="29">
                  <c:v>0.6017631605636267</c:v>
                </c:pt>
                <c:pt idx="30">
                  <c:v>0.7982971447822791</c:v>
                </c:pt>
                <c:pt idx="31">
                  <c:v>0.8547130206249901</c:v>
                </c:pt>
                <c:pt idx="32">
                  <c:v>0.6667345809233819</c:v>
                </c:pt>
                <c:pt idx="33">
                  <c:v>0.566544772265167</c:v>
                </c:pt>
                <c:pt idx="34">
                  <c:v>0.8110950040074807</c:v>
                </c:pt>
                <c:pt idx="35">
                  <c:v>0.6398687598250117</c:v>
                </c:pt>
                <c:pt idx="36">
                  <c:v>0.5875671479355015</c:v>
                </c:pt>
                <c:pt idx="37">
                  <c:v>0.349883652902544</c:v>
                </c:pt>
                <c:pt idx="38">
                  <c:v>0.30951707429200365</c:v>
                </c:pt>
                <c:pt idx="39">
                  <c:v>0.4586549058957517</c:v>
                </c:pt>
                <c:pt idx="40">
                  <c:v>0.4090239019407559</c:v>
                </c:pt>
                <c:pt idx="41">
                  <c:v>0.40619146730577055</c:v>
                </c:pt>
                <c:pt idx="42">
                  <c:v>0.5962632718034045</c:v>
                </c:pt>
                <c:pt idx="43">
                  <c:v>0.44371922906381234</c:v>
                </c:pt>
                <c:pt idx="44">
                  <c:v>0.4255966266048468</c:v>
                </c:pt>
                <c:pt idx="45">
                  <c:v>0.5422281548113826</c:v>
                </c:pt>
                <c:pt idx="46">
                  <c:v>0.4267269146220224</c:v>
                </c:pt>
                <c:pt idx="47">
                  <c:v>0.3142894361897008</c:v>
                </c:pt>
                <c:pt idx="48">
                  <c:v>0.47318519357430694</c:v>
                </c:pt>
                <c:pt idx="49">
                  <c:v>0.5833814475492441</c:v>
                </c:pt>
                <c:pt idx="50">
                  <c:v>0.6071834792656815</c:v>
                </c:pt>
                <c:pt idx="51">
                  <c:v>0.6990082380434327</c:v>
                </c:pt>
              </c:numCache>
            </c:numRef>
          </c:xVal>
          <c:yVal>
            <c:numRef>
              <c:f>Sheet1!$B$60:$B$111</c:f>
              <c:numCache>
                <c:formatCode>General</c:formatCode>
                <c:ptCount val="52"/>
                <c:pt idx="0">
                  <c:v>0.3333333333333333</c:v>
                </c:pt>
                <c:pt idx="1">
                  <c:v>0.7439024390243902</c:v>
                </c:pt>
                <c:pt idx="2">
                  <c:v>0.8692307692307693</c:v>
                </c:pt>
                <c:pt idx="3">
                  <c:v>0.8322147651006712</c:v>
                </c:pt>
                <c:pt idx="4">
                  <c:v>0.8211382113821138</c:v>
                </c:pt>
                <c:pt idx="5">
                  <c:v>0.8</c:v>
                </c:pt>
                <c:pt idx="6">
                  <c:v>0.8636363636363636</c:v>
                </c:pt>
                <c:pt idx="7">
                  <c:v>0.9101123595505618</c:v>
                </c:pt>
                <c:pt idx="8">
                  <c:v>0.7213114754098361</c:v>
                </c:pt>
                <c:pt idx="9">
                  <c:v>0.7272727272727273</c:v>
                </c:pt>
                <c:pt idx="10">
                  <c:v>0.7469879518072289</c:v>
                </c:pt>
                <c:pt idx="11">
                  <c:v>0.7837837837837838</c:v>
                </c:pt>
                <c:pt idx="12">
                  <c:v>0.8130081300813008</c:v>
                </c:pt>
                <c:pt idx="13">
                  <c:v>0.823076923076923</c:v>
                </c:pt>
                <c:pt idx="14">
                  <c:v>0.8367346938775511</c:v>
                </c:pt>
                <c:pt idx="15">
                  <c:v>0.8024691358024691</c:v>
                </c:pt>
                <c:pt idx="16">
                  <c:v>0.7710843373493976</c:v>
                </c:pt>
                <c:pt idx="17">
                  <c:v>0.8947368421052632</c:v>
                </c:pt>
                <c:pt idx="18">
                  <c:v>0.7346938775510204</c:v>
                </c:pt>
                <c:pt idx="19">
                  <c:v>0.7096774193548387</c:v>
                </c:pt>
                <c:pt idx="20">
                  <c:v>0.7045454545454546</c:v>
                </c:pt>
                <c:pt idx="21">
                  <c:v>0.5</c:v>
                </c:pt>
                <c:pt idx="22">
                  <c:v>0.5666666666666667</c:v>
                </c:pt>
                <c:pt idx="23">
                  <c:v>0.5945945945945946</c:v>
                </c:pt>
                <c:pt idx="24">
                  <c:v>0.6071428571428571</c:v>
                </c:pt>
                <c:pt idx="25">
                  <c:v>0.6538461538461539</c:v>
                </c:pt>
                <c:pt idx="26">
                  <c:v>0.5</c:v>
                </c:pt>
                <c:pt idx="27">
                  <c:v>0.4117647058823529</c:v>
                </c:pt>
                <c:pt idx="28">
                  <c:v>0.40476190476190477</c:v>
                </c:pt>
                <c:pt idx="29">
                  <c:v>0.3939393939393939</c:v>
                </c:pt>
                <c:pt idx="30">
                  <c:v>0.275</c:v>
                </c:pt>
                <c:pt idx="31">
                  <c:v>0.21875</c:v>
                </c:pt>
                <c:pt idx="32">
                  <c:v>0.40540540540540543</c:v>
                </c:pt>
                <c:pt idx="33">
                  <c:v>0.48</c:v>
                </c:pt>
                <c:pt idx="34">
                  <c:v>0.32941176470588235</c:v>
                </c:pt>
                <c:pt idx="35">
                  <c:v>0.2894736842105263</c:v>
                </c:pt>
                <c:pt idx="36">
                  <c:v>0.3333333333333333</c:v>
                </c:pt>
                <c:pt idx="37">
                  <c:v>0.5256410256410257</c:v>
                </c:pt>
                <c:pt idx="38">
                  <c:v>0.5</c:v>
                </c:pt>
                <c:pt idx="39">
                  <c:v>0.36486486486486486</c:v>
                </c:pt>
                <c:pt idx="40">
                  <c:v>0.22413793103448276</c:v>
                </c:pt>
                <c:pt idx="41">
                  <c:v>0.3026315789473684</c:v>
                </c:pt>
                <c:pt idx="42">
                  <c:v>0.21212121212121213</c:v>
                </c:pt>
                <c:pt idx="43">
                  <c:v>0.2558139534883721</c:v>
                </c:pt>
                <c:pt idx="44">
                  <c:v>0.18018018018018017</c:v>
                </c:pt>
                <c:pt idx="45">
                  <c:v>0.2236842105263158</c:v>
                </c:pt>
                <c:pt idx="46">
                  <c:v>0.2948717948717949</c:v>
                </c:pt>
                <c:pt idx="47">
                  <c:v>0.3142857142857143</c:v>
                </c:pt>
                <c:pt idx="48">
                  <c:v>0.32786885245901637</c:v>
                </c:pt>
                <c:pt idx="49">
                  <c:v>0.3108108108108108</c:v>
                </c:pt>
                <c:pt idx="50">
                  <c:v>0.2840909090909091</c:v>
                </c:pt>
                <c:pt idx="51">
                  <c:v>0.265625</c:v>
                </c:pt>
              </c:numCache>
            </c:numRef>
          </c:yVal>
          <c:smooth val="0"/>
          <c:extLst>
            <c:ext xmlns:c16="http://schemas.microsoft.com/office/drawing/2014/chart" uri="{C3380CC4-5D6E-409C-BE32-E72D297353CC}">
              <c16:uniqueId val="{00000002-096C-4121-9522-6AB7243CCAAE}"/>
            </c:ext>
          </c:extLst>
        </c:ser>
        <c:ser>
          <c:idx val="2"/>
          <c:order val="2"/>
          <c:tx>
            <c:strRef>
              <c:f>Sheet1!$B$1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4:$A$115</c:f>
              <c:numCache>
                <c:formatCode>General</c:formatCode>
                <c:ptCount val="2"/>
                <c:pt idx="0">
                  <c:v>0</c:v>
                </c:pt>
                <c:pt idx="1">
                  <c:v>0.04637696587547261</c:v>
                </c:pt>
              </c:numCache>
            </c:numRef>
          </c:xVal>
          <c:yVal>
            <c:numRef>
              <c:f>Sheet1!$B$114:$B$115</c:f>
              <c:numCache>
                <c:formatCode>General</c:formatCode>
                <c:ptCount val="2"/>
                <c:pt idx="0">
                  <c:v>0.7575439443544584</c:v>
                </c:pt>
                <c:pt idx="1">
                  <c:v>0.7575439443544584</c:v>
                </c:pt>
              </c:numCache>
            </c:numRef>
          </c:yVal>
          <c:smooth val="0"/>
          <c:extLst>
            <c:ext xmlns:c16="http://schemas.microsoft.com/office/drawing/2014/chart" uri="{C3380CC4-5D6E-409C-BE32-E72D297353CC}">
              <c16:uniqueId val="{00000005-096C-4121-9522-6AB7243CCAAE}"/>
            </c:ext>
          </c:extLst>
        </c:ser>
        <c:ser>
          <c:idx val="3"/>
          <c:order val="3"/>
          <c:tx>
            <c:strRef>
              <c:f>Sheet1!$B$1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8:$A$119</c:f>
              <c:numCache>
                <c:formatCode>General</c:formatCode>
                <c:ptCount val="2"/>
                <c:pt idx="0">
                  <c:v>0.04637696587547261</c:v>
                </c:pt>
                <c:pt idx="1">
                  <c:v>0.04637696587547261</c:v>
                </c:pt>
              </c:numCache>
            </c:numRef>
          </c:xVal>
          <c:yVal>
            <c:numRef>
              <c:f>Sheet1!$B$118:$B$119</c:f>
              <c:numCache>
                <c:formatCode>General</c:formatCode>
                <c:ptCount val="2"/>
                <c:pt idx="0">
                  <c:v>0.757543944354458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2:$A$123</c:f>
              <c:numCache>
                <c:formatCode>General</c:formatCode>
                <c:ptCount val="2"/>
                <c:pt idx="0">
                  <c:v>0</c:v>
                </c:pt>
                <c:pt idx="1">
                  <c:v>0.02787296998106965</c:v>
                </c:pt>
              </c:numCache>
            </c:numRef>
          </c:xVal>
          <c:yVal>
            <c:numRef>
              <c:f>Sheet1!$B$122:$B$123</c:f>
              <c:numCache>
                <c:formatCode>General</c:formatCode>
                <c:ptCount val="2"/>
                <c:pt idx="0">
                  <c:v>0.7660977462964488</c:v>
                </c:pt>
                <c:pt idx="1">
                  <c:v>0.7660977462964488</c:v>
                </c:pt>
              </c:numCache>
            </c:numRef>
          </c:yVal>
          <c:smooth val="0"/>
          <c:extLst>
            <c:ext xmlns:c16="http://schemas.microsoft.com/office/drawing/2014/chart" uri="{C3380CC4-5D6E-409C-BE32-E72D297353CC}">
              <c16:uniqueId val="{0000000D-096C-4121-9522-6AB7243CCAAE}"/>
            </c:ext>
          </c:extLst>
        </c:ser>
        <c:ser>
          <c:idx val="5"/>
          <c:order val="5"/>
          <c:tx>
            <c:strRef>
              <c:f>Sheet1!$B$1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0.02787296998106965</c:v>
                </c:pt>
                <c:pt idx="1">
                  <c:v>0.02787296998106965</c:v>
                </c:pt>
              </c:numCache>
            </c:numRef>
          </c:xVal>
          <c:yVal>
            <c:numRef>
              <c:f>Sheet1!$B$126:$B$127</c:f>
              <c:numCache>
                <c:formatCode>General</c:formatCode>
                <c:ptCount val="2"/>
                <c:pt idx="0">
                  <c:v>0.766097746296448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9</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0:$A$131</c:f>
              <c:numCache>
                <c:formatCode>General</c:formatCode>
                <c:ptCount val="2"/>
                <c:pt idx="0">
                  <c:v>0</c:v>
                </c:pt>
                <c:pt idx="1">
                  <c:v>1.092571055010699</c:v>
                </c:pt>
              </c:numCache>
            </c:numRef>
          </c:xVal>
          <c:yVal>
            <c:numRef>
              <c:f>Sheet1!$B$130:$B$131</c:f>
              <c:numCache>
                <c:formatCode>General</c:formatCode>
                <c:ptCount val="2"/>
                <c:pt idx="0">
                  <c:v>0.27392207789854167</c:v>
                </c:pt>
                <c:pt idx="1">
                  <c:v>0.27392207789854167</c:v>
                </c:pt>
              </c:numCache>
            </c:numRef>
          </c:yVal>
          <c:smooth val="0"/>
          <c:extLst>
            <c:ext xmlns:c16="http://schemas.microsoft.com/office/drawing/2014/chart" uri="{C3380CC4-5D6E-409C-BE32-E72D297353CC}">
              <c16:uniqueId val="{00000015-096C-4121-9522-6AB7243CCAAE}"/>
            </c:ext>
          </c:extLst>
        </c:ser>
        <c:ser>
          <c:idx val="7"/>
          <c:order val="7"/>
          <c:tx>
            <c:strRef>
              <c:f>Sheet1!$B$133</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1.092571055010699</c:v>
                </c:pt>
                <c:pt idx="1">
                  <c:v>1.092571055010699</c:v>
                </c:pt>
              </c:numCache>
            </c:numRef>
          </c:xVal>
          <c:yVal>
            <c:numRef>
              <c:f>Sheet1!$B$134:$B$135</c:f>
              <c:numCache>
                <c:formatCode>General</c:formatCode>
                <c:ptCount val="2"/>
                <c:pt idx="0">
                  <c:v>0.2739220778985416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7</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8:$A$192</c:f>
              <c:numCache>
                <c:formatCode>General</c:formatCode>
                <c:ptCount val="55"/>
                <c:pt idx="0">
                  <c:v>0.773814685919329</c:v>
                </c:pt>
                <c:pt idx="1">
                  <c:v>0.6582560315115706</c:v>
                </c:pt>
                <c:pt idx="2">
                  <c:v>0.6331142442239822</c:v>
                </c:pt>
                <c:pt idx="3">
                  <c:v>0.6682882378176497</c:v>
                </c:pt>
                <c:pt idx="4">
                  <c:v>0.6006177112659055</c:v>
                </c:pt>
                <c:pt idx="5">
                  <c:v>0.6380372863278757</c:v>
                </c:pt>
                <c:pt idx="6">
                  <c:v>0.5062379243674892</c:v>
                </c:pt>
                <c:pt idx="7">
                  <c:v>0.5054523607655165</c:v>
                </c:pt>
                <c:pt idx="8">
                  <c:v>0.642081957488878</c:v>
                </c:pt>
                <c:pt idx="9">
                  <c:v>0.5653406888089589</c:v>
                </c:pt>
                <c:pt idx="10">
                  <c:v>0.562566010387728</c:v>
                </c:pt>
                <c:pt idx="11">
                  <c:v>0.498328128342246</c:v>
                </c:pt>
                <c:pt idx="12">
                  <c:v>0.39691132818362296</c:v>
                </c:pt>
                <c:pt idx="13">
                  <c:v>0.3904371008802871</c:v>
                </c:pt>
                <c:pt idx="14">
                  <c:v>0.3919700801508086</c:v>
                </c:pt>
                <c:pt idx="15">
                  <c:v>0.39487653024343894</c:v>
                </c:pt>
                <c:pt idx="16">
                  <c:v>0.4408166126784502</c:v>
                </c:pt>
                <c:pt idx="17">
                  <c:v>0.2694523921530451</c:v>
                </c:pt>
                <c:pt idx="18">
                  <c:v>0.40294632470803754</c:v>
                </c:pt>
                <c:pt idx="19">
                  <c:v>0.3887333534478304</c:v>
                </c:pt>
                <c:pt idx="20">
                  <c:v>0.3436207045248958</c:v>
                </c:pt>
                <c:pt idx="21">
                  <c:v>0.5632775735995422</c:v>
                </c:pt>
                <c:pt idx="22">
                  <c:v>0.5166204175101465</c:v>
                </c:pt>
                <c:pt idx="23">
                  <c:v>0.6049795249027051</c:v>
                </c:pt>
                <c:pt idx="24">
                  <c:v>0.4808405460750853</c:v>
                </c:pt>
                <c:pt idx="25">
                  <c:v>0.4163483678483679</c:v>
                </c:pt>
                <c:pt idx="26">
                  <c:v>0.5564195967338778</c:v>
                </c:pt>
                <c:pt idx="27">
                  <c:v>0.4814823093289167</c:v>
                </c:pt>
                <c:pt idx="28">
                  <c:v>0.6389809218961884</c:v>
                </c:pt>
                <c:pt idx="29">
                  <c:v>0.6017631605636267</c:v>
                </c:pt>
                <c:pt idx="30">
                  <c:v>0.7982971447822791</c:v>
                </c:pt>
                <c:pt idx="31">
                  <c:v>0.8547130206249901</c:v>
                </c:pt>
                <c:pt idx="32">
                  <c:v>0.6667345809233819</c:v>
                </c:pt>
                <c:pt idx="33">
                  <c:v>0.566544772265167</c:v>
                </c:pt>
                <c:pt idx="34">
                  <c:v>0.8110950040074807</c:v>
                </c:pt>
                <c:pt idx="35">
                  <c:v>0.6398687598250117</c:v>
                </c:pt>
                <c:pt idx="36">
                  <c:v>0.5875671479355015</c:v>
                </c:pt>
                <c:pt idx="37">
                  <c:v>0.349883652902544</c:v>
                </c:pt>
                <c:pt idx="38">
                  <c:v>0.30951707429200365</c:v>
                </c:pt>
                <c:pt idx="39">
                  <c:v>0.4586549058957517</c:v>
                </c:pt>
                <c:pt idx="40">
                  <c:v>0.4090239019407559</c:v>
                </c:pt>
                <c:pt idx="41">
                  <c:v>0.40619146730577055</c:v>
                </c:pt>
                <c:pt idx="42">
                  <c:v>0.5962632718034045</c:v>
                </c:pt>
                <c:pt idx="43">
                  <c:v>0.44371922906381234</c:v>
                </c:pt>
                <c:pt idx="44">
                  <c:v>0.4255966266048468</c:v>
                </c:pt>
                <c:pt idx="45">
                  <c:v>0.5422281548113826</c:v>
                </c:pt>
                <c:pt idx="46">
                  <c:v>0.4267269146220224</c:v>
                </c:pt>
                <c:pt idx="47">
                  <c:v>0.3142894361897008</c:v>
                </c:pt>
                <c:pt idx="48">
                  <c:v>0.47318519357430694</c:v>
                </c:pt>
                <c:pt idx="49">
                  <c:v>0.5833814475492441</c:v>
                </c:pt>
                <c:pt idx="50">
                  <c:v>0.6071834792656815</c:v>
                </c:pt>
                <c:pt idx="51">
                  <c:v>0.6990082380434327</c:v>
                </c:pt>
                <c:pt idx="52">
                  <c:v>0.02787296998106965</c:v>
                </c:pt>
                <c:pt idx="53">
                  <c:v>0.04637696587547261</c:v>
                </c:pt>
                <c:pt idx="54">
                  <c:v>1.092571055010699</c:v>
                </c:pt>
              </c:numCache>
            </c:numRef>
          </c:xVal>
          <c:yVal>
            <c:numRef>
              <c:f>Sheet1!$B$138:$B$192</c:f>
              <c:numCache>
                <c:formatCode>General</c:formatCode>
                <c:ptCount val="55"/>
                <c:pt idx="0">
                  <c:v>0.42127289144797064</c:v>
                </c:pt>
                <c:pt idx="1">
                  <c:v>0.4746919393189156</c:v>
                </c:pt>
                <c:pt idx="2">
                  <c:v>0.48631417865321713</c:v>
                </c:pt>
                <c:pt idx="3">
                  <c:v>0.4700543731265591</c:v>
                </c:pt>
                <c:pt idx="4">
                  <c:v>0.5013362802744583</c:v>
                </c:pt>
                <c:pt idx="5">
                  <c:v>0.48403841468585035</c:v>
                </c:pt>
                <c:pt idx="6">
                  <c:v>0.5449650191189426</c:v>
                </c:pt>
                <c:pt idx="7">
                  <c:v>0.5453281598968835</c:v>
                </c:pt>
                <c:pt idx="8">
                  <c:v>0.4821686933440856</c:v>
                </c:pt>
                <c:pt idx="9">
                  <c:v>0.5176437127296905</c:v>
                </c:pt>
                <c:pt idx="10">
                  <c:v>0.5189263572894585</c:v>
                </c:pt>
                <c:pt idx="11">
                  <c:v>0.5486214633263226</c:v>
                </c:pt>
                <c:pt idx="12">
                  <c:v>0.5955031869874092</c:v>
                </c:pt>
                <c:pt idx="13">
                  <c:v>0.5984960139636037</c:v>
                </c:pt>
                <c:pt idx="14">
                  <c:v>0.5977873669699463</c:v>
                </c:pt>
                <c:pt idx="15">
                  <c:v>0.5964438086062007</c:v>
                </c:pt>
                <c:pt idx="16">
                  <c:v>0.5752071866035628</c:v>
                </c:pt>
                <c:pt idx="17">
                  <c:v>0.6544233521649299</c:v>
                </c:pt>
                <c:pt idx="18">
                  <c:v>0.5927134022682039</c:v>
                </c:pt>
                <c:pt idx="19">
                  <c:v>0.5992836015841143</c:v>
                </c:pt>
                <c:pt idx="20">
                  <c:v>0.6201377276965206</c:v>
                </c:pt>
                <c:pt idx="21">
                  <c:v>0.5185974245109494</c:v>
                </c:pt>
                <c:pt idx="22">
                  <c:v>0.5401655265923998</c:v>
                </c:pt>
                <c:pt idx="23">
                  <c:v>0.49931995417008745</c:v>
                </c:pt>
                <c:pt idx="24">
                  <c:v>0.5567054099512135</c:v>
                </c:pt>
                <c:pt idx="25">
                  <c:v>0.5865180689307667</c:v>
                </c:pt>
                <c:pt idx="26">
                  <c:v>0.5217676465627923</c:v>
                </c:pt>
                <c:pt idx="27">
                  <c:v>0.5564087434474893</c:v>
                </c:pt>
                <c:pt idx="28">
                  <c:v>0.483602202323784</c:v>
                </c:pt>
                <c:pt idx="29">
                  <c:v>0.5008067759185769</c:v>
                </c:pt>
                <c:pt idx="30">
                  <c:v>0.40995543843070387</c:v>
                </c:pt>
                <c:pt idx="31">
                  <c:v>0.3838761941908996</c:v>
                </c:pt>
                <c:pt idx="32">
                  <c:v>0.4707725787203787</c:v>
                </c:pt>
                <c:pt idx="33">
                  <c:v>0.5170871036888753</c:v>
                </c:pt>
                <c:pt idx="34">
                  <c:v>0.40403939987781157</c:v>
                </c:pt>
                <c:pt idx="35">
                  <c:v>0.4831917834151828</c:v>
                </c:pt>
                <c:pt idx="36">
                  <c:v>0.5073691358045141</c:v>
                </c:pt>
                <c:pt idx="37">
                  <c:v>0.6172425681698415</c:v>
                </c:pt>
                <c:pt idx="38">
                  <c:v>0.635902738680082</c:v>
                </c:pt>
                <c:pt idx="39">
                  <c:v>0.5669611175904314</c:v>
                </c:pt>
                <c:pt idx="40">
                  <c:v>0.5899039338575701</c:v>
                </c:pt>
                <c:pt idx="41">
                  <c:v>0.5912132772566695</c:v>
                </c:pt>
                <c:pt idx="42">
                  <c:v>0.5033491975353126</c:v>
                </c:pt>
                <c:pt idx="43">
                  <c:v>0.5738654004393391</c:v>
                </c:pt>
                <c:pt idx="44">
                  <c:v>0.5822428964673353</c:v>
                </c:pt>
                <c:pt idx="45">
                  <c:v>0.5283278935585777</c:v>
                </c:pt>
                <c:pt idx="46">
                  <c:v>0.5817204006836408</c:v>
                </c:pt>
                <c:pt idx="47">
                  <c:v>0.6336966293239535</c:v>
                </c:pt>
                <c:pt idx="48">
                  <c:v>0.5602442331038703</c:v>
                </c:pt>
                <c:pt idx="49">
                  <c:v>0.5093040504195454</c:v>
                </c:pt>
                <c:pt idx="50">
                  <c:v>0.49830113697959144</c:v>
                </c:pt>
                <c:pt idx="51">
                  <c:v>0.45585350542809994</c:v>
                </c:pt>
                <c:pt idx="52">
                  <c:v>0.7660977462964488</c:v>
                </c:pt>
                <c:pt idx="53">
                  <c:v>0.7575439443544584</c:v>
                </c:pt>
                <c:pt idx="54">
                  <c:v>0.273922077898541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733333333333333"/>
          <c:min val="0.1441441441441441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7</c:f>
              <c:numCache>
                <c:formatCode>General</c:formatCode>
                <c:ptCount val="56"/>
                <c:pt idx="0">
                  <c:v>1245.7273</c:v>
                </c:pt>
                <c:pt idx="1">
                  <c:v>1139.6818</c:v>
                </c:pt>
                <c:pt idx="2">
                  <c:v>1245.5</c:v>
                </c:pt>
                <c:pt idx="3">
                  <c:v>1273.0526</c:v>
                </c:pt>
                <c:pt idx="4">
                  <c:v>1225.5789</c:v>
                </c:pt>
                <c:pt idx="5">
                  <c:v>1413.9286</c:v>
                </c:pt>
                <c:pt idx="6">
                  <c:v>1412.6316</c:v>
                </c:pt>
                <c:pt idx="7">
                  <c:v>1587.7143</c:v>
                </c:pt>
                <c:pt idx="8">
                  <c:v>1364.2</c:v>
                </c:pt>
                <c:pt idx="9">
                  <c:v>1109.2727</c:v>
                </c:pt>
                <c:pt idx="10">
                  <c:v>1261.2791</c:v>
                </c:pt>
                <c:pt idx="11">
                  <c:v>1425.0</c:v>
                </c:pt>
                <c:pt idx="12">
                  <c:v>1501.2667</c:v>
                </c:pt>
                <c:pt idx="13">
                  <c:v>1179.5435</c:v>
                </c:pt>
                <c:pt idx="14">
                  <c:v>1375.1389</c:v>
                </c:pt>
                <c:pt idx="15">
                  <c:v>1460.6</c:v>
                </c:pt>
                <c:pt idx="16">
                  <c:v>1449.12</c:v>
                </c:pt>
                <c:pt idx="17">
                  <c:v>1206.6111</c:v>
                </c:pt>
                <c:pt idx="18">
                  <c:v>1295.3333</c:v>
                </c:pt>
                <c:pt idx="19">
                  <c:v>1461.1875</c:v>
                </c:pt>
                <c:pt idx="20">
                  <c:v>1711.6</c:v>
                </c:pt>
                <c:pt idx="21">
                  <c:v>1272.5455</c:v>
                </c:pt>
                <c:pt idx="22">
                  <c:v>964.3611</c:v>
                </c:pt>
                <c:pt idx="23">
                  <c:v>935.1944</c:v>
                </c:pt>
                <c:pt idx="24">
                  <c:v>729.2778</c:v>
                </c:pt>
                <c:pt idx="25">
                  <c:v>862.1739</c:v>
                </c:pt>
                <c:pt idx="26">
                  <c:v>821.0526</c:v>
                </c:pt>
                <c:pt idx="27">
                  <c:v>846.375</c:v>
                </c:pt>
                <c:pt idx="28">
                  <c:v>1260.5</c:v>
                </c:pt>
                <c:pt idx="29">
                  <c:v>1190.25</c:v>
                </c:pt>
                <c:pt idx="30">
                  <c:v>1062.5</c:v>
                </c:pt>
                <c:pt idx="31">
                  <c:v>828.1667</c:v>
                </c:pt>
                <c:pt idx="32">
                  <c:v>1294.4615</c:v>
                </c:pt>
                <c:pt idx="33">
                  <c:v>1430.0</c:v>
                </c:pt>
                <c:pt idx="34">
                  <c:v>1368.8889</c:v>
                </c:pt>
                <c:pt idx="35">
                  <c:v>1315.5</c:v>
                </c:pt>
                <c:pt idx="36">
                  <c:v>1324.9167</c:v>
                </c:pt>
                <c:pt idx="37">
                  <c:v>1295.6</c:v>
                </c:pt>
                <c:pt idx="38">
                  <c:v>1258.7895</c:v>
                </c:pt>
                <c:pt idx="39">
                  <c:v>1472.1111</c:v>
                </c:pt>
                <c:pt idx="40">
                  <c:v>1492.7778</c:v>
                </c:pt>
                <c:pt idx="41">
                  <c:v>1486.6</c:v>
                </c:pt>
                <c:pt idx="42">
                  <c:v>1421.0714</c:v>
                </c:pt>
                <c:pt idx="43">
                  <c:v>1437.3529</c:v>
                </c:pt>
                <c:pt idx="44">
                  <c:v>1411.875</c:v>
                </c:pt>
                <c:pt idx="45">
                  <c:v>1347.9412</c:v>
                </c:pt>
                <c:pt idx="46">
                  <c:v>1354.4615</c:v>
                </c:pt>
                <c:pt idx="47">
                  <c:v>1408.5</c:v>
                </c:pt>
                <c:pt idx="48">
                  <c:v>1227.0526</c:v>
                </c:pt>
                <c:pt idx="49">
                  <c:v>1291.2273</c:v>
                </c:pt>
                <c:pt idx="50">
                  <c:v>1330.1176</c:v>
                </c:pt>
                <c:pt idx="51">
                  <c:v>1294.0345</c:v>
                </c:pt>
                <c:pt idx="52">
                  <c:v>1353.375</c:v>
                </c:pt>
                <c:pt idx="53">
                  <c:v>1353.7333</c:v>
                </c:pt>
                <c:pt idx="54">
                  <c:v>1401.8235</c:v>
                </c:pt>
                <c:pt idx="55">
                  <c:v>1359.2857</c:v>
                </c:pt>
              </c:numCache>
            </c:numRef>
          </c:xVal>
          <c:yVal>
            <c:numRef>
              <c:f>Sheet1!$B$2:$B$57</c:f>
              <c:numCache>
                <c:formatCode>General</c:formatCode>
                <c:ptCount val="56"/>
                <c:pt idx="0">
                  <c:v>0.9777777777777777</c:v>
                </c:pt>
                <c:pt idx="1">
                  <c:v>0.7096774193548387</c:v>
                </c:pt>
                <c:pt idx="2">
                  <c:v>0.4827586206896552</c:v>
                </c:pt>
                <c:pt idx="3">
                  <c:v>0.5135135135135135</c:v>
                </c:pt>
                <c:pt idx="4">
                  <c:v>0.5428571428571428</c:v>
                </c:pt>
                <c:pt idx="5">
                  <c:v>0.4827586206896552</c:v>
                </c:pt>
                <c:pt idx="6">
                  <c:v>0.59375</c:v>
                </c:pt>
                <c:pt idx="7">
                  <c:v>0.45161290322580644</c:v>
                </c:pt>
                <c:pt idx="8">
                  <c:v>0.6666666666666666</c:v>
                </c:pt>
                <c:pt idx="9">
                  <c:v>0.7746478873239436</c:v>
                </c:pt>
                <c:pt idx="10">
                  <c:v>0.7288135593220338</c:v>
                </c:pt>
                <c:pt idx="11">
                  <c:v>0.7428571428571429</c:v>
                </c:pt>
                <c:pt idx="12">
                  <c:v>0.7317073170731707</c:v>
                </c:pt>
                <c:pt idx="13">
                  <c:v>0.7796610169491526</c:v>
                </c:pt>
                <c:pt idx="14">
                  <c:v>0.6428571428571429</c:v>
                </c:pt>
                <c:pt idx="15">
                  <c:v>0.5882352941176471</c:v>
                </c:pt>
                <c:pt idx="16">
                  <c:v>0.5952380952380952</c:v>
                </c:pt>
                <c:pt idx="17">
                  <c:v>0.6792452830188679</c:v>
                </c:pt>
                <c:pt idx="18">
                  <c:v>0.6428571428571429</c:v>
                </c:pt>
                <c:pt idx="19">
                  <c:v>0.5161290322580645</c:v>
                </c:pt>
                <c:pt idx="20">
                  <c:v>0.5263157894736842</c:v>
                </c:pt>
                <c:pt idx="21">
                  <c:v>0.5238095238095238</c:v>
                </c:pt>
                <c:pt idx="22">
                  <c:v>0.75</c:v>
                </c:pt>
                <c:pt idx="23">
                  <c:v>0.75</c:v>
                </c:pt>
                <c:pt idx="24">
                  <c:v>0.7346938775510204</c:v>
                </c:pt>
                <c:pt idx="25">
                  <c:v>0.6216216216216216</c:v>
                </c:pt>
                <c:pt idx="26">
                  <c:v>0.5588235294117647</c:v>
                </c:pt>
                <c:pt idx="27">
                  <c:v>0.6153846153846154</c:v>
                </c:pt>
                <c:pt idx="28">
                  <c:v>0.38095238095238093</c:v>
                </c:pt>
                <c:pt idx="29">
                  <c:v>0.42105263157894735</c:v>
                </c:pt>
                <c:pt idx="30">
                  <c:v>0.5</c:v>
                </c:pt>
                <c:pt idx="31">
                  <c:v>0.6</c:v>
                </c:pt>
                <c:pt idx="32">
                  <c:v>0.34210526315789475</c:v>
                </c:pt>
                <c:pt idx="33">
                  <c:v>0.29411764705882354</c:v>
                </c:pt>
                <c:pt idx="34">
                  <c:v>0.36</c:v>
                </c:pt>
                <c:pt idx="35">
                  <c:v>0.2727272727272727</c:v>
                </c:pt>
                <c:pt idx="36">
                  <c:v>0.5454545454545454</c:v>
                </c:pt>
                <c:pt idx="37">
                  <c:v>0.39473684210526316</c:v>
                </c:pt>
                <c:pt idx="38">
                  <c:v>0.3877551020408163</c:v>
                </c:pt>
                <c:pt idx="39">
                  <c:v>0.32727272727272727</c:v>
                </c:pt>
                <c:pt idx="40">
                  <c:v>0.4864864864864865</c:v>
                </c:pt>
                <c:pt idx="41">
                  <c:v>0.45454545454545453</c:v>
                </c:pt>
                <c:pt idx="42">
                  <c:v>0.32558139534883723</c:v>
                </c:pt>
                <c:pt idx="43">
                  <c:v>0.3148148148148148</c:v>
                </c:pt>
                <c:pt idx="44">
                  <c:v>0.32653061224489793</c:v>
                </c:pt>
                <c:pt idx="45">
                  <c:v>0.32075471698113206</c:v>
                </c:pt>
                <c:pt idx="46">
                  <c:v>0.30952380952380953</c:v>
                </c:pt>
                <c:pt idx="47">
                  <c:v>0.4</c:v>
                </c:pt>
                <c:pt idx="48">
                  <c:v>0.4222222222222222</c:v>
                </c:pt>
                <c:pt idx="49">
                  <c:v>0.5238095238095238</c:v>
                </c:pt>
                <c:pt idx="50">
                  <c:v>0.5964912280701754</c:v>
                </c:pt>
                <c:pt idx="51">
                  <c:v>0.4603174603174603</c:v>
                </c:pt>
                <c:pt idx="52">
                  <c:v>0.3404255319148936</c:v>
                </c:pt>
                <c:pt idx="53">
                  <c:v>0.46875</c:v>
                </c:pt>
                <c:pt idx="54">
                  <c:v>0.4473684210526316</c:v>
                </c:pt>
                <c:pt idx="55">
                  <c:v>0.4</c:v>
                </c:pt>
              </c:numCache>
            </c:numRef>
          </c:yVal>
          <c:smooth val="0"/>
          <c:extLst>
            <c:ext xmlns:c16="http://schemas.microsoft.com/office/drawing/2014/chart" uri="{C3380CC4-5D6E-409C-BE32-E72D297353CC}">
              <c16:uniqueId val="{00000000-F32D-48B7-BC20-E66FC6253BAD}"/>
            </c:ext>
          </c:extLst>
        </c:ser>
        <c:ser>
          <c:idx val="1"/>
          <c:order val="1"/>
          <c:tx>
            <c:strRef>
              <c:f>Sheet1!$B$5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0:$A$111</c:f>
              <c:numCache>
                <c:formatCode>General</c:formatCode>
                <c:ptCount val="52"/>
                <c:pt idx="0">
                  <c:v>1431.9286</c:v>
                </c:pt>
                <c:pt idx="1">
                  <c:v>1336.918</c:v>
                </c:pt>
                <c:pt idx="2">
                  <c:v>1298.7434</c:v>
                </c:pt>
                <c:pt idx="3">
                  <c:v>1324.1129</c:v>
                </c:pt>
                <c:pt idx="4">
                  <c:v>1309.8614</c:v>
                </c:pt>
                <c:pt idx="5">
                  <c:v>1328.2955</c:v>
                </c:pt>
                <c:pt idx="6">
                  <c:v>1220.8289</c:v>
                </c:pt>
                <c:pt idx="7">
                  <c:v>1088.4074</c:v>
                </c:pt>
                <c:pt idx="8">
                  <c:v>1298.9318</c:v>
                </c:pt>
                <c:pt idx="9">
                  <c:v>1328.425</c:v>
                </c:pt>
                <c:pt idx="10">
                  <c:v>1164.371</c:v>
                </c:pt>
                <c:pt idx="11">
                  <c:v>931.8736</c:v>
                </c:pt>
                <c:pt idx="12">
                  <c:v>852.67</c:v>
                </c:pt>
                <c:pt idx="13">
                  <c:v>795.5888</c:v>
                </c:pt>
                <c:pt idx="14">
                  <c:v>831.0122</c:v>
                </c:pt>
                <c:pt idx="15">
                  <c:v>854.5846</c:v>
                </c:pt>
                <c:pt idx="16">
                  <c:v>823.0781</c:v>
                </c:pt>
                <c:pt idx="17">
                  <c:v>827.0392</c:v>
                </c:pt>
                <c:pt idx="18">
                  <c:v>879.8333</c:v>
                </c:pt>
                <c:pt idx="19">
                  <c:v>839.5227</c:v>
                </c:pt>
                <c:pt idx="20">
                  <c:v>875.7419</c:v>
                </c:pt>
                <c:pt idx="21">
                  <c:v>1107.3333</c:v>
                </c:pt>
                <c:pt idx="22">
                  <c:v>936.0588</c:v>
                </c:pt>
                <c:pt idx="23">
                  <c:v>1006.1818</c:v>
                </c:pt>
                <c:pt idx="24">
                  <c:v>1056.6471</c:v>
                </c:pt>
                <c:pt idx="25">
                  <c:v>948.9412</c:v>
                </c:pt>
                <c:pt idx="26">
                  <c:v>1001.7222</c:v>
                </c:pt>
                <c:pt idx="27">
                  <c:v>971.5</c:v>
                </c:pt>
                <c:pt idx="28">
                  <c:v>1017.4706</c:v>
                </c:pt>
                <c:pt idx="29">
                  <c:v>1164.1538</c:v>
                </c:pt>
                <c:pt idx="30">
                  <c:v>1421.7273</c:v>
                </c:pt>
                <c:pt idx="31">
                  <c:v>1285.0</c:v>
                </c:pt>
                <c:pt idx="32">
                  <c:v>1078.2667</c:v>
                </c:pt>
                <c:pt idx="33">
                  <c:v>1183.2917</c:v>
                </c:pt>
                <c:pt idx="34">
                  <c:v>1517.9643</c:v>
                </c:pt>
                <c:pt idx="35">
                  <c:v>1277.8636</c:v>
                </c:pt>
                <c:pt idx="36">
                  <c:v>1131.8125</c:v>
                </c:pt>
                <c:pt idx="37">
                  <c:v>741.5854</c:v>
                </c:pt>
                <c:pt idx="38">
                  <c:v>645.6667</c:v>
                </c:pt>
                <c:pt idx="39">
                  <c:v>910.6667</c:v>
                </c:pt>
                <c:pt idx="40">
                  <c:v>850.9231</c:v>
                </c:pt>
                <c:pt idx="41">
                  <c:v>854.1304</c:v>
                </c:pt>
                <c:pt idx="42">
                  <c:v>1242.3571</c:v>
                </c:pt>
                <c:pt idx="43">
                  <c:v>909.6364</c:v>
                </c:pt>
                <c:pt idx="44">
                  <c:v>927.75</c:v>
                </c:pt>
                <c:pt idx="45">
                  <c:v>1129.2353</c:v>
                </c:pt>
                <c:pt idx="46">
                  <c:v>881.087</c:v>
                </c:pt>
                <c:pt idx="47">
                  <c:v>675.5455</c:v>
                </c:pt>
                <c:pt idx="48">
                  <c:v>991.05</c:v>
                </c:pt>
                <c:pt idx="49">
                  <c:v>1273.5217</c:v>
                </c:pt>
                <c:pt idx="50">
                  <c:v>1287.16</c:v>
                </c:pt>
                <c:pt idx="51">
                  <c:v>1332.5294</c:v>
                </c:pt>
              </c:numCache>
            </c:numRef>
          </c:xVal>
          <c:yVal>
            <c:numRef>
              <c:f>Sheet1!$B$60:$B$111</c:f>
              <c:numCache>
                <c:formatCode>General</c:formatCode>
                <c:ptCount val="52"/>
                <c:pt idx="0">
                  <c:v>0.3333333333333333</c:v>
                </c:pt>
                <c:pt idx="1">
                  <c:v>0.7439024390243902</c:v>
                </c:pt>
                <c:pt idx="2">
                  <c:v>0.8692307692307693</c:v>
                </c:pt>
                <c:pt idx="3">
                  <c:v>0.8322147651006712</c:v>
                </c:pt>
                <c:pt idx="4">
                  <c:v>0.8211382113821138</c:v>
                </c:pt>
                <c:pt idx="5">
                  <c:v>0.8</c:v>
                </c:pt>
                <c:pt idx="6">
                  <c:v>0.8636363636363636</c:v>
                </c:pt>
                <c:pt idx="7">
                  <c:v>0.9101123595505618</c:v>
                </c:pt>
                <c:pt idx="8">
                  <c:v>0.7213114754098361</c:v>
                </c:pt>
                <c:pt idx="9">
                  <c:v>0.7272727272727273</c:v>
                </c:pt>
                <c:pt idx="10">
                  <c:v>0.7469879518072289</c:v>
                </c:pt>
                <c:pt idx="11">
                  <c:v>0.7837837837837838</c:v>
                </c:pt>
                <c:pt idx="12">
                  <c:v>0.8130081300813008</c:v>
                </c:pt>
                <c:pt idx="13">
                  <c:v>0.823076923076923</c:v>
                </c:pt>
                <c:pt idx="14">
                  <c:v>0.8367346938775511</c:v>
                </c:pt>
                <c:pt idx="15">
                  <c:v>0.8024691358024691</c:v>
                </c:pt>
                <c:pt idx="16">
                  <c:v>0.7710843373493976</c:v>
                </c:pt>
                <c:pt idx="17">
                  <c:v>0.8947368421052632</c:v>
                </c:pt>
                <c:pt idx="18">
                  <c:v>0.7346938775510204</c:v>
                </c:pt>
                <c:pt idx="19">
                  <c:v>0.7096774193548387</c:v>
                </c:pt>
                <c:pt idx="20">
                  <c:v>0.7045454545454546</c:v>
                </c:pt>
                <c:pt idx="21">
                  <c:v>0.5</c:v>
                </c:pt>
                <c:pt idx="22">
                  <c:v>0.5666666666666667</c:v>
                </c:pt>
                <c:pt idx="23">
                  <c:v>0.5945945945945946</c:v>
                </c:pt>
                <c:pt idx="24">
                  <c:v>0.6071428571428571</c:v>
                </c:pt>
                <c:pt idx="25">
                  <c:v>0.6538461538461539</c:v>
                </c:pt>
                <c:pt idx="26">
                  <c:v>0.5</c:v>
                </c:pt>
                <c:pt idx="27">
                  <c:v>0.4117647058823529</c:v>
                </c:pt>
                <c:pt idx="28">
                  <c:v>0.40476190476190477</c:v>
                </c:pt>
                <c:pt idx="29">
                  <c:v>0.3939393939393939</c:v>
                </c:pt>
                <c:pt idx="30">
                  <c:v>0.275</c:v>
                </c:pt>
                <c:pt idx="31">
                  <c:v>0.21875</c:v>
                </c:pt>
                <c:pt idx="32">
                  <c:v>0.40540540540540543</c:v>
                </c:pt>
                <c:pt idx="33">
                  <c:v>0.48</c:v>
                </c:pt>
                <c:pt idx="34">
                  <c:v>0.32941176470588235</c:v>
                </c:pt>
                <c:pt idx="35">
                  <c:v>0.2894736842105263</c:v>
                </c:pt>
                <c:pt idx="36">
                  <c:v>0.3333333333333333</c:v>
                </c:pt>
                <c:pt idx="37">
                  <c:v>0.5256410256410257</c:v>
                </c:pt>
                <c:pt idx="38">
                  <c:v>0.5</c:v>
                </c:pt>
                <c:pt idx="39">
                  <c:v>0.36486486486486486</c:v>
                </c:pt>
                <c:pt idx="40">
                  <c:v>0.22413793103448276</c:v>
                </c:pt>
                <c:pt idx="41">
                  <c:v>0.3026315789473684</c:v>
                </c:pt>
                <c:pt idx="42">
                  <c:v>0.21212121212121213</c:v>
                </c:pt>
                <c:pt idx="43">
                  <c:v>0.2558139534883721</c:v>
                </c:pt>
                <c:pt idx="44">
                  <c:v>0.18018018018018017</c:v>
                </c:pt>
                <c:pt idx="45">
                  <c:v>0.2236842105263158</c:v>
                </c:pt>
                <c:pt idx="46">
                  <c:v>0.2948717948717949</c:v>
                </c:pt>
                <c:pt idx="47">
                  <c:v>0.3142857142857143</c:v>
                </c:pt>
                <c:pt idx="48">
                  <c:v>0.32786885245901637</c:v>
                </c:pt>
                <c:pt idx="49">
                  <c:v>0.3108108108108108</c:v>
                </c:pt>
                <c:pt idx="50">
                  <c:v>0.2840909090909091</c:v>
                </c:pt>
                <c:pt idx="51">
                  <c:v>0.265625</c:v>
                </c:pt>
              </c:numCache>
            </c:numRef>
          </c:yVal>
          <c:smooth val="0"/>
          <c:extLst>
            <c:ext xmlns:c16="http://schemas.microsoft.com/office/drawing/2014/chart" uri="{C3380CC4-5D6E-409C-BE32-E72D297353CC}">
              <c16:uniqueId val="{00000002-F32D-48B7-BC20-E66FC6253BAD}"/>
            </c:ext>
          </c:extLst>
        </c:ser>
        <c:ser>
          <c:idx val="2"/>
          <c:order val="2"/>
          <c:tx>
            <c:strRef>
              <c:f>Sheet1!$B$113</c:f>
              <c:strCache>
                <c:ptCount val="1"/>
                <c:pt idx="0">
                  <c:v>Custom Linep3yQ</c:v>
                </c:pt>
              </c:strCache>
            </c:strRef>
          </c:tx>
          <c:spPr>
            <a:ln w="19050" cap="rnd">
              <a:solidFill>
                <a:srgbClr val="C00000"/>
              </a:solidFill>
              <a:prstDash val="sysDot"/>
              <a:round/>
            </a:ln>
            <a:effectLst/>
          </c:spPr>
          <c:marker>
            <c:symbol val="none"/>
          </c:marker>
          <c:xVal>
            <c:numRef>
              <c:f>Sheet1!$A$114:$A$115</c:f>
              <c:numCache>
                <c:formatCode>General</c:formatCode>
                <c:ptCount val="2"/>
                <c:pt idx="0">
                  <c:v>0</c:v>
                </c:pt>
                <c:pt idx="1">
                  <c:v>-757.2157006443888</c:v>
                </c:pt>
              </c:numCache>
            </c:numRef>
          </c:xVal>
          <c:yVal>
            <c:numRef>
              <c:f>Sheet1!$B$114:$B$115</c:f>
              <c:numCache>
                <c:formatCode>General</c:formatCode>
                <c:ptCount val="2"/>
                <c:pt idx="0">
                  <c:v>0.7575439443544584</c:v>
                </c:pt>
                <c:pt idx="1">
                  <c:v>0.7575439443544584</c:v>
                </c:pt>
              </c:numCache>
            </c:numRef>
          </c:yVal>
          <c:smooth val="0"/>
          <c:extLst>
            <c:ext xmlns:c16="http://schemas.microsoft.com/office/drawing/2014/chart" uri="{C3380CC4-5D6E-409C-BE32-E72D297353CC}">
              <c16:uniqueId val="{00000003-F32D-48B7-BC20-E66FC6253BAD}"/>
            </c:ext>
          </c:extLst>
        </c:ser>
        <c:ser>
          <c:idx val="3"/>
          <c:order val="3"/>
          <c:tx>
            <c:strRef>
              <c:f>Sheet1!$B$1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8:$A$119</c:f>
              <c:numCache>
                <c:formatCode>General</c:formatCode>
                <c:ptCount val="2"/>
                <c:pt idx="0">
                  <c:v>-757.2157006443888</c:v>
                </c:pt>
                <c:pt idx="1">
                  <c:v>-757.2157006443888</c:v>
                </c:pt>
              </c:numCache>
            </c:numRef>
          </c:xVal>
          <c:yVal>
            <c:numRef>
              <c:f>Sheet1!$B$118:$B$119</c:f>
              <c:numCache>
                <c:formatCode>General</c:formatCode>
                <c:ptCount val="2"/>
                <c:pt idx="0">
                  <c:v>0.757543944354458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2:$A$123</c:f>
              <c:numCache>
                <c:formatCode>General</c:formatCode>
                <c:ptCount val="2"/>
                <c:pt idx="0">
                  <c:v>0</c:v>
                </c:pt>
                <c:pt idx="1">
                  <c:v>-827.1113799430922</c:v>
                </c:pt>
              </c:numCache>
            </c:numRef>
          </c:xVal>
          <c:yVal>
            <c:numRef>
              <c:f>Sheet1!$B$122:$B$123</c:f>
              <c:numCache>
                <c:formatCode>General</c:formatCode>
                <c:ptCount val="2"/>
                <c:pt idx="0">
                  <c:v>0.7660977462964488</c:v>
                </c:pt>
                <c:pt idx="1">
                  <c:v>0.7660977462964488</c:v>
                </c:pt>
              </c:numCache>
            </c:numRef>
          </c:yVal>
          <c:smooth val="0"/>
          <c:extLst>
            <c:ext xmlns:c16="http://schemas.microsoft.com/office/drawing/2014/chart" uri="{C3380CC4-5D6E-409C-BE32-E72D297353CC}">
              <c16:uniqueId val="{0000000A-F32D-48B7-BC20-E66FC6253BAD}"/>
            </c:ext>
          </c:extLst>
        </c:ser>
        <c:ser>
          <c:idx val="5"/>
          <c:order val="5"/>
          <c:tx>
            <c:strRef>
              <c:f>Sheet1!$B$1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827.1113799430922</c:v>
                </c:pt>
                <c:pt idx="1">
                  <c:v>-827.1113799430922</c:v>
                </c:pt>
              </c:numCache>
            </c:numRef>
          </c:xVal>
          <c:yVal>
            <c:numRef>
              <c:f>Sheet1!$B$126:$B$127</c:f>
              <c:numCache>
                <c:formatCode>General</c:formatCode>
                <c:ptCount val="2"/>
                <c:pt idx="0">
                  <c:v>0.766097746296448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9</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0:$A$131</c:f>
              <c:numCache>
                <c:formatCode>General</c:formatCode>
                <c:ptCount val="2"/>
                <c:pt idx="0">
                  <c:v>0</c:v>
                </c:pt>
                <c:pt idx="1">
                  <c:v>3194.6035148210312</c:v>
                </c:pt>
              </c:numCache>
            </c:numRef>
          </c:xVal>
          <c:yVal>
            <c:numRef>
              <c:f>Sheet1!$B$130:$B$131</c:f>
              <c:numCache>
                <c:formatCode>General</c:formatCode>
                <c:ptCount val="2"/>
                <c:pt idx="0">
                  <c:v>0.27392207789854167</c:v>
                </c:pt>
                <c:pt idx="1">
                  <c:v>0.27392207789854167</c:v>
                </c:pt>
              </c:numCache>
            </c:numRef>
          </c:yVal>
          <c:smooth val="0"/>
          <c:extLst>
            <c:ext xmlns:c16="http://schemas.microsoft.com/office/drawing/2014/chart" uri="{C3380CC4-5D6E-409C-BE32-E72D297353CC}">
              <c16:uniqueId val="{00000011-F32D-48B7-BC20-E66FC6253BAD}"/>
            </c:ext>
          </c:extLst>
        </c:ser>
        <c:ser>
          <c:idx val="7"/>
          <c:order val="7"/>
          <c:tx>
            <c:strRef>
              <c:f>Sheet1!$B$133</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3194.6035148210312</c:v>
                </c:pt>
                <c:pt idx="1">
                  <c:v>3194.6035148210312</c:v>
                </c:pt>
              </c:numCache>
            </c:numRef>
          </c:xVal>
          <c:yVal>
            <c:numRef>
              <c:f>Sheet1!$B$134:$B$135</c:f>
              <c:numCache>
                <c:formatCode>General</c:formatCode>
                <c:ptCount val="2"/>
                <c:pt idx="0">
                  <c:v>0.2739220778985416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7</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8:$A$192</c:f>
              <c:numCache>
                <c:formatCode>General</c:formatCode>
                <c:ptCount val="55"/>
                <c:pt idx="0">
                  <c:v>1431.9286</c:v>
                </c:pt>
                <c:pt idx="1">
                  <c:v>1336.918</c:v>
                </c:pt>
                <c:pt idx="2">
                  <c:v>1298.7434</c:v>
                </c:pt>
                <c:pt idx="3">
                  <c:v>1324.1129</c:v>
                </c:pt>
                <c:pt idx="4">
                  <c:v>1309.8614</c:v>
                </c:pt>
                <c:pt idx="5">
                  <c:v>1328.2955</c:v>
                </c:pt>
                <c:pt idx="6">
                  <c:v>1220.8289</c:v>
                </c:pt>
                <c:pt idx="7">
                  <c:v>1088.4074</c:v>
                </c:pt>
                <c:pt idx="8">
                  <c:v>1298.9318</c:v>
                </c:pt>
                <c:pt idx="9">
                  <c:v>1328.425</c:v>
                </c:pt>
                <c:pt idx="10">
                  <c:v>1164.371</c:v>
                </c:pt>
                <c:pt idx="11">
                  <c:v>931.8736</c:v>
                </c:pt>
                <c:pt idx="12">
                  <c:v>852.67</c:v>
                </c:pt>
                <c:pt idx="13">
                  <c:v>795.5888</c:v>
                </c:pt>
                <c:pt idx="14">
                  <c:v>831.0122</c:v>
                </c:pt>
                <c:pt idx="15">
                  <c:v>854.5846</c:v>
                </c:pt>
                <c:pt idx="16">
                  <c:v>823.0781</c:v>
                </c:pt>
                <c:pt idx="17">
                  <c:v>827.0392</c:v>
                </c:pt>
                <c:pt idx="18">
                  <c:v>879.8333</c:v>
                </c:pt>
                <c:pt idx="19">
                  <c:v>839.5227</c:v>
                </c:pt>
                <c:pt idx="20">
                  <c:v>875.7419</c:v>
                </c:pt>
                <c:pt idx="21">
                  <c:v>1107.3333</c:v>
                </c:pt>
                <c:pt idx="22">
                  <c:v>936.0588</c:v>
                </c:pt>
                <c:pt idx="23">
                  <c:v>1006.1818</c:v>
                </c:pt>
                <c:pt idx="24">
                  <c:v>1056.6471</c:v>
                </c:pt>
                <c:pt idx="25">
                  <c:v>948.9412</c:v>
                </c:pt>
                <c:pt idx="26">
                  <c:v>1001.7222</c:v>
                </c:pt>
                <c:pt idx="27">
                  <c:v>971.5</c:v>
                </c:pt>
                <c:pt idx="28">
                  <c:v>1017.4706</c:v>
                </c:pt>
                <c:pt idx="29">
                  <c:v>1164.1538</c:v>
                </c:pt>
                <c:pt idx="30">
                  <c:v>1421.7273</c:v>
                </c:pt>
                <c:pt idx="31">
                  <c:v>1285.0</c:v>
                </c:pt>
                <c:pt idx="32">
                  <c:v>1078.2667</c:v>
                </c:pt>
                <c:pt idx="33">
                  <c:v>1183.2917</c:v>
                </c:pt>
                <c:pt idx="34">
                  <c:v>1517.9643</c:v>
                </c:pt>
                <c:pt idx="35">
                  <c:v>1277.8636</c:v>
                </c:pt>
                <c:pt idx="36">
                  <c:v>1131.8125</c:v>
                </c:pt>
                <c:pt idx="37">
                  <c:v>741.5854</c:v>
                </c:pt>
                <c:pt idx="38">
                  <c:v>645.6667</c:v>
                </c:pt>
                <c:pt idx="39">
                  <c:v>910.6667</c:v>
                </c:pt>
                <c:pt idx="40">
                  <c:v>850.9231</c:v>
                </c:pt>
                <c:pt idx="41">
                  <c:v>854.1304</c:v>
                </c:pt>
                <c:pt idx="42">
                  <c:v>1242.3571</c:v>
                </c:pt>
                <c:pt idx="43">
                  <c:v>909.6364</c:v>
                </c:pt>
                <c:pt idx="44">
                  <c:v>927.75</c:v>
                </c:pt>
                <c:pt idx="45">
                  <c:v>1129.2353</c:v>
                </c:pt>
                <c:pt idx="46">
                  <c:v>881.087</c:v>
                </c:pt>
                <c:pt idx="47">
                  <c:v>675.5455</c:v>
                </c:pt>
                <c:pt idx="48">
                  <c:v>991.05</c:v>
                </c:pt>
                <c:pt idx="49">
                  <c:v>1273.5217</c:v>
                </c:pt>
                <c:pt idx="50">
                  <c:v>1287.16</c:v>
                </c:pt>
                <c:pt idx="51">
                  <c:v>1332.5294</c:v>
                </c:pt>
                <c:pt idx="52">
                  <c:v>-827.1113799430922</c:v>
                </c:pt>
                <c:pt idx="53">
                  <c:v>-757.2157006443888</c:v>
                </c:pt>
                <c:pt idx="54">
                  <c:v>3194.6035148210312</c:v>
                </c:pt>
              </c:numCache>
            </c:numRef>
          </c:xVal>
          <c:yVal>
            <c:numRef>
              <c:f>Sheet1!$B$138:$B$192</c:f>
              <c:numCache>
                <c:formatCode>General</c:formatCode>
                <c:ptCount val="55"/>
                <c:pt idx="0">
                  <c:v>0.4896374448679218</c:v>
                </c:pt>
                <c:pt idx="1">
                  <c:v>0.5012647995620017</c:v>
                </c:pt>
                <c:pt idx="2">
                  <c:v>0.5059365900201676</c:v>
                </c:pt>
                <c:pt idx="3">
                  <c:v>0.5028318819674717</c:v>
                </c:pt>
                <c:pt idx="4">
                  <c:v>0.5045759741574241</c:v>
                </c:pt>
                <c:pt idx="5">
                  <c:v>0.5023200172519194</c:v>
                </c:pt>
                <c:pt idx="6">
                  <c:v>0.5154717316497528</c:v>
                </c:pt>
                <c:pt idx="7">
                  <c:v>0.5316774155378883</c:v>
                </c:pt>
                <c:pt idx="8">
                  <c:v>0.5059135337125096</c:v>
                </c:pt>
                <c:pt idx="9">
                  <c:v>0.5023041690998934</c:v>
                </c:pt>
                <c:pt idx="10">
                  <c:v>0.5223810241769328</c:v>
                </c:pt>
                <c:pt idx="11">
                  <c:v>0.5508339519055372</c:v>
                </c:pt>
                <c:pt idx="12">
                  <c:v>0.560526853016024</c:v>
                </c:pt>
                <c:pt idx="13">
                  <c:v>0.5675124247181679</c:v>
                </c:pt>
                <c:pt idx="14">
                  <c:v>0.563177324884357</c:v>
                </c:pt>
                <c:pt idx="15">
                  <c:v>0.5602925451251436</c:v>
                </c:pt>
                <c:pt idx="16">
                  <c:v>0.5641482964904547</c:v>
                </c:pt>
                <c:pt idx="17">
                  <c:v>0.5636635388457422</c:v>
                </c:pt>
                <c:pt idx="18">
                  <c:v>0.5572026205223686</c:v>
                </c:pt>
                <c:pt idx="19">
                  <c:v>0.5621358137042997</c:v>
                </c:pt>
                <c:pt idx="20">
                  <c:v>0.557703324222749</c:v>
                </c:pt>
                <c:pt idx="21">
                  <c:v>0.5293612723685506</c:v>
                </c:pt>
                <c:pt idx="22">
                  <c:v>0.5503217690031489</c:v>
                </c:pt>
                <c:pt idx="23">
                  <c:v>0.5417401476554997</c:v>
                </c:pt>
                <c:pt idx="24">
                  <c:v>0.5355642268335794</c:v>
                </c:pt>
                <c:pt idx="25">
                  <c:v>0.5487452266582841</c:v>
                </c:pt>
                <c:pt idx="26">
                  <c:v>0.542285911507046</c:v>
                </c:pt>
                <c:pt idx="27">
                  <c:v>0.5459844908133067</c:v>
                </c:pt>
                <c:pt idx="28">
                  <c:v>0.5403586293652192</c:v>
                </c:pt>
                <c:pt idx="29">
                  <c:v>0.5224076050156977</c:v>
                </c:pt>
                <c:pt idx="30">
                  <c:v>0.49088587539504946</c:v>
                </c:pt>
                <c:pt idx="31">
                  <c:v>0.5076185011595837</c:v>
                </c:pt>
                <c:pt idx="32">
                  <c:v>0.5329184298641452</c:v>
                </c:pt>
                <c:pt idx="33">
                  <c:v>0.5200655173812672</c:v>
                </c:pt>
                <c:pt idx="34">
                  <c:v>0.479108434417999</c:v>
                </c:pt>
                <c:pt idx="35">
                  <c:v>0.5084918505967921</c:v>
                </c:pt>
                <c:pt idx="36">
                  <c:v>0.5263655188312892</c:v>
                </c:pt>
                <c:pt idx="37">
                  <c:v>0.5741213366341674</c:v>
                </c:pt>
                <c:pt idx="38">
                  <c:v>0.585859824199713</c:v>
                </c:pt>
                <c:pt idx="39">
                  <c:v>0.5534292428337272</c:v>
                </c:pt>
                <c:pt idx="40">
                  <c:v>0.5607406378559797</c:v>
                </c:pt>
                <c:pt idx="41">
                  <c:v>0.5603481299178094</c:v>
                </c:pt>
                <c:pt idx="42">
                  <c:v>0.512837120171401</c:v>
                </c:pt>
                <c:pt idx="43">
                  <c:v>0.5535553304864871</c:v>
                </c:pt>
                <c:pt idx="44">
                  <c:v>0.5513385962275025</c:v>
                </c:pt>
                <c:pt idx="45">
                  <c:v>0.5266809154135399</c:v>
                </c:pt>
                <c:pt idx="46">
                  <c:v>0.5570491932776195</c:v>
                </c:pt>
                <c:pt idx="47">
                  <c:v>0.5822032700317206</c:v>
                </c:pt>
                <c:pt idx="48">
                  <c:v>0.5435919705653631</c:v>
                </c:pt>
                <c:pt idx="49">
                  <c:v>0.5090232103750297</c:v>
                </c:pt>
                <c:pt idx="50">
                  <c:v>0.5073541613265629</c:v>
                </c:pt>
                <c:pt idx="51">
                  <c:v>0.5018018744653328</c:v>
                </c:pt>
                <c:pt idx="52">
                  <c:v>0.7660977462964488</c:v>
                </c:pt>
                <c:pt idx="53">
                  <c:v>0.7575439443544584</c:v>
                </c:pt>
                <c:pt idx="54">
                  <c:v>0.273922077898541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83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733333333333333"/>
          <c:min val="0.1441441441441441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c:f>
              <c:numCache>
                <c:formatCode>General</c:formatCode>
                <c:ptCount val="5"/>
                <c:pt idx="0">
                  <c:v>0.6130109840335183</c:v>
                </c:pt>
                <c:pt idx="1">
                  <c:v>0.6080095665843253</c:v>
                </c:pt>
                <c:pt idx="2">
                  <c:v>0.5648717855625012</c:v>
                </c:pt>
                <c:pt idx="3">
                  <c:v>0.2491816131989001</c:v>
                </c:pt>
                <c:pt idx="4">
                  <c:v>0.0</c:v>
                </c:pt>
              </c:numCache>
            </c:numRef>
          </c:xVal>
          <c:yVal>
            <c:numRef>
              <c:f>Sheet1!$B$2:$B$6</c:f>
              <c:numCache>
                <c:formatCode>General</c:formatCode>
                <c:ptCount val="5"/>
                <c:pt idx="0">
                  <c:v>0.3404255319148936</c:v>
                </c:pt>
                <c:pt idx="1">
                  <c:v>0.46875</c:v>
                </c:pt>
                <c:pt idx="2">
                  <c:v>0.4473684210526316</c:v>
                </c:pt>
                <c:pt idx="3">
                  <c:v>0.4</c:v>
                </c:pt>
                <c:pt idx="4">
                  <c:v>0.9101123595505618</c:v>
                </c:pt>
              </c:numCache>
            </c:numRef>
          </c:yVal>
          <c:smooth val="0"/>
          <c:extLst>
            <c:ext xmlns:c16="http://schemas.microsoft.com/office/drawing/2014/chart" uri="{C3380CC4-5D6E-409C-BE32-E72D297353CC}">
              <c16:uniqueId val="{00000000-096C-4121-9522-6AB7243CCAAE}"/>
            </c:ext>
          </c:extLst>
        </c:ser>
        <c:ser>
          <c:idx val="1"/>
          <c:order val="1"/>
          <c:tx>
            <c:strRef>
              <c:f>Sheet1!$B$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A$59</c:f>
              <c:numCache>
                <c:formatCode>General</c:formatCode>
                <c:ptCount val="51"/>
                <c:pt idx="0">
                  <c:v>0.3073467696930672</c:v>
                </c:pt>
                <c:pt idx="1">
                  <c:v>0.5387177899433473</c:v>
                </c:pt>
                <c:pt idx="2">
                  <c:v>0.450639625260236</c:v>
                </c:pt>
                <c:pt idx="3">
                  <c:v>0.4167808939250866</c:v>
                </c:pt>
                <c:pt idx="4">
                  <c:v>0.5865401217983164</c:v>
                </c:pt>
                <c:pt idx="5">
                  <c:v>0.4748434875457994</c:v>
                </c:pt>
                <c:pt idx="6">
                  <c:v>0.48268415538203024</c:v>
                </c:pt>
                <c:pt idx="7">
                  <c:v>0.45172380455572947</c:v>
                </c:pt>
                <c:pt idx="8">
                  <c:v>0.4403862091828278</c:v>
                </c:pt>
                <c:pt idx="9">
                  <c:v>0.3967868461407395</c:v>
                </c:pt>
                <c:pt idx="10">
                  <c:v>0.3016504329529821</c:v>
                </c:pt>
                <c:pt idx="11">
                  <c:v>0.24434138652840395</c:v>
                </c:pt>
                <c:pt idx="12">
                  <c:v>0.26658249564401554</c:v>
                </c:pt>
                <c:pt idx="13">
                  <c:v>0.3166243237064696</c:v>
                </c:pt>
                <c:pt idx="14">
                  <c:v>0.29159245926810545</c:v>
                </c:pt>
                <c:pt idx="15">
                  <c:v>0.37820314676515127</c:v>
                </c:pt>
                <c:pt idx="16">
                  <c:v>0.3344274969672463</c:v>
                </c:pt>
                <c:pt idx="17">
                  <c:v>0.36991099432415386</c:v>
                </c:pt>
                <c:pt idx="18">
                  <c:v>0.4621831543502453</c:v>
                </c:pt>
                <c:pt idx="19">
                  <c:v>0.4222885041951972</c:v>
                </c:pt>
                <c:pt idx="20">
                  <c:v>0.5102918433179724</c:v>
                </c:pt>
                <c:pt idx="21">
                  <c:v>0.5098359477124184</c:v>
                </c:pt>
                <c:pt idx="22">
                  <c:v>0.2990139078751857</c:v>
                </c:pt>
                <c:pt idx="23">
                  <c:v>0.44052659884932877</c:v>
                </c:pt>
                <c:pt idx="24">
                  <c:v>0.36385782208588957</c:v>
                </c:pt>
                <c:pt idx="25">
                  <c:v>0.45945290677674583</c:v>
                </c:pt>
                <c:pt idx="26">
                  <c:v>0.49018893036839756</c:v>
                </c:pt>
                <c:pt idx="27">
                  <c:v>0.6812984564511487</c:v>
                </c:pt>
                <c:pt idx="28">
                  <c:v>0.8004724914158261</c:v>
                </c:pt>
                <c:pt idx="29">
                  <c:v>0.84482050063136</c:v>
                </c:pt>
                <c:pt idx="30">
                  <c:v>1.3346237119323252</c:v>
                </c:pt>
                <c:pt idx="31">
                  <c:v>0.6238525225642212</c:v>
                </c:pt>
                <c:pt idx="32">
                  <c:v>0.5635057801059586</c:v>
                </c:pt>
                <c:pt idx="33">
                  <c:v>0.6805350081403854</c:v>
                </c:pt>
                <c:pt idx="34">
                  <c:v>0.56475997989452</c:v>
                </c:pt>
                <c:pt idx="35">
                  <c:v>0.43378313083637005</c:v>
                </c:pt>
                <c:pt idx="36">
                  <c:v>0.3371818102291045</c:v>
                </c:pt>
                <c:pt idx="37">
                  <c:v>0.21737789748337683</c:v>
                </c:pt>
                <c:pt idx="38">
                  <c:v>0.4512719028741328</c:v>
                </c:pt>
                <c:pt idx="39">
                  <c:v>0.37443611140018973</c:v>
                </c:pt>
                <c:pt idx="40">
                  <c:v>0.38596041572525985</c:v>
                </c:pt>
                <c:pt idx="41">
                  <c:v>0.5990791781067384</c:v>
                </c:pt>
                <c:pt idx="42">
                  <c:v>0.3969069895552101</c:v>
                </c:pt>
                <c:pt idx="43">
                  <c:v>0.44573770972253524</c:v>
                </c:pt>
                <c:pt idx="44">
                  <c:v>0.5325576777966421</c:v>
                </c:pt>
                <c:pt idx="45">
                  <c:v>0.39559411830732966</c:v>
                </c:pt>
                <c:pt idx="46">
                  <c:v>0.28635840187421346</c:v>
                </c:pt>
                <c:pt idx="47">
                  <c:v>0.4862590660538574</c:v>
                </c:pt>
                <c:pt idx="48">
                  <c:v>0.6328058136645963</c:v>
                </c:pt>
                <c:pt idx="49">
                  <c:v>0.6237402570265758</c:v>
                </c:pt>
                <c:pt idx="50">
                  <c:v>0.5790773643326633</c:v>
                </c:pt>
              </c:numCache>
            </c:numRef>
          </c:xVal>
          <c:yVal>
            <c:numRef>
              <c:f>Sheet1!$B$9:$B$59</c:f>
              <c:numCache>
                <c:formatCode>General</c:formatCode>
                <c:ptCount val="51"/>
                <c:pt idx="0">
                  <c:v>0.3333333333333333</c:v>
                </c:pt>
                <c:pt idx="1">
                  <c:v>0.7439024390243902</c:v>
                </c:pt>
                <c:pt idx="2">
                  <c:v>0.8692307692307693</c:v>
                </c:pt>
                <c:pt idx="3">
                  <c:v>0.8322147651006712</c:v>
                </c:pt>
                <c:pt idx="4">
                  <c:v>0.8211382113821138</c:v>
                </c:pt>
                <c:pt idx="5">
                  <c:v>0.8</c:v>
                </c:pt>
                <c:pt idx="6">
                  <c:v>0.8636363636363636</c:v>
                </c:pt>
                <c:pt idx="7">
                  <c:v>0.7213114754098361</c:v>
                </c:pt>
                <c:pt idx="8">
                  <c:v>0.7272727272727273</c:v>
                </c:pt>
                <c:pt idx="9">
                  <c:v>0.7469879518072289</c:v>
                </c:pt>
                <c:pt idx="10">
                  <c:v>0.7837837837837838</c:v>
                </c:pt>
                <c:pt idx="11">
                  <c:v>0.8130081300813008</c:v>
                </c:pt>
                <c:pt idx="12">
                  <c:v>0.823076923076923</c:v>
                </c:pt>
                <c:pt idx="13">
                  <c:v>0.8367346938775511</c:v>
                </c:pt>
                <c:pt idx="14">
                  <c:v>0.8024691358024691</c:v>
                </c:pt>
                <c:pt idx="15">
                  <c:v>0.7710843373493976</c:v>
                </c:pt>
                <c:pt idx="16">
                  <c:v>0.8947368421052632</c:v>
                </c:pt>
                <c:pt idx="17">
                  <c:v>0.7346938775510204</c:v>
                </c:pt>
                <c:pt idx="18">
                  <c:v>0.7096774193548387</c:v>
                </c:pt>
                <c:pt idx="19">
                  <c:v>0.7045454545454546</c:v>
                </c:pt>
                <c:pt idx="20">
                  <c:v>0.5</c:v>
                </c:pt>
                <c:pt idx="21">
                  <c:v>0.5666666666666667</c:v>
                </c:pt>
                <c:pt idx="22">
                  <c:v>0.5945945945945946</c:v>
                </c:pt>
                <c:pt idx="23">
                  <c:v>0.6071428571428571</c:v>
                </c:pt>
                <c:pt idx="24">
                  <c:v>0.6538461538461539</c:v>
                </c:pt>
                <c:pt idx="25">
                  <c:v>0.5</c:v>
                </c:pt>
                <c:pt idx="26">
                  <c:v>0.4117647058823529</c:v>
                </c:pt>
                <c:pt idx="27">
                  <c:v>0.40476190476190477</c:v>
                </c:pt>
                <c:pt idx="28">
                  <c:v>0.3939393939393939</c:v>
                </c:pt>
                <c:pt idx="29">
                  <c:v>0.275</c:v>
                </c:pt>
                <c:pt idx="30">
                  <c:v>0.21875</c:v>
                </c:pt>
                <c:pt idx="31">
                  <c:v>0.40540540540540543</c:v>
                </c:pt>
                <c:pt idx="32">
                  <c:v>0.48</c:v>
                </c:pt>
                <c:pt idx="33">
                  <c:v>0.32941176470588235</c:v>
                </c:pt>
                <c:pt idx="34">
                  <c:v>0.2894736842105263</c:v>
                </c:pt>
                <c:pt idx="35">
                  <c:v>0.3333333333333333</c:v>
                </c:pt>
                <c:pt idx="36">
                  <c:v>0.5256410256410257</c:v>
                </c:pt>
                <c:pt idx="37">
                  <c:v>0.5</c:v>
                </c:pt>
                <c:pt idx="38">
                  <c:v>0.36486486486486486</c:v>
                </c:pt>
                <c:pt idx="39">
                  <c:v>0.22413793103448276</c:v>
                </c:pt>
                <c:pt idx="40">
                  <c:v>0.3026315789473684</c:v>
                </c:pt>
                <c:pt idx="41">
                  <c:v>0.21212121212121213</c:v>
                </c:pt>
                <c:pt idx="42">
                  <c:v>0.2558139534883721</c:v>
                </c:pt>
                <c:pt idx="43">
                  <c:v>0.18018018018018017</c:v>
                </c:pt>
                <c:pt idx="44">
                  <c:v>0.2236842105263158</c:v>
                </c:pt>
                <c:pt idx="45">
                  <c:v>0.2948717948717949</c:v>
                </c:pt>
                <c:pt idx="46">
                  <c:v>0.3142857142857143</c:v>
                </c:pt>
                <c:pt idx="47">
                  <c:v>0.32786885245901637</c:v>
                </c:pt>
                <c:pt idx="48">
                  <c:v>0.3108108108108108</c:v>
                </c:pt>
                <c:pt idx="49">
                  <c:v>0.2840909090909091</c:v>
                </c:pt>
                <c:pt idx="50">
                  <c:v>0.265625</c:v>
                </c:pt>
              </c:numCache>
            </c:numRef>
          </c:yVal>
          <c:smooth val="0"/>
          <c:extLst>
            <c:ext xmlns:c16="http://schemas.microsoft.com/office/drawing/2014/chart" uri="{C3380CC4-5D6E-409C-BE32-E72D297353CC}">
              <c16:uniqueId val="{00000002-096C-4121-9522-6AB7243CCAAE}"/>
            </c:ext>
          </c:extLst>
        </c:ser>
        <c:ser>
          <c:idx val="2"/>
          <c:order val="2"/>
          <c:tx>
            <c:strRef>
              <c:f>Sheet1!$B$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62:$A$63</c:f>
              <c:numCache>
                <c:formatCode>General</c:formatCode>
                <c:ptCount val="2"/>
                <c:pt idx="0">
                  <c:v>0</c:v>
                </c:pt>
                <c:pt idx="1">
                  <c:v>0.04479083985404719</c:v>
                </c:pt>
              </c:numCache>
            </c:numRef>
          </c:xVal>
          <c:yVal>
            <c:numRef>
              <c:f>Sheet1!$B$62:$B$63</c:f>
              <c:numCache>
                <c:formatCode>General</c:formatCode>
                <c:ptCount val="2"/>
                <c:pt idx="0">
                  <c:v>0.7575439443544584</c:v>
                </c:pt>
                <c:pt idx="1">
                  <c:v>0.7575439443544584</c:v>
                </c:pt>
              </c:numCache>
            </c:numRef>
          </c:yVal>
          <c:smooth val="0"/>
          <c:extLst>
            <c:ext xmlns:c16="http://schemas.microsoft.com/office/drawing/2014/chart" uri="{C3380CC4-5D6E-409C-BE32-E72D297353CC}">
              <c16:uniqueId val="{00000005-096C-4121-9522-6AB7243CCAAE}"/>
            </c:ext>
          </c:extLst>
        </c:ser>
        <c:ser>
          <c:idx val="3"/>
          <c:order val="3"/>
          <c:tx>
            <c:strRef>
              <c:f>Sheet1!$B$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6:$A$67</c:f>
              <c:numCache>
                <c:formatCode>General</c:formatCode>
                <c:ptCount val="2"/>
                <c:pt idx="0">
                  <c:v>0.04479083985404719</c:v>
                </c:pt>
                <c:pt idx="1">
                  <c:v>0.04479083985404719</c:v>
                </c:pt>
              </c:numCache>
            </c:numRef>
          </c:xVal>
          <c:yVal>
            <c:numRef>
              <c:f>Sheet1!$B$66:$B$67</c:f>
              <c:numCache>
                <c:formatCode>General</c:formatCode>
                <c:ptCount val="2"/>
                <c:pt idx="0">
                  <c:v>0.757543944354458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70:$A$71</c:f>
              <c:numCache>
                <c:formatCode>General</c:formatCode>
                <c:ptCount val="2"/>
                <c:pt idx="0">
                  <c:v>0</c:v>
                </c:pt>
                <c:pt idx="1">
                  <c:v>0.028780401687557935</c:v>
                </c:pt>
              </c:numCache>
            </c:numRef>
          </c:xVal>
          <c:yVal>
            <c:numRef>
              <c:f>Sheet1!$B$70:$B$71</c:f>
              <c:numCache>
                <c:formatCode>General</c:formatCode>
                <c:ptCount val="2"/>
                <c:pt idx="0">
                  <c:v>0.7660977462964488</c:v>
                </c:pt>
                <c:pt idx="1">
                  <c:v>0.7660977462964488</c:v>
                </c:pt>
              </c:numCache>
            </c:numRef>
          </c:yVal>
          <c:smooth val="0"/>
          <c:extLst>
            <c:ext xmlns:c16="http://schemas.microsoft.com/office/drawing/2014/chart" uri="{C3380CC4-5D6E-409C-BE32-E72D297353CC}">
              <c16:uniqueId val="{0000000D-096C-4121-9522-6AB7243CCAAE}"/>
            </c:ext>
          </c:extLst>
        </c:ser>
        <c:ser>
          <c:idx val="5"/>
          <c:order val="5"/>
          <c:tx>
            <c:strRef>
              <c:f>Sheet1!$B$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4:$A$75</c:f>
              <c:numCache>
                <c:formatCode>General</c:formatCode>
                <c:ptCount val="2"/>
                <c:pt idx="0">
                  <c:v>0.028780401687557935</c:v>
                </c:pt>
                <c:pt idx="1">
                  <c:v>0.028780401687557935</c:v>
                </c:pt>
              </c:numCache>
            </c:numRef>
          </c:xVal>
          <c:yVal>
            <c:numRef>
              <c:f>Sheet1!$B$74:$B$75</c:f>
              <c:numCache>
                <c:formatCode>General</c:formatCode>
                <c:ptCount val="2"/>
                <c:pt idx="0">
                  <c:v>0.766097746296448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78:$A$79</c:f>
              <c:numCache>
                <c:formatCode>General</c:formatCode>
                <c:ptCount val="2"/>
                <c:pt idx="0">
                  <c:v>0</c:v>
                </c:pt>
                <c:pt idx="1">
                  <c:v>0.9500021179927652</c:v>
                </c:pt>
              </c:numCache>
            </c:numRef>
          </c:xVal>
          <c:yVal>
            <c:numRef>
              <c:f>Sheet1!$B$78:$B$79</c:f>
              <c:numCache>
                <c:formatCode>General</c:formatCode>
                <c:ptCount val="2"/>
                <c:pt idx="0">
                  <c:v>0.27392207789854167</c:v>
                </c:pt>
                <c:pt idx="1">
                  <c:v>0.27392207789854167</c:v>
                </c:pt>
              </c:numCache>
            </c:numRef>
          </c:yVal>
          <c:smooth val="0"/>
          <c:extLst>
            <c:ext xmlns:c16="http://schemas.microsoft.com/office/drawing/2014/chart" uri="{C3380CC4-5D6E-409C-BE32-E72D297353CC}">
              <c16:uniqueId val="{00000015-096C-4121-9522-6AB7243CCAAE}"/>
            </c:ext>
          </c:extLst>
        </c:ser>
        <c:ser>
          <c:idx val="7"/>
          <c:order val="7"/>
          <c:tx>
            <c:strRef>
              <c:f>Sheet1!$B$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2:$A$83</c:f>
              <c:numCache>
                <c:formatCode>General</c:formatCode>
                <c:ptCount val="2"/>
                <c:pt idx="0">
                  <c:v>0.9500021179927652</c:v>
                </c:pt>
                <c:pt idx="1">
                  <c:v>0.9500021179927652</c:v>
                </c:pt>
              </c:numCache>
            </c:numRef>
          </c:xVal>
          <c:yVal>
            <c:numRef>
              <c:f>Sheet1!$B$82:$B$83</c:f>
              <c:numCache>
                <c:formatCode>General</c:formatCode>
                <c:ptCount val="2"/>
                <c:pt idx="0">
                  <c:v>0.2739220778985416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86:$A$139</c:f>
              <c:numCache>
                <c:formatCode>General</c:formatCode>
                <c:ptCount val="54"/>
                <c:pt idx="0">
                  <c:v>0.3073467696930672</c:v>
                </c:pt>
                <c:pt idx="1">
                  <c:v>0.5387177899433473</c:v>
                </c:pt>
                <c:pt idx="2">
                  <c:v>0.450639625260236</c:v>
                </c:pt>
                <c:pt idx="3">
                  <c:v>0.4167808939250866</c:v>
                </c:pt>
                <c:pt idx="4">
                  <c:v>0.5865401217983164</c:v>
                </c:pt>
                <c:pt idx="5">
                  <c:v>0.4748434875457994</c:v>
                </c:pt>
                <c:pt idx="6">
                  <c:v>0.48268415538203024</c:v>
                </c:pt>
                <c:pt idx="7">
                  <c:v>0.45172380455572947</c:v>
                </c:pt>
                <c:pt idx="8">
                  <c:v>0.4403862091828278</c:v>
                </c:pt>
                <c:pt idx="9">
                  <c:v>0.3967868461407395</c:v>
                </c:pt>
                <c:pt idx="10">
                  <c:v>0.3016504329529821</c:v>
                </c:pt>
                <c:pt idx="11">
                  <c:v>0.24434138652840395</c:v>
                </c:pt>
                <c:pt idx="12">
                  <c:v>0.26658249564401554</c:v>
                </c:pt>
                <c:pt idx="13">
                  <c:v>0.3166243237064696</c:v>
                </c:pt>
                <c:pt idx="14">
                  <c:v>0.29159245926810545</c:v>
                </c:pt>
                <c:pt idx="15">
                  <c:v>0.37820314676515127</c:v>
                </c:pt>
                <c:pt idx="16">
                  <c:v>0.3344274969672463</c:v>
                </c:pt>
                <c:pt idx="17">
                  <c:v>0.36991099432415386</c:v>
                </c:pt>
                <c:pt idx="18">
                  <c:v>0.4621831543502453</c:v>
                </c:pt>
                <c:pt idx="19">
                  <c:v>0.4222885041951972</c:v>
                </c:pt>
                <c:pt idx="20">
                  <c:v>0.5102918433179724</c:v>
                </c:pt>
                <c:pt idx="21">
                  <c:v>0.5098359477124184</c:v>
                </c:pt>
                <c:pt idx="22">
                  <c:v>0.2990139078751857</c:v>
                </c:pt>
                <c:pt idx="23">
                  <c:v>0.44052659884932877</c:v>
                </c:pt>
                <c:pt idx="24">
                  <c:v>0.36385782208588957</c:v>
                </c:pt>
                <c:pt idx="25">
                  <c:v>0.45945290677674583</c:v>
                </c:pt>
                <c:pt idx="26">
                  <c:v>0.49018893036839756</c:v>
                </c:pt>
                <c:pt idx="27">
                  <c:v>0.6812984564511487</c:v>
                </c:pt>
                <c:pt idx="28">
                  <c:v>0.8004724914158261</c:v>
                </c:pt>
                <c:pt idx="29">
                  <c:v>0.84482050063136</c:v>
                </c:pt>
                <c:pt idx="30">
                  <c:v>1.3346237119323252</c:v>
                </c:pt>
                <c:pt idx="31">
                  <c:v>0.6238525225642212</c:v>
                </c:pt>
                <c:pt idx="32">
                  <c:v>0.5635057801059586</c:v>
                </c:pt>
                <c:pt idx="33">
                  <c:v>0.6805350081403854</c:v>
                </c:pt>
                <c:pt idx="34">
                  <c:v>0.56475997989452</c:v>
                </c:pt>
                <c:pt idx="35">
                  <c:v>0.43378313083637005</c:v>
                </c:pt>
                <c:pt idx="36">
                  <c:v>0.3371818102291045</c:v>
                </c:pt>
                <c:pt idx="37">
                  <c:v>0.21737789748337683</c:v>
                </c:pt>
                <c:pt idx="38">
                  <c:v>0.4512719028741328</c:v>
                </c:pt>
                <c:pt idx="39">
                  <c:v>0.37443611140018973</c:v>
                </c:pt>
                <c:pt idx="40">
                  <c:v>0.38596041572525985</c:v>
                </c:pt>
                <c:pt idx="41">
                  <c:v>0.5990791781067384</c:v>
                </c:pt>
                <c:pt idx="42">
                  <c:v>0.3969069895552101</c:v>
                </c:pt>
                <c:pt idx="43">
                  <c:v>0.44573770972253524</c:v>
                </c:pt>
                <c:pt idx="44">
                  <c:v>0.5325576777966421</c:v>
                </c:pt>
                <c:pt idx="45">
                  <c:v>0.39559411830732966</c:v>
                </c:pt>
                <c:pt idx="46">
                  <c:v>0.28635840187421346</c:v>
                </c:pt>
                <c:pt idx="47">
                  <c:v>0.4862590660538574</c:v>
                </c:pt>
                <c:pt idx="48">
                  <c:v>0.6328058136645963</c:v>
                </c:pt>
                <c:pt idx="49">
                  <c:v>0.6237402570265758</c:v>
                </c:pt>
                <c:pt idx="50">
                  <c:v>0.5790773643326633</c:v>
                </c:pt>
                <c:pt idx="51">
                  <c:v>0.028780401687557935</c:v>
                </c:pt>
                <c:pt idx="52">
                  <c:v>0.04479083985404719</c:v>
                </c:pt>
                <c:pt idx="53">
                  <c:v>0.9500021179927652</c:v>
                </c:pt>
              </c:numCache>
            </c:numRef>
          </c:xVal>
          <c:yVal>
            <c:numRef>
              <c:f>Sheet1!$B$86:$B$139</c:f>
              <c:numCache>
                <c:formatCode>General</c:formatCode>
                <c:ptCount val="54"/>
                <c:pt idx="0">
                  <c:v>0.6172697432873822</c:v>
                </c:pt>
                <c:pt idx="1">
                  <c:v>0.4936565191047039</c:v>
                </c:pt>
                <c:pt idx="2">
                  <c:v>0.5407135183122748</c:v>
                </c:pt>
                <c:pt idx="3">
                  <c:v>0.5588030220995055</c:v>
                </c:pt>
                <c:pt idx="4">
                  <c:v>0.46810676519804717</c:v>
                </c:pt>
                <c:pt idx="5">
                  <c:v>0.527782264209857</c:v>
                </c:pt>
                <c:pt idx="6">
                  <c:v>0.5235932770586852</c:v>
                </c:pt>
                <c:pt idx="7">
                  <c:v>0.5401342802635205</c:v>
                </c:pt>
                <c:pt idx="8">
                  <c:v>0.5461915501714242</c:v>
                </c:pt>
                <c:pt idx="9">
                  <c:v>0.5694851235502929</c:v>
                </c:pt>
                <c:pt idx="10">
                  <c:v>0.6203130913683583</c:v>
                </c:pt>
                <c:pt idx="11">
                  <c:v>0.6509312560620774</c:v>
                </c:pt>
                <c:pt idx="12">
                  <c:v>0.6390486304670244</c:v>
                </c:pt>
                <c:pt idx="13">
                  <c:v>0.6123130794714684</c:v>
                </c:pt>
                <c:pt idx="14">
                  <c:v>0.6256867053783896</c:v>
                </c:pt>
                <c:pt idx="15">
                  <c:v>0.5794137265126396</c:v>
                </c:pt>
                <c:pt idx="16">
                  <c:v>0.6028014835720905</c:v>
                </c:pt>
                <c:pt idx="17">
                  <c:v>0.5838439256686841</c:v>
                </c:pt>
                <c:pt idx="18">
                  <c:v>0.5345462254174298</c:v>
                </c:pt>
                <c:pt idx="19">
                  <c:v>0.555860503791493</c:v>
                </c:pt>
                <c:pt idx="20">
                  <c:v>0.5088434811927229</c:v>
                </c:pt>
                <c:pt idx="21">
                  <c:v>0.5090870498368527</c:v>
                </c:pt>
                <c:pt idx="22">
                  <c:v>0.6217216920010233</c:v>
                </c:pt>
                <c:pt idx="23">
                  <c:v>0.5461165450160709</c:v>
                </c:pt>
                <c:pt idx="24">
                  <c:v>0.5870779181371252</c:v>
                </c:pt>
                <c:pt idx="25">
                  <c:v>0.5360048986125954</c:v>
                </c:pt>
                <c:pt idx="26">
                  <c:v>0.519583745390342</c:v>
                </c:pt>
                <c:pt idx="27">
                  <c:v>0.4174807911588302</c:v>
                </c:pt>
                <c:pt idx="28">
                  <c:v>0.3538103855699731</c:v>
                </c:pt>
                <c:pt idx="29">
                  <c:v>0.3301168374355297</c:v>
                </c:pt>
                <c:pt idx="30">
                  <c:v>0.0684325776762581</c:v>
                </c:pt>
                <c:pt idx="31">
                  <c:v>0.44817208990604007</c:v>
                </c:pt>
                <c:pt idx="32">
                  <c:v>0.48041318646220454</c:v>
                </c:pt>
                <c:pt idx="33">
                  <c:v>0.4178886741646111</c:v>
                </c:pt>
                <c:pt idx="34">
                  <c:v>0.4797431125719412</c:v>
                </c:pt>
                <c:pt idx="35">
                  <c:v>0.549719337718255</c:v>
                </c:pt>
                <c:pt idx="36">
                  <c:v>0.6013299529441877</c:v>
                </c:pt>
                <c:pt idx="37">
                  <c:v>0.6653368796032827</c:v>
                </c:pt>
                <c:pt idx="38">
                  <c:v>0.5403757150975602</c:v>
                </c:pt>
                <c:pt idx="39">
                  <c:v>0.5814263181784816</c:v>
                </c:pt>
                <c:pt idx="40">
                  <c:v>0.5752692963848994</c:v>
                </c:pt>
                <c:pt idx="41">
                  <c:v>0.4614075978744319</c:v>
                </c:pt>
                <c:pt idx="42">
                  <c:v>0.5694209352400588</c:v>
                </c:pt>
                <c:pt idx="43">
                  <c:v>0.543332435684169</c:v>
                </c:pt>
                <c:pt idx="44">
                  <c:v>0.49694764572443956</c:v>
                </c:pt>
                <c:pt idx="45">
                  <c:v>0.570122355183281</c:v>
                </c:pt>
                <c:pt idx="46">
                  <c:v>0.6284830742119466</c:v>
                </c:pt>
                <c:pt idx="47">
                  <c:v>0.5216833307143609</c:v>
                </c:pt>
                <c:pt idx="48">
                  <c:v>0.4433886681155053</c:v>
                </c:pt>
                <c:pt idx="49">
                  <c:v>0.44823206934969706</c:v>
                </c:pt>
                <c:pt idx="50">
                  <c:v>0.47209384841454005</c:v>
                </c:pt>
                <c:pt idx="51">
                  <c:v>0.7660977462964488</c:v>
                </c:pt>
                <c:pt idx="52">
                  <c:v>0.7575439443544584</c:v>
                </c:pt>
                <c:pt idx="53">
                  <c:v>0.273922077898541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cean Poti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92134831460674"/>
          <c:min val="0.1441441441441441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c:f>
              <c:numCache>
                <c:formatCode>General</c:formatCode>
                <c:ptCount val="4"/>
                <c:pt idx="0">
                  <c:v>1353.375</c:v>
                </c:pt>
                <c:pt idx="1">
                  <c:v>1353.7333</c:v>
                </c:pt>
                <c:pt idx="2">
                  <c:v>1401.8235</c:v>
                </c:pt>
                <c:pt idx="3">
                  <c:v>1359.2857</c:v>
                </c:pt>
              </c:numCache>
            </c:numRef>
          </c:xVal>
          <c:yVal>
            <c:numRef>
              <c:f>Sheet1!$B$2:$B$5</c:f>
              <c:numCache>
                <c:formatCode>General</c:formatCode>
                <c:ptCount val="4"/>
                <c:pt idx="0">
                  <c:v>0.3404255319148936</c:v>
                </c:pt>
                <c:pt idx="1">
                  <c:v>0.46875</c:v>
                </c:pt>
                <c:pt idx="2">
                  <c:v>0.4473684210526316</c:v>
                </c:pt>
                <c:pt idx="3">
                  <c:v>0.4</c:v>
                </c:pt>
              </c:numCache>
            </c:numRef>
          </c:yVal>
          <c:smooth val="0"/>
          <c:extLst>
            <c:ext xmlns:c16="http://schemas.microsoft.com/office/drawing/2014/chart" uri="{C3380CC4-5D6E-409C-BE32-E72D297353CC}">
              <c16:uniqueId val="{00000000-F32D-48B7-BC20-E66FC6253BAD}"/>
            </c:ext>
          </c:extLst>
        </c:ser>
        <c:ser>
          <c:idx val="1"/>
          <c:order val="1"/>
          <c:tx>
            <c:strRef>
              <c:f>Sheet1!$B$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A$59</c:f>
              <c:numCache>
                <c:formatCode>General</c:formatCode>
                <c:ptCount val="52"/>
                <c:pt idx="0">
                  <c:v>1431.9286</c:v>
                </c:pt>
                <c:pt idx="1">
                  <c:v>1336.918</c:v>
                </c:pt>
                <c:pt idx="2">
                  <c:v>1298.7434</c:v>
                </c:pt>
                <c:pt idx="3">
                  <c:v>1324.1129</c:v>
                </c:pt>
                <c:pt idx="4">
                  <c:v>1309.8614</c:v>
                </c:pt>
                <c:pt idx="5">
                  <c:v>1328.2955</c:v>
                </c:pt>
                <c:pt idx="6">
                  <c:v>1220.8289</c:v>
                </c:pt>
                <c:pt idx="7">
                  <c:v>1088.4074</c:v>
                </c:pt>
                <c:pt idx="8">
                  <c:v>1298.9318</c:v>
                </c:pt>
                <c:pt idx="9">
                  <c:v>1328.425</c:v>
                </c:pt>
                <c:pt idx="10">
                  <c:v>1164.371</c:v>
                </c:pt>
                <c:pt idx="11">
                  <c:v>931.8736</c:v>
                </c:pt>
                <c:pt idx="12">
                  <c:v>852.67</c:v>
                </c:pt>
                <c:pt idx="13">
                  <c:v>795.5888</c:v>
                </c:pt>
                <c:pt idx="14">
                  <c:v>831.0122</c:v>
                </c:pt>
                <c:pt idx="15">
                  <c:v>854.5846</c:v>
                </c:pt>
                <c:pt idx="16">
                  <c:v>823.0781</c:v>
                </c:pt>
                <c:pt idx="17">
                  <c:v>827.0392</c:v>
                </c:pt>
                <c:pt idx="18">
                  <c:v>879.8333</c:v>
                </c:pt>
                <c:pt idx="19">
                  <c:v>839.5227</c:v>
                </c:pt>
                <c:pt idx="20">
                  <c:v>875.7419</c:v>
                </c:pt>
                <c:pt idx="21">
                  <c:v>1107.3333</c:v>
                </c:pt>
                <c:pt idx="22">
                  <c:v>936.0588</c:v>
                </c:pt>
                <c:pt idx="23">
                  <c:v>1006.1818</c:v>
                </c:pt>
                <c:pt idx="24">
                  <c:v>1056.6471</c:v>
                </c:pt>
                <c:pt idx="25">
                  <c:v>948.9412</c:v>
                </c:pt>
                <c:pt idx="26">
                  <c:v>1001.7222</c:v>
                </c:pt>
                <c:pt idx="27">
                  <c:v>971.5</c:v>
                </c:pt>
                <c:pt idx="28">
                  <c:v>1017.4706</c:v>
                </c:pt>
                <c:pt idx="29">
                  <c:v>1164.1538</c:v>
                </c:pt>
                <c:pt idx="30">
                  <c:v>1421.7273</c:v>
                </c:pt>
                <c:pt idx="31">
                  <c:v>1285.0</c:v>
                </c:pt>
                <c:pt idx="32">
                  <c:v>1078.2667</c:v>
                </c:pt>
                <c:pt idx="33">
                  <c:v>1183.2917</c:v>
                </c:pt>
                <c:pt idx="34">
                  <c:v>1517.9643</c:v>
                </c:pt>
                <c:pt idx="35">
                  <c:v>1277.8636</c:v>
                </c:pt>
                <c:pt idx="36">
                  <c:v>1131.8125</c:v>
                </c:pt>
                <c:pt idx="37">
                  <c:v>741.5854</c:v>
                </c:pt>
                <c:pt idx="38">
                  <c:v>645.6667</c:v>
                </c:pt>
                <c:pt idx="39">
                  <c:v>910.6667</c:v>
                </c:pt>
                <c:pt idx="40">
                  <c:v>850.9231</c:v>
                </c:pt>
                <c:pt idx="41">
                  <c:v>854.1304</c:v>
                </c:pt>
                <c:pt idx="42">
                  <c:v>1242.3571</c:v>
                </c:pt>
                <c:pt idx="43">
                  <c:v>909.6364</c:v>
                </c:pt>
                <c:pt idx="44">
                  <c:v>927.75</c:v>
                </c:pt>
                <c:pt idx="45">
                  <c:v>1129.2353</c:v>
                </c:pt>
                <c:pt idx="46">
                  <c:v>881.087</c:v>
                </c:pt>
                <c:pt idx="47">
                  <c:v>675.5455</c:v>
                </c:pt>
                <c:pt idx="48">
                  <c:v>991.05</c:v>
                </c:pt>
                <c:pt idx="49">
                  <c:v>1273.5217</c:v>
                </c:pt>
                <c:pt idx="50">
                  <c:v>1287.16</c:v>
                </c:pt>
                <c:pt idx="51">
                  <c:v>1332.5294</c:v>
                </c:pt>
              </c:numCache>
            </c:numRef>
          </c:xVal>
          <c:yVal>
            <c:numRef>
              <c:f>Sheet1!$B$8:$B$59</c:f>
              <c:numCache>
                <c:formatCode>General</c:formatCode>
                <c:ptCount val="52"/>
                <c:pt idx="0">
                  <c:v>0.3333333333333333</c:v>
                </c:pt>
                <c:pt idx="1">
                  <c:v>0.7439024390243902</c:v>
                </c:pt>
                <c:pt idx="2">
                  <c:v>0.8692307692307693</c:v>
                </c:pt>
                <c:pt idx="3">
                  <c:v>0.8322147651006712</c:v>
                </c:pt>
                <c:pt idx="4">
                  <c:v>0.8211382113821138</c:v>
                </c:pt>
                <c:pt idx="5">
                  <c:v>0.8</c:v>
                </c:pt>
                <c:pt idx="6">
                  <c:v>0.8636363636363636</c:v>
                </c:pt>
                <c:pt idx="7">
                  <c:v>0.9101123595505618</c:v>
                </c:pt>
                <c:pt idx="8">
                  <c:v>0.7213114754098361</c:v>
                </c:pt>
                <c:pt idx="9">
                  <c:v>0.7272727272727273</c:v>
                </c:pt>
                <c:pt idx="10">
                  <c:v>0.7469879518072289</c:v>
                </c:pt>
                <c:pt idx="11">
                  <c:v>0.7837837837837838</c:v>
                </c:pt>
                <c:pt idx="12">
                  <c:v>0.8130081300813008</c:v>
                </c:pt>
                <c:pt idx="13">
                  <c:v>0.823076923076923</c:v>
                </c:pt>
                <c:pt idx="14">
                  <c:v>0.8367346938775511</c:v>
                </c:pt>
                <c:pt idx="15">
                  <c:v>0.8024691358024691</c:v>
                </c:pt>
                <c:pt idx="16">
                  <c:v>0.7710843373493976</c:v>
                </c:pt>
                <c:pt idx="17">
                  <c:v>0.8947368421052632</c:v>
                </c:pt>
                <c:pt idx="18">
                  <c:v>0.7346938775510204</c:v>
                </c:pt>
                <c:pt idx="19">
                  <c:v>0.7096774193548387</c:v>
                </c:pt>
                <c:pt idx="20">
                  <c:v>0.7045454545454546</c:v>
                </c:pt>
                <c:pt idx="21">
                  <c:v>0.5</c:v>
                </c:pt>
                <c:pt idx="22">
                  <c:v>0.5666666666666667</c:v>
                </c:pt>
                <c:pt idx="23">
                  <c:v>0.5945945945945946</c:v>
                </c:pt>
                <c:pt idx="24">
                  <c:v>0.6071428571428571</c:v>
                </c:pt>
                <c:pt idx="25">
                  <c:v>0.6538461538461539</c:v>
                </c:pt>
                <c:pt idx="26">
                  <c:v>0.5</c:v>
                </c:pt>
                <c:pt idx="27">
                  <c:v>0.4117647058823529</c:v>
                </c:pt>
                <c:pt idx="28">
                  <c:v>0.40476190476190477</c:v>
                </c:pt>
                <c:pt idx="29">
                  <c:v>0.3939393939393939</c:v>
                </c:pt>
                <c:pt idx="30">
                  <c:v>0.275</c:v>
                </c:pt>
                <c:pt idx="31">
                  <c:v>0.21875</c:v>
                </c:pt>
                <c:pt idx="32">
                  <c:v>0.40540540540540543</c:v>
                </c:pt>
                <c:pt idx="33">
                  <c:v>0.48</c:v>
                </c:pt>
                <c:pt idx="34">
                  <c:v>0.32941176470588235</c:v>
                </c:pt>
                <c:pt idx="35">
                  <c:v>0.2894736842105263</c:v>
                </c:pt>
                <c:pt idx="36">
                  <c:v>0.3333333333333333</c:v>
                </c:pt>
                <c:pt idx="37">
                  <c:v>0.5256410256410257</c:v>
                </c:pt>
                <c:pt idx="38">
                  <c:v>0.5</c:v>
                </c:pt>
                <c:pt idx="39">
                  <c:v>0.36486486486486486</c:v>
                </c:pt>
                <c:pt idx="40">
                  <c:v>0.22413793103448276</c:v>
                </c:pt>
                <c:pt idx="41">
                  <c:v>0.3026315789473684</c:v>
                </c:pt>
                <c:pt idx="42">
                  <c:v>0.21212121212121213</c:v>
                </c:pt>
                <c:pt idx="43">
                  <c:v>0.2558139534883721</c:v>
                </c:pt>
                <c:pt idx="44">
                  <c:v>0.18018018018018017</c:v>
                </c:pt>
                <c:pt idx="45">
                  <c:v>0.2236842105263158</c:v>
                </c:pt>
                <c:pt idx="46">
                  <c:v>0.2948717948717949</c:v>
                </c:pt>
                <c:pt idx="47">
                  <c:v>0.3142857142857143</c:v>
                </c:pt>
                <c:pt idx="48">
                  <c:v>0.32786885245901637</c:v>
                </c:pt>
                <c:pt idx="49">
                  <c:v>0.3108108108108108</c:v>
                </c:pt>
                <c:pt idx="50">
                  <c:v>0.2840909090909091</c:v>
                </c:pt>
                <c:pt idx="51">
                  <c:v>0.265625</c:v>
                </c:pt>
              </c:numCache>
            </c:numRef>
          </c:yVal>
          <c:smooth val="0"/>
          <c:extLst>
            <c:ext xmlns:c16="http://schemas.microsoft.com/office/drawing/2014/chart" uri="{C3380CC4-5D6E-409C-BE32-E72D297353CC}">
              <c16:uniqueId val="{00000002-F32D-48B7-BC20-E66FC6253BAD}"/>
            </c:ext>
          </c:extLst>
        </c:ser>
        <c:ser>
          <c:idx val="2"/>
          <c:order val="2"/>
          <c:tx>
            <c:strRef>
              <c:f>Sheet1!$B$61</c:f>
              <c:strCache>
                <c:ptCount val="1"/>
                <c:pt idx="0">
                  <c:v>Custom Linep3yQ</c:v>
                </c:pt>
              </c:strCache>
            </c:strRef>
          </c:tx>
          <c:spPr>
            <a:ln w="19050" cap="rnd">
              <a:solidFill>
                <a:srgbClr val="C00000"/>
              </a:solidFill>
              <a:prstDash val="sysDot"/>
              <a:round/>
            </a:ln>
            <a:effectLst/>
          </c:spPr>
          <c:marker>
            <c:symbol val="none"/>
          </c:marker>
          <c:xVal>
            <c:numRef>
              <c:f>Sheet1!$A$62:$A$63</c:f>
              <c:numCache>
                <c:formatCode>General</c:formatCode>
                <c:ptCount val="2"/>
                <c:pt idx="0">
                  <c:v>0</c:v>
                </c:pt>
                <c:pt idx="1">
                  <c:v>-757.2157006443888</c:v>
                </c:pt>
              </c:numCache>
            </c:numRef>
          </c:xVal>
          <c:yVal>
            <c:numRef>
              <c:f>Sheet1!$B$62:$B$63</c:f>
              <c:numCache>
                <c:formatCode>General</c:formatCode>
                <c:ptCount val="2"/>
                <c:pt idx="0">
                  <c:v>0.7575439443544584</c:v>
                </c:pt>
                <c:pt idx="1">
                  <c:v>0.7575439443544584</c:v>
                </c:pt>
              </c:numCache>
            </c:numRef>
          </c:yVal>
          <c:smooth val="0"/>
          <c:extLst>
            <c:ext xmlns:c16="http://schemas.microsoft.com/office/drawing/2014/chart" uri="{C3380CC4-5D6E-409C-BE32-E72D297353CC}">
              <c16:uniqueId val="{00000003-F32D-48B7-BC20-E66FC6253BAD}"/>
            </c:ext>
          </c:extLst>
        </c:ser>
        <c:ser>
          <c:idx val="3"/>
          <c:order val="3"/>
          <c:tx>
            <c:strRef>
              <c:f>Sheet1!$B$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6:$A$67</c:f>
              <c:numCache>
                <c:formatCode>General</c:formatCode>
                <c:ptCount val="2"/>
                <c:pt idx="0">
                  <c:v>-757.2157006443888</c:v>
                </c:pt>
                <c:pt idx="1">
                  <c:v>-757.2157006443888</c:v>
                </c:pt>
              </c:numCache>
            </c:numRef>
          </c:xVal>
          <c:yVal>
            <c:numRef>
              <c:f>Sheet1!$B$66:$B$67</c:f>
              <c:numCache>
                <c:formatCode>General</c:formatCode>
                <c:ptCount val="2"/>
                <c:pt idx="0">
                  <c:v>0.757543944354458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70:$A$71</c:f>
              <c:numCache>
                <c:formatCode>General</c:formatCode>
                <c:ptCount val="2"/>
                <c:pt idx="0">
                  <c:v>0</c:v>
                </c:pt>
                <c:pt idx="1">
                  <c:v>-827.1113799430922</c:v>
                </c:pt>
              </c:numCache>
            </c:numRef>
          </c:xVal>
          <c:yVal>
            <c:numRef>
              <c:f>Sheet1!$B$70:$B$71</c:f>
              <c:numCache>
                <c:formatCode>General</c:formatCode>
                <c:ptCount val="2"/>
                <c:pt idx="0">
                  <c:v>0.7660977462964488</c:v>
                </c:pt>
                <c:pt idx="1">
                  <c:v>0.7660977462964488</c:v>
                </c:pt>
              </c:numCache>
            </c:numRef>
          </c:yVal>
          <c:smooth val="0"/>
          <c:extLst>
            <c:ext xmlns:c16="http://schemas.microsoft.com/office/drawing/2014/chart" uri="{C3380CC4-5D6E-409C-BE32-E72D297353CC}">
              <c16:uniqueId val="{0000000A-F32D-48B7-BC20-E66FC6253BAD}"/>
            </c:ext>
          </c:extLst>
        </c:ser>
        <c:ser>
          <c:idx val="5"/>
          <c:order val="5"/>
          <c:tx>
            <c:strRef>
              <c:f>Sheet1!$B$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4:$A$75</c:f>
              <c:numCache>
                <c:formatCode>General</c:formatCode>
                <c:ptCount val="2"/>
                <c:pt idx="0">
                  <c:v>-827.1113799430922</c:v>
                </c:pt>
                <c:pt idx="1">
                  <c:v>-827.1113799430922</c:v>
                </c:pt>
              </c:numCache>
            </c:numRef>
          </c:xVal>
          <c:yVal>
            <c:numRef>
              <c:f>Sheet1!$B$74:$B$75</c:f>
              <c:numCache>
                <c:formatCode>General</c:formatCode>
                <c:ptCount val="2"/>
                <c:pt idx="0">
                  <c:v>0.766097746296448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78:$A$79</c:f>
              <c:numCache>
                <c:formatCode>General</c:formatCode>
                <c:ptCount val="2"/>
                <c:pt idx="0">
                  <c:v>0</c:v>
                </c:pt>
                <c:pt idx="1">
                  <c:v>3194.6035148210312</c:v>
                </c:pt>
              </c:numCache>
            </c:numRef>
          </c:xVal>
          <c:yVal>
            <c:numRef>
              <c:f>Sheet1!$B$78:$B$79</c:f>
              <c:numCache>
                <c:formatCode>General</c:formatCode>
                <c:ptCount val="2"/>
                <c:pt idx="0">
                  <c:v>0.27392207789854167</c:v>
                </c:pt>
                <c:pt idx="1">
                  <c:v>0.27392207789854167</c:v>
                </c:pt>
              </c:numCache>
            </c:numRef>
          </c:yVal>
          <c:smooth val="0"/>
          <c:extLst>
            <c:ext xmlns:c16="http://schemas.microsoft.com/office/drawing/2014/chart" uri="{C3380CC4-5D6E-409C-BE32-E72D297353CC}">
              <c16:uniqueId val="{00000011-F32D-48B7-BC20-E66FC6253BAD}"/>
            </c:ext>
          </c:extLst>
        </c:ser>
        <c:ser>
          <c:idx val="7"/>
          <c:order val="7"/>
          <c:tx>
            <c:strRef>
              <c:f>Sheet1!$B$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2:$A$83</c:f>
              <c:numCache>
                <c:formatCode>General</c:formatCode>
                <c:ptCount val="2"/>
                <c:pt idx="0">
                  <c:v>3194.6035148210312</c:v>
                </c:pt>
                <c:pt idx="1">
                  <c:v>3194.6035148210312</c:v>
                </c:pt>
              </c:numCache>
            </c:numRef>
          </c:xVal>
          <c:yVal>
            <c:numRef>
              <c:f>Sheet1!$B$82:$B$83</c:f>
              <c:numCache>
                <c:formatCode>General</c:formatCode>
                <c:ptCount val="2"/>
                <c:pt idx="0">
                  <c:v>0.2739220778985416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86:$A$140</c:f>
              <c:numCache>
                <c:formatCode>General</c:formatCode>
                <c:ptCount val="55"/>
                <c:pt idx="0">
                  <c:v>1431.9286</c:v>
                </c:pt>
                <c:pt idx="1">
                  <c:v>1336.918</c:v>
                </c:pt>
                <c:pt idx="2">
                  <c:v>1298.7434</c:v>
                </c:pt>
                <c:pt idx="3">
                  <c:v>1324.1129</c:v>
                </c:pt>
                <c:pt idx="4">
                  <c:v>1309.8614</c:v>
                </c:pt>
                <c:pt idx="5">
                  <c:v>1328.2955</c:v>
                </c:pt>
                <c:pt idx="6">
                  <c:v>1220.8289</c:v>
                </c:pt>
                <c:pt idx="7">
                  <c:v>1088.4074</c:v>
                </c:pt>
                <c:pt idx="8">
                  <c:v>1298.9318</c:v>
                </c:pt>
                <c:pt idx="9">
                  <c:v>1328.425</c:v>
                </c:pt>
                <c:pt idx="10">
                  <c:v>1164.371</c:v>
                </c:pt>
                <c:pt idx="11">
                  <c:v>931.8736</c:v>
                </c:pt>
                <c:pt idx="12">
                  <c:v>852.67</c:v>
                </c:pt>
                <c:pt idx="13">
                  <c:v>795.5888</c:v>
                </c:pt>
                <c:pt idx="14">
                  <c:v>831.0122</c:v>
                </c:pt>
                <c:pt idx="15">
                  <c:v>854.5846</c:v>
                </c:pt>
                <c:pt idx="16">
                  <c:v>823.0781</c:v>
                </c:pt>
                <c:pt idx="17">
                  <c:v>827.0392</c:v>
                </c:pt>
                <c:pt idx="18">
                  <c:v>879.8333</c:v>
                </c:pt>
                <c:pt idx="19">
                  <c:v>839.5227</c:v>
                </c:pt>
                <c:pt idx="20">
                  <c:v>875.7419</c:v>
                </c:pt>
                <c:pt idx="21">
                  <c:v>1107.3333</c:v>
                </c:pt>
                <c:pt idx="22">
                  <c:v>936.0588</c:v>
                </c:pt>
                <c:pt idx="23">
                  <c:v>1006.1818</c:v>
                </c:pt>
                <c:pt idx="24">
                  <c:v>1056.6471</c:v>
                </c:pt>
                <c:pt idx="25">
                  <c:v>948.9412</c:v>
                </c:pt>
                <c:pt idx="26">
                  <c:v>1001.7222</c:v>
                </c:pt>
                <c:pt idx="27">
                  <c:v>971.5</c:v>
                </c:pt>
                <c:pt idx="28">
                  <c:v>1017.4706</c:v>
                </c:pt>
                <c:pt idx="29">
                  <c:v>1164.1538</c:v>
                </c:pt>
                <c:pt idx="30">
                  <c:v>1421.7273</c:v>
                </c:pt>
                <c:pt idx="31">
                  <c:v>1285.0</c:v>
                </c:pt>
                <c:pt idx="32">
                  <c:v>1078.2667</c:v>
                </c:pt>
                <c:pt idx="33">
                  <c:v>1183.2917</c:v>
                </c:pt>
                <c:pt idx="34">
                  <c:v>1517.9643</c:v>
                </c:pt>
                <c:pt idx="35">
                  <c:v>1277.8636</c:v>
                </c:pt>
                <c:pt idx="36">
                  <c:v>1131.8125</c:v>
                </c:pt>
                <c:pt idx="37">
                  <c:v>741.5854</c:v>
                </c:pt>
                <c:pt idx="38">
                  <c:v>645.6667</c:v>
                </c:pt>
                <c:pt idx="39">
                  <c:v>910.6667</c:v>
                </c:pt>
                <c:pt idx="40">
                  <c:v>850.9231</c:v>
                </c:pt>
                <c:pt idx="41">
                  <c:v>854.1304</c:v>
                </c:pt>
                <c:pt idx="42">
                  <c:v>1242.3571</c:v>
                </c:pt>
                <c:pt idx="43">
                  <c:v>909.6364</c:v>
                </c:pt>
                <c:pt idx="44">
                  <c:v>927.75</c:v>
                </c:pt>
                <c:pt idx="45">
                  <c:v>1129.2353</c:v>
                </c:pt>
                <c:pt idx="46">
                  <c:v>881.087</c:v>
                </c:pt>
                <c:pt idx="47">
                  <c:v>675.5455</c:v>
                </c:pt>
                <c:pt idx="48">
                  <c:v>991.05</c:v>
                </c:pt>
                <c:pt idx="49">
                  <c:v>1273.5217</c:v>
                </c:pt>
                <c:pt idx="50">
                  <c:v>1287.16</c:v>
                </c:pt>
                <c:pt idx="51">
                  <c:v>1332.5294</c:v>
                </c:pt>
                <c:pt idx="52">
                  <c:v>-827.1113799430922</c:v>
                </c:pt>
                <c:pt idx="53">
                  <c:v>-757.2157006443888</c:v>
                </c:pt>
                <c:pt idx="54">
                  <c:v>3194.6035148210312</c:v>
                </c:pt>
              </c:numCache>
            </c:numRef>
          </c:xVal>
          <c:yVal>
            <c:numRef>
              <c:f>Sheet1!$B$86:$B$140</c:f>
              <c:numCache>
                <c:formatCode>General</c:formatCode>
                <c:ptCount val="55"/>
                <c:pt idx="0">
                  <c:v>0.4896374448679218</c:v>
                </c:pt>
                <c:pt idx="1">
                  <c:v>0.5012647995620017</c:v>
                </c:pt>
                <c:pt idx="2">
                  <c:v>0.5059365900201676</c:v>
                </c:pt>
                <c:pt idx="3">
                  <c:v>0.5028318819674717</c:v>
                </c:pt>
                <c:pt idx="4">
                  <c:v>0.5045759741574241</c:v>
                </c:pt>
                <c:pt idx="5">
                  <c:v>0.5023200172519194</c:v>
                </c:pt>
                <c:pt idx="6">
                  <c:v>0.5154717316497528</c:v>
                </c:pt>
                <c:pt idx="7">
                  <c:v>0.5316774155378883</c:v>
                </c:pt>
                <c:pt idx="8">
                  <c:v>0.5059135337125096</c:v>
                </c:pt>
                <c:pt idx="9">
                  <c:v>0.5023041690998934</c:v>
                </c:pt>
                <c:pt idx="10">
                  <c:v>0.5223810241769328</c:v>
                </c:pt>
                <c:pt idx="11">
                  <c:v>0.5508339519055372</c:v>
                </c:pt>
                <c:pt idx="12">
                  <c:v>0.560526853016024</c:v>
                </c:pt>
                <c:pt idx="13">
                  <c:v>0.5675124247181679</c:v>
                </c:pt>
                <c:pt idx="14">
                  <c:v>0.563177324884357</c:v>
                </c:pt>
                <c:pt idx="15">
                  <c:v>0.5602925451251436</c:v>
                </c:pt>
                <c:pt idx="16">
                  <c:v>0.5641482964904547</c:v>
                </c:pt>
                <c:pt idx="17">
                  <c:v>0.5636635388457422</c:v>
                </c:pt>
                <c:pt idx="18">
                  <c:v>0.5572026205223686</c:v>
                </c:pt>
                <c:pt idx="19">
                  <c:v>0.5621358137042997</c:v>
                </c:pt>
                <c:pt idx="20">
                  <c:v>0.557703324222749</c:v>
                </c:pt>
                <c:pt idx="21">
                  <c:v>0.5293612723685506</c:v>
                </c:pt>
                <c:pt idx="22">
                  <c:v>0.5503217690031489</c:v>
                </c:pt>
                <c:pt idx="23">
                  <c:v>0.5417401476554997</c:v>
                </c:pt>
                <c:pt idx="24">
                  <c:v>0.5355642268335794</c:v>
                </c:pt>
                <c:pt idx="25">
                  <c:v>0.5487452266582841</c:v>
                </c:pt>
                <c:pt idx="26">
                  <c:v>0.542285911507046</c:v>
                </c:pt>
                <c:pt idx="27">
                  <c:v>0.5459844908133067</c:v>
                </c:pt>
                <c:pt idx="28">
                  <c:v>0.5403586293652192</c:v>
                </c:pt>
                <c:pt idx="29">
                  <c:v>0.5224076050156977</c:v>
                </c:pt>
                <c:pt idx="30">
                  <c:v>0.49088587539504946</c:v>
                </c:pt>
                <c:pt idx="31">
                  <c:v>0.5076185011595837</c:v>
                </c:pt>
                <c:pt idx="32">
                  <c:v>0.5329184298641452</c:v>
                </c:pt>
                <c:pt idx="33">
                  <c:v>0.5200655173812672</c:v>
                </c:pt>
                <c:pt idx="34">
                  <c:v>0.479108434417999</c:v>
                </c:pt>
                <c:pt idx="35">
                  <c:v>0.5084918505967921</c:v>
                </c:pt>
                <c:pt idx="36">
                  <c:v>0.5263655188312892</c:v>
                </c:pt>
                <c:pt idx="37">
                  <c:v>0.5741213366341674</c:v>
                </c:pt>
                <c:pt idx="38">
                  <c:v>0.585859824199713</c:v>
                </c:pt>
                <c:pt idx="39">
                  <c:v>0.5534292428337272</c:v>
                </c:pt>
                <c:pt idx="40">
                  <c:v>0.5607406378559797</c:v>
                </c:pt>
                <c:pt idx="41">
                  <c:v>0.5603481299178094</c:v>
                </c:pt>
                <c:pt idx="42">
                  <c:v>0.512837120171401</c:v>
                </c:pt>
                <c:pt idx="43">
                  <c:v>0.5535553304864871</c:v>
                </c:pt>
                <c:pt idx="44">
                  <c:v>0.5513385962275025</c:v>
                </c:pt>
                <c:pt idx="45">
                  <c:v>0.5266809154135399</c:v>
                </c:pt>
                <c:pt idx="46">
                  <c:v>0.5570491932776195</c:v>
                </c:pt>
                <c:pt idx="47">
                  <c:v>0.5822032700317206</c:v>
                </c:pt>
                <c:pt idx="48">
                  <c:v>0.5435919705653631</c:v>
                </c:pt>
                <c:pt idx="49">
                  <c:v>0.5090232103750297</c:v>
                </c:pt>
                <c:pt idx="50">
                  <c:v>0.5073541613265629</c:v>
                </c:pt>
                <c:pt idx="51">
                  <c:v>0.5018018744653328</c:v>
                </c:pt>
                <c:pt idx="52">
                  <c:v>0.7660977462964488</c:v>
                </c:pt>
                <c:pt idx="53">
                  <c:v>0.7575439443544584</c:v>
                </c:pt>
                <c:pt idx="54">
                  <c:v>0.273922077898541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83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92134831460674"/>
          <c:min val="0.1441441441441441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16</c:f>
              <c:numCache>
                <c:formatCode>General</c:formatCode>
                <c:ptCount val="115"/>
                <c:pt idx="0">
                  <c:v>0.6320218579234972</c:v>
                </c:pt>
                <c:pt idx="1">
                  <c:v>0.9133128474850694</c:v>
                </c:pt>
                <c:pt idx="2">
                  <c:v>0.7419590876450406</c:v>
                </c:pt>
                <c:pt idx="3">
                  <c:v>0.9025289010452029</c:v>
                </c:pt>
                <c:pt idx="4">
                  <c:v>0.8793132739353668</c:v>
                </c:pt>
                <c:pt idx="5">
                  <c:v>0.6265955487249906</c:v>
                </c:pt>
                <c:pt idx="6">
                  <c:v>0.7691669214187732</c:v>
                </c:pt>
                <c:pt idx="7">
                  <c:v>0.8458305084745763</c:v>
                </c:pt>
                <c:pt idx="8">
                  <c:v>0.4562927044302402</c:v>
                </c:pt>
                <c:pt idx="9">
                  <c:v>0.5970911279141441</c:v>
                </c:pt>
                <c:pt idx="10">
                  <c:v>0.41218534398752676</c:v>
                </c:pt>
                <c:pt idx="11">
                  <c:v>0.6772304995617878</c:v>
                </c:pt>
                <c:pt idx="12">
                  <c:v>0.503073790822654</c:v>
                </c:pt>
                <c:pt idx="13">
                  <c:v>1.0859902064330293</c:v>
                </c:pt>
                <c:pt idx="14">
                  <c:v>0.6686873637702504</c:v>
                </c:pt>
                <c:pt idx="15">
                  <c:v>0.724504086140254</c:v>
                </c:pt>
                <c:pt idx="16">
                  <c:v>0.5240630323679727</c:v>
                </c:pt>
                <c:pt idx="17">
                  <c:v>0.7628165207877462</c:v>
                </c:pt>
                <c:pt idx="18">
                  <c:v>0.5817572420397414</c:v>
                </c:pt>
                <c:pt idx="19">
                  <c:v>0.8493089698394046</c:v>
                </c:pt>
                <c:pt idx="20">
                  <c:v>1.6934591604295477</c:v>
                </c:pt>
                <c:pt idx="21">
                  <c:v>1.1194214876033057</c:v>
                </c:pt>
                <c:pt idx="22">
                  <c:v>0.8027981345769487</c:v>
                </c:pt>
                <c:pt idx="23">
                  <c:v>0.0</c:v>
                </c:pt>
                <c:pt idx="24">
                  <c:v>0.7089430894308943</c:v>
                </c:pt>
                <c:pt idx="25">
                  <c:v>0.0</c:v>
                </c:pt>
                <c:pt idx="26">
                  <c:v>0.4232693911592994</c:v>
                </c:pt>
                <c:pt idx="27">
                  <c:v>1.017864434463046</c:v>
                </c:pt>
                <c:pt idx="28">
                  <c:v>1.3672043010752688</c:v>
                </c:pt>
                <c:pt idx="29">
                  <c:v>2.2904970238831326</c:v>
                </c:pt>
                <c:pt idx="30">
                  <c:v>0.0</c:v>
                </c:pt>
                <c:pt idx="31">
                  <c:v>0.9072810967741934</c:v>
                </c:pt>
                <c:pt idx="32">
                  <c:v>1.1857608348134991</c:v>
                </c:pt>
                <c:pt idx="33">
                  <c:v>1.149857566137566</c:v>
                </c:pt>
                <c:pt idx="34">
                  <c:v>1.2560470798569725</c:v>
                </c:pt>
                <c:pt idx="35">
                  <c:v>1.503379371143109</c:v>
                </c:pt>
                <c:pt idx="36">
                  <c:v>1.4620967741935484</c:v>
                </c:pt>
                <c:pt idx="37">
                  <c:v>0.0</c:v>
                </c:pt>
                <c:pt idx="38">
                  <c:v>0.0</c:v>
                </c:pt>
                <c:pt idx="39">
                  <c:v>0.0</c:v>
                </c:pt>
                <c:pt idx="40">
                  <c:v>1.172711788856305</c:v>
                </c:pt>
                <c:pt idx="41">
                  <c:v>0.7628512887723897</c:v>
                </c:pt>
                <c:pt idx="42">
                  <c:v>1.5567028532608698</c:v>
                </c:pt>
                <c:pt idx="43">
                  <c:v>0.0</c:v>
                </c:pt>
                <c:pt idx="44">
                  <c:v>0.0</c:v>
                </c:pt>
                <c:pt idx="45">
                  <c:v>0.0</c:v>
                </c:pt>
                <c:pt idx="46">
                  <c:v>1.4615173913043478</c:v>
                </c:pt>
                <c:pt idx="47">
                  <c:v>2.574647</c:v>
                </c:pt>
                <c:pt idx="48">
                  <c:v>1.1481357603686637</c:v>
                </c:pt>
                <c:pt idx="49">
                  <c:v>0.0</c:v>
                </c:pt>
                <c:pt idx="50">
                  <c:v>0.0</c:v>
                </c:pt>
                <c:pt idx="51">
                  <c:v>0.0</c:v>
                </c:pt>
                <c:pt idx="52">
                  <c:v>5.275852985074627</c:v>
                </c:pt>
                <c:pt idx="53">
                  <c:v>8.285229325513196</c:v>
                </c:pt>
                <c:pt idx="54">
                  <c:v>0.0</c:v>
                </c:pt>
                <c:pt idx="55">
                  <c:v>0.0</c:v>
                </c:pt>
                <c:pt idx="56">
                  <c:v>1.8657974852071006</c:v>
                </c:pt>
                <c:pt idx="57">
                  <c:v>0.0</c:v>
                </c:pt>
                <c:pt idx="58">
                  <c:v>1.2765622294372294</c:v>
                </c:pt>
                <c:pt idx="59">
                  <c:v>0.0</c:v>
                </c:pt>
                <c:pt idx="60">
                  <c:v>0.0</c:v>
                </c:pt>
                <c:pt idx="61">
                  <c:v>0.0</c:v>
                </c:pt>
                <c:pt idx="62">
                  <c:v>0.0</c:v>
                </c:pt>
                <c:pt idx="63">
                  <c:v>0.0</c:v>
                </c:pt>
                <c:pt idx="64">
                  <c:v>0.0</c:v>
                </c:pt>
                <c:pt idx="65">
                  <c:v>0.0</c:v>
                </c:pt>
                <c:pt idx="66">
                  <c:v>0.0</c:v>
                </c:pt>
                <c:pt idx="67">
                  <c:v>0.0</c:v>
                </c:pt>
                <c:pt idx="68">
                  <c:v>0.0</c:v>
                </c:pt>
                <c:pt idx="69">
                  <c:v>0.0</c:v>
                </c:pt>
                <c:pt idx="70">
                  <c:v>0.0</c:v>
                </c:pt>
                <c:pt idx="71">
                  <c:v>0.0</c:v>
                </c:pt>
                <c:pt idx="72">
                  <c:v>0.0</c:v>
                </c:pt>
                <c:pt idx="73">
                  <c:v>0.0</c:v>
                </c:pt>
                <c:pt idx="74">
                  <c:v>0.0</c:v>
                </c:pt>
                <c:pt idx="75">
                  <c:v>0.0</c:v>
                </c:pt>
                <c:pt idx="76">
                  <c:v>0.0</c:v>
                </c:pt>
                <c:pt idx="77">
                  <c:v>0.0</c:v>
                </c:pt>
                <c:pt idx="78">
                  <c:v>0.0</c:v>
                </c:pt>
                <c:pt idx="79">
                  <c:v>0.0</c:v>
                </c:pt>
                <c:pt idx="80">
                  <c:v>0.0</c:v>
                </c:pt>
                <c:pt idx="81">
                  <c:v>0.0</c:v>
                </c:pt>
                <c:pt idx="82">
                  <c:v>0.0</c:v>
                </c:pt>
                <c:pt idx="83">
                  <c:v>0.0</c:v>
                </c:pt>
                <c:pt idx="84">
                  <c:v>0.0</c:v>
                </c:pt>
                <c:pt idx="85">
                  <c:v>0.0</c:v>
                </c:pt>
                <c:pt idx="86">
                  <c:v>0.0</c:v>
                </c:pt>
                <c:pt idx="87">
                  <c:v>0.0</c:v>
                </c:pt>
                <c:pt idx="88">
                  <c:v>0.0</c:v>
                </c:pt>
                <c:pt idx="89">
                  <c:v>0.0</c:v>
                </c:pt>
                <c:pt idx="90">
                  <c:v>0.0</c:v>
                </c:pt>
                <c:pt idx="91">
                  <c:v>0.0</c:v>
                </c:pt>
                <c:pt idx="92">
                  <c:v>0.0</c:v>
                </c:pt>
                <c:pt idx="93">
                  <c:v>0.0</c:v>
                </c:pt>
                <c:pt idx="94">
                  <c:v>0.0</c:v>
                </c:pt>
                <c:pt idx="95">
                  <c:v>0.0</c:v>
                </c:pt>
                <c:pt idx="96">
                  <c:v>0.0</c:v>
                </c:pt>
                <c:pt idx="97">
                  <c:v>0.0</c:v>
                </c:pt>
                <c:pt idx="98">
                  <c:v>0.0</c:v>
                </c:pt>
                <c:pt idx="99">
                  <c:v>0.0</c:v>
                </c:pt>
                <c:pt idx="100">
                  <c:v>0.0</c:v>
                </c:pt>
                <c:pt idx="101">
                  <c:v>0.0</c:v>
                </c:pt>
                <c:pt idx="102">
                  <c:v>0.0</c:v>
                </c:pt>
                <c:pt idx="103">
                  <c:v>0.0</c:v>
                </c:pt>
                <c:pt idx="104">
                  <c:v>0.0</c:v>
                </c:pt>
                <c:pt idx="105">
                  <c:v>0.0</c:v>
                </c:pt>
                <c:pt idx="106">
                  <c:v>0.0</c:v>
                </c:pt>
                <c:pt idx="107">
                  <c:v>0.0</c:v>
                </c:pt>
                <c:pt idx="108">
                  <c:v>0.0</c:v>
                </c:pt>
                <c:pt idx="109">
                  <c:v>0.0</c:v>
                </c:pt>
                <c:pt idx="110">
                  <c:v>0.0</c:v>
                </c:pt>
                <c:pt idx="111">
                  <c:v>0.0</c:v>
                </c:pt>
                <c:pt idx="112">
                  <c:v>0.0</c:v>
                </c:pt>
                <c:pt idx="113">
                  <c:v>0.0</c:v>
                </c:pt>
                <c:pt idx="114">
                  <c:v>0.0</c:v>
                </c:pt>
              </c:numCache>
            </c:numRef>
          </c:xVal>
          <c:yVal>
            <c:numRef>
              <c:f>Sheet1!$B$2:$B$116</c:f>
              <c:numCache>
                <c:formatCode>General</c:formatCode>
                <c:ptCount val="115"/>
                <c:pt idx="0">
                  <c:v>0.5882352941176471</c:v>
                </c:pt>
                <c:pt idx="1">
                  <c:v>0.5217391304347826</c:v>
                </c:pt>
                <c:pt idx="2">
                  <c:v>0.6666666666666666</c:v>
                </c:pt>
                <c:pt idx="3">
                  <c:v>0.7</c:v>
                </c:pt>
                <c:pt idx="4">
                  <c:v>0.7619047619047619</c:v>
                </c:pt>
                <c:pt idx="5">
                  <c:v>0.8636363636363636</c:v>
                </c:pt>
                <c:pt idx="6">
                  <c:v>0.8947368421052632</c:v>
                </c:pt>
                <c:pt idx="7">
                  <c:v>0.8928571428571429</c:v>
                </c:pt>
                <c:pt idx="8">
                  <c:v>0.9090909090909091</c:v>
                </c:pt>
                <c:pt idx="9">
                  <c:v>0.8333333333333334</c:v>
                </c:pt>
                <c:pt idx="10">
                  <c:v>0.9512195121951219</c:v>
                </c:pt>
                <c:pt idx="11">
                  <c:v>0.9259259259259259</c:v>
                </c:pt>
                <c:pt idx="12">
                  <c:v>0.96875</c:v>
                </c:pt>
                <c:pt idx="13">
                  <c:v>0.9444444444444444</c:v>
                </c:pt>
                <c:pt idx="14">
                  <c:v>0.9393939393939394</c:v>
                </c:pt>
                <c:pt idx="15">
                  <c:v>0.9285714285714286</c:v>
                </c:pt>
                <c:pt idx="16">
                  <c:v>0.9333333333333333</c:v>
                </c:pt>
                <c:pt idx="17">
                  <c:v>0.7777777777777778</c:v>
                </c:pt>
                <c:pt idx="18">
                  <c:v>0.8181818181818182</c:v>
                </c:pt>
                <c:pt idx="19">
                  <c:v>0.7777777777777778</c:v>
                </c:pt>
                <c:pt idx="20">
                  <c:v>0.7647058823529411</c:v>
                </c:pt>
                <c:pt idx="21">
                  <c:v>0.8571428571428571</c:v>
                </c:pt>
                <c:pt idx="22">
                  <c:v>0.8333333333333334</c:v>
                </c:pt>
                <c:pt idx="23">
                  <c:v>1.0</c:v>
                </c:pt>
                <c:pt idx="24">
                  <c:v>0.9090909090909091</c:v>
                </c:pt>
                <c:pt idx="25">
                  <c:v>1.0</c:v>
                </c:pt>
                <c:pt idx="26">
                  <c:v>0.8888888888888888</c:v>
                </c:pt>
                <c:pt idx="27">
                  <c:v>0.8</c:v>
                </c:pt>
                <c:pt idx="28">
                  <c:v>0.9230769230769231</c:v>
                </c:pt>
                <c:pt idx="29">
                  <c:v>0.8333333333333334</c:v>
                </c:pt>
                <c:pt idx="30">
                  <c:v>1.0</c:v>
                </c:pt>
                <c:pt idx="31">
                  <c:v>0.875</c:v>
                </c:pt>
                <c:pt idx="32">
                  <c:v>0.8571428571428571</c:v>
                </c:pt>
                <c:pt idx="33">
                  <c:v>0.9285714285714286</c:v>
                </c:pt>
                <c:pt idx="34">
                  <c:v>0.85</c:v>
                </c:pt>
                <c:pt idx="35">
                  <c:v>0.7647058823529411</c:v>
                </c:pt>
                <c:pt idx="36">
                  <c:v>0.9166666666666666</c:v>
                </c:pt>
                <c:pt idx="37">
                  <c:v>1.0</c:v>
                </c:pt>
                <c:pt idx="38">
                  <c:v>1.0</c:v>
                </c:pt>
                <c:pt idx="39">
                  <c:v>1.0</c:v>
                </c:pt>
                <c:pt idx="40">
                  <c:v>0.9047619047619048</c:v>
                </c:pt>
                <c:pt idx="41">
                  <c:v>0.8571428571428571</c:v>
                </c:pt>
                <c:pt idx="42">
                  <c:v>0.7894736842105263</c:v>
                </c:pt>
                <c:pt idx="43">
                  <c:v>1.0</c:v>
                </c:pt>
                <c:pt idx="44">
                  <c:v>1.0</c:v>
                </c:pt>
                <c:pt idx="45">
                  <c:v>1.0</c:v>
                </c:pt>
                <c:pt idx="46">
                  <c:v>0.96</c:v>
                </c:pt>
                <c:pt idx="47">
                  <c:v>0.918918918918919</c:v>
                </c:pt>
                <c:pt idx="48">
                  <c:v>0.9777777777777777</c:v>
                </c:pt>
                <c:pt idx="49">
                  <c:v>0.7096774193548387</c:v>
                </c:pt>
                <c:pt idx="50">
                  <c:v>0.5135135135135135</c:v>
                </c:pt>
                <c:pt idx="51">
                  <c:v>0.5428571428571428</c:v>
                </c:pt>
                <c:pt idx="52">
                  <c:v>0.4827586206896552</c:v>
                </c:pt>
                <c:pt idx="53">
                  <c:v>0.59375</c:v>
                </c:pt>
                <c:pt idx="54">
                  <c:v>0.45161290322580644</c:v>
                </c:pt>
                <c:pt idx="55">
                  <c:v>0.7746478873239436</c:v>
                </c:pt>
                <c:pt idx="56">
                  <c:v>0.7288135593220338</c:v>
                </c:pt>
                <c:pt idx="57">
                  <c:v>0.7428571428571429</c:v>
                </c:pt>
                <c:pt idx="58">
                  <c:v>0.7796610169491526</c:v>
                </c:pt>
                <c:pt idx="59">
                  <c:v>0.5952380952380952</c:v>
                </c:pt>
                <c:pt idx="60">
                  <c:v>0.6792452830188679</c:v>
                </c:pt>
                <c:pt idx="61">
                  <c:v>0.6428571428571429</c:v>
                </c:pt>
                <c:pt idx="62">
                  <c:v>0.5238095238095238</c:v>
                </c:pt>
                <c:pt idx="63">
                  <c:v>0.75</c:v>
                </c:pt>
                <c:pt idx="64">
                  <c:v>0.7346938775510204</c:v>
                </c:pt>
                <c:pt idx="65">
                  <c:v>0.6216216216216216</c:v>
                </c:pt>
                <c:pt idx="66">
                  <c:v>0.5588235294117647</c:v>
                </c:pt>
                <c:pt idx="67">
                  <c:v>0.6153846153846154</c:v>
                </c:pt>
                <c:pt idx="68">
                  <c:v>0.38095238095238093</c:v>
                </c:pt>
                <c:pt idx="69">
                  <c:v>0.29411764705882354</c:v>
                </c:pt>
                <c:pt idx="70">
                  <c:v>0.36</c:v>
                </c:pt>
                <c:pt idx="71">
                  <c:v>0.5454545454545454</c:v>
                </c:pt>
                <c:pt idx="72">
                  <c:v>0.39473684210526316</c:v>
                </c:pt>
                <c:pt idx="73">
                  <c:v>0.3877551020408163</c:v>
                </c:pt>
                <c:pt idx="74">
                  <c:v>0.32727272727272727</c:v>
                </c:pt>
                <c:pt idx="75">
                  <c:v>0.32558139534883723</c:v>
                </c:pt>
                <c:pt idx="76">
                  <c:v>0.3148148148148148</c:v>
                </c:pt>
                <c:pt idx="77">
                  <c:v>0.32653061224489793</c:v>
                </c:pt>
                <c:pt idx="78">
                  <c:v>0.30952380952380953</c:v>
                </c:pt>
                <c:pt idx="79">
                  <c:v>0.4</c:v>
                </c:pt>
                <c:pt idx="80">
                  <c:v>0.4222222222222222</c:v>
                </c:pt>
                <c:pt idx="81">
                  <c:v>0.5238095238095238</c:v>
                </c:pt>
                <c:pt idx="82">
                  <c:v>0.5964912280701754</c:v>
                </c:pt>
                <c:pt idx="83">
                  <c:v>0.4603174603174603</c:v>
                </c:pt>
                <c:pt idx="84">
                  <c:v>0.3404255319148936</c:v>
                </c:pt>
                <c:pt idx="85">
                  <c:v>0.46875</c:v>
                </c:pt>
                <c:pt idx="86">
                  <c:v>0.4473684210526316</c:v>
                </c:pt>
                <c:pt idx="87">
                  <c:v>0.4</c:v>
                </c:pt>
                <c:pt idx="88">
                  <c:v>0.3333333333333333</c:v>
                </c:pt>
                <c:pt idx="89">
                  <c:v>0.7439024390243902</c:v>
                </c:pt>
                <c:pt idx="90">
                  <c:v>0.8692307692307693</c:v>
                </c:pt>
                <c:pt idx="91">
                  <c:v>0.8322147651006712</c:v>
                </c:pt>
                <c:pt idx="92">
                  <c:v>0.8</c:v>
                </c:pt>
                <c:pt idx="93">
                  <c:v>0.8636363636363636</c:v>
                </c:pt>
                <c:pt idx="94">
                  <c:v>0.9101123595505618</c:v>
                </c:pt>
                <c:pt idx="95">
                  <c:v>0.7213114754098361</c:v>
                </c:pt>
                <c:pt idx="96">
                  <c:v>0.7837837837837838</c:v>
                </c:pt>
                <c:pt idx="97">
                  <c:v>0.8130081300813008</c:v>
                </c:pt>
                <c:pt idx="98">
                  <c:v>0.8367346938775511</c:v>
                </c:pt>
                <c:pt idx="99">
                  <c:v>0.8947368421052632</c:v>
                </c:pt>
                <c:pt idx="100">
                  <c:v>0.7346938775510204</c:v>
                </c:pt>
                <c:pt idx="101">
                  <c:v>0.7096774193548387</c:v>
                </c:pt>
                <c:pt idx="102">
                  <c:v>0.5666666666666667</c:v>
                </c:pt>
                <c:pt idx="103">
                  <c:v>0.5945945945945946</c:v>
                </c:pt>
                <c:pt idx="104">
                  <c:v>0.6071428571428571</c:v>
                </c:pt>
                <c:pt idx="105">
                  <c:v>0.5</c:v>
                </c:pt>
                <c:pt idx="106">
                  <c:v>0.40476190476190477</c:v>
                </c:pt>
                <c:pt idx="107">
                  <c:v>0.3939393939393939</c:v>
                </c:pt>
                <c:pt idx="108">
                  <c:v>0.275</c:v>
                </c:pt>
                <c:pt idx="109">
                  <c:v>0.40540540540540543</c:v>
                </c:pt>
                <c:pt idx="110">
                  <c:v>0.48</c:v>
                </c:pt>
                <c:pt idx="111">
                  <c:v>0.32941176470588235</c:v>
                </c:pt>
                <c:pt idx="112">
                  <c:v>0.2894736842105263</c:v>
                </c:pt>
                <c:pt idx="113">
                  <c:v>0.36486486486486486</c:v>
                </c:pt>
                <c:pt idx="114">
                  <c:v>0.3026315789473684</c:v>
                </c:pt>
              </c:numCache>
            </c:numRef>
          </c:yVal>
          <c:smooth val="0"/>
          <c:extLst>
            <c:ext xmlns:c16="http://schemas.microsoft.com/office/drawing/2014/chart" uri="{C3380CC4-5D6E-409C-BE32-E72D297353CC}">
              <c16:uniqueId val="{00000000-096C-4121-9522-6AB7243CCAAE}"/>
            </c:ext>
          </c:extLst>
        </c:ser>
        <c:ser>
          <c:idx val="1"/>
          <c:order val="1"/>
          <c:tx>
            <c:strRef>
              <c:f>Sheet1!$B$11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19:$A$132</c:f>
              <c:numCache>
                <c:formatCode>General</c:formatCode>
                <c:ptCount val="14"/>
                <c:pt idx="0">
                  <c:v>5.292529880478088</c:v>
                </c:pt>
                <c:pt idx="1">
                  <c:v>0.3606932879377432</c:v>
                </c:pt>
                <c:pt idx="2">
                  <c:v>0.3084886287625418</c:v>
                </c:pt>
                <c:pt idx="3">
                  <c:v>0.4163028864970646</c:v>
                </c:pt>
                <c:pt idx="4">
                  <c:v>0.591598619047619</c:v>
                </c:pt>
                <c:pt idx="5">
                  <c:v>0.5070437012263099</c:v>
                </c:pt>
                <c:pt idx="6">
                  <c:v>0.25678106836424025</c:v>
                </c:pt>
                <c:pt idx="7">
                  <c:v>0.3031504161073826</c:v>
                </c:pt>
                <c:pt idx="8">
                  <c:v>0.5136036141066744</c:v>
                </c:pt>
                <c:pt idx="9">
                  <c:v>0.43499388280746937</c:v>
                </c:pt>
                <c:pt idx="10">
                  <c:v>0.8558290155440414</c:v>
                </c:pt>
                <c:pt idx="11">
                  <c:v>0.6704510134245855</c:v>
                </c:pt>
                <c:pt idx="12">
                  <c:v>0.73252014165759</c:v>
                </c:pt>
                <c:pt idx="13">
                  <c:v>0.7935265148131606</c:v>
                </c:pt>
              </c:numCache>
            </c:numRef>
          </c:xVal>
          <c:yVal>
            <c:numRef>
              <c:f>Sheet1!$B$119:$B$132</c:f>
              <c:numCache>
                <c:formatCode>General</c:formatCode>
                <c:ptCount val="14"/>
                <c:pt idx="0">
                  <c:v>0.7272727272727273</c:v>
                </c:pt>
                <c:pt idx="1">
                  <c:v>0.5256410256410257</c:v>
                </c:pt>
                <c:pt idx="2">
                  <c:v>0.5</c:v>
                </c:pt>
                <c:pt idx="3">
                  <c:v>0.22413793103448276</c:v>
                </c:pt>
                <c:pt idx="4">
                  <c:v>0.21212121212121213</c:v>
                </c:pt>
                <c:pt idx="5">
                  <c:v>0.2558139534883721</c:v>
                </c:pt>
                <c:pt idx="6">
                  <c:v>0.18018018018018017</c:v>
                </c:pt>
                <c:pt idx="7">
                  <c:v>0.2236842105263158</c:v>
                </c:pt>
                <c:pt idx="8">
                  <c:v>0.2948717948717949</c:v>
                </c:pt>
                <c:pt idx="9">
                  <c:v>0.3142857142857143</c:v>
                </c:pt>
                <c:pt idx="10">
                  <c:v>0.32786885245901637</c:v>
                </c:pt>
                <c:pt idx="11">
                  <c:v>0.3108108108108108</c:v>
                </c:pt>
                <c:pt idx="12">
                  <c:v>0.2840909090909091</c:v>
                </c:pt>
                <c:pt idx="13">
                  <c:v>0.265625</c:v>
                </c:pt>
              </c:numCache>
            </c:numRef>
          </c:yVal>
          <c:smooth val="0"/>
          <c:extLst>
            <c:ext xmlns:c16="http://schemas.microsoft.com/office/drawing/2014/chart" uri="{C3380CC4-5D6E-409C-BE32-E72D297353CC}">
              <c16:uniqueId val="{00000002-096C-4121-9522-6AB7243CCAAE}"/>
            </c:ext>
          </c:extLst>
        </c:ser>
        <c:ser>
          <c:idx val="2"/>
          <c:order val="2"/>
          <c:tx>
            <c:strRef>
              <c:f>Sheet1!$B$134</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5:$A$136</c:f>
              <c:numCache>
                <c:formatCode>General</c:formatCode>
                <c:ptCount val="2"/>
                <c:pt idx="0">
                  <c:v>0</c:v>
                </c:pt>
                <c:pt idx="1">
                  <c:v>7.8588255395254665</c:v>
                </c:pt>
              </c:numCache>
            </c:numRef>
          </c:xVal>
          <c:yVal>
            <c:numRef>
              <c:f>Sheet1!$B$135:$B$136</c:f>
              <c:numCache>
                <c:formatCode>General</c:formatCode>
                <c:ptCount val="2"/>
                <c:pt idx="0">
                  <c:v>0.9327292495945746</c:v>
                </c:pt>
                <c:pt idx="1">
                  <c:v>0.9327292495945746</c:v>
                </c:pt>
              </c:numCache>
            </c:numRef>
          </c:yVal>
          <c:smooth val="0"/>
          <c:extLst>
            <c:ext xmlns:c16="http://schemas.microsoft.com/office/drawing/2014/chart" uri="{C3380CC4-5D6E-409C-BE32-E72D297353CC}">
              <c16:uniqueId val="{00000005-096C-4121-9522-6AB7243CCAAE}"/>
            </c:ext>
          </c:extLst>
        </c:ser>
        <c:ser>
          <c:idx val="3"/>
          <c:order val="3"/>
          <c:tx>
            <c:strRef>
              <c:f>Sheet1!$B$138</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9:$A$140</c:f>
              <c:numCache>
                <c:formatCode>General</c:formatCode>
                <c:ptCount val="2"/>
                <c:pt idx="0">
                  <c:v>7.8588255395254665</c:v>
                </c:pt>
                <c:pt idx="1">
                  <c:v>7.8588255395254665</c:v>
                </c:pt>
              </c:numCache>
            </c:numRef>
          </c:xVal>
          <c:yVal>
            <c:numRef>
              <c:f>Sheet1!$B$139:$B$140</c:f>
              <c:numCache>
                <c:formatCode>General</c:formatCode>
                <c:ptCount val="2"/>
                <c:pt idx="0">
                  <c:v>0.932729249594574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2</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3:$A$144</c:f>
              <c:numCache>
                <c:formatCode>General</c:formatCode>
                <c:ptCount val="2"/>
                <c:pt idx="0">
                  <c:v>0</c:v>
                </c:pt>
                <c:pt idx="1">
                  <c:v>6.146147971173876</c:v>
                </c:pt>
              </c:numCache>
            </c:numRef>
          </c:xVal>
          <c:yVal>
            <c:numRef>
              <c:f>Sheet1!$B$143:$B$144</c:f>
              <c:numCache>
                <c:formatCode>General</c:formatCode>
                <c:ptCount val="2"/>
                <c:pt idx="0">
                  <c:v>0.7857010677180692</c:v>
                </c:pt>
                <c:pt idx="1">
                  <c:v>0.7857010677180692</c:v>
                </c:pt>
              </c:numCache>
            </c:numRef>
          </c:yVal>
          <c:smooth val="0"/>
          <c:extLst>
            <c:ext xmlns:c16="http://schemas.microsoft.com/office/drawing/2014/chart" uri="{C3380CC4-5D6E-409C-BE32-E72D297353CC}">
              <c16:uniqueId val="{0000000D-096C-4121-9522-6AB7243CCAAE}"/>
            </c:ext>
          </c:extLst>
        </c:ser>
        <c:ser>
          <c:idx val="5"/>
          <c:order val="5"/>
          <c:tx>
            <c:strRef>
              <c:f>Sheet1!$B$146</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7:$A$148</c:f>
              <c:numCache>
                <c:formatCode>General</c:formatCode>
                <c:ptCount val="2"/>
                <c:pt idx="0">
                  <c:v>6.146147971173876</c:v>
                </c:pt>
                <c:pt idx="1">
                  <c:v>6.146147971173876</c:v>
                </c:pt>
              </c:numCache>
            </c:numRef>
          </c:xVal>
          <c:yVal>
            <c:numRef>
              <c:f>Sheet1!$B$147:$B$148</c:f>
              <c:numCache>
                <c:formatCode>General</c:formatCode>
                <c:ptCount val="2"/>
                <c:pt idx="0">
                  <c:v>0.785701067718069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0</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1:$A$152</c:f>
              <c:numCache>
                <c:formatCode>General</c:formatCode>
                <c:ptCount val="2"/>
                <c:pt idx="0">
                  <c:v>0</c:v>
                </c:pt>
                <c:pt idx="1">
                  <c:v>0.18462151664858598</c:v>
                </c:pt>
              </c:numCache>
            </c:numRef>
          </c:xVal>
          <c:yVal>
            <c:numRef>
              <c:f>Sheet1!$B$151:$B$152</c:f>
              <c:numCache>
                <c:formatCode>General</c:formatCode>
                <c:ptCount val="2"/>
                <c:pt idx="0">
                  <c:v>0.27392207789854167</c:v>
                </c:pt>
                <c:pt idx="1">
                  <c:v>0.27392207789854167</c:v>
                </c:pt>
              </c:numCache>
            </c:numRef>
          </c:yVal>
          <c:smooth val="0"/>
          <c:extLst>
            <c:ext xmlns:c16="http://schemas.microsoft.com/office/drawing/2014/chart" uri="{C3380CC4-5D6E-409C-BE32-E72D297353CC}">
              <c16:uniqueId val="{00000015-096C-4121-9522-6AB7243CCAAE}"/>
            </c:ext>
          </c:extLst>
        </c:ser>
        <c:ser>
          <c:idx val="7"/>
          <c:order val="7"/>
          <c:tx>
            <c:strRef>
              <c:f>Sheet1!$B$154</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5:$A$156</c:f>
              <c:numCache>
                <c:formatCode>General</c:formatCode>
                <c:ptCount val="2"/>
                <c:pt idx="0">
                  <c:v>0.18462151664858598</c:v>
                </c:pt>
                <c:pt idx="1">
                  <c:v>0.18462151664858598</c:v>
                </c:pt>
              </c:numCache>
            </c:numRef>
          </c:xVal>
          <c:yVal>
            <c:numRef>
              <c:f>Sheet1!$B$155:$B$156</c:f>
              <c:numCache>
                <c:formatCode>General</c:formatCode>
                <c:ptCount val="2"/>
                <c:pt idx="0">
                  <c:v>0.2739220778985416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58</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59:$A$175</c:f>
              <c:numCache>
                <c:formatCode>General</c:formatCode>
                <c:ptCount val="17"/>
                <c:pt idx="0">
                  <c:v>5.292529880478088</c:v>
                </c:pt>
                <c:pt idx="1">
                  <c:v>0.3606932879377432</c:v>
                </c:pt>
                <c:pt idx="2">
                  <c:v>0.3084886287625418</c:v>
                </c:pt>
                <c:pt idx="3">
                  <c:v>0.4163028864970646</c:v>
                </c:pt>
                <c:pt idx="4">
                  <c:v>0.591598619047619</c:v>
                </c:pt>
                <c:pt idx="5">
                  <c:v>0.5070437012263099</c:v>
                </c:pt>
                <c:pt idx="6">
                  <c:v>0.25678106836424025</c:v>
                </c:pt>
                <c:pt idx="7">
                  <c:v>0.3031504161073826</c:v>
                </c:pt>
                <c:pt idx="8">
                  <c:v>0.5136036141066744</c:v>
                </c:pt>
                <c:pt idx="9">
                  <c:v>0.43499388280746937</c:v>
                </c:pt>
                <c:pt idx="10">
                  <c:v>0.8558290155440414</c:v>
                </c:pt>
                <c:pt idx="11">
                  <c:v>0.6704510134245855</c:v>
                </c:pt>
                <c:pt idx="12">
                  <c:v>0.73252014165759</c:v>
                </c:pt>
                <c:pt idx="13">
                  <c:v>0.7935265148131606</c:v>
                </c:pt>
                <c:pt idx="14">
                  <c:v>6.146147971173876</c:v>
                </c:pt>
                <c:pt idx="15">
                  <c:v>7.8588255395254665</c:v>
                </c:pt>
                <c:pt idx="16">
                  <c:v>0.18462151664858598</c:v>
                </c:pt>
              </c:numCache>
            </c:numRef>
          </c:xVal>
          <c:yVal>
            <c:numRef>
              <c:f>Sheet1!$B$159:$B$175</c:f>
              <c:numCache>
                <c:formatCode>General</c:formatCode>
                <c:ptCount val="17"/>
                <c:pt idx="0">
                  <c:v>0.7124205400746251</c:v>
                </c:pt>
                <c:pt idx="1">
                  <c:v>0.2890373061766447</c:v>
                </c:pt>
                <c:pt idx="2">
                  <c:v>0.2845556943041893</c:v>
                </c:pt>
                <c:pt idx="3">
                  <c:v>0.2938112217823291</c:v>
                </c:pt>
                <c:pt idx="4">
                  <c:v>0.30885982948519314</c:v>
                </c:pt>
                <c:pt idx="5">
                  <c:v>0.3016010458905964</c:v>
                </c:pt>
                <c:pt idx="6">
                  <c:v>0.2801167568561155</c:v>
                </c:pt>
                <c:pt idx="7">
                  <c:v>0.28409742491614937</c:v>
                </c:pt>
                <c:pt idx="8">
                  <c:v>0.30216419454267834</c:v>
                </c:pt>
                <c:pt idx="9">
                  <c:v>0.29541578720419326</c:v>
                </c:pt>
                <c:pt idx="10">
                  <c:v>0.33154320872205006</c:v>
                </c:pt>
                <c:pt idx="11">
                  <c:v>0.31562906871392493</c:v>
                </c:pt>
                <c:pt idx="12">
                  <c:v>0.32095751537743894</c:v>
                </c:pt>
                <c:pt idx="13">
                  <c:v>0.3261947277364332</c:v>
                </c:pt>
                <c:pt idx="14">
                  <c:v>0.7857010677180692</c:v>
                </c:pt>
                <c:pt idx="15">
                  <c:v>0.9327292495945746</c:v>
                </c:pt>
                <c:pt idx="16">
                  <c:v>0.2739220778985416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1441441441441441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1156.6</c:v>
                </c:pt>
                <c:pt idx="1">
                  <c:v>1202.75</c:v>
                </c:pt>
                <c:pt idx="2">
                  <c:v>1181.6111</c:v>
                </c:pt>
                <c:pt idx="3">
                  <c:v>1353.6429</c:v>
                </c:pt>
                <c:pt idx="4">
                  <c:v>1164.5625</c:v>
                </c:pt>
                <c:pt idx="5">
                  <c:v>1005.8947</c:v>
                </c:pt>
                <c:pt idx="6">
                  <c:v>981.2647</c:v>
                </c:pt>
                <c:pt idx="7">
                  <c:v>998.08</c:v>
                </c:pt>
                <c:pt idx="8">
                  <c:v>1035.1</c:v>
                </c:pt>
                <c:pt idx="9">
                  <c:v>1286.3333</c:v>
                </c:pt>
                <c:pt idx="10">
                  <c:v>1057.4615</c:v>
                </c:pt>
                <c:pt idx="11">
                  <c:v>1159.08</c:v>
                </c:pt>
                <c:pt idx="12">
                  <c:v>1216.9355</c:v>
                </c:pt>
                <c:pt idx="13">
                  <c:v>1131.0588</c:v>
                </c:pt>
                <c:pt idx="14">
                  <c:v>1135.0968</c:v>
                </c:pt>
                <c:pt idx="15">
                  <c:v>1312.0769</c:v>
                </c:pt>
                <c:pt idx="16">
                  <c:v>1230.5</c:v>
                </c:pt>
                <c:pt idx="17">
                  <c:v>1394.4286</c:v>
                </c:pt>
                <c:pt idx="18">
                  <c:v>1215.0</c:v>
                </c:pt>
                <c:pt idx="19">
                  <c:v>1084.1429</c:v>
                </c:pt>
                <c:pt idx="20">
                  <c:v>1301.0</c:v>
                </c:pt>
                <c:pt idx="21">
                  <c:v>1354.5</c:v>
                </c:pt>
                <c:pt idx="22">
                  <c:v>1205.0</c:v>
                </c:pt>
                <c:pt idx="23">
                  <c:v>1333.75</c:v>
                </c:pt>
                <c:pt idx="24">
                  <c:v>1308.0</c:v>
                </c:pt>
                <c:pt idx="25">
                  <c:v>1110.4</c:v>
                </c:pt>
                <c:pt idx="26">
                  <c:v>1015.0</c:v>
                </c:pt>
                <c:pt idx="27">
                  <c:v>1246.375</c:v>
                </c:pt>
                <c:pt idx="28">
                  <c:v>1271.5</c:v>
                </c:pt>
                <c:pt idx="29">
                  <c:v>1213.2</c:v>
                </c:pt>
                <c:pt idx="30">
                  <c:v>1465.5714</c:v>
                </c:pt>
                <c:pt idx="31">
                  <c:v>1406.2857</c:v>
                </c:pt>
                <c:pt idx="32">
                  <c:v>1335.1667</c:v>
                </c:pt>
                <c:pt idx="33">
                  <c:v>1086.6154</c:v>
                </c:pt>
                <c:pt idx="34">
                  <c:v>1053.8235</c:v>
                </c:pt>
                <c:pt idx="35">
                  <c:v>1279.0</c:v>
                </c:pt>
                <c:pt idx="36">
                  <c:v>906.5</c:v>
                </c:pt>
                <c:pt idx="37">
                  <c:v>827.4737</c:v>
                </c:pt>
                <c:pt idx="38">
                  <c:v>946.4375</c:v>
                </c:pt>
                <c:pt idx="39">
                  <c:v>1188.9091</c:v>
                </c:pt>
                <c:pt idx="40">
                  <c:v>999.7368</c:v>
                </c:pt>
                <c:pt idx="41">
                  <c:v>873.0833</c:v>
                </c:pt>
                <c:pt idx="42">
                  <c:v>1145.7333</c:v>
                </c:pt>
                <c:pt idx="43">
                  <c:v>857.5</c:v>
                </c:pt>
                <c:pt idx="44">
                  <c:v>1181.8947</c:v>
                </c:pt>
                <c:pt idx="45">
                  <c:v>1202.75</c:v>
                </c:pt>
                <c:pt idx="46">
                  <c:v>1109.2917</c:v>
                </c:pt>
                <c:pt idx="47">
                  <c:v>1287.3235</c:v>
                </c:pt>
                <c:pt idx="48">
                  <c:v>1245.7273</c:v>
                </c:pt>
                <c:pt idx="49">
                  <c:v>1139.6818</c:v>
                </c:pt>
                <c:pt idx="50">
                  <c:v>1273.0526</c:v>
                </c:pt>
                <c:pt idx="51">
                  <c:v>1225.5789</c:v>
                </c:pt>
                <c:pt idx="52">
                  <c:v>1413.9286</c:v>
                </c:pt>
                <c:pt idx="53">
                  <c:v>1412.6316</c:v>
                </c:pt>
                <c:pt idx="54">
                  <c:v>1587.7143</c:v>
                </c:pt>
                <c:pt idx="55">
                  <c:v>1109.2727</c:v>
                </c:pt>
                <c:pt idx="56">
                  <c:v>1261.2791</c:v>
                </c:pt>
                <c:pt idx="57">
                  <c:v>1425.0</c:v>
                </c:pt>
                <c:pt idx="58">
                  <c:v>1179.5435</c:v>
                </c:pt>
                <c:pt idx="59">
                  <c:v>1449.12</c:v>
                </c:pt>
                <c:pt idx="60">
                  <c:v>1206.6111</c:v>
                </c:pt>
                <c:pt idx="61">
                  <c:v>1295.3333</c:v>
                </c:pt>
                <c:pt idx="62">
                  <c:v>1272.5455</c:v>
                </c:pt>
                <c:pt idx="63">
                  <c:v>935.1944</c:v>
                </c:pt>
                <c:pt idx="64">
                  <c:v>729.2778</c:v>
                </c:pt>
                <c:pt idx="65">
                  <c:v>862.1739</c:v>
                </c:pt>
                <c:pt idx="66">
                  <c:v>821.0526</c:v>
                </c:pt>
                <c:pt idx="67">
                  <c:v>846.375</c:v>
                </c:pt>
                <c:pt idx="68">
                  <c:v>1260.5</c:v>
                </c:pt>
                <c:pt idx="69">
                  <c:v>1430.0</c:v>
                </c:pt>
                <c:pt idx="70">
                  <c:v>1368.8889</c:v>
                </c:pt>
                <c:pt idx="71">
                  <c:v>1324.9167</c:v>
                </c:pt>
                <c:pt idx="72">
                  <c:v>1295.6</c:v>
                </c:pt>
                <c:pt idx="73">
                  <c:v>1258.7895</c:v>
                </c:pt>
                <c:pt idx="74">
                  <c:v>1472.1111</c:v>
                </c:pt>
                <c:pt idx="75">
                  <c:v>1421.0714</c:v>
                </c:pt>
                <c:pt idx="76">
                  <c:v>1437.3529</c:v>
                </c:pt>
                <c:pt idx="77">
                  <c:v>1411.875</c:v>
                </c:pt>
                <c:pt idx="78">
                  <c:v>1354.4615</c:v>
                </c:pt>
                <c:pt idx="79">
                  <c:v>1408.5</c:v>
                </c:pt>
                <c:pt idx="80">
                  <c:v>1227.0526</c:v>
                </c:pt>
                <c:pt idx="81">
                  <c:v>1291.2273</c:v>
                </c:pt>
                <c:pt idx="82">
                  <c:v>1330.1176</c:v>
                </c:pt>
                <c:pt idx="83">
                  <c:v>1294.0345</c:v>
                </c:pt>
                <c:pt idx="84">
                  <c:v>1353.375</c:v>
                </c:pt>
                <c:pt idx="85">
                  <c:v>1353.7333</c:v>
                </c:pt>
                <c:pt idx="86">
                  <c:v>1401.8235</c:v>
                </c:pt>
                <c:pt idx="87">
                  <c:v>1359.2857</c:v>
                </c:pt>
              </c:numCache>
            </c:numRef>
          </c:xVal>
          <c:yVal>
            <c:numRef>
              <c:f>Sheet1!$B$2:$B$89</c:f>
              <c:numCache>
                <c:formatCode>General</c:formatCode>
                <c:ptCount val="88"/>
                <c:pt idx="0">
                  <c:v>0.5882352941176471</c:v>
                </c:pt>
                <c:pt idx="1">
                  <c:v>0.5217391304347826</c:v>
                </c:pt>
                <c:pt idx="2">
                  <c:v>0.6666666666666666</c:v>
                </c:pt>
                <c:pt idx="3">
                  <c:v>0.7</c:v>
                </c:pt>
                <c:pt idx="4">
                  <c:v>0.7619047619047619</c:v>
                </c:pt>
                <c:pt idx="5">
                  <c:v>0.8636363636363636</c:v>
                </c:pt>
                <c:pt idx="6">
                  <c:v>0.8947368421052632</c:v>
                </c:pt>
                <c:pt idx="7">
                  <c:v>0.8928571428571429</c:v>
                </c:pt>
                <c:pt idx="8">
                  <c:v>0.9090909090909091</c:v>
                </c:pt>
                <c:pt idx="9">
                  <c:v>0.8333333333333334</c:v>
                </c:pt>
                <c:pt idx="10">
                  <c:v>0.9512195121951219</c:v>
                </c:pt>
                <c:pt idx="11">
                  <c:v>0.9259259259259259</c:v>
                </c:pt>
                <c:pt idx="12">
                  <c:v>0.96875</c:v>
                </c:pt>
                <c:pt idx="13">
                  <c:v>0.9444444444444444</c:v>
                </c:pt>
                <c:pt idx="14">
                  <c:v>0.9393939393939394</c:v>
                </c:pt>
                <c:pt idx="15">
                  <c:v>0.9285714285714286</c:v>
                </c:pt>
                <c:pt idx="16">
                  <c:v>0.9333333333333333</c:v>
                </c:pt>
                <c:pt idx="17">
                  <c:v>0.7777777777777778</c:v>
                </c:pt>
                <c:pt idx="18">
                  <c:v>0.8181818181818182</c:v>
                </c:pt>
                <c:pt idx="19">
                  <c:v>0.7777777777777778</c:v>
                </c:pt>
                <c:pt idx="20">
                  <c:v>0.7647058823529411</c:v>
                </c:pt>
                <c:pt idx="21">
                  <c:v>0.8571428571428571</c:v>
                </c:pt>
                <c:pt idx="22">
                  <c:v>0.8333333333333334</c:v>
                </c:pt>
                <c:pt idx="23">
                  <c:v>1.0</c:v>
                </c:pt>
                <c:pt idx="24">
                  <c:v>0.9090909090909091</c:v>
                </c:pt>
                <c:pt idx="25">
                  <c:v>1.0</c:v>
                </c:pt>
                <c:pt idx="26">
                  <c:v>0.8888888888888888</c:v>
                </c:pt>
                <c:pt idx="27">
                  <c:v>0.8</c:v>
                </c:pt>
                <c:pt idx="28">
                  <c:v>0.9230769230769231</c:v>
                </c:pt>
                <c:pt idx="29">
                  <c:v>0.8333333333333334</c:v>
                </c:pt>
                <c:pt idx="30">
                  <c:v>1.0</c:v>
                </c:pt>
                <c:pt idx="31">
                  <c:v>0.875</c:v>
                </c:pt>
                <c:pt idx="32">
                  <c:v>0.8571428571428571</c:v>
                </c:pt>
                <c:pt idx="33">
                  <c:v>0.9285714285714286</c:v>
                </c:pt>
                <c:pt idx="34">
                  <c:v>0.85</c:v>
                </c:pt>
                <c:pt idx="35">
                  <c:v>0.7647058823529411</c:v>
                </c:pt>
                <c:pt idx="36">
                  <c:v>0.9166666666666666</c:v>
                </c:pt>
                <c:pt idx="37">
                  <c:v>1.0</c:v>
                </c:pt>
                <c:pt idx="38">
                  <c:v>1.0</c:v>
                </c:pt>
                <c:pt idx="39">
                  <c:v>1.0</c:v>
                </c:pt>
                <c:pt idx="40">
                  <c:v>0.9047619047619048</c:v>
                </c:pt>
                <c:pt idx="41">
                  <c:v>0.8571428571428571</c:v>
                </c:pt>
                <c:pt idx="42">
                  <c:v>0.7894736842105263</c:v>
                </c:pt>
                <c:pt idx="43">
                  <c:v>1.0</c:v>
                </c:pt>
                <c:pt idx="44">
                  <c:v>1.0</c:v>
                </c:pt>
                <c:pt idx="45">
                  <c:v>1.0</c:v>
                </c:pt>
                <c:pt idx="46">
                  <c:v>0.96</c:v>
                </c:pt>
                <c:pt idx="47">
                  <c:v>0.918918918918919</c:v>
                </c:pt>
                <c:pt idx="48">
                  <c:v>0.9777777777777777</c:v>
                </c:pt>
                <c:pt idx="49">
                  <c:v>0.7096774193548387</c:v>
                </c:pt>
                <c:pt idx="50">
                  <c:v>0.5135135135135135</c:v>
                </c:pt>
                <c:pt idx="51">
                  <c:v>0.5428571428571428</c:v>
                </c:pt>
                <c:pt idx="52">
                  <c:v>0.4827586206896552</c:v>
                </c:pt>
                <c:pt idx="53">
                  <c:v>0.59375</c:v>
                </c:pt>
                <c:pt idx="54">
                  <c:v>0.45161290322580644</c:v>
                </c:pt>
                <c:pt idx="55">
                  <c:v>0.7746478873239436</c:v>
                </c:pt>
                <c:pt idx="56">
                  <c:v>0.7288135593220338</c:v>
                </c:pt>
                <c:pt idx="57">
                  <c:v>0.7428571428571429</c:v>
                </c:pt>
                <c:pt idx="58">
                  <c:v>0.7796610169491526</c:v>
                </c:pt>
                <c:pt idx="59">
                  <c:v>0.5952380952380952</c:v>
                </c:pt>
                <c:pt idx="60">
                  <c:v>0.6792452830188679</c:v>
                </c:pt>
                <c:pt idx="61">
                  <c:v>0.6428571428571429</c:v>
                </c:pt>
                <c:pt idx="62">
                  <c:v>0.5238095238095238</c:v>
                </c:pt>
                <c:pt idx="63">
                  <c:v>0.75</c:v>
                </c:pt>
                <c:pt idx="64">
                  <c:v>0.7346938775510204</c:v>
                </c:pt>
                <c:pt idx="65">
                  <c:v>0.6216216216216216</c:v>
                </c:pt>
                <c:pt idx="66">
                  <c:v>0.5588235294117647</c:v>
                </c:pt>
                <c:pt idx="67">
                  <c:v>0.6153846153846154</c:v>
                </c:pt>
                <c:pt idx="68">
                  <c:v>0.38095238095238093</c:v>
                </c:pt>
                <c:pt idx="69">
                  <c:v>0.29411764705882354</c:v>
                </c:pt>
                <c:pt idx="70">
                  <c:v>0.36</c:v>
                </c:pt>
                <c:pt idx="71">
                  <c:v>0.5454545454545454</c:v>
                </c:pt>
                <c:pt idx="72">
                  <c:v>0.39473684210526316</c:v>
                </c:pt>
                <c:pt idx="73">
                  <c:v>0.3877551020408163</c:v>
                </c:pt>
                <c:pt idx="74">
                  <c:v>0.32727272727272727</c:v>
                </c:pt>
                <c:pt idx="75">
                  <c:v>0.32558139534883723</c:v>
                </c:pt>
                <c:pt idx="76">
                  <c:v>0.3148148148148148</c:v>
                </c:pt>
                <c:pt idx="77">
                  <c:v>0.32653061224489793</c:v>
                </c:pt>
                <c:pt idx="78">
                  <c:v>0.30952380952380953</c:v>
                </c:pt>
                <c:pt idx="79">
                  <c:v>0.4</c:v>
                </c:pt>
                <c:pt idx="80">
                  <c:v>0.4222222222222222</c:v>
                </c:pt>
                <c:pt idx="81">
                  <c:v>0.5238095238095238</c:v>
                </c:pt>
                <c:pt idx="82">
                  <c:v>0.5964912280701754</c:v>
                </c:pt>
                <c:pt idx="83">
                  <c:v>0.4603174603174603</c:v>
                </c:pt>
                <c:pt idx="84">
                  <c:v>0.3404255319148936</c:v>
                </c:pt>
                <c:pt idx="85">
                  <c:v>0.46875</c:v>
                </c:pt>
                <c:pt idx="86">
                  <c:v>0.4473684210526316</c:v>
                </c:pt>
                <c:pt idx="87">
                  <c:v>0.4</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32</c:f>
              <c:numCache>
                <c:formatCode>General</c:formatCode>
                <c:ptCount val="41"/>
                <c:pt idx="0">
                  <c:v>1431.9286</c:v>
                </c:pt>
                <c:pt idx="1">
                  <c:v>1336.918</c:v>
                </c:pt>
                <c:pt idx="2">
                  <c:v>1298.7434</c:v>
                </c:pt>
                <c:pt idx="3">
                  <c:v>1324.1129</c:v>
                </c:pt>
                <c:pt idx="4">
                  <c:v>1328.2955</c:v>
                </c:pt>
                <c:pt idx="5">
                  <c:v>1220.8289</c:v>
                </c:pt>
                <c:pt idx="6">
                  <c:v>1088.4074</c:v>
                </c:pt>
                <c:pt idx="7">
                  <c:v>1298.9318</c:v>
                </c:pt>
                <c:pt idx="8">
                  <c:v>1328.425</c:v>
                </c:pt>
                <c:pt idx="9">
                  <c:v>931.8736</c:v>
                </c:pt>
                <c:pt idx="10">
                  <c:v>852.67</c:v>
                </c:pt>
                <c:pt idx="11">
                  <c:v>831.0122</c:v>
                </c:pt>
                <c:pt idx="12">
                  <c:v>827.0392</c:v>
                </c:pt>
                <c:pt idx="13">
                  <c:v>879.8333</c:v>
                </c:pt>
                <c:pt idx="14">
                  <c:v>839.5227</c:v>
                </c:pt>
                <c:pt idx="15">
                  <c:v>936.0588</c:v>
                </c:pt>
                <c:pt idx="16">
                  <c:v>1006.1818</c:v>
                </c:pt>
                <c:pt idx="17">
                  <c:v>1056.6471</c:v>
                </c:pt>
                <c:pt idx="18">
                  <c:v>1001.7222</c:v>
                </c:pt>
                <c:pt idx="19">
                  <c:v>1017.4706</c:v>
                </c:pt>
                <c:pt idx="20">
                  <c:v>1164.1538</c:v>
                </c:pt>
                <c:pt idx="21">
                  <c:v>1421.7273</c:v>
                </c:pt>
                <c:pt idx="22">
                  <c:v>1078.2667</c:v>
                </c:pt>
                <c:pt idx="23">
                  <c:v>1183.2917</c:v>
                </c:pt>
                <c:pt idx="24">
                  <c:v>1517.9643</c:v>
                </c:pt>
                <c:pt idx="25">
                  <c:v>1277.8636</c:v>
                </c:pt>
                <c:pt idx="26">
                  <c:v>741.5854</c:v>
                </c:pt>
                <c:pt idx="27">
                  <c:v>645.6667</c:v>
                </c:pt>
                <c:pt idx="28">
                  <c:v>910.6667</c:v>
                </c:pt>
                <c:pt idx="29">
                  <c:v>850.9231</c:v>
                </c:pt>
                <c:pt idx="30">
                  <c:v>854.1304</c:v>
                </c:pt>
                <c:pt idx="31">
                  <c:v>1242.3571</c:v>
                </c:pt>
                <c:pt idx="32">
                  <c:v>909.6364</c:v>
                </c:pt>
                <c:pt idx="33">
                  <c:v>927.75</c:v>
                </c:pt>
                <c:pt idx="34">
                  <c:v>1129.2353</c:v>
                </c:pt>
                <c:pt idx="35">
                  <c:v>881.087</c:v>
                </c:pt>
                <c:pt idx="36">
                  <c:v>675.5455</c:v>
                </c:pt>
                <c:pt idx="37">
                  <c:v>991.05</c:v>
                </c:pt>
                <c:pt idx="38">
                  <c:v>1273.5217</c:v>
                </c:pt>
                <c:pt idx="39">
                  <c:v>1287.16</c:v>
                </c:pt>
                <c:pt idx="40">
                  <c:v>1332.5294</c:v>
                </c:pt>
              </c:numCache>
            </c:numRef>
          </c:xVal>
          <c:yVal>
            <c:numRef>
              <c:f>Sheet1!$B$92:$B$132</c:f>
              <c:numCache>
                <c:formatCode>General</c:formatCode>
                <c:ptCount val="41"/>
                <c:pt idx="0">
                  <c:v>0.3333333333333333</c:v>
                </c:pt>
                <c:pt idx="1">
                  <c:v>0.7439024390243902</c:v>
                </c:pt>
                <c:pt idx="2">
                  <c:v>0.8692307692307693</c:v>
                </c:pt>
                <c:pt idx="3">
                  <c:v>0.8322147651006712</c:v>
                </c:pt>
                <c:pt idx="4">
                  <c:v>0.8</c:v>
                </c:pt>
                <c:pt idx="5">
                  <c:v>0.8636363636363636</c:v>
                </c:pt>
                <c:pt idx="6">
                  <c:v>0.9101123595505618</c:v>
                </c:pt>
                <c:pt idx="7">
                  <c:v>0.7213114754098361</c:v>
                </c:pt>
                <c:pt idx="8">
                  <c:v>0.7272727272727273</c:v>
                </c:pt>
                <c:pt idx="9">
                  <c:v>0.7837837837837838</c:v>
                </c:pt>
                <c:pt idx="10">
                  <c:v>0.8130081300813008</c:v>
                </c:pt>
                <c:pt idx="11">
                  <c:v>0.8367346938775511</c:v>
                </c:pt>
                <c:pt idx="12">
                  <c:v>0.8947368421052632</c:v>
                </c:pt>
                <c:pt idx="13">
                  <c:v>0.7346938775510204</c:v>
                </c:pt>
                <c:pt idx="14">
                  <c:v>0.7096774193548387</c:v>
                </c:pt>
                <c:pt idx="15">
                  <c:v>0.5666666666666667</c:v>
                </c:pt>
                <c:pt idx="16">
                  <c:v>0.5945945945945946</c:v>
                </c:pt>
                <c:pt idx="17">
                  <c:v>0.6071428571428571</c:v>
                </c:pt>
                <c:pt idx="18">
                  <c:v>0.5</c:v>
                </c:pt>
                <c:pt idx="19">
                  <c:v>0.40476190476190477</c:v>
                </c:pt>
                <c:pt idx="20">
                  <c:v>0.3939393939393939</c:v>
                </c:pt>
                <c:pt idx="21">
                  <c:v>0.275</c:v>
                </c:pt>
                <c:pt idx="22">
                  <c:v>0.40540540540540543</c:v>
                </c:pt>
                <c:pt idx="23">
                  <c:v>0.48</c:v>
                </c:pt>
                <c:pt idx="24">
                  <c:v>0.32941176470588235</c:v>
                </c:pt>
                <c:pt idx="25">
                  <c:v>0.2894736842105263</c:v>
                </c:pt>
                <c:pt idx="26">
                  <c:v>0.5256410256410257</c:v>
                </c:pt>
                <c:pt idx="27">
                  <c:v>0.5</c:v>
                </c:pt>
                <c:pt idx="28">
                  <c:v>0.36486486486486486</c:v>
                </c:pt>
                <c:pt idx="29">
                  <c:v>0.22413793103448276</c:v>
                </c:pt>
                <c:pt idx="30">
                  <c:v>0.3026315789473684</c:v>
                </c:pt>
                <c:pt idx="31">
                  <c:v>0.21212121212121213</c:v>
                </c:pt>
                <c:pt idx="32">
                  <c:v>0.2558139534883721</c:v>
                </c:pt>
                <c:pt idx="33">
                  <c:v>0.18018018018018017</c:v>
                </c:pt>
                <c:pt idx="34">
                  <c:v>0.2236842105263158</c:v>
                </c:pt>
                <c:pt idx="35">
                  <c:v>0.2948717948717949</c:v>
                </c:pt>
                <c:pt idx="36">
                  <c:v>0.3142857142857143</c:v>
                </c:pt>
                <c:pt idx="37">
                  <c:v>0.32786885245901637</c:v>
                </c:pt>
                <c:pt idx="38">
                  <c:v>0.3108108108108108</c:v>
                </c:pt>
                <c:pt idx="39">
                  <c:v>0.2840909090909091</c:v>
                </c:pt>
                <c:pt idx="40">
                  <c:v>0.265625</c:v>
                </c:pt>
              </c:numCache>
            </c:numRef>
          </c:yVal>
          <c:smooth val="0"/>
          <c:extLst>
            <c:ext xmlns:c16="http://schemas.microsoft.com/office/drawing/2014/chart" uri="{C3380CC4-5D6E-409C-BE32-E72D297353CC}">
              <c16:uniqueId val="{00000002-F32D-48B7-BC20-E66FC6253BAD}"/>
            </c:ext>
          </c:extLst>
        </c:ser>
        <c:ser>
          <c:idx val="2"/>
          <c:order val="2"/>
          <c:tx>
            <c:strRef>
              <c:f>Sheet1!$B$134</c:f>
              <c:strCache>
                <c:ptCount val="1"/>
                <c:pt idx="0">
                  <c:v>Custom Linep3yQ</c:v>
                </c:pt>
              </c:strCache>
            </c:strRef>
          </c:tx>
          <c:spPr>
            <a:ln w="19050" cap="rnd">
              <a:solidFill>
                <a:srgbClr val="C00000"/>
              </a:solidFill>
              <a:prstDash val="sysDot"/>
              <a:round/>
            </a:ln>
            <a:effectLst/>
          </c:spPr>
          <c:marker>
            <c:symbol val="none"/>
          </c:marker>
          <c:xVal>
            <c:numRef>
              <c:f>Sheet1!$A$135:$A$136</c:f>
              <c:numCache>
                <c:formatCode>General</c:formatCode>
                <c:ptCount val="2"/>
                <c:pt idx="0">
                  <c:v>0</c:v>
                </c:pt>
                <c:pt idx="1">
                  <c:v>-11821.228999937699</c:v>
                </c:pt>
              </c:numCache>
            </c:numRef>
          </c:xVal>
          <c:yVal>
            <c:numRef>
              <c:f>Sheet1!$B$135:$B$136</c:f>
              <c:numCache>
                <c:formatCode>General</c:formatCode>
                <c:ptCount val="2"/>
                <c:pt idx="0">
                  <c:v>0.9327292495945746</c:v>
                </c:pt>
                <c:pt idx="1">
                  <c:v>0.9327292495945746</c:v>
                </c:pt>
              </c:numCache>
            </c:numRef>
          </c:yVal>
          <c:smooth val="0"/>
          <c:extLst>
            <c:ext xmlns:c16="http://schemas.microsoft.com/office/drawing/2014/chart" uri="{C3380CC4-5D6E-409C-BE32-E72D297353CC}">
              <c16:uniqueId val="{00000003-F32D-48B7-BC20-E66FC6253BAD}"/>
            </c:ext>
          </c:extLst>
        </c:ser>
        <c:ser>
          <c:idx val="3"/>
          <c:order val="3"/>
          <c:tx>
            <c:strRef>
              <c:f>Sheet1!$B$138</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9:$A$140</c:f>
              <c:numCache>
                <c:formatCode>General</c:formatCode>
                <c:ptCount val="2"/>
                <c:pt idx="0">
                  <c:v>-11821.228999937699</c:v>
                </c:pt>
                <c:pt idx="1">
                  <c:v>-11821.228999937699</c:v>
                </c:pt>
              </c:numCache>
            </c:numRef>
          </c:xVal>
          <c:yVal>
            <c:numRef>
              <c:f>Sheet1!$B$139:$B$140</c:f>
              <c:numCache>
                <c:formatCode>General</c:formatCode>
                <c:ptCount val="2"/>
                <c:pt idx="0">
                  <c:v>0.932729249594574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2</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3:$A$144</c:f>
              <c:numCache>
                <c:formatCode>General</c:formatCode>
                <c:ptCount val="2"/>
                <c:pt idx="0">
                  <c:v>0</c:v>
                </c:pt>
                <c:pt idx="1">
                  <c:v>-7310.17923721005</c:v>
                </c:pt>
              </c:numCache>
            </c:numRef>
          </c:xVal>
          <c:yVal>
            <c:numRef>
              <c:f>Sheet1!$B$143:$B$144</c:f>
              <c:numCache>
                <c:formatCode>General</c:formatCode>
                <c:ptCount val="2"/>
                <c:pt idx="0">
                  <c:v>0.7857010677180692</c:v>
                </c:pt>
                <c:pt idx="1">
                  <c:v>0.7857010677180692</c:v>
                </c:pt>
              </c:numCache>
            </c:numRef>
          </c:yVal>
          <c:smooth val="0"/>
          <c:extLst>
            <c:ext xmlns:c16="http://schemas.microsoft.com/office/drawing/2014/chart" uri="{C3380CC4-5D6E-409C-BE32-E72D297353CC}">
              <c16:uniqueId val="{0000000A-F32D-48B7-BC20-E66FC6253BAD}"/>
            </c:ext>
          </c:extLst>
        </c:ser>
        <c:ser>
          <c:idx val="5"/>
          <c:order val="5"/>
          <c:tx>
            <c:strRef>
              <c:f>Sheet1!$B$146</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7:$A$148</c:f>
              <c:numCache>
                <c:formatCode>General</c:formatCode>
                <c:ptCount val="2"/>
                <c:pt idx="0">
                  <c:v>-7310.17923721005</c:v>
                </c:pt>
                <c:pt idx="1">
                  <c:v>-7310.17923721005</c:v>
                </c:pt>
              </c:numCache>
            </c:numRef>
          </c:xVal>
          <c:yVal>
            <c:numRef>
              <c:f>Sheet1!$B$147:$B$148</c:f>
              <c:numCache>
                <c:formatCode>General</c:formatCode>
                <c:ptCount val="2"/>
                <c:pt idx="0">
                  <c:v>0.785701067718069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0</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1:$A$152</c:f>
              <c:numCache>
                <c:formatCode>General</c:formatCode>
                <c:ptCount val="2"/>
                <c:pt idx="0">
                  <c:v>0</c:v>
                </c:pt>
                <c:pt idx="1">
                  <c:v>8391.983852404359</c:v>
                </c:pt>
              </c:numCache>
            </c:numRef>
          </c:xVal>
          <c:yVal>
            <c:numRef>
              <c:f>Sheet1!$B$151:$B$152</c:f>
              <c:numCache>
                <c:formatCode>General</c:formatCode>
                <c:ptCount val="2"/>
                <c:pt idx="0">
                  <c:v>0.27392207789854167</c:v>
                </c:pt>
                <c:pt idx="1">
                  <c:v>0.27392207789854167</c:v>
                </c:pt>
              </c:numCache>
            </c:numRef>
          </c:yVal>
          <c:smooth val="0"/>
          <c:extLst>
            <c:ext xmlns:c16="http://schemas.microsoft.com/office/drawing/2014/chart" uri="{C3380CC4-5D6E-409C-BE32-E72D297353CC}">
              <c16:uniqueId val="{00000011-F32D-48B7-BC20-E66FC6253BAD}"/>
            </c:ext>
          </c:extLst>
        </c:ser>
        <c:ser>
          <c:idx val="7"/>
          <c:order val="7"/>
          <c:tx>
            <c:strRef>
              <c:f>Sheet1!$B$154</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5:$A$156</c:f>
              <c:numCache>
                <c:formatCode>General</c:formatCode>
                <c:ptCount val="2"/>
                <c:pt idx="0">
                  <c:v>8391.983852404359</c:v>
                </c:pt>
                <c:pt idx="1">
                  <c:v>8391.983852404359</c:v>
                </c:pt>
              </c:numCache>
            </c:numRef>
          </c:xVal>
          <c:yVal>
            <c:numRef>
              <c:f>Sheet1!$B$155:$B$156</c:f>
              <c:numCache>
                <c:formatCode>General</c:formatCode>
                <c:ptCount val="2"/>
                <c:pt idx="0">
                  <c:v>0.2739220778985416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58</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59:$A$202</c:f>
              <c:numCache>
                <c:formatCode>General</c:formatCode>
                <c:ptCount val="44"/>
                <c:pt idx="0">
                  <c:v>1431.9286</c:v>
                </c:pt>
                <c:pt idx="1">
                  <c:v>1336.918</c:v>
                </c:pt>
                <c:pt idx="2">
                  <c:v>1298.7434</c:v>
                </c:pt>
                <c:pt idx="3">
                  <c:v>1324.1129</c:v>
                </c:pt>
                <c:pt idx="4">
                  <c:v>1328.2955</c:v>
                </c:pt>
                <c:pt idx="5">
                  <c:v>1220.8289</c:v>
                </c:pt>
                <c:pt idx="6">
                  <c:v>1088.4074</c:v>
                </c:pt>
                <c:pt idx="7">
                  <c:v>1298.9318</c:v>
                </c:pt>
                <c:pt idx="8">
                  <c:v>1328.425</c:v>
                </c:pt>
                <c:pt idx="9">
                  <c:v>931.8736</c:v>
                </c:pt>
                <c:pt idx="10">
                  <c:v>852.67</c:v>
                </c:pt>
                <c:pt idx="11">
                  <c:v>831.0122</c:v>
                </c:pt>
                <c:pt idx="12">
                  <c:v>827.0392</c:v>
                </c:pt>
                <c:pt idx="13">
                  <c:v>879.8333</c:v>
                </c:pt>
                <c:pt idx="14">
                  <c:v>839.5227</c:v>
                </c:pt>
                <c:pt idx="15">
                  <c:v>936.0588</c:v>
                </c:pt>
                <c:pt idx="16">
                  <c:v>1006.1818</c:v>
                </c:pt>
                <c:pt idx="17">
                  <c:v>1056.6471</c:v>
                </c:pt>
                <c:pt idx="18">
                  <c:v>1001.7222</c:v>
                </c:pt>
                <c:pt idx="19">
                  <c:v>1017.4706</c:v>
                </c:pt>
                <c:pt idx="20">
                  <c:v>1164.1538</c:v>
                </c:pt>
                <c:pt idx="21">
                  <c:v>1421.7273</c:v>
                </c:pt>
                <c:pt idx="22">
                  <c:v>1078.2667</c:v>
                </c:pt>
                <c:pt idx="23">
                  <c:v>1183.2917</c:v>
                </c:pt>
                <c:pt idx="24">
                  <c:v>1517.9643</c:v>
                </c:pt>
                <c:pt idx="25">
                  <c:v>1277.8636</c:v>
                </c:pt>
                <c:pt idx="26">
                  <c:v>741.5854</c:v>
                </c:pt>
                <c:pt idx="27">
                  <c:v>645.6667</c:v>
                </c:pt>
                <c:pt idx="28">
                  <c:v>910.6667</c:v>
                </c:pt>
                <c:pt idx="29">
                  <c:v>850.9231</c:v>
                </c:pt>
                <c:pt idx="30">
                  <c:v>854.1304</c:v>
                </c:pt>
                <c:pt idx="31">
                  <c:v>1242.3571</c:v>
                </c:pt>
                <c:pt idx="32">
                  <c:v>909.6364</c:v>
                </c:pt>
                <c:pt idx="33">
                  <c:v>927.75</c:v>
                </c:pt>
                <c:pt idx="34">
                  <c:v>1129.2353</c:v>
                </c:pt>
                <c:pt idx="35">
                  <c:v>881.087</c:v>
                </c:pt>
                <c:pt idx="36">
                  <c:v>675.5455</c:v>
                </c:pt>
                <c:pt idx="37">
                  <c:v>991.05</c:v>
                </c:pt>
                <c:pt idx="38">
                  <c:v>1273.5217</c:v>
                </c:pt>
                <c:pt idx="39">
                  <c:v>1287.16</c:v>
                </c:pt>
                <c:pt idx="40">
                  <c:v>1332.5294</c:v>
                </c:pt>
                <c:pt idx="41">
                  <c:v>-7310.17923721005</c:v>
                </c:pt>
                <c:pt idx="42">
                  <c:v>-11821.228999937699</c:v>
                </c:pt>
                <c:pt idx="43">
                  <c:v>8391.983852404359</c:v>
                </c:pt>
              </c:numCache>
            </c:numRef>
          </c:xVal>
          <c:yVal>
            <c:numRef>
              <c:f>Sheet1!$B$159:$B$202</c:f>
              <c:numCache>
                <c:formatCode>General</c:formatCode>
                <c:ptCount val="44"/>
                <c:pt idx="0">
                  <c:v>0.5007704443200798</c:v>
                </c:pt>
                <c:pt idx="1">
                  <c:v>0.5038671150534457</c:v>
                </c:pt>
                <c:pt idx="2">
                  <c:v>0.5051113358727853</c:v>
                </c:pt>
                <c:pt idx="3">
                  <c:v>0.5042844703633566</c:v>
                </c:pt>
                <c:pt idx="4">
                  <c:v>0.5041481473108826</c:v>
                </c:pt>
                <c:pt idx="5">
                  <c:v>0.5076507951736932</c:v>
                </c:pt>
                <c:pt idx="6">
                  <c:v>0.5119667955306892</c:v>
                </c:pt>
                <c:pt idx="7">
                  <c:v>0.5051051953709238</c:v>
                </c:pt>
                <c:pt idx="8">
                  <c:v>0.5041439265306753</c:v>
                </c:pt>
                <c:pt idx="9">
                  <c:v>0.5170686856065603</c:v>
                </c:pt>
                <c:pt idx="10">
                  <c:v>0.5196501604114475</c:v>
                </c:pt>
                <c:pt idx="11">
                  <c:v>0.5203560508637665</c:v>
                </c:pt>
                <c:pt idx="12">
                  <c:v>0.5204855424449548</c:v>
                </c:pt>
                <c:pt idx="13">
                  <c:v>0.5187648297627447</c:v>
                </c:pt>
                <c:pt idx="14">
                  <c:v>0.5200786690108331</c:v>
                </c:pt>
                <c:pt idx="15">
                  <c:v>0.5169322778125532</c:v>
                </c:pt>
                <c:pt idx="16">
                  <c:v>0.514646766071381</c:v>
                </c:pt>
                <c:pt idx="17">
                  <c:v>0.5130019557285295</c:v>
                </c:pt>
                <c:pt idx="18">
                  <c:v>0.514792117356422</c:v>
                </c:pt>
                <c:pt idx="19">
                  <c:v>0.5142788313717284</c:v>
                </c:pt>
                <c:pt idx="20">
                  <c:v>0.5094980008905351</c:v>
                </c:pt>
                <c:pt idx="21">
                  <c:v>0.5011029342438597</c:v>
                </c:pt>
                <c:pt idx="22">
                  <c:v>0.5122973103248896</c:v>
                </c:pt>
                <c:pt idx="23">
                  <c:v>0.5088742412802592</c:v>
                </c:pt>
                <c:pt idx="24">
                  <c:v>0.49796629158117856</c:v>
                </c:pt>
                <c:pt idx="25">
                  <c:v>0.5057918690509626</c:v>
                </c:pt>
                <c:pt idx="26">
                  <c:v>0.5232707293768857</c:v>
                </c:pt>
                <c:pt idx="27">
                  <c:v>0.526396997720339</c:v>
                </c:pt>
                <c:pt idx="28">
                  <c:v>0.5177598799214621</c:v>
                </c:pt>
                <c:pt idx="29">
                  <c:v>0.5197070969438357</c:v>
                </c:pt>
                <c:pt idx="30">
                  <c:v>0.5196025617441513</c:v>
                </c:pt>
                <c:pt idx="31">
                  <c:v>0.5069491287608714</c:v>
                </c:pt>
                <c:pt idx="32">
                  <c:v>0.5177934603836063</c:v>
                </c:pt>
                <c:pt idx="33">
                  <c:v>0.5172030856780903</c:v>
                </c:pt>
                <c:pt idx="34">
                  <c:v>0.5106360959767996</c:v>
                </c:pt>
                <c:pt idx="35">
                  <c:v>0.5187239680473317</c:v>
                </c:pt>
                <c:pt idx="36">
                  <c:v>0.5254231610588708</c:v>
                </c:pt>
                <c:pt idx="37">
                  <c:v>0.5151399552755661</c:v>
                </c:pt>
                <c:pt idx="38">
                  <c:v>0.5059333841519851</c:v>
                </c:pt>
                <c:pt idx="39">
                  <c:v>0.5054888724399985</c:v>
                </c:pt>
                <c:pt idx="40">
                  <c:v>0.5040101522427746</c:v>
                </c:pt>
                <c:pt idx="41">
                  <c:v>0.7857010677180692</c:v>
                </c:pt>
                <c:pt idx="42">
                  <c:v>0.9327292495945746</c:v>
                </c:pt>
                <c:pt idx="43">
                  <c:v>0.273922077898541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07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1441441441441441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1.7859965291557072</c:v>
                </c:pt>
                <c:pt idx="1">
                  <c:v>2.0494188632754855</c:v>
                </c:pt>
                <c:pt idx="2">
                  <c:v>2.278303418468463</c:v>
                </c:pt>
                <c:pt idx="3">
                  <c:v>2.3400116826024613</c:v>
                </c:pt>
                <c:pt idx="4">
                  <c:v>2.369927735339574</c:v>
                </c:pt>
                <c:pt idx="5">
                  <c:v>1.9433373721189442</c:v>
                </c:pt>
                <c:pt idx="6">
                  <c:v>1.6646749169803639</c:v>
                </c:pt>
                <c:pt idx="7">
                  <c:v>1.6861275453444282</c:v>
                </c:pt>
                <c:pt idx="8">
                  <c:v>1.6262119865441085</c:v>
                </c:pt>
                <c:pt idx="9">
                  <c:v>1.7101743366734357</c:v>
                </c:pt>
                <c:pt idx="10">
                  <c:v>1.6627131087331106</c:v>
                </c:pt>
                <c:pt idx="11">
                  <c:v>1.7461113544155882</c:v>
                </c:pt>
                <c:pt idx="12">
                  <c:v>1.7414548137131194</c:v>
                </c:pt>
                <c:pt idx="13">
                  <c:v>1.706640775750374</c:v>
                </c:pt>
                <c:pt idx="14">
                  <c:v>1.7013103713753475</c:v>
                </c:pt>
                <c:pt idx="15">
                  <c:v>1.6709959952750009</c:v>
                </c:pt>
                <c:pt idx="16">
                  <c:v>1.673464498393738</c:v>
                </c:pt>
                <c:pt idx="17">
                  <c:v>1.8914967509297949</c:v>
                </c:pt>
                <c:pt idx="18">
                  <c:v>2.007782052310054</c:v>
                </c:pt>
                <c:pt idx="19">
                  <c:v>2.39124774721862</c:v>
                </c:pt>
                <c:pt idx="20">
                  <c:v>2.5444595390083884</c:v>
                </c:pt>
                <c:pt idx="21">
                  <c:v>2.564394736424586</c:v>
                </c:pt>
                <c:pt idx="22">
                  <c:v>2.5027131398595617</c:v>
                </c:pt>
                <c:pt idx="23">
                  <c:v>2.488567433610693</c:v>
                </c:pt>
                <c:pt idx="24">
                  <c:v>2.47001919273662</c:v>
                </c:pt>
                <c:pt idx="25">
                  <c:v>2.4168160947333863</c:v>
                </c:pt>
                <c:pt idx="26">
                  <c:v>1.7780899485196646</c:v>
                </c:pt>
                <c:pt idx="27">
                  <c:v>1.7068181115758552</c:v>
                </c:pt>
                <c:pt idx="28">
                  <c:v>1.727063958699381</c:v>
                </c:pt>
                <c:pt idx="29">
                  <c:v>1.4487137260340464</c:v>
                </c:pt>
                <c:pt idx="30">
                  <c:v>1.5001375212348964</c:v>
                </c:pt>
                <c:pt idx="31">
                  <c:v>1.6000905508669676</c:v>
                </c:pt>
                <c:pt idx="32">
                  <c:v>1.5552616887023267</c:v>
                </c:pt>
                <c:pt idx="33">
                  <c:v>1.4440165491302304</c:v>
                </c:pt>
                <c:pt idx="34">
                  <c:v>1.5891592913163484</c:v>
                </c:pt>
                <c:pt idx="35">
                  <c:v>1.7648501815428883</c:v>
                </c:pt>
                <c:pt idx="36">
                  <c:v>1.974744650258486</c:v>
                </c:pt>
                <c:pt idx="37">
                  <c:v>1.9710226031833027</c:v>
                </c:pt>
                <c:pt idx="38">
                  <c:v>1.9966111097917212</c:v>
                </c:pt>
                <c:pt idx="39">
                  <c:v>1.9754721071634043</c:v>
                </c:pt>
                <c:pt idx="40">
                  <c:v>1.9942214755244663</c:v>
                </c:pt>
                <c:pt idx="41">
                  <c:v>2.080879456437723</c:v>
                </c:pt>
                <c:pt idx="42">
                  <c:v>2.0759162668775586</c:v>
                </c:pt>
                <c:pt idx="43">
                  <c:v>2.0413584512894265</c:v>
                </c:pt>
                <c:pt idx="44">
                  <c:v>1.873660364845447</c:v>
                </c:pt>
                <c:pt idx="45">
                  <c:v>1.806027989099633</c:v>
                </c:pt>
                <c:pt idx="46">
                  <c:v>1.8683405851217714</c:v>
                </c:pt>
                <c:pt idx="47">
                  <c:v>1.8109324892160372</c:v>
                </c:pt>
                <c:pt idx="48">
                  <c:v>1.8338691540211391</c:v>
                </c:pt>
                <c:pt idx="49">
                  <c:v>1.8083514142230819</c:v>
                </c:pt>
                <c:pt idx="50">
                  <c:v>1.7184047386658197</c:v>
                </c:pt>
                <c:pt idx="51">
                  <c:v>1.696357426848511</c:v>
                </c:pt>
                <c:pt idx="52">
                  <c:v>1.7543756647696644</c:v>
                </c:pt>
                <c:pt idx="53">
                  <c:v>1.9290123029009192</c:v>
                </c:pt>
                <c:pt idx="54">
                  <c:v>1.9475925389871023</c:v>
                </c:pt>
                <c:pt idx="55">
                  <c:v>1.9920690706351545</c:v>
                </c:pt>
                <c:pt idx="56">
                  <c:v>2.059864442597797</c:v>
                </c:pt>
                <c:pt idx="57">
                  <c:v>2.0149068453767196</c:v>
                </c:pt>
                <c:pt idx="58">
                  <c:v>1.9490102477846116</c:v>
                </c:pt>
                <c:pt idx="59">
                  <c:v>1.9946224945116575</c:v>
                </c:pt>
                <c:pt idx="60">
                  <c:v>2.0110094519676998</c:v>
                </c:pt>
                <c:pt idx="61">
                  <c:v>1.994721993319843</c:v>
                </c:pt>
                <c:pt idx="62">
                  <c:v>1.9427426317770073</c:v>
                </c:pt>
                <c:pt idx="63">
                  <c:v>2.0079268118761955</c:v>
                </c:pt>
                <c:pt idx="64">
                  <c:v>1.9612498368854967</c:v>
                </c:pt>
                <c:pt idx="65">
                  <c:v>1.9216781361095265</c:v>
                </c:pt>
                <c:pt idx="66">
                  <c:v>1.9548473771694663</c:v>
                </c:pt>
                <c:pt idx="67">
                  <c:v>2.0233103450479972</c:v>
                </c:pt>
                <c:pt idx="68">
                  <c:v>2.0174088372866446</c:v>
                </c:pt>
                <c:pt idx="69">
                  <c:v>1.968003992332816</c:v>
                </c:pt>
                <c:pt idx="70">
                  <c:v>1.8996039809480216</c:v>
                </c:pt>
                <c:pt idx="71">
                  <c:v>2.0915617781484652</c:v>
                </c:pt>
                <c:pt idx="72">
                  <c:v>2.240927402343328</c:v>
                </c:pt>
                <c:pt idx="73">
                  <c:v>2.277606493961172</c:v>
                </c:pt>
                <c:pt idx="74">
                  <c:v>2.164423099433138</c:v>
                </c:pt>
                <c:pt idx="75">
                  <c:v>2.1061236397436764</c:v>
                </c:pt>
                <c:pt idx="76">
                  <c:v>2.2988663828920846</c:v>
                </c:pt>
                <c:pt idx="77">
                  <c:v>2.3315386244807494</c:v>
                </c:pt>
                <c:pt idx="78">
                  <c:v>2.3022700833130596</c:v>
                </c:pt>
                <c:pt idx="79">
                  <c:v>2.405229194863836</c:v>
                </c:pt>
                <c:pt idx="80">
                  <c:v>2.315653518941787</c:v>
                </c:pt>
                <c:pt idx="81">
                  <c:v>2.255818103778406</c:v>
                </c:pt>
                <c:pt idx="82">
                  <c:v>2.2732452987687526</c:v>
                </c:pt>
                <c:pt idx="83">
                  <c:v>2.291065020456908</c:v>
                </c:pt>
                <c:pt idx="84">
                  <c:v>2.2575606136373287</c:v>
                </c:pt>
                <c:pt idx="85">
                  <c:v>2.233130397348589</c:v>
                </c:pt>
                <c:pt idx="86">
                  <c:v>2.3276297987783265</c:v>
                </c:pt>
                <c:pt idx="87">
                  <c:v>2.354749905446697</c:v>
                </c:pt>
                <c:pt idx="88">
                  <c:v>2.374756036660627</c:v>
                </c:pt>
                <c:pt idx="89">
                  <c:v>2.33247110398849</c:v>
                </c:pt>
                <c:pt idx="90">
                  <c:v>2.4649463829787233</c:v>
                </c:pt>
                <c:pt idx="91">
                  <c:v>2.473112604677309</c:v>
                </c:pt>
                <c:pt idx="92">
                  <c:v>2.08232722152936</c:v>
                </c:pt>
                <c:pt idx="93">
                  <c:v>1.880563390472726</c:v>
                </c:pt>
                <c:pt idx="94">
                  <c:v>1.8312400994620215</c:v>
                </c:pt>
                <c:pt idx="95">
                  <c:v>1.7750970851554073</c:v>
                </c:pt>
                <c:pt idx="96">
                  <c:v>1.635102121667324</c:v>
                </c:pt>
                <c:pt idx="97">
                  <c:v>1.5869456896389775</c:v>
                </c:pt>
                <c:pt idx="98">
                  <c:v>1.575411132066419</c:v>
                </c:pt>
                <c:pt idx="99">
                  <c:v>1.5077277968642526</c:v>
                </c:pt>
                <c:pt idx="100">
                  <c:v>1.446820649525579</c:v>
                </c:pt>
                <c:pt idx="101">
                  <c:v>1.5014549171613751</c:v>
                </c:pt>
                <c:pt idx="102">
                  <c:v>1.5326536051751005</c:v>
                </c:pt>
                <c:pt idx="103">
                  <c:v>1.4972604611813072</c:v>
                </c:pt>
                <c:pt idx="104">
                  <c:v>1.5984876188486052</c:v>
                </c:pt>
              </c:numCache>
            </c:numRef>
          </c:xVal>
          <c:yVal>
            <c:numRef>
              <c:f>Sheet1!$B$2:$B$106</c:f>
              <c:numCache>
                <c:formatCode>General</c:formatCode>
                <c:ptCount val="105"/>
                <c:pt idx="0">
                  <c:v>0.680635838150289</c:v>
                </c:pt>
                <c:pt idx="1">
                  <c:v>0.6310873915943963</c:v>
                </c:pt>
                <c:pt idx="2">
                  <c:v>0.49480369515011546</c:v>
                </c:pt>
                <c:pt idx="3">
                  <c:v>0.4162981680353759</c:v>
                </c:pt>
                <c:pt idx="4">
                  <c:v>0.37242955064737243</c:v>
                </c:pt>
                <c:pt idx="5">
                  <c:v>0.34026465028355385</c:v>
                </c:pt>
                <c:pt idx="6">
                  <c:v>0.3893719806763285</c:v>
                </c:pt>
                <c:pt idx="7">
                  <c:v>0.3561643835616438</c:v>
                </c:pt>
                <c:pt idx="8">
                  <c:v>0.44932432432432434</c:v>
                </c:pt>
                <c:pt idx="9">
                  <c:v>0.5724431818181818</c:v>
                </c:pt>
                <c:pt idx="10">
                  <c:v>0.6262866191607285</c:v>
                </c:pt>
                <c:pt idx="11">
                  <c:v>0.6186213070725156</c:v>
                </c:pt>
                <c:pt idx="12">
                  <c:v>0.6452119309262166</c:v>
                </c:pt>
                <c:pt idx="13">
                  <c:v>0.7060133630289532</c:v>
                </c:pt>
                <c:pt idx="14">
                  <c:v>0.754863813229572</c:v>
                </c:pt>
                <c:pt idx="15">
                  <c:v>0.7145539906103286</c:v>
                </c:pt>
                <c:pt idx="16">
                  <c:v>0.681465038845727</c:v>
                </c:pt>
                <c:pt idx="17">
                  <c:v>0.6480380499405469</c:v>
                </c:pt>
                <c:pt idx="18">
                  <c:v>0.6563814866760168</c:v>
                </c:pt>
                <c:pt idx="19">
                  <c:v>0.5053929121725732</c:v>
                </c:pt>
                <c:pt idx="20">
                  <c:v>0.51985559566787</c:v>
                </c:pt>
                <c:pt idx="21">
                  <c:v>0.5021337126600285</c:v>
                </c:pt>
                <c:pt idx="22">
                  <c:v>0.4725848563968668</c:v>
                </c:pt>
                <c:pt idx="23">
                  <c:v>0.5146627565982405</c:v>
                </c:pt>
                <c:pt idx="24">
                  <c:v>0.48883374689826303</c:v>
                </c:pt>
                <c:pt idx="25">
                  <c:v>0.49411764705882355</c:v>
                </c:pt>
                <c:pt idx="26">
                  <c:v>0.5709281961471103</c:v>
                </c:pt>
                <c:pt idx="27">
                  <c:v>0.5618374558303887</c:v>
                </c:pt>
                <c:pt idx="28">
                  <c:v>0.4665461121157324</c:v>
                </c:pt>
                <c:pt idx="29">
                  <c:v>0.4801762114537445</c:v>
                </c:pt>
                <c:pt idx="30">
                  <c:v>0.45454545454545453</c:v>
                </c:pt>
                <c:pt idx="31">
                  <c:v>0.45471014492753625</c:v>
                </c:pt>
                <c:pt idx="32">
                  <c:v>0.49333333333333335</c:v>
                </c:pt>
                <c:pt idx="33">
                  <c:v>0.5060018467220684</c:v>
                </c:pt>
                <c:pt idx="34">
                  <c:v>0.5121042830540037</c:v>
                </c:pt>
                <c:pt idx="35">
                  <c:v>0.5209643605870021</c:v>
                </c:pt>
                <c:pt idx="36">
                  <c:v>0.4431818181818182</c:v>
                </c:pt>
                <c:pt idx="37">
                  <c:v>0.47471451876019577</c:v>
                </c:pt>
                <c:pt idx="38">
                  <c:v>0.5485519591141397</c:v>
                </c:pt>
                <c:pt idx="39">
                  <c:v>0.6194852941176471</c:v>
                </c:pt>
                <c:pt idx="40">
                  <c:v>0.5337078651685393</c:v>
                </c:pt>
                <c:pt idx="41">
                  <c:v>0.44904458598726116</c:v>
                </c:pt>
                <c:pt idx="42">
                  <c:v>0.42075892857142855</c:v>
                </c:pt>
                <c:pt idx="43">
                  <c:v>0.3998316498316498</c:v>
                </c:pt>
                <c:pt idx="44">
                  <c:v>0.48422800221361373</c:v>
                </c:pt>
                <c:pt idx="45">
                  <c:v>0.5697424892703863</c:v>
                </c:pt>
                <c:pt idx="46">
                  <c:v>0.5562218890554723</c:v>
                </c:pt>
                <c:pt idx="47">
                  <c:v>0.5349273323956868</c:v>
                </c:pt>
                <c:pt idx="48">
                  <c:v>0.5529492928596068</c:v>
                </c:pt>
                <c:pt idx="49">
                  <c:v>0.626808100289296</c:v>
                </c:pt>
                <c:pt idx="50">
                  <c:v>0.5535261288685946</c:v>
                </c:pt>
                <c:pt idx="51">
                  <c:v>0.49582530507385997</c:v>
                </c:pt>
                <c:pt idx="52">
                  <c:v>0.4849126521969296</c:v>
                </c:pt>
                <c:pt idx="53">
                  <c:v>0.45729303547963207</c:v>
                </c:pt>
                <c:pt idx="54">
                  <c:v>0.453601108033241</c:v>
                </c:pt>
                <c:pt idx="55">
                  <c:v>0.4174410293066476</c:v>
                </c:pt>
                <c:pt idx="56">
                  <c:v>0.42857142857142855</c:v>
                </c:pt>
                <c:pt idx="57">
                  <c:v>0.42551854179761156</c:v>
                </c:pt>
                <c:pt idx="58">
                  <c:v>0.4854253420582986</c:v>
                </c:pt>
                <c:pt idx="59">
                  <c:v>0.505626697710516</c:v>
                </c:pt>
                <c:pt idx="60">
                  <c:v>0.5262260127931769</c:v>
                </c:pt>
                <c:pt idx="61">
                  <c:v>0.4936092513694461</c:v>
                </c:pt>
                <c:pt idx="62">
                  <c:v>0.55</c:v>
                </c:pt>
                <c:pt idx="63">
                  <c:v>0.5913870806209314</c:v>
                </c:pt>
                <c:pt idx="64">
                  <c:v>0.6193181818181818</c:v>
                </c:pt>
                <c:pt idx="65">
                  <c:v>0.5889328063241107</c:v>
                </c:pt>
                <c:pt idx="66">
                  <c:v>0.5796825396825397</c:v>
                </c:pt>
                <c:pt idx="67">
                  <c:v>0.5971631205673759</c:v>
                </c:pt>
                <c:pt idx="68">
                  <c:v>0.5730633802816901</c:v>
                </c:pt>
                <c:pt idx="69">
                  <c:v>0.5341545352743561</c:v>
                </c:pt>
                <c:pt idx="70">
                  <c:v>0.48936170212765956</c:v>
                </c:pt>
                <c:pt idx="71">
                  <c:v>0.48135964912280704</c:v>
                </c:pt>
                <c:pt idx="72">
                  <c:v>0.472636815920398</c:v>
                </c:pt>
                <c:pt idx="73">
                  <c:v>0.4494264859228363</c:v>
                </c:pt>
                <c:pt idx="74">
                  <c:v>0.44966442953020136</c:v>
                </c:pt>
                <c:pt idx="75">
                  <c:v>0.477116704805492</c:v>
                </c:pt>
                <c:pt idx="76">
                  <c:v>0.4260204081632653</c:v>
                </c:pt>
                <c:pt idx="77">
                  <c:v>0.4491180461329715</c:v>
                </c:pt>
                <c:pt idx="78">
                  <c:v>0.43390357698289267</c:v>
                </c:pt>
                <c:pt idx="79">
                  <c:v>0.4474431818181818</c:v>
                </c:pt>
                <c:pt idx="80">
                  <c:v>0.3952513966480447</c:v>
                </c:pt>
                <c:pt idx="81">
                  <c:v>0.42769857433808556</c:v>
                </c:pt>
                <c:pt idx="82">
                  <c:v>0.4081041968162084</c:v>
                </c:pt>
                <c:pt idx="83">
                  <c:v>0.3883495145631068</c:v>
                </c:pt>
                <c:pt idx="84">
                  <c:v>0.40978077571669475</c:v>
                </c:pt>
                <c:pt idx="85">
                  <c:v>0.44060773480662985</c:v>
                </c:pt>
                <c:pt idx="86">
                  <c:v>0.48044692737430167</c:v>
                </c:pt>
                <c:pt idx="87">
                  <c:v>0.5095477386934674</c:v>
                </c:pt>
                <c:pt idx="88">
                  <c:v>0.44823232323232326</c:v>
                </c:pt>
                <c:pt idx="89">
                  <c:v>0.39030955585464333</c:v>
                </c:pt>
                <c:pt idx="90">
                  <c:v>0.36959370904325034</c:v>
                </c:pt>
                <c:pt idx="91">
                  <c:v>0.37546933667083854</c:v>
                </c:pt>
                <c:pt idx="92">
                  <c:v>0.4453038674033149</c:v>
                </c:pt>
                <c:pt idx="93">
                  <c:v>0.44495944380069524</c:v>
                </c:pt>
                <c:pt idx="94">
                  <c:v>0.4489003880983182</c:v>
                </c:pt>
                <c:pt idx="95">
                  <c:v>0.4744058500914077</c:v>
                </c:pt>
                <c:pt idx="96">
                  <c:v>0.4929143561306223</c:v>
                </c:pt>
                <c:pt idx="97">
                  <c:v>0.5299486594409584</c:v>
                </c:pt>
                <c:pt idx="98">
                  <c:v>0.5487748497457235</c:v>
                </c:pt>
                <c:pt idx="99">
                  <c:v>0.60207336523126</c:v>
                </c:pt>
                <c:pt idx="100">
                  <c:v>0.6004922067268252</c:v>
                </c:pt>
                <c:pt idx="101">
                  <c:v>0.5616979269496545</c:v>
                </c:pt>
                <c:pt idx="102">
                  <c:v>0.49540636042402825</c:v>
                </c:pt>
                <c:pt idx="103">
                  <c:v>0.4883720930232558</c:v>
                </c:pt>
                <c:pt idx="104">
                  <c:v>0.4808387563268257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5762868544787356</c:v>
                </c:pt>
                <c:pt idx="1">
                  <c:v>1.5999521374839158</c:v>
                </c:pt>
                <c:pt idx="2">
                  <c:v>1.583234561037104</c:v>
                </c:pt>
                <c:pt idx="3">
                  <c:v>1.6280454714692494</c:v>
                </c:pt>
                <c:pt idx="4">
                  <c:v>1.6966162103567055</c:v>
                </c:pt>
                <c:pt idx="5">
                  <c:v>1.6583510200134883</c:v>
                </c:pt>
                <c:pt idx="6">
                  <c:v>1.592523932059934</c:v>
                </c:pt>
                <c:pt idx="7">
                  <c:v>1.690985815048971</c:v>
                </c:pt>
                <c:pt idx="8">
                  <c:v>1.7946258414356362</c:v>
                </c:pt>
                <c:pt idx="9">
                  <c:v>1.7243505798405727</c:v>
                </c:pt>
                <c:pt idx="10">
                  <c:v>1.7458696535288907</c:v>
                </c:pt>
                <c:pt idx="11">
                  <c:v>1.5237561038379206</c:v>
                </c:pt>
                <c:pt idx="12">
                  <c:v>1.592343344921106</c:v>
                </c:pt>
                <c:pt idx="13">
                  <c:v>1.6871361720313782</c:v>
                </c:pt>
                <c:pt idx="14">
                  <c:v>1.6787600688963897</c:v>
                </c:pt>
                <c:pt idx="15">
                  <c:v>1.782746775804498</c:v>
                </c:pt>
                <c:pt idx="16">
                  <c:v>1.8358051818744165</c:v>
                </c:pt>
                <c:pt idx="17">
                  <c:v>1.848841996532261</c:v>
                </c:pt>
                <c:pt idx="18">
                  <c:v>1.8784488685996799</c:v>
                </c:pt>
                <c:pt idx="19">
                  <c:v>1.949235527218749</c:v>
                </c:pt>
                <c:pt idx="20">
                  <c:v>1.901091096339882</c:v>
                </c:pt>
                <c:pt idx="21">
                  <c:v>1.7586113433501342</c:v>
                </c:pt>
                <c:pt idx="22">
                  <c:v>1.7927425190928126</c:v>
                </c:pt>
                <c:pt idx="23">
                  <c:v>1.7212990876116556</c:v>
                </c:pt>
                <c:pt idx="24">
                  <c:v>1.7502105576277098</c:v>
                </c:pt>
                <c:pt idx="25">
                  <c:v>1.7324090564684986</c:v>
                </c:pt>
                <c:pt idx="26">
                  <c:v>1.795616221759723</c:v>
                </c:pt>
                <c:pt idx="27">
                  <c:v>1.7486595168041161</c:v>
                </c:pt>
                <c:pt idx="28">
                  <c:v>1.6463551563175183</c:v>
                </c:pt>
                <c:pt idx="29">
                  <c:v>1.6554471968346494</c:v>
                </c:pt>
                <c:pt idx="30">
                  <c:v>1.6833784568019028</c:v>
                </c:pt>
                <c:pt idx="31">
                  <c:v>1.6360425557155664</c:v>
                </c:pt>
                <c:pt idx="32">
                  <c:v>1.595126574447863</c:v>
                </c:pt>
                <c:pt idx="33">
                  <c:v>1.6271924656757346</c:v>
                </c:pt>
                <c:pt idx="34">
                  <c:v>1.6077370973680594</c:v>
                </c:pt>
                <c:pt idx="35">
                  <c:v>1.6421219276417676</c:v>
                </c:pt>
                <c:pt idx="36">
                  <c:v>1.6738084513460045</c:v>
                </c:pt>
                <c:pt idx="37">
                  <c:v>1.8209221776291686</c:v>
                </c:pt>
                <c:pt idx="38">
                  <c:v>1.8319884901700683</c:v>
                </c:pt>
                <c:pt idx="39">
                  <c:v>1.739072967715849</c:v>
                </c:pt>
                <c:pt idx="40">
                  <c:v>1.7746412972968888</c:v>
                </c:pt>
                <c:pt idx="41">
                  <c:v>1.9252787779773144</c:v>
                </c:pt>
                <c:pt idx="42">
                  <c:v>1.951855788636467</c:v>
                </c:pt>
                <c:pt idx="43">
                  <c:v>1.9254966649069556</c:v>
                </c:pt>
                <c:pt idx="44">
                  <c:v>1.7661636936712775</c:v>
                </c:pt>
                <c:pt idx="45">
                  <c:v>1.7199608757216263</c:v>
                </c:pt>
                <c:pt idx="46">
                  <c:v>1.7476272503553487</c:v>
                </c:pt>
                <c:pt idx="47">
                  <c:v>1.7193253376243074</c:v>
                </c:pt>
                <c:pt idx="48">
                  <c:v>1.6658597074092376</c:v>
                </c:pt>
                <c:pt idx="49">
                  <c:v>1.681346283641469</c:v>
                </c:pt>
                <c:pt idx="50">
                  <c:v>1.494772821958466</c:v>
                </c:pt>
                <c:pt idx="51">
                  <c:v>1.5209791306876794</c:v>
                </c:pt>
              </c:numCache>
            </c:numRef>
          </c:xVal>
          <c:yVal>
            <c:numRef>
              <c:f>Sheet1!$B$109:$B$160</c:f>
              <c:numCache>
                <c:formatCode>General</c:formatCode>
                <c:ptCount val="52"/>
                <c:pt idx="0">
                  <c:v>0.4863861386138614</c:v>
                </c:pt>
                <c:pt idx="1">
                  <c:v>0.4829581993569132</c:v>
                </c:pt>
                <c:pt idx="2">
                  <c:v>0.5180794309425015</c:v>
                </c:pt>
                <c:pt idx="3">
                  <c:v>0.5220763723150358</c:v>
                </c:pt>
                <c:pt idx="4">
                  <c:v>0.4452473596442468</c:v>
                </c:pt>
                <c:pt idx="5">
                  <c:v>0.4768957345971564</c:v>
                </c:pt>
                <c:pt idx="6">
                  <c:v>0.5204769310523587</c:v>
                </c:pt>
                <c:pt idx="7">
                  <c:v>0.5212121212121212</c:v>
                </c:pt>
                <c:pt idx="8">
                  <c:v>0.5131914893617021</c:v>
                </c:pt>
                <c:pt idx="9">
                  <c:v>0.5424940428911835</c:v>
                </c:pt>
                <c:pt idx="10">
                  <c:v>0.5845674201091192</c:v>
                </c:pt>
                <c:pt idx="11">
                  <c:v>0.6223132036847492</c:v>
                </c:pt>
                <c:pt idx="12">
                  <c:v>0.5911242603550296</c:v>
                </c:pt>
                <c:pt idx="13">
                  <c:v>0.5502156500308072</c:v>
                </c:pt>
                <c:pt idx="14">
                  <c:v>0.5517002081887578</c:v>
                </c:pt>
                <c:pt idx="15">
                  <c:v>0.543859649122807</c:v>
                </c:pt>
                <c:pt idx="16">
                  <c:v>0.501937984496124</c:v>
                </c:pt>
                <c:pt idx="17">
                  <c:v>0.48500517063081694</c:v>
                </c:pt>
                <c:pt idx="18">
                  <c:v>0.4463840399002494</c:v>
                </c:pt>
                <c:pt idx="19">
                  <c:v>0.4180672268907563</c:v>
                </c:pt>
                <c:pt idx="20">
                  <c:v>0.3778538812785388</c:v>
                </c:pt>
                <c:pt idx="21">
                  <c:v>0.39448275862068966</c:v>
                </c:pt>
                <c:pt idx="22">
                  <c:v>0.4028169014084507</c:v>
                </c:pt>
                <c:pt idx="23">
                  <c:v>0.4223512336719884</c:v>
                </c:pt>
                <c:pt idx="24">
                  <c:v>0.40784313725490196</c:v>
                </c:pt>
                <c:pt idx="25">
                  <c:v>0.43878954607977994</c:v>
                </c:pt>
                <c:pt idx="26">
                  <c:v>0.3825136612021858</c:v>
                </c:pt>
                <c:pt idx="27">
                  <c:v>0.40644361833952913</c:v>
                </c:pt>
                <c:pt idx="28">
                  <c:v>0.4855923159018143</c:v>
                </c:pt>
                <c:pt idx="29">
                  <c:v>0.49463806970509383</c:v>
                </c:pt>
                <c:pt idx="30">
                  <c:v>0.5059920106524634</c:v>
                </c:pt>
                <c:pt idx="31">
                  <c:v>0.4917043740573152</c:v>
                </c:pt>
                <c:pt idx="32">
                  <c:v>0.523038605230386</c:v>
                </c:pt>
                <c:pt idx="33">
                  <c:v>0.5652600588812562</c:v>
                </c:pt>
                <c:pt idx="34">
                  <c:v>0.588855421686747</c:v>
                </c:pt>
                <c:pt idx="35">
                  <c:v>0.5901981230448383</c:v>
                </c:pt>
                <c:pt idx="36">
                  <c:v>0.49921752738654146</c:v>
                </c:pt>
                <c:pt idx="37">
                  <c:v>0.42679558011049723</c:v>
                </c:pt>
                <c:pt idx="38">
                  <c:v>0.40233236151603496</c:v>
                </c:pt>
                <c:pt idx="39">
                  <c:v>0.45178197064989517</c:v>
                </c:pt>
                <c:pt idx="40">
                  <c:v>0.4198218262806236</c:v>
                </c:pt>
                <c:pt idx="41">
                  <c:v>0.40543259557344064</c:v>
                </c:pt>
                <c:pt idx="42">
                  <c:v>0.41947115384615385</c:v>
                </c:pt>
                <c:pt idx="43">
                  <c:v>0.41140881590319794</c:v>
                </c:pt>
                <c:pt idx="44">
                  <c:v>0.46594427244582043</c:v>
                </c:pt>
                <c:pt idx="45">
                  <c:v>0.5294457274826789</c:v>
                </c:pt>
                <c:pt idx="46">
                  <c:v>0.5400291120815138</c:v>
                </c:pt>
                <c:pt idx="47">
                  <c:v>0.5196451204055766</c:v>
                </c:pt>
                <c:pt idx="48">
                  <c:v>0.5326148610323312</c:v>
                </c:pt>
                <c:pt idx="49">
                  <c:v>0.5712105798575788</c:v>
                </c:pt>
                <c:pt idx="50">
                  <c:v>0.5995101041028781</c:v>
                </c:pt>
                <c:pt idx="51">
                  <c:v>0.572052401746724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3874431648807084</c:v>
                </c:pt>
              </c:numCache>
            </c:numRef>
          </c:xVal>
          <c:yVal>
            <c:numRef>
              <c:f>Sheet1!$B$163:$B$164</c:f>
              <c:numCache>
                <c:formatCode>General</c:formatCode>
                <c:ptCount val="2"/>
                <c:pt idx="0">
                  <c:v>0.6270200770622506</c:v>
                </c:pt>
                <c:pt idx="1">
                  <c:v>0.627020077062250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3874431648807084</c:v>
                </c:pt>
                <c:pt idx="1">
                  <c:v>1.3874431648807084</c:v>
                </c:pt>
              </c:numCache>
            </c:numRef>
          </c:xVal>
          <c:yVal>
            <c:numRef>
              <c:f>Sheet1!$B$167:$B$168</c:f>
              <c:numCache>
                <c:formatCode>General</c:formatCode>
                <c:ptCount val="2"/>
                <c:pt idx="0">
                  <c:v>0.62702007706225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5294413057537903</c:v>
                </c:pt>
              </c:numCache>
            </c:numRef>
          </c:xVal>
          <c:yVal>
            <c:numRef>
              <c:f>Sheet1!$B$171:$B$172</c:f>
              <c:numCache>
                <c:formatCode>General</c:formatCode>
                <c:ptCount val="2"/>
                <c:pt idx="0">
                  <c:v>0.5688469866848782</c:v>
                </c:pt>
                <c:pt idx="1">
                  <c:v>0.568846986684878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5294413057537903</c:v>
                </c:pt>
                <c:pt idx="1">
                  <c:v>1.5294413057537903</c:v>
                </c:pt>
              </c:numCache>
            </c:numRef>
          </c:xVal>
          <c:yVal>
            <c:numRef>
              <c:f>Sheet1!$B$175:$B$176</c:f>
              <c:numCache>
                <c:formatCode>General</c:formatCode>
                <c:ptCount val="2"/>
                <c:pt idx="0">
                  <c:v>0.568846986684878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7090662903533373</c:v>
                </c:pt>
              </c:numCache>
            </c:numRef>
          </c:xVal>
          <c:yVal>
            <c:numRef>
              <c:f>Sheet1!$B$179:$B$180</c:f>
              <c:numCache>
                <c:formatCode>General</c:formatCode>
                <c:ptCount val="2"/>
                <c:pt idx="0">
                  <c:v>0.495259118569878</c:v>
                </c:pt>
                <c:pt idx="1">
                  <c:v>0.49525911856987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7090662903533373</c:v>
                </c:pt>
                <c:pt idx="1">
                  <c:v>1.7090662903533373</c:v>
                </c:pt>
              </c:numCache>
            </c:numRef>
          </c:xVal>
          <c:yVal>
            <c:numRef>
              <c:f>Sheet1!$B$183:$B$184</c:f>
              <c:numCache>
                <c:formatCode>General</c:formatCode>
                <c:ptCount val="2"/>
                <c:pt idx="0">
                  <c:v>0.4952591185698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5762868544787356</c:v>
                </c:pt>
                <c:pt idx="1">
                  <c:v>1.5999521374839158</c:v>
                </c:pt>
                <c:pt idx="2">
                  <c:v>1.583234561037104</c:v>
                </c:pt>
                <c:pt idx="3">
                  <c:v>1.6280454714692494</c:v>
                </c:pt>
                <c:pt idx="4">
                  <c:v>1.6966162103567055</c:v>
                </c:pt>
                <c:pt idx="5">
                  <c:v>1.6583510200134883</c:v>
                </c:pt>
                <c:pt idx="6">
                  <c:v>1.592523932059934</c:v>
                </c:pt>
                <c:pt idx="7">
                  <c:v>1.690985815048971</c:v>
                </c:pt>
                <c:pt idx="8">
                  <c:v>1.7946258414356362</c:v>
                </c:pt>
                <c:pt idx="9">
                  <c:v>1.7243505798405727</c:v>
                </c:pt>
                <c:pt idx="10">
                  <c:v>1.7458696535288907</c:v>
                </c:pt>
                <c:pt idx="11">
                  <c:v>1.5237561038379206</c:v>
                </c:pt>
                <c:pt idx="12">
                  <c:v>1.592343344921106</c:v>
                </c:pt>
                <c:pt idx="13">
                  <c:v>1.6871361720313782</c:v>
                </c:pt>
                <c:pt idx="14">
                  <c:v>1.6787600688963897</c:v>
                </c:pt>
                <c:pt idx="15">
                  <c:v>1.782746775804498</c:v>
                </c:pt>
                <c:pt idx="16">
                  <c:v>1.8358051818744165</c:v>
                </c:pt>
                <c:pt idx="17">
                  <c:v>1.848841996532261</c:v>
                </c:pt>
                <c:pt idx="18">
                  <c:v>1.8784488685996799</c:v>
                </c:pt>
                <c:pt idx="19">
                  <c:v>1.949235527218749</c:v>
                </c:pt>
                <c:pt idx="20">
                  <c:v>1.901091096339882</c:v>
                </c:pt>
                <c:pt idx="21">
                  <c:v>1.7586113433501342</c:v>
                </c:pt>
                <c:pt idx="22">
                  <c:v>1.7927425190928126</c:v>
                </c:pt>
                <c:pt idx="23">
                  <c:v>1.7212990876116556</c:v>
                </c:pt>
                <c:pt idx="24">
                  <c:v>1.7502105576277098</c:v>
                </c:pt>
                <c:pt idx="25">
                  <c:v>1.7324090564684986</c:v>
                </c:pt>
                <c:pt idx="26">
                  <c:v>1.795616221759723</c:v>
                </c:pt>
                <c:pt idx="27">
                  <c:v>1.7486595168041161</c:v>
                </c:pt>
                <c:pt idx="28">
                  <c:v>1.6463551563175183</c:v>
                </c:pt>
                <c:pt idx="29">
                  <c:v>1.6554471968346494</c:v>
                </c:pt>
                <c:pt idx="30">
                  <c:v>1.6833784568019028</c:v>
                </c:pt>
                <c:pt idx="31">
                  <c:v>1.6360425557155664</c:v>
                </c:pt>
                <c:pt idx="32">
                  <c:v>1.595126574447863</c:v>
                </c:pt>
                <c:pt idx="33">
                  <c:v>1.6271924656757346</c:v>
                </c:pt>
                <c:pt idx="34">
                  <c:v>1.6077370973680594</c:v>
                </c:pt>
                <c:pt idx="35">
                  <c:v>1.6421219276417676</c:v>
                </c:pt>
                <c:pt idx="36">
                  <c:v>1.6738084513460045</c:v>
                </c:pt>
                <c:pt idx="37">
                  <c:v>1.8209221776291686</c:v>
                </c:pt>
                <c:pt idx="38">
                  <c:v>1.8319884901700683</c:v>
                </c:pt>
                <c:pt idx="39">
                  <c:v>1.739072967715849</c:v>
                </c:pt>
                <c:pt idx="40">
                  <c:v>1.7746412972968888</c:v>
                </c:pt>
                <c:pt idx="41">
                  <c:v>1.9252787779773144</c:v>
                </c:pt>
                <c:pt idx="42">
                  <c:v>1.951855788636467</c:v>
                </c:pt>
                <c:pt idx="43">
                  <c:v>1.9254966649069556</c:v>
                </c:pt>
                <c:pt idx="44">
                  <c:v>1.7661636936712775</c:v>
                </c:pt>
                <c:pt idx="45">
                  <c:v>1.7199608757216263</c:v>
                </c:pt>
                <c:pt idx="46">
                  <c:v>1.7476272503553487</c:v>
                </c:pt>
                <c:pt idx="47">
                  <c:v>1.7193253376243074</c:v>
                </c:pt>
                <c:pt idx="48">
                  <c:v>1.6658597074092376</c:v>
                </c:pt>
                <c:pt idx="49">
                  <c:v>1.681346283641469</c:v>
                </c:pt>
                <c:pt idx="50">
                  <c:v>1.494772821958466</c:v>
                </c:pt>
                <c:pt idx="51">
                  <c:v>1.5209791306876794</c:v>
                </c:pt>
                <c:pt idx="52">
                  <c:v>1.5294413057537903</c:v>
                </c:pt>
                <c:pt idx="53">
                  <c:v>1.3874431648807084</c:v>
                </c:pt>
                <c:pt idx="54">
                  <c:v>1.7090662903533373</c:v>
                </c:pt>
              </c:numCache>
            </c:numRef>
          </c:xVal>
          <c:yVal>
            <c:numRef>
              <c:f>Sheet1!$B$187:$B$241</c:f>
              <c:numCache>
                <c:formatCode>General</c:formatCode>
                <c:ptCount val="55"/>
                <c:pt idx="0">
                  <c:v>0.5496555358461691</c:v>
                </c:pt>
                <c:pt idx="1">
                  <c:v>0.5399604606951717</c:v>
                </c:pt>
                <c:pt idx="2">
                  <c:v>0.5468092340632699</c:v>
                </c:pt>
                <c:pt idx="3">
                  <c:v>0.5284513236960385</c:v>
                </c:pt>
                <c:pt idx="4">
                  <c:v>0.5003596052691858</c:v>
                </c:pt>
                <c:pt idx="5">
                  <c:v>0.5160358976660907</c:v>
                </c:pt>
                <c:pt idx="6">
                  <c:v>0.5430036108576601</c:v>
                </c:pt>
                <c:pt idx="7">
                  <c:v>0.5026662375467867</c:v>
                </c:pt>
                <c:pt idx="8">
                  <c:v>0.4602075082660033</c:v>
                </c:pt>
                <c:pt idx="9">
                  <c:v>0.48899752705728505</c:v>
                </c:pt>
                <c:pt idx="10">
                  <c:v>0.4801817002386316</c:v>
                </c:pt>
                <c:pt idx="11">
                  <c:v>0.5711760718604447</c:v>
                </c:pt>
                <c:pt idx="12">
                  <c:v>0.5430775928963224</c:v>
                </c:pt>
                <c:pt idx="13">
                  <c:v>0.5042433401046519</c:v>
                </c:pt>
                <c:pt idx="14">
                  <c:v>0.5076748202753493</c:v>
                </c:pt>
                <c:pt idx="15">
                  <c:v>0.4650740646470237</c:v>
                </c:pt>
                <c:pt idx="16">
                  <c:v>0.4433373613873418</c:v>
                </c:pt>
                <c:pt idx="17">
                  <c:v>0.4379965041573751</c:v>
                </c:pt>
                <c:pt idx="18">
                  <c:v>0.4258673084229839</c:v>
                </c:pt>
                <c:pt idx="19">
                  <c:v>0.396867783048635</c:v>
                </c:pt>
                <c:pt idx="20">
                  <c:v>0.41659135345218534</c:v>
                </c:pt>
                <c:pt idx="21">
                  <c:v>0.4749617482802876</c:v>
                </c:pt>
                <c:pt idx="22">
                  <c:v>0.46097905837352704</c:v>
                </c:pt>
                <c:pt idx="23">
                  <c:v>0.49024764717947256</c:v>
                </c:pt>
                <c:pt idx="24">
                  <c:v>0.47840334029034315</c:v>
                </c:pt>
                <c:pt idx="25">
                  <c:v>0.48569617053037617</c:v>
                </c:pt>
                <c:pt idx="26">
                  <c:v>0.45980177419267787</c:v>
                </c:pt>
                <c:pt idx="27">
                  <c:v>0.47903876296176073</c:v>
                </c:pt>
                <c:pt idx="28">
                  <c:v>0.5209503032959787</c:v>
                </c:pt>
                <c:pt idx="29">
                  <c:v>0.5172255214680916</c:v>
                </c:pt>
                <c:pt idx="30">
                  <c:v>0.5057827821446156</c:v>
                </c:pt>
                <c:pt idx="31">
                  <c:v>0.5251751180939365</c:v>
                </c:pt>
                <c:pt idx="32">
                  <c:v>0.5419373733004494</c:v>
                </c:pt>
                <c:pt idx="33">
                  <c:v>0.5288007788566023</c:v>
                </c:pt>
                <c:pt idx="34">
                  <c:v>0.5367711571441536</c:v>
                </c:pt>
                <c:pt idx="35">
                  <c:v>0.5226845513137935</c:v>
                </c:pt>
                <c:pt idx="36">
                  <c:v>0.5097033742655752</c:v>
                </c:pt>
                <c:pt idx="37">
                  <c:v>0.44943455636272867</c:v>
                </c:pt>
                <c:pt idx="38">
                  <c:v>0.444900964615486</c:v>
                </c:pt>
                <c:pt idx="39">
                  <c:v>0.4829661325955459</c:v>
                </c:pt>
                <c:pt idx="40">
                  <c:v>0.46839467666965895</c:v>
                </c:pt>
                <c:pt idx="41">
                  <c:v>0.4066822646341063</c:v>
                </c:pt>
                <c:pt idx="42">
                  <c:v>0.3957943274151454</c:v>
                </c:pt>
                <c:pt idx="43">
                  <c:v>0.4065930018031133</c:v>
                </c:pt>
                <c:pt idx="44">
                  <c:v>0.47186773905529267</c:v>
                </c:pt>
                <c:pt idx="45">
                  <c:v>0.4907958791545117</c:v>
                </c:pt>
                <c:pt idx="46">
                  <c:v>0.47946165673380914</c:v>
                </c:pt>
                <c:pt idx="47">
                  <c:v>0.49105624323355024</c:v>
                </c:pt>
                <c:pt idx="48">
                  <c:v>0.5129597760506762</c:v>
                </c:pt>
                <c:pt idx="49">
                  <c:v>0.5066153127129562</c:v>
                </c:pt>
                <c:pt idx="50">
                  <c:v>0.5830497982757318</c:v>
                </c:pt>
                <c:pt idx="51">
                  <c:v>0.5723137283751797</c:v>
                </c:pt>
                <c:pt idx="52">
                  <c:v>0.5688469866848782</c:v>
                </c:pt>
                <c:pt idx="53">
                  <c:v>0.6270200770622506</c:v>
                </c:pt>
                <c:pt idx="54">
                  <c:v>0.4952591185698780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58365758754863"/>
          <c:min val="0.272211720226843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55.1847</c:v>
                </c:pt>
                <c:pt idx="1">
                  <c:v>847.7167</c:v>
                </c:pt>
                <c:pt idx="2">
                  <c:v>895.2812</c:v>
                </c:pt>
                <c:pt idx="3">
                  <c:v>912.5615</c:v>
                </c:pt>
                <c:pt idx="4">
                  <c:v>919.4438</c:v>
                </c:pt>
                <c:pt idx="5">
                  <c:v>937.3167</c:v>
                </c:pt>
                <c:pt idx="6">
                  <c:v>876.6551</c:v>
                </c:pt>
                <c:pt idx="7">
                  <c:v>897.7083</c:v>
                </c:pt>
                <c:pt idx="8">
                  <c:v>867.2556</c:v>
                </c:pt>
                <c:pt idx="9">
                  <c:v>816.7283</c:v>
                </c:pt>
                <c:pt idx="10">
                  <c:v>815.1037</c:v>
                </c:pt>
                <c:pt idx="11">
                  <c:v>869.9696</c:v>
                </c:pt>
                <c:pt idx="12">
                  <c:v>880.5109</c:v>
                </c:pt>
                <c:pt idx="13">
                  <c:v>866.3197</c:v>
                </c:pt>
                <c:pt idx="14">
                  <c:v>857.8536</c:v>
                </c:pt>
                <c:pt idx="15">
                  <c:v>869.979</c:v>
                </c:pt>
                <c:pt idx="16">
                  <c:v>879.4153</c:v>
                </c:pt>
                <c:pt idx="17">
                  <c:v>866.4661</c:v>
                </c:pt>
                <c:pt idx="18">
                  <c:v>911.4423</c:v>
                </c:pt>
                <c:pt idx="19">
                  <c:v>962.8811</c:v>
                </c:pt>
                <c:pt idx="20">
                  <c:v>981.6273</c:v>
                </c:pt>
                <c:pt idx="21">
                  <c:v>985.949</c:v>
                </c:pt>
                <c:pt idx="22">
                  <c:v>941.3978</c:v>
                </c:pt>
                <c:pt idx="23">
                  <c:v>924.6011</c:v>
                </c:pt>
                <c:pt idx="24">
                  <c:v>913.2234</c:v>
                </c:pt>
                <c:pt idx="25">
                  <c:v>894.5446</c:v>
                </c:pt>
                <c:pt idx="26">
                  <c:v>894.2546</c:v>
                </c:pt>
                <c:pt idx="27">
                  <c:v>927.7799</c:v>
                </c:pt>
                <c:pt idx="28">
                  <c:v>942.2519</c:v>
                </c:pt>
                <c:pt idx="29">
                  <c:v>785.5627</c:v>
                </c:pt>
                <c:pt idx="30">
                  <c:v>815.9488</c:v>
                </c:pt>
                <c:pt idx="31">
                  <c:v>874.3426</c:v>
                </c:pt>
                <c:pt idx="32">
                  <c:v>833.4946</c:v>
                </c:pt>
                <c:pt idx="33">
                  <c:v>767.8558</c:v>
                </c:pt>
                <c:pt idx="34">
                  <c:v>831.2255</c:v>
                </c:pt>
                <c:pt idx="35">
                  <c:v>924.5533</c:v>
                </c:pt>
                <c:pt idx="36">
                  <c:v>1038.8397</c:v>
                </c:pt>
                <c:pt idx="37">
                  <c:v>1041.4777</c:v>
                </c:pt>
                <c:pt idx="38">
                  <c:v>1050.8913</c:v>
                </c:pt>
                <c:pt idx="39">
                  <c:v>1031.4896</c:v>
                </c:pt>
                <c:pt idx="40">
                  <c:v>1036.1211</c:v>
                </c:pt>
                <c:pt idx="41">
                  <c:v>1089.2376</c:v>
                </c:pt>
                <c:pt idx="42">
                  <c:v>1101.4218</c:v>
                </c:pt>
                <c:pt idx="43">
                  <c:v>1094.3937</c:v>
                </c:pt>
                <c:pt idx="44">
                  <c:v>996.7371</c:v>
                </c:pt>
                <c:pt idx="45">
                  <c:v>963.9557</c:v>
                </c:pt>
                <c:pt idx="46">
                  <c:v>971.9416</c:v>
                </c:pt>
                <c:pt idx="47">
                  <c:v>934.6889</c:v>
                </c:pt>
                <c:pt idx="48">
                  <c:v>959.738</c:v>
                </c:pt>
                <c:pt idx="49">
                  <c:v>947.2208</c:v>
                </c:pt>
                <c:pt idx="50">
                  <c:v>916.5665</c:v>
                </c:pt>
                <c:pt idx="51">
                  <c:v>908.3212</c:v>
                </c:pt>
                <c:pt idx="52">
                  <c:v>939.1801</c:v>
                </c:pt>
                <c:pt idx="53">
                  <c:v>1029.9124</c:v>
                </c:pt>
                <c:pt idx="54">
                  <c:v>1013.258</c:v>
                </c:pt>
                <c:pt idx="55">
                  <c:v>1027.9178</c:v>
                </c:pt>
                <c:pt idx="56">
                  <c:v>1058.945</c:v>
                </c:pt>
                <c:pt idx="57">
                  <c:v>1033.4564</c:v>
                </c:pt>
                <c:pt idx="58">
                  <c:v>999.6495</c:v>
                </c:pt>
                <c:pt idx="59">
                  <c:v>987.9816</c:v>
                </c:pt>
                <c:pt idx="60">
                  <c:v>1008.6783</c:v>
                </c:pt>
                <c:pt idx="61">
                  <c:v>1022.7189</c:v>
                </c:pt>
                <c:pt idx="62">
                  <c:v>971.5924</c:v>
                </c:pt>
                <c:pt idx="63">
                  <c:v>1006.6723</c:v>
                </c:pt>
                <c:pt idx="64">
                  <c:v>1006.99</c:v>
                </c:pt>
                <c:pt idx="65">
                  <c:v>983.4209</c:v>
                </c:pt>
                <c:pt idx="66">
                  <c:v>992.9485</c:v>
                </c:pt>
                <c:pt idx="67">
                  <c:v>1012.9335</c:v>
                </c:pt>
                <c:pt idx="68">
                  <c:v>1005.7588</c:v>
                </c:pt>
                <c:pt idx="69">
                  <c:v>991.8071</c:v>
                </c:pt>
                <c:pt idx="70">
                  <c:v>981.0311</c:v>
                </c:pt>
                <c:pt idx="71">
                  <c:v>1071.8018</c:v>
                </c:pt>
                <c:pt idx="72">
                  <c:v>1142.0147</c:v>
                </c:pt>
                <c:pt idx="73">
                  <c:v>1175.5522</c:v>
                </c:pt>
                <c:pt idx="74">
                  <c:v>1118.71</c:v>
                </c:pt>
                <c:pt idx="75">
                  <c:v>1082.1655</c:v>
                </c:pt>
                <c:pt idx="76">
                  <c:v>1138.1407</c:v>
                </c:pt>
                <c:pt idx="77">
                  <c:v>1124.9063</c:v>
                </c:pt>
                <c:pt idx="78">
                  <c:v>1110.0287</c:v>
                </c:pt>
                <c:pt idx="79">
                  <c:v>1133.9619</c:v>
                </c:pt>
                <c:pt idx="80">
                  <c:v>1120.1131</c:v>
                </c:pt>
                <c:pt idx="81">
                  <c:v>1092.1214</c:v>
                </c:pt>
                <c:pt idx="82">
                  <c:v>1098.0284</c:v>
                </c:pt>
                <c:pt idx="83">
                  <c:v>1100.7958</c:v>
                </c:pt>
                <c:pt idx="84">
                  <c:v>1079.428</c:v>
                </c:pt>
                <c:pt idx="85">
                  <c:v>1076.3856</c:v>
                </c:pt>
                <c:pt idx="86">
                  <c:v>1089.5535</c:v>
                </c:pt>
                <c:pt idx="87">
                  <c:v>1103.2446</c:v>
                </c:pt>
                <c:pt idx="88">
                  <c:v>1114.1859</c:v>
                </c:pt>
                <c:pt idx="89">
                  <c:v>1104.969</c:v>
                </c:pt>
                <c:pt idx="90">
                  <c:v>1158.5248</c:v>
                </c:pt>
                <c:pt idx="91">
                  <c:v>1157.9133</c:v>
                </c:pt>
                <c:pt idx="92">
                  <c:v>1068.4194</c:v>
                </c:pt>
                <c:pt idx="93">
                  <c:v>1133.1771</c:v>
                </c:pt>
                <c:pt idx="94">
                  <c:v>1150.9366</c:v>
                </c:pt>
                <c:pt idx="95">
                  <c:v>1124.0039</c:v>
                </c:pt>
                <c:pt idx="96">
                  <c:v>1068.1388</c:v>
                </c:pt>
                <c:pt idx="97">
                  <c:v>1064.3832</c:v>
                </c:pt>
                <c:pt idx="98">
                  <c:v>1067.1323</c:v>
                </c:pt>
                <c:pt idx="99">
                  <c:v>1016.2212</c:v>
                </c:pt>
                <c:pt idx="100">
                  <c:v>1027.3069</c:v>
                </c:pt>
                <c:pt idx="101">
                  <c:v>1034.5149</c:v>
                </c:pt>
                <c:pt idx="102">
                  <c:v>1032.174</c:v>
                </c:pt>
                <c:pt idx="103">
                  <c:v>1023.282</c:v>
                </c:pt>
                <c:pt idx="104">
                  <c:v>1089.2977</c:v>
                </c:pt>
              </c:numCache>
            </c:numRef>
          </c:xVal>
          <c:yVal>
            <c:numRef>
              <c:f>Sheet1!$B$2:$B$106</c:f>
              <c:numCache>
                <c:formatCode>General</c:formatCode>
                <c:ptCount val="105"/>
                <c:pt idx="0">
                  <c:v>0.680635838150289</c:v>
                </c:pt>
                <c:pt idx="1">
                  <c:v>0.6310873915943963</c:v>
                </c:pt>
                <c:pt idx="2">
                  <c:v>0.49480369515011546</c:v>
                </c:pt>
                <c:pt idx="3">
                  <c:v>0.4162981680353759</c:v>
                </c:pt>
                <c:pt idx="4">
                  <c:v>0.37242955064737243</c:v>
                </c:pt>
                <c:pt idx="5">
                  <c:v>0.34026465028355385</c:v>
                </c:pt>
                <c:pt idx="6">
                  <c:v>0.3893719806763285</c:v>
                </c:pt>
                <c:pt idx="7">
                  <c:v>0.3561643835616438</c:v>
                </c:pt>
                <c:pt idx="8">
                  <c:v>0.44932432432432434</c:v>
                </c:pt>
                <c:pt idx="9">
                  <c:v>0.5724431818181818</c:v>
                </c:pt>
                <c:pt idx="10">
                  <c:v>0.6262866191607285</c:v>
                </c:pt>
                <c:pt idx="11">
                  <c:v>0.6186213070725156</c:v>
                </c:pt>
                <c:pt idx="12">
                  <c:v>0.6452119309262166</c:v>
                </c:pt>
                <c:pt idx="13">
                  <c:v>0.7060133630289532</c:v>
                </c:pt>
                <c:pt idx="14">
                  <c:v>0.754863813229572</c:v>
                </c:pt>
                <c:pt idx="15">
                  <c:v>0.7145539906103286</c:v>
                </c:pt>
                <c:pt idx="16">
                  <c:v>0.681465038845727</c:v>
                </c:pt>
                <c:pt idx="17">
                  <c:v>0.6480380499405469</c:v>
                </c:pt>
                <c:pt idx="18">
                  <c:v>0.6563814866760168</c:v>
                </c:pt>
                <c:pt idx="19">
                  <c:v>0.5053929121725732</c:v>
                </c:pt>
                <c:pt idx="20">
                  <c:v>0.51985559566787</c:v>
                </c:pt>
                <c:pt idx="21">
                  <c:v>0.5021337126600285</c:v>
                </c:pt>
                <c:pt idx="22">
                  <c:v>0.4725848563968668</c:v>
                </c:pt>
                <c:pt idx="23">
                  <c:v>0.5146627565982405</c:v>
                </c:pt>
                <c:pt idx="24">
                  <c:v>0.48883374689826303</c:v>
                </c:pt>
                <c:pt idx="25">
                  <c:v>0.49411764705882355</c:v>
                </c:pt>
                <c:pt idx="26">
                  <c:v>0.5709281961471103</c:v>
                </c:pt>
                <c:pt idx="27">
                  <c:v>0.5618374558303887</c:v>
                </c:pt>
                <c:pt idx="28">
                  <c:v>0.4665461121157324</c:v>
                </c:pt>
                <c:pt idx="29">
                  <c:v>0.4801762114537445</c:v>
                </c:pt>
                <c:pt idx="30">
                  <c:v>0.45454545454545453</c:v>
                </c:pt>
                <c:pt idx="31">
                  <c:v>0.45471014492753625</c:v>
                </c:pt>
                <c:pt idx="32">
                  <c:v>0.49333333333333335</c:v>
                </c:pt>
                <c:pt idx="33">
                  <c:v>0.5060018467220684</c:v>
                </c:pt>
                <c:pt idx="34">
                  <c:v>0.5121042830540037</c:v>
                </c:pt>
                <c:pt idx="35">
                  <c:v>0.5209643605870021</c:v>
                </c:pt>
                <c:pt idx="36">
                  <c:v>0.4431818181818182</c:v>
                </c:pt>
                <c:pt idx="37">
                  <c:v>0.47471451876019577</c:v>
                </c:pt>
                <c:pt idx="38">
                  <c:v>0.5485519591141397</c:v>
                </c:pt>
                <c:pt idx="39">
                  <c:v>0.6194852941176471</c:v>
                </c:pt>
                <c:pt idx="40">
                  <c:v>0.5337078651685393</c:v>
                </c:pt>
                <c:pt idx="41">
                  <c:v>0.44904458598726116</c:v>
                </c:pt>
                <c:pt idx="42">
                  <c:v>0.42075892857142855</c:v>
                </c:pt>
                <c:pt idx="43">
                  <c:v>0.3998316498316498</c:v>
                </c:pt>
                <c:pt idx="44">
                  <c:v>0.48422800221361373</c:v>
                </c:pt>
                <c:pt idx="45">
                  <c:v>0.5697424892703863</c:v>
                </c:pt>
                <c:pt idx="46">
                  <c:v>0.5562218890554723</c:v>
                </c:pt>
                <c:pt idx="47">
                  <c:v>0.5349273323956868</c:v>
                </c:pt>
                <c:pt idx="48">
                  <c:v>0.5529492928596068</c:v>
                </c:pt>
                <c:pt idx="49">
                  <c:v>0.626808100289296</c:v>
                </c:pt>
                <c:pt idx="50">
                  <c:v>0.5535261288685946</c:v>
                </c:pt>
                <c:pt idx="51">
                  <c:v>0.49582530507385997</c:v>
                </c:pt>
                <c:pt idx="52">
                  <c:v>0.4849126521969296</c:v>
                </c:pt>
                <c:pt idx="53">
                  <c:v>0.45729303547963207</c:v>
                </c:pt>
                <c:pt idx="54">
                  <c:v>0.453601108033241</c:v>
                </c:pt>
                <c:pt idx="55">
                  <c:v>0.4174410293066476</c:v>
                </c:pt>
                <c:pt idx="56">
                  <c:v>0.42857142857142855</c:v>
                </c:pt>
                <c:pt idx="57">
                  <c:v>0.42551854179761156</c:v>
                </c:pt>
                <c:pt idx="58">
                  <c:v>0.4854253420582986</c:v>
                </c:pt>
                <c:pt idx="59">
                  <c:v>0.505626697710516</c:v>
                </c:pt>
                <c:pt idx="60">
                  <c:v>0.5262260127931769</c:v>
                </c:pt>
                <c:pt idx="61">
                  <c:v>0.4936092513694461</c:v>
                </c:pt>
                <c:pt idx="62">
                  <c:v>0.55</c:v>
                </c:pt>
                <c:pt idx="63">
                  <c:v>0.5913870806209314</c:v>
                </c:pt>
                <c:pt idx="64">
                  <c:v>0.6193181818181818</c:v>
                </c:pt>
                <c:pt idx="65">
                  <c:v>0.5889328063241107</c:v>
                </c:pt>
                <c:pt idx="66">
                  <c:v>0.5796825396825397</c:v>
                </c:pt>
                <c:pt idx="67">
                  <c:v>0.5971631205673759</c:v>
                </c:pt>
                <c:pt idx="68">
                  <c:v>0.5730633802816901</c:v>
                </c:pt>
                <c:pt idx="69">
                  <c:v>0.5341545352743561</c:v>
                </c:pt>
                <c:pt idx="70">
                  <c:v>0.48936170212765956</c:v>
                </c:pt>
                <c:pt idx="71">
                  <c:v>0.48135964912280704</c:v>
                </c:pt>
                <c:pt idx="72">
                  <c:v>0.472636815920398</c:v>
                </c:pt>
                <c:pt idx="73">
                  <c:v>0.4494264859228363</c:v>
                </c:pt>
                <c:pt idx="74">
                  <c:v>0.44966442953020136</c:v>
                </c:pt>
                <c:pt idx="75">
                  <c:v>0.477116704805492</c:v>
                </c:pt>
                <c:pt idx="76">
                  <c:v>0.4260204081632653</c:v>
                </c:pt>
                <c:pt idx="77">
                  <c:v>0.4491180461329715</c:v>
                </c:pt>
                <c:pt idx="78">
                  <c:v>0.43390357698289267</c:v>
                </c:pt>
                <c:pt idx="79">
                  <c:v>0.4474431818181818</c:v>
                </c:pt>
                <c:pt idx="80">
                  <c:v>0.3952513966480447</c:v>
                </c:pt>
                <c:pt idx="81">
                  <c:v>0.42769857433808556</c:v>
                </c:pt>
                <c:pt idx="82">
                  <c:v>0.4081041968162084</c:v>
                </c:pt>
                <c:pt idx="83">
                  <c:v>0.3883495145631068</c:v>
                </c:pt>
                <c:pt idx="84">
                  <c:v>0.40978077571669475</c:v>
                </c:pt>
                <c:pt idx="85">
                  <c:v>0.44060773480662985</c:v>
                </c:pt>
                <c:pt idx="86">
                  <c:v>0.48044692737430167</c:v>
                </c:pt>
                <c:pt idx="87">
                  <c:v>0.5095477386934674</c:v>
                </c:pt>
                <c:pt idx="88">
                  <c:v>0.44823232323232326</c:v>
                </c:pt>
                <c:pt idx="89">
                  <c:v>0.39030955585464333</c:v>
                </c:pt>
                <c:pt idx="90">
                  <c:v>0.36959370904325034</c:v>
                </c:pt>
                <c:pt idx="91">
                  <c:v>0.37546933667083854</c:v>
                </c:pt>
                <c:pt idx="92">
                  <c:v>0.4453038674033149</c:v>
                </c:pt>
                <c:pt idx="93">
                  <c:v>0.44495944380069524</c:v>
                </c:pt>
                <c:pt idx="94">
                  <c:v>0.4489003880983182</c:v>
                </c:pt>
                <c:pt idx="95">
                  <c:v>0.4744058500914077</c:v>
                </c:pt>
                <c:pt idx="96">
                  <c:v>0.4929143561306223</c:v>
                </c:pt>
                <c:pt idx="97">
                  <c:v>0.5299486594409584</c:v>
                </c:pt>
                <c:pt idx="98">
                  <c:v>0.5487748497457235</c:v>
                </c:pt>
                <c:pt idx="99">
                  <c:v>0.60207336523126</c:v>
                </c:pt>
                <c:pt idx="100">
                  <c:v>0.6004922067268252</c:v>
                </c:pt>
                <c:pt idx="101">
                  <c:v>0.5616979269496545</c:v>
                </c:pt>
                <c:pt idx="102">
                  <c:v>0.49540636042402825</c:v>
                </c:pt>
                <c:pt idx="103">
                  <c:v>0.4883720930232558</c:v>
                </c:pt>
                <c:pt idx="104">
                  <c:v>0.4808387563268257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87.7303</c:v>
                </c:pt>
                <c:pt idx="1">
                  <c:v>1101.7896</c:v>
                </c:pt>
                <c:pt idx="2">
                  <c:v>1099.7323</c:v>
                </c:pt>
                <c:pt idx="3">
                  <c:v>1112.4057</c:v>
                </c:pt>
                <c:pt idx="4">
                  <c:v>1106.8602</c:v>
                </c:pt>
                <c:pt idx="5">
                  <c:v>1083.8969</c:v>
                </c:pt>
                <c:pt idx="6">
                  <c:v>1012.7261</c:v>
                </c:pt>
                <c:pt idx="7">
                  <c:v>1067.4884</c:v>
                </c:pt>
                <c:pt idx="8">
                  <c:v>1132.471</c:v>
                </c:pt>
                <c:pt idx="9">
                  <c:v>1076.0527</c:v>
                </c:pt>
                <c:pt idx="10">
                  <c:v>1119.1227</c:v>
                </c:pt>
                <c:pt idx="11">
                  <c:v>936.6768</c:v>
                </c:pt>
                <c:pt idx="12">
                  <c:v>985.5005</c:v>
                </c:pt>
                <c:pt idx="13">
                  <c:v>1065.4793</c:v>
                </c:pt>
                <c:pt idx="14">
                  <c:v>1053.8</c:v>
                </c:pt>
                <c:pt idx="15">
                  <c:v>1100.5748</c:v>
                </c:pt>
                <c:pt idx="16">
                  <c:v>1137.249</c:v>
                </c:pt>
                <c:pt idx="17">
                  <c:v>1127.6226</c:v>
                </c:pt>
                <c:pt idx="18">
                  <c:v>1187.8687</c:v>
                </c:pt>
                <c:pt idx="19">
                  <c:v>1236.7186</c:v>
                </c:pt>
                <c:pt idx="20">
                  <c:v>1210.9456</c:v>
                </c:pt>
                <c:pt idx="21">
                  <c:v>1104.3112</c:v>
                </c:pt>
                <c:pt idx="22">
                  <c:v>1146.7308</c:v>
                </c:pt>
                <c:pt idx="23">
                  <c:v>1097.0309</c:v>
                </c:pt>
                <c:pt idx="24">
                  <c:v>1102.6218</c:v>
                </c:pt>
                <c:pt idx="25">
                  <c:v>1063.1881</c:v>
                </c:pt>
                <c:pt idx="26">
                  <c:v>1125.6429</c:v>
                </c:pt>
                <c:pt idx="27">
                  <c:v>1130.2835</c:v>
                </c:pt>
                <c:pt idx="28">
                  <c:v>1056.8879</c:v>
                </c:pt>
                <c:pt idx="29">
                  <c:v>1047.1518</c:v>
                </c:pt>
                <c:pt idx="30">
                  <c:v>1029.4605</c:v>
                </c:pt>
                <c:pt idx="31">
                  <c:v>1039.8374</c:v>
                </c:pt>
                <c:pt idx="32">
                  <c:v>1013.3619</c:v>
                </c:pt>
                <c:pt idx="33">
                  <c:v>1035.7604</c:v>
                </c:pt>
                <c:pt idx="34">
                  <c:v>1049.2737</c:v>
                </c:pt>
                <c:pt idx="35">
                  <c:v>1066.6201</c:v>
                </c:pt>
                <c:pt idx="36">
                  <c:v>1056.4545</c:v>
                </c:pt>
                <c:pt idx="37">
                  <c:v>1132.7864</c:v>
                </c:pt>
                <c:pt idx="38">
                  <c:v>1149.3152</c:v>
                </c:pt>
                <c:pt idx="39">
                  <c:v>1076.5406</c:v>
                </c:pt>
                <c:pt idx="40">
                  <c:v>1126.8541</c:v>
                </c:pt>
                <c:pt idx="41">
                  <c:v>1211.5608</c:v>
                </c:pt>
                <c:pt idx="42">
                  <c:v>1218.1977</c:v>
                </c:pt>
                <c:pt idx="43">
                  <c:v>1217.1282</c:v>
                </c:pt>
                <c:pt idx="44">
                  <c:v>1110.1561</c:v>
                </c:pt>
                <c:pt idx="45">
                  <c:v>1097.1025</c:v>
                </c:pt>
                <c:pt idx="46">
                  <c:v>1100.1712</c:v>
                </c:pt>
                <c:pt idx="47">
                  <c:v>1073.4061</c:v>
                </c:pt>
                <c:pt idx="48">
                  <c:v>1067.2087</c:v>
                </c:pt>
                <c:pt idx="49">
                  <c:v>1081.6447</c:v>
                </c:pt>
                <c:pt idx="50">
                  <c:v>983.0792</c:v>
                </c:pt>
                <c:pt idx="51">
                  <c:v>954.9542</c:v>
                </c:pt>
              </c:numCache>
            </c:numRef>
          </c:xVal>
          <c:yVal>
            <c:numRef>
              <c:f>Sheet1!$B$109:$B$160</c:f>
              <c:numCache>
                <c:formatCode>General</c:formatCode>
                <c:ptCount val="52"/>
                <c:pt idx="0">
                  <c:v>0.4863861386138614</c:v>
                </c:pt>
                <c:pt idx="1">
                  <c:v>0.4829581993569132</c:v>
                </c:pt>
                <c:pt idx="2">
                  <c:v>0.5180794309425015</c:v>
                </c:pt>
                <c:pt idx="3">
                  <c:v>0.5220763723150358</c:v>
                </c:pt>
                <c:pt idx="4">
                  <c:v>0.4452473596442468</c:v>
                </c:pt>
                <c:pt idx="5">
                  <c:v>0.4768957345971564</c:v>
                </c:pt>
                <c:pt idx="6">
                  <c:v>0.5204769310523587</c:v>
                </c:pt>
                <c:pt idx="7">
                  <c:v>0.5212121212121212</c:v>
                </c:pt>
                <c:pt idx="8">
                  <c:v>0.5131914893617021</c:v>
                </c:pt>
                <c:pt idx="9">
                  <c:v>0.5424940428911835</c:v>
                </c:pt>
                <c:pt idx="10">
                  <c:v>0.5845674201091192</c:v>
                </c:pt>
                <c:pt idx="11">
                  <c:v>0.6223132036847492</c:v>
                </c:pt>
                <c:pt idx="12">
                  <c:v>0.5911242603550296</c:v>
                </c:pt>
                <c:pt idx="13">
                  <c:v>0.5502156500308072</c:v>
                </c:pt>
                <c:pt idx="14">
                  <c:v>0.5517002081887578</c:v>
                </c:pt>
                <c:pt idx="15">
                  <c:v>0.543859649122807</c:v>
                </c:pt>
                <c:pt idx="16">
                  <c:v>0.501937984496124</c:v>
                </c:pt>
                <c:pt idx="17">
                  <c:v>0.48500517063081694</c:v>
                </c:pt>
                <c:pt idx="18">
                  <c:v>0.4463840399002494</c:v>
                </c:pt>
                <c:pt idx="19">
                  <c:v>0.4180672268907563</c:v>
                </c:pt>
                <c:pt idx="20">
                  <c:v>0.3778538812785388</c:v>
                </c:pt>
                <c:pt idx="21">
                  <c:v>0.39448275862068966</c:v>
                </c:pt>
                <c:pt idx="22">
                  <c:v>0.4028169014084507</c:v>
                </c:pt>
                <c:pt idx="23">
                  <c:v>0.4223512336719884</c:v>
                </c:pt>
                <c:pt idx="24">
                  <c:v>0.40784313725490196</c:v>
                </c:pt>
                <c:pt idx="25">
                  <c:v>0.43878954607977994</c:v>
                </c:pt>
                <c:pt idx="26">
                  <c:v>0.3825136612021858</c:v>
                </c:pt>
                <c:pt idx="27">
                  <c:v>0.40644361833952913</c:v>
                </c:pt>
                <c:pt idx="28">
                  <c:v>0.4855923159018143</c:v>
                </c:pt>
                <c:pt idx="29">
                  <c:v>0.49463806970509383</c:v>
                </c:pt>
                <c:pt idx="30">
                  <c:v>0.5059920106524634</c:v>
                </c:pt>
                <c:pt idx="31">
                  <c:v>0.4917043740573152</c:v>
                </c:pt>
                <c:pt idx="32">
                  <c:v>0.523038605230386</c:v>
                </c:pt>
                <c:pt idx="33">
                  <c:v>0.5652600588812562</c:v>
                </c:pt>
                <c:pt idx="34">
                  <c:v>0.588855421686747</c:v>
                </c:pt>
                <c:pt idx="35">
                  <c:v>0.5901981230448383</c:v>
                </c:pt>
                <c:pt idx="36">
                  <c:v>0.49921752738654146</c:v>
                </c:pt>
                <c:pt idx="37">
                  <c:v>0.42679558011049723</c:v>
                </c:pt>
                <c:pt idx="38">
                  <c:v>0.40233236151603496</c:v>
                </c:pt>
                <c:pt idx="39">
                  <c:v>0.45178197064989517</c:v>
                </c:pt>
                <c:pt idx="40">
                  <c:v>0.4198218262806236</c:v>
                </c:pt>
                <c:pt idx="41">
                  <c:v>0.40543259557344064</c:v>
                </c:pt>
                <c:pt idx="42">
                  <c:v>0.41947115384615385</c:v>
                </c:pt>
                <c:pt idx="43">
                  <c:v>0.41140881590319794</c:v>
                </c:pt>
                <c:pt idx="44">
                  <c:v>0.46594427244582043</c:v>
                </c:pt>
                <c:pt idx="45">
                  <c:v>0.5294457274826789</c:v>
                </c:pt>
                <c:pt idx="46">
                  <c:v>0.5400291120815138</c:v>
                </c:pt>
                <c:pt idx="47">
                  <c:v>0.5196451204055766</c:v>
                </c:pt>
                <c:pt idx="48">
                  <c:v>0.5326148610323312</c:v>
                </c:pt>
                <c:pt idx="49">
                  <c:v>0.5712105798575788</c:v>
                </c:pt>
                <c:pt idx="50">
                  <c:v>0.5995101041028781</c:v>
                </c:pt>
                <c:pt idx="51">
                  <c:v>0.572052401746724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08.1471611128071</c:v>
                </c:pt>
              </c:numCache>
            </c:numRef>
          </c:xVal>
          <c:yVal>
            <c:numRef>
              <c:f>Sheet1!$B$163:$B$164</c:f>
              <c:numCache>
                <c:formatCode>General</c:formatCode>
                <c:ptCount val="2"/>
                <c:pt idx="0">
                  <c:v>0.6270200770622506</c:v>
                </c:pt>
                <c:pt idx="1">
                  <c:v>0.627020077062250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08.1471611128071</c:v>
                </c:pt>
                <c:pt idx="1">
                  <c:v>908.1471611128071</c:v>
                </c:pt>
              </c:numCache>
            </c:numRef>
          </c:xVal>
          <c:yVal>
            <c:numRef>
              <c:f>Sheet1!$B$167:$B$168</c:f>
              <c:numCache>
                <c:formatCode>General</c:formatCode>
                <c:ptCount val="2"/>
                <c:pt idx="0">
                  <c:v>0.62702007706225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87.3877773182978</c:v>
                </c:pt>
              </c:numCache>
            </c:numRef>
          </c:xVal>
          <c:yVal>
            <c:numRef>
              <c:f>Sheet1!$B$171:$B$172</c:f>
              <c:numCache>
                <c:formatCode>General</c:formatCode>
                <c:ptCount val="2"/>
                <c:pt idx="0">
                  <c:v>0.5688469866848782</c:v>
                </c:pt>
                <c:pt idx="1">
                  <c:v>0.568846986684878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87.3877773182978</c:v>
                </c:pt>
                <c:pt idx="1">
                  <c:v>987.3877773182978</c:v>
                </c:pt>
              </c:numCache>
            </c:numRef>
          </c:xVal>
          <c:yVal>
            <c:numRef>
              <c:f>Sheet1!$B$175:$B$176</c:f>
              <c:numCache>
                <c:formatCode>General</c:formatCode>
                <c:ptCount val="2"/>
                <c:pt idx="0">
                  <c:v>0.568846986684878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87.625670420658</c:v>
                </c:pt>
              </c:numCache>
            </c:numRef>
          </c:xVal>
          <c:yVal>
            <c:numRef>
              <c:f>Sheet1!$B$179:$B$180</c:f>
              <c:numCache>
                <c:formatCode>General</c:formatCode>
                <c:ptCount val="2"/>
                <c:pt idx="0">
                  <c:v>0.495259118569878</c:v>
                </c:pt>
                <c:pt idx="1">
                  <c:v>0.49525911856987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87.625670420658</c:v>
                </c:pt>
                <c:pt idx="1">
                  <c:v>1087.625670420658</c:v>
                </c:pt>
              </c:numCache>
            </c:numRef>
          </c:xVal>
          <c:yVal>
            <c:numRef>
              <c:f>Sheet1!$B$183:$B$184</c:f>
              <c:numCache>
                <c:formatCode>General</c:formatCode>
                <c:ptCount val="2"/>
                <c:pt idx="0">
                  <c:v>0.4952591185698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87.7303</c:v>
                </c:pt>
                <c:pt idx="1">
                  <c:v>1101.7896</c:v>
                </c:pt>
                <c:pt idx="2">
                  <c:v>1099.7323</c:v>
                </c:pt>
                <c:pt idx="3">
                  <c:v>1112.4057</c:v>
                </c:pt>
                <c:pt idx="4">
                  <c:v>1106.8602</c:v>
                </c:pt>
                <c:pt idx="5">
                  <c:v>1083.8969</c:v>
                </c:pt>
                <c:pt idx="6">
                  <c:v>1012.7261</c:v>
                </c:pt>
                <c:pt idx="7">
                  <c:v>1067.4884</c:v>
                </c:pt>
                <c:pt idx="8">
                  <c:v>1132.471</c:v>
                </c:pt>
                <c:pt idx="9">
                  <c:v>1076.0527</c:v>
                </c:pt>
                <c:pt idx="10">
                  <c:v>1119.1227</c:v>
                </c:pt>
                <c:pt idx="11">
                  <c:v>936.6768</c:v>
                </c:pt>
                <c:pt idx="12">
                  <c:v>985.5005</c:v>
                </c:pt>
                <c:pt idx="13">
                  <c:v>1065.4793</c:v>
                </c:pt>
                <c:pt idx="14">
                  <c:v>1053.8</c:v>
                </c:pt>
                <c:pt idx="15">
                  <c:v>1100.5748</c:v>
                </c:pt>
                <c:pt idx="16">
                  <c:v>1137.249</c:v>
                </c:pt>
                <c:pt idx="17">
                  <c:v>1127.6226</c:v>
                </c:pt>
                <c:pt idx="18">
                  <c:v>1187.8687</c:v>
                </c:pt>
                <c:pt idx="19">
                  <c:v>1236.7186</c:v>
                </c:pt>
                <c:pt idx="20">
                  <c:v>1210.9456</c:v>
                </c:pt>
                <c:pt idx="21">
                  <c:v>1104.3112</c:v>
                </c:pt>
                <c:pt idx="22">
                  <c:v>1146.7308</c:v>
                </c:pt>
                <c:pt idx="23">
                  <c:v>1097.0309</c:v>
                </c:pt>
                <c:pt idx="24">
                  <c:v>1102.6218</c:v>
                </c:pt>
                <c:pt idx="25">
                  <c:v>1063.1881</c:v>
                </c:pt>
                <c:pt idx="26">
                  <c:v>1125.6429</c:v>
                </c:pt>
                <c:pt idx="27">
                  <c:v>1130.2835</c:v>
                </c:pt>
                <c:pt idx="28">
                  <c:v>1056.8879</c:v>
                </c:pt>
                <c:pt idx="29">
                  <c:v>1047.1518</c:v>
                </c:pt>
                <c:pt idx="30">
                  <c:v>1029.4605</c:v>
                </c:pt>
                <c:pt idx="31">
                  <c:v>1039.8374</c:v>
                </c:pt>
                <c:pt idx="32">
                  <c:v>1013.3619</c:v>
                </c:pt>
                <c:pt idx="33">
                  <c:v>1035.7604</c:v>
                </c:pt>
                <c:pt idx="34">
                  <c:v>1049.2737</c:v>
                </c:pt>
                <c:pt idx="35">
                  <c:v>1066.6201</c:v>
                </c:pt>
                <c:pt idx="36">
                  <c:v>1056.4545</c:v>
                </c:pt>
                <c:pt idx="37">
                  <c:v>1132.7864</c:v>
                </c:pt>
                <c:pt idx="38">
                  <c:v>1149.3152</c:v>
                </c:pt>
                <c:pt idx="39">
                  <c:v>1076.5406</c:v>
                </c:pt>
                <c:pt idx="40">
                  <c:v>1126.8541</c:v>
                </c:pt>
                <c:pt idx="41">
                  <c:v>1211.5608</c:v>
                </c:pt>
                <c:pt idx="42">
                  <c:v>1218.1977</c:v>
                </c:pt>
                <c:pt idx="43">
                  <c:v>1217.1282</c:v>
                </c:pt>
                <c:pt idx="44">
                  <c:v>1110.1561</c:v>
                </c:pt>
                <c:pt idx="45">
                  <c:v>1097.1025</c:v>
                </c:pt>
                <c:pt idx="46">
                  <c:v>1100.1712</c:v>
                </c:pt>
                <c:pt idx="47">
                  <c:v>1073.4061</c:v>
                </c:pt>
                <c:pt idx="48">
                  <c:v>1067.2087</c:v>
                </c:pt>
                <c:pt idx="49">
                  <c:v>1081.6447</c:v>
                </c:pt>
                <c:pt idx="50">
                  <c:v>983.0792</c:v>
                </c:pt>
                <c:pt idx="51">
                  <c:v>954.9542</c:v>
                </c:pt>
                <c:pt idx="52">
                  <c:v>987.3877773182978</c:v>
                </c:pt>
                <c:pt idx="53">
                  <c:v>908.1471611128071</c:v>
                </c:pt>
                <c:pt idx="54">
                  <c:v>1087.625670420658</c:v>
                </c:pt>
              </c:numCache>
            </c:numRef>
          </c:xVal>
          <c:yVal>
            <c:numRef>
              <c:f>Sheet1!$B$187:$B$241</c:f>
              <c:numCache>
                <c:formatCode>General</c:formatCode>
                <c:ptCount val="55"/>
                <c:pt idx="0">
                  <c:v>0.49518230662334517</c:v>
                </c:pt>
                <c:pt idx="1">
                  <c:v>0.48486092134509784</c:v>
                </c:pt>
                <c:pt idx="2">
                  <c:v>0.4863712515843658</c:v>
                </c:pt>
                <c:pt idx="3">
                  <c:v>0.47706730016535204</c:v>
                </c:pt>
                <c:pt idx="4">
                  <c:v>0.48113843045352567</c:v>
                </c:pt>
                <c:pt idx="5">
                  <c:v>0.4979965291184646</c:v>
                </c:pt>
                <c:pt idx="6">
                  <c:v>0.5502453073194475</c:v>
                </c:pt>
                <c:pt idx="7">
                  <c:v>0.5100425378342698</c:v>
                </c:pt>
                <c:pt idx="8">
                  <c:v>0.46233671670645904</c:v>
                </c:pt>
                <c:pt idx="9">
                  <c:v>0.5037552091665202</c:v>
                </c:pt>
                <c:pt idx="10">
                  <c:v>0.4721361339683162</c:v>
                </c:pt>
                <c:pt idx="11">
                  <c:v>0.6060755496103872</c:v>
                </c:pt>
                <c:pt idx="12">
                  <c:v>0.5702324977934717</c:v>
                </c:pt>
                <c:pt idx="13">
                  <c:v>0.5115174828999933</c:v>
                </c:pt>
                <c:pt idx="14">
                  <c:v>0.5200916334679614</c:v>
                </c:pt>
                <c:pt idx="15">
                  <c:v>0.48575274517957134</c:v>
                </c:pt>
                <c:pt idx="16">
                  <c:v>0.45882903290573884</c:v>
                </c:pt>
                <c:pt idx="17">
                  <c:v>0.46589608341625643</c:v>
                </c:pt>
                <c:pt idx="18">
                  <c:v>0.4216674796015706</c:v>
                </c:pt>
                <c:pt idx="19">
                  <c:v>0.3858051935201974</c:v>
                </c:pt>
                <c:pt idx="20">
                  <c:v>0.4047259835151663</c:v>
                </c:pt>
                <c:pt idx="21">
                  <c:v>0.4830097335108793</c:v>
                </c:pt>
                <c:pt idx="22">
                  <c:v>0.4518681379158541</c:v>
                </c:pt>
                <c:pt idx="23">
                  <c:v>0.48835443639375575</c:v>
                </c:pt>
                <c:pt idx="24">
                  <c:v>0.4842499765022852</c:v>
                </c:pt>
                <c:pt idx="25">
                  <c:v>0.5131995266681411</c:v>
                </c:pt>
                <c:pt idx="26">
                  <c:v>0.46734944499438225</c:v>
                </c:pt>
                <c:pt idx="27">
                  <c:v>0.4639426309622303</c:v>
                </c:pt>
                <c:pt idx="28">
                  <c:v>0.5178247065512088</c:v>
                </c:pt>
                <c:pt idx="29">
                  <c:v>0.5249722913674899</c:v>
                </c:pt>
                <c:pt idx="30">
                  <c:v>0.5379600449094911</c:v>
                </c:pt>
                <c:pt idx="31">
                  <c:v>0.5303420281594506</c:v>
                </c:pt>
                <c:pt idx="32">
                  <c:v>0.5497785460468444</c:v>
                </c:pt>
                <c:pt idx="33">
                  <c:v>0.5333350852660929</c:v>
                </c:pt>
                <c:pt idx="34">
                  <c:v>0.523414536186086</c:v>
                </c:pt>
                <c:pt idx="35">
                  <c:v>0.5106799848506292</c:v>
                </c:pt>
                <c:pt idx="36">
                  <c:v>0.518142879460215</c:v>
                </c:pt>
                <c:pt idx="37">
                  <c:v>0.4621051714007355</c:v>
                </c:pt>
                <c:pt idx="38">
                  <c:v>0.44997084657751574</c:v>
                </c:pt>
                <c:pt idx="39">
                  <c:v>0.5033970260509129</c:v>
                </c:pt>
                <c:pt idx="40">
                  <c:v>0.4664602640359411</c:v>
                </c:pt>
                <c:pt idx="41">
                  <c:v>0.40427434536652607</c:v>
                </c:pt>
                <c:pt idx="42">
                  <c:v>0.3994019831612101</c:v>
                </c:pt>
                <c:pt idx="43">
                  <c:v>0.4001871375824888</c:v>
                </c:pt>
                <c:pt idx="44">
                  <c:v>0.4787188040326815</c:v>
                </c:pt>
                <c:pt idx="45">
                  <c:v>0.4883018725260011</c:v>
                </c:pt>
                <c:pt idx="46">
                  <c:v>0.48604904094808776</c:v>
                </c:pt>
                <c:pt idx="47">
                  <c:v>0.5056981635296399</c:v>
                </c:pt>
                <c:pt idx="48">
                  <c:v>0.5102478746193392</c:v>
                </c:pt>
                <c:pt idx="49">
                  <c:v>0.4996499417295951</c:v>
                </c:pt>
                <c:pt idx="50">
                  <c:v>0.5720100521648999</c:v>
                </c:pt>
                <c:pt idx="51">
                  <c:v>0.5926575211676741</c:v>
                </c:pt>
                <c:pt idx="52">
                  <c:v>0.5688469866848782</c:v>
                </c:pt>
                <c:pt idx="53">
                  <c:v>0.6270200770622506</c:v>
                </c:pt>
                <c:pt idx="54">
                  <c:v>0.495259118569877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84.0"/>
          <c:min val="60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58365758754863"/>
          <c:min val="0.272211720226843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3214817032446</c:v>
                </c:pt>
                <c:pt idx="1">
                  <c:v>0.8526907006641843</c:v>
                </c:pt>
                <c:pt idx="2">
                  <c:v>0.9147908530437794</c:v>
                </c:pt>
                <c:pt idx="3">
                  <c:v>0.9103221076152664</c:v>
                </c:pt>
                <c:pt idx="4">
                  <c:v>0.9099009409119041</c:v>
                </c:pt>
                <c:pt idx="5">
                  <c:v>0.9455429234338747</c:v>
                </c:pt>
                <c:pt idx="6">
                  <c:v>0.8837477055859506</c:v>
                </c:pt>
                <c:pt idx="7">
                  <c:v>0.9049202428595174</c:v>
                </c:pt>
                <c:pt idx="8">
                  <c:v>0.9023729784920828</c:v>
                </c:pt>
                <c:pt idx="9">
                  <c:v>0.8286709398509438</c:v>
                </c:pt>
                <c:pt idx="10">
                  <c:v>0.8282910039022278</c:v>
                </c:pt>
                <c:pt idx="11">
                  <c:v>0.8974452451586296</c:v>
                </c:pt>
                <c:pt idx="12">
                  <c:v>0.9146977275678483</c:v>
                </c:pt>
                <c:pt idx="13">
                  <c:v>0.865475342256095</c:v>
                </c:pt>
                <c:pt idx="14">
                  <c:v>0.8935427705053066</c:v>
                </c:pt>
                <c:pt idx="15">
                  <c:v>0.8706798101792133</c:v>
                </c:pt>
                <c:pt idx="16">
                  <c:v>0.863526413982718</c:v>
                </c:pt>
                <c:pt idx="17">
                  <c:v>0.9090437073564185</c:v>
                </c:pt>
                <c:pt idx="18">
                  <c:v>0.8788515830888416</c:v>
                </c:pt>
                <c:pt idx="19">
                  <c:v>0.9451980512969217</c:v>
                </c:pt>
                <c:pt idx="20">
                  <c:v>1.0411154941061838</c:v>
                </c:pt>
                <c:pt idx="21">
                  <c:v>1.0418956718936747</c:v>
                </c:pt>
                <c:pt idx="22">
                  <c:v>0.9407421027543802</c:v>
                </c:pt>
                <c:pt idx="23">
                  <c:v>0.9624206714307438</c:v>
                </c:pt>
                <c:pt idx="24">
                  <c:v>0.9360434849322077</c:v>
                </c:pt>
                <c:pt idx="25">
                  <c:v>0.9278195491841196</c:v>
                </c:pt>
                <c:pt idx="26">
                  <c:v>0.9359496598257829</c:v>
                </c:pt>
                <c:pt idx="27">
                  <c:v>1.021976945868416</c:v>
                </c:pt>
                <c:pt idx="28">
                  <c:v>1.039296180890666</c:v>
                </c:pt>
                <c:pt idx="29">
                  <c:v>0.801109185067252</c:v>
                </c:pt>
                <c:pt idx="30">
                  <c:v>0.8385045730140787</c:v>
                </c:pt>
                <c:pt idx="31">
                  <c:v>0.9328808748999733</c:v>
                </c:pt>
                <c:pt idx="32">
                  <c:v>0.8089287287925366</c:v>
                </c:pt>
                <c:pt idx="33">
                  <c:v>0.7810314888035199</c:v>
                </c:pt>
                <c:pt idx="34">
                  <c:v>0.8910000182224923</c:v>
                </c:pt>
                <c:pt idx="35">
                  <c:v>0.9567231147328936</c:v>
                </c:pt>
                <c:pt idx="36">
                  <c:v>1.09520035296406</c:v>
                </c:pt>
                <c:pt idx="37">
                  <c:v>1.1629278359632553</c:v>
                </c:pt>
                <c:pt idx="38">
                  <c:v>1.0912682242990654</c:v>
                </c:pt>
                <c:pt idx="39">
                  <c:v>1.0683475919212844</c:v>
                </c:pt>
                <c:pt idx="40">
                  <c:v>0.9144598120263359</c:v>
                </c:pt>
                <c:pt idx="41">
                  <c:v>0.921839868604269</c:v>
                </c:pt>
                <c:pt idx="42">
                  <c:v>1.0183068796667816</c:v>
                </c:pt>
                <c:pt idx="43">
                  <c:v>1.025984635454142</c:v>
                </c:pt>
                <c:pt idx="44">
                  <c:v>0.8640271894476622</c:v>
                </c:pt>
                <c:pt idx="45">
                  <c:v>0.8437249015317286</c:v>
                </c:pt>
                <c:pt idx="46">
                  <c:v>0.811061744449964</c:v>
                </c:pt>
                <c:pt idx="47">
                  <c:v>0.8099037141549229</c:v>
                </c:pt>
                <c:pt idx="48">
                  <c:v>0.8368997028020598</c:v>
                </c:pt>
                <c:pt idx="49">
                  <c:v>0.8204975751156313</c:v>
                </c:pt>
                <c:pt idx="50">
                  <c:v>0.7574929752066116</c:v>
                </c:pt>
                <c:pt idx="51">
                  <c:v>0.7560522723489261</c:v>
                </c:pt>
                <c:pt idx="52">
                  <c:v>0.7968801041667904</c:v>
                </c:pt>
                <c:pt idx="53">
                  <c:v>0.8905424989191526</c:v>
                </c:pt>
                <c:pt idx="54">
                  <c:v>0.8243231369996746</c:v>
                </c:pt>
                <c:pt idx="55">
                  <c:v>0.8045112269988635</c:v>
                </c:pt>
                <c:pt idx="56">
                  <c:v>0.9133131140549283</c:v>
                </c:pt>
                <c:pt idx="57">
                  <c:v>0.8925305556714268</c:v>
                </c:pt>
                <c:pt idx="58">
                  <c:v>0.8300438923344559</c:v>
                </c:pt>
                <c:pt idx="59">
                  <c:v>0.8110266212133053</c:v>
                </c:pt>
                <c:pt idx="60">
                  <c:v>0.8473836519400312</c:v>
                </c:pt>
                <c:pt idx="61">
                  <c:v>0.8408566565272975</c:v>
                </c:pt>
                <c:pt idx="62">
                  <c:v>0.8030242081954898</c:v>
                </c:pt>
                <c:pt idx="63">
                  <c:v>0.8363926299709485</c:v>
                </c:pt>
                <c:pt idx="64">
                  <c:v>0.834610748020059</c:v>
                </c:pt>
                <c:pt idx="65">
                  <c:v>0.7411186720255577</c:v>
                </c:pt>
                <c:pt idx="66">
                  <c:v>0.6554548154993728</c:v>
                </c:pt>
                <c:pt idx="67">
                  <c:v>0.8600842326530296</c:v>
                </c:pt>
                <c:pt idx="68">
                  <c:v>0.7169197788933963</c:v>
                </c:pt>
                <c:pt idx="69">
                  <c:v>0.37895008119209095</c:v>
                </c:pt>
                <c:pt idx="70">
                  <c:v>0.5419063439864913</c:v>
                </c:pt>
                <c:pt idx="71">
                  <c:v>0.8761024215796465</c:v>
                </c:pt>
                <c:pt idx="72">
                  <c:v>1.1824923594581398</c:v>
                </c:pt>
                <c:pt idx="73">
                  <c:v>0.766144</c:v>
                </c:pt>
                <c:pt idx="74">
                  <c:v>0.4585252889581113</c:v>
                </c:pt>
                <c:pt idx="75">
                  <c:v>0.5907661862648761</c:v>
                </c:pt>
                <c:pt idx="76">
                  <c:v>0.6065554785759966</c:v>
                </c:pt>
                <c:pt idx="77">
                  <c:v>0.624670313194136</c:v>
                </c:pt>
                <c:pt idx="78">
                  <c:v>0.6995979054706323</c:v>
                </c:pt>
                <c:pt idx="79">
                  <c:v>0.5666976011994003</c:v>
                </c:pt>
                <c:pt idx="80">
                  <c:v>0.7302590964960165</c:v>
                </c:pt>
                <c:pt idx="81">
                  <c:v>0.7511151306740027</c:v>
                </c:pt>
                <c:pt idx="82">
                  <c:v>0.6563230125523012</c:v>
                </c:pt>
                <c:pt idx="83">
                  <c:v>0.3554967866946553</c:v>
                </c:pt>
                <c:pt idx="84">
                  <c:v>0.6532486080852095</c:v>
                </c:pt>
                <c:pt idx="85">
                  <c:v>0.4556129523809524</c:v>
                </c:pt>
                <c:pt idx="86">
                  <c:v>0.4894230078160094</c:v>
                </c:pt>
                <c:pt idx="87">
                  <c:v>0.6599339614176761</c:v>
                </c:pt>
                <c:pt idx="88">
                  <c:v>0.6604540011855364</c:v>
                </c:pt>
                <c:pt idx="89">
                  <c:v>0.6659878422768768</c:v>
                </c:pt>
                <c:pt idx="90">
                  <c:v>1.022618765998764</c:v>
                </c:pt>
                <c:pt idx="91">
                  <c:v>0.6342992604765817</c:v>
                </c:pt>
                <c:pt idx="92">
                  <c:v>0.6231667541557305</c:v>
                </c:pt>
                <c:pt idx="93">
                  <c:v>0.6411639295565458</c:v>
                </c:pt>
                <c:pt idx="94">
                  <c:v>0.6152391094674371</c:v>
                </c:pt>
                <c:pt idx="95">
                  <c:v>0.9201390059979101</c:v>
                </c:pt>
                <c:pt idx="96">
                  <c:v>0.9845572718034276</c:v>
                </c:pt>
                <c:pt idx="97">
                  <c:v>1.0150696932064596</c:v>
                </c:pt>
                <c:pt idx="98">
                  <c:v>1.0364166418358947</c:v>
                </c:pt>
                <c:pt idx="99">
                  <c:v>0.9716980906559533</c:v>
                </c:pt>
                <c:pt idx="100">
                  <c:v>0.9942899125886343</c:v>
                </c:pt>
                <c:pt idx="101">
                  <c:v>1.0050520015839661</c:v>
                </c:pt>
                <c:pt idx="102">
                  <c:v>0.9755200857103217</c:v>
                </c:pt>
                <c:pt idx="103">
                  <c:v>0.9727219554707375</c:v>
                </c:pt>
                <c:pt idx="104">
                  <c:v>1.0540643347343042</c:v>
                </c:pt>
              </c:numCache>
            </c:numRef>
          </c:xVal>
          <c:yVal>
            <c:numRef>
              <c:f>Sheet1!$B$2:$B$106</c:f>
              <c:numCache>
                <c:formatCode>General</c:formatCode>
                <c:ptCount val="105"/>
                <c:pt idx="0">
                  <c:v>0.680635838150289</c:v>
                </c:pt>
                <c:pt idx="1">
                  <c:v>0.6310873915943963</c:v>
                </c:pt>
                <c:pt idx="2">
                  <c:v>0.49480369515011546</c:v>
                </c:pt>
                <c:pt idx="3">
                  <c:v>0.4162981680353759</c:v>
                </c:pt>
                <c:pt idx="4">
                  <c:v>0.37242955064737243</c:v>
                </c:pt>
                <c:pt idx="5">
                  <c:v>0.34026465028355385</c:v>
                </c:pt>
                <c:pt idx="6">
                  <c:v>0.3893719806763285</c:v>
                </c:pt>
                <c:pt idx="7">
                  <c:v>0.3561643835616438</c:v>
                </c:pt>
                <c:pt idx="8">
                  <c:v>0.44932432432432434</c:v>
                </c:pt>
                <c:pt idx="9">
                  <c:v>0.5724431818181818</c:v>
                </c:pt>
                <c:pt idx="10">
                  <c:v>0.6262866191607285</c:v>
                </c:pt>
                <c:pt idx="11">
                  <c:v>0.6186213070725156</c:v>
                </c:pt>
                <c:pt idx="12">
                  <c:v>0.6452119309262166</c:v>
                </c:pt>
                <c:pt idx="13">
                  <c:v>0.7060133630289532</c:v>
                </c:pt>
                <c:pt idx="14">
                  <c:v>0.754863813229572</c:v>
                </c:pt>
                <c:pt idx="15">
                  <c:v>0.7145539906103286</c:v>
                </c:pt>
                <c:pt idx="16">
                  <c:v>0.681465038845727</c:v>
                </c:pt>
                <c:pt idx="17">
                  <c:v>0.6480380499405469</c:v>
                </c:pt>
                <c:pt idx="18">
                  <c:v>0.6563814866760168</c:v>
                </c:pt>
                <c:pt idx="19">
                  <c:v>0.5053929121725732</c:v>
                </c:pt>
                <c:pt idx="20">
                  <c:v>0.51985559566787</c:v>
                </c:pt>
                <c:pt idx="21">
                  <c:v>0.5021337126600285</c:v>
                </c:pt>
                <c:pt idx="22">
                  <c:v>0.4725848563968668</c:v>
                </c:pt>
                <c:pt idx="23">
                  <c:v>0.5146627565982405</c:v>
                </c:pt>
                <c:pt idx="24">
                  <c:v>0.48883374689826303</c:v>
                </c:pt>
                <c:pt idx="25">
                  <c:v>0.49411764705882355</c:v>
                </c:pt>
                <c:pt idx="26">
                  <c:v>0.5709281961471103</c:v>
                </c:pt>
                <c:pt idx="27">
                  <c:v>0.5618374558303887</c:v>
                </c:pt>
                <c:pt idx="28">
                  <c:v>0.4665461121157324</c:v>
                </c:pt>
                <c:pt idx="29">
                  <c:v>0.4801762114537445</c:v>
                </c:pt>
                <c:pt idx="30">
                  <c:v>0.45454545454545453</c:v>
                </c:pt>
                <c:pt idx="31">
                  <c:v>0.45471014492753625</c:v>
                </c:pt>
                <c:pt idx="32">
                  <c:v>0.49333333333333335</c:v>
                </c:pt>
                <c:pt idx="33">
                  <c:v>0.5060018467220684</c:v>
                </c:pt>
                <c:pt idx="34">
                  <c:v>0.5121042830540037</c:v>
                </c:pt>
                <c:pt idx="35">
                  <c:v>0.5209643605870021</c:v>
                </c:pt>
                <c:pt idx="36">
                  <c:v>0.4431818181818182</c:v>
                </c:pt>
                <c:pt idx="37">
                  <c:v>0.47471451876019577</c:v>
                </c:pt>
                <c:pt idx="38">
                  <c:v>0.5485519591141397</c:v>
                </c:pt>
                <c:pt idx="39">
                  <c:v>0.6194852941176471</c:v>
                </c:pt>
                <c:pt idx="40">
                  <c:v>0.5337078651685393</c:v>
                </c:pt>
                <c:pt idx="41">
                  <c:v>0.44904458598726116</c:v>
                </c:pt>
                <c:pt idx="42">
                  <c:v>0.42075892857142855</c:v>
                </c:pt>
                <c:pt idx="43">
                  <c:v>0.3998316498316498</c:v>
                </c:pt>
                <c:pt idx="44">
                  <c:v>0.48422800221361373</c:v>
                </c:pt>
                <c:pt idx="45">
                  <c:v>0.5697424892703863</c:v>
                </c:pt>
                <c:pt idx="46">
                  <c:v>0.5562218890554723</c:v>
                </c:pt>
                <c:pt idx="47">
                  <c:v>0.5349273323956868</c:v>
                </c:pt>
                <c:pt idx="48">
                  <c:v>0.5529492928596068</c:v>
                </c:pt>
                <c:pt idx="49">
                  <c:v>0.626808100289296</c:v>
                </c:pt>
                <c:pt idx="50">
                  <c:v>0.5535261288685946</c:v>
                </c:pt>
                <c:pt idx="51">
                  <c:v>0.49582530507385997</c:v>
                </c:pt>
                <c:pt idx="52">
                  <c:v>0.4849126521969296</c:v>
                </c:pt>
                <c:pt idx="53">
                  <c:v>0.45729303547963207</c:v>
                </c:pt>
                <c:pt idx="54">
                  <c:v>0.453601108033241</c:v>
                </c:pt>
                <c:pt idx="55">
                  <c:v>0.4174410293066476</c:v>
                </c:pt>
                <c:pt idx="56">
                  <c:v>0.42857142857142855</c:v>
                </c:pt>
                <c:pt idx="57">
                  <c:v>0.42551854179761156</c:v>
                </c:pt>
                <c:pt idx="58">
                  <c:v>0.4854253420582986</c:v>
                </c:pt>
                <c:pt idx="59">
                  <c:v>0.505626697710516</c:v>
                </c:pt>
                <c:pt idx="60">
                  <c:v>0.5262260127931769</c:v>
                </c:pt>
                <c:pt idx="61">
                  <c:v>0.4936092513694461</c:v>
                </c:pt>
                <c:pt idx="62">
                  <c:v>0.55</c:v>
                </c:pt>
                <c:pt idx="63">
                  <c:v>0.5913870806209314</c:v>
                </c:pt>
                <c:pt idx="64">
                  <c:v>0.6193181818181818</c:v>
                </c:pt>
                <c:pt idx="65">
                  <c:v>0.5889328063241107</c:v>
                </c:pt>
                <c:pt idx="66">
                  <c:v>0.5796825396825397</c:v>
                </c:pt>
                <c:pt idx="67">
                  <c:v>0.5971631205673759</c:v>
                </c:pt>
                <c:pt idx="68">
                  <c:v>0.5730633802816901</c:v>
                </c:pt>
                <c:pt idx="69">
                  <c:v>0.5341545352743561</c:v>
                </c:pt>
                <c:pt idx="70">
                  <c:v>0.48936170212765956</c:v>
                </c:pt>
                <c:pt idx="71">
                  <c:v>0.48135964912280704</c:v>
                </c:pt>
                <c:pt idx="72">
                  <c:v>0.472636815920398</c:v>
                </c:pt>
                <c:pt idx="73">
                  <c:v>0.4494264859228363</c:v>
                </c:pt>
                <c:pt idx="74">
                  <c:v>0.44966442953020136</c:v>
                </c:pt>
                <c:pt idx="75">
                  <c:v>0.477116704805492</c:v>
                </c:pt>
                <c:pt idx="76">
                  <c:v>0.4260204081632653</c:v>
                </c:pt>
                <c:pt idx="77">
                  <c:v>0.4491180461329715</c:v>
                </c:pt>
                <c:pt idx="78">
                  <c:v>0.43390357698289267</c:v>
                </c:pt>
                <c:pt idx="79">
                  <c:v>0.4474431818181818</c:v>
                </c:pt>
                <c:pt idx="80">
                  <c:v>0.3952513966480447</c:v>
                </c:pt>
                <c:pt idx="81">
                  <c:v>0.42769857433808556</c:v>
                </c:pt>
                <c:pt idx="82">
                  <c:v>0.4081041968162084</c:v>
                </c:pt>
                <c:pt idx="83">
                  <c:v>0.3883495145631068</c:v>
                </c:pt>
                <c:pt idx="84">
                  <c:v>0.40978077571669475</c:v>
                </c:pt>
                <c:pt idx="85">
                  <c:v>0.44060773480662985</c:v>
                </c:pt>
                <c:pt idx="86">
                  <c:v>0.48044692737430167</c:v>
                </c:pt>
                <c:pt idx="87">
                  <c:v>0.5095477386934674</c:v>
                </c:pt>
                <c:pt idx="88">
                  <c:v>0.44823232323232326</c:v>
                </c:pt>
                <c:pt idx="89">
                  <c:v>0.39030955585464333</c:v>
                </c:pt>
                <c:pt idx="90">
                  <c:v>0.36959370904325034</c:v>
                </c:pt>
                <c:pt idx="91">
                  <c:v>0.37546933667083854</c:v>
                </c:pt>
                <c:pt idx="92">
                  <c:v>0.4453038674033149</c:v>
                </c:pt>
                <c:pt idx="93">
                  <c:v>0.44495944380069524</c:v>
                </c:pt>
                <c:pt idx="94">
                  <c:v>0.4489003880983182</c:v>
                </c:pt>
                <c:pt idx="95">
                  <c:v>0.4744058500914077</c:v>
                </c:pt>
                <c:pt idx="96">
                  <c:v>0.4929143561306223</c:v>
                </c:pt>
                <c:pt idx="97">
                  <c:v>0.5299486594409584</c:v>
                </c:pt>
                <c:pt idx="98">
                  <c:v>0.5487748497457235</c:v>
                </c:pt>
                <c:pt idx="99">
                  <c:v>0.60207336523126</c:v>
                </c:pt>
                <c:pt idx="100">
                  <c:v>0.6004922067268252</c:v>
                </c:pt>
                <c:pt idx="101">
                  <c:v>0.5616979269496545</c:v>
                </c:pt>
                <c:pt idx="102">
                  <c:v>0.49540636042402825</c:v>
                </c:pt>
                <c:pt idx="103">
                  <c:v>0.4883720930232558</c:v>
                </c:pt>
                <c:pt idx="104">
                  <c:v>0.4808387563268257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0653130245555793</c:v>
                </c:pt>
                <c:pt idx="1">
                  <c:v>1.066140010334437</c:v>
                </c:pt>
                <c:pt idx="2">
                  <c:v>1.0678308532588905</c:v>
                </c:pt>
                <c:pt idx="3">
                  <c:v>1.0812566423945689</c:v>
                </c:pt>
                <c:pt idx="4">
                  <c:v>1.05857529902791</c:v>
                </c:pt>
                <c:pt idx="5">
                  <c:v>1.2978858254752281</c:v>
                </c:pt>
                <c:pt idx="6">
                  <c:v>1.2767687778005548</c:v>
                </c:pt>
                <c:pt idx="7">
                  <c:v>1.4147013920547915</c:v>
                </c:pt>
                <c:pt idx="8">
                  <c:v>1.4483843354597736</c:v>
                </c:pt>
                <c:pt idx="9">
                  <c:v>1.368953427839078</c:v>
                </c:pt>
                <c:pt idx="10">
                  <c:v>1.4884890167805742</c:v>
                </c:pt>
                <c:pt idx="11">
                  <c:v>1.3103116400298578</c:v>
                </c:pt>
                <c:pt idx="12">
                  <c:v>1.3225828184030965</c:v>
                </c:pt>
                <c:pt idx="13">
                  <c:v>1.4464469590288485</c:v>
                </c:pt>
                <c:pt idx="14">
                  <c:v>1.402100756200384</c:v>
                </c:pt>
                <c:pt idx="15">
                  <c:v>1.4580579484657583</c:v>
                </c:pt>
                <c:pt idx="16">
                  <c:v>1.4226072219599462</c:v>
                </c:pt>
                <c:pt idx="17">
                  <c:v>1.4598055970434738</c:v>
                </c:pt>
                <c:pt idx="18">
                  <c:v>2.489520955260166</c:v>
                </c:pt>
                <c:pt idx="19">
                  <c:v>2.599877019068351</c:v>
                </c:pt>
                <c:pt idx="20">
                  <c:v>2.5543597877191577</c:v>
                </c:pt>
                <c:pt idx="21">
                  <c:v>2.393079534685866</c:v>
                </c:pt>
                <c:pt idx="22">
                  <c:v>2.5084135798499325</c:v>
                </c:pt>
                <c:pt idx="23">
                  <c:v>2.432123927080017</c:v>
                </c:pt>
                <c:pt idx="24">
                  <c:v>2.4556851796338504</c:v>
                </c:pt>
                <c:pt idx="25">
                  <c:v>2.4214028260036797</c:v>
                </c:pt>
                <c:pt idx="26">
                  <c:v>2.5636805269283243</c:v>
                </c:pt>
                <c:pt idx="27">
                  <c:v>2.32845160960713</c:v>
                </c:pt>
                <c:pt idx="28">
                  <c:v>2.2119964035025665</c:v>
                </c:pt>
                <c:pt idx="29">
                  <c:v>2.1183292668790896</c:v>
                </c:pt>
                <c:pt idx="30">
                  <c:v>1.96224174182846</c:v>
                </c:pt>
                <c:pt idx="31">
                  <c:v>2.0390260010584984</c:v>
                </c:pt>
                <c:pt idx="32">
                  <c:v>2.2980504841757607</c:v>
                </c:pt>
                <c:pt idx="33">
                  <c:v>2.339933653409096</c:v>
                </c:pt>
                <c:pt idx="34">
                  <c:v>2.5311930991959226</c:v>
                </c:pt>
                <c:pt idx="35">
                  <c:v>2.4326375534139304</c:v>
                </c:pt>
                <c:pt idx="36">
                  <c:v>2.5288968531891207</c:v>
                </c:pt>
                <c:pt idx="37">
                  <c:v>2.592317284405198</c:v>
                </c:pt>
                <c:pt idx="38">
                  <c:v>2.738482762893132</c:v>
                </c:pt>
                <c:pt idx="39">
                  <c:v>2.578225414380519</c:v>
                </c:pt>
                <c:pt idx="40">
                  <c:v>2.5259126741469067</c:v>
                </c:pt>
                <c:pt idx="41">
                  <c:v>2.8206104924238455</c:v>
                </c:pt>
                <c:pt idx="42">
                  <c:v>2.7164705795779986</c:v>
                </c:pt>
                <c:pt idx="43">
                  <c:v>2.620189219304606</c:v>
                </c:pt>
                <c:pt idx="44">
                  <c:v>2.3971975734270656</c:v>
                </c:pt>
                <c:pt idx="45">
                  <c:v>2.376984661756568</c:v>
                </c:pt>
                <c:pt idx="46">
                  <c:v>2.214704314538922</c:v>
                </c:pt>
                <c:pt idx="47">
                  <c:v>2.1165501887118356</c:v>
                </c:pt>
                <c:pt idx="48">
                  <c:v>1.9193589839278373</c:v>
                </c:pt>
                <c:pt idx="49">
                  <c:v>2.005533344878518</c:v>
                </c:pt>
                <c:pt idx="50">
                  <c:v>1.702360601232943</c:v>
                </c:pt>
                <c:pt idx="51">
                  <c:v>1.598947088889313</c:v>
                </c:pt>
              </c:numCache>
            </c:numRef>
          </c:xVal>
          <c:yVal>
            <c:numRef>
              <c:f>Sheet1!$B$109:$B$160</c:f>
              <c:numCache>
                <c:formatCode>General</c:formatCode>
                <c:ptCount val="52"/>
                <c:pt idx="0">
                  <c:v>0.4863861386138614</c:v>
                </c:pt>
                <c:pt idx="1">
                  <c:v>0.4829581993569132</c:v>
                </c:pt>
                <c:pt idx="2">
                  <c:v>0.5180794309425015</c:v>
                </c:pt>
                <c:pt idx="3">
                  <c:v>0.5220763723150358</c:v>
                </c:pt>
                <c:pt idx="4">
                  <c:v>0.4452473596442468</c:v>
                </c:pt>
                <c:pt idx="5">
                  <c:v>0.4768957345971564</c:v>
                </c:pt>
                <c:pt idx="6">
                  <c:v>0.5204769310523587</c:v>
                </c:pt>
                <c:pt idx="7">
                  <c:v>0.5212121212121212</c:v>
                </c:pt>
                <c:pt idx="8">
                  <c:v>0.5131914893617021</c:v>
                </c:pt>
                <c:pt idx="9">
                  <c:v>0.5424940428911835</c:v>
                </c:pt>
                <c:pt idx="10">
                  <c:v>0.5845674201091192</c:v>
                </c:pt>
                <c:pt idx="11">
                  <c:v>0.6223132036847492</c:v>
                </c:pt>
                <c:pt idx="12">
                  <c:v>0.5911242603550296</c:v>
                </c:pt>
                <c:pt idx="13">
                  <c:v>0.5502156500308072</c:v>
                </c:pt>
                <c:pt idx="14">
                  <c:v>0.5517002081887578</c:v>
                </c:pt>
                <c:pt idx="15">
                  <c:v>0.543859649122807</c:v>
                </c:pt>
                <c:pt idx="16">
                  <c:v>0.501937984496124</c:v>
                </c:pt>
                <c:pt idx="17">
                  <c:v>0.48500517063081694</c:v>
                </c:pt>
                <c:pt idx="18">
                  <c:v>0.4463840399002494</c:v>
                </c:pt>
                <c:pt idx="19">
                  <c:v>0.4180672268907563</c:v>
                </c:pt>
                <c:pt idx="20">
                  <c:v>0.3778538812785388</c:v>
                </c:pt>
                <c:pt idx="21">
                  <c:v>0.39448275862068966</c:v>
                </c:pt>
                <c:pt idx="22">
                  <c:v>0.4028169014084507</c:v>
                </c:pt>
                <c:pt idx="23">
                  <c:v>0.4223512336719884</c:v>
                </c:pt>
                <c:pt idx="24">
                  <c:v>0.40784313725490196</c:v>
                </c:pt>
                <c:pt idx="25">
                  <c:v>0.43878954607977994</c:v>
                </c:pt>
                <c:pt idx="26">
                  <c:v>0.3825136612021858</c:v>
                </c:pt>
                <c:pt idx="27">
                  <c:v>0.40644361833952913</c:v>
                </c:pt>
                <c:pt idx="28">
                  <c:v>0.4855923159018143</c:v>
                </c:pt>
                <c:pt idx="29">
                  <c:v>0.49463806970509383</c:v>
                </c:pt>
                <c:pt idx="30">
                  <c:v>0.5059920106524634</c:v>
                </c:pt>
                <c:pt idx="31">
                  <c:v>0.4917043740573152</c:v>
                </c:pt>
                <c:pt idx="32">
                  <c:v>0.523038605230386</c:v>
                </c:pt>
                <c:pt idx="33">
                  <c:v>0.5652600588812562</c:v>
                </c:pt>
                <c:pt idx="34">
                  <c:v>0.588855421686747</c:v>
                </c:pt>
                <c:pt idx="35">
                  <c:v>0.5901981230448383</c:v>
                </c:pt>
                <c:pt idx="36">
                  <c:v>0.49921752738654146</c:v>
                </c:pt>
                <c:pt idx="37">
                  <c:v>0.42679558011049723</c:v>
                </c:pt>
                <c:pt idx="38">
                  <c:v>0.40233236151603496</c:v>
                </c:pt>
                <c:pt idx="39">
                  <c:v>0.45178197064989517</c:v>
                </c:pt>
                <c:pt idx="40">
                  <c:v>0.4198218262806236</c:v>
                </c:pt>
                <c:pt idx="41">
                  <c:v>0.40543259557344064</c:v>
                </c:pt>
                <c:pt idx="42">
                  <c:v>0.41947115384615385</c:v>
                </c:pt>
                <c:pt idx="43">
                  <c:v>0.41140881590319794</c:v>
                </c:pt>
                <c:pt idx="44">
                  <c:v>0.46594427244582043</c:v>
                </c:pt>
                <c:pt idx="45">
                  <c:v>0.5294457274826789</c:v>
                </c:pt>
                <c:pt idx="46">
                  <c:v>0.5400291120815138</c:v>
                </c:pt>
                <c:pt idx="47">
                  <c:v>0.5196451204055766</c:v>
                </c:pt>
                <c:pt idx="48">
                  <c:v>0.5326148610323312</c:v>
                </c:pt>
                <c:pt idx="49">
                  <c:v>0.5712105798575788</c:v>
                </c:pt>
                <c:pt idx="50">
                  <c:v>0.5995101041028781</c:v>
                </c:pt>
                <c:pt idx="51">
                  <c:v>0.5720524017467249</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15791715731059114</c:v>
                </c:pt>
              </c:numCache>
            </c:numRef>
          </c:xVal>
          <c:yVal>
            <c:numRef>
              <c:f>Sheet1!$B$163:$B$164</c:f>
              <c:numCache>
                <c:formatCode>General</c:formatCode>
                <c:ptCount val="2"/>
                <c:pt idx="0">
                  <c:v>0.6270200770622506</c:v>
                </c:pt>
                <c:pt idx="1">
                  <c:v>0.627020077062250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15791715731059114</c:v>
                </c:pt>
                <c:pt idx="1">
                  <c:v>-0.15791715731059114</c:v>
                </c:pt>
              </c:numCache>
            </c:numRef>
          </c:xVal>
          <c:yVal>
            <c:numRef>
              <c:f>Sheet1!$B$167:$B$168</c:f>
              <c:numCache>
                <c:formatCode>General</c:formatCode>
                <c:ptCount val="2"/>
                <c:pt idx="0">
                  <c:v>0.62702007706225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66472799535676</c:v>
                </c:pt>
              </c:numCache>
            </c:numRef>
          </c:xVal>
          <c:yVal>
            <c:numRef>
              <c:f>Sheet1!$B$171:$B$172</c:f>
              <c:numCache>
                <c:formatCode>General</c:formatCode>
                <c:ptCount val="2"/>
                <c:pt idx="0">
                  <c:v>0.5688469866848782</c:v>
                </c:pt>
                <c:pt idx="1">
                  <c:v>0.5688469866848782</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66472799535676</c:v>
                </c:pt>
                <c:pt idx="1">
                  <c:v>0.766472799535676</c:v>
                </c:pt>
              </c:numCache>
            </c:numRef>
          </c:xVal>
          <c:yVal>
            <c:numRef>
              <c:f>Sheet1!$B$175:$B$176</c:f>
              <c:numCache>
                <c:formatCode>General</c:formatCode>
                <c:ptCount val="2"/>
                <c:pt idx="0">
                  <c:v>0.568846986684878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9358087552148184</c:v>
                </c:pt>
              </c:numCache>
            </c:numRef>
          </c:xVal>
          <c:yVal>
            <c:numRef>
              <c:f>Sheet1!$B$179:$B$180</c:f>
              <c:numCache>
                <c:formatCode>General</c:formatCode>
                <c:ptCount val="2"/>
                <c:pt idx="0">
                  <c:v>0.495259118569878</c:v>
                </c:pt>
                <c:pt idx="1">
                  <c:v>0.49525911856987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9358087552148184</c:v>
                </c:pt>
                <c:pt idx="1">
                  <c:v>1.9358087552148184</c:v>
                </c:pt>
              </c:numCache>
            </c:numRef>
          </c:xVal>
          <c:yVal>
            <c:numRef>
              <c:f>Sheet1!$B$183:$B$184</c:f>
              <c:numCache>
                <c:formatCode>General</c:formatCode>
                <c:ptCount val="2"/>
                <c:pt idx="0">
                  <c:v>0.4952591185698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0653130245555793</c:v>
                </c:pt>
                <c:pt idx="1">
                  <c:v>1.066140010334437</c:v>
                </c:pt>
                <c:pt idx="2">
                  <c:v>1.0678308532588905</c:v>
                </c:pt>
                <c:pt idx="3">
                  <c:v>1.0812566423945689</c:v>
                </c:pt>
                <c:pt idx="4">
                  <c:v>1.05857529902791</c:v>
                </c:pt>
                <c:pt idx="5">
                  <c:v>1.2978858254752281</c:v>
                </c:pt>
                <c:pt idx="6">
                  <c:v>1.2767687778005548</c:v>
                </c:pt>
                <c:pt idx="7">
                  <c:v>1.4147013920547915</c:v>
                </c:pt>
                <c:pt idx="8">
                  <c:v>1.4483843354597736</c:v>
                </c:pt>
                <c:pt idx="9">
                  <c:v>1.368953427839078</c:v>
                </c:pt>
                <c:pt idx="10">
                  <c:v>1.4884890167805742</c:v>
                </c:pt>
                <c:pt idx="11">
                  <c:v>1.3103116400298578</c:v>
                </c:pt>
                <c:pt idx="12">
                  <c:v>1.3225828184030965</c:v>
                </c:pt>
                <c:pt idx="13">
                  <c:v>1.4464469590288485</c:v>
                </c:pt>
                <c:pt idx="14">
                  <c:v>1.402100756200384</c:v>
                </c:pt>
                <c:pt idx="15">
                  <c:v>1.4580579484657583</c:v>
                </c:pt>
                <c:pt idx="16">
                  <c:v>1.4226072219599462</c:v>
                </c:pt>
                <c:pt idx="17">
                  <c:v>1.4598055970434738</c:v>
                </c:pt>
                <c:pt idx="18">
                  <c:v>2.489520955260166</c:v>
                </c:pt>
                <c:pt idx="19">
                  <c:v>2.599877019068351</c:v>
                </c:pt>
                <c:pt idx="20">
                  <c:v>2.5543597877191577</c:v>
                </c:pt>
                <c:pt idx="21">
                  <c:v>2.393079534685866</c:v>
                </c:pt>
                <c:pt idx="22">
                  <c:v>2.5084135798499325</c:v>
                </c:pt>
                <c:pt idx="23">
                  <c:v>2.432123927080017</c:v>
                </c:pt>
                <c:pt idx="24">
                  <c:v>2.4556851796338504</c:v>
                </c:pt>
                <c:pt idx="25">
                  <c:v>2.4214028260036797</c:v>
                </c:pt>
                <c:pt idx="26">
                  <c:v>2.5636805269283243</c:v>
                </c:pt>
                <c:pt idx="27">
                  <c:v>2.32845160960713</c:v>
                </c:pt>
                <c:pt idx="28">
                  <c:v>2.2119964035025665</c:v>
                </c:pt>
                <c:pt idx="29">
                  <c:v>2.1183292668790896</c:v>
                </c:pt>
                <c:pt idx="30">
                  <c:v>1.96224174182846</c:v>
                </c:pt>
                <c:pt idx="31">
                  <c:v>2.0390260010584984</c:v>
                </c:pt>
                <c:pt idx="32">
                  <c:v>2.2980504841757607</c:v>
                </c:pt>
                <c:pt idx="33">
                  <c:v>2.339933653409096</c:v>
                </c:pt>
                <c:pt idx="34">
                  <c:v>2.5311930991959226</c:v>
                </c:pt>
                <c:pt idx="35">
                  <c:v>2.4326375534139304</c:v>
                </c:pt>
                <c:pt idx="36">
                  <c:v>2.5288968531891207</c:v>
                </c:pt>
                <c:pt idx="37">
                  <c:v>2.592317284405198</c:v>
                </c:pt>
                <c:pt idx="38">
                  <c:v>2.738482762893132</c:v>
                </c:pt>
                <c:pt idx="39">
                  <c:v>2.578225414380519</c:v>
                </c:pt>
                <c:pt idx="40">
                  <c:v>2.5259126741469067</c:v>
                </c:pt>
                <c:pt idx="41">
                  <c:v>2.8206104924238455</c:v>
                </c:pt>
                <c:pt idx="42">
                  <c:v>2.7164705795779986</c:v>
                </c:pt>
                <c:pt idx="43">
                  <c:v>2.620189219304606</c:v>
                </c:pt>
                <c:pt idx="44">
                  <c:v>2.3971975734270656</c:v>
                </c:pt>
                <c:pt idx="45">
                  <c:v>2.376984661756568</c:v>
                </c:pt>
                <c:pt idx="46">
                  <c:v>2.214704314538922</c:v>
                </c:pt>
                <c:pt idx="47">
                  <c:v>2.1165501887118356</c:v>
                </c:pt>
                <c:pt idx="48">
                  <c:v>1.9193589839278373</c:v>
                </c:pt>
                <c:pt idx="49">
                  <c:v>2.005533344878518</c:v>
                </c:pt>
                <c:pt idx="50">
                  <c:v>1.702360601232943</c:v>
                </c:pt>
                <c:pt idx="51">
                  <c:v>1.598947088889313</c:v>
                </c:pt>
                <c:pt idx="52">
                  <c:v>0.766472799535676</c:v>
                </c:pt>
                <c:pt idx="53">
                  <c:v>-0.15791715731059114</c:v>
                </c:pt>
                <c:pt idx="54">
                  <c:v>1.9358087552148184</c:v>
                </c:pt>
              </c:numCache>
            </c:numRef>
          </c:xVal>
          <c:yVal>
            <c:numRef>
              <c:f>Sheet1!$B$187:$B$241</c:f>
              <c:numCache>
                <c:formatCode>General</c:formatCode>
                <c:ptCount val="55"/>
                <c:pt idx="0">
                  <c:v>0.5500405735583364</c:v>
                </c:pt>
                <c:pt idx="1">
                  <c:v>0.5499885302425279</c:v>
                </c:pt>
                <c:pt idx="2">
                  <c:v>0.5498821232467253</c:v>
                </c:pt>
                <c:pt idx="3">
                  <c:v>0.5490372204662559</c:v>
                </c:pt>
                <c:pt idx="4">
                  <c:v>0.5504645875939239</c:v>
                </c:pt>
                <c:pt idx="5">
                  <c:v>0.5354044576345158</c:v>
                </c:pt>
                <c:pt idx="6">
                  <c:v>0.5367333815521589</c:v>
                </c:pt>
                <c:pt idx="7">
                  <c:v>0.5280530985443531</c:v>
                </c:pt>
                <c:pt idx="8">
                  <c:v>0.5259333860827866</c:v>
                </c:pt>
                <c:pt idx="9">
                  <c:v>0.5309320788244732</c:v>
                </c:pt>
                <c:pt idx="10">
                  <c:v>0.5234095451066361</c:v>
                </c:pt>
                <c:pt idx="11">
                  <c:v>0.5346224845854305</c:v>
                </c:pt>
                <c:pt idx="12">
                  <c:v>0.5338502429970658</c:v>
                </c:pt>
                <c:pt idx="13">
                  <c:v>0.5260553077602957</c:v>
                </c:pt>
                <c:pt idx="14">
                  <c:v>0.5288460733305264</c:v>
                </c:pt>
                <c:pt idx="15">
                  <c:v>0.5253246127404272</c:v>
                </c:pt>
                <c:pt idx="16">
                  <c:v>0.5275555741455056</c:v>
                </c:pt>
                <c:pt idx="17">
                  <c:v>0.5252146308892546</c:v>
                </c:pt>
                <c:pt idx="18">
                  <c:v>0.4604132728121134</c:v>
                </c:pt>
                <c:pt idx="19">
                  <c:v>0.45346841882916133</c:v>
                </c:pt>
                <c:pt idx="20">
                  <c:v>0.4563328787828784</c:v>
                </c:pt>
                <c:pt idx="21">
                  <c:v>0.46648245977551517</c:v>
                </c:pt>
                <c:pt idx="22">
                  <c:v>0.4592243347999828</c:v>
                </c:pt>
                <c:pt idx="23">
                  <c:v>0.4640253441927977</c:v>
                </c:pt>
                <c:pt idx="24">
                  <c:v>0.46254260320879304</c:v>
                </c:pt>
                <c:pt idx="25">
                  <c:v>0.4647000373536651</c:v>
                </c:pt>
                <c:pt idx="26">
                  <c:v>0.45574631225823914</c:v>
                </c:pt>
                <c:pt idx="27">
                  <c:v>0.47054958112258605</c:v>
                </c:pt>
                <c:pt idx="28">
                  <c:v>0.4778782622484055</c:v>
                </c:pt>
                <c:pt idx="29">
                  <c:v>0.48377285983012003</c:v>
                </c:pt>
                <c:pt idx="30">
                  <c:v>0.4935956555391184</c:v>
                </c:pt>
                <c:pt idx="31">
                  <c:v>0.4887635199034307</c:v>
                </c:pt>
                <c:pt idx="32">
                  <c:v>0.4724627644108669</c:v>
                </c:pt>
                <c:pt idx="33">
                  <c:v>0.4698270008231553</c:v>
                </c:pt>
                <c:pt idx="34">
                  <c:v>0.45779078932726003</c:v>
                </c:pt>
                <c:pt idx="35">
                  <c:v>0.4639930210039512</c:v>
                </c:pt>
                <c:pt idx="36">
                  <c:v>0.457935295144846</c:v>
                </c:pt>
                <c:pt idx="37">
                  <c:v>0.45394416299376583</c:v>
                </c:pt>
                <c:pt idx="38">
                  <c:v>0.44474577488152395</c:v>
                </c:pt>
                <c:pt idx="39">
                  <c:v>0.4548309831311553</c:v>
                </c:pt>
                <c:pt idx="40">
                  <c:v>0.4581230935040117</c:v>
                </c:pt>
                <c:pt idx="41">
                  <c:v>0.43957736754748244</c:v>
                </c:pt>
                <c:pt idx="42">
                  <c:v>0.44613103087647576</c:v>
                </c:pt>
                <c:pt idx="43">
                  <c:v>0.45219014503209604</c:v>
                </c:pt>
                <c:pt idx="44">
                  <c:v>0.46622330611628826</c:v>
                </c:pt>
                <c:pt idx="45">
                  <c:v>0.4674953315517542</c:v>
                </c:pt>
                <c:pt idx="46">
                  <c:v>0.4777078498025702</c:v>
                </c:pt>
                <c:pt idx="47">
                  <c:v>0.4838848195871961</c:v>
                </c:pt>
                <c:pt idx="48">
                  <c:v>0.4962943245721472</c:v>
                </c:pt>
                <c:pt idx="49">
                  <c:v>0.4908712573366494</c:v>
                </c:pt>
                <c:pt idx="50">
                  <c:v>0.5099503216270277</c:v>
                </c:pt>
                <c:pt idx="51">
                  <c:v>0.5164582716055539</c:v>
                </c:pt>
                <c:pt idx="52">
                  <c:v>0.5688469866848782</c:v>
                </c:pt>
                <c:pt idx="53">
                  <c:v>0.6270200770622506</c:v>
                </c:pt>
                <c:pt idx="54">
                  <c:v>0.49525911856987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58365758754863"/>
          <c:min val="0.272211720226843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0.40416884914622303</c:v>
                </c:pt>
                <c:pt idx="1">
                  <c:v>0.7076684543984809</c:v>
                </c:pt>
                <c:pt idx="2">
                  <c:v>0.7062082679908103</c:v>
                </c:pt>
                <c:pt idx="3">
                  <c:v>0.8478114089127434</c:v>
                </c:pt>
                <c:pt idx="4">
                  <c:v>0.6445342679238509</c:v>
                </c:pt>
                <c:pt idx="5">
                  <c:v>0.49057616324575887</c:v>
                </c:pt>
                <c:pt idx="6">
                  <c:v>0.6381820943898863</c:v>
                </c:pt>
                <c:pt idx="7">
                  <c:v>0.38479890651612864</c:v>
                </c:pt>
                <c:pt idx="8">
                  <c:v>0.5582642963378369</c:v>
                </c:pt>
                <c:pt idx="9">
                  <c:v>0.5238014435980751</c:v>
                </c:pt>
                <c:pt idx="10">
                  <c:v>0.7443411213004102</c:v>
                </c:pt>
                <c:pt idx="11">
                  <c:v>0.48230597803071157</c:v>
                </c:pt>
                <c:pt idx="12">
                  <c:v>0.621511861980778</c:v>
                </c:pt>
                <c:pt idx="13">
                  <c:v>0.551651810275184</c:v>
                </c:pt>
                <c:pt idx="14">
                  <c:v>0.5930633935495974</c:v>
                </c:pt>
                <c:pt idx="15">
                  <c:v>0.357345622397112</c:v>
                </c:pt>
                <c:pt idx="16">
                  <c:v>0.2052546806035249</c:v>
                </c:pt>
                <c:pt idx="17">
                  <c:v>0.39866394960873136</c:v>
                </c:pt>
                <c:pt idx="18">
                  <c:v>0.3553147242869738</c:v>
                </c:pt>
                <c:pt idx="19">
                  <c:v>0.3563518870276139</c:v>
                </c:pt>
                <c:pt idx="20">
                  <c:v>0.30304330073374003</c:v>
                </c:pt>
                <c:pt idx="21">
                  <c:v>0.3840148615807807</c:v>
                </c:pt>
                <c:pt idx="22">
                  <c:v>0.5898404594762465</c:v>
                </c:pt>
                <c:pt idx="23">
                  <c:v>0.43822325937546197</c:v>
                </c:pt>
                <c:pt idx="24">
                  <c:v>0.34852275836562935</c:v>
                </c:pt>
                <c:pt idx="25">
                  <c:v>0.6156581873283173</c:v>
                </c:pt>
                <c:pt idx="26">
                  <c:v>0.7311262652847038</c:v>
                </c:pt>
                <c:pt idx="27">
                  <c:v>0.31666304091775643</c:v>
                </c:pt>
                <c:pt idx="28">
                  <c:v>0.6607519624279141</c:v>
                </c:pt>
                <c:pt idx="29">
                  <c:v>0.3479790755260811</c:v>
                </c:pt>
                <c:pt idx="30">
                  <c:v>0.4611432286759812</c:v>
                </c:pt>
                <c:pt idx="31">
                  <c:v>0.5163358748492741</c:v>
                </c:pt>
                <c:pt idx="32">
                  <c:v>0.3328944268818284</c:v>
                </c:pt>
                <c:pt idx="33">
                  <c:v>0.3267863150643196</c:v>
                </c:pt>
                <c:pt idx="34">
                  <c:v>0.36458156273488546</c:v>
                </c:pt>
                <c:pt idx="35">
                  <c:v>0.6080421722969233</c:v>
                </c:pt>
                <c:pt idx="36">
                  <c:v>0.43373787564205557</c:v>
                </c:pt>
                <c:pt idx="37">
                  <c:v>0.7349379911055528</c:v>
                </c:pt>
                <c:pt idx="38">
                  <c:v>0.5329988677413984</c:v>
                </c:pt>
                <c:pt idx="39">
                  <c:v>0.5531960081565389</c:v>
                </c:pt>
                <c:pt idx="40">
                  <c:v>0.5195534661458954</c:v>
                </c:pt>
                <c:pt idx="41">
                  <c:v>1.0040091703717073</c:v>
                </c:pt>
                <c:pt idx="42">
                  <c:v>0.5250127816273505</c:v>
                </c:pt>
                <c:pt idx="43">
                  <c:v>0.36720109579947774</c:v>
                </c:pt>
                <c:pt idx="44">
                  <c:v>0.4346480667190225</c:v>
                </c:pt>
                <c:pt idx="45">
                  <c:v>0.4115110219334443</c:v>
                </c:pt>
                <c:pt idx="46">
                  <c:v>0.36377164841456194</c:v>
                </c:pt>
                <c:pt idx="47">
                  <c:v>0.4604756612424323</c:v>
                </c:pt>
                <c:pt idx="48">
                  <c:v>0.3719237218733433</c:v>
                </c:pt>
                <c:pt idx="49">
                  <c:v>0.3731652302153691</c:v>
                </c:pt>
                <c:pt idx="50">
                  <c:v>0.42040818351773035</c:v>
                </c:pt>
                <c:pt idx="51">
                  <c:v>0.4371951506991447</c:v>
                </c:pt>
                <c:pt idx="52">
                  <c:v>0.3567757228764056</c:v>
                </c:pt>
                <c:pt idx="53">
                  <c:v>0.3478489032964706</c:v>
                </c:pt>
                <c:pt idx="54">
                  <c:v>0.4218507569638225</c:v>
                </c:pt>
                <c:pt idx="55">
                  <c:v>1.5209025048669982</c:v>
                </c:pt>
                <c:pt idx="56">
                  <c:v>0.6128738850598777</c:v>
                </c:pt>
                <c:pt idx="57">
                  <c:v>1.0340550847063787</c:v>
                </c:pt>
                <c:pt idx="58">
                  <c:v>0.47318318142995347</c:v>
                </c:pt>
                <c:pt idx="59">
                  <c:v>0.39259071575991106</c:v>
                </c:pt>
                <c:pt idx="60">
                  <c:v>0.39029783074934415</c:v>
                </c:pt>
                <c:pt idx="61">
                  <c:v>0.3762195653418489</c:v>
                </c:pt>
                <c:pt idx="62">
                  <c:v>0.3459699893504999</c:v>
                </c:pt>
                <c:pt idx="63">
                  <c:v>0.2961222287091921</c:v>
                </c:pt>
                <c:pt idx="64">
                  <c:v>0.30973747554939857</c:v>
                </c:pt>
                <c:pt idx="65">
                  <c:v>0.6619694294579428</c:v>
                </c:pt>
                <c:pt idx="66">
                  <c:v>0.9816115129498024</c:v>
                </c:pt>
                <c:pt idx="67">
                  <c:v>0.5325229481102317</c:v>
                </c:pt>
                <c:pt idx="68">
                  <c:v>1.6429566801248705</c:v>
                </c:pt>
                <c:pt idx="69">
                  <c:v>0.5200577545984197</c:v>
                </c:pt>
                <c:pt idx="70">
                  <c:v>0.5137775895281873</c:v>
                </c:pt>
                <c:pt idx="71">
                  <c:v>0.5369902979047401</c:v>
                </c:pt>
                <c:pt idx="72">
                  <c:v>0.527011175285445</c:v>
                </c:pt>
                <c:pt idx="73">
                  <c:v>0.5211360916930714</c:v>
                </c:pt>
                <c:pt idx="74">
                  <c:v>0.49253474619018495</c:v>
                </c:pt>
                <c:pt idx="75">
                  <c:v>0.7257175200261037</c:v>
                </c:pt>
                <c:pt idx="76">
                  <c:v>0.7285223423952957</c:v>
                </c:pt>
                <c:pt idx="77">
                  <c:v>0.38540585512376085</c:v>
                </c:pt>
                <c:pt idx="78">
                  <c:v>1.9224981389070512</c:v>
                </c:pt>
                <c:pt idx="79">
                  <c:v>1.5922110741351758</c:v>
                </c:pt>
                <c:pt idx="80">
                  <c:v>1.568487424193684</c:v>
                </c:pt>
                <c:pt idx="81">
                  <c:v>1.035881692297071</c:v>
                </c:pt>
                <c:pt idx="82">
                  <c:v>1.3034801675627814</c:v>
                </c:pt>
                <c:pt idx="83">
                  <c:v>1.602649699239339</c:v>
                </c:pt>
                <c:pt idx="84">
                  <c:v>0.5812715027259129</c:v>
                </c:pt>
                <c:pt idx="85">
                  <c:v>1.0567846302359216</c:v>
                </c:pt>
                <c:pt idx="86">
                  <c:v>0.5159216692245862</c:v>
                </c:pt>
                <c:pt idx="87">
                  <c:v>0.9393986817378553</c:v>
                </c:pt>
              </c:numCache>
            </c:numRef>
          </c:xVal>
          <c:yVal>
            <c:numRef>
              <c:f>Sheet1!$B$2:$B$89</c:f>
              <c:numCache>
                <c:formatCode>General</c:formatCode>
                <c:ptCount val="88"/>
                <c:pt idx="0">
                  <c:v>0.0011991434689507495</c:v>
                </c:pt>
                <c:pt idx="1">
                  <c:v>0.00028042624789680314</c:v>
                </c:pt>
                <c:pt idx="2">
                  <c:v>0.0002781125428756837</c:v>
                </c:pt>
                <c:pt idx="3">
                  <c:v>0.00019022256039566293</c:v>
                </c:pt>
                <c:pt idx="4">
                  <c:v>0.00021652051531882645</c:v>
                </c:pt>
                <c:pt idx="5">
                  <c:v>0.0005567308762943993</c:v>
                </c:pt>
                <c:pt idx="6">
                  <c:v>0.0006385016494625945</c:v>
                </c:pt>
                <c:pt idx="7">
                  <c:v>0.0008297771455666193</c:v>
                </c:pt>
                <c:pt idx="8">
                  <c:v>0.0004679457182966776</c:v>
                </c:pt>
                <c:pt idx="9">
                  <c:v>0.000599101347978033</c:v>
                </c:pt>
                <c:pt idx="10">
                  <c:v>0.00028153153153153153</c:v>
                </c:pt>
                <c:pt idx="11">
                  <c:v>0.0006146821215314366</c:v>
                </c:pt>
                <c:pt idx="12">
                  <c:v>0.00046289152908501776</c:v>
                </c:pt>
                <c:pt idx="13">
                  <c:v>0.0005209237714881056</c:v>
                </c:pt>
                <c:pt idx="14">
                  <c:v>0.00018675880100849752</c:v>
                </c:pt>
                <c:pt idx="15">
                  <c:v>0.0005408913890090869</c:v>
                </c:pt>
                <c:pt idx="16">
                  <c:v>0.0004919444102816382</c:v>
                </c:pt>
                <c:pt idx="17">
                  <c:v>0.0004095004095004095</c:v>
                </c:pt>
                <c:pt idx="18">
                  <c:v>0.0005367686527106817</c:v>
                </c:pt>
                <c:pt idx="19">
                  <c:v>0.0005787874403125452</c:v>
                </c:pt>
                <c:pt idx="20">
                  <c:v>0.00034246575342465754</c:v>
                </c:pt>
                <c:pt idx="21">
                  <c:v>0.000943040362127499</c:v>
                </c:pt>
                <c:pt idx="22">
                  <c:v>0.0005824111822947001</c:v>
                </c:pt>
                <c:pt idx="23">
                  <c:v>0.0009085953116481918</c:v>
                </c:pt>
                <c:pt idx="24">
                  <c:v>0.001445086705202312</c:v>
                </c:pt>
                <c:pt idx="25">
                  <c:v>0.0008476012883539584</c:v>
                </c:pt>
                <c:pt idx="26">
                  <c:v>0.00035180299032541777</c:v>
                </c:pt>
                <c:pt idx="27">
                  <c:v>0.0008799718409010912</c:v>
                </c:pt>
                <c:pt idx="28">
                  <c:v>0.0006350214319733291</c:v>
                </c:pt>
                <c:pt idx="29">
                  <c:v>0.0007874015748031496</c:v>
                </c:pt>
                <c:pt idx="30">
                  <c:v>0.0008008008008008008</c:v>
                </c:pt>
                <c:pt idx="31">
                  <c:v>0.0006087662337662338</c:v>
                </c:pt>
                <c:pt idx="32">
                  <c:v>0.001777145903678692</c:v>
                </c:pt>
                <c:pt idx="33">
                  <c:v>0.001896633475580844</c:v>
                </c:pt>
                <c:pt idx="34">
                  <c:v>0.001708150317227916</c:v>
                </c:pt>
                <c:pt idx="35">
                  <c:v>0.0005660911406736484</c:v>
                </c:pt>
                <c:pt idx="36">
                  <c:v>0.0007027406886858749</c:v>
                </c:pt>
                <c:pt idx="37">
                  <c:v>0.0003351206434316354</c:v>
                </c:pt>
                <c:pt idx="38">
                  <c:v>0.0007473841554559044</c:v>
                </c:pt>
                <c:pt idx="39">
                  <c:v>0.00045676004872107184</c:v>
                </c:pt>
                <c:pt idx="40">
                  <c:v>0.0005029337803855825</c:v>
                </c:pt>
                <c:pt idx="41">
                  <c:v>0.0001405283867341203</c:v>
                </c:pt>
                <c:pt idx="42">
                  <c:v>0.0004873294346978557</c:v>
                </c:pt>
                <c:pt idx="43">
                  <c:v>0.0006576475009394964</c:v>
                </c:pt>
                <c:pt idx="44">
                  <c:v>0.00043825050398807957</c:v>
                </c:pt>
                <c:pt idx="45">
                  <c:v>0.0009446114212108201</c:v>
                </c:pt>
                <c:pt idx="46">
                  <c:v>0.0011339846475924634</c:v>
                </c:pt>
                <c:pt idx="47">
                  <c:v>0.0006391409945033875</c:v>
                </c:pt>
                <c:pt idx="48">
                  <c:v>0.0007207359986433205</c:v>
                </c:pt>
                <c:pt idx="49">
                  <c:v>0.0008355964069354502</c:v>
                </c:pt>
                <c:pt idx="50">
                  <c:v>0.0007998080460689434</c:v>
                </c:pt>
                <c:pt idx="51">
                  <c:v>0.00027660604384205796</c:v>
                </c:pt>
                <c:pt idx="52">
                  <c:v>0.00046048996131884323</c:v>
                </c:pt>
                <c:pt idx="53">
                  <c:v>0.0010156408693885843</c:v>
                </c:pt>
                <c:pt idx="54">
                  <c:v>0.000524824183898394</c:v>
                </c:pt>
                <c:pt idx="55">
                  <c:v>9.974067424695791e-05</c:v>
                </c:pt>
                <c:pt idx="56">
                  <c:v>0.0001799694052011158</c:v>
                </c:pt>
                <c:pt idx="57">
                  <c:v>8.116224332440549e-05</c:v>
                </c:pt>
                <c:pt idx="58">
                  <c:v>0.00021578464692237147</c:v>
                </c:pt>
                <c:pt idx="59">
                  <c:v>0.00022507314877335134</c:v>
                </c:pt>
                <c:pt idx="60">
                  <c:v>0.000373440884308014</c:v>
                </c:pt>
                <c:pt idx="61">
                  <c:v>0.00030483158055174517</c:v>
                </c:pt>
                <c:pt idx="62">
                  <c:v>0.0003925417075564279</c:v>
                </c:pt>
                <c:pt idx="63">
                  <c:v>0.0005675368898978433</c:v>
                </c:pt>
                <c:pt idx="64">
                  <c:v>0.0003447800303406427</c:v>
                </c:pt>
                <c:pt idx="65">
                  <c:v>7.407956144899622e-05</c:v>
                </c:pt>
                <c:pt idx="66">
                  <c:v>7.678722260615834e-05</c:v>
                </c:pt>
                <c:pt idx="67">
                  <c:v>0.00023070711731456916</c:v>
                </c:pt>
                <c:pt idx="68">
                  <c:v>0.00011132138483802739</c:v>
                </c:pt>
                <c:pt idx="69">
                  <c:v>0.0005693463903438852</c:v>
                </c:pt>
                <c:pt idx="70">
                  <c:v>0.0008230452674897119</c:v>
                </c:pt>
                <c:pt idx="71">
                  <c:v>0.0006932889628397116</c:v>
                </c:pt>
                <c:pt idx="72">
                  <c:v>0.0007217090069284065</c:v>
                </c:pt>
                <c:pt idx="73">
                  <c:v>0.0007265329845975008</c:v>
                </c:pt>
                <c:pt idx="74">
                  <c:v>0.0011488593467914</c:v>
                </c:pt>
                <c:pt idx="75">
                  <c:v>0.0008382229673093043</c:v>
                </c:pt>
                <c:pt idx="76">
                  <c:v>0.0006619228859837829</c:v>
                </c:pt>
                <c:pt idx="77">
                  <c:v>0.0014915254237288136</c:v>
                </c:pt>
                <c:pt idx="78">
                  <c:v>0.00016943409013893597</c:v>
                </c:pt>
                <c:pt idx="79">
                  <c:v>0.00021222410865874363</c:v>
                </c:pt>
                <c:pt idx="80">
                  <c:v>0.00021235931195582927</c:v>
                </c:pt>
                <c:pt idx="81">
                  <c:v>7.328154770628756e-05</c:v>
                </c:pt>
                <c:pt idx="82">
                  <c:v>5.774672287347693e-05</c:v>
                </c:pt>
                <c:pt idx="83">
                  <c:v>3.8968124074507054e-05</c:v>
                </c:pt>
                <c:pt idx="84">
                  <c:v>0.00012721027859051011</c:v>
                </c:pt>
                <c:pt idx="85">
                  <c:v>6.444544692917445e-05</c:v>
                </c:pt>
                <c:pt idx="86">
                  <c:v>0.00020827547903360177</c:v>
                </c:pt>
                <c:pt idx="87">
                  <c:v>7.61266747868453e-05</c:v>
                </c:pt>
              </c:numCache>
            </c:numRef>
          </c:yVal>
          <c:smooth val="0"/>
          <c:extLst>
            <c:ext xmlns:c16="http://schemas.microsoft.com/office/drawing/2014/chart" uri="{C3380CC4-5D6E-409C-BE32-E72D297353CC}">
              <c16:uniqueId val="{00000000-096C-4121-9522-6AB7243CCAAE}"/>
            </c:ext>
          </c:extLst>
        </c:ser>
        <c:ser>
          <c:idx val="1"/>
          <c:order val="1"/>
          <c:tx>
            <c:strRef>
              <c:f>Sheet1!$B$9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0385460392594361</c:v>
                </c:pt>
                <c:pt idx="21">
                  <c:v>0.586925498234482</c:v>
                </c:pt>
                <c:pt idx="22">
                  <c:v>0.0</c:v>
                </c:pt>
                <c:pt idx="23">
                  <c:v>0.0</c:v>
                </c:pt>
                <c:pt idx="24">
                  <c:v>0.8326108654673561</c:v>
                </c:pt>
                <c:pt idx="25">
                  <c:v>0.0</c:v>
                </c:pt>
                <c:pt idx="26">
                  <c:v>0.44737603676150745</c:v>
                </c:pt>
                <c:pt idx="27">
                  <c:v>0.6612224499907932</c:v>
                </c:pt>
                <c:pt idx="28">
                  <c:v>0.8004368173563965</c:v>
                </c:pt>
                <c:pt idx="29">
                  <c:v>0.0</c:v>
                </c:pt>
                <c:pt idx="30">
                  <c:v>0.0</c:v>
                </c:pt>
                <c:pt idx="31">
                  <c:v>1.2181776765392205</c:v>
                </c:pt>
                <c:pt idx="32">
                  <c:v>1.0287002288604248</c:v>
                </c:pt>
                <c:pt idx="33">
                  <c:v>0.9775897962194146</c:v>
                </c:pt>
                <c:pt idx="34">
                  <c:v>0.0</c:v>
                </c:pt>
                <c:pt idx="35">
                  <c:v>0.0</c:v>
                </c:pt>
                <c:pt idx="36">
                  <c:v>1.0317508369981094</c:v>
                </c:pt>
                <c:pt idx="37">
                  <c:v>0.0</c:v>
                </c:pt>
                <c:pt idx="38">
                  <c:v>0.5962516415779151</c:v>
                </c:pt>
                <c:pt idx="39">
                  <c:v>0.4711086941678354</c:v>
                </c:pt>
                <c:pt idx="40">
                  <c:v>0.569076460106723</c:v>
                </c:pt>
                <c:pt idx="41">
                  <c:v>0.9750623972221555</c:v>
                </c:pt>
                <c:pt idx="42">
                  <c:v>0.42613662728399804</c:v>
                </c:pt>
                <c:pt idx="43">
                  <c:v>0.3517238793576091</c:v>
                </c:pt>
                <c:pt idx="44">
                  <c:v>0.3978537763511363</c:v>
                </c:pt>
                <c:pt idx="45">
                  <c:v>0.6179880770593965</c:v>
                </c:pt>
                <c:pt idx="46">
                  <c:v>0.4746484344024667</c:v>
                </c:pt>
                <c:pt idx="47">
                  <c:v>0.5718540965486062</c:v>
                </c:pt>
                <c:pt idx="48">
                  <c:v>0.0</c:v>
                </c:pt>
                <c:pt idx="49">
                  <c:v>0.49542589715739294</c:v>
                </c:pt>
                <c:pt idx="50">
                  <c:v>0.1943106413924948</c:v>
                </c:pt>
                <c:pt idx="51">
                  <c:v>0.17580844499318748</c:v>
                </c:pt>
                <c:pt idx="52">
                  <c:v>0.30949160011006566</c:v>
                </c:pt>
                <c:pt idx="53">
                  <c:v>0.0</c:v>
                </c:pt>
                <c:pt idx="54">
                  <c:v>0.0</c:v>
                </c:pt>
                <c:pt idx="55">
                  <c:v>0.0</c:v>
                </c:pt>
                <c:pt idx="56">
                  <c:v>0.0</c:v>
                </c:pt>
                <c:pt idx="57">
                  <c:v>1.128433297691955</c:v>
                </c:pt>
                <c:pt idx="58">
                  <c:v>0.8262106496259429</c:v>
                </c:pt>
                <c:pt idx="59">
                  <c:v>1.0523779040449268</c:v>
                </c:pt>
                <c:pt idx="60">
                  <c:v>0.0</c:v>
                </c:pt>
                <c:pt idx="61">
                  <c:v>0.0</c:v>
                </c:pt>
                <c:pt idx="62">
                  <c:v>0.0</c:v>
                </c:pt>
                <c:pt idx="63">
                  <c:v>0.0</c:v>
                </c:pt>
                <c:pt idx="64">
                  <c:v>0.0</c:v>
                </c:pt>
                <c:pt idx="65">
                  <c:v>0.0</c:v>
                </c:pt>
                <c:pt idx="66">
                  <c:v>0.0</c:v>
                </c:pt>
                <c:pt idx="67">
                  <c:v>0.4608671267531716</c:v>
                </c:pt>
                <c:pt idx="68">
                  <c:v>1.3439260862106364</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6.82081713389264e-05</c:v>
                </c:pt>
                <c:pt idx="21">
                  <c:v>0.00014652014652014652</c:v>
                </c:pt>
                <c:pt idx="22">
                  <c:v>0.0</c:v>
                </c:pt>
                <c:pt idx="23">
                  <c:v>0.0</c:v>
                </c:pt>
                <c:pt idx="24">
                  <c:v>0.00010643959552953698</c:v>
                </c:pt>
                <c:pt idx="25">
                  <c:v>0.0</c:v>
                </c:pt>
                <c:pt idx="26">
                  <c:v>0.00019327406262079628</c:v>
                </c:pt>
                <c:pt idx="27">
                  <c:v>8.983111749910169e-05</c:v>
                </c:pt>
                <c:pt idx="28">
                  <c:v>0.00015355086372360844</c:v>
                </c:pt>
                <c:pt idx="29">
                  <c:v>0.0</c:v>
                </c:pt>
                <c:pt idx="30">
                  <c:v>0.0</c:v>
                </c:pt>
                <c:pt idx="31">
                  <c:v>8.554319931565441e-05</c:v>
                </c:pt>
                <c:pt idx="32">
                  <c:v>8.918219923303308e-05</c:v>
                </c:pt>
                <c:pt idx="33">
                  <c:v>0.00019845207382417147</c:v>
                </c:pt>
                <c:pt idx="34">
                  <c:v>0.0</c:v>
                </c:pt>
                <c:pt idx="35">
                  <c:v>0.0</c:v>
                </c:pt>
                <c:pt idx="36">
                  <c:v>0.00011122233344455567</c:v>
                </c:pt>
                <c:pt idx="37">
                  <c:v>0.0</c:v>
                </c:pt>
                <c:pt idx="38">
                  <c:v>0.0003213883978788366</c:v>
                </c:pt>
                <c:pt idx="39">
                  <c:v>0.0003180155827635554</c:v>
                </c:pt>
                <c:pt idx="40">
                  <c:v>0.00015946420028703555</c:v>
                </c:pt>
                <c:pt idx="41">
                  <c:v>0.00014992503748125936</c:v>
                </c:pt>
                <c:pt idx="42">
                  <c:v>0.00047244094488188977</c:v>
                </c:pt>
                <c:pt idx="43">
                  <c:v>0.000792016473942658</c:v>
                </c:pt>
                <c:pt idx="44">
                  <c:v>0.00028814291888776836</c:v>
                </c:pt>
                <c:pt idx="45">
                  <c:v>0.00026215755669157164</c:v>
                </c:pt>
                <c:pt idx="46">
                  <c:v>0.00031660598385309483</c:v>
                </c:pt>
                <c:pt idx="47">
                  <c:v>0.00016564518800728838</c:v>
                </c:pt>
                <c:pt idx="48">
                  <c:v>0.0</c:v>
                </c:pt>
                <c:pt idx="49">
                  <c:v>0.0001686056314280897</c:v>
                </c:pt>
                <c:pt idx="50">
                  <c:v>0.0006701289998324678</c:v>
                </c:pt>
                <c:pt idx="51">
                  <c:v>0.0005676657584014533</c:v>
                </c:pt>
                <c:pt idx="52">
                  <c:v>0.0006191183754333828</c:v>
                </c:pt>
                <c:pt idx="53">
                  <c:v>0.0</c:v>
                </c:pt>
                <c:pt idx="54">
                  <c:v>0.0</c:v>
                </c:pt>
                <c:pt idx="55">
                  <c:v>0.0</c:v>
                </c:pt>
                <c:pt idx="56">
                  <c:v>0.0</c:v>
                </c:pt>
                <c:pt idx="57">
                  <c:v>0.0001386193512614361</c:v>
                </c:pt>
                <c:pt idx="58">
                  <c:v>0.00012913223140495868</c:v>
                </c:pt>
                <c:pt idx="59">
                  <c:v>0.0001426533523537803</c:v>
                </c:pt>
                <c:pt idx="60">
                  <c:v>0.0</c:v>
                </c:pt>
                <c:pt idx="61">
                  <c:v>0.0</c:v>
                </c:pt>
                <c:pt idx="62">
                  <c:v>0.0</c:v>
                </c:pt>
                <c:pt idx="63">
                  <c:v>0.0</c:v>
                </c:pt>
                <c:pt idx="64">
                  <c:v>0.0</c:v>
                </c:pt>
                <c:pt idx="65">
                  <c:v>0.0</c:v>
                </c:pt>
                <c:pt idx="66">
                  <c:v>0.0</c:v>
                </c:pt>
                <c:pt idx="67">
                  <c:v>0.00014715620631300125</c:v>
                </c:pt>
                <c:pt idx="68">
                  <c:v>5.969436485195797e-0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6.129178728059478</c:v>
                </c:pt>
              </c:numCache>
            </c:numRef>
          </c:xVal>
          <c:yVal>
            <c:numRef>
              <c:f>Sheet1!$B$163:$B$164</c:f>
              <c:numCache>
                <c:formatCode>General</c:formatCode>
                <c:ptCount val="2"/>
                <c:pt idx="0">
                  <c:v>0.0009587907001120169</c:v>
                </c:pt>
                <c:pt idx="1">
                  <c:v>0.000958790700112016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6.129178728059478</c:v>
                </c:pt>
                <c:pt idx="1">
                  <c:v>6.129178728059478</c:v>
                </c:pt>
              </c:numCache>
            </c:numRef>
          </c:xVal>
          <c:yVal>
            <c:numRef>
              <c:f>Sheet1!$B$167:$B$168</c:f>
              <c:numCache>
                <c:formatCode>General</c:formatCode>
                <c:ptCount val="2"/>
                <c:pt idx="0">
                  <c:v>0.000958790700112016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8591028901292532</c:v>
                </c:pt>
              </c:numCache>
            </c:numRef>
          </c:xVal>
          <c:yVal>
            <c:numRef>
              <c:f>Sheet1!$B$171:$B$172</c:f>
              <c:numCache>
                <c:formatCode>General</c:formatCode>
                <c:ptCount val="2"/>
                <c:pt idx="0">
                  <c:v>0.00033313955972754864</c:v>
                </c:pt>
                <c:pt idx="1">
                  <c:v>0.0003331395597275486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8591028901292532</c:v>
                </c:pt>
                <c:pt idx="1">
                  <c:v>1.8591028901292532</c:v>
                </c:pt>
              </c:numCache>
            </c:numRef>
          </c:xVal>
          <c:yVal>
            <c:numRef>
              <c:f>Sheet1!$B$175:$B$176</c:f>
              <c:numCache>
                <c:formatCode>General</c:formatCode>
                <c:ptCount val="2"/>
                <c:pt idx="0">
                  <c:v>0.000333139559727548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9051857118693747</c:v>
                </c:pt>
              </c:numCache>
            </c:numRef>
          </c:xVal>
          <c:yVal>
            <c:numRef>
              <c:f>Sheet1!$B$179:$B$180</c:f>
              <c:numCache>
                <c:formatCode>General</c:formatCode>
                <c:ptCount val="2"/>
                <c:pt idx="0">
                  <c:v>4.748119278347187e-05</c:v>
                </c:pt>
                <c:pt idx="1">
                  <c:v>4.748119278347187e-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9051857118693747</c:v>
                </c:pt>
                <c:pt idx="1">
                  <c:v>-0.09051857118693747</c:v>
                </c:pt>
              </c:numCache>
            </c:numRef>
          </c:xVal>
          <c:yVal>
            <c:numRef>
              <c:f>Sheet1!$B$183:$B$184</c:f>
              <c:numCache>
                <c:formatCode>General</c:formatCode>
                <c:ptCount val="2"/>
                <c:pt idx="0">
                  <c:v>4.748119278347187e-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0385460392594361</c:v>
                </c:pt>
                <c:pt idx="21">
                  <c:v>0.586925498234482</c:v>
                </c:pt>
                <c:pt idx="22">
                  <c:v>0.0</c:v>
                </c:pt>
                <c:pt idx="23">
                  <c:v>0.0</c:v>
                </c:pt>
                <c:pt idx="24">
                  <c:v>0.8326108654673561</c:v>
                </c:pt>
                <c:pt idx="25">
                  <c:v>0.0</c:v>
                </c:pt>
                <c:pt idx="26">
                  <c:v>0.44737603676150745</c:v>
                </c:pt>
                <c:pt idx="27">
                  <c:v>0.6612224499907932</c:v>
                </c:pt>
                <c:pt idx="28">
                  <c:v>0.8004368173563965</c:v>
                </c:pt>
                <c:pt idx="29">
                  <c:v>0.0</c:v>
                </c:pt>
                <c:pt idx="30">
                  <c:v>0.0</c:v>
                </c:pt>
                <c:pt idx="31">
                  <c:v>1.2181776765392205</c:v>
                </c:pt>
                <c:pt idx="32">
                  <c:v>1.0287002288604248</c:v>
                </c:pt>
                <c:pt idx="33">
                  <c:v>0.9775897962194146</c:v>
                </c:pt>
                <c:pt idx="34">
                  <c:v>0.0</c:v>
                </c:pt>
                <c:pt idx="35">
                  <c:v>0.0</c:v>
                </c:pt>
                <c:pt idx="36">
                  <c:v>1.0317508369981094</c:v>
                </c:pt>
                <c:pt idx="37">
                  <c:v>0.0</c:v>
                </c:pt>
                <c:pt idx="38">
                  <c:v>0.5962516415779151</c:v>
                </c:pt>
                <c:pt idx="39">
                  <c:v>0.4711086941678354</c:v>
                </c:pt>
                <c:pt idx="40">
                  <c:v>0.569076460106723</c:v>
                </c:pt>
                <c:pt idx="41">
                  <c:v>0.9750623972221555</c:v>
                </c:pt>
                <c:pt idx="42">
                  <c:v>0.42613662728399804</c:v>
                </c:pt>
                <c:pt idx="43">
                  <c:v>0.3517238793576091</c:v>
                </c:pt>
                <c:pt idx="44">
                  <c:v>0.3978537763511363</c:v>
                </c:pt>
                <c:pt idx="45">
                  <c:v>0.6179880770593965</c:v>
                </c:pt>
                <c:pt idx="46">
                  <c:v>0.4746484344024667</c:v>
                </c:pt>
                <c:pt idx="47">
                  <c:v>0.5718540965486062</c:v>
                </c:pt>
                <c:pt idx="48">
                  <c:v>0.0</c:v>
                </c:pt>
                <c:pt idx="49">
                  <c:v>0.49542589715739294</c:v>
                </c:pt>
                <c:pt idx="50">
                  <c:v>0.1943106413924948</c:v>
                </c:pt>
                <c:pt idx="51">
                  <c:v>0.17580844499318748</c:v>
                </c:pt>
                <c:pt idx="52">
                  <c:v>0.30949160011006566</c:v>
                </c:pt>
                <c:pt idx="53">
                  <c:v>0.0</c:v>
                </c:pt>
                <c:pt idx="54">
                  <c:v>0.0</c:v>
                </c:pt>
                <c:pt idx="55">
                  <c:v>0.0</c:v>
                </c:pt>
                <c:pt idx="56">
                  <c:v>0.0</c:v>
                </c:pt>
                <c:pt idx="57">
                  <c:v>1.128433297691955</c:v>
                </c:pt>
                <c:pt idx="58">
                  <c:v>0.8262106496259429</c:v>
                </c:pt>
                <c:pt idx="59">
                  <c:v>1.0523779040449268</c:v>
                </c:pt>
                <c:pt idx="60">
                  <c:v>0.0</c:v>
                </c:pt>
                <c:pt idx="61">
                  <c:v>0.0</c:v>
                </c:pt>
                <c:pt idx="62">
                  <c:v>0.0</c:v>
                </c:pt>
                <c:pt idx="63">
                  <c:v>0.0</c:v>
                </c:pt>
                <c:pt idx="64">
                  <c:v>0.0</c:v>
                </c:pt>
                <c:pt idx="65">
                  <c:v>0.0</c:v>
                </c:pt>
                <c:pt idx="66">
                  <c:v>0.0</c:v>
                </c:pt>
                <c:pt idx="67">
                  <c:v>0.4608671267531716</c:v>
                </c:pt>
                <c:pt idx="68">
                  <c:v>1.3439260862106364</c:v>
                </c:pt>
                <c:pt idx="69">
                  <c:v>1.8591028901292532</c:v>
                </c:pt>
                <c:pt idx="70">
                  <c:v>6.129178728059478</c:v>
                </c:pt>
                <c:pt idx="71">
                  <c:v>-0.09051857118693747</c:v>
                </c:pt>
              </c:numCache>
            </c:numRef>
          </c:xVal>
          <c:yVal>
            <c:numRef>
              <c:f>Sheet1!$B$187:$B$258</c:f>
              <c:numCache>
                <c:formatCode>General</c:formatCode>
                <c:ptCount val="72"/>
                <c:pt idx="0">
                  <c:v>6.074396596094571e-05</c:v>
                </c:pt>
                <c:pt idx="1">
                  <c:v>6.074396596094571e-05</c:v>
                </c:pt>
                <c:pt idx="2">
                  <c:v>6.074396596094571e-05</c:v>
                </c:pt>
                <c:pt idx="3">
                  <c:v>6.074396596094571e-05</c:v>
                </c:pt>
                <c:pt idx="4">
                  <c:v>6.074396596094571e-05</c:v>
                </c:pt>
                <c:pt idx="5">
                  <c:v>6.074396596094571e-05</c:v>
                </c:pt>
                <c:pt idx="6">
                  <c:v>6.074396596094571e-05</c:v>
                </c:pt>
                <c:pt idx="7">
                  <c:v>6.074396596094571e-05</c:v>
                </c:pt>
                <c:pt idx="8">
                  <c:v>6.074396596094571e-05</c:v>
                </c:pt>
                <c:pt idx="9">
                  <c:v>6.074396596094571e-05</c:v>
                </c:pt>
                <c:pt idx="10">
                  <c:v>6.074396596094571e-05</c:v>
                </c:pt>
                <c:pt idx="11">
                  <c:v>6.074396596094571e-05</c:v>
                </c:pt>
                <c:pt idx="12">
                  <c:v>6.074396596094571e-05</c:v>
                </c:pt>
                <c:pt idx="13">
                  <c:v>6.074396596094571e-05</c:v>
                </c:pt>
                <c:pt idx="14">
                  <c:v>6.074396596094571e-05</c:v>
                </c:pt>
                <c:pt idx="15">
                  <c:v>6.074396596094571e-05</c:v>
                </c:pt>
                <c:pt idx="16">
                  <c:v>6.074396596094571e-05</c:v>
                </c:pt>
                <c:pt idx="17">
                  <c:v>6.074396596094571e-05</c:v>
                </c:pt>
                <c:pt idx="18">
                  <c:v>6.074396596094571e-05</c:v>
                </c:pt>
                <c:pt idx="19">
                  <c:v>6.074396596094571e-05</c:v>
                </c:pt>
                <c:pt idx="20">
                  <c:v>0.00021291164130588568</c:v>
                </c:pt>
                <c:pt idx="21">
                  <c:v>0.0001467402389145237</c:v>
                </c:pt>
                <c:pt idx="22">
                  <c:v>6.074396596094571e-05</c:v>
                </c:pt>
                <c:pt idx="23">
                  <c:v>6.074396596094571e-05</c:v>
                </c:pt>
                <c:pt idx="24">
                  <c:v>0.00018273803755304433</c:v>
                </c:pt>
                <c:pt idx="25">
                  <c:v>6.074396596094571e-05</c:v>
                </c:pt>
                <c:pt idx="26">
                  <c:v>0.00012629346395679245</c:v>
                </c:pt>
                <c:pt idx="27">
                  <c:v>0.00015762622182389455</c:v>
                </c:pt>
                <c:pt idx="28">
                  <c:v>0.00017802389882215852</c:v>
                </c:pt>
                <c:pt idx="29">
                  <c:v>6.074396596094571e-05</c:v>
                </c:pt>
                <c:pt idx="30">
                  <c:v>6.074396596094571e-05</c:v>
                </c:pt>
                <c:pt idx="31">
                  <c:v>0.00023923125317669075</c:v>
                </c:pt>
                <c:pt idx="32">
                  <c:v>0.0002114690340225601</c:v>
                </c:pt>
                <c:pt idx="33">
                  <c:v>0.00020398033787731985</c:v>
                </c:pt>
                <c:pt idx="34">
                  <c:v>6.074396596094571e-05</c:v>
                </c:pt>
                <c:pt idx="35">
                  <c:v>6.074396596094571e-05</c:v>
                </c:pt>
                <c:pt idx="36">
                  <c:v>0.00021191600886156758</c:v>
                </c:pt>
                <c:pt idx="37">
                  <c:v>6.074396596094571e-05</c:v>
                </c:pt>
                <c:pt idx="38">
                  <c:v>0.00014810670462606388</c:v>
                </c:pt>
                <c:pt idx="39">
                  <c:v>0.00012977077085582408</c:v>
                </c:pt>
                <c:pt idx="40">
                  <c:v>0.0001441249994004613</c:v>
                </c:pt>
                <c:pt idx="41">
                  <c:v>0.00020361002359606153</c:v>
                </c:pt>
                <c:pt idx="42">
                  <c:v>0.00012318146752744155</c:v>
                </c:pt>
                <c:pt idx="43">
                  <c:v>0.00011227851817330225</c:v>
                </c:pt>
                <c:pt idx="44">
                  <c:v>0.00011903746666865446</c:v>
                </c:pt>
                <c:pt idx="45">
                  <c:v>0.00015129152526228805</c:v>
                </c:pt>
                <c:pt idx="46">
                  <c:v>0.000130289413287134</c:v>
                </c:pt>
                <c:pt idx="47">
                  <c:v>0.0001445319784503416</c:v>
                </c:pt>
                <c:pt idx="48">
                  <c:v>6.074396596094571e-05</c:v>
                </c:pt>
                <c:pt idx="49">
                  <c:v>0.00013333372532286976</c:v>
                </c:pt>
                <c:pt idx="50">
                  <c:v>8.92143442376414e-05</c:v>
                </c:pt>
                <c:pt idx="51">
                  <c:v>8.650340403044005e-05</c:v>
                </c:pt>
                <c:pt idx="52">
                  <c:v>0.00010609064829109698</c:v>
                </c:pt>
                <c:pt idx="53">
                  <c:v>6.074396596094571e-05</c:v>
                </c:pt>
                <c:pt idx="54">
                  <c:v>6.074396596094571e-05</c:v>
                </c:pt>
                <c:pt idx="55">
                  <c:v>6.074396596094571e-05</c:v>
                </c:pt>
                <c:pt idx="56">
                  <c:v>6.074396596094571e-05</c:v>
                </c:pt>
                <c:pt idx="57">
                  <c:v>0.00022608191459349043</c:v>
                </c:pt>
                <c:pt idx="58">
                  <c:v>0.0001818002784846181</c:v>
                </c:pt>
                <c:pt idx="59">
                  <c:v>0.00021493828493123187</c:v>
                </c:pt>
                <c:pt idx="60">
                  <c:v>6.074396596094571e-05</c:v>
                </c:pt>
                <c:pt idx="61">
                  <c:v>6.074396596094571e-05</c:v>
                </c:pt>
                <c:pt idx="62">
                  <c:v>6.074396596094571e-05</c:v>
                </c:pt>
                <c:pt idx="63">
                  <c:v>6.074396596094571e-05</c:v>
                </c:pt>
                <c:pt idx="64">
                  <c:v>6.074396596094571e-05</c:v>
                </c:pt>
                <c:pt idx="65">
                  <c:v>6.074396596094571e-05</c:v>
                </c:pt>
                <c:pt idx="66">
                  <c:v>6.074396596094571e-05</c:v>
                </c:pt>
                <c:pt idx="67">
                  <c:v>0.000128270177288986</c:v>
                </c:pt>
                <c:pt idx="68">
                  <c:v>0.0002576558992248016</c:v>
                </c:pt>
                <c:pt idx="69">
                  <c:v>0.00033313955972754864</c:v>
                </c:pt>
                <c:pt idx="70">
                  <c:v>0.0009587907001120169</c:v>
                </c:pt>
                <c:pt idx="71">
                  <c:v>4.748119278347187e-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275960170697012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55.1847</c:v>
                </c:pt>
                <c:pt idx="1">
                  <c:v>847.7167</c:v>
                </c:pt>
                <c:pt idx="2">
                  <c:v>895.2812</c:v>
                </c:pt>
                <c:pt idx="3">
                  <c:v>912.5615</c:v>
                </c:pt>
                <c:pt idx="4">
                  <c:v>919.4438</c:v>
                </c:pt>
                <c:pt idx="5">
                  <c:v>937.3167</c:v>
                </c:pt>
                <c:pt idx="6">
                  <c:v>876.6551</c:v>
                </c:pt>
                <c:pt idx="7">
                  <c:v>897.7083</c:v>
                </c:pt>
                <c:pt idx="8">
                  <c:v>867.2556</c:v>
                </c:pt>
                <c:pt idx="9">
                  <c:v>816.7283</c:v>
                </c:pt>
                <c:pt idx="10">
                  <c:v>815.1037</c:v>
                </c:pt>
                <c:pt idx="11">
                  <c:v>869.9696</c:v>
                </c:pt>
                <c:pt idx="12">
                  <c:v>880.5109</c:v>
                </c:pt>
                <c:pt idx="13">
                  <c:v>866.3197</c:v>
                </c:pt>
                <c:pt idx="14">
                  <c:v>857.8536</c:v>
                </c:pt>
                <c:pt idx="15">
                  <c:v>869.979</c:v>
                </c:pt>
                <c:pt idx="16">
                  <c:v>879.4153</c:v>
                </c:pt>
                <c:pt idx="17">
                  <c:v>866.4661</c:v>
                </c:pt>
                <c:pt idx="18">
                  <c:v>911.4423</c:v>
                </c:pt>
                <c:pt idx="19">
                  <c:v>962.8811</c:v>
                </c:pt>
                <c:pt idx="20">
                  <c:v>981.6273</c:v>
                </c:pt>
                <c:pt idx="21">
                  <c:v>985.949</c:v>
                </c:pt>
                <c:pt idx="22">
                  <c:v>941.3978</c:v>
                </c:pt>
                <c:pt idx="23">
                  <c:v>924.6011</c:v>
                </c:pt>
                <c:pt idx="24">
                  <c:v>913.2234</c:v>
                </c:pt>
                <c:pt idx="25">
                  <c:v>894.5446</c:v>
                </c:pt>
                <c:pt idx="26">
                  <c:v>894.2546</c:v>
                </c:pt>
                <c:pt idx="27">
                  <c:v>927.7799</c:v>
                </c:pt>
                <c:pt idx="28">
                  <c:v>942.2519</c:v>
                </c:pt>
                <c:pt idx="29">
                  <c:v>785.5627</c:v>
                </c:pt>
                <c:pt idx="30">
                  <c:v>815.9488</c:v>
                </c:pt>
                <c:pt idx="31">
                  <c:v>874.3426</c:v>
                </c:pt>
                <c:pt idx="32">
                  <c:v>833.4946</c:v>
                </c:pt>
                <c:pt idx="33">
                  <c:v>767.8558</c:v>
                </c:pt>
                <c:pt idx="34">
                  <c:v>831.2255</c:v>
                </c:pt>
                <c:pt idx="35">
                  <c:v>924.5533</c:v>
                </c:pt>
                <c:pt idx="36">
                  <c:v>1038.8397</c:v>
                </c:pt>
                <c:pt idx="37">
                  <c:v>1041.4777</c:v>
                </c:pt>
                <c:pt idx="38">
                  <c:v>1050.8913</c:v>
                </c:pt>
                <c:pt idx="39">
                  <c:v>1031.4896</c:v>
                </c:pt>
                <c:pt idx="40">
                  <c:v>1036.1211</c:v>
                </c:pt>
                <c:pt idx="41">
                  <c:v>1089.2376</c:v>
                </c:pt>
                <c:pt idx="42">
                  <c:v>1101.4218</c:v>
                </c:pt>
                <c:pt idx="43">
                  <c:v>1094.3937</c:v>
                </c:pt>
                <c:pt idx="44">
                  <c:v>996.7371</c:v>
                </c:pt>
                <c:pt idx="45">
                  <c:v>963.9557</c:v>
                </c:pt>
                <c:pt idx="46">
                  <c:v>971.9416</c:v>
                </c:pt>
                <c:pt idx="47">
                  <c:v>934.6889</c:v>
                </c:pt>
                <c:pt idx="48">
                  <c:v>959.738</c:v>
                </c:pt>
                <c:pt idx="49">
                  <c:v>947.2208</c:v>
                </c:pt>
                <c:pt idx="50">
                  <c:v>916.5665</c:v>
                </c:pt>
                <c:pt idx="51">
                  <c:v>908.3212</c:v>
                </c:pt>
                <c:pt idx="52">
                  <c:v>939.1801</c:v>
                </c:pt>
                <c:pt idx="53">
                  <c:v>1029.9124</c:v>
                </c:pt>
                <c:pt idx="54">
                  <c:v>1013.258</c:v>
                </c:pt>
                <c:pt idx="55">
                  <c:v>1027.9178</c:v>
                </c:pt>
                <c:pt idx="56">
                  <c:v>1058.945</c:v>
                </c:pt>
                <c:pt idx="57">
                  <c:v>1033.4564</c:v>
                </c:pt>
                <c:pt idx="58">
                  <c:v>999.6495</c:v>
                </c:pt>
                <c:pt idx="59">
                  <c:v>987.9816</c:v>
                </c:pt>
                <c:pt idx="60">
                  <c:v>1008.6783</c:v>
                </c:pt>
                <c:pt idx="61">
                  <c:v>1022.7189</c:v>
                </c:pt>
                <c:pt idx="62">
                  <c:v>971.5924</c:v>
                </c:pt>
                <c:pt idx="63">
                  <c:v>1006.6723</c:v>
                </c:pt>
                <c:pt idx="64">
                  <c:v>1006.99</c:v>
                </c:pt>
                <c:pt idx="65">
                  <c:v>983.4209</c:v>
                </c:pt>
                <c:pt idx="66">
                  <c:v>992.9485</c:v>
                </c:pt>
                <c:pt idx="67">
                  <c:v>1012.9335</c:v>
                </c:pt>
                <c:pt idx="68">
                  <c:v>1005.7588</c:v>
                </c:pt>
                <c:pt idx="69">
                  <c:v>991.8071</c:v>
                </c:pt>
                <c:pt idx="70">
                  <c:v>981.0311</c:v>
                </c:pt>
                <c:pt idx="71">
                  <c:v>1071.8018</c:v>
                </c:pt>
                <c:pt idx="72">
                  <c:v>1142.0147</c:v>
                </c:pt>
                <c:pt idx="73">
                  <c:v>1175.5522</c:v>
                </c:pt>
                <c:pt idx="74">
                  <c:v>1118.71</c:v>
                </c:pt>
                <c:pt idx="75">
                  <c:v>1082.1655</c:v>
                </c:pt>
                <c:pt idx="76">
                  <c:v>1138.1407</c:v>
                </c:pt>
                <c:pt idx="77">
                  <c:v>1124.9063</c:v>
                </c:pt>
                <c:pt idx="78">
                  <c:v>1110.0287</c:v>
                </c:pt>
                <c:pt idx="79">
                  <c:v>1133.9619</c:v>
                </c:pt>
                <c:pt idx="80">
                  <c:v>1120.1131</c:v>
                </c:pt>
                <c:pt idx="81">
                  <c:v>1092.1214</c:v>
                </c:pt>
                <c:pt idx="82">
                  <c:v>1098.0284</c:v>
                </c:pt>
                <c:pt idx="83">
                  <c:v>1100.7958</c:v>
                </c:pt>
                <c:pt idx="84">
                  <c:v>1079.428</c:v>
                </c:pt>
                <c:pt idx="85">
                  <c:v>1076.3856</c:v>
                </c:pt>
                <c:pt idx="86">
                  <c:v>1089.5535</c:v>
                </c:pt>
                <c:pt idx="87">
                  <c:v>1103.2446</c:v>
                </c:pt>
                <c:pt idx="88">
                  <c:v>1114.1859</c:v>
                </c:pt>
                <c:pt idx="89">
                  <c:v>1104.969</c:v>
                </c:pt>
                <c:pt idx="90">
                  <c:v>1158.5248</c:v>
                </c:pt>
                <c:pt idx="91">
                  <c:v>1157.9133</c:v>
                </c:pt>
                <c:pt idx="92">
                  <c:v>1068.4194</c:v>
                </c:pt>
                <c:pt idx="93">
                  <c:v>1133.1771</c:v>
                </c:pt>
                <c:pt idx="94">
                  <c:v>1150.9366</c:v>
                </c:pt>
                <c:pt idx="95">
                  <c:v>1124.0039</c:v>
                </c:pt>
                <c:pt idx="96">
                  <c:v>1068.1388</c:v>
                </c:pt>
                <c:pt idx="97">
                  <c:v>1064.3832</c:v>
                </c:pt>
                <c:pt idx="98">
                  <c:v>1067.1323</c:v>
                </c:pt>
                <c:pt idx="99">
                  <c:v>1016.2212</c:v>
                </c:pt>
                <c:pt idx="100">
                  <c:v>1027.3069</c:v>
                </c:pt>
                <c:pt idx="101">
                  <c:v>1034.5149</c:v>
                </c:pt>
                <c:pt idx="102">
                  <c:v>1032.174</c:v>
                </c:pt>
                <c:pt idx="103">
                  <c:v>1023.282</c:v>
                </c:pt>
                <c:pt idx="104">
                  <c:v>1089.2977</c:v>
                </c:pt>
              </c:numCache>
            </c:numRef>
          </c:xVal>
          <c:yVal>
            <c:numRef>
              <c:f>Sheet1!$B$2:$B$106</c:f>
              <c:numCache>
                <c:formatCode>General</c:formatCode>
                <c:ptCount val="105"/>
                <c:pt idx="0">
                  <c:v>0.680635838150289</c:v>
                </c:pt>
                <c:pt idx="1">
                  <c:v>0.6310873915943963</c:v>
                </c:pt>
                <c:pt idx="2">
                  <c:v>0.49480369515011546</c:v>
                </c:pt>
                <c:pt idx="3">
                  <c:v>0.4162981680353759</c:v>
                </c:pt>
                <c:pt idx="4">
                  <c:v>0.37242955064737243</c:v>
                </c:pt>
                <c:pt idx="5">
                  <c:v>0.34026465028355385</c:v>
                </c:pt>
                <c:pt idx="6">
                  <c:v>0.3893719806763285</c:v>
                </c:pt>
                <c:pt idx="7">
                  <c:v>0.3561643835616438</c:v>
                </c:pt>
                <c:pt idx="8">
                  <c:v>0.44932432432432434</c:v>
                </c:pt>
                <c:pt idx="9">
                  <c:v>0.5724431818181818</c:v>
                </c:pt>
                <c:pt idx="10">
                  <c:v>0.6262866191607285</c:v>
                </c:pt>
                <c:pt idx="11">
                  <c:v>0.6186213070725156</c:v>
                </c:pt>
                <c:pt idx="12">
                  <c:v>0.6452119309262166</c:v>
                </c:pt>
                <c:pt idx="13">
                  <c:v>0.7060133630289532</c:v>
                </c:pt>
                <c:pt idx="14">
                  <c:v>0.754863813229572</c:v>
                </c:pt>
                <c:pt idx="15">
                  <c:v>0.7145539906103286</c:v>
                </c:pt>
                <c:pt idx="16">
                  <c:v>0.681465038845727</c:v>
                </c:pt>
                <c:pt idx="17">
                  <c:v>0.6480380499405469</c:v>
                </c:pt>
                <c:pt idx="18">
                  <c:v>0.6563814866760168</c:v>
                </c:pt>
                <c:pt idx="19">
                  <c:v>0.5053929121725732</c:v>
                </c:pt>
                <c:pt idx="20">
                  <c:v>0.51985559566787</c:v>
                </c:pt>
                <c:pt idx="21">
                  <c:v>0.5021337126600285</c:v>
                </c:pt>
                <c:pt idx="22">
                  <c:v>0.4725848563968668</c:v>
                </c:pt>
                <c:pt idx="23">
                  <c:v>0.5146627565982405</c:v>
                </c:pt>
                <c:pt idx="24">
                  <c:v>0.48883374689826303</c:v>
                </c:pt>
                <c:pt idx="25">
                  <c:v>0.49411764705882355</c:v>
                </c:pt>
                <c:pt idx="26">
                  <c:v>0.5709281961471103</c:v>
                </c:pt>
                <c:pt idx="27">
                  <c:v>0.5618374558303887</c:v>
                </c:pt>
                <c:pt idx="28">
                  <c:v>0.4665461121157324</c:v>
                </c:pt>
                <c:pt idx="29">
                  <c:v>0.4801762114537445</c:v>
                </c:pt>
                <c:pt idx="30">
                  <c:v>0.45454545454545453</c:v>
                </c:pt>
                <c:pt idx="31">
                  <c:v>0.45471014492753625</c:v>
                </c:pt>
                <c:pt idx="32">
                  <c:v>0.49333333333333335</c:v>
                </c:pt>
                <c:pt idx="33">
                  <c:v>0.5060018467220684</c:v>
                </c:pt>
                <c:pt idx="34">
                  <c:v>0.5121042830540037</c:v>
                </c:pt>
                <c:pt idx="35">
                  <c:v>0.5209643605870021</c:v>
                </c:pt>
                <c:pt idx="36">
                  <c:v>0.4431818181818182</c:v>
                </c:pt>
                <c:pt idx="37">
                  <c:v>0.47471451876019577</c:v>
                </c:pt>
                <c:pt idx="38">
                  <c:v>0.5485519591141397</c:v>
                </c:pt>
                <c:pt idx="39">
                  <c:v>0.6194852941176471</c:v>
                </c:pt>
                <c:pt idx="40">
                  <c:v>0.5337078651685393</c:v>
                </c:pt>
                <c:pt idx="41">
                  <c:v>0.44904458598726116</c:v>
                </c:pt>
                <c:pt idx="42">
                  <c:v>0.42075892857142855</c:v>
                </c:pt>
                <c:pt idx="43">
                  <c:v>0.3998316498316498</c:v>
                </c:pt>
                <c:pt idx="44">
                  <c:v>0.48422800221361373</c:v>
                </c:pt>
                <c:pt idx="45">
                  <c:v>0.5697424892703863</c:v>
                </c:pt>
                <c:pt idx="46">
                  <c:v>0.5562218890554723</c:v>
                </c:pt>
                <c:pt idx="47">
                  <c:v>0.5349273323956868</c:v>
                </c:pt>
                <c:pt idx="48">
                  <c:v>0.5529492928596068</c:v>
                </c:pt>
                <c:pt idx="49">
                  <c:v>0.626808100289296</c:v>
                </c:pt>
                <c:pt idx="50">
                  <c:v>0.5535261288685946</c:v>
                </c:pt>
                <c:pt idx="51">
                  <c:v>0.49582530507385997</c:v>
                </c:pt>
                <c:pt idx="52">
                  <c:v>0.4849126521969296</c:v>
                </c:pt>
                <c:pt idx="53">
                  <c:v>0.45729303547963207</c:v>
                </c:pt>
                <c:pt idx="54">
                  <c:v>0.453601108033241</c:v>
                </c:pt>
                <c:pt idx="55">
                  <c:v>0.4174410293066476</c:v>
                </c:pt>
                <c:pt idx="56">
                  <c:v>0.42857142857142855</c:v>
                </c:pt>
                <c:pt idx="57">
                  <c:v>0.42551854179761156</c:v>
                </c:pt>
                <c:pt idx="58">
                  <c:v>0.4854253420582986</c:v>
                </c:pt>
                <c:pt idx="59">
                  <c:v>0.505626697710516</c:v>
                </c:pt>
                <c:pt idx="60">
                  <c:v>0.5262260127931769</c:v>
                </c:pt>
                <c:pt idx="61">
                  <c:v>0.4936092513694461</c:v>
                </c:pt>
                <c:pt idx="62">
                  <c:v>0.55</c:v>
                </c:pt>
                <c:pt idx="63">
                  <c:v>0.5913870806209314</c:v>
                </c:pt>
                <c:pt idx="64">
                  <c:v>0.6193181818181818</c:v>
                </c:pt>
                <c:pt idx="65">
                  <c:v>0.5889328063241107</c:v>
                </c:pt>
                <c:pt idx="66">
                  <c:v>0.5796825396825397</c:v>
                </c:pt>
                <c:pt idx="67">
                  <c:v>0.5971631205673759</c:v>
                </c:pt>
                <c:pt idx="68">
                  <c:v>0.5730633802816901</c:v>
                </c:pt>
                <c:pt idx="69">
                  <c:v>0.5341545352743561</c:v>
                </c:pt>
                <c:pt idx="70">
                  <c:v>0.48936170212765956</c:v>
                </c:pt>
                <c:pt idx="71">
                  <c:v>0.48135964912280704</c:v>
                </c:pt>
                <c:pt idx="72">
                  <c:v>0.472636815920398</c:v>
                </c:pt>
                <c:pt idx="73">
                  <c:v>0.4494264859228363</c:v>
                </c:pt>
                <c:pt idx="74">
                  <c:v>0.44966442953020136</c:v>
                </c:pt>
                <c:pt idx="75">
                  <c:v>0.477116704805492</c:v>
                </c:pt>
                <c:pt idx="76">
                  <c:v>0.4260204081632653</c:v>
                </c:pt>
                <c:pt idx="77">
                  <c:v>0.4491180461329715</c:v>
                </c:pt>
                <c:pt idx="78">
                  <c:v>0.43390357698289267</c:v>
                </c:pt>
                <c:pt idx="79">
                  <c:v>0.4474431818181818</c:v>
                </c:pt>
                <c:pt idx="80">
                  <c:v>0.3952513966480447</c:v>
                </c:pt>
                <c:pt idx="81">
                  <c:v>0.42769857433808556</c:v>
                </c:pt>
                <c:pt idx="82">
                  <c:v>0.4081041968162084</c:v>
                </c:pt>
                <c:pt idx="83">
                  <c:v>0.3883495145631068</c:v>
                </c:pt>
                <c:pt idx="84">
                  <c:v>0.40978077571669475</c:v>
                </c:pt>
                <c:pt idx="85">
                  <c:v>0.44060773480662985</c:v>
                </c:pt>
                <c:pt idx="86">
                  <c:v>0.48044692737430167</c:v>
                </c:pt>
                <c:pt idx="87">
                  <c:v>0.5095477386934674</c:v>
                </c:pt>
                <c:pt idx="88">
                  <c:v>0.44823232323232326</c:v>
                </c:pt>
                <c:pt idx="89">
                  <c:v>0.39030955585464333</c:v>
                </c:pt>
                <c:pt idx="90">
                  <c:v>0.36959370904325034</c:v>
                </c:pt>
                <c:pt idx="91">
                  <c:v>0.37546933667083854</c:v>
                </c:pt>
                <c:pt idx="92">
                  <c:v>0.4453038674033149</c:v>
                </c:pt>
                <c:pt idx="93">
                  <c:v>0.44495944380069524</c:v>
                </c:pt>
                <c:pt idx="94">
                  <c:v>0.4489003880983182</c:v>
                </c:pt>
                <c:pt idx="95">
                  <c:v>0.4744058500914077</c:v>
                </c:pt>
                <c:pt idx="96">
                  <c:v>0.4929143561306223</c:v>
                </c:pt>
                <c:pt idx="97">
                  <c:v>0.5299486594409584</c:v>
                </c:pt>
                <c:pt idx="98">
                  <c:v>0.5487748497457235</c:v>
                </c:pt>
                <c:pt idx="99">
                  <c:v>0.60207336523126</c:v>
                </c:pt>
                <c:pt idx="100">
                  <c:v>0.6004922067268252</c:v>
                </c:pt>
                <c:pt idx="101">
                  <c:v>0.5616979269496545</c:v>
                </c:pt>
                <c:pt idx="102">
                  <c:v>0.49540636042402825</c:v>
                </c:pt>
                <c:pt idx="103">
                  <c:v>0.4883720930232558</c:v>
                </c:pt>
                <c:pt idx="104">
                  <c:v>0.4808387563268257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087.7303</c:v>
                </c:pt>
                <c:pt idx="1">
                  <c:v>1101.7896</c:v>
                </c:pt>
                <c:pt idx="2">
                  <c:v>1099.7323</c:v>
                </c:pt>
                <c:pt idx="3">
                  <c:v>1112.4057</c:v>
                </c:pt>
                <c:pt idx="4">
                  <c:v>1106.8602</c:v>
                </c:pt>
                <c:pt idx="5">
                  <c:v>1083.8969</c:v>
                </c:pt>
                <c:pt idx="6">
                  <c:v>1012.7261</c:v>
                </c:pt>
                <c:pt idx="7">
                  <c:v>1067.4884</c:v>
                </c:pt>
                <c:pt idx="8">
                  <c:v>1132.471</c:v>
                </c:pt>
                <c:pt idx="9">
                  <c:v>1076.0527</c:v>
                </c:pt>
                <c:pt idx="10">
                  <c:v>1119.1227</c:v>
                </c:pt>
                <c:pt idx="11">
                  <c:v>936.6768</c:v>
                </c:pt>
                <c:pt idx="12">
                  <c:v>985.5005</c:v>
                </c:pt>
                <c:pt idx="13">
                  <c:v>1065.4793</c:v>
                </c:pt>
                <c:pt idx="14">
                  <c:v>1053.8</c:v>
                </c:pt>
                <c:pt idx="15">
                  <c:v>1100.5748</c:v>
                </c:pt>
                <c:pt idx="16">
                  <c:v>1137.249</c:v>
                </c:pt>
                <c:pt idx="17">
                  <c:v>1127.6226</c:v>
                </c:pt>
                <c:pt idx="18">
                  <c:v>1187.8687</c:v>
                </c:pt>
                <c:pt idx="19">
                  <c:v>1236.7186</c:v>
                </c:pt>
                <c:pt idx="20">
                  <c:v>1210.9456</c:v>
                </c:pt>
                <c:pt idx="21">
                  <c:v>1104.3112</c:v>
                </c:pt>
                <c:pt idx="22">
                  <c:v>1146.7308</c:v>
                </c:pt>
                <c:pt idx="23">
                  <c:v>1097.0309</c:v>
                </c:pt>
                <c:pt idx="24">
                  <c:v>1102.6218</c:v>
                </c:pt>
                <c:pt idx="25">
                  <c:v>1063.1881</c:v>
                </c:pt>
                <c:pt idx="26">
                  <c:v>1125.6429</c:v>
                </c:pt>
                <c:pt idx="27">
                  <c:v>1130.2835</c:v>
                </c:pt>
                <c:pt idx="28">
                  <c:v>1056.8879</c:v>
                </c:pt>
                <c:pt idx="29">
                  <c:v>1047.1518</c:v>
                </c:pt>
                <c:pt idx="30">
                  <c:v>1029.4605</c:v>
                </c:pt>
                <c:pt idx="31">
                  <c:v>1039.8374</c:v>
                </c:pt>
                <c:pt idx="32">
                  <c:v>1013.3619</c:v>
                </c:pt>
                <c:pt idx="33">
                  <c:v>1035.7604</c:v>
                </c:pt>
                <c:pt idx="34">
                  <c:v>1049.2737</c:v>
                </c:pt>
                <c:pt idx="35">
                  <c:v>1066.6201</c:v>
                </c:pt>
                <c:pt idx="36">
                  <c:v>1056.4545</c:v>
                </c:pt>
                <c:pt idx="37">
                  <c:v>1132.7864</c:v>
                </c:pt>
                <c:pt idx="38">
                  <c:v>1149.3152</c:v>
                </c:pt>
                <c:pt idx="39">
                  <c:v>1076.5406</c:v>
                </c:pt>
                <c:pt idx="40">
                  <c:v>1126.8541</c:v>
                </c:pt>
                <c:pt idx="41">
                  <c:v>1211.5608</c:v>
                </c:pt>
                <c:pt idx="42">
                  <c:v>1218.1977</c:v>
                </c:pt>
                <c:pt idx="43">
                  <c:v>1217.1282</c:v>
                </c:pt>
                <c:pt idx="44">
                  <c:v>1110.1561</c:v>
                </c:pt>
                <c:pt idx="45">
                  <c:v>1097.1025</c:v>
                </c:pt>
                <c:pt idx="46">
                  <c:v>1100.1712</c:v>
                </c:pt>
                <c:pt idx="47">
                  <c:v>1073.4061</c:v>
                </c:pt>
                <c:pt idx="48">
                  <c:v>1067.2087</c:v>
                </c:pt>
                <c:pt idx="49">
                  <c:v>1081.6447</c:v>
                </c:pt>
                <c:pt idx="50">
                  <c:v>983.0792</c:v>
                </c:pt>
                <c:pt idx="51">
                  <c:v>954.9542</c:v>
                </c:pt>
              </c:numCache>
            </c:numRef>
          </c:xVal>
          <c:yVal>
            <c:numRef>
              <c:f>Sheet1!$B$109:$B$160</c:f>
              <c:numCache>
                <c:formatCode>General</c:formatCode>
                <c:ptCount val="52"/>
                <c:pt idx="0">
                  <c:v>0.4863861386138614</c:v>
                </c:pt>
                <c:pt idx="1">
                  <c:v>0.4829581993569132</c:v>
                </c:pt>
                <c:pt idx="2">
                  <c:v>0.5180794309425015</c:v>
                </c:pt>
                <c:pt idx="3">
                  <c:v>0.5220763723150358</c:v>
                </c:pt>
                <c:pt idx="4">
                  <c:v>0.4452473596442468</c:v>
                </c:pt>
                <c:pt idx="5">
                  <c:v>0.4768957345971564</c:v>
                </c:pt>
                <c:pt idx="6">
                  <c:v>0.5204769310523587</c:v>
                </c:pt>
                <c:pt idx="7">
                  <c:v>0.5212121212121212</c:v>
                </c:pt>
                <c:pt idx="8">
                  <c:v>0.5131914893617021</c:v>
                </c:pt>
                <c:pt idx="9">
                  <c:v>0.5424940428911835</c:v>
                </c:pt>
                <c:pt idx="10">
                  <c:v>0.5845674201091192</c:v>
                </c:pt>
                <c:pt idx="11">
                  <c:v>0.6223132036847492</c:v>
                </c:pt>
                <c:pt idx="12">
                  <c:v>0.5911242603550296</c:v>
                </c:pt>
                <c:pt idx="13">
                  <c:v>0.5502156500308072</c:v>
                </c:pt>
                <c:pt idx="14">
                  <c:v>0.5517002081887578</c:v>
                </c:pt>
                <c:pt idx="15">
                  <c:v>0.543859649122807</c:v>
                </c:pt>
                <c:pt idx="16">
                  <c:v>0.501937984496124</c:v>
                </c:pt>
                <c:pt idx="17">
                  <c:v>0.48500517063081694</c:v>
                </c:pt>
                <c:pt idx="18">
                  <c:v>0.4463840399002494</c:v>
                </c:pt>
                <c:pt idx="19">
                  <c:v>0.4180672268907563</c:v>
                </c:pt>
                <c:pt idx="20">
                  <c:v>0.3778538812785388</c:v>
                </c:pt>
                <c:pt idx="21">
                  <c:v>0.39448275862068966</c:v>
                </c:pt>
                <c:pt idx="22">
                  <c:v>0.4028169014084507</c:v>
                </c:pt>
                <c:pt idx="23">
                  <c:v>0.4223512336719884</c:v>
                </c:pt>
                <c:pt idx="24">
                  <c:v>0.40784313725490196</c:v>
                </c:pt>
                <c:pt idx="25">
                  <c:v>0.43878954607977994</c:v>
                </c:pt>
                <c:pt idx="26">
                  <c:v>0.3825136612021858</c:v>
                </c:pt>
                <c:pt idx="27">
                  <c:v>0.40644361833952913</c:v>
                </c:pt>
                <c:pt idx="28">
                  <c:v>0.4855923159018143</c:v>
                </c:pt>
                <c:pt idx="29">
                  <c:v>0.49463806970509383</c:v>
                </c:pt>
                <c:pt idx="30">
                  <c:v>0.5059920106524634</c:v>
                </c:pt>
                <c:pt idx="31">
                  <c:v>0.4917043740573152</c:v>
                </c:pt>
                <c:pt idx="32">
                  <c:v>0.523038605230386</c:v>
                </c:pt>
                <c:pt idx="33">
                  <c:v>0.5652600588812562</c:v>
                </c:pt>
                <c:pt idx="34">
                  <c:v>0.588855421686747</c:v>
                </c:pt>
                <c:pt idx="35">
                  <c:v>0.5901981230448383</c:v>
                </c:pt>
                <c:pt idx="36">
                  <c:v>0.49921752738654146</c:v>
                </c:pt>
                <c:pt idx="37">
                  <c:v>0.42679558011049723</c:v>
                </c:pt>
                <c:pt idx="38">
                  <c:v>0.40233236151603496</c:v>
                </c:pt>
                <c:pt idx="39">
                  <c:v>0.45178197064989517</c:v>
                </c:pt>
                <c:pt idx="40">
                  <c:v>0.4198218262806236</c:v>
                </c:pt>
                <c:pt idx="41">
                  <c:v>0.40543259557344064</c:v>
                </c:pt>
                <c:pt idx="42">
                  <c:v>0.41947115384615385</c:v>
                </c:pt>
                <c:pt idx="43">
                  <c:v>0.41140881590319794</c:v>
                </c:pt>
                <c:pt idx="44">
                  <c:v>0.46594427244582043</c:v>
                </c:pt>
                <c:pt idx="45">
                  <c:v>0.5294457274826789</c:v>
                </c:pt>
                <c:pt idx="46">
                  <c:v>0.5400291120815138</c:v>
                </c:pt>
                <c:pt idx="47">
                  <c:v>0.5196451204055766</c:v>
                </c:pt>
                <c:pt idx="48">
                  <c:v>0.5326148610323312</c:v>
                </c:pt>
                <c:pt idx="49">
                  <c:v>0.5712105798575788</c:v>
                </c:pt>
                <c:pt idx="50">
                  <c:v>0.5995101041028781</c:v>
                </c:pt>
                <c:pt idx="51">
                  <c:v>0.5720524017467249</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08.1471611128071</c:v>
                </c:pt>
              </c:numCache>
            </c:numRef>
          </c:xVal>
          <c:yVal>
            <c:numRef>
              <c:f>Sheet1!$B$163:$B$164</c:f>
              <c:numCache>
                <c:formatCode>General</c:formatCode>
                <c:ptCount val="2"/>
                <c:pt idx="0">
                  <c:v>0.6270200770622506</c:v>
                </c:pt>
                <c:pt idx="1">
                  <c:v>0.627020077062250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08.1471611128071</c:v>
                </c:pt>
                <c:pt idx="1">
                  <c:v>908.1471611128071</c:v>
                </c:pt>
              </c:numCache>
            </c:numRef>
          </c:xVal>
          <c:yVal>
            <c:numRef>
              <c:f>Sheet1!$B$167:$B$168</c:f>
              <c:numCache>
                <c:formatCode>General</c:formatCode>
                <c:ptCount val="2"/>
                <c:pt idx="0">
                  <c:v>0.62702007706225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87.3877773182978</c:v>
                </c:pt>
              </c:numCache>
            </c:numRef>
          </c:xVal>
          <c:yVal>
            <c:numRef>
              <c:f>Sheet1!$B$171:$B$172</c:f>
              <c:numCache>
                <c:formatCode>General</c:formatCode>
                <c:ptCount val="2"/>
                <c:pt idx="0">
                  <c:v>0.5688469866848782</c:v>
                </c:pt>
                <c:pt idx="1">
                  <c:v>0.5688469866848782</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87.3877773182978</c:v>
                </c:pt>
                <c:pt idx="1">
                  <c:v>987.3877773182978</c:v>
                </c:pt>
              </c:numCache>
            </c:numRef>
          </c:xVal>
          <c:yVal>
            <c:numRef>
              <c:f>Sheet1!$B$175:$B$176</c:f>
              <c:numCache>
                <c:formatCode>General</c:formatCode>
                <c:ptCount val="2"/>
                <c:pt idx="0">
                  <c:v>0.568846986684878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087.625670420658</c:v>
                </c:pt>
              </c:numCache>
            </c:numRef>
          </c:xVal>
          <c:yVal>
            <c:numRef>
              <c:f>Sheet1!$B$179:$B$180</c:f>
              <c:numCache>
                <c:formatCode>General</c:formatCode>
                <c:ptCount val="2"/>
                <c:pt idx="0">
                  <c:v>0.495259118569878</c:v>
                </c:pt>
                <c:pt idx="1">
                  <c:v>0.49525911856987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087.625670420658</c:v>
                </c:pt>
                <c:pt idx="1">
                  <c:v>1087.625670420658</c:v>
                </c:pt>
              </c:numCache>
            </c:numRef>
          </c:xVal>
          <c:yVal>
            <c:numRef>
              <c:f>Sheet1!$B$183:$B$184</c:f>
              <c:numCache>
                <c:formatCode>General</c:formatCode>
                <c:ptCount val="2"/>
                <c:pt idx="0">
                  <c:v>0.4952591185698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087.7303</c:v>
                </c:pt>
                <c:pt idx="1">
                  <c:v>1101.7896</c:v>
                </c:pt>
                <c:pt idx="2">
                  <c:v>1099.7323</c:v>
                </c:pt>
                <c:pt idx="3">
                  <c:v>1112.4057</c:v>
                </c:pt>
                <c:pt idx="4">
                  <c:v>1106.8602</c:v>
                </c:pt>
                <c:pt idx="5">
                  <c:v>1083.8969</c:v>
                </c:pt>
                <c:pt idx="6">
                  <c:v>1012.7261</c:v>
                </c:pt>
                <c:pt idx="7">
                  <c:v>1067.4884</c:v>
                </c:pt>
                <c:pt idx="8">
                  <c:v>1132.471</c:v>
                </c:pt>
                <c:pt idx="9">
                  <c:v>1076.0527</c:v>
                </c:pt>
                <c:pt idx="10">
                  <c:v>1119.1227</c:v>
                </c:pt>
                <c:pt idx="11">
                  <c:v>936.6768</c:v>
                </c:pt>
                <c:pt idx="12">
                  <c:v>985.5005</c:v>
                </c:pt>
                <c:pt idx="13">
                  <c:v>1065.4793</c:v>
                </c:pt>
                <c:pt idx="14">
                  <c:v>1053.8</c:v>
                </c:pt>
                <c:pt idx="15">
                  <c:v>1100.5748</c:v>
                </c:pt>
                <c:pt idx="16">
                  <c:v>1137.249</c:v>
                </c:pt>
                <c:pt idx="17">
                  <c:v>1127.6226</c:v>
                </c:pt>
                <c:pt idx="18">
                  <c:v>1187.8687</c:v>
                </c:pt>
                <c:pt idx="19">
                  <c:v>1236.7186</c:v>
                </c:pt>
                <c:pt idx="20">
                  <c:v>1210.9456</c:v>
                </c:pt>
                <c:pt idx="21">
                  <c:v>1104.3112</c:v>
                </c:pt>
                <c:pt idx="22">
                  <c:v>1146.7308</c:v>
                </c:pt>
                <c:pt idx="23">
                  <c:v>1097.0309</c:v>
                </c:pt>
                <c:pt idx="24">
                  <c:v>1102.6218</c:v>
                </c:pt>
                <c:pt idx="25">
                  <c:v>1063.1881</c:v>
                </c:pt>
                <c:pt idx="26">
                  <c:v>1125.6429</c:v>
                </c:pt>
                <c:pt idx="27">
                  <c:v>1130.2835</c:v>
                </c:pt>
                <c:pt idx="28">
                  <c:v>1056.8879</c:v>
                </c:pt>
                <c:pt idx="29">
                  <c:v>1047.1518</c:v>
                </c:pt>
                <c:pt idx="30">
                  <c:v>1029.4605</c:v>
                </c:pt>
                <c:pt idx="31">
                  <c:v>1039.8374</c:v>
                </c:pt>
                <c:pt idx="32">
                  <c:v>1013.3619</c:v>
                </c:pt>
                <c:pt idx="33">
                  <c:v>1035.7604</c:v>
                </c:pt>
                <c:pt idx="34">
                  <c:v>1049.2737</c:v>
                </c:pt>
                <c:pt idx="35">
                  <c:v>1066.6201</c:v>
                </c:pt>
                <c:pt idx="36">
                  <c:v>1056.4545</c:v>
                </c:pt>
                <c:pt idx="37">
                  <c:v>1132.7864</c:v>
                </c:pt>
                <c:pt idx="38">
                  <c:v>1149.3152</c:v>
                </c:pt>
                <c:pt idx="39">
                  <c:v>1076.5406</c:v>
                </c:pt>
                <c:pt idx="40">
                  <c:v>1126.8541</c:v>
                </c:pt>
                <c:pt idx="41">
                  <c:v>1211.5608</c:v>
                </c:pt>
                <c:pt idx="42">
                  <c:v>1218.1977</c:v>
                </c:pt>
                <c:pt idx="43">
                  <c:v>1217.1282</c:v>
                </c:pt>
                <c:pt idx="44">
                  <c:v>1110.1561</c:v>
                </c:pt>
                <c:pt idx="45">
                  <c:v>1097.1025</c:v>
                </c:pt>
                <c:pt idx="46">
                  <c:v>1100.1712</c:v>
                </c:pt>
                <c:pt idx="47">
                  <c:v>1073.4061</c:v>
                </c:pt>
                <c:pt idx="48">
                  <c:v>1067.2087</c:v>
                </c:pt>
                <c:pt idx="49">
                  <c:v>1081.6447</c:v>
                </c:pt>
                <c:pt idx="50">
                  <c:v>983.0792</c:v>
                </c:pt>
                <c:pt idx="51">
                  <c:v>954.9542</c:v>
                </c:pt>
                <c:pt idx="52">
                  <c:v>987.3877773182978</c:v>
                </c:pt>
                <c:pt idx="53">
                  <c:v>908.1471611128071</c:v>
                </c:pt>
                <c:pt idx="54">
                  <c:v>1087.625670420658</c:v>
                </c:pt>
              </c:numCache>
            </c:numRef>
          </c:xVal>
          <c:yVal>
            <c:numRef>
              <c:f>Sheet1!$B$187:$B$241</c:f>
              <c:numCache>
                <c:formatCode>General</c:formatCode>
                <c:ptCount val="55"/>
                <c:pt idx="0">
                  <c:v>0.49518230662334517</c:v>
                </c:pt>
                <c:pt idx="1">
                  <c:v>0.48486092134509784</c:v>
                </c:pt>
                <c:pt idx="2">
                  <c:v>0.4863712515843658</c:v>
                </c:pt>
                <c:pt idx="3">
                  <c:v>0.47706730016535204</c:v>
                </c:pt>
                <c:pt idx="4">
                  <c:v>0.48113843045352567</c:v>
                </c:pt>
                <c:pt idx="5">
                  <c:v>0.4979965291184646</c:v>
                </c:pt>
                <c:pt idx="6">
                  <c:v>0.5502453073194475</c:v>
                </c:pt>
                <c:pt idx="7">
                  <c:v>0.5100425378342698</c:v>
                </c:pt>
                <c:pt idx="8">
                  <c:v>0.46233671670645904</c:v>
                </c:pt>
                <c:pt idx="9">
                  <c:v>0.5037552091665202</c:v>
                </c:pt>
                <c:pt idx="10">
                  <c:v>0.4721361339683162</c:v>
                </c:pt>
                <c:pt idx="11">
                  <c:v>0.6060755496103872</c:v>
                </c:pt>
                <c:pt idx="12">
                  <c:v>0.5702324977934717</c:v>
                </c:pt>
                <c:pt idx="13">
                  <c:v>0.5115174828999933</c:v>
                </c:pt>
                <c:pt idx="14">
                  <c:v>0.5200916334679614</c:v>
                </c:pt>
                <c:pt idx="15">
                  <c:v>0.48575274517957134</c:v>
                </c:pt>
                <c:pt idx="16">
                  <c:v>0.45882903290573884</c:v>
                </c:pt>
                <c:pt idx="17">
                  <c:v>0.46589608341625643</c:v>
                </c:pt>
                <c:pt idx="18">
                  <c:v>0.4216674796015706</c:v>
                </c:pt>
                <c:pt idx="19">
                  <c:v>0.3858051935201974</c:v>
                </c:pt>
                <c:pt idx="20">
                  <c:v>0.4047259835151663</c:v>
                </c:pt>
                <c:pt idx="21">
                  <c:v>0.4830097335108793</c:v>
                </c:pt>
                <c:pt idx="22">
                  <c:v>0.4518681379158541</c:v>
                </c:pt>
                <c:pt idx="23">
                  <c:v>0.48835443639375575</c:v>
                </c:pt>
                <c:pt idx="24">
                  <c:v>0.4842499765022852</c:v>
                </c:pt>
                <c:pt idx="25">
                  <c:v>0.5131995266681411</c:v>
                </c:pt>
                <c:pt idx="26">
                  <c:v>0.46734944499438225</c:v>
                </c:pt>
                <c:pt idx="27">
                  <c:v>0.4639426309622303</c:v>
                </c:pt>
                <c:pt idx="28">
                  <c:v>0.5178247065512088</c:v>
                </c:pt>
                <c:pt idx="29">
                  <c:v>0.5249722913674899</c:v>
                </c:pt>
                <c:pt idx="30">
                  <c:v>0.5379600449094911</c:v>
                </c:pt>
                <c:pt idx="31">
                  <c:v>0.5303420281594506</c:v>
                </c:pt>
                <c:pt idx="32">
                  <c:v>0.5497785460468444</c:v>
                </c:pt>
                <c:pt idx="33">
                  <c:v>0.5333350852660929</c:v>
                </c:pt>
                <c:pt idx="34">
                  <c:v>0.523414536186086</c:v>
                </c:pt>
                <c:pt idx="35">
                  <c:v>0.5106799848506292</c:v>
                </c:pt>
                <c:pt idx="36">
                  <c:v>0.518142879460215</c:v>
                </c:pt>
                <c:pt idx="37">
                  <c:v>0.4621051714007355</c:v>
                </c:pt>
                <c:pt idx="38">
                  <c:v>0.44997084657751574</c:v>
                </c:pt>
                <c:pt idx="39">
                  <c:v>0.5033970260509129</c:v>
                </c:pt>
                <c:pt idx="40">
                  <c:v>0.4664602640359411</c:v>
                </c:pt>
                <c:pt idx="41">
                  <c:v>0.40427434536652607</c:v>
                </c:pt>
                <c:pt idx="42">
                  <c:v>0.3994019831612101</c:v>
                </c:pt>
                <c:pt idx="43">
                  <c:v>0.4001871375824888</c:v>
                </c:pt>
                <c:pt idx="44">
                  <c:v>0.4787188040326815</c:v>
                </c:pt>
                <c:pt idx="45">
                  <c:v>0.4883018725260011</c:v>
                </c:pt>
                <c:pt idx="46">
                  <c:v>0.48604904094808776</c:v>
                </c:pt>
                <c:pt idx="47">
                  <c:v>0.5056981635296399</c:v>
                </c:pt>
                <c:pt idx="48">
                  <c:v>0.5102478746193392</c:v>
                </c:pt>
                <c:pt idx="49">
                  <c:v>0.4996499417295951</c:v>
                </c:pt>
                <c:pt idx="50">
                  <c:v>0.5720100521648999</c:v>
                </c:pt>
                <c:pt idx="51">
                  <c:v>0.5926575211676741</c:v>
                </c:pt>
                <c:pt idx="52">
                  <c:v>0.5688469866848782</c:v>
                </c:pt>
                <c:pt idx="53">
                  <c:v>0.6270200770622506</c:v>
                </c:pt>
                <c:pt idx="54">
                  <c:v>0.495259118569877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84.0"/>
          <c:min val="604.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58365758754863"/>
          <c:min val="0.272211720226843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31</c:f>
              <c:numCache>
                <c:formatCode>General</c:formatCode>
                <c:ptCount val="30"/>
                <c:pt idx="0">
                  <c:v>4.509131382978723</c:v>
                </c:pt>
                <c:pt idx="1">
                  <c:v>0.0</c:v>
                </c:pt>
                <c:pt idx="2">
                  <c:v>0.0</c:v>
                </c:pt>
                <c:pt idx="3">
                  <c:v>0.0</c:v>
                </c:pt>
                <c:pt idx="4">
                  <c:v>4.640181683168317</c:v>
                </c:pt>
                <c:pt idx="5">
                  <c:v>0.0</c:v>
                </c:pt>
                <c:pt idx="6">
                  <c:v>3.2409853174603174</c:v>
                </c:pt>
                <c:pt idx="7">
                  <c:v>10.868049333333333</c:v>
                </c:pt>
                <c:pt idx="8">
                  <c:v>0.0</c:v>
                </c:pt>
                <c:pt idx="9">
                  <c:v>0.0</c:v>
                </c:pt>
                <c:pt idx="10">
                  <c:v>5.409444382022472</c:v>
                </c:pt>
                <c:pt idx="11">
                  <c:v>65.44181999999999</c:v>
                </c:pt>
                <c:pt idx="12">
                  <c:v>0.0</c:v>
                </c:pt>
                <c:pt idx="13">
                  <c:v>0.0</c:v>
                </c:pt>
                <c:pt idx="14">
                  <c:v>0.0</c:v>
                </c:pt>
                <c:pt idx="15">
                  <c:v>12.460789743589743</c:v>
                </c:pt>
                <c:pt idx="16">
                  <c:v>0.0</c:v>
                </c:pt>
                <c:pt idx="17">
                  <c:v>0.0</c:v>
                </c:pt>
                <c:pt idx="18">
                  <c:v>97.15924</c:v>
                </c:pt>
                <c:pt idx="19">
                  <c:v>0.0</c:v>
                </c:pt>
                <c:pt idx="20">
                  <c:v>14.88040759493671</c:v>
                </c:pt>
                <c:pt idx="21">
                  <c:v>113.81406999999999</c:v>
                </c:pt>
                <c:pt idx="22">
                  <c:v>39.05135387488328</c:v>
                </c:pt>
                <c:pt idx="23">
                  <c:v>356.04626666666667</c:v>
                </c:pt>
                <c:pt idx="24">
                  <c:v>0.0</c:v>
                </c:pt>
                <c:pt idx="25">
                  <c:v>0.0</c:v>
                </c:pt>
                <c:pt idx="26">
                  <c:v>0.0</c:v>
                </c:pt>
                <c:pt idx="27">
                  <c:v>0.0</c:v>
                </c:pt>
                <c:pt idx="28">
                  <c:v>0.0</c:v>
                </c:pt>
                <c:pt idx="29">
                  <c:v>0.0</c:v>
                </c:pt>
              </c:numCache>
            </c:numRef>
          </c:xVal>
          <c:yVal>
            <c:numRef>
              <c:f>Sheet1!$B$2:$B$31</c:f>
              <c:numCache>
                <c:formatCode>General</c:formatCode>
                <c:ptCount val="30"/>
                <c:pt idx="0">
                  <c:v>0.6310873915943963</c:v>
                </c:pt>
                <c:pt idx="1">
                  <c:v>0.49480369515011546</c:v>
                </c:pt>
                <c:pt idx="2">
                  <c:v>0.4162981680353759</c:v>
                </c:pt>
                <c:pt idx="3">
                  <c:v>0.37242955064737243</c:v>
                </c:pt>
                <c:pt idx="4">
                  <c:v>0.34026465028355385</c:v>
                </c:pt>
                <c:pt idx="5">
                  <c:v>0.3561643835616438</c:v>
                </c:pt>
                <c:pt idx="6">
                  <c:v>0.5724431818181818</c:v>
                </c:pt>
                <c:pt idx="7">
                  <c:v>0.6262866191607285</c:v>
                </c:pt>
                <c:pt idx="8">
                  <c:v>0.6186213070725156</c:v>
                </c:pt>
                <c:pt idx="9">
                  <c:v>0.7145539906103286</c:v>
                </c:pt>
                <c:pt idx="10">
                  <c:v>0.5053929121725732</c:v>
                </c:pt>
                <c:pt idx="11">
                  <c:v>0.51985559566787</c:v>
                </c:pt>
                <c:pt idx="12">
                  <c:v>0.48883374689826303</c:v>
                </c:pt>
                <c:pt idx="13">
                  <c:v>0.5709281961471103</c:v>
                </c:pt>
                <c:pt idx="14">
                  <c:v>0.6194852941176471</c:v>
                </c:pt>
                <c:pt idx="15">
                  <c:v>0.5562218890554723</c:v>
                </c:pt>
                <c:pt idx="16">
                  <c:v>0.626808100289296</c:v>
                </c:pt>
                <c:pt idx="17">
                  <c:v>0.505626697710516</c:v>
                </c:pt>
                <c:pt idx="18">
                  <c:v>0.55</c:v>
                </c:pt>
                <c:pt idx="19">
                  <c:v>0.5730633802816901</c:v>
                </c:pt>
                <c:pt idx="20">
                  <c:v>0.4494264859228363</c:v>
                </c:pt>
                <c:pt idx="21">
                  <c:v>0.4260204081632653</c:v>
                </c:pt>
                <c:pt idx="22">
                  <c:v>0.36959370904325034</c:v>
                </c:pt>
                <c:pt idx="23">
                  <c:v>0.4929143561306223</c:v>
                </c:pt>
                <c:pt idx="24">
                  <c:v>0.4829581993569132</c:v>
                </c:pt>
                <c:pt idx="25">
                  <c:v>0.6223132036847492</c:v>
                </c:pt>
                <c:pt idx="26">
                  <c:v>0.3778538812785388</c:v>
                </c:pt>
                <c:pt idx="27">
                  <c:v>0.5901981230448383</c:v>
                </c:pt>
                <c:pt idx="28">
                  <c:v>0.40233236151603496</c:v>
                </c:pt>
                <c:pt idx="29">
                  <c:v>0.4198218262806236</c:v>
                </c:pt>
              </c:numCache>
            </c:numRef>
          </c:yVal>
          <c:smooth val="0"/>
          <c:extLst>
            <c:ext xmlns:c16="http://schemas.microsoft.com/office/drawing/2014/chart" uri="{C3380CC4-5D6E-409C-BE32-E72D297353CC}">
              <c16:uniqueId val="{00000000-096C-4121-9522-6AB7243CCAAE}"/>
            </c:ext>
          </c:extLst>
        </c:ser>
        <c:ser>
          <c:idx val="1"/>
          <c:order val="1"/>
          <c:tx>
            <c:strRef>
              <c:f>Sheet1!$B$3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34:$A$36</c:f>
              <c:numCache>
                <c:formatCode>General</c:formatCode>
                <c:ptCount val="3"/>
                <c:pt idx="0">
                  <c:v>10.95901188118812</c:v>
                </c:pt>
                <c:pt idx="1">
                  <c:v>11.531161255411254</c:v>
                </c:pt>
                <c:pt idx="2">
                  <c:v>14.778502816901408</c:v>
                </c:pt>
              </c:numCache>
            </c:numRef>
          </c:xVal>
          <c:yVal>
            <c:numRef>
              <c:f>Sheet1!$B$34:$B$36</c:f>
              <c:numCache>
                <c:formatCode>General</c:formatCode>
                <c:ptCount val="3"/>
                <c:pt idx="0">
                  <c:v>0.4452473596442468</c:v>
                </c:pt>
                <c:pt idx="1">
                  <c:v>0.5502156500308072</c:v>
                </c:pt>
                <c:pt idx="2">
                  <c:v>0.588855421686747</c:v>
                </c:pt>
              </c:numCache>
            </c:numRef>
          </c:yVal>
          <c:smooth val="0"/>
          <c:extLst>
            <c:ext xmlns:c16="http://schemas.microsoft.com/office/drawing/2014/chart" uri="{C3380CC4-5D6E-409C-BE32-E72D297353CC}">
              <c16:uniqueId val="{00000002-096C-4121-9522-6AB7243CCAAE}"/>
            </c:ext>
          </c:extLst>
        </c:ser>
        <c:ser>
          <c:idx val="2"/>
          <c:order val="2"/>
          <c:tx>
            <c:strRef>
              <c:f>Sheet1!$B$3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39:$A$40</c:f>
              <c:numCache>
                <c:formatCode>General</c:formatCode>
                <c:ptCount val="2"/>
                <c:pt idx="0">
                  <c:v>0</c:v>
                </c:pt>
                <c:pt idx="1">
                  <c:v>14.668911774578648</c:v>
                </c:pt>
              </c:numCache>
            </c:numRef>
          </c:xVal>
          <c:yVal>
            <c:numRef>
              <c:f>Sheet1!$B$39:$B$40</c:f>
              <c:numCache>
                <c:formatCode>General</c:formatCode>
                <c:ptCount val="2"/>
                <c:pt idx="0">
                  <c:v>0.592858934417033</c:v>
                </c:pt>
                <c:pt idx="1">
                  <c:v>0.592858934417033</c:v>
                </c:pt>
              </c:numCache>
            </c:numRef>
          </c:yVal>
          <c:smooth val="0"/>
          <c:extLst>
            <c:ext xmlns:c16="http://schemas.microsoft.com/office/drawing/2014/chart" uri="{C3380CC4-5D6E-409C-BE32-E72D297353CC}">
              <c16:uniqueId val="{00000005-096C-4121-9522-6AB7243CCAAE}"/>
            </c:ext>
          </c:extLst>
        </c:ser>
        <c:ser>
          <c:idx val="3"/>
          <c:order val="3"/>
          <c:tx>
            <c:strRef>
              <c:f>Sheet1!$B$4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3:$A$44</c:f>
              <c:numCache>
                <c:formatCode>General</c:formatCode>
                <c:ptCount val="2"/>
                <c:pt idx="0">
                  <c:v>14.668911774578648</c:v>
                </c:pt>
                <c:pt idx="1">
                  <c:v>14.668911774578648</c:v>
                </c:pt>
              </c:numCache>
            </c:numRef>
          </c:xVal>
          <c:yVal>
            <c:numRef>
              <c:f>Sheet1!$B$43:$B$44</c:f>
              <c:numCache>
                <c:formatCode>General</c:formatCode>
                <c:ptCount val="2"/>
                <c:pt idx="0">
                  <c:v>0.59285893441703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4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47:$A$48</c:f>
              <c:numCache>
                <c:formatCode>General</c:formatCode>
                <c:ptCount val="2"/>
                <c:pt idx="0">
                  <c:v>0</c:v>
                </c:pt>
                <c:pt idx="1">
                  <c:v>14.530045654144303</c:v>
                </c:pt>
              </c:numCache>
            </c:numRef>
          </c:xVal>
          <c:yVal>
            <c:numRef>
              <c:f>Sheet1!$B$47:$B$48</c:f>
              <c:numCache>
                <c:formatCode>General</c:formatCode>
                <c:ptCount val="2"/>
                <c:pt idx="0">
                  <c:v>0.588855421686747</c:v>
                </c:pt>
                <c:pt idx="1">
                  <c:v>0.588855421686747</c:v>
                </c:pt>
              </c:numCache>
            </c:numRef>
          </c:yVal>
          <c:smooth val="0"/>
          <c:extLst>
            <c:ext xmlns:c16="http://schemas.microsoft.com/office/drawing/2014/chart" uri="{C3380CC4-5D6E-409C-BE32-E72D297353CC}">
              <c16:uniqueId val="{0000000D-096C-4121-9522-6AB7243CCAAE}"/>
            </c:ext>
          </c:extLst>
        </c:ser>
        <c:ser>
          <c:idx val="5"/>
          <c:order val="5"/>
          <c:tx>
            <c:strRef>
              <c:f>Sheet1!$B$5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1:$A$52</c:f>
              <c:numCache>
                <c:formatCode>General</c:formatCode>
                <c:ptCount val="2"/>
                <c:pt idx="0">
                  <c:v>14.530045654144303</c:v>
                </c:pt>
                <c:pt idx="1">
                  <c:v>14.530045654144303</c:v>
                </c:pt>
              </c:numCache>
            </c:numRef>
          </c:xVal>
          <c:yVal>
            <c:numRef>
              <c:f>Sheet1!$B$51:$B$52</c:f>
              <c:numCache>
                <c:formatCode>General</c:formatCode>
                <c:ptCount val="2"/>
                <c:pt idx="0">
                  <c:v>0.5888554216867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5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55:$A$56</c:f>
              <c:numCache>
                <c:formatCode>General</c:formatCode>
                <c:ptCount val="2"/>
                <c:pt idx="0">
                  <c:v>0</c:v>
                </c:pt>
                <c:pt idx="1">
                  <c:v>8.666934631779561</c:v>
                </c:pt>
              </c:numCache>
            </c:numRef>
          </c:xVal>
          <c:yVal>
            <c:numRef>
              <c:f>Sheet1!$B$55:$B$56</c:f>
              <c:numCache>
                <c:formatCode>General</c:formatCode>
                <c:ptCount val="2"/>
                <c:pt idx="0">
                  <c:v>0.4198218262806236</c:v>
                </c:pt>
                <c:pt idx="1">
                  <c:v>0.4198218262806236</c:v>
                </c:pt>
              </c:numCache>
            </c:numRef>
          </c:yVal>
          <c:smooth val="0"/>
          <c:extLst>
            <c:ext xmlns:c16="http://schemas.microsoft.com/office/drawing/2014/chart" uri="{C3380CC4-5D6E-409C-BE32-E72D297353CC}">
              <c16:uniqueId val="{00000015-096C-4121-9522-6AB7243CCAAE}"/>
            </c:ext>
          </c:extLst>
        </c:ser>
        <c:ser>
          <c:idx val="7"/>
          <c:order val="7"/>
          <c:tx>
            <c:strRef>
              <c:f>Sheet1!$B$5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9:$A$60</c:f>
              <c:numCache>
                <c:formatCode>General</c:formatCode>
                <c:ptCount val="2"/>
                <c:pt idx="0">
                  <c:v>8.666934631779561</c:v>
                </c:pt>
                <c:pt idx="1">
                  <c:v>8.666934631779561</c:v>
                </c:pt>
              </c:numCache>
            </c:numRef>
          </c:xVal>
          <c:yVal>
            <c:numRef>
              <c:f>Sheet1!$B$59:$B$60</c:f>
              <c:numCache>
                <c:formatCode>General</c:formatCode>
                <c:ptCount val="2"/>
                <c:pt idx="0">
                  <c:v>0.41982182628062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6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63:$A$68</c:f>
              <c:numCache>
                <c:formatCode>General</c:formatCode>
                <c:ptCount val="6"/>
                <c:pt idx="0">
                  <c:v>10.95901188118812</c:v>
                </c:pt>
                <c:pt idx="1">
                  <c:v>11.531161255411254</c:v>
                </c:pt>
                <c:pt idx="2">
                  <c:v>14.778502816901408</c:v>
                </c:pt>
                <c:pt idx="3">
                  <c:v>14.530045654144303</c:v>
                </c:pt>
                <c:pt idx="4">
                  <c:v>14.668911774578648</c:v>
                </c:pt>
                <c:pt idx="5">
                  <c:v>8.666934631779561</c:v>
                </c:pt>
              </c:numCache>
            </c:numRef>
          </c:xVal>
          <c:yVal>
            <c:numRef>
              <c:f>Sheet1!$B$63:$B$68</c:f>
              <c:numCache>
                <c:formatCode>General</c:formatCode>
                <c:ptCount val="6"/>
                <c:pt idx="0">
                  <c:v>0.48590245428480605</c:v>
                </c:pt>
                <c:pt idx="1">
                  <c:v>0.5023975309540678</c:v>
                </c:pt>
                <c:pt idx="2">
                  <c:v>0.5960184461229275</c:v>
                </c:pt>
                <c:pt idx="3">
                  <c:v>0.588855421686747</c:v>
                </c:pt>
                <c:pt idx="4">
                  <c:v>0.592858934417033</c:v>
                </c:pt>
                <c:pt idx="5">
                  <c:v>0.41982182628062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2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opperto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574647887323944"/>
          <c:min val="0.272211720226843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5</c:f>
              <c:numCache>
                <c:formatCode>General</c:formatCode>
                <c:ptCount val="24"/>
                <c:pt idx="0">
                  <c:v>847.7167</c:v>
                </c:pt>
                <c:pt idx="1">
                  <c:v>895.2812</c:v>
                </c:pt>
                <c:pt idx="2">
                  <c:v>912.5615</c:v>
                </c:pt>
                <c:pt idx="3">
                  <c:v>919.4438</c:v>
                </c:pt>
                <c:pt idx="4">
                  <c:v>937.3167</c:v>
                </c:pt>
                <c:pt idx="5">
                  <c:v>897.7083</c:v>
                </c:pt>
                <c:pt idx="6">
                  <c:v>816.7283</c:v>
                </c:pt>
                <c:pt idx="7">
                  <c:v>815.1037</c:v>
                </c:pt>
                <c:pt idx="8">
                  <c:v>869.9696</c:v>
                </c:pt>
                <c:pt idx="9">
                  <c:v>869.979</c:v>
                </c:pt>
                <c:pt idx="10">
                  <c:v>962.8811</c:v>
                </c:pt>
                <c:pt idx="11">
                  <c:v>981.6273</c:v>
                </c:pt>
                <c:pt idx="12">
                  <c:v>913.2234</c:v>
                </c:pt>
                <c:pt idx="13">
                  <c:v>894.2546</c:v>
                </c:pt>
                <c:pt idx="14">
                  <c:v>1031.4896</c:v>
                </c:pt>
                <c:pt idx="15">
                  <c:v>971.9416</c:v>
                </c:pt>
                <c:pt idx="16">
                  <c:v>947.2208</c:v>
                </c:pt>
                <c:pt idx="17">
                  <c:v>987.9816</c:v>
                </c:pt>
                <c:pt idx="18">
                  <c:v>971.5924</c:v>
                </c:pt>
                <c:pt idx="19">
                  <c:v>1005.7588</c:v>
                </c:pt>
                <c:pt idx="20">
                  <c:v>1175.5522</c:v>
                </c:pt>
                <c:pt idx="21">
                  <c:v>1138.1407</c:v>
                </c:pt>
                <c:pt idx="22">
                  <c:v>1158.5248</c:v>
                </c:pt>
                <c:pt idx="23">
                  <c:v>1068.1388</c:v>
                </c:pt>
              </c:numCache>
            </c:numRef>
          </c:xVal>
          <c:yVal>
            <c:numRef>
              <c:f>Sheet1!$B$2:$B$25</c:f>
              <c:numCache>
                <c:formatCode>General</c:formatCode>
                <c:ptCount val="24"/>
                <c:pt idx="0">
                  <c:v>0.6310873915943963</c:v>
                </c:pt>
                <c:pt idx="1">
                  <c:v>0.49480369515011546</c:v>
                </c:pt>
                <c:pt idx="2">
                  <c:v>0.4162981680353759</c:v>
                </c:pt>
                <c:pt idx="3">
                  <c:v>0.37242955064737243</c:v>
                </c:pt>
                <c:pt idx="4">
                  <c:v>0.34026465028355385</c:v>
                </c:pt>
                <c:pt idx="5">
                  <c:v>0.3561643835616438</c:v>
                </c:pt>
                <c:pt idx="6">
                  <c:v>0.5724431818181818</c:v>
                </c:pt>
                <c:pt idx="7">
                  <c:v>0.6262866191607285</c:v>
                </c:pt>
                <c:pt idx="8">
                  <c:v>0.6186213070725156</c:v>
                </c:pt>
                <c:pt idx="9">
                  <c:v>0.7145539906103286</c:v>
                </c:pt>
                <c:pt idx="10">
                  <c:v>0.5053929121725732</c:v>
                </c:pt>
                <c:pt idx="11">
                  <c:v>0.51985559566787</c:v>
                </c:pt>
                <c:pt idx="12">
                  <c:v>0.48883374689826303</c:v>
                </c:pt>
                <c:pt idx="13">
                  <c:v>0.5709281961471103</c:v>
                </c:pt>
                <c:pt idx="14">
                  <c:v>0.6194852941176471</c:v>
                </c:pt>
                <c:pt idx="15">
                  <c:v>0.5562218890554723</c:v>
                </c:pt>
                <c:pt idx="16">
                  <c:v>0.626808100289296</c:v>
                </c:pt>
                <c:pt idx="17">
                  <c:v>0.505626697710516</c:v>
                </c:pt>
                <c:pt idx="18">
                  <c:v>0.55</c:v>
                </c:pt>
                <c:pt idx="19">
                  <c:v>0.5730633802816901</c:v>
                </c:pt>
                <c:pt idx="20">
                  <c:v>0.4494264859228363</c:v>
                </c:pt>
                <c:pt idx="21">
                  <c:v>0.4260204081632653</c:v>
                </c:pt>
                <c:pt idx="22">
                  <c:v>0.36959370904325034</c:v>
                </c:pt>
                <c:pt idx="23">
                  <c:v>0.4929143561306223</c:v>
                </c:pt>
              </c:numCache>
            </c:numRef>
          </c:yVal>
          <c:smooth val="0"/>
          <c:extLst>
            <c:ext xmlns:c16="http://schemas.microsoft.com/office/drawing/2014/chart" uri="{C3380CC4-5D6E-409C-BE32-E72D297353CC}">
              <c16:uniqueId val="{00000000-F32D-48B7-BC20-E66FC6253BAD}"/>
            </c:ext>
          </c:extLst>
        </c:ser>
        <c:ser>
          <c:idx val="1"/>
          <c:order val="1"/>
          <c:tx>
            <c:strRef>
              <c:f>Sheet1!$B$2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8:$A$36</c:f>
              <c:numCache>
                <c:formatCode>General</c:formatCode>
                <c:ptCount val="9"/>
                <c:pt idx="0">
                  <c:v>1101.7896</c:v>
                </c:pt>
                <c:pt idx="1">
                  <c:v>1106.8602</c:v>
                </c:pt>
                <c:pt idx="2">
                  <c:v>936.6768</c:v>
                </c:pt>
                <c:pt idx="3">
                  <c:v>1065.4793</c:v>
                </c:pt>
                <c:pt idx="4">
                  <c:v>1210.9456</c:v>
                </c:pt>
                <c:pt idx="5">
                  <c:v>1049.2737</c:v>
                </c:pt>
                <c:pt idx="6">
                  <c:v>1066.6201</c:v>
                </c:pt>
                <c:pt idx="7">
                  <c:v>1149.3152</c:v>
                </c:pt>
                <c:pt idx="8">
                  <c:v>1126.8541</c:v>
                </c:pt>
              </c:numCache>
            </c:numRef>
          </c:xVal>
          <c:yVal>
            <c:numRef>
              <c:f>Sheet1!$B$28:$B$36</c:f>
              <c:numCache>
                <c:formatCode>General</c:formatCode>
                <c:ptCount val="9"/>
                <c:pt idx="0">
                  <c:v>0.4829581993569132</c:v>
                </c:pt>
                <c:pt idx="1">
                  <c:v>0.4452473596442468</c:v>
                </c:pt>
                <c:pt idx="2">
                  <c:v>0.6223132036847492</c:v>
                </c:pt>
                <c:pt idx="3">
                  <c:v>0.5502156500308072</c:v>
                </c:pt>
                <c:pt idx="4">
                  <c:v>0.3778538812785388</c:v>
                </c:pt>
                <c:pt idx="5">
                  <c:v>0.588855421686747</c:v>
                </c:pt>
                <c:pt idx="6">
                  <c:v>0.5901981230448383</c:v>
                </c:pt>
                <c:pt idx="7">
                  <c:v>0.40233236151603496</c:v>
                </c:pt>
                <c:pt idx="8">
                  <c:v>0.4198218262806236</c:v>
                </c:pt>
              </c:numCache>
            </c:numRef>
          </c:yVal>
          <c:smooth val="0"/>
          <c:extLst>
            <c:ext xmlns:c16="http://schemas.microsoft.com/office/drawing/2014/chart" uri="{C3380CC4-5D6E-409C-BE32-E72D297353CC}">
              <c16:uniqueId val="{00000002-F32D-48B7-BC20-E66FC6253BAD}"/>
            </c:ext>
          </c:extLst>
        </c:ser>
        <c:ser>
          <c:idx val="2"/>
          <c:order val="2"/>
          <c:tx>
            <c:strRef>
              <c:f>Sheet1!$B$38</c:f>
              <c:strCache>
                <c:ptCount val="1"/>
                <c:pt idx="0">
                  <c:v>Custom Linep3yQ</c:v>
                </c:pt>
              </c:strCache>
            </c:strRef>
          </c:tx>
          <c:spPr>
            <a:ln w="19050" cap="rnd">
              <a:solidFill>
                <a:srgbClr val="C00000"/>
              </a:solidFill>
              <a:prstDash val="sysDot"/>
              <a:round/>
            </a:ln>
            <a:effectLst/>
          </c:spPr>
          <c:marker>
            <c:symbol val="none"/>
          </c:marker>
          <c:xVal>
            <c:numRef>
              <c:f>Sheet1!$A$39:$A$40</c:f>
              <c:numCache>
                <c:formatCode>General</c:formatCode>
                <c:ptCount val="2"/>
                <c:pt idx="0">
                  <c:v>0</c:v>
                </c:pt>
                <c:pt idx="1">
                  <c:v>1003.080411126326</c:v>
                </c:pt>
              </c:numCache>
            </c:numRef>
          </c:xVal>
          <c:yVal>
            <c:numRef>
              <c:f>Sheet1!$B$39:$B$40</c:f>
              <c:numCache>
                <c:formatCode>General</c:formatCode>
                <c:ptCount val="2"/>
                <c:pt idx="0">
                  <c:v>0.592858934417033</c:v>
                </c:pt>
                <c:pt idx="1">
                  <c:v>0.592858934417033</c:v>
                </c:pt>
              </c:numCache>
            </c:numRef>
          </c:yVal>
          <c:smooth val="0"/>
          <c:extLst>
            <c:ext xmlns:c16="http://schemas.microsoft.com/office/drawing/2014/chart" uri="{C3380CC4-5D6E-409C-BE32-E72D297353CC}">
              <c16:uniqueId val="{00000003-F32D-48B7-BC20-E66FC6253BAD}"/>
            </c:ext>
          </c:extLst>
        </c:ser>
        <c:ser>
          <c:idx val="3"/>
          <c:order val="3"/>
          <c:tx>
            <c:strRef>
              <c:f>Sheet1!$B$4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3:$A$44</c:f>
              <c:numCache>
                <c:formatCode>General</c:formatCode>
                <c:ptCount val="2"/>
                <c:pt idx="0">
                  <c:v>1003.080411126326</c:v>
                </c:pt>
                <c:pt idx="1">
                  <c:v>1003.080411126326</c:v>
                </c:pt>
              </c:numCache>
            </c:numRef>
          </c:xVal>
          <c:yVal>
            <c:numRef>
              <c:f>Sheet1!$B$43:$B$44</c:f>
              <c:numCache>
                <c:formatCode>General</c:formatCode>
                <c:ptCount val="2"/>
                <c:pt idx="0">
                  <c:v>0.59285893441703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4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47:$A$48</c:f>
              <c:numCache>
                <c:formatCode>General</c:formatCode>
                <c:ptCount val="2"/>
                <c:pt idx="0">
                  <c:v>0</c:v>
                </c:pt>
                <c:pt idx="1">
                  <c:v>1006.7572407833943</c:v>
                </c:pt>
              </c:numCache>
            </c:numRef>
          </c:xVal>
          <c:yVal>
            <c:numRef>
              <c:f>Sheet1!$B$47:$B$48</c:f>
              <c:numCache>
                <c:formatCode>General</c:formatCode>
                <c:ptCount val="2"/>
                <c:pt idx="0">
                  <c:v>0.588855421686747</c:v>
                </c:pt>
                <c:pt idx="1">
                  <c:v>0.588855421686747</c:v>
                </c:pt>
              </c:numCache>
            </c:numRef>
          </c:yVal>
          <c:smooth val="0"/>
          <c:extLst>
            <c:ext xmlns:c16="http://schemas.microsoft.com/office/drawing/2014/chart" uri="{C3380CC4-5D6E-409C-BE32-E72D297353CC}">
              <c16:uniqueId val="{0000000A-F32D-48B7-BC20-E66FC6253BAD}"/>
            </c:ext>
          </c:extLst>
        </c:ser>
        <c:ser>
          <c:idx val="5"/>
          <c:order val="5"/>
          <c:tx>
            <c:strRef>
              <c:f>Sheet1!$B$5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1:$A$52</c:f>
              <c:numCache>
                <c:formatCode>General</c:formatCode>
                <c:ptCount val="2"/>
                <c:pt idx="0">
                  <c:v>1006.7572407833943</c:v>
                </c:pt>
                <c:pt idx="1">
                  <c:v>1006.7572407833943</c:v>
                </c:pt>
              </c:numCache>
            </c:numRef>
          </c:xVal>
          <c:yVal>
            <c:numRef>
              <c:f>Sheet1!$B$51:$B$52</c:f>
              <c:numCache>
                <c:formatCode>General</c:formatCode>
                <c:ptCount val="2"/>
                <c:pt idx="0">
                  <c:v>0.5888554216867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5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55:$A$56</c:f>
              <c:numCache>
                <c:formatCode>General</c:formatCode>
                <c:ptCount val="2"/>
                <c:pt idx="0">
                  <c:v>0</c:v>
                </c:pt>
                <c:pt idx="1">
                  <c:v>1161.9978453476056</c:v>
                </c:pt>
              </c:numCache>
            </c:numRef>
          </c:xVal>
          <c:yVal>
            <c:numRef>
              <c:f>Sheet1!$B$55:$B$56</c:f>
              <c:numCache>
                <c:formatCode>General</c:formatCode>
                <c:ptCount val="2"/>
                <c:pt idx="0">
                  <c:v>0.4198218262806236</c:v>
                </c:pt>
                <c:pt idx="1">
                  <c:v>0.4198218262806236</c:v>
                </c:pt>
              </c:numCache>
            </c:numRef>
          </c:yVal>
          <c:smooth val="0"/>
          <c:extLst>
            <c:ext xmlns:c16="http://schemas.microsoft.com/office/drawing/2014/chart" uri="{C3380CC4-5D6E-409C-BE32-E72D297353CC}">
              <c16:uniqueId val="{00000011-F32D-48B7-BC20-E66FC6253BAD}"/>
            </c:ext>
          </c:extLst>
        </c:ser>
        <c:ser>
          <c:idx val="7"/>
          <c:order val="7"/>
          <c:tx>
            <c:strRef>
              <c:f>Sheet1!$B$5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9:$A$60</c:f>
              <c:numCache>
                <c:formatCode>General</c:formatCode>
                <c:ptCount val="2"/>
                <c:pt idx="0">
                  <c:v>1161.9978453476056</c:v>
                </c:pt>
                <c:pt idx="1">
                  <c:v>1161.9978453476056</c:v>
                </c:pt>
              </c:numCache>
            </c:numRef>
          </c:xVal>
          <c:yVal>
            <c:numRef>
              <c:f>Sheet1!$B$59:$B$60</c:f>
              <c:numCache>
                <c:formatCode>General</c:formatCode>
                <c:ptCount val="2"/>
                <c:pt idx="0">
                  <c:v>0.41982182628062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6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63:$A$74</c:f>
              <c:numCache>
                <c:formatCode>General</c:formatCode>
                <c:ptCount val="12"/>
                <c:pt idx="0">
                  <c:v>1101.7896</c:v>
                </c:pt>
                <c:pt idx="1">
                  <c:v>1106.8602</c:v>
                </c:pt>
                <c:pt idx="2">
                  <c:v>936.6768</c:v>
                </c:pt>
                <c:pt idx="3">
                  <c:v>1065.4793</c:v>
                </c:pt>
                <c:pt idx="4">
                  <c:v>1210.9456</c:v>
                </c:pt>
                <c:pt idx="5">
                  <c:v>1049.2737</c:v>
                </c:pt>
                <c:pt idx="6">
                  <c:v>1066.6201</c:v>
                </c:pt>
                <c:pt idx="7">
                  <c:v>1149.3152</c:v>
                </c:pt>
                <c:pt idx="8">
                  <c:v>1126.8541</c:v>
                </c:pt>
                <c:pt idx="9">
                  <c:v>1006.7572407833943</c:v>
                </c:pt>
                <c:pt idx="10">
                  <c:v>1003.080411126326</c:v>
                </c:pt>
                <c:pt idx="11">
                  <c:v>1161.9978453476056</c:v>
                </c:pt>
              </c:numCache>
            </c:numRef>
          </c:xVal>
          <c:yVal>
            <c:numRef>
              <c:f>Sheet1!$B$63:$B$74</c:f>
              <c:numCache>
                <c:formatCode>General</c:formatCode>
                <c:ptCount val="12"/>
                <c:pt idx="0">
                  <c:v>0.48537952114253846</c:v>
                </c:pt>
                <c:pt idx="1">
                  <c:v>0.47985840280322023</c:v>
                </c:pt>
                <c:pt idx="2">
                  <c:v>0.6651624478447347</c:v>
                </c:pt>
                <c:pt idx="3">
                  <c:v>0.5249159592832202</c:v>
                </c:pt>
                <c:pt idx="4">
                  <c:v>0.3665251067839612</c:v>
                </c:pt>
                <c:pt idx="5">
                  <c:v>0.5425614125549538</c:v>
                </c:pt>
                <c:pt idx="6">
                  <c:v>0.5236738002090486</c:v>
                </c:pt>
                <c:pt idx="7">
                  <c:v>0.43363131348524053</c:v>
                </c:pt>
                <c:pt idx="8">
                  <c:v>0.4580880624165815</c:v>
                </c:pt>
                <c:pt idx="9">
                  <c:v>0.588855421686747</c:v>
                </c:pt>
                <c:pt idx="10">
                  <c:v>0.592858934417033</c:v>
                </c:pt>
                <c:pt idx="11">
                  <c:v>0.419821826280623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53.0"/>
          <c:min val="65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574647887323944"/>
          <c:min val="0.272211720226843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5332464191976003</c:v>
                </c:pt>
                <c:pt idx="1">
                  <c:v>0.5768742304939155</c:v>
                </c:pt>
                <c:pt idx="2">
                  <c:v>0.6199922829726308</c:v>
                </c:pt>
                <c:pt idx="3">
                  <c:v>0.6468570435247022</c:v>
                </c:pt>
                <c:pt idx="4">
                  <c:v>0.8478126968503937</c:v>
                </c:pt>
                <c:pt idx="5">
                  <c:v>0.8337478346456693</c:v>
                </c:pt>
                <c:pt idx="6">
                  <c:v>0.657720762536262</c:v>
                </c:pt>
                <c:pt idx="7">
                  <c:v>0.7578903195924039</c:v>
                </c:pt>
                <c:pt idx="8">
                  <c:v>0.7015559739815131</c:v>
                </c:pt>
                <c:pt idx="9">
                  <c:v>0.664044674678823</c:v>
                </c:pt>
                <c:pt idx="10">
                  <c:v>0.6236394488188977</c:v>
                </c:pt>
                <c:pt idx="11">
                  <c:v>0.6145361488904796</c:v>
                </c:pt>
                <c:pt idx="12">
                  <c:v>0.5962075270665063</c:v>
                </c:pt>
                <c:pt idx="13">
                  <c:v>0.6017407737076343</c:v>
                </c:pt>
                <c:pt idx="14">
                  <c:v>0.6979988976377953</c:v>
                </c:pt>
                <c:pt idx="15">
                  <c:v>0.8880563976377953</c:v>
                </c:pt>
                <c:pt idx="16">
                  <c:v>0.9334500873907615</c:v>
                </c:pt>
                <c:pt idx="17">
                  <c:v>0.8773127693354502</c:v>
                </c:pt>
                <c:pt idx="18">
                  <c:v>0.8800597067969791</c:v>
                </c:pt>
                <c:pt idx="19">
                  <c:v>0.7074816100958071</c:v>
                </c:pt>
                <c:pt idx="20">
                  <c:v>0.9377109009009008</c:v>
                </c:pt>
                <c:pt idx="21">
                  <c:v>0.8322890524306684</c:v>
                </c:pt>
                <c:pt idx="22">
                  <c:v>1.1076080829015542</c:v>
                </c:pt>
                <c:pt idx="23">
                  <c:v>1.3025001408230323</c:v>
                </c:pt>
                <c:pt idx="24">
                  <c:v>1.0211378277952246</c:v>
                </c:pt>
                <c:pt idx="25">
                  <c:v>0.8573900126957258</c:v>
                </c:pt>
                <c:pt idx="26">
                  <c:v>1.4730319430320187</c:v>
                </c:pt>
                <c:pt idx="27">
                  <c:v>0.9821014344080882</c:v>
                </c:pt>
                <c:pt idx="28">
                  <c:v>0.7697029921259843</c:v>
                </c:pt>
                <c:pt idx="29">
                  <c:v>0.87244199300374</c:v>
                </c:pt>
                <c:pt idx="30">
                  <c:v>0.8427327505971658</c:v>
                </c:pt>
                <c:pt idx="31">
                  <c:v>0.9328826927667702</c:v>
                </c:pt>
                <c:pt idx="32">
                  <c:v>0.7709476225332738</c:v>
                </c:pt>
                <c:pt idx="33">
                  <c:v>0.991491779396462</c:v>
                </c:pt>
                <c:pt idx="34">
                  <c:v>0.8722538622023649</c:v>
                </c:pt>
                <c:pt idx="35">
                  <c:v>0.7850340767246264</c:v>
                </c:pt>
                <c:pt idx="36">
                  <c:v>0.8420813924575217</c:v>
                </c:pt>
                <c:pt idx="37">
                  <c:v>0.7812514281303071</c:v>
                </c:pt>
                <c:pt idx="38">
                  <c:v>0.9923719976570197</c:v>
                </c:pt>
                <c:pt idx="39">
                  <c:v>0.8995008222993538</c:v>
                </c:pt>
                <c:pt idx="40">
                  <c:v>0.8853745669291339</c:v>
                </c:pt>
                <c:pt idx="41">
                  <c:v>0.8897183464566929</c:v>
                </c:pt>
                <c:pt idx="42">
                  <c:v>0.9152771755345598</c:v>
                </c:pt>
                <c:pt idx="43">
                  <c:v>0.9692939398503233</c:v>
                </c:pt>
                <c:pt idx="44">
                  <c:v>0.8322712449799197</c:v>
                </c:pt>
                <c:pt idx="45">
                  <c:v>0.8453866037765176</c:v>
                </c:pt>
                <c:pt idx="46">
                  <c:v>0.9165086839749328</c:v>
                </c:pt>
                <c:pt idx="47">
                  <c:v>0.778525292874976</c:v>
                </c:pt>
                <c:pt idx="48">
                  <c:v>0.9268460193281178</c:v>
                </c:pt>
                <c:pt idx="49">
                  <c:v>0.8296521813151735</c:v>
                </c:pt>
                <c:pt idx="50">
                  <c:v>0.7769580872703412</c:v>
                </c:pt>
                <c:pt idx="51">
                  <c:v>0.5374768278965129</c:v>
                </c:pt>
                <c:pt idx="52">
                  <c:v>0.7526167716535433</c:v>
                </c:pt>
                <c:pt idx="53">
                  <c:v>0.8270510236220473</c:v>
                </c:pt>
                <c:pt idx="54">
                  <c:v>0.7534936292054402</c:v>
                </c:pt>
                <c:pt idx="55">
                  <c:v>0.752164781675018</c:v>
                </c:pt>
                <c:pt idx="56">
                  <c:v>0.8599530708661417</c:v>
                </c:pt>
                <c:pt idx="57">
                  <c:v>1.028148622047244</c:v>
                </c:pt>
                <c:pt idx="58">
                  <c:v>0.8508603347280335</c:v>
                </c:pt>
                <c:pt idx="59">
                  <c:v>0.8727230971128609</c:v>
                </c:pt>
                <c:pt idx="60">
                  <c:v>0.6544479274611399</c:v>
                </c:pt>
                <c:pt idx="61">
                  <c:v>0.7989586367157242</c:v>
                </c:pt>
                <c:pt idx="62">
                  <c:v>0.8631720034995626</c:v>
                </c:pt>
                <c:pt idx="63">
                  <c:v>0.7996869291338583</c:v>
                </c:pt>
                <c:pt idx="64">
                  <c:v>0.8143474015748031</c:v>
                </c:pt>
                <c:pt idx="65">
                  <c:v>0.9229213530308494</c:v>
                </c:pt>
                <c:pt idx="66">
                  <c:v>0.9065219289363438</c:v>
                </c:pt>
                <c:pt idx="67">
                  <c:v>1.1173361888810376</c:v>
                </c:pt>
                <c:pt idx="68">
                  <c:v>1.0650228346456694</c:v>
                </c:pt>
                <c:pt idx="69">
                  <c:v>0.7329631233595801</c:v>
                </c:pt>
                <c:pt idx="70">
                  <c:v>1.4123678516361804</c:v>
                </c:pt>
                <c:pt idx="71">
                  <c:v>1.2478402815376286</c:v>
                </c:pt>
                <c:pt idx="72">
                  <c:v>1.1573472904122277</c:v>
                </c:pt>
                <c:pt idx="73">
                  <c:v>1.2917493752603082</c:v>
                </c:pt>
                <c:pt idx="74">
                  <c:v>2.3749177934252694</c:v>
                </c:pt>
                <c:pt idx="75">
                  <c:v>2.159522898281468</c:v>
                </c:pt>
                <c:pt idx="76">
                  <c:v>1.4893485833116715</c:v>
                </c:pt>
                <c:pt idx="77">
                  <c:v>1.4808217446270542</c:v>
                </c:pt>
                <c:pt idx="78">
                  <c:v>0.9031746478873238</c:v>
                </c:pt>
                <c:pt idx="79">
                  <c:v>1.8999988352745425</c:v>
                </c:pt>
                <c:pt idx="80">
                  <c:v>0.981352135306554</c:v>
                </c:pt>
                <c:pt idx="81">
                  <c:v>1.3105070590994181</c:v>
                </c:pt>
                <c:pt idx="82">
                  <c:v>1.4205723918575064</c:v>
                </c:pt>
                <c:pt idx="83">
                  <c:v>0.993042722083482</c:v>
                </c:pt>
                <c:pt idx="84">
                  <c:v>1.4033170882936508</c:v>
                </c:pt>
                <c:pt idx="85">
                  <c:v>1.705230495356037</c:v>
                </c:pt>
                <c:pt idx="86">
                  <c:v>0.8404104408352667</c:v>
                </c:pt>
                <c:pt idx="87">
                  <c:v>0.8564713385826771</c:v>
                </c:pt>
                <c:pt idx="88">
                  <c:v>0.9365938812552165</c:v>
                </c:pt>
                <c:pt idx="89">
                  <c:v>0.869861811023622</c:v>
                </c:pt>
                <c:pt idx="90">
                  <c:v>0.9831178120250391</c:v>
                </c:pt>
                <c:pt idx="91">
                  <c:v>0.8955892388451444</c:v>
                </c:pt>
                <c:pt idx="92">
                  <c:v>1.0109178574498834</c:v>
                </c:pt>
                <c:pt idx="93">
                  <c:v>0.9428254121723219</c:v>
                </c:pt>
                <c:pt idx="94">
                  <c:v>0.8980030928576932</c:v>
                </c:pt>
                <c:pt idx="95">
                  <c:v>0.8260932179930796</c:v>
                </c:pt>
                <c:pt idx="96">
                  <c:v>0.841569307037669</c:v>
                </c:pt>
                <c:pt idx="97">
                  <c:v>0.7539701730103807</c:v>
                </c:pt>
                <c:pt idx="98">
                  <c:v>0.7763457844040387</c:v>
                </c:pt>
                <c:pt idx="99">
                  <c:v>0.7246455702789618</c:v>
                </c:pt>
                <c:pt idx="100">
                  <c:v>0.9285550286327845</c:v>
                </c:pt>
                <c:pt idx="101">
                  <c:v>0.8187467289719627</c:v>
                </c:pt>
                <c:pt idx="102">
                  <c:v>0.8934112455964917</c:v>
                </c:pt>
                <c:pt idx="103">
                  <c:v>0.9227314085739283</c:v>
                </c:pt>
                <c:pt idx="104">
                  <c:v>0.8810248435357195</c:v>
                </c:pt>
              </c:numCache>
            </c:numRef>
          </c:xVal>
          <c:yVal>
            <c:numRef>
              <c:f>Sheet1!$B$2:$B$106</c:f>
              <c:numCache>
                <c:formatCode>General</c:formatCode>
                <c:ptCount val="105"/>
                <c:pt idx="0">
                  <c:v>0.7401162790697674</c:v>
                </c:pt>
                <c:pt idx="1">
                  <c:v>0.7259923175416133</c:v>
                </c:pt>
                <c:pt idx="2">
                  <c:v>0.7333736396614269</c:v>
                </c:pt>
                <c:pt idx="3">
                  <c:v>0.7237008871989861</c:v>
                </c:pt>
                <c:pt idx="4">
                  <c:v>0.7079521463757917</c:v>
                </c:pt>
                <c:pt idx="5">
                  <c:v>0.7229275578790142</c:v>
                </c:pt>
                <c:pt idx="6">
                  <c:v>0.706855791962175</c:v>
                </c:pt>
                <c:pt idx="7">
                  <c:v>0.7013698630136986</c:v>
                </c:pt>
                <c:pt idx="8">
                  <c:v>0.7186009538950715</c:v>
                </c:pt>
                <c:pt idx="9">
                  <c:v>0.7691350342252644</c:v>
                </c:pt>
                <c:pt idx="10">
                  <c:v>0.7501661129568107</c:v>
                </c:pt>
                <c:pt idx="11">
                  <c:v>0.7257240204429302</c:v>
                </c:pt>
                <c:pt idx="12">
                  <c:v>0.6918032786885245</c:v>
                </c:pt>
                <c:pt idx="13">
                  <c:v>0.6777163904235728</c:v>
                </c:pt>
                <c:pt idx="14">
                  <c:v>0.7051961823966065</c:v>
                </c:pt>
                <c:pt idx="15">
                  <c:v>0.7204419889502762</c:v>
                </c:pt>
                <c:pt idx="16">
                  <c:v>0.7439613526570048</c:v>
                </c:pt>
                <c:pt idx="17">
                  <c:v>0.7342143906020558</c:v>
                </c:pt>
                <c:pt idx="18">
                  <c:v>0.7971428571428572</c:v>
                </c:pt>
                <c:pt idx="19">
                  <c:v>0.7963576158940397</c:v>
                </c:pt>
                <c:pt idx="20">
                  <c:v>0.8083333333333333</c:v>
                </c:pt>
                <c:pt idx="21">
                  <c:v>0.7904761904761904</c:v>
                </c:pt>
                <c:pt idx="22">
                  <c:v>0.7271386430678466</c:v>
                </c:pt>
                <c:pt idx="23">
                  <c:v>0.7237410071942446</c:v>
                </c:pt>
                <c:pt idx="24">
                  <c:v>0.6607818411097099</c:v>
                </c:pt>
                <c:pt idx="25">
                  <c:v>0.6842857142857143</c:v>
                </c:pt>
                <c:pt idx="26">
                  <c:v>0.6633906633906634</c:v>
                </c:pt>
                <c:pt idx="27">
                  <c:v>0.652962515114873</c:v>
                </c:pt>
                <c:pt idx="28">
                  <c:v>0.6853932584269663</c:v>
                </c:pt>
                <c:pt idx="29">
                  <c:v>0.6342182890855457</c:v>
                </c:pt>
                <c:pt idx="30">
                  <c:v>0.68048128342246</c:v>
                </c:pt>
                <c:pt idx="31">
                  <c:v>0.6780104712041884</c:v>
                </c:pt>
                <c:pt idx="32">
                  <c:v>0.6607142857142857</c:v>
                </c:pt>
                <c:pt idx="33">
                  <c:v>0.6552399608227228</c:v>
                </c:pt>
                <c:pt idx="34">
                  <c:v>0.6647587898609976</c:v>
                </c:pt>
                <c:pt idx="35">
                  <c:v>0.6666666666666666</c:v>
                </c:pt>
                <c:pt idx="36">
                  <c:v>0.7017189079878665</c:v>
                </c:pt>
                <c:pt idx="37">
                  <c:v>0.6802575107296137</c:v>
                </c:pt>
                <c:pt idx="38">
                  <c:v>0.7090163934426229</c:v>
                </c:pt>
                <c:pt idx="39">
                  <c:v>0.693935119887165</c:v>
                </c:pt>
                <c:pt idx="40">
                  <c:v>0.7046511627906977</c:v>
                </c:pt>
                <c:pt idx="41">
                  <c:v>0.6871584699453552</c:v>
                </c:pt>
                <c:pt idx="42">
                  <c:v>0.6486175115207373</c:v>
                </c:pt>
                <c:pt idx="43">
                  <c:v>0.6811902231668437</c:v>
                </c:pt>
                <c:pt idx="44">
                  <c:v>0.6983922829581993</c:v>
                </c:pt>
                <c:pt idx="45">
                  <c:v>0.7258145363408521</c:v>
                </c:pt>
                <c:pt idx="46">
                  <c:v>0.6958024691358025</c:v>
                </c:pt>
                <c:pt idx="47">
                  <c:v>0.6901121304791029</c:v>
                </c:pt>
                <c:pt idx="48">
                  <c:v>0.6997607655502392</c:v>
                </c:pt>
                <c:pt idx="49">
                  <c:v>0.7192378936226514</c:v>
                </c:pt>
                <c:pt idx="50">
                  <c:v>0.7203893996755003</c:v>
                </c:pt>
                <c:pt idx="51">
                  <c:v>0.7081122062168309</c:v>
                </c:pt>
                <c:pt idx="52">
                  <c:v>0.7083847102342786</c:v>
                </c:pt>
                <c:pt idx="53">
                  <c:v>0.7040737893927748</c:v>
                </c:pt>
                <c:pt idx="54">
                  <c:v>0.7231270358306189</c:v>
                </c:pt>
                <c:pt idx="55">
                  <c:v>0.7112733171127331</c:v>
                </c:pt>
                <c:pt idx="56">
                  <c:v>0.6889074228523769</c:v>
                </c:pt>
                <c:pt idx="57">
                  <c:v>0.6975184439973172</c:v>
                </c:pt>
                <c:pt idx="58">
                  <c:v>0.6888150609080842</c:v>
                </c:pt>
                <c:pt idx="59">
                  <c:v>0.7127771911298838</c:v>
                </c:pt>
                <c:pt idx="60">
                  <c:v>0.7090288315629742</c:v>
                </c:pt>
                <c:pt idx="61">
                  <c:v>0.6991689750692521</c:v>
                </c:pt>
                <c:pt idx="62">
                  <c:v>0.697954902988988</c:v>
                </c:pt>
                <c:pt idx="63">
                  <c:v>0.6903784769721842</c:v>
                </c:pt>
                <c:pt idx="64">
                  <c:v>0.67498776309349</c:v>
                </c:pt>
                <c:pt idx="65">
                  <c:v>0.6954682779456194</c:v>
                </c:pt>
                <c:pt idx="66">
                  <c:v>0.7380410022779044</c:v>
                </c:pt>
                <c:pt idx="67">
                  <c:v>0.7097989949748744</c:v>
                </c:pt>
                <c:pt idx="68">
                  <c:v>0.7217915590008613</c:v>
                </c:pt>
                <c:pt idx="69">
                  <c:v>0.7286729857819905</c:v>
                </c:pt>
                <c:pt idx="70">
                  <c:v>0.7472406181015453</c:v>
                </c:pt>
                <c:pt idx="71">
                  <c:v>0.762589928057554</c:v>
                </c:pt>
                <c:pt idx="72">
                  <c:v>0.74230330672748</c:v>
                </c:pt>
                <c:pt idx="73">
                  <c:v>0.747239263803681</c:v>
                </c:pt>
                <c:pt idx="74">
                  <c:v>0.770663562281723</c:v>
                </c:pt>
                <c:pt idx="75">
                  <c:v>0.7723270440251573</c:v>
                </c:pt>
                <c:pt idx="76">
                  <c:v>0.761528326745718</c:v>
                </c:pt>
                <c:pt idx="77">
                  <c:v>0.7634408602150538</c:v>
                </c:pt>
                <c:pt idx="78">
                  <c:v>0.7232704402515723</c:v>
                </c:pt>
                <c:pt idx="79">
                  <c:v>0.7528089887640449</c:v>
                </c:pt>
                <c:pt idx="80">
                  <c:v>0.7565597667638484</c:v>
                </c:pt>
                <c:pt idx="81">
                  <c:v>0.7805164319248826</c:v>
                </c:pt>
                <c:pt idx="82">
                  <c:v>0.7421383647798742</c:v>
                </c:pt>
                <c:pt idx="83">
                  <c:v>0.7512864493996569</c:v>
                </c:pt>
                <c:pt idx="84">
                  <c:v>0.735</c:v>
                </c:pt>
                <c:pt idx="85">
                  <c:v>0.7835051546391752</c:v>
                </c:pt>
                <c:pt idx="86">
                  <c:v>0.7620041753653445</c:v>
                </c:pt>
                <c:pt idx="87">
                  <c:v>0.7410281280310378</c:v>
                </c:pt>
                <c:pt idx="88">
                  <c:v>0.7591145833333334</c:v>
                </c:pt>
                <c:pt idx="89">
                  <c:v>0.7737226277372263</c:v>
                </c:pt>
                <c:pt idx="90">
                  <c:v>0.762063227953411</c:v>
                </c:pt>
                <c:pt idx="91">
                  <c:v>0.7722602739726028</c:v>
                </c:pt>
                <c:pt idx="92">
                  <c:v>0.7493403693931399</c:v>
                </c:pt>
                <c:pt idx="93">
                  <c:v>0.7319587628865979</c:v>
                </c:pt>
                <c:pt idx="94">
                  <c:v>0.723202170963365</c:v>
                </c:pt>
                <c:pt idx="95">
                  <c:v>0.7144259077526988</c:v>
                </c:pt>
                <c:pt idx="96">
                  <c:v>0.7393980848153214</c:v>
                </c:pt>
                <c:pt idx="97">
                  <c:v>0.7347275729223995</c:v>
                </c:pt>
                <c:pt idx="98">
                  <c:v>0.7386980108499096</c:v>
                </c:pt>
                <c:pt idx="99">
                  <c:v>0.7404921700223713</c:v>
                </c:pt>
                <c:pt idx="100">
                  <c:v>0.7376281112737921</c:v>
                </c:pt>
                <c:pt idx="101">
                  <c:v>0.7428847081524361</c:v>
                </c:pt>
                <c:pt idx="102">
                  <c:v>0.7323636363636363</c:v>
                </c:pt>
                <c:pt idx="103">
                  <c:v>0.7224242424242424</c:v>
                </c:pt>
                <c:pt idx="104">
                  <c:v>0.7072633895818048</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978308298001211</c:v>
                </c:pt>
                <c:pt idx="1">
                  <c:v>0.9825462593516946</c:v>
                </c:pt>
                <c:pt idx="2">
                  <c:v>1.0214916885389327</c:v>
                </c:pt>
                <c:pt idx="3">
                  <c:v>0.7973200508874492</c:v>
                </c:pt>
                <c:pt idx="4">
                  <c:v>1.0534927512129528</c:v>
                </c:pt>
                <c:pt idx="5">
                  <c:v>0.8632781037579206</c:v>
                </c:pt>
                <c:pt idx="6">
                  <c:v>0.9450354330708662</c:v>
                </c:pt>
                <c:pt idx="7">
                  <c:v>0.739372965879265</c:v>
                </c:pt>
                <c:pt idx="8">
                  <c:v>0.7788795931758531</c:v>
                </c:pt>
                <c:pt idx="9">
                  <c:v>1.1264027559055116</c:v>
                </c:pt>
                <c:pt idx="10">
                  <c:v>1.039141382327209</c:v>
                </c:pt>
                <c:pt idx="11">
                  <c:v>0.9455907692307692</c:v>
                </c:pt>
                <c:pt idx="12">
                  <c:v>0.9337686789151357</c:v>
                </c:pt>
                <c:pt idx="13">
                  <c:v>0.8625812108466479</c:v>
                </c:pt>
                <c:pt idx="14">
                  <c:v>0.9534522484097933</c:v>
                </c:pt>
                <c:pt idx="15">
                  <c:v>0.8565611007809595</c:v>
                </c:pt>
                <c:pt idx="16">
                  <c:v>0.8551415722120658</c:v>
                </c:pt>
                <c:pt idx="17">
                  <c:v>0.889355905511811</c:v>
                </c:pt>
                <c:pt idx="18">
                  <c:v>0.8831695464362852</c:v>
                </c:pt>
                <c:pt idx="19">
                  <c:v>1.1338981627296587</c:v>
                </c:pt>
                <c:pt idx="20">
                  <c:v>1.1414666365280288</c:v>
                </c:pt>
                <c:pt idx="21">
                  <c:v>0.82746088794926</c:v>
                </c:pt>
                <c:pt idx="22">
                  <c:v>0.95405235342692</c:v>
                </c:pt>
                <c:pt idx="23">
                  <c:v>0.7965811679790027</c:v>
                </c:pt>
                <c:pt idx="24">
                  <c:v>1.0644395450568678</c:v>
                </c:pt>
                <c:pt idx="25">
                  <c:v>0.5668025098425197</c:v>
                </c:pt>
                <c:pt idx="26">
                  <c:v>0.6426598425196851</c:v>
                </c:pt>
                <c:pt idx="27">
                  <c:v>0.790564631555457</c:v>
                </c:pt>
                <c:pt idx="28">
                  <c:v>1.0040684142672969</c:v>
                </c:pt>
                <c:pt idx="29">
                  <c:v>0.8971995418973086</c:v>
                </c:pt>
                <c:pt idx="30">
                  <c:v>0.8886036474164133</c:v>
                </c:pt>
                <c:pt idx="31">
                  <c:v>1.0614414861775419</c:v>
                </c:pt>
                <c:pt idx="32">
                  <c:v>1.1507368895964019</c:v>
                </c:pt>
                <c:pt idx="33">
                  <c:v>1.2833670858629662</c:v>
                </c:pt>
                <c:pt idx="34">
                  <c:v>1.411150303055693</c:v>
                </c:pt>
                <c:pt idx="35">
                  <c:v>0.9617724058416603</c:v>
                </c:pt>
                <c:pt idx="36">
                  <c:v>1.1537727241731348</c:v>
                </c:pt>
                <c:pt idx="37">
                  <c:v>0.8864091064703868</c:v>
                </c:pt>
                <c:pt idx="38">
                  <c:v>1.1141165948851686</c:v>
                </c:pt>
                <c:pt idx="39">
                  <c:v>0.8584298963818583</c:v>
                </c:pt>
                <c:pt idx="40">
                  <c:v>0.9505654906117506</c:v>
                </c:pt>
                <c:pt idx="41">
                  <c:v>1.0113808740508223</c:v>
                </c:pt>
                <c:pt idx="42">
                  <c:v>1.0359585039370078</c:v>
                </c:pt>
                <c:pt idx="43">
                  <c:v>0.9127604929818556</c:v>
                </c:pt>
                <c:pt idx="44">
                  <c:v>0.9775884488282699</c:v>
                </c:pt>
                <c:pt idx="45">
                  <c:v>0.9019124772864932</c:v>
                </c:pt>
                <c:pt idx="46">
                  <c:v>0.71197110841914</c:v>
                </c:pt>
                <c:pt idx="47">
                  <c:v>1.006872262134221</c:v>
                </c:pt>
                <c:pt idx="48">
                  <c:v>0.7779386566141193</c:v>
                </c:pt>
                <c:pt idx="49">
                  <c:v>1.0292368679642405</c:v>
                </c:pt>
                <c:pt idx="50">
                  <c:v>0.8639111023622046</c:v>
                </c:pt>
                <c:pt idx="51">
                  <c:v>1.046245964566929</c:v>
                </c:pt>
              </c:numCache>
            </c:numRef>
          </c:xVal>
          <c:yVal>
            <c:numRef>
              <c:f>Sheet1!$B$109:$B$160</c:f>
              <c:numCache>
                <c:formatCode>General</c:formatCode>
                <c:ptCount val="52"/>
                <c:pt idx="0">
                  <c:v>0.7133934767522554</c:v>
                </c:pt>
                <c:pt idx="1">
                  <c:v>0.7436096049573974</c:v>
                </c:pt>
                <c:pt idx="2">
                  <c:v>0.7461439588688946</c:v>
                </c:pt>
                <c:pt idx="3">
                  <c:v>0.7424511545293073</c:v>
                </c:pt>
                <c:pt idx="4">
                  <c:v>0.7441393168117884</c:v>
                </c:pt>
                <c:pt idx="5">
                  <c:v>0.740218088518281</c:v>
                </c:pt>
                <c:pt idx="6">
                  <c:v>0.7590702947845805</c:v>
                </c:pt>
                <c:pt idx="7">
                  <c:v>0.7113249444855663</c:v>
                </c:pt>
                <c:pt idx="8">
                  <c:v>0.690846286701209</c:v>
                </c:pt>
                <c:pt idx="9">
                  <c:v>0.7021919879062736</c:v>
                </c:pt>
                <c:pt idx="10">
                  <c:v>0.7216257668711656</c:v>
                </c:pt>
                <c:pt idx="11">
                  <c:v>0.7348938486663038</c:v>
                </c:pt>
                <c:pt idx="12">
                  <c:v>0.7177677998717127</c:v>
                </c:pt>
                <c:pt idx="13">
                  <c:v>0.7318634423897582</c:v>
                </c:pt>
                <c:pt idx="14">
                  <c:v>0.7223076923076923</c:v>
                </c:pt>
                <c:pt idx="15">
                  <c:v>0.7430962343096235</c:v>
                </c:pt>
                <c:pt idx="16">
                  <c:v>0.7789783889980354</c:v>
                </c:pt>
                <c:pt idx="17">
                  <c:v>0.7678936605316974</c:v>
                </c:pt>
                <c:pt idx="18">
                  <c:v>0.7722371967654986</c:v>
                </c:pt>
                <c:pt idx="19">
                  <c:v>0.7608426270136307</c:v>
                </c:pt>
                <c:pt idx="20">
                  <c:v>0.7791842475386779</c:v>
                </c:pt>
                <c:pt idx="21">
                  <c:v>0.766566265060241</c:v>
                </c:pt>
                <c:pt idx="22">
                  <c:v>0.7418899858956276</c:v>
                </c:pt>
                <c:pt idx="23">
                  <c:v>0.7185185185185186</c:v>
                </c:pt>
                <c:pt idx="24">
                  <c:v>0.7148488830486203</c:v>
                </c:pt>
                <c:pt idx="25">
                  <c:v>0.7111416781292985</c:v>
                </c:pt>
                <c:pt idx="26">
                  <c:v>0.7183288409703504</c:v>
                </c:pt>
                <c:pt idx="27">
                  <c:v>0.7478991596638656</c:v>
                </c:pt>
                <c:pt idx="28">
                  <c:v>0.7473806752037253</c:v>
                </c:pt>
                <c:pt idx="29">
                  <c:v>0.7140939597315437</c:v>
                </c:pt>
                <c:pt idx="30">
                  <c:v>0.7235294117647059</c:v>
                </c:pt>
                <c:pt idx="31">
                  <c:v>0.7303370786516854</c:v>
                </c:pt>
                <c:pt idx="32">
                  <c:v>0.7229629629629629</c:v>
                </c:pt>
                <c:pt idx="33">
                  <c:v>0.7006578947368421</c:v>
                </c:pt>
                <c:pt idx="34">
                  <c:v>0.6715686274509803</c:v>
                </c:pt>
                <c:pt idx="35">
                  <c:v>0.6528066528066528</c:v>
                </c:pt>
                <c:pt idx="36">
                  <c:v>0.6494661921708185</c:v>
                </c:pt>
                <c:pt idx="37">
                  <c:v>0.6666666666666666</c:v>
                </c:pt>
                <c:pt idx="38">
                  <c:v>0.7190812720848057</c:v>
                </c:pt>
                <c:pt idx="39">
                  <c:v>0.6936708860759494</c:v>
                </c:pt>
                <c:pt idx="40">
                  <c:v>0.7127003699136868</c:v>
                </c:pt>
                <c:pt idx="41">
                  <c:v>0.6903073286052009</c:v>
                </c:pt>
                <c:pt idx="42">
                  <c:v>0.717948717948718</c:v>
                </c:pt>
                <c:pt idx="43">
                  <c:v>0.6976241900647948</c:v>
                </c:pt>
                <c:pt idx="44">
                  <c:v>0.7297535211267606</c:v>
                </c:pt>
                <c:pt idx="45">
                  <c:v>0.7327887981330222</c:v>
                </c:pt>
                <c:pt idx="46">
                  <c:v>0.7178502879078695</c:v>
                </c:pt>
                <c:pt idx="47">
                  <c:v>0.7006726457399103</c:v>
                </c:pt>
                <c:pt idx="48">
                  <c:v>0.7207433450527373</c:v>
                </c:pt>
                <c:pt idx="49">
                  <c:v>0.7154811715481172</c:v>
                </c:pt>
                <c:pt idx="50">
                  <c:v>0.6937642833823049</c:v>
                </c:pt>
                <c:pt idx="51">
                  <c:v>0.712264150943396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525430628496018</c:v>
                </c:pt>
              </c:numCache>
            </c:numRef>
          </c:xVal>
          <c:yVal>
            <c:numRef>
              <c:f>Sheet1!$B$163:$B$164</c:f>
              <c:numCache>
                <c:formatCode>General</c:formatCode>
                <c:ptCount val="2"/>
                <c:pt idx="0">
                  <c:v>0.7568626923705064</c:v>
                </c:pt>
                <c:pt idx="1">
                  <c:v>0.7568626923705064</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525430628496018</c:v>
                </c:pt>
                <c:pt idx="1">
                  <c:v>-0.3525430628496018</c:v>
                </c:pt>
              </c:numCache>
            </c:numRef>
          </c:xVal>
          <c:yVal>
            <c:numRef>
              <c:f>Sheet1!$B$167:$B$168</c:f>
              <c:numCache>
                <c:formatCode>General</c:formatCode>
                <c:ptCount val="2"/>
                <c:pt idx="0">
                  <c:v>0.756862692370506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5450666729701222</c:v>
                </c:pt>
              </c:numCache>
            </c:numRef>
          </c:xVal>
          <c:yVal>
            <c:numRef>
              <c:f>Sheet1!$B$171:$B$172</c:f>
              <c:numCache>
                <c:formatCode>General</c:formatCode>
                <c:ptCount val="2"/>
                <c:pt idx="0">
                  <c:v>0.7461114737100238</c:v>
                </c:pt>
                <c:pt idx="1">
                  <c:v>0.746111473710023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5450666729701222</c:v>
                </c:pt>
                <c:pt idx="1">
                  <c:v>0.05450666729701222</c:v>
                </c:pt>
              </c:numCache>
            </c:numRef>
          </c:xVal>
          <c:yVal>
            <c:numRef>
              <c:f>Sheet1!$B$175:$B$176</c:f>
              <c:numCache>
                <c:formatCode>General</c:formatCode>
                <c:ptCount val="2"/>
                <c:pt idx="0">
                  <c:v>0.746111473710023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4054949076801615</c:v>
                </c:pt>
              </c:numCache>
            </c:numRef>
          </c:xVal>
          <c:yVal>
            <c:numRef>
              <c:f>Sheet1!$B$179:$B$180</c:f>
              <c:numCache>
                <c:formatCode>General</c:formatCode>
                <c:ptCount val="2"/>
                <c:pt idx="0">
                  <c:v>0.7104284381878821</c:v>
                </c:pt>
                <c:pt idx="1">
                  <c:v>0.7104284381878821</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4054949076801615</c:v>
                </c:pt>
                <c:pt idx="1">
                  <c:v>1.4054949076801615</c:v>
                </c:pt>
              </c:numCache>
            </c:numRef>
          </c:xVal>
          <c:yVal>
            <c:numRef>
              <c:f>Sheet1!$B$183:$B$184</c:f>
              <c:numCache>
                <c:formatCode>General</c:formatCode>
                <c:ptCount val="2"/>
                <c:pt idx="0">
                  <c:v>0.710428438187882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978308298001211</c:v>
                </c:pt>
                <c:pt idx="1">
                  <c:v>0.9825462593516946</c:v>
                </c:pt>
                <c:pt idx="2">
                  <c:v>1.0214916885389327</c:v>
                </c:pt>
                <c:pt idx="3">
                  <c:v>0.7973200508874492</c:v>
                </c:pt>
                <c:pt idx="4">
                  <c:v>1.0534927512129528</c:v>
                </c:pt>
                <c:pt idx="5">
                  <c:v>0.8632781037579206</c:v>
                </c:pt>
                <c:pt idx="6">
                  <c:v>0.9450354330708662</c:v>
                </c:pt>
                <c:pt idx="7">
                  <c:v>0.739372965879265</c:v>
                </c:pt>
                <c:pt idx="8">
                  <c:v>0.7788795931758531</c:v>
                </c:pt>
                <c:pt idx="9">
                  <c:v>1.1264027559055116</c:v>
                </c:pt>
                <c:pt idx="10">
                  <c:v>1.039141382327209</c:v>
                </c:pt>
                <c:pt idx="11">
                  <c:v>0.9455907692307692</c:v>
                </c:pt>
                <c:pt idx="12">
                  <c:v>0.9337686789151357</c:v>
                </c:pt>
                <c:pt idx="13">
                  <c:v>0.8625812108466479</c:v>
                </c:pt>
                <c:pt idx="14">
                  <c:v>0.9534522484097933</c:v>
                </c:pt>
                <c:pt idx="15">
                  <c:v>0.8565611007809595</c:v>
                </c:pt>
                <c:pt idx="16">
                  <c:v>0.8551415722120658</c:v>
                </c:pt>
                <c:pt idx="17">
                  <c:v>0.889355905511811</c:v>
                </c:pt>
                <c:pt idx="18">
                  <c:v>0.8831695464362852</c:v>
                </c:pt>
                <c:pt idx="19">
                  <c:v>1.1338981627296587</c:v>
                </c:pt>
                <c:pt idx="20">
                  <c:v>1.1414666365280288</c:v>
                </c:pt>
                <c:pt idx="21">
                  <c:v>0.82746088794926</c:v>
                </c:pt>
                <c:pt idx="22">
                  <c:v>0.95405235342692</c:v>
                </c:pt>
                <c:pt idx="23">
                  <c:v>0.7965811679790027</c:v>
                </c:pt>
                <c:pt idx="24">
                  <c:v>1.0644395450568678</c:v>
                </c:pt>
                <c:pt idx="25">
                  <c:v>0.5668025098425197</c:v>
                </c:pt>
                <c:pt idx="26">
                  <c:v>0.6426598425196851</c:v>
                </c:pt>
                <c:pt idx="27">
                  <c:v>0.790564631555457</c:v>
                </c:pt>
                <c:pt idx="28">
                  <c:v>1.0040684142672969</c:v>
                </c:pt>
                <c:pt idx="29">
                  <c:v>0.8971995418973086</c:v>
                </c:pt>
                <c:pt idx="30">
                  <c:v>0.8886036474164133</c:v>
                </c:pt>
                <c:pt idx="31">
                  <c:v>1.0614414861775419</c:v>
                </c:pt>
                <c:pt idx="32">
                  <c:v>1.1507368895964019</c:v>
                </c:pt>
                <c:pt idx="33">
                  <c:v>1.2833670858629662</c:v>
                </c:pt>
                <c:pt idx="34">
                  <c:v>1.411150303055693</c:v>
                </c:pt>
                <c:pt idx="35">
                  <c:v>0.9617724058416603</c:v>
                </c:pt>
                <c:pt idx="36">
                  <c:v>1.1537727241731348</c:v>
                </c:pt>
                <c:pt idx="37">
                  <c:v>0.8864091064703868</c:v>
                </c:pt>
                <c:pt idx="38">
                  <c:v>1.1141165948851686</c:v>
                </c:pt>
                <c:pt idx="39">
                  <c:v>0.8584298963818583</c:v>
                </c:pt>
                <c:pt idx="40">
                  <c:v>0.9505654906117506</c:v>
                </c:pt>
                <c:pt idx="41">
                  <c:v>1.0113808740508223</c:v>
                </c:pt>
                <c:pt idx="42">
                  <c:v>1.0359585039370078</c:v>
                </c:pt>
                <c:pt idx="43">
                  <c:v>0.9127604929818556</c:v>
                </c:pt>
                <c:pt idx="44">
                  <c:v>0.9775884488282699</c:v>
                </c:pt>
                <c:pt idx="45">
                  <c:v>0.9019124772864932</c:v>
                </c:pt>
                <c:pt idx="46">
                  <c:v>0.71197110841914</c:v>
                </c:pt>
                <c:pt idx="47">
                  <c:v>1.006872262134221</c:v>
                </c:pt>
                <c:pt idx="48">
                  <c:v>0.7779386566141193</c:v>
                </c:pt>
                <c:pt idx="49">
                  <c:v>1.0292368679642405</c:v>
                </c:pt>
                <c:pt idx="50">
                  <c:v>0.8639111023622046</c:v>
                </c:pt>
                <c:pt idx="51">
                  <c:v>1.046245964566929</c:v>
                </c:pt>
                <c:pt idx="52">
                  <c:v>0.05450666729701222</c:v>
                </c:pt>
                <c:pt idx="53">
                  <c:v>-0.3525430628496018</c:v>
                </c:pt>
                <c:pt idx="54">
                  <c:v>1.4054949076801615</c:v>
                </c:pt>
              </c:numCache>
            </c:numRef>
          </c:xVal>
          <c:yVal>
            <c:numRef>
              <c:f>Sheet1!$B$187:$B$241</c:f>
              <c:numCache>
                <c:formatCode>General</c:formatCode>
                <c:ptCount val="55"/>
                <c:pt idx="0">
                  <c:v>0.7291196463523408</c:v>
                </c:pt>
                <c:pt idx="1">
                  <c:v>0.7215995877147399</c:v>
                </c:pt>
                <c:pt idx="2">
                  <c:v>0.7205709398763848</c:v>
                </c:pt>
                <c:pt idx="3">
                  <c:v>0.7264918829832663</c:v>
                </c:pt>
                <c:pt idx="4">
                  <c:v>0.7197257104198947</c:v>
                </c:pt>
                <c:pt idx="5">
                  <c:v>0.7247497630497272</c:v>
                </c:pt>
                <c:pt idx="6">
                  <c:v>0.7225903440415781</c:v>
                </c:pt>
                <c:pt idx="7">
                  <c:v>0.7280224128805252</c:v>
                </c:pt>
                <c:pt idx="8">
                  <c:v>0.726978942372755</c:v>
                </c:pt>
                <c:pt idx="9">
                  <c:v>0.7177999717571909</c:v>
                </c:pt>
                <c:pt idx="10">
                  <c:v>0.7201047665733341</c:v>
                </c:pt>
                <c:pt idx="11">
                  <c:v>0.7225756762011571</c:v>
                </c:pt>
                <c:pt idx="12">
                  <c:v>0.7228879276746112</c:v>
                </c:pt>
                <c:pt idx="13">
                  <c:v>0.7247681697639863</c:v>
                </c:pt>
                <c:pt idx="14">
                  <c:v>0.7223680345412103</c:v>
                </c:pt>
                <c:pt idx="15">
                  <c:v>0.724927176182325</c:v>
                </c:pt>
                <c:pt idx="16">
                  <c:v>0.7249646695422481</c:v>
                </c:pt>
                <c:pt idx="17">
                  <c:v>0.7240609819793165</c:v>
                </c:pt>
                <c:pt idx="18">
                  <c:v>0.7242243794568416</c:v>
                </c:pt>
                <c:pt idx="19">
                  <c:v>0.7176019989992023</c:v>
                </c:pt>
                <c:pt idx="20">
                  <c:v>0.7174020963565864</c:v>
                </c:pt>
                <c:pt idx="21">
                  <c:v>0.725695786816479</c:v>
                </c:pt>
                <c:pt idx="22">
                  <c:v>0.7223521842414053</c:v>
                </c:pt>
                <c:pt idx="23">
                  <c:v>0.7265113987601477</c:v>
                </c:pt>
                <c:pt idx="24">
                  <c:v>0.7194365777524815</c:v>
                </c:pt>
                <c:pt idx="25">
                  <c:v>0.732580437538893</c:v>
                </c:pt>
                <c:pt idx="26">
                  <c:v>0.7305768524479032</c:v>
                </c:pt>
                <c:pt idx="27">
                  <c:v>0.7266703107895083</c:v>
                </c:pt>
                <c:pt idx="28">
                  <c:v>0.7210311328641271</c:v>
                </c:pt>
                <c:pt idx="29">
                  <c:v>0.7238538115929279</c:v>
                </c:pt>
                <c:pt idx="30">
                  <c:v>0.7240808510289036</c:v>
                </c:pt>
                <c:pt idx="31">
                  <c:v>0.7195157641127256</c:v>
                </c:pt>
                <c:pt idx="32">
                  <c:v>0.7171572453951567</c:v>
                </c:pt>
                <c:pt idx="33">
                  <c:v>0.7136541445810842</c:v>
                </c:pt>
                <c:pt idx="34">
                  <c:v>0.7102790648121231</c:v>
                </c:pt>
                <c:pt idx="35">
                  <c:v>0.7221482780220071</c:v>
                </c:pt>
                <c:pt idx="36">
                  <c:v>0.7170770612826656</c:v>
                </c:pt>
                <c:pt idx="37">
                  <c:v>0.7241388144368676</c:v>
                </c:pt>
                <c:pt idx="38">
                  <c:v>0.7181244805182704</c:v>
                </c:pt>
                <c:pt idx="39">
                  <c:v>0.7248778165374242</c:v>
                </c:pt>
                <c:pt idx="40">
                  <c:v>0.7224442811568154</c:v>
                </c:pt>
                <c:pt idx="41">
                  <c:v>0.7208379922027874</c:v>
                </c:pt>
                <c:pt idx="42">
                  <c:v>0.7201888344869289</c:v>
                </c:pt>
                <c:pt idx="43">
                  <c:v>0.7234428072971757</c:v>
                </c:pt>
                <c:pt idx="44">
                  <c:v>0.7217305361003226</c:v>
                </c:pt>
                <c:pt idx="45">
                  <c:v>0.7237293309824542</c:v>
                </c:pt>
                <c:pt idx="46">
                  <c:v>0.7287461656297312</c:v>
                </c:pt>
                <c:pt idx="47">
                  <c:v>0.7209570761106755</c:v>
                </c:pt>
                <c:pt idx="48">
                  <c:v>0.7270037949005215</c:v>
                </c:pt>
                <c:pt idx="49">
                  <c:v>0.7203663699887296</c:v>
                </c:pt>
                <c:pt idx="50">
                  <c:v>0.724733043946624</c:v>
                </c:pt>
                <c:pt idx="51">
                  <c:v>0.7199171164866405</c:v>
                </c:pt>
                <c:pt idx="52">
                  <c:v>0.7461114737100238</c:v>
                </c:pt>
                <c:pt idx="53">
                  <c:v>0.7568626923705064</c:v>
                </c:pt>
                <c:pt idx="54">
                  <c:v>0.710428438187882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7"/>
          <c:min val="0.507374631268436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11.0841</c:v>
                </c:pt>
                <c:pt idx="1">
                  <c:v>805.8933</c:v>
                </c:pt>
                <c:pt idx="2">
                  <c:v>839.8829</c:v>
                </c:pt>
                <c:pt idx="3">
                  <c:v>853.6357</c:v>
                </c:pt>
                <c:pt idx="4">
                  <c:v>861.3777</c:v>
                </c:pt>
                <c:pt idx="5">
                  <c:v>847.0878</c:v>
                </c:pt>
                <c:pt idx="6">
                  <c:v>793.5401</c:v>
                </c:pt>
                <c:pt idx="7">
                  <c:v>818.1426</c:v>
                </c:pt>
                <c:pt idx="8">
                  <c:v>819.698</c:v>
                </c:pt>
                <c:pt idx="9">
                  <c:v>801.1699</c:v>
                </c:pt>
                <c:pt idx="10">
                  <c:v>792.0221</c:v>
                </c:pt>
                <c:pt idx="11">
                  <c:v>858.507</c:v>
                </c:pt>
                <c:pt idx="12">
                  <c:v>867.3329</c:v>
                </c:pt>
                <c:pt idx="13">
                  <c:v>878.8424</c:v>
                </c:pt>
                <c:pt idx="14">
                  <c:v>886.4586</c:v>
                </c:pt>
                <c:pt idx="15">
                  <c:v>902.2653</c:v>
                </c:pt>
                <c:pt idx="16">
                  <c:v>934.6169</c:v>
                </c:pt>
                <c:pt idx="17">
                  <c:v>967.018</c:v>
                </c:pt>
                <c:pt idx="18">
                  <c:v>990.5072</c:v>
                </c:pt>
                <c:pt idx="19">
                  <c:v>1038.3472</c:v>
                </c:pt>
                <c:pt idx="20">
                  <c:v>1040.8591</c:v>
                </c:pt>
                <c:pt idx="21">
                  <c:v>1064.7751</c:v>
                </c:pt>
                <c:pt idx="22">
                  <c:v>1068.8418</c:v>
                </c:pt>
                <c:pt idx="23">
                  <c:v>1040.5348</c:v>
                </c:pt>
                <c:pt idx="24">
                  <c:v>1027.605</c:v>
                </c:pt>
                <c:pt idx="25">
                  <c:v>1013.0063</c:v>
                </c:pt>
                <c:pt idx="26">
                  <c:v>993.8056</c:v>
                </c:pt>
                <c:pt idx="27">
                  <c:v>981.7741</c:v>
                </c:pt>
                <c:pt idx="28">
                  <c:v>977.5228</c:v>
                </c:pt>
                <c:pt idx="29">
                  <c:v>987.4589</c:v>
                </c:pt>
                <c:pt idx="30">
                  <c:v>988.666</c:v>
                </c:pt>
                <c:pt idx="31">
                  <c:v>976.9614</c:v>
                </c:pt>
                <c:pt idx="32">
                  <c:v>986.556</c:v>
                </c:pt>
                <c:pt idx="33">
                  <c:v>952.8236</c:v>
                </c:pt>
                <c:pt idx="34">
                  <c:v>936.4268</c:v>
                </c:pt>
                <c:pt idx="35">
                  <c:v>952.6825</c:v>
                </c:pt>
                <c:pt idx="36">
                  <c:v>1015.9712</c:v>
                </c:pt>
                <c:pt idx="37">
                  <c:v>1012.0331</c:v>
                </c:pt>
                <c:pt idx="38">
                  <c:v>1117.8362</c:v>
                </c:pt>
                <c:pt idx="39">
                  <c:v>1144.9146</c:v>
                </c:pt>
                <c:pt idx="40">
                  <c:v>1124.4257</c:v>
                </c:pt>
                <c:pt idx="41">
                  <c:v>1129.9423</c:v>
                </c:pt>
                <c:pt idx="42">
                  <c:v>1150.389</c:v>
                </c:pt>
                <c:pt idx="43">
                  <c:v>1154.6053</c:v>
                </c:pt>
                <c:pt idx="44">
                  <c:v>1036.1777</c:v>
                </c:pt>
                <c:pt idx="45">
                  <c:v>995.3018</c:v>
                </c:pt>
                <c:pt idx="46">
                  <c:v>1023.7402</c:v>
                </c:pt>
                <c:pt idx="47">
                  <c:v>1013.4453</c:v>
                </c:pt>
                <c:pt idx="48">
                  <c:v>1007.0182</c:v>
                </c:pt>
                <c:pt idx="49">
                  <c:v>974.6339</c:v>
                </c:pt>
                <c:pt idx="50">
                  <c:v>947.2673</c:v>
                </c:pt>
                <c:pt idx="51">
                  <c:v>955.6338</c:v>
                </c:pt>
                <c:pt idx="52">
                  <c:v>955.8233</c:v>
                </c:pt>
                <c:pt idx="53">
                  <c:v>1050.3548</c:v>
                </c:pt>
                <c:pt idx="54">
                  <c:v>1052.6306</c:v>
                </c:pt>
                <c:pt idx="55">
                  <c:v>1050.7742</c:v>
                </c:pt>
                <c:pt idx="56">
                  <c:v>1092.1404</c:v>
                </c:pt>
                <c:pt idx="57">
                  <c:v>1044.599</c:v>
                </c:pt>
                <c:pt idx="58">
                  <c:v>1016.7781</c:v>
                </c:pt>
                <c:pt idx="59">
                  <c:v>997.5225</c:v>
                </c:pt>
                <c:pt idx="60">
                  <c:v>1010.4676</c:v>
                </c:pt>
                <c:pt idx="61">
                  <c:v>1031.4556</c:v>
                </c:pt>
                <c:pt idx="62">
                  <c:v>986.6056</c:v>
                </c:pt>
                <c:pt idx="63">
                  <c:v>1015.6024</c:v>
                </c:pt>
                <c:pt idx="64">
                  <c:v>1034.2212</c:v>
                </c:pt>
                <c:pt idx="65">
                  <c:v>1015.8288</c:v>
                </c:pt>
                <c:pt idx="66">
                  <c:v>997.7785</c:v>
                </c:pt>
                <c:pt idx="67">
                  <c:v>1040.6124</c:v>
                </c:pt>
                <c:pt idx="68">
                  <c:v>1082.0632</c:v>
                </c:pt>
                <c:pt idx="69">
                  <c:v>1117.0358</c:v>
                </c:pt>
                <c:pt idx="70">
                  <c:v>1082.8154</c:v>
                </c:pt>
                <c:pt idx="71">
                  <c:v>1152.3805</c:v>
                </c:pt>
                <c:pt idx="72">
                  <c:v>1249.3564</c:v>
                </c:pt>
                <c:pt idx="73">
                  <c:v>1240.5961</c:v>
                </c:pt>
                <c:pt idx="74">
                  <c:v>1216.9758</c:v>
                </c:pt>
                <c:pt idx="75">
                  <c:v>1162.3632</c:v>
                </c:pt>
                <c:pt idx="76">
                  <c:v>1145.9048</c:v>
                </c:pt>
                <c:pt idx="77">
                  <c:v>1171.33</c:v>
                </c:pt>
                <c:pt idx="78">
                  <c:v>1218.3826</c:v>
                </c:pt>
                <c:pt idx="79">
                  <c:v>1141.8993</c:v>
                </c:pt>
                <c:pt idx="80">
                  <c:v>1160.4489</c:v>
                </c:pt>
                <c:pt idx="81">
                  <c:v>1130.5308</c:v>
                </c:pt>
                <c:pt idx="82">
                  <c:v>1116.5699</c:v>
                </c:pt>
                <c:pt idx="83">
                  <c:v>1113.3995</c:v>
                </c:pt>
                <c:pt idx="84">
                  <c:v>1131.6349</c:v>
                </c:pt>
                <c:pt idx="85">
                  <c:v>1101.5789</c:v>
                </c:pt>
                <c:pt idx="86">
                  <c:v>1086.6507</c:v>
                </c:pt>
                <c:pt idx="87">
                  <c:v>1087.7186</c:v>
                </c:pt>
                <c:pt idx="88">
                  <c:v>1121.5043</c:v>
                </c:pt>
                <c:pt idx="89">
                  <c:v>1104.7245</c:v>
                </c:pt>
                <c:pt idx="90">
                  <c:v>1206.941</c:v>
                </c:pt>
                <c:pt idx="91">
                  <c:v>1228.3902</c:v>
                </c:pt>
                <c:pt idx="92">
                  <c:v>1198.2746</c:v>
                </c:pt>
                <c:pt idx="93">
                  <c:v>1215.6162</c:v>
                </c:pt>
                <c:pt idx="94">
                  <c:v>1239.1445</c:v>
                </c:pt>
                <c:pt idx="95">
                  <c:v>1193.7047</c:v>
                </c:pt>
                <c:pt idx="96">
                  <c:v>1117.7243</c:v>
                </c:pt>
                <c:pt idx="97">
                  <c:v>1089.4869</c:v>
                </c:pt>
                <c:pt idx="98">
                  <c:v>1087.9192</c:v>
                </c:pt>
                <c:pt idx="99">
                  <c:v>1043.0065</c:v>
                </c:pt>
                <c:pt idx="100">
                  <c:v>1037.7531</c:v>
                </c:pt>
                <c:pt idx="101">
                  <c:v>1051.2708</c:v>
                </c:pt>
                <c:pt idx="102">
                  <c:v>1058.9901</c:v>
                </c:pt>
                <c:pt idx="103">
                  <c:v>1054.682</c:v>
                </c:pt>
                <c:pt idx="104">
                  <c:v>1101.5747</c:v>
                </c:pt>
              </c:numCache>
            </c:numRef>
          </c:xVal>
          <c:yVal>
            <c:numRef>
              <c:f>Sheet1!$B$2:$B$106</c:f>
              <c:numCache>
                <c:formatCode>General</c:formatCode>
                <c:ptCount val="105"/>
                <c:pt idx="0">
                  <c:v>0.7401162790697674</c:v>
                </c:pt>
                <c:pt idx="1">
                  <c:v>0.7259923175416133</c:v>
                </c:pt>
                <c:pt idx="2">
                  <c:v>0.7333736396614269</c:v>
                </c:pt>
                <c:pt idx="3">
                  <c:v>0.7237008871989861</c:v>
                </c:pt>
                <c:pt idx="4">
                  <c:v>0.7079521463757917</c:v>
                </c:pt>
                <c:pt idx="5">
                  <c:v>0.7229275578790142</c:v>
                </c:pt>
                <c:pt idx="6">
                  <c:v>0.706855791962175</c:v>
                </c:pt>
                <c:pt idx="7">
                  <c:v>0.7013698630136986</c:v>
                </c:pt>
                <c:pt idx="8">
                  <c:v>0.7186009538950715</c:v>
                </c:pt>
                <c:pt idx="9">
                  <c:v>0.7691350342252644</c:v>
                </c:pt>
                <c:pt idx="10">
                  <c:v>0.7501661129568107</c:v>
                </c:pt>
                <c:pt idx="11">
                  <c:v>0.7257240204429302</c:v>
                </c:pt>
                <c:pt idx="12">
                  <c:v>0.6918032786885245</c:v>
                </c:pt>
                <c:pt idx="13">
                  <c:v>0.6777163904235728</c:v>
                </c:pt>
                <c:pt idx="14">
                  <c:v>0.7051961823966065</c:v>
                </c:pt>
                <c:pt idx="15">
                  <c:v>0.7204419889502762</c:v>
                </c:pt>
                <c:pt idx="16">
                  <c:v>0.7439613526570048</c:v>
                </c:pt>
                <c:pt idx="17">
                  <c:v>0.7342143906020558</c:v>
                </c:pt>
                <c:pt idx="18">
                  <c:v>0.7971428571428572</c:v>
                </c:pt>
                <c:pt idx="19">
                  <c:v>0.7963576158940397</c:v>
                </c:pt>
                <c:pt idx="20">
                  <c:v>0.8083333333333333</c:v>
                </c:pt>
                <c:pt idx="21">
                  <c:v>0.7904761904761904</c:v>
                </c:pt>
                <c:pt idx="22">
                  <c:v>0.7271386430678466</c:v>
                </c:pt>
                <c:pt idx="23">
                  <c:v>0.7237410071942446</c:v>
                </c:pt>
                <c:pt idx="24">
                  <c:v>0.6607818411097099</c:v>
                </c:pt>
                <c:pt idx="25">
                  <c:v>0.6842857142857143</c:v>
                </c:pt>
                <c:pt idx="26">
                  <c:v>0.6633906633906634</c:v>
                </c:pt>
                <c:pt idx="27">
                  <c:v>0.652962515114873</c:v>
                </c:pt>
                <c:pt idx="28">
                  <c:v>0.6853932584269663</c:v>
                </c:pt>
                <c:pt idx="29">
                  <c:v>0.6342182890855457</c:v>
                </c:pt>
                <c:pt idx="30">
                  <c:v>0.68048128342246</c:v>
                </c:pt>
                <c:pt idx="31">
                  <c:v>0.6780104712041884</c:v>
                </c:pt>
                <c:pt idx="32">
                  <c:v>0.6607142857142857</c:v>
                </c:pt>
                <c:pt idx="33">
                  <c:v>0.6552399608227228</c:v>
                </c:pt>
                <c:pt idx="34">
                  <c:v>0.6647587898609976</c:v>
                </c:pt>
                <c:pt idx="35">
                  <c:v>0.6666666666666666</c:v>
                </c:pt>
                <c:pt idx="36">
                  <c:v>0.7017189079878665</c:v>
                </c:pt>
                <c:pt idx="37">
                  <c:v>0.6802575107296137</c:v>
                </c:pt>
                <c:pt idx="38">
                  <c:v>0.7090163934426229</c:v>
                </c:pt>
                <c:pt idx="39">
                  <c:v>0.693935119887165</c:v>
                </c:pt>
                <c:pt idx="40">
                  <c:v>0.7046511627906977</c:v>
                </c:pt>
                <c:pt idx="41">
                  <c:v>0.6871584699453552</c:v>
                </c:pt>
                <c:pt idx="42">
                  <c:v>0.6486175115207373</c:v>
                </c:pt>
                <c:pt idx="43">
                  <c:v>0.6811902231668437</c:v>
                </c:pt>
                <c:pt idx="44">
                  <c:v>0.6983922829581993</c:v>
                </c:pt>
                <c:pt idx="45">
                  <c:v>0.7258145363408521</c:v>
                </c:pt>
                <c:pt idx="46">
                  <c:v>0.6958024691358025</c:v>
                </c:pt>
                <c:pt idx="47">
                  <c:v>0.6901121304791029</c:v>
                </c:pt>
                <c:pt idx="48">
                  <c:v>0.6997607655502392</c:v>
                </c:pt>
                <c:pt idx="49">
                  <c:v>0.7192378936226514</c:v>
                </c:pt>
                <c:pt idx="50">
                  <c:v>0.7203893996755003</c:v>
                </c:pt>
                <c:pt idx="51">
                  <c:v>0.7081122062168309</c:v>
                </c:pt>
                <c:pt idx="52">
                  <c:v>0.7083847102342786</c:v>
                </c:pt>
                <c:pt idx="53">
                  <c:v>0.7040737893927748</c:v>
                </c:pt>
                <c:pt idx="54">
                  <c:v>0.7231270358306189</c:v>
                </c:pt>
                <c:pt idx="55">
                  <c:v>0.7112733171127331</c:v>
                </c:pt>
                <c:pt idx="56">
                  <c:v>0.6889074228523769</c:v>
                </c:pt>
                <c:pt idx="57">
                  <c:v>0.6975184439973172</c:v>
                </c:pt>
                <c:pt idx="58">
                  <c:v>0.6888150609080842</c:v>
                </c:pt>
                <c:pt idx="59">
                  <c:v>0.7127771911298838</c:v>
                </c:pt>
                <c:pt idx="60">
                  <c:v>0.7090288315629742</c:v>
                </c:pt>
                <c:pt idx="61">
                  <c:v>0.6991689750692521</c:v>
                </c:pt>
                <c:pt idx="62">
                  <c:v>0.697954902988988</c:v>
                </c:pt>
                <c:pt idx="63">
                  <c:v>0.6903784769721842</c:v>
                </c:pt>
                <c:pt idx="64">
                  <c:v>0.67498776309349</c:v>
                </c:pt>
                <c:pt idx="65">
                  <c:v>0.6954682779456194</c:v>
                </c:pt>
                <c:pt idx="66">
                  <c:v>0.7380410022779044</c:v>
                </c:pt>
                <c:pt idx="67">
                  <c:v>0.7097989949748744</c:v>
                </c:pt>
                <c:pt idx="68">
                  <c:v>0.7217915590008613</c:v>
                </c:pt>
                <c:pt idx="69">
                  <c:v>0.7286729857819905</c:v>
                </c:pt>
                <c:pt idx="70">
                  <c:v>0.7472406181015453</c:v>
                </c:pt>
                <c:pt idx="71">
                  <c:v>0.762589928057554</c:v>
                </c:pt>
                <c:pt idx="72">
                  <c:v>0.74230330672748</c:v>
                </c:pt>
                <c:pt idx="73">
                  <c:v>0.747239263803681</c:v>
                </c:pt>
                <c:pt idx="74">
                  <c:v>0.770663562281723</c:v>
                </c:pt>
                <c:pt idx="75">
                  <c:v>0.7723270440251573</c:v>
                </c:pt>
                <c:pt idx="76">
                  <c:v>0.761528326745718</c:v>
                </c:pt>
                <c:pt idx="77">
                  <c:v>0.7634408602150538</c:v>
                </c:pt>
                <c:pt idx="78">
                  <c:v>0.7232704402515723</c:v>
                </c:pt>
                <c:pt idx="79">
                  <c:v>0.7528089887640449</c:v>
                </c:pt>
                <c:pt idx="80">
                  <c:v>0.7565597667638484</c:v>
                </c:pt>
                <c:pt idx="81">
                  <c:v>0.7805164319248826</c:v>
                </c:pt>
                <c:pt idx="82">
                  <c:v>0.7421383647798742</c:v>
                </c:pt>
                <c:pt idx="83">
                  <c:v>0.7512864493996569</c:v>
                </c:pt>
                <c:pt idx="84">
                  <c:v>0.735</c:v>
                </c:pt>
                <c:pt idx="85">
                  <c:v>0.7835051546391752</c:v>
                </c:pt>
                <c:pt idx="86">
                  <c:v>0.7620041753653445</c:v>
                </c:pt>
                <c:pt idx="87">
                  <c:v>0.7410281280310378</c:v>
                </c:pt>
                <c:pt idx="88">
                  <c:v>0.7591145833333334</c:v>
                </c:pt>
                <c:pt idx="89">
                  <c:v>0.7737226277372263</c:v>
                </c:pt>
                <c:pt idx="90">
                  <c:v>0.762063227953411</c:v>
                </c:pt>
                <c:pt idx="91">
                  <c:v>0.7722602739726028</c:v>
                </c:pt>
                <c:pt idx="92">
                  <c:v>0.7493403693931399</c:v>
                </c:pt>
                <c:pt idx="93">
                  <c:v>0.7319587628865979</c:v>
                </c:pt>
                <c:pt idx="94">
                  <c:v>0.723202170963365</c:v>
                </c:pt>
                <c:pt idx="95">
                  <c:v>0.7144259077526988</c:v>
                </c:pt>
                <c:pt idx="96">
                  <c:v>0.7393980848153214</c:v>
                </c:pt>
                <c:pt idx="97">
                  <c:v>0.7347275729223995</c:v>
                </c:pt>
                <c:pt idx="98">
                  <c:v>0.7386980108499096</c:v>
                </c:pt>
                <c:pt idx="99">
                  <c:v>0.7404921700223713</c:v>
                </c:pt>
                <c:pt idx="100">
                  <c:v>0.7376281112737921</c:v>
                </c:pt>
                <c:pt idx="101">
                  <c:v>0.7428847081524361</c:v>
                </c:pt>
                <c:pt idx="102">
                  <c:v>0.7323636363636363</c:v>
                </c:pt>
                <c:pt idx="103">
                  <c:v>0.7224242424242424</c:v>
                </c:pt>
                <c:pt idx="104">
                  <c:v>0.7072633895818048</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52.1187</c:v>
                </c:pt>
                <c:pt idx="1">
                  <c:v>1164.6448</c:v>
                </c:pt>
                <c:pt idx="2">
                  <c:v>1167.565</c:v>
                </c:pt>
                <c:pt idx="3">
                  <c:v>1147.6093</c:v>
                </c:pt>
                <c:pt idx="4">
                  <c:v>1201.6841</c:v>
                </c:pt>
                <c:pt idx="5">
                  <c:v>1169.4541</c:v>
                </c:pt>
                <c:pt idx="6">
                  <c:v>1080.1755</c:v>
                </c:pt>
                <c:pt idx="7">
                  <c:v>1126.8044</c:v>
                </c:pt>
                <c:pt idx="8">
                  <c:v>1187.0125</c:v>
                </c:pt>
                <c:pt idx="9">
                  <c:v>1144.4252</c:v>
                </c:pt>
                <c:pt idx="10">
                  <c:v>1187.7386</c:v>
                </c:pt>
                <c:pt idx="11">
                  <c:v>1044.8778</c:v>
                </c:pt>
                <c:pt idx="12">
                  <c:v>1067.2976</c:v>
                </c:pt>
                <c:pt idx="13">
                  <c:v>1138.3197</c:v>
                </c:pt>
                <c:pt idx="14">
                  <c:v>1130.1587</c:v>
                </c:pt>
                <c:pt idx="15">
                  <c:v>1151.6464</c:v>
                </c:pt>
                <c:pt idx="16">
                  <c:v>1169.4061</c:v>
                </c:pt>
                <c:pt idx="17">
                  <c:v>1129.482</c:v>
                </c:pt>
                <c:pt idx="18">
                  <c:v>1226.7225</c:v>
                </c:pt>
                <c:pt idx="19">
                  <c:v>1296.0456</c:v>
                </c:pt>
                <c:pt idx="20">
                  <c:v>1262.4621</c:v>
                </c:pt>
                <c:pt idx="21">
                  <c:v>1174.167</c:v>
                </c:pt>
                <c:pt idx="22">
                  <c:v>1155.3574</c:v>
                </c:pt>
                <c:pt idx="23">
                  <c:v>1213.9897</c:v>
                </c:pt>
                <c:pt idx="24">
                  <c:v>1216.6544</c:v>
                </c:pt>
                <c:pt idx="25">
                  <c:v>1151.7427</c:v>
                </c:pt>
                <c:pt idx="26">
                  <c:v>1142.6492</c:v>
                </c:pt>
                <c:pt idx="27">
                  <c:v>1137.886</c:v>
                </c:pt>
                <c:pt idx="28">
                  <c:v>1168.2336</c:v>
                </c:pt>
                <c:pt idx="29">
                  <c:v>1175.1071</c:v>
                </c:pt>
                <c:pt idx="30">
                  <c:v>1169.4024</c:v>
                </c:pt>
                <c:pt idx="31">
                  <c:v>1155.556</c:v>
                </c:pt>
                <c:pt idx="32">
                  <c:v>1184.4918</c:v>
                </c:pt>
                <c:pt idx="33">
                  <c:v>1183.7778</c:v>
                </c:pt>
                <c:pt idx="34">
                  <c:v>1199.1642</c:v>
                </c:pt>
                <c:pt idx="35">
                  <c:v>1251.2659</c:v>
                </c:pt>
                <c:pt idx="36">
                  <c:v>1301.126</c:v>
                </c:pt>
                <c:pt idx="37">
                  <c:v>1294.6005</c:v>
                </c:pt>
                <c:pt idx="38">
                  <c:v>1320.5995</c:v>
                </c:pt>
                <c:pt idx="39">
                  <c:v>1263.3942</c:v>
                </c:pt>
                <c:pt idx="40">
                  <c:v>1255.5069</c:v>
                </c:pt>
                <c:pt idx="41">
                  <c:v>1327.2688</c:v>
                </c:pt>
                <c:pt idx="42">
                  <c:v>1315.6673</c:v>
                </c:pt>
                <c:pt idx="43">
                  <c:v>1333.0867</c:v>
                </c:pt>
                <c:pt idx="44">
                  <c:v>1254.4632</c:v>
                </c:pt>
                <c:pt idx="45">
                  <c:v>1191.246</c:v>
                </c:pt>
                <c:pt idx="46">
                  <c:v>1175.4643</c:v>
                </c:pt>
                <c:pt idx="47">
                  <c:v>1149.244</c:v>
                </c:pt>
                <c:pt idx="48">
                  <c:v>1135.0125</c:v>
                </c:pt>
                <c:pt idx="49">
                  <c:v>1148.2853</c:v>
                </c:pt>
                <c:pt idx="50">
                  <c:v>1097.1671</c:v>
                </c:pt>
                <c:pt idx="51">
                  <c:v>1062.9859</c:v>
                </c:pt>
              </c:numCache>
            </c:numRef>
          </c:xVal>
          <c:yVal>
            <c:numRef>
              <c:f>Sheet1!$B$109:$B$160</c:f>
              <c:numCache>
                <c:formatCode>General</c:formatCode>
                <c:ptCount val="52"/>
                <c:pt idx="0">
                  <c:v>0.7133934767522554</c:v>
                </c:pt>
                <c:pt idx="1">
                  <c:v>0.7436096049573974</c:v>
                </c:pt>
                <c:pt idx="2">
                  <c:v>0.7461439588688946</c:v>
                </c:pt>
                <c:pt idx="3">
                  <c:v>0.7424511545293073</c:v>
                </c:pt>
                <c:pt idx="4">
                  <c:v>0.7441393168117884</c:v>
                </c:pt>
                <c:pt idx="5">
                  <c:v>0.740218088518281</c:v>
                </c:pt>
                <c:pt idx="6">
                  <c:v>0.7590702947845805</c:v>
                </c:pt>
                <c:pt idx="7">
                  <c:v>0.7113249444855663</c:v>
                </c:pt>
                <c:pt idx="8">
                  <c:v>0.690846286701209</c:v>
                </c:pt>
                <c:pt idx="9">
                  <c:v>0.7021919879062736</c:v>
                </c:pt>
                <c:pt idx="10">
                  <c:v>0.7216257668711656</c:v>
                </c:pt>
                <c:pt idx="11">
                  <c:v>0.7348938486663038</c:v>
                </c:pt>
                <c:pt idx="12">
                  <c:v>0.7177677998717127</c:v>
                </c:pt>
                <c:pt idx="13">
                  <c:v>0.7318634423897582</c:v>
                </c:pt>
                <c:pt idx="14">
                  <c:v>0.7223076923076923</c:v>
                </c:pt>
                <c:pt idx="15">
                  <c:v>0.7430962343096235</c:v>
                </c:pt>
                <c:pt idx="16">
                  <c:v>0.7789783889980354</c:v>
                </c:pt>
                <c:pt idx="17">
                  <c:v>0.7678936605316974</c:v>
                </c:pt>
                <c:pt idx="18">
                  <c:v>0.7722371967654986</c:v>
                </c:pt>
                <c:pt idx="19">
                  <c:v>0.7608426270136307</c:v>
                </c:pt>
                <c:pt idx="20">
                  <c:v>0.7791842475386779</c:v>
                </c:pt>
                <c:pt idx="21">
                  <c:v>0.766566265060241</c:v>
                </c:pt>
                <c:pt idx="22">
                  <c:v>0.7418899858956276</c:v>
                </c:pt>
                <c:pt idx="23">
                  <c:v>0.7185185185185186</c:v>
                </c:pt>
                <c:pt idx="24">
                  <c:v>0.7148488830486203</c:v>
                </c:pt>
                <c:pt idx="25">
                  <c:v>0.7111416781292985</c:v>
                </c:pt>
                <c:pt idx="26">
                  <c:v>0.7183288409703504</c:v>
                </c:pt>
                <c:pt idx="27">
                  <c:v>0.7478991596638656</c:v>
                </c:pt>
                <c:pt idx="28">
                  <c:v>0.7473806752037253</c:v>
                </c:pt>
                <c:pt idx="29">
                  <c:v>0.7140939597315437</c:v>
                </c:pt>
                <c:pt idx="30">
                  <c:v>0.7235294117647059</c:v>
                </c:pt>
                <c:pt idx="31">
                  <c:v>0.7303370786516854</c:v>
                </c:pt>
                <c:pt idx="32">
                  <c:v>0.7229629629629629</c:v>
                </c:pt>
                <c:pt idx="33">
                  <c:v>0.7006578947368421</c:v>
                </c:pt>
                <c:pt idx="34">
                  <c:v>0.6715686274509803</c:v>
                </c:pt>
                <c:pt idx="35">
                  <c:v>0.6528066528066528</c:v>
                </c:pt>
                <c:pt idx="36">
                  <c:v>0.6494661921708185</c:v>
                </c:pt>
                <c:pt idx="37">
                  <c:v>0.6666666666666666</c:v>
                </c:pt>
                <c:pt idx="38">
                  <c:v>0.7190812720848057</c:v>
                </c:pt>
                <c:pt idx="39">
                  <c:v>0.6936708860759494</c:v>
                </c:pt>
                <c:pt idx="40">
                  <c:v>0.7127003699136868</c:v>
                </c:pt>
                <c:pt idx="41">
                  <c:v>0.6903073286052009</c:v>
                </c:pt>
                <c:pt idx="42">
                  <c:v>0.717948717948718</c:v>
                </c:pt>
                <c:pt idx="43">
                  <c:v>0.6976241900647948</c:v>
                </c:pt>
                <c:pt idx="44">
                  <c:v>0.7297535211267606</c:v>
                </c:pt>
                <c:pt idx="45">
                  <c:v>0.7327887981330222</c:v>
                </c:pt>
                <c:pt idx="46">
                  <c:v>0.7178502879078695</c:v>
                </c:pt>
                <c:pt idx="47">
                  <c:v>0.7006726457399103</c:v>
                </c:pt>
                <c:pt idx="48">
                  <c:v>0.7207433450527373</c:v>
                </c:pt>
                <c:pt idx="49">
                  <c:v>0.7154811715481172</c:v>
                </c:pt>
                <c:pt idx="50">
                  <c:v>0.6937642833823049</c:v>
                </c:pt>
                <c:pt idx="51">
                  <c:v>0.712264150943396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86.5619273374837</c:v>
                </c:pt>
              </c:numCache>
            </c:numRef>
          </c:xVal>
          <c:yVal>
            <c:numRef>
              <c:f>Sheet1!$B$163:$B$164</c:f>
              <c:numCache>
                <c:formatCode>General</c:formatCode>
                <c:ptCount val="2"/>
                <c:pt idx="0">
                  <c:v>0.7568626923705064</c:v>
                </c:pt>
                <c:pt idx="1">
                  <c:v>0.7568626923705064</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86.5619273374837</c:v>
                </c:pt>
                <c:pt idx="1">
                  <c:v>886.5619273374837</c:v>
                </c:pt>
              </c:numCache>
            </c:numRef>
          </c:xVal>
          <c:yVal>
            <c:numRef>
              <c:f>Sheet1!$B$167:$B$168</c:f>
              <c:numCache>
                <c:formatCode>General</c:formatCode>
                <c:ptCount val="2"/>
                <c:pt idx="0">
                  <c:v>0.756862692370506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980.5062197887097</c:v>
                </c:pt>
              </c:numCache>
            </c:numRef>
          </c:xVal>
          <c:yVal>
            <c:numRef>
              <c:f>Sheet1!$B$171:$B$172</c:f>
              <c:numCache>
                <c:formatCode>General</c:formatCode>
                <c:ptCount val="2"/>
                <c:pt idx="0">
                  <c:v>0.7461114737100238</c:v>
                </c:pt>
                <c:pt idx="1">
                  <c:v>0.746111473710023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980.5062197887097</c:v>
                </c:pt>
                <c:pt idx="1">
                  <c:v>980.5062197887097</c:v>
                </c:pt>
              </c:numCache>
            </c:numRef>
          </c:xVal>
          <c:yVal>
            <c:numRef>
              <c:f>Sheet1!$B$175:$B$176</c:f>
              <c:numCache>
                <c:formatCode>General</c:formatCode>
                <c:ptCount val="2"/>
                <c:pt idx="0">
                  <c:v>0.746111473710023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92.3050614364065</c:v>
                </c:pt>
              </c:numCache>
            </c:numRef>
          </c:xVal>
          <c:yVal>
            <c:numRef>
              <c:f>Sheet1!$B$179:$B$180</c:f>
              <c:numCache>
                <c:formatCode>General</c:formatCode>
                <c:ptCount val="2"/>
                <c:pt idx="0">
                  <c:v>0.7104284381878821</c:v>
                </c:pt>
                <c:pt idx="1">
                  <c:v>0.710428438187882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92.3050614364065</c:v>
                </c:pt>
                <c:pt idx="1">
                  <c:v>1292.3050614364065</c:v>
                </c:pt>
              </c:numCache>
            </c:numRef>
          </c:xVal>
          <c:yVal>
            <c:numRef>
              <c:f>Sheet1!$B$183:$B$184</c:f>
              <c:numCache>
                <c:formatCode>General</c:formatCode>
                <c:ptCount val="2"/>
                <c:pt idx="0">
                  <c:v>0.710428438187882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52.1187</c:v>
                </c:pt>
                <c:pt idx="1">
                  <c:v>1164.6448</c:v>
                </c:pt>
                <c:pt idx="2">
                  <c:v>1167.565</c:v>
                </c:pt>
                <c:pt idx="3">
                  <c:v>1147.6093</c:v>
                </c:pt>
                <c:pt idx="4">
                  <c:v>1201.6841</c:v>
                </c:pt>
                <c:pt idx="5">
                  <c:v>1169.4541</c:v>
                </c:pt>
                <c:pt idx="6">
                  <c:v>1080.1755</c:v>
                </c:pt>
                <c:pt idx="7">
                  <c:v>1126.8044</c:v>
                </c:pt>
                <c:pt idx="8">
                  <c:v>1187.0125</c:v>
                </c:pt>
                <c:pt idx="9">
                  <c:v>1144.4252</c:v>
                </c:pt>
                <c:pt idx="10">
                  <c:v>1187.7386</c:v>
                </c:pt>
                <c:pt idx="11">
                  <c:v>1044.8778</c:v>
                </c:pt>
                <c:pt idx="12">
                  <c:v>1067.2976</c:v>
                </c:pt>
                <c:pt idx="13">
                  <c:v>1138.3197</c:v>
                </c:pt>
                <c:pt idx="14">
                  <c:v>1130.1587</c:v>
                </c:pt>
                <c:pt idx="15">
                  <c:v>1151.6464</c:v>
                </c:pt>
                <c:pt idx="16">
                  <c:v>1169.4061</c:v>
                </c:pt>
                <c:pt idx="17">
                  <c:v>1129.482</c:v>
                </c:pt>
                <c:pt idx="18">
                  <c:v>1226.7225</c:v>
                </c:pt>
                <c:pt idx="19">
                  <c:v>1296.0456</c:v>
                </c:pt>
                <c:pt idx="20">
                  <c:v>1262.4621</c:v>
                </c:pt>
                <c:pt idx="21">
                  <c:v>1174.167</c:v>
                </c:pt>
                <c:pt idx="22">
                  <c:v>1155.3574</c:v>
                </c:pt>
                <c:pt idx="23">
                  <c:v>1213.9897</c:v>
                </c:pt>
                <c:pt idx="24">
                  <c:v>1216.6544</c:v>
                </c:pt>
                <c:pt idx="25">
                  <c:v>1151.7427</c:v>
                </c:pt>
                <c:pt idx="26">
                  <c:v>1142.6492</c:v>
                </c:pt>
                <c:pt idx="27">
                  <c:v>1137.886</c:v>
                </c:pt>
                <c:pt idx="28">
                  <c:v>1168.2336</c:v>
                </c:pt>
                <c:pt idx="29">
                  <c:v>1175.1071</c:v>
                </c:pt>
                <c:pt idx="30">
                  <c:v>1169.4024</c:v>
                </c:pt>
                <c:pt idx="31">
                  <c:v>1155.556</c:v>
                </c:pt>
                <c:pt idx="32">
                  <c:v>1184.4918</c:v>
                </c:pt>
                <c:pt idx="33">
                  <c:v>1183.7778</c:v>
                </c:pt>
                <c:pt idx="34">
                  <c:v>1199.1642</c:v>
                </c:pt>
                <c:pt idx="35">
                  <c:v>1251.2659</c:v>
                </c:pt>
                <c:pt idx="36">
                  <c:v>1301.126</c:v>
                </c:pt>
                <c:pt idx="37">
                  <c:v>1294.6005</c:v>
                </c:pt>
                <c:pt idx="38">
                  <c:v>1320.5995</c:v>
                </c:pt>
                <c:pt idx="39">
                  <c:v>1263.3942</c:v>
                </c:pt>
                <c:pt idx="40">
                  <c:v>1255.5069</c:v>
                </c:pt>
                <c:pt idx="41">
                  <c:v>1327.2688</c:v>
                </c:pt>
                <c:pt idx="42">
                  <c:v>1315.6673</c:v>
                </c:pt>
                <c:pt idx="43">
                  <c:v>1333.0867</c:v>
                </c:pt>
                <c:pt idx="44">
                  <c:v>1254.4632</c:v>
                </c:pt>
                <c:pt idx="45">
                  <c:v>1191.246</c:v>
                </c:pt>
                <c:pt idx="46">
                  <c:v>1175.4643</c:v>
                </c:pt>
                <c:pt idx="47">
                  <c:v>1149.244</c:v>
                </c:pt>
                <c:pt idx="48">
                  <c:v>1135.0125</c:v>
                </c:pt>
                <c:pt idx="49">
                  <c:v>1148.2853</c:v>
                </c:pt>
                <c:pt idx="50">
                  <c:v>1097.1671</c:v>
                </c:pt>
                <c:pt idx="51">
                  <c:v>1062.9859</c:v>
                </c:pt>
                <c:pt idx="52">
                  <c:v>980.5062197887097</c:v>
                </c:pt>
                <c:pt idx="53">
                  <c:v>886.5619273374837</c:v>
                </c:pt>
                <c:pt idx="54">
                  <c:v>1292.3050614364065</c:v>
                </c:pt>
              </c:numCache>
            </c:numRef>
          </c:xVal>
          <c:yVal>
            <c:numRef>
              <c:f>Sheet1!$B$187:$B$241</c:f>
              <c:numCache>
                <c:formatCode>General</c:formatCode>
                <c:ptCount val="55"/>
                <c:pt idx="0">
                  <c:v>0.7264717143220096</c:v>
                </c:pt>
                <c:pt idx="1">
                  <c:v>0.7250381962598773</c:v>
                </c:pt>
                <c:pt idx="2">
                  <c:v>0.7247040013033434</c:v>
                </c:pt>
                <c:pt idx="3">
                  <c:v>0.7269877812821472</c:v>
                </c:pt>
                <c:pt idx="4">
                  <c:v>0.7207993265750803</c:v>
                </c:pt>
                <c:pt idx="5">
                  <c:v>0.7244878079972726</c:v>
                </c:pt>
                <c:pt idx="6">
                  <c:v>0.7347050732004791</c:v>
                </c:pt>
                <c:pt idx="7">
                  <c:v>0.7293687458226551</c:v>
                </c:pt>
                <c:pt idx="8">
                  <c:v>0.7224783809974767</c:v>
                </c:pt>
                <c:pt idx="9">
                  <c:v>0.7273521776115422</c:v>
                </c:pt>
                <c:pt idx="10">
                  <c:v>0.7223952843061751</c:v>
                </c:pt>
                <c:pt idx="11">
                  <c:v>0.7387446298463407</c:v>
                </c:pt>
                <c:pt idx="12">
                  <c:v>0.7361788521302604</c:v>
                </c:pt>
                <c:pt idx="13">
                  <c:v>0.728050906228458</c:v>
                </c:pt>
                <c:pt idx="14">
                  <c:v>0.7289848713816232</c:v>
                </c:pt>
                <c:pt idx="15">
                  <c:v>0.7265257655095896</c:v>
                </c:pt>
                <c:pt idx="16">
                  <c:v>0.7244933012367472</c:v>
                </c:pt>
                <c:pt idx="17">
                  <c:v>0.7290623146139656</c:v>
                </c:pt>
                <c:pt idx="18">
                  <c:v>0.7179338697571647</c:v>
                </c:pt>
                <c:pt idx="19">
                  <c:v>0.7100003616442642</c:v>
                </c:pt>
                <c:pt idx="20">
                  <c:v>0.7138437409753904</c:v>
                </c:pt>
                <c:pt idx="21">
                  <c:v>0.7239484519906128</c:v>
                </c:pt>
                <c:pt idx="22">
                  <c:v>0.7261010694327122</c:v>
                </c:pt>
                <c:pt idx="23">
                  <c:v>0.7193910430817843</c:v>
                </c:pt>
                <c:pt idx="24">
                  <c:v>0.7190860881812036</c:v>
                </c:pt>
                <c:pt idx="25">
                  <c:v>0.7265147446978937</c:v>
                </c:pt>
                <c:pt idx="26">
                  <c:v>0.7275554274721012</c:v>
                </c:pt>
                <c:pt idx="27">
                  <c:v>0.7281005399359606</c:v>
                </c:pt>
                <c:pt idx="28">
                  <c:v>0.7246274850551624</c:v>
                </c:pt>
                <c:pt idx="29">
                  <c:v>0.7238408646066535</c:v>
                </c:pt>
                <c:pt idx="30">
                  <c:v>0.7244937246739567</c:v>
                </c:pt>
                <c:pt idx="31">
                  <c:v>0.7260783411543863</c:v>
                </c:pt>
                <c:pt idx="32">
                  <c:v>0.7227668561796337</c:v>
                </c:pt>
                <c:pt idx="33">
                  <c:v>0.7228485681168179</c:v>
                </c:pt>
                <c:pt idx="34">
                  <c:v>0.721087710203246</c:v>
                </c:pt>
                <c:pt idx="35">
                  <c:v>0.7151250619713304</c:v>
                </c:pt>
                <c:pt idx="36">
                  <c:v>0.709418948022877</c:v>
                </c:pt>
                <c:pt idx="37">
                  <c:v>0.7101657424851953</c:v>
                </c:pt>
                <c:pt idx="38">
                  <c:v>0.7071903522122949</c:v>
                </c:pt>
                <c:pt idx="39">
                  <c:v>0.7137370691313436</c:v>
                </c:pt>
                <c:pt idx="40">
                  <c:v>0.7146397113752547</c:v>
                </c:pt>
                <c:pt idx="41">
                  <c:v>0.7064271009200508</c:v>
                </c:pt>
                <c:pt idx="42">
                  <c:v>0.7077548054568042</c:v>
                </c:pt>
                <c:pt idx="43">
                  <c:v>0.7057612859629867</c:v>
                </c:pt>
                <c:pt idx="44">
                  <c:v>0.7147591550010799</c:v>
                </c:pt>
                <c:pt idx="45">
                  <c:v>0.721993888720069</c:v>
                </c:pt>
                <c:pt idx="46">
                  <c:v>0.7237999857495636</c:v>
                </c:pt>
                <c:pt idx="47">
                  <c:v>0.7268007021452916</c:v>
                </c:pt>
                <c:pt idx="48">
                  <c:v>0.7284293904282556</c:v>
                </c:pt>
                <c:pt idx="49">
                  <c:v>0.726910418159547</c:v>
                </c:pt>
                <c:pt idx="50">
                  <c:v>0.7327605122034786</c:v>
                </c:pt>
                <c:pt idx="51">
                  <c:v>0.7366722938103121</c:v>
                </c:pt>
                <c:pt idx="52">
                  <c:v>0.7461114737100238</c:v>
                </c:pt>
                <c:pt idx="53">
                  <c:v>0.7568626923705064</c:v>
                </c:pt>
                <c:pt idx="54">
                  <c:v>0.710428438187882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0.0"/>
          <c:min val="56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7"/>
          <c:min val="0.507374631268436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770663562281723</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770663562281723</c:v>
                </c:pt>
              </c:numCache>
            </c:numRef>
          </c:xVal>
          <c:yVal>
            <c:numRef>
              <c:f>Sheet1!$B$7:$B$8</c:f>
              <c:numCache>
                <c:formatCode>General</c:formatCode>
                <c:ptCount val="2"/>
                <c:pt idx="0">
                  <c:v>0.770663562281723</c:v>
                </c:pt>
                <c:pt idx="1">
                  <c:v>0.770663562281723</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770663562281723</c:v>
                </c:pt>
                <c:pt idx="1">
                  <c:v>0.770663562281723</c:v>
                </c:pt>
              </c:numCache>
            </c:numRef>
          </c:xVal>
          <c:yVal>
            <c:numRef>
              <c:f>Sheet1!$B$11:$B$12</c:f>
              <c:numCache>
                <c:formatCode>General</c:formatCode>
                <c:ptCount val="2"/>
                <c:pt idx="0">
                  <c:v>0.77066356228172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770663562281723</c:v>
                </c:pt>
                <c:pt idx="2">
                  <c:v>0</c:v>
                </c:pt>
              </c:numCache>
            </c:numRef>
          </c:xVal>
          <c:yVal>
            <c:numRef>
              <c:f>Sheet1!$B$15:$B$17</c:f>
              <c:numCache>
                <c:formatCode>General</c:formatCode>
                <c:ptCount val="3"/>
                <c:pt idx="0">
                  <c:v>0</c:v>
                </c:pt>
                <c:pt idx="1">
                  <c:v>0.770663562281723</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opperto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47962747380675"/>
          <c:min val="0.61653084982537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1216.9758</c:v>
                </c:pt>
              </c:numCache>
            </c:numRef>
          </c:xVal>
          <c:yVal>
            <c:numRef>
              <c:f>Sheet1!$B$2:$B$2</c:f>
              <c:numCache>
                <c:formatCode>General</c:formatCode>
                <c:ptCount val="1"/>
                <c:pt idx="0">
                  <c:v>0.770663562281723</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770663562281723</c:v>
                </c:pt>
              </c:numCache>
            </c:numRef>
          </c:xVal>
          <c:yVal>
            <c:numRef>
              <c:f>Sheet1!$B$7:$B$8</c:f>
              <c:numCache>
                <c:formatCode>General</c:formatCode>
                <c:ptCount val="2"/>
                <c:pt idx="0">
                  <c:v>0.770663562281723</c:v>
                </c:pt>
                <c:pt idx="1">
                  <c:v>0.770663562281723</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770663562281723</c:v>
                </c:pt>
                <c:pt idx="1">
                  <c:v>0.770663562281723</c:v>
                </c:pt>
              </c:numCache>
            </c:numRef>
          </c:xVal>
          <c:yVal>
            <c:numRef>
              <c:f>Sheet1!$B$11:$B$12</c:f>
              <c:numCache>
                <c:formatCode>General</c:formatCode>
                <c:ptCount val="2"/>
                <c:pt idx="0">
                  <c:v>0.77066356228172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770663562281723</c:v>
                </c:pt>
                <c:pt idx="2">
                  <c:v>0</c:v>
                </c:pt>
              </c:numCache>
            </c:numRef>
          </c:xVal>
          <c:yVal>
            <c:numRef>
              <c:f>Sheet1!$B$15:$B$17</c:f>
              <c:numCache>
                <c:formatCode>General</c:formatCode>
                <c:ptCount val="3"/>
                <c:pt idx="0">
                  <c:v>0</c:v>
                </c:pt>
                <c:pt idx="1">
                  <c:v>0.770663562281723</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6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47962747380675"/>
          <c:min val="0.61653084982537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6409497562804649</c:v>
                </c:pt>
                <c:pt idx="1">
                  <c:v>0.6859679312813171</c:v>
                </c:pt>
                <c:pt idx="2">
                  <c:v>0.7642682144619042</c:v>
                </c:pt>
                <c:pt idx="3">
                  <c:v>0.786404703551283</c:v>
                </c:pt>
                <c:pt idx="4">
                  <c:v>1.000452657480315</c:v>
                </c:pt>
                <c:pt idx="5">
                  <c:v>1.002888779527559</c:v>
                </c:pt>
                <c:pt idx="6">
                  <c:v>0.7733095731454621</c:v>
                </c:pt>
                <c:pt idx="7">
                  <c:v>0.8938058360352015</c:v>
                </c:pt>
                <c:pt idx="8">
                  <c:v>0.8616122047244095</c:v>
                </c:pt>
                <c:pt idx="9">
                  <c:v>0.8392031496062993</c:v>
                </c:pt>
                <c:pt idx="10">
                  <c:v>0.7842265354330709</c:v>
                </c:pt>
                <c:pt idx="11">
                  <c:v>0.7510578382247672</c:v>
                </c:pt>
                <c:pt idx="12">
                  <c:v>0.7297636707338031</c:v>
                </c:pt>
                <c:pt idx="13">
                  <c:v>0.7226482026703184</c:v>
                </c:pt>
                <c:pt idx="14">
                  <c:v>0.8352455905511811</c:v>
                </c:pt>
                <c:pt idx="15">
                  <c:v>1.0270826771653545</c:v>
                </c:pt>
                <c:pt idx="16">
                  <c:v>1.0746518851435707</c:v>
                </c:pt>
                <c:pt idx="17">
                  <c:v>1.0140275799501022</c:v>
                </c:pt>
                <c:pt idx="18">
                  <c:v>1.0309195912927587</c:v>
                </c:pt>
                <c:pt idx="19">
                  <c:v>0.7173972128685622</c:v>
                </c:pt>
                <c:pt idx="20">
                  <c:v>1.0796596396396396</c:v>
                </c:pt>
                <c:pt idx="21">
                  <c:v>0.8924585172605137</c:v>
                </c:pt>
                <c:pt idx="22">
                  <c:v>1.2254536787564767</c:v>
                </c:pt>
                <c:pt idx="23">
                  <c:v>1.4245440150211235</c:v>
                </c:pt>
                <c:pt idx="24">
                  <c:v>1.0457417040656412</c:v>
                </c:pt>
                <c:pt idx="25">
                  <c:v>0.912364705882353</c:v>
                </c:pt>
                <c:pt idx="26">
                  <c:v>1.5992086166398907</c:v>
                </c:pt>
                <c:pt idx="27">
                  <c:v>1.090053414803154</c:v>
                </c:pt>
                <c:pt idx="28">
                  <c:v>0.8532596062992126</c:v>
                </c:pt>
                <c:pt idx="29">
                  <c:v>0.9085747874709111</c:v>
                </c:pt>
                <c:pt idx="30">
                  <c:v>0.9104919190086114</c:v>
                </c:pt>
                <c:pt idx="31">
                  <c:v>1.024442205777035</c:v>
                </c:pt>
                <c:pt idx="32">
                  <c:v>0.8240768475103712</c:v>
                </c:pt>
                <c:pt idx="33">
                  <c:v>1.000459209157128</c:v>
                </c:pt>
                <c:pt idx="34">
                  <c:v>0.9503725602228227</c:v>
                </c:pt>
                <c:pt idx="35">
                  <c:v>0.8879453895643512</c:v>
                </c:pt>
                <c:pt idx="36">
                  <c:v>0.9268841276419394</c:v>
                </c:pt>
                <c:pt idx="37">
                  <c:v>0.832397869383974</c:v>
                </c:pt>
                <c:pt idx="38">
                  <c:v>1.0615473541776195</c:v>
                </c:pt>
                <c:pt idx="39">
                  <c:v>0.9230108137491374</c:v>
                </c:pt>
                <c:pt idx="40">
                  <c:v>0.9949843307086614</c:v>
                </c:pt>
                <c:pt idx="41">
                  <c:v>1.0165389763779527</c:v>
                </c:pt>
                <c:pt idx="42">
                  <c:v>1.0583943510691198</c:v>
                </c:pt>
                <c:pt idx="43">
                  <c:v>1.1415780529890567</c:v>
                </c:pt>
                <c:pt idx="44">
                  <c:v>0.9861008032128514</c:v>
                </c:pt>
                <c:pt idx="45">
                  <c:v>0.9874261604594043</c:v>
                </c:pt>
                <c:pt idx="46">
                  <c:v>1.0733284691136973</c:v>
                </c:pt>
                <c:pt idx="47">
                  <c:v>0.9094859227962357</c:v>
                </c:pt>
                <c:pt idx="48">
                  <c:v>1.0765001380579844</c:v>
                </c:pt>
                <c:pt idx="49">
                  <c:v>0.9947536922749521</c:v>
                </c:pt>
                <c:pt idx="50">
                  <c:v>0.9527443405511811</c:v>
                </c:pt>
                <c:pt idx="51">
                  <c:v>0.6780611361079865</c:v>
                </c:pt>
                <c:pt idx="52">
                  <c:v>0.9485508661417322</c:v>
                </c:pt>
                <c:pt idx="53">
                  <c:v>0.9888753543307086</c:v>
                </c:pt>
                <c:pt idx="54">
                  <c:v>0.8991610594130278</c:v>
                </c:pt>
                <c:pt idx="55">
                  <c:v>0.893411596277738</c:v>
                </c:pt>
                <c:pt idx="56">
                  <c:v>0.9879357480314961</c:v>
                </c:pt>
                <c:pt idx="57">
                  <c:v>1.206776181102362</c:v>
                </c:pt>
                <c:pt idx="58">
                  <c:v>0.9884596652719665</c:v>
                </c:pt>
                <c:pt idx="59">
                  <c:v>1.033675765529309</c:v>
                </c:pt>
                <c:pt idx="60">
                  <c:v>0.7773094559585492</c:v>
                </c:pt>
                <c:pt idx="61">
                  <c:v>0.9507553059643686</c:v>
                </c:pt>
                <c:pt idx="62">
                  <c:v>1.0292463692038494</c:v>
                </c:pt>
                <c:pt idx="63">
                  <c:v>0.9059896062992127</c:v>
                </c:pt>
                <c:pt idx="64">
                  <c:v>0.8951453543307086</c:v>
                </c:pt>
                <c:pt idx="65">
                  <c:v>1.014023409629818</c:v>
                </c:pt>
                <c:pt idx="66">
                  <c:v>0.9916308906229288</c:v>
                </c:pt>
                <c:pt idx="67">
                  <c:v>1.1507478579365733</c:v>
                </c:pt>
                <c:pt idx="68">
                  <c:v>1.023363681102362</c:v>
                </c:pt>
                <c:pt idx="69">
                  <c:v>0.6969166010498687</c:v>
                </c:pt>
                <c:pt idx="70">
                  <c:v>1.3722431142502995</c:v>
                </c:pt>
                <c:pt idx="71">
                  <c:v>1.3214295614510017</c:v>
                </c:pt>
                <c:pt idx="72">
                  <c:v>1.0560361278369614</c:v>
                </c:pt>
                <c:pt idx="73">
                  <c:v>1.2653776551436902</c:v>
                </c:pt>
                <c:pt idx="74">
                  <c:v>2.635735593212401</c:v>
                </c:pt>
                <c:pt idx="75">
                  <c:v>2.4469150023223407</c:v>
                </c:pt>
                <c:pt idx="76">
                  <c:v>1.7862132830777229</c:v>
                </c:pt>
                <c:pt idx="77">
                  <c:v>1.699157142857143</c:v>
                </c:pt>
                <c:pt idx="78">
                  <c:v>0.9966070422535211</c:v>
                </c:pt>
                <c:pt idx="79">
                  <c:v>2.2162099833610647</c:v>
                </c:pt>
                <c:pt idx="80">
                  <c:v>1.0588301902748416</c:v>
                </c:pt>
                <c:pt idx="81">
                  <c:v>1.5443643529998319</c:v>
                </c:pt>
                <c:pt idx="82">
                  <c:v>1.7082246819338422</c:v>
                </c:pt>
                <c:pt idx="83">
                  <c:v>1.1382256510881197</c:v>
                </c:pt>
                <c:pt idx="84">
                  <c:v>1.5164479166666667</c:v>
                </c:pt>
                <c:pt idx="85">
                  <c:v>1.9515213622291023</c:v>
                </c:pt>
                <c:pt idx="86">
                  <c:v>1.0054171693735499</c:v>
                </c:pt>
                <c:pt idx="87">
                  <c:v>1.0377772440944883</c:v>
                </c:pt>
                <c:pt idx="88">
                  <c:v>1.1288374104309853</c:v>
                </c:pt>
                <c:pt idx="89">
                  <c:v>1.0827881102362205</c:v>
                </c:pt>
                <c:pt idx="90">
                  <c:v>1.1751388222878407</c:v>
                </c:pt>
                <c:pt idx="91">
                  <c:v>1.0765882181393993</c:v>
                </c:pt>
                <c:pt idx="92">
                  <c:v>1.2071728685931629</c:v>
                </c:pt>
                <c:pt idx="93">
                  <c:v>1.1197013991649793</c:v>
                </c:pt>
                <c:pt idx="94">
                  <c:v>1.0351743535294762</c:v>
                </c:pt>
                <c:pt idx="95">
                  <c:v>0.8943004152249135</c:v>
                </c:pt>
                <c:pt idx="96">
                  <c:v>0.9506438652045649</c:v>
                </c:pt>
                <c:pt idx="97">
                  <c:v>0.8784265743944636</c:v>
                </c:pt>
                <c:pt idx="98">
                  <c:v>0.8826860818907251</c:v>
                </c:pt>
                <c:pt idx="99">
                  <c:v>0.8479374443709459</c:v>
                </c:pt>
                <c:pt idx="100">
                  <c:v>1.098343235504653</c:v>
                </c:pt>
                <c:pt idx="101">
                  <c:v>0.965145015576324</c:v>
                </c:pt>
                <c:pt idx="102">
                  <c:v>1.0392730044789933</c:v>
                </c:pt>
                <c:pt idx="103">
                  <c:v>0.9591448818897638</c:v>
                </c:pt>
                <c:pt idx="104">
                  <c:v>0.9036681659202391</c:v>
                </c:pt>
              </c:numCache>
            </c:numRef>
          </c:xVal>
          <c:yVal>
            <c:numRef>
              <c:f>Sheet1!$B$2:$B$106</c:f>
              <c:numCache>
                <c:formatCode>General</c:formatCode>
                <c:ptCount val="105"/>
                <c:pt idx="0">
                  <c:v>0.2575581395348837</c:v>
                </c:pt>
                <c:pt idx="1">
                  <c:v>0.2714468629961588</c:v>
                </c:pt>
                <c:pt idx="2">
                  <c:v>0.2629987908101572</c:v>
                </c:pt>
                <c:pt idx="3">
                  <c:v>0.2743979721166033</c:v>
                </c:pt>
                <c:pt idx="4">
                  <c:v>0.2892329345531316</c:v>
                </c:pt>
                <c:pt idx="5">
                  <c:v>0.27557879014189696</c:v>
                </c:pt>
                <c:pt idx="6">
                  <c:v>0.2907801418439716</c:v>
                </c:pt>
                <c:pt idx="7">
                  <c:v>0.2958904109589041</c:v>
                </c:pt>
                <c:pt idx="8">
                  <c:v>0.2774244833068362</c:v>
                </c:pt>
                <c:pt idx="9">
                  <c:v>0.2283758556316117</c:v>
                </c:pt>
                <c:pt idx="10">
                  <c:v>0.24651162790697675</c:v>
                </c:pt>
                <c:pt idx="11">
                  <c:v>0.26916524701873934</c:v>
                </c:pt>
                <c:pt idx="12">
                  <c:v>0.30491803278688523</c:v>
                </c:pt>
                <c:pt idx="13">
                  <c:v>0.31860036832412525</c:v>
                </c:pt>
                <c:pt idx="14">
                  <c:v>0.28950159066808057</c:v>
                </c:pt>
                <c:pt idx="15">
                  <c:v>0.27624309392265195</c:v>
                </c:pt>
                <c:pt idx="16">
                  <c:v>0.25120772946859904</c:v>
                </c:pt>
                <c:pt idx="17">
                  <c:v>0.2599118942731278</c:v>
                </c:pt>
                <c:pt idx="18">
                  <c:v>0.2</c:v>
                </c:pt>
                <c:pt idx="19">
                  <c:v>0.1986754966887417</c:v>
                </c:pt>
                <c:pt idx="20">
                  <c:v>0.1875</c:v>
                </c:pt>
                <c:pt idx="21">
                  <c:v>0.20476190476190476</c:v>
                </c:pt>
                <c:pt idx="22">
                  <c:v>0.26991150442477874</c:v>
                </c:pt>
                <c:pt idx="23">
                  <c:v>0.2647482014388489</c:v>
                </c:pt>
                <c:pt idx="24">
                  <c:v>0.3354350567465322</c:v>
                </c:pt>
                <c:pt idx="25">
                  <c:v>0.31285714285714283</c:v>
                </c:pt>
                <c:pt idx="26">
                  <c:v>0.32923832923832924</c:v>
                </c:pt>
                <c:pt idx="27">
                  <c:v>0.343409915356711</c:v>
                </c:pt>
                <c:pt idx="28">
                  <c:v>0.3083645443196005</c:v>
                </c:pt>
                <c:pt idx="29">
                  <c:v>0.35988200589970504</c:v>
                </c:pt>
                <c:pt idx="30">
                  <c:v>0.3114973262032086</c:v>
                </c:pt>
                <c:pt idx="31">
                  <c:v>0.31675392670157065</c:v>
                </c:pt>
                <c:pt idx="32">
                  <c:v>0.3354591836734694</c:v>
                </c:pt>
                <c:pt idx="33">
                  <c:v>0.3418217433888345</c:v>
                </c:pt>
                <c:pt idx="34">
                  <c:v>0.3295175797219951</c:v>
                </c:pt>
                <c:pt idx="35">
                  <c:v>0.32669616519174044</c:v>
                </c:pt>
                <c:pt idx="36">
                  <c:v>0.2901921132457027</c:v>
                </c:pt>
                <c:pt idx="37">
                  <c:v>0.3090128755364807</c:v>
                </c:pt>
                <c:pt idx="38">
                  <c:v>0.2814207650273224</c:v>
                </c:pt>
                <c:pt idx="39">
                  <c:v>0.29760225669957685</c:v>
                </c:pt>
                <c:pt idx="40">
                  <c:v>0.28604651162790695</c:v>
                </c:pt>
                <c:pt idx="41">
                  <c:v>0.30191256830601093</c:v>
                </c:pt>
                <c:pt idx="42">
                  <c:v>0.3421658986175115</c:v>
                </c:pt>
                <c:pt idx="43">
                  <c:v>0.3071200850159405</c:v>
                </c:pt>
                <c:pt idx="44">
                  <c:v>0.2977491961414791</c:v>
                </c:pt>
                <c:pt idx="45">
                  <c:v>0.2696741854636591</c:v>
                </c:pt>
                <c:pt idx="46">
                  <c:v>0.3002469135802469</c:v>
                </c:pt>
                <c:pt idx="47">
                  <c:v>0.3058103975535168</c:v>
                </c:pt>
                <c:pt idx="48">
                  <c:v>0.2970494417862839</c:v>
                </c:pt>
                <c:pt idx="49">
                  <c:v>0.2786451442180471</c:v>
                </c:pt>
                <c:pt idx="50">
                  <c:v>0.27690643591130343</c:v>
                </c:pt>
                <c:pt idx="51">
                  <c:v>0.29037149355572406</c:v>
                </c:pt>
                <c:pt idx="52">
                  <c:v>0.28976572133168926</c:v>
                </c:pt>
                <c:pt idx="53">
                  <c:v>0.29362029208301305</c:v>
                </c:pt>
                <c:pt idx="54">
                  <c:v>0.2736156351791531</c:v>
                </c:pt>
                <c:pt idx="55">
                  <c:v>0.2871046228710462</c:v>
                </c:pt>
                <c:pt idx="56">
                  <c:v>0.3085904920767306</c:v>
                </c:pt>
                <c:pt idx="57">
                  <c:v>0.301140174379611</c:v>
                </c:pt>
                <c:pt idx="58">
                  <c:v>0.30952380952380953</c:v>
                </c:pt>
                <c:pt idx="59">
                  <c:v>0.28651883139739526</c:v>
                </c:pt>
                <c:pt idx="60">
                  <c:v>0.2905918057663126</c:v>
                </c:pt>
                <c:pt idx="61">
                  <c:v>0.2997229916897507</c:v>
                </c:pt>
                <c:pt idx="62">
                  <c:v>0.30099632931305714</c:v>
                </c:pt>
                <c:pt idx="63">
                  <c:v>0.3073415412676699</c:v>
                </c:pt>
                <c:pt idx="64">
                  <c:v>0.3225648556045032</c:v>
                </c:pt>
                <c:pt idx="65">
                  <c:v>0.3027190332326284</c:v>
                </c:pt>
                <c:pt idx="66">
                  <c:v>0.260250569476082</c:v>
                </c:pt>
                <c:pt idx="67">
                  <c:v>0.28831658291457285</c:v>
                </c:pt>
                <c:pt idx="68">
                  <c:v>0.2756244616709733</c:v>
                </c:pt>
                <c:pt idx="69">
                  <c:v>0.27014218009478674</c:v>
                </c:pt>
                <c:pt idx="70">
                  <c:v>0.24944812362030905</c:v>
                </c:pt>
                <c:pt idx="71">
                  <c:v>0.23261390887290168</c:v>
                </c:pt>
                <c:pt idx="72">
                  <c:v>0.2531356898517674</c:v>
                </c:pt>
                <c:pt idx="73">
                  <c:v>0.24662576687116564</c:v>
                </c:pt>
                <c:pt idx="74">
                  <c:v>0.22118742724097787</c:v>
                </c:pt>
                <c:pt idx="75">
                  <c:v>0.21761006289308177</c:v>
                </c:pt>
                <c:pt idx="76">
                  <c:v>0.2318840579710145</c:v>
                </c:pt>
                <c:pt idx="77">
                  <c:v>0.2304147465437788</c:v>
                </c:pt>
                <c:pt idx="78">
                  <c:v>0.2751572327044025</c:v>
                </c:pt>
                <c:pt idx="79">
                  <c:v>0.24297752808988765</c:v>
                </c:pt>
                <c:pt idx="80">
                  <c:v>0.24052478134110788</c:v>
                </c:pt>
                <c:pt idx="81">
                  <c:v>0.215962441314554</c:v>
                </c:pt>
                <c:pt idx="82">
                  <c:v>0.24842767295597484</c:v>
                </c:pt>
                <c:pt idx="83">
                  <c:v>0.24013722126929674</c:v>
                </c:pt>
                <c:pt idx="84">
                  <c:v>0.25666666666666665</c:v>
                </c:pt>
                <c:pt idx="85">
                  <c:v>0.21354933726067746</c:v>
                </c:pt>
                <c:pt idx="86">
                  <c:v>0.2348643006263048</c:v>
                </c:pt>
                <c:pt idx="87">
                  <c:v>0.2541222114451988</c:v>
                </c:pt>
                <c:pt idx="88">
                  <c:v>0.23177083333333334</c:v>
                </c:pt>
                <c:pt idx="89">
                  <c:v>0.21751824817518248</c:v>
                </c:pt>
                <c:pt idx="90">
                  <c:v>0.22795341098169716</c:v>
                </c:pt>
                <c:pt idx="91">
                  <c:v>0.2191780821917808</c:v>
                </c:pt>
                <c:pt idx="92">
                  <c:v>0.24274406332453827</c:v>
                </c:pt>
                <c:pt idx="93">
                  <c:v>0.25644329896907214</c:v>
                </c:pt>
                <c:pt idx="94">
                  <c:v>0.2645861601085482</c:v>
                </c:pt>
                <c:pt idx="95">
                  <c:v>0.2787046123650638</c:v>
                </c:pt>
                <c:pt idx="96">
                  <c:v>0.2558139534883721</c:v>
                </c:pt>
                <c:pt idx="97">
                  <c:v>0.26307099614749585</c:v>
                </c:pt>
                <c:pt idx="98">
                  <c:v>0.25994575045207957</c:v>
                </c:pt>
                <c:pt idx="99">
                  <c:v>0.25838926174496646</c:v>
                </c:pt>
                <c:pt idx="100">
                  <c:v>0.2609077598828697</c:v>
                </c:pt>
                <c:pt idx="101">
                  <c:v>0.25470332850940663</c:v>
                </c:pt>
                <c:pt idx="102">
                  <c:v>0.26545454545454544</c:v>
                </c:pt>
                <c:pt idx="103">
                  <c:v>0.27636363636363637</c:v>
                </c:pt>
                <c:pt idx="104">
                  <c:v>0.290535583272193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729076923076923</c:v>
                </c:pt>
                <c:pt idx="1">
                  <c:v>1.1410781254521407</c:v>
                </c:pt>
                <c:pt idx="2">
                  <c:v>1.1533596675415572</c:v>
                </c:pt>
                <c:pt idx="3">
                  <c:v>0.9914521535769373</c:v>
                </c:pt>
                <c:pt idx="4">
                  <c:v>1.2406667960062305</c:v>
                </c:pt>
                <c:pt idx="5">
                  <c:v>1.0411493838299857</c:v>
                </c:pt>
                <c:pt idx="6">
                  <c:v>1.1888274715660543</c:v>
                </c:pt>
                <c:pt idx="7">
                  <c:v>0.8619803805774279</c:v>
                </c:pt>
                <c:pt idx="8">
                  <c:v>0.8752379921259842</c:v>
                </c:pt>
                <c:pt idx="9">
                  <c:v>1.3202350393700788</c:v>
                </c:pt>
                <c:pt idx="10">
                  <c:v>1.1813083989501312</c:v>
                </c:pt>
                <c:pt idx="11">
                  <c:v>1.0956234389140271</c:v>
                </c:pt>
                <c:pt idx="12">
                  <c:v>1.0736313210848643</c:v>
                </c:pt>
                <c:pt idx="13">
                  <c:v>0.9437826990709093</c:v>
                </c:pt>
                <c:pt idx="14">
                  <c:v>1.0472974985179275</c:v>
                </c:pt>
                <c:pt idx="15">
                  <c:v>0.946798438081071</c:v>
                </c:pt>
                <c:pt idx="16">
                  <c:v>0.9757978793418648</c:v>
                </c:pt>
                <c:pt idx="17">
                  <c:v>1.0209358267716535</c:v>
                </c:pt>
                <c:pt idx="18">
                  <c:v>1.0097406767458603</c:v>
                </c:pt>
                <c:pt idx="19">
                  <c:v>1.3260043744531933</c:v>
                </c:pt>
                <c:pt idx="20">
                  <c:v>1.321793670886076</c:v>
                </c:pt>
                <c:pt idx="21">
                  <c:v>0.9519599718111347</c:v>
                </c:pt>
                <c:pt idx="22">
                  <c:v>1.0298364161849711</c:v>
                </c:pt>
                <c:pt idx="23">
                  <c:v>0.8355205380577427</c:v>
                </c:pt>
                <c:pt idx="24">
                  <c:v>1.0572300962379702</c:v>
                </c:pt>
                <c:pt idx="25">
                  <c:v>0.5671080708661417</c:v>
                </c:pt>
                <c:pt idx="26">
                  <c:v>0.6962284589426322</c:v>
                </c:pt>
                <c:pt idx="27">
                  <c:v>0.8772949253657927</c:v>
                </c:pt>
                <c:pt idx="28">
                  <c:v>1.0922605070906748</c:v>
                </c:pt>
                <c:pt idx="29">
                  <c:v>0.9683465546860087</c:v>
                </c:pt>
                <c:pt idx="30">
                  <c:v>0.9930867781155015</c:v>
                </c:pt>
                <c:pt idx="31">
                  <c:v>1.0860546207576662</c:v>
                </c:pt>
                <c:pt idx="32">
                  <c:v>1.2064267230060468</c:v>
                </c:pt>
                <c:pt idx="33">
                  <c:v>1.445749891587164</c:v>
                </c:pt>
                <c:pt idx="34">
                  <c:v>1.6642158691366145</c:v>
                </c:pt>
                <c:pt idx="35">
                  <c:v>0.994421445042275</c:v>
                </c:pt>
                <c:pt idx="36">
                  <c:v>1.2042896857830037</c:v>
                </c:pt>
                <c:pt idx="37">
                  <c:v>0.8976578568983224</c:v>
                </c:pt>
                <c:pt idx="38">
                  <c:v>1.1295535188288393</c:v>
                </c:pt>
                <c:pt idx="39">
                  <c:v>0.8834449464922711</c:v>
                </c:pt>
                <c:pt idx="40">
                  <c:v>0.9620498182919444</c:v>
                </c:pt>
                <c:pt idx="41">
                  <c:v>0.9859794002026773</c:v>
                </c:pt>
                <c:pt idx="42">
                  <c:v>1.0553015748031496</c:v>
                </c:pt>
                <c:pt idx="43">
                  <c:v>0.9057251626155426</c:v>
                </c:pt>
                <c:pt idx="44">
                  <c:v>1.0017933760809314</c:v>
                </c:pt>
                <c:pt idx="45">
                  <c:v>0.9386477892186554</c:v>
                </c:pt>
                <c:pt idx="46">
                  <c:v>0.7484881889763779</c:v>
                </c:pt>
                <c:pt idx="47">
                  <c:v>1.0074484843175047</c:v>
                </c:pt>
                <c:pt idx="48">
                  <c:v>0.7422582590815627</c:v>
                </c:pt>
                <c:pt idx="49">
                  <c:v>0.982108814397705</c:v>
                </c:pt>
                <c:pt idx="50">
                  <c:v>0.8149606299212598</c:v>
                </c:pt>
                <c:pt idx="51">
                  <c:v>1.0424102362204724</c:v>
                </c:pt>
              </c:numCache>
            </c:numRef>
          </c:xVal>
          <c:yVal>
            <c:numRef>
              <c:f>Sheet1!$B$109:$B$160</c:f>
              <c:numCache>
                <c:formatCode>General</c:formatCode>
                <c:ptCount val="52"/>
                <c:pt idx="0">
                  <c:v>0.28521859819569745</c:v>
                </c:pt>
                <c:pt idx="1">
                  <c:v>0.25406661502711075</c:v>
                </c:pt>
                <c:pt idx="2">
                  <c:v>0.2525706940874036</c:v>
                </c:pt>
                <c:pt idx="3">
                  <c:v>0.2557726465364121</c:v>
                </c:pt>
                <c:pt idx="4">
                  <c:v>0.25385130609511053</c:v>
                </c:pt>
                <c:pt idx="5">
                  <c:v>0.2578576010262989</c:v>
                </c:pt>
                <c:pt idx="6">
                  <c:v>0.23979591836734693</c:v>
                </c:pt>
                <c:pt idx="7">
                  <c:v>0.28793486306439675</c:v>
                </c:pt>
                <c:pt idx="8">
                  <c:v>0.3082901554404145</c:v>
                </c:pt>
                <c:pt idx="9">
                  <c:v>0.29705215419501135</c:v>
                </c:pt>
                <c:pt idx="10">
                  <c:v>0.276840490797546</c:v>
                </c:pt>
                <c:pt idx="11">
                  <c:v>0.2640174197060425</c:v>
                </c:pt>
                <c:pt idx="12">
                  <c:v>0.27966645285439384</c:v>
                </c:pt>
                <c:pt idx="13">
                  <c:v>0.26600284495021337</c:v>
                </c:pt>
                <c:pt idx="14">
                  <c:v>0.2753846153846154</c:v>
                </c:pt>
                <c:pt idx="15">
                  <c:v>0.25523012552301255</c:v>
                </c:pt>
                <c:pt idx="16">
                  <c:v>0.21905697445972494</c:v>
                </c:pt>
                <c:pt idx="17">
                  <c:v>0.2310838445807771</c:v>
                </c:pt>
                <c:pt idx="18">
                  <c:v>0.22641509433962265</c:v>
                </c:pt>
                <c:pt idx="19">
                  <c:v>0.23667905824039653</c:v>
                </c:pt>
                <c:pt idx="20">
                  <c:v>0.21940928270042195</c:v>
                </c:pt>
                <c:pt idx="21">
                  <c:v>0.2319277108433735</c:v>
                </c:pt>
                <c:pt idx="22">
                  <c:v>0.2566995768688293</c:v>
                </c:pt>
                <c:pt idx="23">
                  <c:v>0.28</c:v>
                </c:pt>
                <c:pt idx="24">
                  <c:v>0.28252299605781866</c:v>
                </c:pt>
                <c:pt idx="25">
                  <c:v>0.2874828060522696</c:v>
                </c:pt>
                <c:pt idx="26">
                  <c:v>0.2803234501347709</c:v>
                </c:pt>
                <c:pt idx="27">
                  <c:v>0.24849939975990396</c:v>
                </c:pt>
                <c:pt idx="28">
                  <c:v>0.2479627473806752</c:v>
                </c:pt>
                <c:pt idx="29">
                  <c:v>0.28053691275167786</c:v>
                </c:pt>
                <c:pt idx="30">
                  <c:v>0.27058823529411763</c:v>
                </c:pt>
                <c:pt idx="31">
                  <c:v>0.26484751203852325</c:v>
                </c:pt>
                <c:pt idx="32">
                  <c:v>0.2725925925925926</c:v>
                </c:pt>
                <c:pt idx="33">
                  <c:v>0.29385964912280704</c:v>
                </c:pt>
                <c:pt idx="34">
                  <c:v>0.32107843137254904</c:v>
                </c:pt>
                <c:pt idx="35">
                  <c:v>0.3388773388773389</c:v>
                </c:pt>
                <c:pt idx="36">
                  <c:v>0.33807829181494664</c:v>
                </c:pt>
                <c:pt idx="37">
                  <c:v>0.3269537480063796</c:v>
                </c:pt>
                <c:pt idx="38">
                  <c:v>0.2756183745583039</c:v>
                </c:pt>
                <c:pt idx="39">
                  <c:v>0.3012658227848101</c:v>
                </c:pt>
                <c:pt idx="40">
                  <c:v>0.281134401972873</c:v>
                </c:pt>
                <c:pt idx="41">
                  <c:v>0.30260047281323876</c:v>
                </c:pt>
                <c:pt idx="42">
                  <c:v>0.27800269905533065</c:v>
                </c:pt>
                <c:pt idx="43">
                  <c:v>0.2980561555075594</c:v>
                </c:pt>
                <c:pt idx="44">
                  <c:v>0.2623239436619718</c:v>
                </c:pt>
                <c:pt idx="45">
                  <c:v>0.26429404900816805</c:v>
                </c:pt>
                <c:pt idx="46">
                  <c:v>0.28087012156110047</c:v>
                </c:pt>
                <c:pt idx="47">
                  <c:v>0.29652466367713004</c:v>
                </c:pt>
                <c:pt idx="48">
                  <c:v>0.2777498744349573</c:v>
                </c:pt>
                <c:pt idx="49">
                  <c:v>0.28312412831241285</c:v>
                </c:pt>
                <c:pt idx="50">
                  <c:v>0.3052562846882142</c:v>
                </c:pt>
                <c:pt idx="51">
                  <c:v>0.28537735849056606</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3.06619879951165</c:v>
                </c:pt>
              </c:numCache>
            </c:numRef>
          </c:xVal>
          <c:yVal>
            <c:numRef>
              <c:f>Sheet1!$B$163:$B$164</c:f>
              <c:numCache>
                <c:formatCode>General</c:formatCode>
                <c:ptCount val="2"/>
                <c:pt idx="0">
                  <c:v>0.3199151123054405</c:v>
                </c:pt>
                <c:pt idx="1">
                  <c:v>0.319915112305440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3.06619879951165</c:v>
                </c:pt>
                <c:pt idx="1">
                  <c:v>-3.06619879951165</c:v>
                </c:pt>
              </c:numCache>
            </c:numRef>
          </c:xVal>
          <c:yVal>
            <c:numRef>
              <c:f>Sheet1!$B$167:$B$168</c:f>
              <c:numCache>
                <c:formatCode>General</c:formatCode>
                <c:ptCount val="2"/>
                <c:pt idx="0">
                  <c:v>0.31991511230544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903643068801716</c:v>
                </c:pt>
              </c:numCache>
            </c:numRef>
          </c:xVal>
          <c:yVal>
            <c:numRef>
              <c:f>Sheet1!$B$171:$B$172</c:f>
              <c:numCache>
                <c:formatCode>General</c:formatCode>
                <c:ptCount val="2"/>
                <c:pt idx="0">
                  <c:v>0.29573846794608855</c:v>
                </c:pt>
                <c:pt idx="1">
                  <c:v>0.2957384679460885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903643068801716</c:v>
                </c:pt>
                <c:pt idx="1">
                  <c:v>-0.903643068801716</c:v>
                </c:pt>
              </c:numCache>
            </c:numRef>
          </c:xVal>
          <c:yVal>
            <c:numRef>
              <c:f>Sheet1!$B$175:$B$176</c:f>
              <c:numCache>
                <c:formatCode>General</c:formatCode>
                <c:ptCount val="2"/>
                <c:pt idx="0">
                  <c:v>0.2957384679460885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22784626568837497</c:v>
                </c:pt>
              </c:numCache>
            </c:numRef>
          </c:xVal>
          <c:yVal>
            <c:numRef>
              <c:f>Sheet1!$B$179:$B$180</c:f>
              <c:numCache>
                <c:formatCode>General</c:formatCode>
                <c:ptCount val="2"/>
                <c:pt idx="0">
                  <c:v>0.28589076738217944</c:v>
                </c:pt>
                <c:pt idx="1">
                  <c:v>0.28589076738217944</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22784626568837497</c:v>
                </c:pt>
                <c:pt idx="1">
                  <c:v>-0.022784626568837497</c:v>
                </c:pt>
              </c:numCache>
            </c:numRef>
          </c:xVal>
          <c:yVal>
            <c:numRef>
              <c:f>Sheet1!$B$183:$B$184</c:f>
              <c:numCache>
                <c:formatCode>General</c:formatCode>
                <c:ptCount val="2"/>
                <c:pt idx="0">
                  <c:v>0.2858907673821794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729076923076923</c:v>
                </c:pt>
                <c:pt idx="1">
                  <c:v>1.1410781254521407</c:v>
                </c:pt>
                <c:pt idx="2">
                  <c:v>1.1533596675415572</c:v>
                </c:pt>
                <c:pt idx="3">
                  <c:v>0.9914521535769373</c:v>
                </c:pt>
                <c:pt idx="4">
                  <c:v>1.2406667960062305</c:v>
                </c:pt>
                <c:pt idx="5">
                  <c:v>1.0411493838299857</c:v>
                </c:pt>
                <c:pt idx="6">
                  <c:v>1.1888274715660543</c:v>
                </c:pt>
                <c:pt idx="7">
                  <c:v>0.8619803805774279</c:v>
                </c:pt>
                <c:pt idx="8">
                  <c:v>0.8752379921259842</c:v>
                </c:pt>
                <c:pt idx="9">
                  <c:v>1.3202350393700788</c:v>
                </c:pt>
                <c:pt idx="10">
                  <c:v>1.1813083989501312</c:v>
                </c:pt>
                <c:pt idx="11">
                  <c:v>1.0956234389140271</c:v>
                </c:pt>
                <c:pt idx="12">
                  <c:v>1.0736313210848643</c:v>
                </c:pt>
                <c:pt idx="13">
                  <c:v>0.9437826990709093</c:v>
                </c:pt>
                <c:pt idx="14">
                  <c:v>1.0472974985179275</c:v>
                </c:pt>
                <c:pt idx="15">
                  <c:v>0.946798438081071</c:v>
                </c:pt>
                <c:pt idx="16">
                  <c:v>0.9757978793418648</c:v>
                </c:pt>
                <c:pt idx="17">
                  <c:v>1.0209358267716535</c:v>
                </c:pt>
                <c:pt idx="18">
                  <c:v>1.0097406767458603</c:v>
                </c:pt>
                <c:pt idx="19">
                  <c:v>1.3260043744531933</c:v>
                </c:pt>
                <c:pt idx="20">
                  <c:v>1.321793670886076</c:v>
                </c:pt>
                <c:pt idx="21">
                  <c:v>0.9519599718111347</c:v>
                </c:pt>
                <c:pt idx="22">
                  <c:v>1.0298364161849711</c:v>
                </c:pt>
                <c:pt idx="23">
                  <c:v>0.8355205380577427</c:v>
                </c:pt>
                <c:pt idx="24">
                  <c:v>1.0572300962379702</c:v>
                </c:pt>
                <c:pt idx="25">
                  <c:v>0.5671080708661417</c:v>
                </c:pt>
                <c:pt idx="26">
                  <c:v>0.6962284589426322</c:v>
                </c:pt>
                <c:pt idx="27">
                  <c:v>0.8772949253657927</c:v>
                </c:pt>
                <c:pt idx="28">
                  <c:v>1.0922605070906748</c:v>
                </c:pt>
                <c:pt idx="29">
                  <c:v>0.9683465546860087</c:v>
                </c:pt>
                <c:pt idx="30">
                  <c:v>0.9930867781155015</c:v>
                </c:pt>
                <c:pt idx="31">
                  <c:v>1.0860546207576662</c:v>
                </c:pt>
                <c:pt idx="32">
                  <c:v>1.2064267230060468</c:v>
                </c:pt>
                <c:pt idx="33">
                  <c:v>1.445749891587164</c:v>
                </c:pt>
                <c:pt idx="34">
                  <c:v>1.6642158691366145</c:v>
                </c:pt>
                <c:pt idx="35">
                  <c:v>0.994421445042275</c:v>
                </c:pt>
                <c:pt idx="36">
                  <c:v>1.2042896857830037</c:v>
                </c:pt>
                <c:pt idx="37">
                  <c:v>0.8976578568983224</c:v>
                </c:pt>
                <c:pt idx="38">
                  <c:v>1.1295535188288393</c:v>
                </c:pt>
                <c:pt idx="39">
                  <c:v>0.8834449464922711</c:v>
                </c:pt>
                <c:pt idx="40">
                  <c:v>0.9620498182919444</c:v>
                </c:pt>
                <c:pt idx="41">
                  <c:v>0.9859794002026773</c:v>
                </c:pt>
                <c:pt idx="42">
                  <c:v>1.0553015748031496</c:v>
                </c:pt>
                <c:pt idx="43">
                  <c:v>0.9057251626155426</c:v>
                </c:pt>
                <c:pt idx="44">
                  <c:v>1.0017933760809314</c:v>
                </c:pt>
                <c:pt idx="45">
                  <c:v>0.9386477892186554</c:v>
                </c:pt>
                <c:pt idx="46">
                  <c:v>0.7484881889763779</c:v>
                </c:pt>
                <c:pt idx="47">
                  <c:v>1.0074484843175047</c:v>
                </c:pt>
                <c:pt idx="48">
                  <c:v>0.7422582590815627</c:v>
                </c:pt>
                <c:pt idx="49">
                  <c:v>0.982108814397705</c:v>
                </c:pt>
                <c:pt idx="50">
                  <c:v>0.8149606299212598</c:v>
                </c:pt>
                <c:pt idx="51">
                  <c:v>1.0424102362204724</c:v>
                </c:pt>
                <c:pt idx="52">
                  <c:v>-0.903643068801716</c:v>
                </c:pt>
                <c:pt idx="53">
                  <c:v>-3.06619879951165</c:v>
                </c:pt>
                <c:pt idx="54">
                  <c:v>-0.022784626568837497</c:v>
                </c:pt>
              </c:numCache>
            </c:numRef>
          </c:xVal>
          <c:yVal>
            <c:numRef>
              <c:f>Sheet1!$B$187:$B$241</c:f>
              <c:numCache>
                <c:formatCode>General</c:formatCode>
                <c:ptCount val="55"/>
                <c:pt idx="0">
                  <c:v>0.2769951953792186</c:v>
                </c:pt>
                <c:pt idx="1">
                  <c:v>0.2728791739979616</c:v>
                </c:pt>
                <c:pt idx="2">
                  <c:v>0.27274187049587667</c:v>
                </c:pt>
                <c:pt idx="3">
                  <c:v>0.27455194194450677</c:v>
                </c:pt>
                <c:pt idx="4">
                  <c:v>0.27176580621926555</c:v>
                </c:pt>
                <c:pt idx="5">
                  <c:v>0.27399634365660586</c:v>
                </c:pt>
                <c:pt idx="6">
                  <c:v>0.27234535239836344</c:v>
                </c:pt>
                <c:pt idx="7">
                  <c:v>0.27599939273892227</c:v>
                </c:pt>
                <c:pt idx="8">
                  <c:v>0.2758511771091874</c:v>
                </c:pt>
                <c:pt idx="9">
                  <c:v>0.2708762600703325</c:v>
                </c:pt>
                <c:pt idx="10">
                  <c:v>0.27242941309652985</c:v>
                </c:pt>
                <c:pt idx="11">
                  <c:v>0.2733873420767269</c:v>
                </c:pt>
                <c:pt idx="12">
                  <c:v>0.27363320654343826</c:v>
                </c:pt>
                <c:pt idx="13">
                  <c:v>0.27508487038284957</c:v>
                </c:pt>
                <c:pt idx="14">
                  <c:v>0.2739276098061066</c:v>
                </c:pt>
                <c:pt idx="15">
                  <c:v>0.2750511554369206</c:v>
                </c:pt>
                <c:pt idx="16">
                  <c:v>0.27472695145548054</c:v>
                </c:pt>
                <c:pt idx="17">
                  <c:v>0.27422232441321565</c:v>
                </c:pt>
                <c:pt idx="18">
                  <c:v>0.2743474824181076</c:v>
                </c:pt>
                <c:pt idx="19">
                  <c:v>0.270811760848179</c:v>
                </c:pt>
                <c:pt idx="20">
                  <c:v>0.27085883509519104</c:v>
                </c:pt>
                <c:pt idx="21">
                  <c:v>0.2749934512290852</c:v>
                </c:pt>
                <c:pt idx="22">
                  <c:v>0.27412281882277995</c:v>
                </c:pt>
                <c:pt idx="23">
                  <c:v>0.2762952048621978</c:v>
                </c:pt>
                <c:pt idx="24">
                  <c:v>0.2738165667105545</c:v>
                </c:pt>
                <c:pt idx="25">
                  <c:v>0.27929596579924754</c:v>
                </c:pt>
                <c:pt idx="26">
                  <c:v>0.27785244336986625</c:v>
                </c:pt>
                <c:pt idx="27">
                  <c:v>0.275828181288685</c:v>
                </c:pt>
                <c:pt idx="28">
                  <c:v>0.27342493852131483</c:v>
                </c:pt>
                <c:pt idx="29">
                  <c:v>0.2748102547542823</c:v>
                </c:pt>
                <c:pt idx="30">
                  <c:v>0.2745336673929802</c:v>
                </c:pt>
                <c:pt idx="31">
                  <c:v>0.27349431823933873</c:v>
                </c:pt>
                <c:pt idx="32">
                  <c:v>0.27214859869763186</c:v>
                </c:pt>
                <c:pt idx="33">
                  <c:v>0.26947304631691266</c:v>
                </c:pt>
                <c:pt idx="34">
                  <c:v>0.2670306703037417</c:v>
                </c:pt>
                <c:pt idx="35">
                  <c:v>0.2745187462664776</c:v>
                </c:pt>
                <c:pt idx="36">
                  <c:v>0.2721724900536744</c:v>
                </c:pt>
                <c:pt idx="37">
                  <c:v>0.2756005305757879</c:v>
                </c:pt>
                <c:pt idx="38">
                  <c:v>0.2730080152165976</c:v>
                </c:pt>
                <c:pt idx="39">
                  <c:v>0.2757594261248454</c:v>
                </c:pt>
                <c:pt idx="40">
                  <c:v>0.2748806501453753</c:v>
                </c:pt>
                <c:pt idx="41">
                  <c:v>0.2746131254830935</c:v>
                </c:pt>
                <c:pt idx="42">
                  <c:v>0.27383812693034765</c:v>
                </c:pt>
                <c:pt idx="43">
                  <c:v>0.2755103408162855</c:v>
                </c:pt>
                <c:pt idx="44">
                  <c:v>0.27443633056156314</c:v>
                </c:pt>
                <c:pt idx="45">
                  <c:v>0.27514227694470245</c:v>
                </c:pt>
                <c:pt idx="46">
                  <c:v>0.2772681971978951</c:v>
                </c:pt>
                <c:pt idx="47">
                  <c:v>0.2743731083570633</c:v>
                </c:pt>
                <c:pt idx="48">
                  <c:v>0.27733784571483816</c:v>
                </c:pt>
                <c:pt idx="49">
                  <c:v>0.2746563973281333</c:v>
                </c:pt>
                <c:pt idx="50">
                  <c:v>0.2765250577071524</c:v>
                </c:pt>
                <c:pt idx="51">
                  <c:v>0.2739822477517459</c:v>
                </c:pt>
                <c:pt idx="52">
                  <c:v>0.29573846794608855</c:v>
                </c:pt>
                <c:pt idx="53">
                  <c:v>0.3199151123054405</c:v>
                </c:pt>
                <c:pt idx="54">
                  <c:v>0.2858907673821794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31858407079646"/>
          <c:min val="0.150000000000000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54.7065</c:v>
                </c:pt>
                <c:pt idx="1">
                  <c:v>958.2972</c:v>
                </c:pt>
                <c:pt idx="2">
                  <c:v>1035.3287</c:v>
                </c:pt>
                <c:pt idx="3">
                  <c:v>1037.7921</c:v>
                </c:pt>
                <c:pt idx="4">
                  <c:v>1016.4599</c:v>
                </c:pt>
                <c:pt idx="5">
                  <c:v>1018.935</c:v>
                </c:pt>
                <c:pt idx="6">
                  <c:v>932.998</c:v>
                </c:pt>
                <c:pt idx="7">
                  <c:v>964.8634</c:v>
                </c:pt>
                <c:pt idx="8">
                  <c:v>1006.7077</c:v>
                </c:pt>
                <c:pt idx="9">
                  <c:v>1012.4986</c:v>
                </c:pt>
                <c:pt idx="10">
                  <c:v>995.9677</c:v>
                </c:pt>
                <c:pt idx="11">
                  <c:v>1049.2278</c:v>
                </c:pt>
                <c:pt idx="12">
                  <c:v>1061.6237</c:v>
                </c:pt>
                <c:pt idx="13">
                  <c:v>1055.4277</c:v>
                </c:pt>
                <c:pt idx="14">
                  <c:v>1060.7619</c:v>
                </c:pt>
                <c:pt idx="15">
                  <c:v>1043.516</c:v>
                </c:pt>
                <c:pt idx="16">
                  <c:v>1075.9952</c:v>
                </c:pt>
                <c:pt idx="17">
                  <c:v>1117.7119</c:v>
                </c:pt>
                <c:pt idx="18">
                  <c:v>1160.3</c:v>
                </c:pt>
                <c:pt idx="19">
                  <c:v>1052.9</c:v>
                </c:pt>
                <c:pt idx="20">
                  <c:v>1198.4222</c:v>
                </c:pt>
                <c:pt idx="21">
                  <c:v>1141.7519</c:v>
                </c:pt>
                <c:pt idx="22">
                  <c:v>1182.5628</c:v>
                </c:pt>
                <c:pt idx="23">
                  <c:v>1138.0326</c:v>
                </c:pt>
                <c:pt idx="24">
                  <c:v>1052.3647</c:v>
                </c:pt>
                <c:pt idx="25">
                  <c:v>1077.9589</c:v>
                </c:pt>
                <c:pt idx="26">
                  <c:v>1078.9328</c:v>
                </c:pt>
                <c:pt idx="27">
                  <c:v>1089.6901</c:v>
                </c:pt>
                <c:pt idx="28">
                  <c:v>1083.6397</c:v>
                </c:pt>
                <c:pt idx="29">
                  <c:v>1028.3552</c:v>
                </c:pt>
                <c:pt idx="30">
                  <c:v>1068.1588</c:v>
                </c:pt>
                <c:pt idx="31">
                  <c:v>1072.8471</c:v>
                </c:pt>
                <c:pt idx="32">
                  <c:v>1054.5437</c:v>
                </c:pt>
                <c:pt idx="33">
                  <c:v>961.4413</c:v>
                </c:pt>
                <c:pt idx="34">
                  <c:v>1020.2928</c:v>
                </c:pt>
                <c:pt idx="35">
                  <c:v>1077.5711</c:v>
                </c:pt>
                <c:pt idx="36">
                  <c:v>1118.2857</c:v>
                </c:pt>
                <c:pt idx="37">
                  <c:v>1078.2882</c:v>
                </c:pt>
                <c:pt idx="38">
                  <c:v>1195.7573</c:v>
                </c:pt>
                <c:pt idx="39">
                  <c:v>1174.8389</c:v>
                </c:pt>
                <c:pt idx="40">
                  <c:v>1263.6301</c:v>
                </c:pt>
                <c:pt idx="41">
                  <c:v>1291.0045</c:v>
                </c:pt>
                <c:pt idx="42">
                  <c:v>1330.2694</c:v>
                </c:pt>
                <c:pt idx="43">
                  <c:v>1359.827</c:v>
                </c:pt>
                <c:pt idx="44">
                  <c:v>1227.6955</c:v>
                </c:pt>
                <c:pt idx="45">
                  <c:v>1162.5297</c:v>
                </c:pt>
                <c:pt idx="46">
                  <c:v>1198.9079</c:v>
                </c:pt>
                <c:pt idx="47">
                  <c:v>1183.9233</c:v>
                </c:pt>
                <c:pt idx="48">
                  <c:v>1169.6174</c:v>
                </c:pt>
                <c:pt idx="49">
                  <c:v>1168.5869</c:v>
                </c:pt>
                <c:pt idx="50">
                  <c:v>1161.5859</c:v>
                </c:pt>
                <c:pt idx="51">
                  <c:v>1205.5927</c:v>
                </c:pt>
                <c:pt idx="52">
                  <c:v>1204.6596</c:v>
                </c:pt>
                <c:pt idx="53">
                  <c:v>1255.8717</c:v>
                </c:pt>
                <c:pt idx="54">
                  <c:v>1256.128</c:v>
                </c:pt>
                <c:pt idx="55">
                  <c:v>1248.096</c:v>
                </c:pt>
                <c:pt idx="56">
                  <c:v>1254.6784</c:v>
                </c:pt>
                <c:pt idx="57">
                  <c:v>1226.0846</c:v>
                </c:pt>
                <c:pt idx="58">
                  <c:v>1181.2093</c:v>
                </c:pt>
                <c:pt idx="59">
                  <c:v>1181.4914</c:v>
                </c:pt>
                <c:pt idx="60">
                  <c:v>1200.1658</c:v>
                </c:pt>
                <c:pt idx="61">
                  <c:v>1227.4251</c:v>
                </c:pt>
                <c:pt idx="62">
                  <c:v>1176.4286</c:v>
                </c:pt>
                <c:pt idx="63">
                  <c:v>1150.6068</c:v>
                </c:pt>
                <c:pt idx="64">
                  <c:v>1136.8346</c:v>
                </c:pt>
                <c:pt idx="65">
                  <c:v>1116.1018</c:v>
                </c:pt>
                <c:pt idx="66">
                  <c:v>1091.4551</c:v>
                </c:pt>
                <c:pt idx="67">
                  <c:v>1071.7298</c:v>
                </c:pt>
                <c:pt idx="68">
                  <c:v>1039.7375</c:v>
                </c:pt>
                <c:pt idx="69">
                  <c:v>1062.1009</c:v>
                </c:pt>
                <c:pt idx="70">
                  <c:v>1052.0531</c:v>
                </c:pt>
                <c:pt idx="71">
                  <c:v>1220.3402</c:v>
                </c:pt>
                <c:pt idx="72">
                  <c:v>1139.991</c:v>
                </c:pt>
                <c:pt idx="73">
                  <c:v>1215.2687</c:v>
                </c:pt>
                <c:pt idx="74">
                  <c:v>1350.6263</c:v>
                </c:pt>
                <c:pt idx="75">
                  <c:v>1317.052</c:v>
                </c:pt>
                <c:pt idx="76">
                  <c:v>1374.3125</c:v>
                </c:pt>
                <c:pt idx="77">
                  <c:v>1344.0333</c:v>
                </c:pt>
                <c:pt idx="78">
                  <c:v>1344.4229</c:v>
                </c:pt>
                <c:pt idx="79">
                  <c:v>1331.9422</c:v>
                </c:pt>
                <c:pt idx="80">
                  <c:v>1252.0667</c:v>
                </c:pt>
                <c:pt idx="81">
                  <c:v>1332.2717</c:v>
                </c:pt>
                <c:pt idx="82">
                  <c:v>1342.6646</c:v>
                </c:pt>
                <c:pt idx="83">
                  <c:v>1276.1786</c:v>
                </c:pt>
                <c:pt idx="84">
                  <c:v>1222.8636</c:v>
                </c:pt>
                <c:pt idx="85">
                  <c:v>1260.6828</c:v>
                </c:pt>
                <c:pt idx="86">
                  <c:v>1300.0044</c:v>
                </c:pt>
                <c:pt idx="87">
                  <c:v>1317.9771</c:v>
                </c:pt>
                <c:pt idx="88">
                  <c:v>1351.7022</c:v>
                </c:pt>
                <c:pt idx="89">
                  <c:v>1375.1409</c:v>
                </c:pt>
                <c:pt idx="90">
                  <c:v>1442.6788</c:v>
                </c:pt>
                <c:pt idx="91">
                  <c:v>1476.6484</c:v>
                </c:pt>
                <c:pt idx="92">
                  <c:v>1430.9022</c:v>
                </c:pt>
                <c:pt idx="93">
                  <c:v>1443.6683</c:v>
                </c:pt>
                <c:pt idx="94">
                  <c:v>1428.4256</c:v>
                </c:pt>
                <c:pt idx="95">
                  <c:v>1292.2641</c:v>
                </c:pt>
                <c:pt idx="96">
                  <c:v>1262.5909</c:v>
                </c:pt>
                <c:pt idx="97">
                  <c:v>1269.3264</c:v>
                </c:pt>
                <c:pt idx="98">
                  <c:v>1236.9374</c:v>
                </c:pt>
                <c:pt idx="99">
                  <c:v>1220.4646</c:v>
                </c:pt>
                <c:pt idx="100">
                  <c:v>1227.5084</c:v>
                </c:pt>
                <c:pt idx="101">
                  <c:v>1239.2462</c:v>
                </c:pt>
                <c:pt idx="102">
                  <c:v>1231.8849</c:v>
                </c:pt>
                <c:pt idx="103">
                  <c:v>1096.3026</c:v>
                </c:pt>
                <c:pt idx="104">
                  <c:v>1129.8864</c:v>
                </c:pt>
              </c:numCache>
            </c:numRef>
          </c:xVal>
          <c:yVal>
            <c:numRef>
              <c:f>Sheet1!$B$2:$B$106</c:f>
              <c:numCache>
                <c:formatCode>General</c:formatCode>
                <c:ptCount val="105"/>
                <c:pt idx="0">
                  <c:v>0.2575581395348837</c:v>
                </c:pt>
                <c:pt idx="1">
                  <c:v>0.2714468629961588</c:v>
                </c:pt>
                <c:pt idx="2">
                  <c:v>0.2629987908101572</c:v>
                </c:pt>
                <c:pt idx="3">
                  <c:v>0.2743979721166033</c:v>
                </c:pt>
                <c:pt idx="4">
                  <c:v>0.2892329345531316</c:v>
                </c:pt>
                <c:pt idx="5">
                  <c:v>0.27557879014189696</c:v>
                </c:pt>
                <c:pt idx="6">
                  <c:v>0.2907801418439716</c:v>
                </c:pt>
                <c:pt idx="7">
                  <c:v>0.2958904109589041</c:v>
                </c:pt>
                <c:pt idx="8">
                  <c:v>0.2774244833068362</c:v>
                </c:pt>
                <c:pt idx="9">
                  <c:v>0.2283758556316117</c:v>
                </c:pt>
                <c:pt idx="10">
                  <c:v>0.24651162790697675</c:v>
                </c:pt>
                <c:pt idx="11">
                  <c:v>0.26916524701873934</c:v>
                </c:pt>
                <c:pt idx="12">
                  <c:v>0.30491803278688523</c:v>
                </c:pt>
                <c:pt idx="13">
                  <c:v>0.31860036832412525</c:v>
                </c:pt>
                <c:pt idx="14">
                  <c:v>0.28950159066808057</c:v>
                </c:pt>
                <c:pt idx="15">
                  <c:v>0.27624309392265195</c:v>
                </c:pt>
                <c:pt idx="16">
                  <c:v>0.25120772946859904</c:v>
                </c:pt>
                <c:pt idx="17">
                  <c:v>0.2599118942731278</c:v>
                </c:pt>
                <c:pt idx="18">
                  <c:v>0.2</c:v>
                </c:pt>
                <c:pt idx="19">
                  <c:v>0.1986754966887417</c:v>
                </c:pt>
                <c:pt idx="20">
                  <c:v>0.1875</c:v>
                </c:pt>
                <c:pt idx="21">
                  <c:v>0.20476190476190476</c:v>
                </c:pt>
                <c:pt idx="22">
                  <c:v>0.26991150442477874</c:v>
                </c:pt>
                <c:pt idx="23">
                  <c:v>0.2647482014388489</c:v>
                </c:pt>
                <c:pt idx="24">
                  <c:v>0.3354350567465322</c:v>
                </c:pt>
                <c:pt idx="25">
                  <c:v>0.31285714285714283</c:v>
                </c:pt>
                <c:pt idx="26">
                  <c:v>0.32923832923832924</c:v>
                </c:pt>
                <c:pt idx="27">
                  <c:v>0.343409915356711</c:v>
                </c:pt>
                <c:pt idx="28">
                  <c:v>0.3083645443196005</c:v>
                </c:pt>
                <c:pt idx="29">
                  <c:v>0.35988200589970504</c:v>
                </c:pt>
                <c:pt idx="30">
                  <c:v>0.3114973262032086</c:v>
                </c:pt>
                <c:pt idx="31">
                  <c:v>0.31675392670157065</c:v>
                </c:pt>
                <c:pt idx="32">
                  <c:v>0.3354591836734694</c:v>
                </c:pt>
                <c:pt idx="33">
                  <c:v>0.3418217433888345</c:v>
                </c:pt>
                <c:pt idx="34">
                  <c:v>0.3295175797219951</c:v>
                </c:pt>
                <c:pt idx="35">
                  <c:v>0.32669616519174044</c:v>
                </c:pt>
                <c:pt idx="36">
                  <c:v>0.2901921132457027</c:v>
                </c:pt>
                <c:pt idx="37">
                  <c:v>0.3090128755364807</c:v>
                </c:pt>
                <c:pt idx="38">
                  <c:v>0.2814207650273224</c:v>
                </c:pt>
                <c:pt idx="39">
                  <c:v>0.29760225669957685</c:v>
                </c:pt>
                <c:pt idx="40">
                  <c:v>0.28604651162790695</c:v>
                </c:pt>
                <c:pt idx="41">
                  <c:v>0.30191256830601093</c:v>
                </c:pt>
                <c:pt idx="42">
                  <c:v>0.3421658986175115</c:v>
                </c:pt>
                <c:pt idx="43">
                  <c:v>0.3071200850159405</c:v>
                </c:pt>
                <c:pt idx="44">
                  <c:v>0.2977491961414791</c:v>
                </c:pt>
                <c:pt idx="45">
                  <c:v>0.2696741854636591</c:v>
                </c:pt>
                <c:pt idx="46">
                  <c:v>0.3002469135802469</c:v>
                </c:pt>
                <c:pt idx="47">
                  <c:v>0.3058103975535168</c:v>
                </c:pt>
                <c:pt idx="48">
                  <c:v>0.2970494417862839</c:v>
                </c:pt>
                <c:pt idx="49">
                  <c:v>0.2786451442180471</c:v>
                </c:pt>
                <c:pt idx="50">
                  <c:v>0.27690643591130343</c:v>
                </c:pt>
                <c:pt idx="51">
                  <c:v>0.29037149355572406</c:v>
                </c:pt>
                <c:pt idx="52">
                  <c:v>0.28976572133168926</c:v>
                </c:pt>
                <c:pt idx="53">
                  <c:v>0.29362029208301305</c:v>
                </c:pt>
                <c:pt idx="54">
                  <c:v>0.2736156351791531</c:v>
                </c:pt>
                <c:pt idx="55">
                  <c:v>0.2871046228710462</c:v>
                </c:pt>
                <c:pt idx="56">
                  <c:v>0.3085904920767306</c:v>
                </c:pt>
                <c:pt idx="57">
                  <c:v>0.301140174379611</c:v>
                </c:pt>
                <c:pt idx="58">
                  <c:v>0.30952380952380953</c:v>
                </c:pt>
                <c:pt idx="59">
                  <c:v>0.28651883139739526</c:v>
                </c:pt>
                <c:pt idx="60">
                  <c:v>0.2905918057663126</c:v>
                </c:pt>
                <c:pt idx="61">
                  <c:v>0.2997229916897507</c:v>
                </c:pt>
                <c:pt idx="62">
                  <c:v>0.30099632931305714</c:v>
                </c:pt>
                <c:pt idx="63">
                  <c:v>0.3073415412676699</c:v>
                </c:pt>
                <c:pt idx="64">
                  <c:v>0.3225648556045032</c:v>
                </c:pt>
                <c:pt idx="65">
                  <c:v>0.3027190332326284</c:v>
                </c:pt>
                <c:pt idx="66">
                  <c:v>0.260250569476082</c:v>
                </c:pt>
                <c:pt idx="67">
                  <c:v>0.28831658291457285</c:v>
                </c:pt>
                <c:pt idx="68">
                  <c:v>0.2756244616709733</c:v>
                </c:pt>
                <c:pt idx="69">
                  <c:v>0.27014218009478674</c:v>
                </c:pt>
                <c:pt idx="70">
                  <c:v>0.24944812362030905</c:v>
                </c:pt>
                <c:pt idx="71">
                  <c:v>0.23261390887290168</c:v>
                </c:pt>
                <c:pt idx="72">
                  <c:v>0.2531356898517674</c:v>
                </c:pt>
                <c:pt idx="73">
                  <c:v>0.24662576687116564</c:v>
                </c:pt>
                <c:pt idx="74">
                  <c:v>0.22118742724097787</c:v>
                </c:pt>
                <c:pt idx="75">
                  <c:v>0.21761006289308177</c:v>
                </c:pt>
                <c:pt idx="76">
                  <c:v>0.2318840579710145</c:v>
                </c:pt>
                <c:pt idx="77">
                  <c:v>0.2304147465437788</c:v>
                </c:pt>
                <c:pt idx="78">
                  <c:v>0.2751572327044025</c:v>
                </c:pt>
                <c:pt idx="79">
                  <c:v>0.24297752808988765</c:v>
                </c:pt>
                <c:pt idx="80">
                  <c:v>0.24052478134110788</c:v>
                </c:pt>
                <c:pt idx="81">
                  <c:v>0.215962441314554</c:v>
                </c:pt>
                <c:pt idx="82">
                  <c:v>0.24842767295597484</c:v>
                </c:pt>
                <c:pt idx="83">
                  <c:v>0.24013722126929674</c:v>
                </c:pt>
                <c:pt idx="84">
                  <c:v>0.25666666666666665</c:v>
                </c:pt>
                <c:pt idx="85">
                  <c:v>0.21354933726067746</c:v>
                </c:pt>
                <c:pt idx="86">
                  <c:v>0.2348643006263048</c:v>
                </c:pt>
                <c:pt idx="87">
                  <c:v>0.2541222114451988</c:v>
                </c:pt>
                <c:pt idx="88">
                  <c:v>0.23177083333333334</c:v>
                </c:pt>
                <c:pt idx="89">
                  <c:v>0.21751824817518248</c:v>
                </c:pt>
                <c:pt idx="90">
                  <c:v>0.22795341098169716</c:v>
                </c:pt>
                <c:pt idx="91">
                  <c:v>0.2191780821917808</c:v>
                </c:pt>
                <c:pt idx="92">
                  <c:v>0.24274406332453827</c:v>
                </c:pt>
                <c:pt idx="93">
                  <c:v>0.25644329896907214</c:v>
                </c:pt>
                <c:pt idx="94">
                  <c:v>0.2645861601085482</c:v>
                </c:pt>
                <c:pt idx="95">
                  <c:v>0.2787046123650638</c:v>
                </c:pt>
                <c:pt idx="96">
                  <c:v>0.2558139534883721</c:v>
                </c:pt>
                <c:pt idx="97">
                  <c:v>0.26307099614749585</c:v>
                </c:pt>
                <c:pt idx="98">
                  <c:v>0.25994575045207957</c:v>
                </c:pt>
                <c:pt idx="99">
                  <c:v>0.25838926174496646</c:v>
                </c:pt>
                <c:pt idx="100">
                  <c:v>0.2609077598828697</c:v>
                </c:pt>
                <c:pt idx="101">
                  <c:v>0.25470332850940663</c:v>
                </c:pt>
                <c:pt idx="102">
                  <c:v>0.26545454545454544</c:v>
                </c:pt>
                <c:pt idx="103">
                  <c:v>0.27636363636363637</c:v>
                </c:pt>
                <c:pt idx="104">
                  <c:v>0.290535583272193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76.0706</c:v>
                </c:pt>
                <c:pt idx="1">
                  <c:v>1352.5579</c:v>
                </c:pt>
                <c:pt idx="2">
                  <c:v>1318.2901</c:v>
                </c:pt>
                <c:pt idx="3">
                  <c:v>1427.0301</c:v>
                </c:pt>
                <c:pt idx="4">
                  <c:v>1415.1873</c:v>
                </c:pt>
                <c:pt idx="5">
                  <c:v>1410.4104</c:v>
                </c:pt>
                <c:pt idx="6">
                  <c:v>1358.8298</c:v>
                </c:pt>
                <c:pt idx="7">
                  <c:v>1313.6581</c:v>
                </c:pt>
                <c:pt idx="8">
                  <c:v>1333.8627</c:v>
                </c:pt>
                <c:pt idx="9">
                  <c:v>1341.3588</c:v>
                </c:pt>
                <c:pt idx="10">
                  <c:v>1350.2355</c:v>
                </c:pt>
                <c:pt idx="11">
                  <c:v>1210.6639</c:v>
                </c:pt>
                <c:pt idx="12">
                  <c:v>1227.1606</c:v>
                </c:pt>
                <c:pt idx="13">
                  <c:v>1245.4786</c:v>
                </c:pt>
                <c:pt idx="14">
                  <c:v>1241.3966</c:v>
                </c:pt>
                <c:pt idx="15">
                  <c:v>1272.9705</c:v>
                </c:pt>
                <c:pt idx="16">
                  <c:v>1334.4036</c:v>
                </c:pt>
                <c:pt idx="17">
                  <c:v>1296.5885</c:v>
                </c:pt>
                <c:pt idx="18">
                  <c:v>1402.5298</c:v>
                </c:pt>
                <c:pt idx="19">
                  <c:v>1515.623</c:v>
                </c:pt>
                <c:pt idx="20">
                  <c:v>1461.9038</c:v>
                </c:pt>
                <c:pt idx="21">
                  <c:v>1350.8312</c:v>
                </c:pt>
                <c:pt idx="22">
                  <c:v>1247.1319</c:v>
                </c:pt>
                <c:pt idx="23">
                  <c:v>1273.3333</c:v>
                </c:pt>
                <c:pt idx="24">
                  <c:v>1208.414</c:v>
                </c:pt>
                <c:pt idx="25">
                  <c:v>1152.3636</c:v>
                </c:pt>
                <c:pt idx="26">
                  <c:v>1237.8942</c:v>
                </c:pt>
                <c:pt idx="27">
                  <c:v>1262.7198</c:v>
                </c:pt>
                <c:pt idx="28">
                  <c:v>1270.8451</c:v>
                </c:pt>
                <c:pt idx="29">
                  <c:v>1268.2919</c:v>
                </c:pt>
                <c:pt idx="30">
                  <c:v>1306.9022</c:v>
                </c:pt>
                <c:pt idx="31">
                  <c:v>1182.3515</c:v>
                </c:pt>
                <c:pt idx="32">
                  <c:v>1241.8152</c:v>
                </c:pt>
                <c:pt idx="33">
                  <c:v>1333.5597</c:v>
                </c:pt>
                <c:pt idx="34">
                  <c:v>1414.2137</c:v>
                </c:pt>
                <c:pt idx="35">
                  <c:v>1293.7423</c:v>
                </c:pt>
                <c:pt idx="36">
                  <c:v>1358.0947</c:v>
                </c:pt>
                <c:pt idx="37">
                  <c:v>1311.0293</c:v>
                </c:pt>
                <c:pt idx="38">
                  <c:v>1338.8974</c:v>
                </c:pt>
                <c:pt idx="39">
                  <c:v>1300.2101</c:v>
                </c:pt>
                <c:pt idx="40">
                  <c:v>1270.6754</c:v>
                </c:pt>
                <c:pt idx="41">
                  <c:v>1293.9336</c:v>
                </c:pt>
                <c:pt idx="42">
                  <c:v>1340.233</c:v>
                </c:pt>
                <c:pt idx="43">
                  <c:v>1322.8116</c:v>
                </c:pt>
                <c:pt idx="44">
                  <c:v>1285.5235</c:v>
                </c:pt>
                <c:pt idx="45">
                  <c:v>1239.766</c:v>
                </c:pt>
                <c:pt idx="46">
                  <c:v>1235.754</c:v>
                </c:pt>
                <c:pt idx="47">
                  <c:v>1149.9017</c:v>
                </c:pt>
                <c:pt idx="48">
                  <c:v>1082.9548</c:v>
                </c:pt>
                <c:pt idx="49">
                  <c:v>1095.7061</c:v>
                </c:pt>
                <c:pt idx="50">
                  <c:v>1035.0</c:v>
                </c:pt>
                <c:pt idx="51">
                  <c:v>1059.0888</c:v>
                </c:pt>
              </c:numCache>
            </c:numRef>
          </c:xVal>
          <c:yVal>
            <c:numRef>
              <c:f>Sheet1!$B$109:$B$160</c:f>
              <c:numCache>
                <c:formatCode>General</c:formatCode>
                <c:ptCount val="52"/>
                <c:pt idx="0">
                  <c:v>0.28521859819569745</c:v>
                </c:pt>
                <c:pt idx="1">
                  <c:v>0.25406661502711075</c:v>
                </c:pt>
                <c:pt idx="2">
                  <c:v>0.2525706940874036</c:v>
                </c:pt>
                <c:pt idx="3">
                  <c:v>0.2557726465364121</c:v>
                </c:pt>
                <c:pt idx="4">
                  <c:v>0.25385130609511053</c:v>
                </c:pt>
                <c:pt idx="5">
                  <c:v>0.2578576010262989</c:v>
                </c:pt>
                <c:pt idx="6">
                  <c:v>0.23979591836734693</c:v>
                </c:pt>
                <c:pt idx="7">
                  <c:v>0.28793486306439675</c:v>
                </c:pt>
                <c:pt idx="8">
                  <c:v>0.3082901554404145</c:v>
                </c:pt>
                <c:pt idx="9">
                  <c:v>0.29705215419501135</c:v>
                </c:pt>
                <c:pt idx="10">
                  <c:v>0.276840490797546</c:v>
                </c:pt>
                <c:pt idx="11">
                  <c:v>0.2640174197060425</c:v>
                </c:pt>
                <c:pt idx="12">
                  <c:v>0.27966645285439384</c:v>
                </c:pt>
                <c:pt idx="13">
                  <c:v>0.26600284495021337</c:v>
                </c:pt>
                <c:pt idx="14">
                  <c:v>0.2753846153846154</c:v>
                </c:pt>
                <c:pt idx="15">
                  <c:v>0.25523012552301255</c:v>
                </c:pt>
                <c:pt idx="16">
                  <c:v>0.21905697445972494</c:v>
                </c:pt>
                <c:pt idx="17">
                  <c:v>0.2310838445807771</c:v>
                </c:pt>
                <c:pt idx="18">
                  <c:v>0.22641509433962265</c:v>
                </c:pt>
                <c:pt idx="19">
                  <c:v>0.23667905824039653</c:v>
                </c:pt>
                <c:pt idx="20">
                  <c:v>0.21940928270042195</c:v>
                </c:pt>
                <c:pt idx="21">
                  <c:v>0.2319277108433735</c:v>
                </c:pt>
                <c:pt idx="22">
                  <c:v>0.2566995768688293</c:v>
                </c:pt>
                <c:pt idx="23">
                  <c:v>0.28</c:v>
                </c:pt>
                <c:pt idx="24">
                  <c:v>0.28252299605781866</c:v>
                </c:pt>
                <c:pt idx="25">
                  <c:v>0.2874828060522696</c:v>
                </c:pt>
                <c:pt idx="26">
                  <c:v>0.2803234501347709</c:v>
                </c:pt>
                <c:pt idx="27">
                  <c:v>0.24849939975990396</c:v>
                </c:pt>
                <c:pt idx="28">
                  <c:v>0.2479627473806752</c:v>
                </c:pt>
                <c:pt idx="29">
                  <c:v>0.28053691275167786</c:v>
                </c:pt>
                <c:pt idx="30">
                  <c:v>0.27058823529411763</c:v>
                </c:pt>
                <c:pt idx="31">
                  <c:v>0.26484751203852325</c:v>
                </c:pt>
                <c:pt idx="32">
                  <c:v>0.2725925925925926</c:v>
                </c:pt>
                <c:pt idx="33">
                  <c:v>0.29385964912280704</c:v>
                </c:pt>
                <c:pt idx="34">
                  <c:v>0.32107843137254904</c:v>
                </c:pt>
                <c:pt idx="35">
                  <c:v>0.3388773388773389</c:v>
                </c:pt>
                <c:pt idx="36">
                  <c:v>0.33807829181494664</c:v>
                </c:pt>
                <c:pt idx="37">
                  <c:v>0.3269537480063796</c:v>
                </c:pt>
                <c:pt idx="38">
                  <c:v>0.2756183745583039</c:v>
                </c:pt>
                <c:pt idx="39">
                  <c:v>0.3012658227848101</c:v>
                </c:pt>
                <c:pt idx="40">
                  <c:v>0.281134401972873</c:v>
                </c:pt>
                <c:pt idx="41">
                  <c:v>0.30260047281323876</c:v>
                </c:pt>
                <c:pt idx="42">
                  <c:v>0.27800269905533065</c:v>
                </c:pt>
                <c:pt idx="43">
                  <c:v>0.2980561555075594</c:v>
                </c:pt>
                <c:pt idx="44">
                  <c:v>0.2623239436619718</c:v>
                </c:pt>
                <c:pt idx="45">
                  <c:v>0.26429404900816805</c:v>
                </c:pt>
                <c:pt idx="46">
                  <c:v>0.28087012156110047</c:v>
                </c:pt>
                <c:pt idx="47">
                  <c:v>0.29652466367713004</c:v>
                </c:pt>
                <c:pt idx="48">
                  <c:v>0.2777498744349573</c:v>
                </c:pt>
                <c:pt idx="49">
                  <c:v>0.28312412831241285</c:v>
                </c:pt>
                <c:pt idx="50">
                  <c:v>0.3052562846882142</c:v>
                </c:pt>
                <c:pt idx="51">
                  <c:v>0.28537735849056606</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10.0053990235417</c:v>
                </c:pt>
              </c:numCache>
            </c:numRef>
          </c:xVal>
          <c:yVal>
            <c:numRef>
              <c:f>Sheet1!$B$163:$B$164</c:f>
              <c:numCache>
                <c:formatCode>General</c:formatCode>
                <c:ptCount val="2"/>
                <c:pt idx="0">
                  <c:v>0.3199151123054405</c:v>
                </c:pt>
                <c:pt idx="1">
                  <c:v>0.319915112305440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10.0053990235417</c:v>
                </c:pt>
                <c:pt idx="1">
                  <c:v>710.0053990235417</c:v>
                </c:pt>
              </c:numCache>
            </c:numRef>
          </c:xVal>
          <c:yVal>
            <c:numRef>
              <c:f>Sheet1!$B$167:$B$168</c:f>
              <c:numCache>
                <c:formatCode>General</c:formatCode>
                <c:ptCount val="2"/>
                <c:pt idx="0">
                  <c:v>0.31991511230544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14.4541553079184</c:v>
                </c:pt>
              </c:numCache>
            </c:numRef>
          </c:xVal>
          <c:yVal>
            <c:numRef>
              <c:f>Sheet1!$B$171:$B$172</c:f>
              <c:numCache>
                <c:formatCode>General</c:formatCode>
                <c:ptCount val="2"/>
                <c:pt idx="0">
                  <c:v>0.29573846794608855</c:v>
                </c:pt>
                <c:pt idx="1">
                  <c:v>0.2957384679460885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14.4541553079184</c:v>
                </c:pt>
                <c:pt idx="1">
                  <c:v>1014.4541553079184</c:v>
                </c:pt>
              </c:numCache>
            </c:numRef>
          </c:xVal>
          <c:yVal>
            <c:numRef>
              <c:f>Sheet1!$B$175:$B$176</c:f>
              <c:numCache>
                <c:formatCode>General</c:formatCode>
                <c:ptCount val="2"/>
                <c:pt idx="0">
                  <c:v>0.2957384679460885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38.463101478455</c:v>
                </c:pt>
              </c:numCache>
            </c:numRef>
          </c:xVal>
          <c:yVal>
            <c:numRef>
              <c:f>Sheet1!$B$179:$B$180</c:f>
              <c:numCache>
                <c:formatCode>General</c:formatCode>
                <c:ptCount val="2"/>
                <c:pt idx="0">
                  <c:v>0.28589076738217944</c:v>
                </c:pt>
                <c:pt idx="1">
                  <c:v>0.28589076738217944</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38.463101478455</c:v>
                </c:pt>
                <c:pt idx="1">
                  <c:v>1138.463101478455</c:v>
                </c:pt>
              </c:numCache>
            </c:numRef>
          </c:xVal>
          <c:yVal>
            <c:numRef>
              <c:f>Sheet1!$B$183:$B$184</c:f>
              <c:numCache>
                <c:formatCode>General</c:formatCode>
                <c:ptCount val="2"/>
                <c:pt idx="0">
                  <c:v>0.2858907673821794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76.0706</c:v>
                </c:pt>
                <c:pt idx="1">
                  <c:v>1352.5579</c:v>
                </c:pt>
                <c:pt idx="2">
                  <c:v>1318.2901</c:v>
                </c:pt>
                <c:pt idx="3">
                  <c:v>1427.0301</c:v>
                </c:pt>
                <c:pt idx="4">
                  <c:v>1415.1873</c:v>
                </c:pt>
                <c:pt idx="5">
                  <c:v>1410.4104</c:v>
                </c:pt>
                <c:pt idx="6">
                  <c:v>1358.8298</c:v>
                </c:pt>
                <c:pt idx="7">
                  <c:v>1313.6581</c:v>
                </c:pt>
                <c:pt idx="8">
                  <c:v>1333.8627</c:v>
                </c:pt>
                <c:pt idx="9">
                  <c:v>1341.3588</c:v>
                </c:pt>
                <c:pt idx="10">
                  <c:v>1350.2355</c:v>
                </c:pt>
                <c:pt idx="11">
                  <c:v>1210.6639</c:v>
                </c:pt>
                <c:pt idx="12">
                  <c:v>1227.1606</c:v>
                </c:pt>
                <c:pt idx="13">
                  <c:v>1245.4786</c:v>
                </c:pt>
                <c:pt idx="14">
                  <c:v>1241.3966</c:v>
                </c:pt>
                <c:pt idx="15">
                  <c:v>1272.9705</c:v>
                </c:pt>
                <c:pt idx="16">
                  <c:v>1334.4036</c:v>
                </c:pt>
                <c:pt idx="17">
                  <c:v>1296.5885</c:v>
                </c:pt>
                <c:pt idx="18">
                  <c:v>1402.5298</c:v>
                </c:pt>
                <c:pt idx="19">
                  <c:v>1515.623</c:v>
                </c:pt>
                <c:pt idx="20">
                  <c:v>1461.9038</c:v>
                </c:pt>
                <c:pt idx="21">
                  <c:v>1350.8312</c:v>
                </c:pt>
                <c:pt idx="22">
                  <c:v>1247.1319</c:v>
                </c:pt>
                <c:pt idx="23">
                  <c:v>1273.3333</c:v>
                </c:pt>
                <c:pt idx="24">
                  <c:v>1208.414</c:v>
                </c:pt>
                <c:pt idx="25">
                  <c:v>1152.3636</c:v>
                </c:pt>
                <c:pt idx="26">
                  <c:v>1237.8942</c:v>
                </c:pt>
                <c:pt idx="27">
                  <c:v>1262.7198</c:v>
                </c:pt>
                <c:pt idx="28">
                  <c:v>1270.8451</c:v>
                </c:pt>
                <c:pt idx="29">
                  <c:v>1268.2919</c:v>
                </c:pt>
                <c:pt idx="30">
                  <c:v>1306.9022</c:v>
                </c:pt>
                <c:pt idx="31">
                  <c:v>1182.3515</c:v>
                </c:pt>
                <c:pt idx="32">
                  <c:v>1241.8152</c:v>
                </c:pt>
                <c:pt idx="33">
                  <c:v>1333.5597</c:v>
                </c:pt>
                <c:pt idx="34">
                  <c:v>1414.2137</c:v>
                </c:pt>
                <c:pt idx="35">
                  <c:v>1293.7423</c:v>
                </c:pt>
                <c:pt idx="36">
                  <c:v>1358.0947</c:v>
                </c:pt>
                <c:pt idx="37">
                  <c:v>1311.0293</c:v>
                </c:pt>
                <c:pt idx="38">
                  <c:v>1338.8974</c:v>
                </c:pt>
                <c:pt idx="39">
                  <c:v>1300.2101</c:v>
                </c:pt>
                <c:pt idx="40">
                  <c:v>1270.6754</c:v>
                </c:pt>
                <c:pt idx="41">
                  <c:v>1293.9336</c:v>
                </c:pt>
                <c:pt idx="42">
                  <c:v>1340.233</c:v>
                </c:pt>
                <c:pt idx="43">
                  <c:v>1322.8116</c:v>
                </c:pt>
                <c:pt idx="44">
                  <c:v>1285.5235</c:v>
                </c:pt>
                <c:pt idx="45">
                  <c:v>1239.766</c:v>
                </c:pt>
                <c:pt idx="46">
                  <c:v>1235.754</c:v>
                </c:pt>
                <c:pt idx="47">
                  <c:v>1149.9017</c:v>
                </c:pt>
                <c:pt idx="48">
                  <c:v>1082.9548</c:v>
                </c:pt>
                <c:pt idx="49">
                  <c:v>1095.7061</c:v>
                </c:pt>
                <c:pt idx="50">
                  <c:v>1035.0</c:v>
                </c:pt>
                <c:pt idx="51">
                  <c:v>1059.0888</c:v>
                </c:pt>
                <c:pt idx="52">
                  <c:v>1014.4541553079184</c:v>
                </c:pt>
                <c:pt idx="53">
                  <c:v>710.0053990235417</c:v>
                </c:pt>
                <c:pt idx="54">
                  <c:v>1138.463101478455</c:v>
                </c:pt>
              </c:numCache>
            </c:numRef>
          </c:xVal>
          <c:yVal>
            <c:numRef>
              <c:f>Sheet1!$B$187:$B$241</c:f>
              <c:numCache>
                <c:formatCode>General</c:formatCode>
                <c:ptCount val="55"/>
                <c:pt idx="0">
                  <c:v>0.27496318931111685</c:v>
                </c:pt>
                <c:pt idx="1">
                  <c:v>0.26888924020823474</c:v>
                </c:pt>
                <c:pt idx="2">
                  <c:v>0.2716104876972655</c:v>
                </c:pt>
                <c:pt idx="3">
                  <c:v>0.26297531263621093</c:v>
                </c:pt>
                <c:pt idx="4">
                  <c:v>0.2639157637233275</c:v>
                </c:pt>
                <c:pt idx="5">
                  <c:v>0.26429510313613924</c:v>
                </c:pt>
                <c:pt idx="6">
                  <c:v>0.26839118103529536</c:v>
                </c:pt>
                <c:pt idx="7">
                  <c:v>0.2719783204256341</c:v>
                </c:pt>
                <c:pt idx="8">
                  <c:v>0.27037384867615294</c:v>
                </c:pt>
                <c:pt idx="9">
                  <c:v>0.26977857429896723</c:v>
                </c:pt>
                <c:pt idx="10">
                  <c:v>0.26907366480416806</c:v>
                </c:pt>
                <c:pt idx="11">
                  <c:v>0.2801572145517447</c:v>
                </c:pt>
                <c:pt idx="12">
                  <c:v>0.2788471916307433</c:v>
                </c:pt>
                <c:pt idx="13">
                  <c:v>0.27739253707153416</c:v>
                </c:pt>
                <c:pt idx="14">
                  <c:v>0.27771669363396956</c:v>
                </c:pt>
                <c:pt idx="15">
                  <c:v>0.2752093720056798</c:v>
                </c:pt>
                <c:pt idx="16">
                  <c:v>0.27033089515223785</c:v>
                </c:pt>
                <c:pt idx="17">
                  <c:v>0.27333383802929584</c:v>
                </c:pt>
                <c:pt idx="18">
                  <c:v>0.26492091112387284</c:v>
                </c:pt>
                <c:pt idx="19">
                  <c:v>0.25594004318001723</c:v>
                </c:pt>
                <c:pt idx="20">
                  <c:v>0.26020594989456386</c:v>
                </c:pt>
                <c:pt idx="21">
                  <c:v>0.2690263595459018</c:v>
                </c:pt>
                <c:pt idx="22">
                  <c:v>0.27726124651673884</c:v>
                </c:pt>
                <c:pt idx="23">
                  <c:v>0.275180561618406</c:v>
                </c:pt>
                <c:pt idx="24">
                  <c:v>0.280335881834896</c:v>
                </c:pt>
                <c:pt idx="25">
                  <c:v>0.28478691196403094</c:v>
                </c:pt>
                <c:pt idx="26">
                  <c:v>0.2779948234586324</c:v>
                </c:pt>
                <c:pt idx="27">
                  <c:v>0.27602339250410124</c:v>
                </c:pt>
                <c:pt idx="28">
                  <c:v>0.27537815259308795</c:v>
                </c:pt>
                <c:pt idx="29">
                  <c:v>0.2755809052964711</c:v>
                </c:pt>
                <c:pt idx="30">
                  <c:v>0.27251481462459476</c:v>
                </c:pt>
                <c:pt idx="31">
                  <c:v>0.28240553651605044</c:v>
                </c:pt>
                <c:pt idx="32">
                  <c:v>0.2776834521011338</c:v>
                </c:pt>
                <c:pt idx="33">
                  <c:v>0.2703979102730216</c:v>
                </c:pt>
                <c:pt idx="34">
                  <c:v>0.2639930784781504</c:v>
                </c:pt>
                <c:pt idx="35">
                  <c:v>0.27355985821743983</c:v>
                </c:pt>
                <c:pt idx="36">
                  <c:v>0.26844955621634536</c:v>
                </c:pt>
                <c:pt idx="37">
                  <c:v>0.27218707661655284</c:v>
                </c:pt>
                <c:pt idx="38">
                  <c:v>0.2699740370532001</c:v>
                </c:pt>
                <c:pt idx="39">
                  <c:v>0.2730462423883071</c:v>
                </c:pt>
                <c:pt idx="40">
                  <c:v>0.2753916286755586</c:v>
                </c:pt>
                <c:pt idx="41">
                  <c:v>0.2735446668528161</c:v>
                </c:pt>
                <c:pt idx="42">
                  <c:v>0.26986797544007207</c:v>
                </c:pt>
                <c:pt idx="43">
                  <c:v>0.2712514299076889</c:v>
                </c:pt>
                <c:pt idx="44">
                  <c:v>0.2742125230766618</c:v>
                </c:pt>
                <c:pt idx="45">
                  <c:v>0.27784618155428</c:v>
                </c:pt>
                <c:pt idx="46">
                  <c:v>0.27816477933196027</c:v>
                </c:pt>
                <c:pt idx="47">
                  <c:v>0.2849824144238692</c:v>
                </c:pt>
                <c:pt idx="48">
                  <c:v>0.29029874881135226</c:v>
                </c:pt>
                <c:pt idx="49">
                  <c:v>0.2892861526392351</c:v>
                </c:pt>
                <c:pt idx="50">
                  <c:v>0.2941068975424343</c:v>
                </c:pt>
                <c:pt idx="51">
                  <c:v>0.2921939767680115</c:v>
                </c:pt>
                <c:pt idx="52">
                  <c:v>0.29573846794608855</c:v>
                </c:pt>
                <c:pt idx="53">
                  <c:v>0.3199151123054405</c:v>
                </c:pt>
                <c:pt idx="54">
                  <c:v>0.2858907673821794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19.0"/>
          <c:min val="56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31858407079646"/>
          <c:min val="0.150000000000000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22118742724097787</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7:$A$8</c:f>
              <c:numCache>
                <c:formatCode>General</c:formatCode>
                <c:ptCount val="2"/>
                <c:pt idx="0">
                  <c:v>0</c:v>
                </c:pt>
                <c:pt idx="1">
                  <c:v>0.22118742724097787</c:v>
                </c:pt>
              </c:numCache>
            </c:numRef>
          </c:xVal>
          <c:yVal>
            <c:numRef>
              <c:f>Sheet1!$B$7:$B$8</c:f>
              <c:numCache>
                <c:formatCode>General</c:formatCode>
                <c:ptCount val="2"/>
                <c:pt idx="0">
                  <c:v>0.22118742724097787</c:v>
                </c:pt>
                <c:pt idx="1">
                  <c:v>0.22118742724097787</c:v>
                </c:pt>
              </c:numCache>
            </c:numRef>
          </c:yVal>
          <c:smooth val="0"/>
          <c:extLst>
            <c:ext xmlns:c16="http://schemas.microsoft.com/office/drawing/2014/chart" uri="{C3380CC4-5D6E-409C-BE32-E72D297353CC}">
              <c16:uniqueId val="{00000005-096C-4121-9522-6AB7243CCAAE}"/>
            </c:ext>
          </c:extLst>
        </c:ser>
        <c:ser>
          <c:idx val="3"/>
          <c:order val="3"/>
          <c:tx>
            <c:strRef>
              <c:f>Sheet1!$B$1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A$12</c:f>
              <c:numCache>
                <c:formatCode>General</c:formatCode>
                <c:ptCount val="2"/>
                <c:pt idx="0">
                  <c:v>0.22118742724097787</c:v>
                </c:pt>
                <c:pt idx="1">
                  <c:v>0.22118742724097787</c:v>
                </c:pt>
              </c:numCache>
            </c:numRef>
          </c:xVal>
          <c:yVal>
            <c:numRef>
              <c:f>Sheet1!$B$11:$B$12</c:f>
              <c:numCache>
                <c:formatCode>General</c:formatCode>
                <c:ptCount val="2"/>
                <c:pt idx="0">
                  <c:v>0.2211874272409778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A$17</c:f>
              <c:numCache>
                <c:formatCode>General</c:formatCode>
                <c:ptCount val="3"/>
                <c:pt idx="0">
                  <c:v>0</c:v>
                </c:pt>
                <c:pt idx="1">
                  <c:v>0.22118742724097787</c:v>
                </c:pt>
                <c:pt idx="2">
                  <c:v>0</c:v>
                </c:pt>
              </c:numCache>
            </c:numRef>
          </c:xVal>
          <c:yVal>
            <c:numRef>
              <c:f>Sheet1!$B$15:$B$17</c:f>
              <c:numCache>
                <c:formatCode>General</c:formatCode>
                <c:ptCount val="3"/>
                <c:pt idx="0">
                  <c:v>0</c:v>
                </c:pt>
                <c:pt idx="1">
                  <c:v>0.22118742724097787</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opperton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542491268917345"/>
          <c:min val="0.176949941792782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3581.0714</c:v>
                </c:pt>
                <c:pt idx="1">
                  <c:v>6230.0</c:v>
                </c:pt>
                <c:pt idx="2">
                  <c:v>6349.6667</c:v>
                </c:pt>
                <c:pt idx="3">
                  <c:v>7566.0</c:v>
                </c:pt>
                <c:pt idx="4">
                  <c:v>5972.0</c:v>
                </c:pt>
                <c:pt idx="5">
                  <c:v>4616.6</c:v>
                </c:pt>
                <c:pt idx="6">
                  <c:v>5895.1667</c:v>
                </c:pt>
                <c:pt idx="7">
                  <c:v>3666.0</c:v>
                </c:pt>
                <c:pt idx="8">
                  <c:v>5288.0</c:v>
                </c:pt>
                <c:pt idx="9">
                  <c:v>4848.0</c:v>
                </c:pt>
                <c:pt idx="10">
                  <c:v>7054.0</c:v>
                </c:pt>
                <c:pt idx="11">
                  <c:v>4469.4286</c:v>
                </c:pt>
                <c:pt idx="12">
                  <c:v>5880.3333</c:v>
                </c:pt>
                <c:pt idx="13">
                  <c:v>5253.1667</c:v>
                </c:pt>
                <c:pt idx="14">
                  <c:v>5922.0</c:v>
                </c:pt>
                <c:pt idx="15">
                  <c:v>3753.2</c:v>
                </c:pt>
                <c:pt idx="16">
                  <c:v>2170.25</c:v>
                </c:pt>
                <c:pt idx="17">
                  <c:v>4387.0</c:v>
                </c:pt>
                <c:pt idx="18">
                  <c:v>3807.0</c:v>
                </c:pt>
                <c:pt idx="19">
                  <c:v>3804.25</c:v>
                </c:pt>
                <c:pt idx="20">
                  <c:v>3359.5</c:v>
                </c:pt>
                <c:pt idx="21">
                  <c:v>4369.8</c:v>
                </c:pt>
                <c:pt idx="22">
                  <c:v>6539.0</c:v>
                </c:pt>
                <c:pt idx="23">
                  <c:v>5053.4</c:v>
                </c:pt>
                <c:pt idx="24">
                  <c:v>3948.1429</c:v>
                </c:pt>
                <c:pt idx="25">
                  <c:v>6402.2</c:v>
                </c:pt>
                <c:pt idx="26">
                  <c:v>7763.5</c:v>
                </c:pt>
                <c:pt idx="27">
                  <c:v>3345.6</c:v>
                </c:pt>
                <c:pt idx="28">
                  <c:v>7017.25</c:v>
                </c:pt>
                <c:pt idx="29">
                  <c:v>3873.25</c:v>
                </c:pt>
                <c:pt idx="30">
                  <c:v>5011.5</c:v>
                </c:pt>
                <c:pt idx="31">
                  <c:v>5771.0</c:v>
                </c:pt>
                <c:pt idx="32">
                  <c:v>3461.5</c:v>
                </c:pt>
                <c:pt idx="33">
                  <c:v>3505.5833</c:v>
                </c:pt>
                <c:pt idx="34">
                  <c:v>3707.6429</c:v>
                </c:pt>
                <c:pt idx="35">
                  <c:v>6483.0</c:v>
                </c:pt>
                <c:pt idx="36">
                  <c:v>4574.5</c:v>
                </c:pt>
                <c:pt idx="37">
                  <c:v>7663.0</c:v>
                </c:pt>
                <c:pt idx="38">
                  <c:v>5601.0</c:v>
                </c:pt>
                <c:pt idx="39">
                  <c:v>5694.6667</c:v>
                </c:pt>
                <c:pt idx="40">
                  <c:v>5335.6667</c:v>
                </c:pt>
                <c:pt idx="41">
                  <c:v>10645.0</c:v>
                </c:pt>
                <c:pt idx="42">
                  <c:v>5430.5</c:v>
                </c:pt>
                <c:pt idx="43">
                  <c:v>3861.5714</c:v>
                </c:pt>
                <c:pt idx="44">
                  <c:v>4392.6</c:v>
                </c:pt>
                <c:pt idx="45">
                  <c:v>4084.4545</c:v>
                </c:pt>
                <c:pt idx="46">
                  <c:v>3682.6154</c:v>
                </c:pt>
                <c:pt idx="47">
                  <c:v>4401.9</c:v>
                </c:pt>
                <c:pt idx="48">
                  <c:v>3202.1176</c:v>
                </c:pt>
                <c:pt idx="49">
                  <c:v>3614.8333</c:v>
                </c:pt>
                <c:pt idx="50">
                  <c:v>4083.9</c:v>
                </c:pt>
                <c:pt idx="51">
                  <c:v>4174.75</c:v>
                </c:pt>
                <c:pt idx="52">
                  <c:v>3479.2</c:v>
                </c:pt>
                <c:pt idx="53">
                  <c:v>3423.5</c:v>
                </c:pt>
                <c:pt idx="54">
                  <c:v>4202.4</c:v>
                </c:pt>
                <c:pt idx="55">
                  <c:v>15202.0</c:v>
                </c:pt>
                <c:pt idx="56">
                  <c:v>6202.5</c:v>
                </c:pt>
                <c:pt idx="57">
                  <c:v>10480.0</c:v>
                </c:pt>
                <c:pt idx="58">
                  <c:v>4706.5</c:v>
                </c:pt>
                <c:pt idx="59">
                  <c:v>3925.25</c:v>
                </c:pt>
                <c:pt idx="60">
                  <c:v>3984.0</c:v>
                </c:pt>
                <c:pt idx="61">
                  <c:v>3894.25</c:v>
                </c:pt>
                <c:pt idx="62">
                  <c:v>3523.6667</c:v>
                </c:pt>
                <c:pt idx="63">
                  <c:v>2920.0</c:v>
                </c:pt>
                <c:pt idx="64">
                  <c:v>3077.6</c:v>
                </c:pt>
                <c:pt idx="65">
                  <c:v>6638.0</c:v>
                </c:pt>
                <c:pt idx="66">
                  <c:v>10119.0</c:v>
                </c:pt>
                <c:pt idx="67">
                  <c:v>5730.5</c:v>
                </c:pt>
                <c:pt idx="68">
                  <c:v>17630.0</c:v>
                </c:pt>
                <c:pt idx="69">
                  <c:v>5701.0</c:v>
                </c:pt>
                <c:pt idx="70">
                  <c:v>5620.2857</c:v>
                </c:pt>
                <c:pt idx="71">
                  <c:v>6033.2</c:v>
                </c:pt>
                <c:pt idx="72">
                  <c:v>5945.6</c:v>
                </c:pt>
                <c:pt idx="73">
                  <c:v>5831.6</c:v>
                </c:pt>
                <c:pt idx="74">
                  <c:v>5610.1429</c:v>
                </c:pt>
                <c:pt idx="75">
                  <c:v>8324.4</c:v>
                </c:pt>
                <c:pt idx="76">
                  <c:v>8366.5</c:v>
                </c:pt>
                <c:pt idx="77">
                  <c:v>4291.4545</c:v>
                </c:pt>
                <c:pt idx="78">
                  <c:v>22182.0</c:v>
                </c:pt>
                <c:pt idx="79">
                  <c:v>18169.0</c:v>
                </c:pt>
                <c:pt idx="80">
                  <c:v>17887.0</c:v>
                </c:pt>
                <c:pt idx="81">
                  <c:v>11855.0</c:v>
                </c:pt>
                <c:pt idx="82">
                  <c:v>14450.0</c:v>
                </c:pt>
                <c:pt idx="83">
                  <c:v>17175.0</c:v>
                </c:pt>
                <c:pt idx="84">
                  <c:v>6509.5</c:v>
                </c:pt>
                <c:pt idx="85">
                  <c:v>11668.0</c:v>
                </c:pt>
                <c:pt idx="86">
                  <c:v>5744.6667</c:v>
                </c:pt>
                <c:pt idx="87">
                  <c:v>10423.0</c:v>
                </c:pt>
              </c:numCache>
            </c:numRef>
          </c:xVal>
          <c:yVal>
            <c:numRef>
              <c:f>Sheet1!$B$2:$B$89</c:f>
              <c:numCache>
                <c:formatCode>General</c:formatCode>
                <c:ptCount val="88"/>
                <c:pt idx="0">
                  <c:v>0.0011991434689507495</c:v>
                </c:pt>
                <c:pt idx="1">
                  <c:v>0.00028042624789680314</c:v>
                </c:pt>
                <c:pt idx="2">
                  <c:v>0.0002781125428756837</c:v>
                </c:pt>
                <c:pt idx="3">
                  <c:v>0.00019022256039566293</c:v>
                </c:pt>
                <c:pt idx="4">
                  <c:v>0.00021652051531882645</c:v>
                </c:pt>
                <c:pt idx="5">
                  <c:v>0.0005567308762943993</c:v>
                </c:pt>
                <c:pt idx="6">
                  <c:v>0.0006385016494625945</c:v>
                </c:pt>
                <c:pt idx="7">
                  <c:v>0.0008297771455666193</c:v>
                </c:pt>
                <c:pt idx="8">
                  <c:v>0.0004679457182966776</c:v>
                </c:pt>
                <c:pt idx="9">
                  <c:v>0.000599101347978033</c:v>
                </c:pt>
                <c:pt idx="10">
                  <c:v>0.00028153153153153153</c:v>
                </c:pt>
                <c:pt idx="11">
                  <c:v>0.0006146821215314366</c:v>
                </c:pt>
                <c:pt idx="12">
                  <c:v>0.00046289152908501776</c:v>
                </c:pt>
                <c:pt idx="13">
                  <c:v>0.0005209237714881056</c:v>
                </c:pt>
                <c:pt idx="14">
                  <c:v>0.00018675880100849752</c:v>
                </c:pt>
                <c:pt idx="15">
                  <c:v>0.0005408913890090869</c:v>
                </c:pt>
                <c:pt idx="16">
                  <c:v>0.0004919444102816382</c:v>
                </c:pt>
                <c:pt idx="17">
                  <c:v>0.0004095004095004095</c:v>
                </c:pt>
                <c:pt idx="18">
                  <c:v>0.0005367686527106817</c:v>
                </c:pt>
                <c:pt idx="19">
                  <c:v>0.0005787874403125452</c:v>
                </c:pt>
                <c:pt idx="20">
                  <c:v>0.00034246575342465754</c:v>
                </c:pt>
                <c:pt idx="21">
                  <c:v>0.000943040362127499</c:v>
                </c:pt>
                <c:pt idx="22">
                  <c:v>0.0005824111822947001</c:v>
                </c:pt>
                <c:pt idx="23">
                  <c:v>0.0009085953116481918</c:v>
                </c:pt>
                <c:pt idx="24">
                  <c:v>0.001445086705202312</c:v>
                </c:pt>
                <c:pt idx="25">
                  <c:v>0.0008476012883539584</c:v>
                </c:pt>
                <c:pt idx="26">
                  <c:v>0.00035180299032541777</c:v>
                </c:pt>
                <c:pt idx="27">
                  <c:v>0.0008799718409010912</c:v>
                </c:pt>
                <c:pt idx="28">
                  <c:v>0.0006350214319733291</c:v>
                </c:pt>
                <c:pt idx="29">
                  <c:v>0.0007874015748031496</c:v>
                </c:pt>
                <c:pt idx="30">
                  <c:v>0.0008008008008008008</c:v>
                </c:pt>
                <c:pt idx="31">
                  <c:v>0.0006087662337662338</c:v>
                </c:pt>
                <c:pt idx="32">
                  <c:v>0.001777145903678692</c:v>
                </c:pt>
                <c:pt idx="33">
                  <c:v>0.001896633475580844</c:v>
                </c:pt>
                <c:pt idx="34">
                  <c:v>0.001708150317227916</c:v>
                </c:pt>
                <c:pt idx="35">
                  <c:v>0.0005660911406736484</c:v>
                </c:pt>
                <c:pt idx="36">
                  <c:v>0.0007027406886858749</c:v>
                </c:pt>
                <c:pt idx="37">
                  <c:v>0.0003351206434316354</c:v>
                </c:pt>
                <c:pt idx="38">
                  <c:v>0.0007473841554559044</c:v>
                </c:pt>
                <c:pt idx="39">
                  <c:v>0.00045676004872107184</c:v>
                </c:pt>
                <c:pt idx="40">
                  <c:v>0.0005029337803855825</c:v>
                </c:pt>
                <c:pt idx="41">
                  <c:v>0.0001405283867341203</c:v>
                </c:pt>
                <c:pt idx="42">
                  <c:v>0.0004873294346978557</c:v>
                </c:pt>
                <c:pt idx="43">
                  <c:v>0.0006576475009394964</c:v>
                </c:pt>
                <c:pt idx="44">
                  <c:v>0.00043825050398807957</c:v>
                </c:pt>
                <c:pt idx="45">
                  <c:v>0.0009446114212108201</c:v>
                </c:pt>
                <c:pt idx="46">
                  <c:v>0.0011339846475924634</c:v>
                </c:pt>
                <c:pt idx="47">
                  <c:v>0.0006391409945033875</c:v>
                </c:pt>
                <c:pt idx="48">
                  <c:v>0.0007207359986433205</c:v>
                </c:pt>
                <c:pt idx="49">
                  <c:v>0.0008355964069354502</c:v>
                </c:pt>
                <c:pt idx="50">
                  <c:v>0.0007998080460689434</c:v>
                </c:pt>
                <c:pt idx="51">
                  <c:v>0.00027660604384205796</c:v>
                </c:pt>
                <c:pt idx="52">
                  <c:v>0.00046048996131884323</c:v>
                </c:pt>
                <c:pt idx="53">
                  <c:v>0.0010156408693885843</c:v>
                </c:pt>
                <c:pt idx="54">
                  <c:v>0.000524824183898394</c:v>
                </c:pt>
                <c:pt idx="55">
                  <c:v>9.974067424695791e-05</c:v>
                </c:pt>
                <c:pt idx="56">
                  <c:v>0.0001799694052011158</c:v>
                </c:pt>
                <c:pt idx="57">
                  <c:v>8.116224332440549e-05</c:v>
                </c:pt>
                <c:pt idx="58">
                  <c:v>0.00021578464692237147</c:v>
                </c:pt>
                <c:pt idx="59">
                  <c:v>0.00022507314877335134</c:v>
                </c:pt>
                <c:pt idx="60">
                  <c:v>0.000373440884308014</c:v>
                </c:pt>
                <c:pt idx="61">
                  <c:v>0.00030483158055174517</c:v>
                </c:pt>
                <c:pt idx="62">
                  <c:v>0.0003925417075564279</c:v>
                </c:pt>
                <c:pt idx="63">
                  <c:v>0.0005675368898978433</c:v>
                </c:pt>
                <c:pt idx="64">
                  <c:v>0.0003447800303406427</c:v>
                </c:pt>
                <c:pt idx="65">
                  <c:v>7.407956144899622e-05</c:v>
                </c:pt>
                <c:pt idx="66">
                  <c:v>7.678722260615834e-05</c:v>
                </c:pt>
                <c:pt idx="67">
                  <c:v>0.00023070711731456916</c:v>
                </c:pt>
                <c:pt idx="68">
                  <c:v>0.00011132138483802739</c:v>
                </c:pt>
                <c:pt idx="69">
                  <c:v>0.0005693463903438852</c:v>
                </c:pt>
                <c:pt idx="70">
                  <c:v>0.0008230452674897119</c:v>
                </c:pt>
                <c:pt idx="71">
                  <c:v>0.0006932889628397116</c:v>
                </c:pt>
                <c:pt idx="72">
                  <c:v>0.0007217090069284065</c:v>
                </c:pt>
                <c:pt idx="73">
                  <c:v>0.0007265329845975008</c:v>
                </c:pt>
                <c:pt idx="74">
                  <c:v>0.0011488593467914</c:v>
                </c:pt>
                <c:pt idx="75">
                  <c:v>0.0008382229673093043</c:v>
                </c:pt>
                <c:pt idx="76">
                  <c:v>0.0006619228859837829</c:v>
                </c:pt>
                <c:pt idx="77">
                  <c:v>0.0014915254237288136</c:v>
                </c:pt>
                <c:pt idx="78">
                  <c:v>0.00016943409013893597</c:v>
                </c:pt>
                <c:pt idx="79">
                  <c:v>0.00021222410865874363</c:v>
                </c:pt>
                <c:pt idx="80">
                  <c:v>0.00021235931195582927</c:v>
                </c:pt>
                <c:pt idx="81">
                  <c:v>7.328154770628756e-05</c:v>
                </c:pt>
                <c:pt idx="82">
                  <c:v>5.774672287347693e-05</c:v>
                </c:pt>
                <c:pt idx="83">
                  <c:v>3.8968124074507054e-05</c:v>
                </c:pt>
                <c:pt idx="84">
                  <c:v>0.00012721027859051011</c:v>
                </c:pt>
                <c:pt idx="85">
                  <c:v>6.444544692917445e-05</c:v>
                </c:pt>
                <c:pt idx="86">
                  <c:v>0.00020827547903360177</c:v>
                </c:pt>
                <c:pt idx="87">
                  <c:v>7.61266747868453e-05</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6.82081713389264e-05</c:v>
                </c:pt>
                <c:pt idx="21">
                  <c:v>0.00014652014652014652</c:v>
                </c:pt>
                <c:pt idx="22">
                  <c:v>0.0</c:v>
                </c:pt>
                <c:pt idx="23">
                  <c:v>0.0</c:v>
                </c:pt>
                <c:pt idx="24">
                  <c:v>0.00010643959552953698</c:v>
                </c:pt>
                <c:pt idx="25">
                  <c:v>0.0</c:v>
                </c:pt>
                <c:pt idx="26">
                  <c:v>0.00019327406262079628</c:v>
                </c:pt>
                <c:pt idx="27">
                  <c:v>8.983111749910169e-05</c:v>
                </c:pt>
                <c:pt idx="28">
                  <c:v>0.00015355086372360844</c:v>
                </c:pt>
                <c:pt idx="29">
                  <c:v>0.0</c:v>
                </c:pt>
                <c:pt idx="30">
                  <c:v>0.0</c:v>
                </c:pt>
                <c:pt idx="31">
                  <c:v>8.554319931565441e-05</c:v>
                </c:pt>
                <c:pt idx="32">
                  <c:v>8.918219923303308e-05</c:v>
                </c:pt>
                <c:pt idx="33">
                  <c:v>0.00019845207382417147</c:v>
                </c:pt>
                <c:pt idx="34">
                  <c:v>0.0</c:v>
                </c:pt>
                <c:pt idx="35">
                  <c:v>0.0</c:v>
                </c:pt>
                <c:pt idx="36">
                  <c:v>0.00011122233344455567</c:v>
                </c:pt>
                <c:pt idx="37">
                  <c:v>0.0</c:v>
                </c:pt>
                <c:pt idx="38">
                  <c:v>0.0003213883978788366</c:v>
                </c:pt>
                <c:pt idx="39">
                  <c:v>0.0003180155827635554</c:v>
                </c:pt>
                <c:pt idx="40">
                  <c:v>0.00015946420028703555</c:v>
                </c:pt>
                <c:pt idx="41">
                  <c:v>0.00014992503748125936</c:v>
                </c:pt>
                <c:pt idx="42">
                  <c:v>0.00047244094488188977</c:v>
                </c:pt>
                <c:pt idx="43">
                  <c:v>0.000792016473942658</c:v>
                </c:pt>
                <c:pt idx="44">
                  <c:v>0.00028814291888776836</c:v>
                </c:pt>
                <c:pt idx="45">
                  <c:v>0.00026215755669157164</c:v>
                </c:pt>
                <c:pt idx="46">
                  <c:v>0.00031660598385309483</c:v>
                </c:pt>
                <c:pt idx="47">
                  <c:v>0.00016564518800728838</c:v>
                </c:pt>
                <c:pt idx="48">
                  <c:v>0.0</c:v>
                </c:pt>
                <c:pt idx="49">
                  <c:v>0.0001686056314280897</c:v>
                </c:pt>
                <c:pt idx="50">
                  <c:v>0.0006701289998324678</c:v>
                </c:pt>
                <c:pt idx="51">
                  <c:v>0.0005676657584014533</c:v>
                </c:pt>
                <c:pt idx="52">
                  <c:v>0.0006191183754333828</c:v>
                </c:pt>
                <c:pt idx="53">
                  <c:v>0.0</c:v>
                </c:pt>
                <c:pt idx="54">
                  <c:v>0.0</c:v>
                </c:pt>
                <c:pt idx="55">
                  <c:v>0.0</c:v>
                </c:pt>
                <c:pt idx="56">
                  <c:v>0.0</c:v>
                </c:pt>
                <c:pt idx="57">
                  <c:v>0.0001386193512614361</c:v>
                </c:pt>
                <c:pt idx="58">
                  <c:v>0.00012913223140495868</c:v>
                </c:pt>
                <c:pt idx="59">
                  <c:v>0.0001426533523537803</c:v>
                </c:pt>
                <c:pt idx="60">
                  <c:v>0.0</c:v>
                </c:pt>
                <c:pt idx="61">
                  <c:v>0.0</c:v>
                </c:pt>
                <c:pt idx="62">
                  <c:v>0.0</c:v>
                </c:pt>
                <c:pt idx="63">
                  <c:v>0.0</c:v>
                </c:pt>
                <c:pt idx="64">
                  <c:v>0.0</c:v>
                </c:pt>
                <c:pt idx="65">
                  <c:v>0.0</c:v>
                </c:pt>
                <c:pt idx="66">
                  <c:v>0.0</c:v>
                </c:pt>
                <c:pt idx="67">
                  <c:v>0.00014715620631300125</c:v>
                </c:pt>
                <c:pt idx="68">
                  <c:v>5.969436485195797e-0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6084.41892733451</c:v>
                </c:pt>
              </c:numCache>
            </c:numRef>
          </c:xVal>
          <c:yVal>
            <c:numRef>
              <c:f>Sheet1!$B$163:$B$164</c:f>
              <c:numCache>
                <c:formatCode>General</c:formatCode>
                <c:ptCount val="2"/>
                <c:pt idx="0">
                  <c:v>0.0009587907001120169</c:v>
                </c:pt>
                <c:pt idx="1">
                  <c:v>0.000958790700112016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6084.41892733451</c:v>
                </c:pt>
                <c:pt idx="1">
                  <c:v>66084.41892733451</c:v>
                </c:pt>
              </c:numCache>
            </c:numRef>
          </c:xVal>
          <c:yVal>
            <c:numRef>
              <c:f>Sheet1!$B$167:$B$168</c:f>
              <c:numCache>
                <c:formatCode>General</c:formatCode>
                <c:ptCount val="2"/>
                <c:pt idx="0">
                  <c:v>0.000958790700112016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20133.573273890583</c:v>
                </c:pt>
              </c:numCache>
            </c:numRef>
          </c:xVal>
          <c:yVal>
            <c:numRef>
              <c:f>Sheet1!$B$171:$B$172</c:f>
              <c:numCache>
                <c:formatCode>General</c:formatCode>
                <c:ptCount val="2"/>
                <c:pt idx="0">
                  <c:v>0.00033313955972754864</c:v>
                </c:pt>
                <c:pt idx="1">
                  <c:v>0.0003331395597275486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20133.573273890583</c:v>
                </c:pt>
                <c:pt idx="1">
                  <c:v>20133.573273890583</c:v>
                </c:pt>
              </c:numCache>
            </c:numRef>
          </c:xVal>
          <c:yVal>
            <c:numRef>
              <c:f>Sheet1!$B$175:$B$176</c:f>
              <c:numCache>
                <c:formatCode>General</c:formatCode>
                <c:ptCount val="2"/>
                <c:pt idx="0">
                  <c:v>0.000333139559727548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46.5587546324125</c:v>
                </c:pt>
              </c:numCache>
            </c:numRef>
          </c:xVal>
          <c:yVal>
            <c:numRef>
              <c:f>Sheet1!$B$179:$B$180</c:f>
              <c:numCache>
                <c:formatCode>General</c:formatCode>
                <c:ptCount val="2"/>
                <c:pt idx="0">
                  <c:v>4.748119278347187e-05</c:v>
                </c:pt>
                <c:pt idx="1">
                  <c:v>4.748119278347187e-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46.5587546324125</c:v>
                </c:pt>
                <c:pt idx="1">
                  <c:v>-846.5587546324125</c:v>
                </c:pt>
              </c:numCache>
            </c:numRef>
          </c:xVal>
          <c:yVal>
            <c:numRef>
              <c:f>Sheet1!$B$183:$B$184</c:f>
              <c:numCache>
                <c:formatCode>General</c:formatCode>
                <c:ptCount val="2"/>
                <c:pt idx="0">
                  <c:v>4.748119278347187e-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pt idx="69">
                  <c:v>20133.573273890583</c:v>
                </c:pt>
                <c:pt idx="70">
                  <c:v>66084.41892733451</c:v>
                </c:pt>
                <c:pt idx="71">
                  <c:v>-846.5587546324125</c:v>
                </c:pt>
              </c:numCache>
            </c:numRef>
          </c:xVal>
          <c:yVal>
            <c:numRef>
              <c:f>Sheet1!$B$187:$B$258</c:f>
              <c:numCache>
                <c:formatCode>General</c:formatCode>
                <c:ptCount val="72"/>
                <c:pt idx="0">
                  <c:v>5.900764986399631e-05</c:v>
                </c:pt>
                <c:pt idx="1">
                  <c:v>5.900764986399631e-05</c:v>
                </c:pt>
                <c:pt idx="2">
                  <c:v>5.900764986399631e-05</c:v>
                </c:pt>
                <c:pt idx="3">
                  <c:v>5.900764986399631e-05</c:v>
                </c:pt>
                <c:pt idx="4">
                  <c:v>5.900764986399631e-05</c:v>
                </c:pt>
                <c:pt idx="5">
                  <c:v>5.900764986399631e-05</c:v>
                </c:pt>
                <c:pt idx="6">
                  <c:v>5.900764986399631e-05</c:v>
                </c:pt>
                <c:pt idx="7">
                  <c:v>5.900764986399631e-05</c:v>
                </c:pt>
                <c:pt idx="8">
                  <c:v>5.900764986399631e-05</c:v>
                </c:pt>
                <c:pt idx="9">
                  <c:v>5.900764986399631e-05</c:v>
                </c:pt>
                <c:pt idx="10">
                  <c:v>5.900764986399631e-05</c:v>
                </c:pt>
                <c:pt idx="11">
                  <c:v>5.900764986399631e-05</c:v>
                </c:pt>
                <c:pt idx="12">
                  <c:v>5.900764986399631e-05</c:v>
                </c:pt>
                <c:pt idx="13">
                  <c:v>5.900764986399631e-05</c:v>
                </c:pt>
                <c:pt idx="14">
                  <c:v>5.900764986399631e-05</c:v>
                </c:pt>
                <c:pt idx="15">
                  <c:v>5.900764986399631e-05</c:v>
                </c:pt>
                <c:pt idx="16">
                  <c:v>5.900764986399631e-05</c:v>
                </c:pt>
                <c:pt idx="17">
                  <c:v>5.900764986399631e-05</c:v>
                </c:pt>
                <c:pt idx="18">
                  <c:v>5.900764986399631e-05</c:v>
                </c:pt>
                <c:pt idx="19">
                  <c:v>5.900764986399631e-05</c:v>
                </c:pt>
                <c:pt idx="20">
                  <c:v>0.00021128520329212263</c:v>
                </c:pt>
                <c:pt idx="21">
                  <c:v>0.00014428934298784012</c:v>
                </c:pt>
                <c:pt idx="22">
                  <c:v>5.900764986399631e-05</c:v>
                </c:pt>
                <c:pt idx="23">
                  <c:v>5.900764986399631e-05</c:v>
                </c:pt>
                <c:pt idx="24">
                  <c:v>0.00018817942645310882</c:v>
                </c:pt>
                <c:pt idx="25">
                  <c:v>5.900764986399631e-05</c:v>
                </c:pt>
                <c:pt idx="26">
                  <c:v>0.00012656856010276264</c:v>
                </c:pt>
                <c:pt idx="27">
                  <c:v>0.00015783011792384438</c:v>
                </c:pt>
                <c:pt idx="28">
                  <c:v>0.00017654484406717054</c:v>
                </c:pt>
                <c:pt idx="29">
                  <c:v>5.900764986399631e-05</c:v>
                </c:pt>
                <c:pt idx="30">
                  <c:v>5.900764986399631e-05</c:v>
                </c:pt>
                <c:pt idx="31">
                  <c:v>0.00024386748023717863</c:v>
                </c:pt>
                <c:pt idx="32">
                  <c:v>0.00021907336142524926</c:v>
                </c:pt>
                <c:pt idx="33">
                  <c:v>0.00021081546298514208</c:v>
                </c:pt>
                <c:pt idx="34">
                  <c:v>5.900764986399631e-05</c:v>
                </c:pt>
                <c:pt idx="35">
                  <c:v>5.900764986399631e-05</c:v>
                </c:pt>
                <c:pt idx="36">
                  <c:v>0.00021738501945233368</c:v>
                </c:pt>
                <c:pt idx="37">
                  <c:v>5.900764986399631e-05</c:v>
                </c:pt>
                <c:pt idx="38">
                  <c:v>0.00015156010600023457</c:v>
                </c:pt>
                <c:pt idx="39">
                  <c:v>0.0001315042372413263</c:v>
                </c:pt>
                <c:pt idx="40">
                  <c:v>0.00014584833618057263</c:v>
                </c:pt>
                <c:pt idx="41">
                  <c:v>0.0002119387550235738</c:v>
                </c:pt>
                <c:pt idx="42">
                  <c:v>0.00012736734600616946</c:v>
                </c:pt>
                <c:pt idx="43">
                  <c:v>0.00011472293497020991</c:v>
                </c:pt>
                <c:pt idx="44">
                  <c:v>0.00012148311069240812</c:v>
                </c:pt>
                <c:pt idx="45">
                  <c:v>0.0001574897263970469</c:v>
                </c:pt>
                <c:pt idx="46">
                  <c:v>0.00013375082131818975</c:v>
                </c:pt>
                <c:pt idx="47">
                  <c:v>0.00014870762500567158</c:v>
                </c:pt>
                <c:pt idx="48">
                  <c:v>5.900764986399631e-05</c:v>
                </c:pt>
                <c:pt idx="49">
                  <c:v>0.0001388226550674724</c:v>
                </c:pt>
                <c:pt idx="50">
                  <c:v>8.965650293684255e-05</c:v>
                </c:pt>
                <c:pt idx="51">
                  <c:v>8.638874427958662e-05</c:v>
                </c:pt>
                <c:pt idx="52">
                  <c:v>0.0001069565618947983</c:v>
                </c:pt>
                <c:pt idx="53">
                  <c:v>5.900764986399631e-05</c:v>
                </c:pt>
                <c:pt idx="54">
                  <c:v>5.900764986399631e-05</c:v>
                </c:pt>
                <c:pt idx="55">
                  <c:v>5.900764986399631e-05</c:v>
                </c:pt>
                <c:pt idx="56">
                  <c:v>5.900764986399631e-05</c:v>
                </c:pt>
                <c:pt idx="57">
                  <c:v>0.00023066028899743592</c:v>
                </c:pt>
                <c:pt idx="58">
                  <c:v>0.00018605538332589248</c:v>
                </c:pt>
                <c:pt idx="59">
                  <c:v>0.00021997199505599464</c:v>
                </c:pt>
                <c:pt idx="60">
                  <c:v>5.900764986399631e-05</c:v>
                </c:pt>
                <c:pt idx="61">
                  <c:v>5.900764986399631e-05</c:v>
                </c:pt>
                <c:pt idx="62">
                  <c:v>5.900764986399631e-05</c:v>
                </c:pt>
                <c:pt idx="63">
                  <c:v>5.900764986399631e-05</c:v>
                </c:pt>
                <c:pt idx="64">
                  <c:v>5.900764986399631e-05</c:v>
                </c:pt>
                <c:pt idx="65">
                  <c:v>5.900764986399631e-05</c:v>
                </c:pt>
                <c:pt idx="66">
                  <c:v>5.900764986399631e-05</c:v>
                </c:pt>
                <c:pt idx="67">
                  <c:v>0.00012170776910009446</c:v>
                </c:pt>
                <c:pt idx="68">
                  <c:v>0.000250062606024893</c:v>
                </c:pt>
                <c:pt idx="69">
                  <c:v>0.00033313955972754864</c:v>
                </c:pt>
                <c:pt idx="70">
                  <c:v>0.000958790700112017</c:v>
                </c:pt>
                <c:pt idx="71">
                  <c:v>4.748119278347187e-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930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275960170697012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c:f>
              <c:numCache>
                <c:formatCode>General</c:formatCode>
                <c:ptCount val="1"/>
                <c:pt idx="0">
                  <c:v>1350.6263</c:v>
                </c:pt>
              </c:numCache>
            </c:numRef>
          </c:xVal>
          <c:yVal>
            <c:numRef>
              <c:f>Sheet1!$B$2:$B$2</c:f>
              <c:numCache>
                <c:formatCode>General</c:formatCode>
                <c:ptCount val="1"/>
                <c:pt idx="0">
                  <c:v>0.22118742724097787</c:v>
                </c:pt>
              </c:numCache>
            </c:numRef>
          </c:yVal>
          <c:smooth val="0"/>
          <c:extLst>
            <c:ext xmlns:c16="http://schemas.microsoft.com/office/drawing/2014/chart" uri="{C3380CC4-5D6E-409C-BE32-E72D297353CC}">
              <c16:uniqueId val="{00000000-F32D-48B7-BC20-E66FC6253BAD}"/>
            </c:ext>
          </c:extLst>
        </c:ser>
        <c:ser>
          <c:idx val="1"/>
          <c:order val="1"/>
          <c:tx>
            <c:strRef>
              <c:f>Sheet1!$B$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A$4</c:f>
              <c:numCache>
                <c:formatCode>General</c:formatCode>
                <c:ptCount val="0"/>
              </c:numCache>
            </c:numRef>
          </c:xVal>
          <c:yVal>
            <c:numRef>
              <c:f>Sheet1!$B$5:$B$4</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6</c:f>
              <c:strCache>
                <c:ptCount val="1"/>
                <c:pt idx="0">
                  <c:v>Custom Linep3yQ</c:v>
                </c:pt>
              </c:strCache>
            </c:strRef>
          </c:tx>
          <c:spPr>
            <a:ln w="19050" cap="rnd">
              <a:solidFill>
                <a:srgbClr val="C00000"/>
              </a:solidFill>
              <a:prstDash val="sysDot"/>
              <a:round/>
            </a:ln>
            <a:effectLst/>
          </c:spPr>
          <c:marker>
            <c:symbol val="none"/>
          </c:marker>
          <c:xVal>
            <c:numRef>
              <c:f>Sheet1!$A$7:$A$8</c:f>
              <c:numCache>
                <c:formatCode>General</c:formatCode>
                <c:ptCount val="2"/>
                <c:pt idx="0">
                  <c:v>0</c:v>
                </c:pt>
                <c:pt idx="1">
                  <c:v>0.22118742724097787</c:v>
                </c:pt>
              </c:numCache>
            </c:numRef>
          </c:xVal>
          <c:yVal>
            <c:numRef>
              <c:f>Sheet1!$B$7:$B$8</c:f>
              <c:numCache>
                <c:formatCode>General</c:formatCode>
                <c:ptCount val="2"/>
                <c:pt idx="0">
                  <c:v>0.22118742724097787</c:v>
                </c:pt>
                <c:pt idx="1">
                  <c:v>0.22118742724097787</c:v>
                </c:pt>
              </c:numCache>
            </c:numRef>
          </c:yVal>
          <c:smooth val="0"/>
          <c:extLst>
            <c:ext xmlns:c16="http://schemas.microsoft.com/office/drawing/2014/chart" uri="{C3380CC4-5D6E-409C-BE32-E72D297353CC}">
              <c16:uniqueId val="{00000003-F32D-48B7-BC20-E66FC6253BAD}"/>
            </c:ext>
          </c:extLst>
        </c:ser>
        <c:ser>
          <c:idx val="3"/>
          <c:order val="3"/>
          <c:tx>
            <c:strRef>
              <c:f>Sheet1!$B$1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A$12</c:f>
              <c:numCache>
                <c:formatCode>General</c:formatCode>
                <c:ptCount val="2"/>
                <c:pt idx="0">
                  <c:v>0.22118742724097787</c:v>
                </c:pt>
                <c:pt idx="1">
                  <c:v>0.22118742724097787</c:v>
                </c:pt>
              </c:numCache>
            </c:numRef>
          </c:xVal>
          <c:yVal>
            <c:numRef>
              <c:f>Sheet1!$B$11:$B$12</c:f>
              <c:numCache>
                <c:formatCode>General</c:formatCode>
                <c:ptCount val="2"/>
                <c:pt idx="0">
                  <c:v>0.2211874272409778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A$17</c:f>
              <c:numCache>
                <c:formatCode>General</c:formatCode>
                <c:ptCount val="3"/>
                <c:pt idx="0">
                  <c:v>0</c:v>
                </c:pt>
                <c:pt idx="1">
                  <c:v>0.22118742724097787</c:v>
                </c:pt>
                <c:pt idx="2">
                  <c:v>0</c:v>
                </c:pt>
              </c:numCache>
            </c:numRef>
          </c:xVal>
          <c:yVal>
            <c:numRef>
              <c:f>Sheet1!$B$15:$B$17</c:f>
              <c:numCache>
                <c:formatCode>General</c:formatCode>
                <c:ptCount val="3"/>
                <c:pt idx="0">
                  <c:v>0</c:v>
                </c:pt>
                <c:pt idx="1">
                  <c:v>0.22118742724097787</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2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542491268917345"/>
          <c:min val="0.176949941792782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17</c:f>
              <c:numCache>
                <c:formatCode>General</c:formatCode>
                <c:ptCount val="116"/>
                <c:pt idx="0">
                  <c:v>0.0</c:v>
                </c:pt>
                <c:pt idx="1">
                  <c:v>0.0</c:v>
                </c:pt>
                <c:pt idx="2">
                  <c:v>0.0</c:v>
                </c:pt>
                <c:pt idx="3">
                  <c:v>0.0</c:v>
                </c:pt>
                <c:pt idx="4">
                  <c:v>0.0</c:v>
                </c:pt>
                <c:pt idx="5">
                  <c:v>0.0</c:v>
                </c:pt>
                <c:pt idx="6">
                  <c:v>0.0</c:v>
                </c:pt>
                <c:pt idx="7">
                  <c:v>0.6858885063853415</c:v>
                </c:pt>
                <c:pt idx="8">
                  <c:v>0.0</c:v>
                </c:pt>
                <c:pt idx="9">
                  <c:v>0.0</c:v>
                </c:pt>
                <c:pt idx="10">
                  <c:v>0.7951083162917518</c:v>
                </c:pt>
                <c:pt idx="11">
                  <c:v>1.1592567981438515</c:v>
                </c:pt>
                <c:pt idx="12">
                  <c:v>0.0</c:v>
                </c:pt>
                <c:pt idx="13">
                  <c:v>0.0</c:v>
                </c:pt>
                <c:pt idx="14">
                  <c:v>0.0</c:v>
                </c:pt>
                <c:pt idx="15">
                  <c:v>0.0</c:v>
                </c:pt>
                <c:pt idx="16">
                  <c:v>0.0</c:v>
                </c:pt>
                <c:pt idx="17">
                  <c:v>0.0</c:v>
                </c:pt>
                <c:pt idx="18">
                  <c:v>1.079294401244168</c:v>
                </c:pt>
                <c:pt idx="19">
                  <c:v>0.0</c:v>
                </c:pt>
                <c:pt idx="20">
                  <c:v>0.0</c:v>
                </c:pt>
                <c:pt idx="21">
                  <c:v>0.0</c:v>
                </c:pt>
                <c:pt idx="22">
                  <c:v>0.0</c:v>
                </c:pt>
                <c:pt idx="23">
                  <c:v>0.0</c:v>
                </c:pt>
                <c:pt idx="24">
                  <c:v>0.0</c:v>
                </c:pt>
                <c:pt idx="25">
                  <c:v>0.0</c:v>
                </c:pt>
                <c:pt idx="26">
                  <c:v>0.0</c:v>
                </c:pt>
                <c:pt idx="27">
                  <c:v>0.0</c:v>
                </c:pt>
                <c:pt idx="28">
                  <c:v>0.25156727336985335</c:v>
                </c:pt>
                <c:pt idx="29">
                  <c:v>0.4323454193356175</c:v>
                </c:pt>
                <c:pt idx="30">
                  <c:v>0.3799445085190039</c:v>
                </c:pt>
                <c:pt idx="31">
                  <c:v>0.1880468202764977</c:v>
                </c:pt>
                <c:pt idx="32">
                  <c:v>0.2835708042306925</c:v>
                </c:pt>
                <c:pt idx="33">
                  <c:v>0.2678688367729831</c:v>
                </c:pt>
                <c:pt idx="34">
                  <c:v>0.336195619228037</c:v>
                </c:pt>
                <c:pt idx="35">
                  <c:v>0.0</c:v>
                </c:pt>
                <c:pt idx="36">
                  <c:v>0.0</c:v>
                </c:pt>
                <c:pt idx="37">
                  <c:v>0.0</c:v>
                </c:pt>
                <c:pt idx="38">
                  <c:v>0.0</c:v>
                </c:pt>
                <c:pt idx="39">
                  <c:v>0.0</c:v>
                </c:pt>
                <c:pt idx="40">
                  <c:v>0.0</c:v>
                </c:pt>
                <c:pt idx="41">
                  <c:v>0.3685761071827317</c:v>
                </c:pt>
                <c:pt idx="42">
                  <c:v>0.4143792787738673</c:v>
                </c:pt>
                <c:pt idx="43">
                  <c:v>0.17214136574074074</c:v>
                </c:pt>
                <c:pt idx="44">
                  <c:v>0.39555521908325986</c:v>
                </c:pt>
                <c:pt idx="45">
                  <c:v>0.20001719457013575</c:v>
                </c:pt>
                <c:pt idx="46">
                  <c:v>0.3863035719988009</c:v>
                </c:pt>
                <c:pt idx="47">
                  <c:v>0.38284881588495284</c:v>
                </c:pt>
                <c:pt idx="48">
                  <c:v>0.31385441719123075</c:v>
                </c:pt>
                <c:pt idx="49">
                  <c:v>0.0</c:v>
                </c:pt>
                <c:pt idx="50">
                  <c:v>0.3380147375820056</c:v>
                </c:pt>
                <c:pt idx="51">
                  <c:v>0.25283856479091377</c:v>
                </c:pt>
                <c:pt idx="52">
                  <c:v>0.0</c:v>
                </c:pt>
                <c:pt idx="53">
                  <c:v>0.0</c:v>
                </c:pt>
                <c:pt idx="54">
                  <c:v>0.0</c:v>
                </c:pt>
                <c:pt idx="55">
                  <c:v>0.0</c:v>
                </c:pt>
                <c:pt idx="56">
                  <c:v>0.0</c:v>
                </c:pt>
                <c:pt idx="57">
                  <c:v>0.2522416283427014</c:v>
                </c:pt>
                <c:pt idx="58">
                  <c:v>0.0</c:v>
                </c:pt>
                <c:pt idx="59">
                  <c:v>0.0</c:v>
                </c:pt>
                <c:pt idx="60">
                  <c:v>0.0</c:v>
                </c:pt>
                <c:pt idx="61">
                  <c:v>0.0</c:v>
                </c:pt>
                <c:pt idx="62">
                  <c:v>0.0</c:v>
                </c:pt>
                <c:pt idx="63">
                  <c:v>0.28923367773136954</c:v>
                </c:pt>
                <c:pt idx="64">
                  <c:v>0.0</c:v>
                </c:pt>
                <c:pt idx="65">
                  <c:v>0.0</c:v>
                </c:pt>
                <c:pt idx="66">
                  <c:v>0.2581183255363768</c:v>
                </c:pt>
                <c:pt idx="67">
                  <c:v>0.0</c:v>
                </c:pt>
                <c:pt idx="68">
                  <c:v>0.0</c:v>
                </c:pt>
                <c:pt idx="69">
                  <c:v>0.0</c:v>
                </c:pt>
                <c:pt idx="70">
                  <c:v>0.43861247146118726</c:v>
                </c:pt>
                <c:pt idx="71">
                  <c:v>0.0</c:v>
                </c:pt>
                <c:pt idx="72">
                  <c:v>0.0</c:v>
                </c:pt>
                <c:pt idx="73">
                  <c:v>0.0</c:v>
                </c:pt>
                <c:pt idx="74">
                  <c:v>0.31046290922619046</c:v>
                </c:pt>
                <c:pt idx="75">
                  <c:v>0.0</c:v>
                </c:pt>
                <c:pt idx="76">
                  <c:v>0.0</c:v>
                </c:pt>
                <c:pt idx="77">
                  <c:v>0.0</c:v>
                </c:pt>
                <c:pt idx="78">
                  <c:v>0.0</c:v>
                </c:pt>
                <c:pt idx="79">
                  <c:v>0.0</c:v>
                </c:pt>
                <c:pt idx="80">
                  <c:v>0.0</c:v>
                </c:pt>
                <c:pt idx="81">
                  <c:v>0.0</c:v>
                </c:pt>
                <c:pt idx="82">
                  <c:v>0.0</c:v>
                </c:pt>
                <c:pt idx="83">
                  <c:v>0.0</c:v>
                </c:pt>
                <c:pt idx="84">
                  <c:v>0.35584919436052365</c:v>
                </c:pt>
                <c:pt idx="85">
                  <c:v>0.0</c:v>
                </c:pt>
                <c:pt idx="86">
                  <c:v>0.2547245266781411</c:v>
                </c:pt>
                <c:pt idx="87">
                  <c:v>0.0</c:v>
                </c:pt>
                <c:pt idx="88">
                  <c:v>0.0</c:v>
                </c:pt>
                <c:pt idx="89">
                  <c:v>0.0</c:v>
                </c:pt>
                <c:pt idx="90">
                  <c:v>0.0</c:v>
                </c:pt>
                <c:pt idx="91">
                  <c:v>0.0</c:v>
                </c:pt>
                <c:pt idx="92">
                  <c:v>0.0</c:v>
                </c:pt>
                <c:pt idx="93">
                  <c:v>0.0</c:v>
                </c:pt>
                <c:pt idx="94">
                  <c:v>0.0</c:v>
                </c:pt>
                <c:pt idx="95">
                  <c:v>0.0</c:v>
                </c:pt>
                <c:pt idx="96">
                  <c:v>0.0</c:v>
                </c:pt>
                <c:pt idx="97">
                  <c:v>0.0</c:v>
                </c:pt>
                <c:pt idx="98">
                  <c:v>0.0</c:v>
                </c:pt>
                <c:pt idx="99">
                  <c:v>0.0</c:v>
                </c:pt>
                <c:pt idx="100">
                  <c:v>0.0</c:v>
                </c:pt>
                <c:pt idx="101">
                  <c:v>0.0</c:v>
                </c:pt>
                <c:pt idx="102">
                  <c:v>0.0</c:v>
                </c:pt>
                <c:pt idx="103">
                  <c:v>0.0</c:v>
                </c:pt>
                <c:pt idx="104">
                  <c:v>0.0</c:v>
                </c:pt>
                <c:pt idx="105">
                  <c:v>0.0</c:v>
                </c:pt>
                <c:pt idx="106">
                  <c:v>0.0</c:v>
                </c:pt>
                <c:pt idx="107">
                  <c:v>0.0</c:v>
                </c:pt>
                <c:pt idx="108">
                  <c:v>0.0</c:v>
                </c:pt>
                <c:pt idx="109">
                  <c:v>0.0</c:v>
                </c:pt>
                <c:pt idx="110">
                  <c:v>0.0</c:v>
                </c:pt>
                <c:pt idx="111">
                  <c:v>0.0</c:v>
                </c:pt>
                <c:pt idx="112">
                  <c:v>0.0</c:v>
                </c:pt>
                <c:pt idx="113">
                  <c:v>0.0</c:v>
                </c:pt>
                <c:pt idx="114">
                  <c:v>0.0</c:v>
                </c:pt>
                <c:pt idx="115">
                  <c:v>0.0</c:v>
                </c:pt>
              </c:numCache>
            </c:numRef>
          </c:xVal>
          <c:yVal>
            <c:numRef>
              <c:f>Sheet1!$B$2:$B$117</c:f>
              <c:numCache>
                <c:formatCode>General</c:formatCode>
                <c:ptCount val="116"/>
                <c:pt idx="0">
                  <c:v>1.0</c:v>
                </c:pt>
                <c:pt idx="1">
                  <c:v>1.0</c:v>
                </c:pt>
                <c:pt idx="2">
                  <c:v>1.0</c:v>
                </c:pt>
                <c:pt idx="3">
                  <c:v>1.0</c:v>
                </c:pt>
                <c:pt idx="4">
                  <c:v>1.0</c:v>
                </c:pt>
                <c:pt idx="5">
                  <c:v>1.0</c:v>
                </c:pt>
                <c:pt idx="6">
                  <c:v>1.0</c:v>
                </c:pt>
                <c:pt idx="7">
                  <c:v>0.9962121212121212</c:v>
                </c:pt>
                <c:pt idx="8">
                  <c:v>1.0</c:v>
                </c:pt>
                <c:pt idx="9">
                  <c:v>1.0</c:v>
                </c:pt>
                <c:pt idx="10">
                  <c:v>0.9976635514018691</c:v>
                </c:pt>
                <c:pt idx="11">
                  <c:v>0.9943661971830986</c:v>
                </c:pt>
                <c:pt idx="12">
                  <c:v>1.0</c:v>
                </c:pt>
                <c:pt idx="13">
                  <c:v>1.0</c:v>
                </c:pt>
                <c:pt idx="14">
                  <c:v>1.0</c:v>
                </c:pt>
                <c:pt idx="15">
                  <c:v>1.0</c:v>
                </c:pt>
                <c:pt idx="16">
                  <c:v>1.0</c:v>
                </c:pt>
                <c:pt idx="17">
                  <c:v>1.0</c:v>
                </c:pt>
                <c:pt idx="18">
                  <c:v>0.9931972789115646</c:v>
                </c:pt>
                <c:pt idx="19">
                  <c:v>1.0</c:v>
                </c:pt>
                <c:pt idx="20">
                  <c:v>1.0</c:v>
                </c:pt>
                <c:pt idx="21">
                  <c:v>1.0</c:v>
                </c:pt>
                <c:pt idx="22">
                  <c:v>1.0</c:v>
                </c:pt>
                <c:pt idx="23">
                  <c:v>1.0</c:v>
                </c:pt>
                <c:pt idx="24">
                  <c:v>1.0</c:v>
                </c:pt>
                <c:pt idx="25">
                  <c:v>1.0</c:v>
                </c:pt>
                <c:pt idx="26">
                  <c:v>1.0</c:v>
                </c:pt>
                <c:pt idx="27">
                  <c:v>1.0</c:v>
                </c:pt>
                <c:pt idx="28">
                  <c:v>0.9972677595628415</c:v>
                </c:pt>
                <c:pt idx="29">
                  <c:v>0.9954337899543378</c:v>
                </c:pt>
                <c:pt idx="30">
                  <c:v>0.9953488372093023</c:v>
                </c:pt>
                <c:pt idx="31">
                  <c:v>0.9976359338061466</c:v>
                </c:pt>
                <c:pt idx="32">
                  <c:v>0.9968652037617555</c:v>
                </c:pt>
                <c:pt idx="33">
                  <c:v>0.9977997799779978</c:v>
                </c:pt>
                <c:pt idx="34">
                  <c:v>0.9976851851851852</c:v>
                </c:pt>
                <c:pt idx="35">
                  <c:v>1.0</c:v>
                </c:pt>
                <c:pt idx="36">
                  <c:v>1.0</c:v>
                </c:pt>
                <c:pt idx="37">
                  <c:v>1.0</c:v>
                </c:pt>
                <c:pt idx="38">
                  <c:v>1.0</c:v>
                </c:pt>
                <c:pt idx="39">
                  <c:v>1.0</c:v>
                </c:pt>
                <c:pt idx="40">
                  <c:v>1.0</c:v>
                </c:pt>
                <c:pt idx="41">
                  <c:v>0.9942857142857143</c:v>
                </c:pt>
                <c:pt idx="42">
                  <c:v>0.9924242424242424</c:v>
                </c:pt>
                <c:pt idx="43">
                  <c:v>0.9984076433121019</c:v>
                </c:pt>
                <c:pt idx="44">
                  <c:v>0.9952830188679245</c:v>
                </c:pt>
                <c:pt idx="45">
                  <c:v>0.9979550102249489</c:v>
                </c:pt>
                <c:pt idx="46">
                  <c:v>0.9939759036144579</c:v>
                </c:pt>
                <c:pt idx="47">
                  <c:v>0.9941434846266471</c:v>
                </c:pt>
                <c:pt idx="48">
                  <c:v>0.996551724137931</c:v>
                </c:pt>
                <c:pt idx="49">
                  <c:v>0.9959919839679359</c:v>
                </c:pt>
                <c:pt idx="50">
                  <c:v>0.9959349593495935</c:v>
                </c:pt>
                <c:pt idx="51">
                  <c:v>0.9977578475336323</c:v>
                </c:pt>
                <c:pt idx="52">
                  <c:v>0.9968652037617555</c:v>
                </c:pt>
                <c:pt idx="53">
                  <c:v>1.0</c:v>
                </c:pt>
                <c:pt idx="54">
                  <c:v>1.0</c:v>
                </c:pt>
                <c:pt idx="55">
                  <c:v>1.0</c:v>
                </c:pt>
                <c:pt idx="56">
                  <c:v>1.0</c:v>
                </c:pt>
                <c:pt idx="57">
                  <c:v>0.9957627118644068</c:v>
                </c:pt>
                <c:pt idx="58">
                  <c:v>1.0</c:v>
                </c:pt>
                <c:pt idx="59">
                  <c:v>1.0</c:v>
                </c:pt>
                <c:pt idx="60">
                  <c:v>1.0</c:v>
                </c:pt>
                <c:pt idx="61">
                  <c:v>1.0</c:v>
                </c:pt>
                <c:pt idx="62">
                  <c:v>1.0</c:v>
                </c:pt>
                <c:pt idx="63">
                  <c:v>0.9948186528497409</c:v>
                </c:pt>
                <c:pt idx="64">
                  <c:v>1.0</c:v>
                </c:pt>
                <c:pt idx="65">
                  <c:v>1.0</c:v>
                </c:pt>
                <c:pt idx="66">
                  <c:v>0.99375</c:v>
                </c:pt>
                <c:pt idx="67">
                  <c:v>1.0</c:v>
                </c:pt>
                <c:pt idx="68">
                  <c:v>1.0</c:v>
                </c:pt>
                <c:pt idx="69">
                  <c:v>1.0</c:v>
                </c:pt>
                <c:pt idx="70">
                  <c:v>0.9903846153846154</c:v>
                </c:pt>
                <c:pt idx="71">
                  <c:v>1.0</c:v>
                </c:pt>
                <c:pt idx="72">
                  <c:v>1.0</c:v>
                </c:pt>
                <c:pt idx="73">
                  <c:v>1.0</c:v>
                </c:pt>
                <c:pt idx="74">
                  <c:v>0.993103448275862</c:v>
                </c:pt>
                <c:pt idx="75">
                  <c:v>1.0</c:v>
                </c:pt>
                <c:pt idx="76">
                  <c:v>1.0</c:v>
                </c:pt>
                <c:pt idx="77">
                  <c:v>1.0</c:v>
                </c:pt>
                <c:pt idx="78">
                  <c:v>1.0</c:v>
                </c:pt>
                <c:pt idx="79">
                  <c:v>1.0</c:v>
                </c:pt>
                <c:pt idx="80">
                  <c:v>1.0</c:v>
                </c:pt>
                <c:pt idx="81">
                  <c:v>1.0</c:v>
                </c:pt>
                <c:pt idx="82">
                  <c:v>1.0</c:v>
                </c:pt>
                <c:pt idx="83">
                  <c:v>1.0</c:v>
                </c:pt>
                <c:pt idx="84">
                  <c:v>0.9975031210986267</c:v>
                </c:pt>
                <c:pt idx="85">
                  <c:v>1.0</c:v>
                </c:pt>
                <c:pt idx="86">
                  <c:v>0.9966442953020134</c:v>
                </c:pt>
                <c:pt idx="87">
                  <c:v>1.0</c:v>
                </c:pt>
                <c:pt idx="88">
                  <c:v>1.0</c:v>
                </c:pt>
                <c:pt idx="89">
                  <c:v>0.9830028328611898</c:v>
                </c:pt>
                <c:pt idx="90">
                  <c:v>1.0</c:v>
                </c:pt>
                <c:pt idx="91">
                  <c:v>1.0</c:v>
                </c:pt>
                <c:pt idx="92">
                  <c:v>1.0</c:v>
                </c:pt>
                <c:pt idx="93">
                  <c:v>1.0</c:v>
                </c:pt>
                <c:pt idx="94">
                  <c:v>1.0</c:v>
                </c:pt>
                <c:pt idx="95">
                  <c:v>1.0</c:v>
                </c:pt>
                <c:pt idx="96">
                  <c:v>1.0</c:v>
                </c:pt>
                <c:pt idx="97">
                  <c:v>1.0</c:v>
                </c:pt>
                <c:pt idx="98">
                  <c:v>1.0</c:v>
                </c:pt>
                <c:pt idx="99">
                  <c:v>1.0</c:v>
                </c:pt>
                <c:pt idx="100">
                  <c:v>1.0</c:v>
                </c:pt>
                <c:pt idx="101">
                  <c:v>1.0</c:v>
                </c:pt>
                <c:pt idx="102">
                  <c:v>1.0</c:v>
                </c:pt>
                <c:pt idx="103">
                  <c:v>1.0</c:v>
                </c:pt>
                <c:pt idx="104">
                  <c:v>1.0</c:v>
                </c:pt>
                <c:pt idx="105">
                  <c:v>1.0</c:v>
                </c:pt>
                <c:pt idx="106">
                  <c:v>1.0</c:v>
                </c:pt>
                <c:pt idx="107">
                  <c:v>1.0</c:v>
                </c:pt>
                <c:pt idx="108">
                  <c:v>1.0</c:v>
                </c:pt>
                <c:pt idx="109">
                  <c:v>1.0</c:v>
                </c:pt>
                <c:pt idx="110">
                  <c:v>1.0</c:v>
                </c:pt>
                <c:pt idx="111">
                  <c:v>0.9411764705882353</c:v>
                </c:pt>
                <c:pt idx="112">
                  <c:v>1.0</c:v>
                </c:pt>
                <c:pt idx="113">
                  <c:v>1.0</c:v>
                </c:pt>
                <c:pt idx="114">
                  <c:v>0.958041958041958</c:v>
                </c:pt>
                <c:pt idx="115">
                  <c:v>1.0</c:v>
                </c:pt>
              </c:numCache>
            </c:numRef>
          </c:yVal>
          <c:smooth val="0"/>
          <c:extLst>
            <c:ext xmlns:c16="http://schemas.microsoft.com/office/drawing/2014/chart" uri="{C3380CC4-5D6E-409C-BE32-E72D297353CC}">
              <c16:uniqueId val="{00000000-096C-4121-9522-6AB7243CCAAE}"/>
            </c:ext>
          </c:extLst>
        </c:ser>
        <c:ser>
          <c:idx val="1"/>
          <c:order val="1"/>
          <c:tx>
            <c:strRef>
              <c:f>Sheet1!$B$11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20:$A$144</c:f>
              <c:numCache>
                <c:formatCode>General</c:formatCode>
                <c:ptCount val="25"/>
                <c:pt idx="0">
                  <c:v>0.28823705804499905</c:v>
                </c:pt>
                <c:pt idx="1">
                  <c:v>0.21708340636868245</c:v>
                </c:pt>
                <c:pt idx="2">
                  <c:v>0.19257495244134434</c:v>
                </c:pt>
                <c:pt idx="3">
                  <c:v>0.22511691199018707</c:v>
                </c:pt>
                <c:pt idx="4">
                  <c:v>0.3651321327014218</c:v>
                </c:pt>
                <c:pt idx="5">
                  <c:v>0.22463093388066266</c:v>
                </c:pt>
                <c:pt idx="6">
                  <c:v>0.256819375</c:v>
                </c:pt>
                <c:pt idx="7">
                  <c:v>0.2450894483128013</c:v>
                </c:pt>
                <c:pt idx="8">
                  <c:v>0.4451685843373494</c:v>
                </c:pt>
                <c:pt idx="9">
                  <c:v>0.36836734437751</c:v>
                </c:pt>
                <c:pt idx="10">
                  <c:v>0.38355862650602407</c:v>
                </c:pt>
                <c:pt idx="11">
                  <c:v>0.8636954845256216</c:v>
                </c:pt>
                <c:pt idx="12">
                  <c:v>0.4955773294316957</c:v>
                </c:pt>
                <c:pt idx="13">
                  <c:v>0.5865565497699545</c:v>
                </c:pt>
                <c:pt idx="14">
                  <c:v>0.8340338450553374</c:v>
                </c:pt>
                <c:pt idx="15">
                  <c:v>0.8093668004722551</c:v>
                </c:pt>
                <c:pt idx="16">
                  <c:v>0.5237541612903226</c:v>
                </c:pt>
                <c:pt idx="17">
                  <c:v>0.2729882813775094</c:v>
                </c:pt>
                <c:pt idx="18">
                  <c:v>0.25040995603015076</c:v>
                </c:pt>
                <c:pt idx="19">
                  <c:v>0.4368500071602463</c:v>
                </c:pt>
                <c:pt idx="20">
                  <c:v>0.3341864322178105</c:v>
                </c:pt>
                <c:pt idx="21">
                  <c:v>0.5636100746268656</c:v>
                </c:pt>
                <c:pt idx="22">
                  <c:v>0.7068092388702728</c:v>
                </c:pt>
                <c:pt idx="23">
                  <c:v>0.816097907833061</c:v>
                </c:pt>
                <c:pt idx="24">
                  <c:v>0.6313957727454751</c:v>
                </c:pt>
              </c:numCache>
            </c:numRef>
          </c:xVal>
          <c:yVal>
            <c:numRef>
              <c:f>Sheet1!$B$120:$B$144</c:f>
              <c:numCache>
                <c:formatCode>General</c:formatCode>
                <c:ptCount val="25"/>
                <c:pt idx="0">
                  <c:v>0.9968553459119497</c:v>
                </c:pt>
                <c:pt idx="1">
                  <c:v>0.997275204359673</c:v>
                </c:pt>
                <c:pt idx="2">
                  <c:v>0.9976190476190476</c:v>
                </c:pt>
                <c:pt idx="3">
                  <c:v>0.9976958525345622</c:v>
                </c:pt>
                <c:pt idx="4">
                  <c:v>0.993421052631579</c:v>
                </c:pt>
                <c:pt idx="5">
                  <c:v>0.996551724137931</c:v>
                </c:pt>
                <c:pt idx="6">
                  <c:v>0.9969512195121951</c:v>
                </c:pt>
                <c:pt idx="7">
                  <c:v>0.998003992015968</c:v>
                </c:pt>
                <c:pt idx="8">
                  <c:v>0.9973190348525469</c:v>
                </c:pt>
                <c:pt idx="9">
                  <c:v>0.9928571428571429</c:v>
                </c:pt>
                <c:pt idx="10">
                  <c:v>0.9959514170040485</c:v>
                </c:pt>
                <c:pt idx="11">
                  <c:v>0.9846153846153847</c:v>
                </c:pt>
                <c:pt idx="12">
                  <c:v>0.941747572815534</c:v>
                </c:pt>
                <c:pt idx="13">
                  <c:v>0.9473684210526315</c:v>
                </c:pt>
                <c:pt idx="14">
                  <c:v>0.9452054794520548</c:v>
                </c:pt>
                <c:pt idx="15">
                  <c:v>0.9414634146341463</c:v>
                </c:pt>
                <c:pt idx="16">
                  <c:v>0.9418604651162791</c:v>
                </c:pt>
                <c:pt idx="17">
                  <c:v>0.9573643410852714</c:v>
                </c:pt>
                <c:pt idx="18">
                  <c:v>0.9683698296836983</c:v>
                </c:pt>
                <c:pt idx="19">
                  <c:v>0.9855072463768116</c:v>
                </c:pt>
                <c:pt idx="20">
                  <c:v>0.9770773638968482</c:v>
                </c:pt>
                <c:pt idx="21">
                  <c:v>0.9727722772277227</c:v>
                </c:pt>
                <c:pt idx="22">
                  <c:v>0.9670103092783505</c:v>
                </c:pt>
                <c:pt idx="23">
                  <c:v>0.968609865470852</c:v>
                </c:pt>
                <c:pt idx="24">
                  <c:v>0.9673024523160763</c:v>
                </c:pt>
              </c:numCache>
            </c:numRef>
          </c:yVal>
          <c:smooth val="0"/>
          <c:extLst>
            <c:ext xmlns:c16="http://schemas.microsoft.com/office/drawing/2014/chart" uri="{C3380CC4-5D6E-409C-BE32-E72D297353CC}">
              <c16:uniqueId val="{00000002-096C-4121-9522-6AB7243CCAAE}"/>
            </c:ext>
          </c:extLst>
        </c:ser>
        <c:ser>
          <c:idx val="2"/>
          <c:order val="2"/>
          <c:tx>
            <c:strRef>
              <c:f>Sheet1!$B$146</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7:$A$148</c:f>
              <c:numCache>
                <c:formatCode>General</c:formatCode>
                <c:ptCount val="2"/>
                <c:pt idx="0">
                  <c:v>0</c:v>
                </c:pt>
                <c:pt idx="1">
                  <c:v>0.06224063136020782</c:v>
                </c:pt>
              </c:numCache>
            </c:numRef>
          </c:xVal>
          <c:yVal>
            <c:numRef>
              <c:f>Sheet1!$B$147:$B$148</c:f>
              <c:numCache>
                <c:formatCode>General</c:formatCode>
                <c:ptCount val="2"/>
                <c:pt idx="0">
                  <c:v>1.0</c:v>
                </c:pt>
                <c:pt idx="1">
                  <c:v>1.0</c:v>
                </c:pt>
              </c:numCache>
            </c:numRef>
          </c:yVal>
          <c:smooth val="0"/>
          <c:extLst>
            <c:ext xmlns:c16="http://schemas.microsoft.com/office/drawing/2014/chart" uri="{C3380CC4-5D6E-409C-BE32-E72D297353CC}">
              <c16:uniqueId val="{00000005-096C-4121-9522-6AB7243CCAAE}"/>
            </c:ext>
          </c:extLst>
        </c:ser>
        <c:ser>
          <c:idx val="3"/>
          <c:order val="3"/>
          <c:tx>
            <c:strRef>
              <c:f>Sheet1!$B$150</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1:$A$152</c:f>
              <c:numCache>
                <c:formatCode>General</c:formatCode>
                <c:ptCount val="2"/>
                <c:pt idx="0">
                  <c:v>0.06224063136020782</c:v>
                </c:pt>
                <c:pt idx="1">
                  <c:v>0.06224063136020782</c:v>
                </c:pt>
              </c:numCache>
            </c:numRef>
          </c:xVal>
          <c:yVal>
            <c:numRef>
              <c:f>Sheet1!$B$151:$B$152</c:f>
              <c:numCache>
                <c:formatCode>General</c:formatCode>
                <c:ptCount val="2"/>
                <c:pt idx="0">
                  <c:v>1.0</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54</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55:$A$156</c:f>
              <c:numCache>
                <c:formatCode>General</c:formatCode>
                <c:ptCount val="2"/>
                <c:pt idx="0">
                  <c:v>0</c:v>
                </c:pt>
                <c:pt idx="1">
                  <c:v>0.07238115061763863</c:v>
                </c:pt>
              </c:numCache>
            </c:numRef>
          </c:xVal>
          <c:yVal>
            <c:numRef>
              <c:f>Sheet1!$B$155:$B$156</c:f>
              <c:numCache>
                <c:formatCode>General</c:formatCode>
                <c:ptCount val="2"/>
                <c:pt idx="0">
                  <c:v>0.9994057112600546</c:v>
                </c:pt>
                <c:pt idx="1">
                  <c:v>0.9994057112600546</c:v>
                </c:pt>
              </c:numCache>
            </c:numRef>
          </c:yVal>
          <c:smooth val="0"/>
          <c:extLst>
            <c:ext xmlns:c16="http://schemas.microsoft.com/office/drawing/2014/chart" uri="{C3380CC4-5D6E-409C-BE32-E72D297353CC}">
              <c16:uniqueId val="{0000000D-096C-4121-9522-6AB7243CCAAE}"/>
            </c:ext>
          </c:extLst>
        </c:ser>
        <c:ser>
          <c:idx val="5"/>
          <c:order val="5"/>
          <c:tx>
            <c:strRef>
              <c:f>Sheet1!$B$158</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9:$A$160</c:f>
              <c:numCache>
                <c:formatCode>General</c:formatCode>
                <c:ptCount val="2"/>
                <c:pt idx="0">
                  <c:v>0.07238115061763863</c:v>
                </c:pt>
                <c:pt idx="1">
                  <c:v>0.07238115061763863</c:v>
                </c:pt>
              </c:numCache>
            </c:numRef>
          </c:xVal>
          <c:yVal>
            <c:numRef>
              <c:f>Sheet1!$B$159:$B$160</c:f>
              <c:numCache>
                <c:formatCode>General</c:formatCode>
                <c:ptCount val="2"/>
                <c:pt idx="0">
                  <c:v>0.999405711260054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62</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63:$A$164</c:f>
              <c:numCache>
                <c:formatCode>General</c:formatCode>
                <c:ptCount val="2"/>
                <c:pt idx="0">
                  <c:v>0</c:v>
                </c:pt>
                <c:pt idx="1">
                  <c:v>0.7425945181101499</c:v>
                </c:pt>
              </c:numCache>
            </c:numRef>
          </c:xVal>
          <c:yVal>
            <c:numRef>
              <c:f>Sheet1!$B$163:$B$164</c:f>
              <c:numCache>
                <c:formatCode>General</c:formatCode>
                <c:ptCount val="2"/>
                <c:pt idx="0">
                  <c:v>0.9601276183389443</c:v>
                </c:pt>
                <c:pt idx="1">
                  <c:v>0.9601276183389443</c:v>
                </c:pt>
              </c:numCache>
            </c:numRef>
          </c:yVal>
          <c:smooth val="0"/>
          <c:extLst>
            <c:ext xmlns:c16="http://schemas.microsoft.com/office/drawing/2014/chart" uri="{C3380CC4-5D6E-409C-BE32-E72D297353CC}">
              <c16:uniqueId val="{00000015-096C-4121-9522-6AB7243CCAAE}"/>
            </c:ext>
          </c:extLst>
        </c:ser>
        <c:ser>
          <c:idx val="7"/>
          <c:order val="7"/>
          <c:tx>
            <c:strRef>
              <c:f>Sheet1!$B$166</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7425945181101499</c:v>
                </c:pt>
                <c:pt idx="1">
                  <c:v>0.7425945181101499</c:v>
                </c:pt>
              </c:numCache>
            </c:numRef>
          </c:xVal>
          <c:yVal>
            <c:numRef>
              <c:f>Sheet1!$B$167:$B$168</c:f>
              <c:numCache>
                <c:formatCode>General</c:formatCode>
                <c:ptCount val="2"/>
                <c:pt idx="0">
                  <c:v>0.960127618338944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70</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71:$A$198</c:f>
              <c:numCache>
                <c:formatCode>General</c:formatCode>
                <c:ptCount val="28"/>
                <c:pt idx="0">
                  <c:v>0.28823705804499905</c:v>
                </c:pt>
                <c:pt idx="1">
                  <c:v>0.21708340636868245</c:v>
                </c:pt>
                <c:pt idx="2">
                  <c:v>0.19257495244134434</c:v>
                </c:pt>
                <c:pt idx="3">
                  <c:v>0.22511691199018707</c:v>
                </c:pt>
                <c:pt idx="4">
                  <c:v>0.3651321327014218</c:v>
                </c:pt>
                <c:pt idx="5">
                  <c:v>0.22463093388066266</c:v>
                </c:pt>
                <c:pt idx="6">
                  <c:v>0.256819375</c:v>
                </c:pt>
                <c:pt idx="7">
                  <c:v>0.2450894483128013</c:v>
                </c:pt>
                <c:pt idx="8">
                  <c:v>0.4451685843373494</c:v>
                </c:pt>
                <c:pt idx="9">
                  <c:v>0.36836734437751</c:v>
                </c:pt>
                <c:pt idx="10">
                  <c:v>0.38355862650602407</c:v>
                </c:pt>
                <c:pt idx="11">
                  <c:v>0.8636954845256216</c:v>
                </c:pt>
                <c:pt idx="12">
                  <c:v>0.4955773294316957</c:v>
                </c:pt>
                <c:pt idx="13">
                  <c:v>0.5865565497699545</c:v>
                </c:pt>
                <c:pt idx="14">
                  <c:v>0.8340338450553374</c:v>
                </c:pt>
                <c:pt idx="15">
                  <c:v>0.8093668004722551</c:v>
                </c:pt>
                <c:pt idx="16">
                  <c:v>0.5237541612903226</c:v>
                </c:pt>
                <c:pt idx="17">
                  <c:v>0.2729882813775094</c:v>
                </c:pt>
                <c:pt idx="18">
                  <c:v>0.25040995603015076</c:v>
                </c:pt>
                <c:pt idx="19">
                  <c:v>0.4368500071602463</c:v>
                </c:pt>
                <c:pt idx="20">
                  <c:v>0.3341864322178105</c:v>
                </c:pt>
                <c:pt idx="21">
                  <c:v>0.5636100746268656</c:v>
                </c:pt>
                <c:pt idx="22">
                  <c:v>0.7068092388702728</c:v>
                </c:pt>
                <c:pt idx="23">
                  <c:v>0.816097907833061</c:v>
                </c:pt>
                <c:pt idx="24">
                  <c:v>0.6313957727454751</c:v>
                </c:pt>
                <c:pt idx="25">
                  <c:v>0.07238115061763863</c:v>
                </c:pt>
                <c:pt idx="26">
                  <c:v>0.06224063136020782</c:v>
                </c:pt>
                <c:pt idx="27">
                  <c:v>0.7425945181101499</c:v>
                </c:pt>
              </c:numCache>
            </c:numRef>
          </c:xVal>
          <c:yVal>
            <c:numRef>
              <c:f>Sheet1!$B$171:$B$198</c:f>
              <c:numCache>
                <c:formatCode>General</c:formatCode>
                <c:ptCount val="28"/>
                <c:pt idx="0">
                  <c:v>0.9867553989852891</c:v>
                </c:pt>
                <c:pt idx="1">
                  <c:v>0.9909253840643317</c:v>
                </c:pt>
                <c:pt idx="2">
                  <c:v>0.9923617107289465</c:v>
                </c:pt>
                <c:pt idx="3">
                  <c:v>0.9904545776083754</c:v>
                </c:pt>
                <c:pt idx="4">
                  <c:v>0.9822489357692082</c:v>
                </c:pt>
                <c:pt idx="5">
                  <c:v>0.9904830585284367</c:v>
                </c:pt>
                <c:pt idx="6">
                  <c:v>0.9885966434812388</c:v>
                </c:pt>
                <c:pt idx="7">
                  <c:v>0.9892840800092527</c:v>
                </c:pt>
                <c:pt idx="8">
                  <c:v>0.977558371037273</c:v>
                </c:pt>
                <c:pt idx="9">
                  <c:v>0.9820593350375663</c:v>
                </c:pt>
                <c:pt idx="10">
                  <c:v>0.9811690445420678</c:v>
                </c:pt>
                <c:pt idx="11">
                  <c:v>0.9530304531040891</c:v>
                </c:pt>
                <c:pt idx="12">
                  <c:v>0.974604148591278</c:v>
                </c:pt>
                <c:pt idx="13">
                  <c:v>0.9692722790051701</c:v>
                </c:pt>
                <c:pt idx="14">
                  <c:v>0.9547687840413921</c:v>
                </c:pt>
                <c:pt idx="15">
                  <c:v>0.9562144049678268</c:v>
                </c:pt>
                <c:pt idx="16">
                  <c:v>0.9729528353324776</c:v>
                </c:pt>
                <c:pt idx="17">
                  <c:v>0.9876490589687057</c:v>
                </c:pt>
                <c:pt idx="18">
                  <c:v>0.988972269760986</c:v>
                </c:pt>
                <c:pt idx="19">
                  <c:v>0.978045884213198</c:v>
                </c:pt>
                <c:pt idx="20">
                  <c:v>0.984062519559176</c:v>
                </c:pt>
                <c:pt idx="21">
                  <c:v>0.9706170653472483</c:v>
                </c:pt>
                <c:pt idx="22">
                  <c:v>0.9622248273642589</c:v>
                </c:pt>
                <c:pt idx="23">
                  <c:v>0.9558199260254434</c:v>
                </c:pt>
                <c:pt idx="24">
                  <c:v>0.9666444603850609</c:v>
                </c:pt>
                <c:pt idx="25">
                  <c:v>0.9994057112600546</c:v>
                </c:pt>
                <c:pt idx="26">
                  <c:v>1.0</c:v>
                </c:pt>
                <c:pt idx="27">
                  <c:v>0.96012761833894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752941176470588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90</c:f>
              <c:numCache>
                <c:formatCode>General</c:formatCode>
                <c:ptCount val="89"/>
                <c:pt idx="0">
                  <c:v>1103.669</c:v>
                </c:pt>
                <c:pt idx="1">
                  <c:v>1187.4495</c:v>
                </c:pt>
                <c:pt idx="2">
                  <c:v>1212.2734</c:v>
                </c:pt>
                <c:pt idx="3">
                  <c:v>1216.0997</c:v>
                </c:pt>
                <c:pt idx="4">
                  <c:v>1241.2374</c:v>
                </c:pt>
                <c:pt idx="5">
                  <c:v>1259.6423</c:v>
                </c:pt>
                <c:pt idx="6">
                  <c:v>1169.1171</c:v>
                </c:pt>
                <c:pt idx="7">
                  <c:v>1235.2852</c:v>
                </c:pt>
                <c:pt idx="8">
                  <c:v>1228.679</c:v>
                </c:pt>
                <c:pt idx="9">
                  <c:v>1200.8886</c:v>
                </c:pt>
                <c:pt idx="10">
                  <c:v>1166.4239</c:v>
                </c:pt>
                <c:pt idx="11">
                  <c:v>1249.0992</c:v>
                </c:pt>
                <c:pt idx="12">
                  <c:v>1283.9381</c:v>
                </c:pt>
                <c:pt idx="13">
                  <c:v>1294.9874</c:v>
                </c:pt>
                <c:pt idx="14">
                  <c:v>1295.8383</c:v>
                </c:pt>
                <c:pt idx="15">
                  <c:v>1273.886</c:v>
                </c:pt>
                <c:pt idx="16">
                  <c:v>1344.9554</c:v>
                </c:pt>
                <c:pt idx="17">
                  <c:v>1365.9379</c:v>
                </c:pt>
                <c:pt idx="18">
                  <c:v>1387.9726</c:v>
                </c:pt>
                <c:pt idx="19">
                  <c:v>1420.0424</c:v>
                </c:pt>
                <c:pt idx="20">
                  <c:v>1378.7267</c:v>
                </c:pt>
                <c:pt idx="21">
                  <c:v>1325.3077</c:v>
                </c:pt>
                <c:pt idx="22">
                  <c:v>1338.1472</c:v>
                </c:pt>
                <c:pt idx="23">
                  <c:v>1349.1859</c:v>
                </c:pt>
                <c:pt idx="24">
                  <c:v>1263.6633</c:v>
                </c:pt>
                <c:pt idx="25">
                  <c:v>1356.3</c:v>
                </c:pt>
                <c:pt idx="26">
                  <c:v>1412.0055</c:v>
                </c:pt>
                <c:pt idx="27">
                  <c:v>1501.343</c:v>
                </c:pt>
                <c:pt idx="28">
                  <c:v>1423.6192</c:v>
                </c:pt>
                <c:pt idx="29">
                  <c:v>1451.1674</c:v>
                </c:pt>
                <c:pt idx="30">
                  <c:v>1449.4883</c:v>
                </c:pt>
                <c:pt idx="31">
                  <c:v>1428.2156</c:v>
                </c:pt>
                <c:pt idx="32">
                  <c:v>1420.9733</c:v>
                </c:pt>
                <c:pt idx="33">
                  <c:v>1427.7409</c:v>
                </c:pt>
                <c:pt idx="34">
                  <c:v>1419.7541</c:v>
                </c:pt>
                <c:pt idx="35">
                  <c:v>1492.2397</c:v>
                </c:pt>
                <c:pt idx="36">
                  <c:v>1499.4061</c:v>
                </c:pt>
                <c:pt idx="37">
                  <c:v>1528.2853</c:v>
                </c:pt>
                <c:pt idx="38">
                  <c:v>1518.5033</c:v>
                </c:pt>
                <c:pt idx="39">
                  <c:v>1475.3231</c:v>
                </c:pt>
                <c:pt idx="40">
                  <c:v>1495.3625</c:v>
                </c:pt>
                <c:pt idx="41">
                  <c:v>1485.546</c:v>
                </c:pt>
                <c:pt idx="42">
                  <c:v>1478.229</c:v>
                </c:pt>
                <c:pt idx="43">
                  <c:v>1487.3014</c:v>
                </c:pt>
                <c:pt idx="44">
                  <c:v>1456.1706</c:v>
                </c:pt>
                <c:pt idx="45">
                  <c:v>1458.7254</c:v>
                </c:pt>
                <c:pt idx="46">
                  <c:v>1464.9919</c:v>
                </c:pt>
                <c:pt idx="47">
                  <c:v>1450.9013</c:v>
                </c:pt>
                <c:pt idx="48">
                  <c:v>1445.9273</c:v>
                </c:pt>
                <c:pt idx="49">
                  <c:v>1436.7646</c:v>
                </c:pt>
                <c:pt idx="50">
                  <c:v>1442.6469</c:v>
                </c:pt>
                <c:pt idx="51">
                  <c:v>1469.2449</c:v>
                </c:pt>
                <c:pt idx="52">
                  <c:v>1497.6289</c:v>
                </c:pt>
                <c:pt idx="53">
                  <c:v>1512.487</c:v>
                </c:pt>
                <c:pt idx="54">
                  <c:v>1396.4403</c:v>
                </c:pt>
                <c:pt idx="55">
                  <c:v>1481.4978</c:v>
                </c:pt>
                <c:pt idx="56">
                  <c:v>1533.2979</c:v>
                </c:pt>
                <c:pt idx="57">
                  <c:v>1480.9106</c:v>
                </c:pt>
                <c:pt idx="58">
                  <c:v>1538.4234</c:v>
                </c:pt>
                <c:pt idx="59">
                  <c:v>1467.8682</c:v>
                </c:pt>
                <c:pt idx="60">
                  <c:v>1429.6601</c:v>
                </c:pt>
                <c:pt idx="61">
                  <c:v>1471.6536</c:v>
                </c:pt>
                <c:pt idx="62">
                  <c:v>1516.5605</c:v>
                </c:pt>
                <c:pt idx="63">
                  <c:v>1315.724</c:v>
                </c:pt>
                <c:pt idx="64">
                  <c:v>1510.3757</c:v>
                </c:pt>
                <c:pt idx="65">
                  <c:v>1631.9274</c:v>
                </c:pt>
                <c:pt idx="66">
                  <c:v>1600.0755</c:v>
                </c:pt>
                <c:pt idx="67">
                  <c:v>1453.7319</c:v>
                </c:pt>
                <c:pt idx="68">
                  <c:v>1513.9286</c:v>
                </c:pt>
                <c:pt idx="69">
                  <c:v>1550.9231</c:v>
                </c:pt>
                <c:pt idx="70">
                  <c:v>1536.8981</c:v>
                </c:pt>
                <c:pt idx="71">
                  <c:v>1565.4549</c:v>
                </c:pt>
                <c:pt idx="72">
                  <c:v>1588.4045</c:v>
                </c:pt>
                <c:pt idx="73">
                  <c:v>1592.7879</c:v>
                </c:pt>
                <c:pt idx="74">
                  <c:v>1669.0486</c:v>
                </c:pt>
                <c:pt idx="75">
                  <c:v>1630.8936</c:v>
                </c:pt>
                <c:pt idx="76">
                  <c:v>1522.5833</c:v>
                </c:pt>
                <c:pt idx="77">
                  <c:v>1615.8207</c:v>
                </c:pt>
                <c:pt idx="78">
                  <c:v>1596.8796</c:v>
                </c:pt>
                <c:pt idx="79">
                  <c:v>1495.5993</c:v>
                </c:pt>
                <c:pt idx="80">
                  <c:v>1304.0234</c:v>
                </c:pt>
                <c:pt idx="81">
                  <c:v>1392.2171</c:v>
                </c:pt>
                <c:pt idx="82">
                  <c:v>1406.3151</c:v>
                </c:pt>
                <c:pt idx="83">
                  <c:v>1379.3147</c:v>
                </c:pt>
                <c:pt idx="84">
                  <c:v>1413.433</c:v>
                </c:pt>
                <c:pt idx="85">
                  <c:v>1426.0142</c:v>
                </c:pt>
                <c:pt idx="86">
                  <c:v>1479.9495</c:v>
                </c:pt>
                <c:pt idx="87">
                  <c:v>1512.64</c:v>
                </c:pt>
                <c:pt idx="88">
                  <c:v>1556.4685</c:v>
                </c:pt>
              </c:numCache>
            </c:numRef>
          </c:xVal>
          <c:yVal>
            <c:numRef>
              <c:f>Sheet1!$B$2:$B$90</c:f>
              <c:numCache>
                <c:formatCode>General</c:formatCode>
                <c:ptCount val="89"/>
                <c:pt idx="0">
                  <c:v>1.0</c:v>
                </c:pt>
                <c:pt idx="1">
                  <c:v>1.0</c:v>
                </c:pt>
                <c:pt idx="2">
                  <c:v>1.0</c:v>
                </c:pt>
                <c:pt idx="3">
                  <c:v>1.0</c:v>
                </c:pt>
                <c:pt idx="4">
                  <c:v>1.0</c:v>
                </c:pt>
                <c:pt idx="5">
                  <c:v>1.0</c:v>
                </c:pt>
                <c:pt idx="6">
                  <c:v>1.0</c:v>
                </c:pt>
                <c:pt idx="7">
                  <c:v>0.9962121212121212</c:v>
                </c:pt>
                <c:pt idx="8">
                  <c:v>1.0</c:v>
                </c:pt>
                <c:pt idx="9">
                  <c:v>1.0</c:v>
                </c:pt>
                <c:pt idx="10">
                  <c:v>0.9976635514018691</c:v>
                </c:pt>
                <c:pt idx="11">
                  <c:v>0.9943661971830986</c:v>
                </c:pt>
                <c:pt idx="12">
                  <c:v>1.0</c:v>
                </c:pt>
                <c:pt idx="13">
                  <c:v>1.0</c:v>
                </c:pt>
                <c:pt idx="14">
                  <c:v>1.0</c:v>
                </c:pt>
                <c:pt idx="15">
                  <c:v>1.0</c:v>
                </c:pt>
                <c:pt idx="16">
                  <c:v>1.0</c:v>
                </c:pt>
                <c:pt idx="17">
                  <c:v>1.0</c:v>
                </c:pt>
                <c:pt idx="18">
                  <c:v>0.9931972789115646</c:v>
                </c:pt>
                <c:pt idx="19">
                  <c:v>1.0</c:v>
                </c:pt>
                <c:pt idx="20">
                  <c:v>1.0</c:v>
                </c:pt>
                <c:pt idx="21">
                  <c:v>1.0</c:v>
                </c:pt>
                <c:pt idx="22">
                  <c:v>1.0</c:v>
                </c:pt>
                <c:pt idx="23">
                  <c:v>1.0</c:v>
                </c:pt>
                <c:pt idx="24">
                  <c:v>1.0</c:v>
                </c:pt>
                <c:pt idx="25">
                  <c:v>1.0</c:v>
                </c:pt>
                <c:pt idx="26">
                  <c:v>1.0</c:v>
                </c:pt>
                <c:pt idx="27">
                  <c:v>1.0</c:v>
                </c:pt>
                <c:pt idx="28">
                  <c:v>0.9972677595628415</c:v>
                </c:pt>
                <c:pt idx="29">
                  <c:v>0.9954337899543378</c:v>
                </c:pt>
                <c:pt idx="30">
                  <c:v>0.9953488372093023</c:v>
                </c:pt>
                <c:pt idx="31">
                  <c:v>0.9976359338061466</c:v>
                </c:pt>
                <c:pt idx="32">
                  <c:v>0.9968652037617555</c:v>
                </c:pt>
                <c:pt idx="33">
                  <c:v>0.9977997799779978</c:v>
                </c:pt>
                <c:pt idx="34">
                  <c:v>0.9976851851851852</c:v>
                </c:pt>
                <c:pt idx="35">
                  <c:v>1.0</c:v>
                </c:pt>
                <c:pt idx="36">
                  <c:v>1.0</c:v>
                </c:pt>
                <c:pt idx="37">
                  <c:v>1.0</c:v>
                </c:pt>
                <c:pt idx="38">
                  <c:v>1.0</c:v>
                </c:pt>
                <c:pt idx="39">
                  <c:v>1.0</c:v>
                </c:pt>
                <c:pt idx="40">
                  <c:v>1.0</c:v>
                </c:pt>
                <c:pt idx="41">
                  <c:v>0.9942857142857143</c:v>
                </c:pt>
                <c:pt idx="42">
                  <c:v>0.9924242424242424</c:v>
                </c:pt>
                <c:pt idx="43">
                  <c:v>0.9984076433121019</c:v>
                </c:pt>
                <c:pt idx="44">
                  <c:v>0.9952830188679245</c:v>
                </c:pt>
                <c:pt idx="45">
                  <c:v>0.9979550102249489</c:v>
                </c:pt>
                <c:pt idx="46">
                  <c:v>0.9939759036144579</c:v>
                </c:pt>
                <c:pt idx="47">
                  <c:v>0.9941434846266471</c:v>
                </c:pt>
                <c:pt idx="48">
                  <c:v>0.996551724137931</c:v>
                </c:pt>
                <c:pt idx="49">
                  <c:v>0.9959919839679359</c:v>
                </c:pt>
                <c:pt idx="50">
                  <c:v>0.9959349593495935</c:v>
                </c:pt>
                <c:pt idx="51">
                  <c:v>0.9977578475336323</c:v>
                </c:pt>
                <c:pt idx="52">
                  <c:v>0.9968652037617555</c:v>
                </c:pt>
                <c:pt idx="53">
                  <c:v>1.0</c:v>
                </c:pt>
                <c:pt idx="54">
                  <c:v>1.0</c:v>
                </c:pt>
                <c:pt idx="55">
                  <c:v>1.0</c:v>
                </c:pt>
                <c:pt idx="56">
                  <c:v>1.0</c:v>
                </c:pt>
                <c:pt idx="57">
                  <c:v>0.9957627118644068</c:v>
                </c:pt>
                <c:pt idx="58">
                  <c:v>1.0</c:v>
                </c:pt>
                <c:pt idx="59">
                  <c:v>1.0</c:v>
                </c:pt>
                <c:pt idx="60">
                  <c:v>1.0</c:v>
                </c:pt>
                <c:pt idx="61">
                  <c:v>1.0</c:v>
                </c:pt>
                <c:pt idx="62">
                  <c:v>1.0</c:v>
                </c:pt>
                <c:pt idx="63">
                  <c:v>0.9948186528497409</c:v>
                </c:pt>
                <c:pt idx="64">
                  <c:v>1.0</c:v>
                </c:pt>
                <c:pt idx="65">
                  <c:v>1.0</c:v>
                </c:pt>
                <c:pt idx="66">
                  <c:v>0.99375</c:v>
                </c:pt>
                <c:pt idx="67">
                  <c:v>1.0</c:v>
                </c:pt>
                <c:pt idx="68">
                  <c:v>1.0</c:v>
                </c:pt>
                <c:pt idx="69">
                  <c:v>1.0</c:v>
                </c:pt>
                <c:pt idx="70">
                  <c:v>0.9903846153846154</c:v>
                </c:pt>
                <c:pt idx="71">
                  <c:v>1.0</c:v>
                </c:pt>
                <c:pt idx="72">
                  <c:v>1.0</c:v>
                </c:pt>
                <c:pt idx="73">
                  <c:v>1.0</c:v>
                </c:pt>
                <c:pt idx="74">
                  <c:v>0.993103448275862</c:v>
                </c:pt>
                <c:pt idx="75">
                  <c:v>1.0</c:v>
                </c:pt>
                <c:pt idx="76">
                  <c:v>1.0</c:v>
                </c:pt>
                <c:pt idx="77">
                  <c:v>1.0</c:v>
                </c:pt>
                <c:pt idx="78">
                  <c:v>1.0</c:v>
                </c:pt>
                <c:pt idx="79">
                  <c:v>1.0</c:v>
                </c:pt>
                <c:pt idx="80">
                  <c:v>1.0</c:v>
                </c:pt>
                <c:pt idx="81">
                  <c:v>1.0</c:v>
                </c:pt>
                <c:pt idx="82">
                  <c:v>1.0</c:v>
                </c:pt>
                <c:pt idx="83">
                  <c:v>1.0</c:v>
                </c:pt>
                <c:pt idx="84">
                  <c:v>0.9975031210986267</c:v>
                </c:pt>
                <c:pt idx="85">
                  <c:v>1.0</c:v>
                </c:pt>
                <c:pt idx="86">
                  <c:v>0.9966442953020134</c:v>
                </c:pt>
                <c:pt idx="87">
                  <c:v>1.0</c:v>
                </c:pt>
                <c:pt idx="88">
                  <c:v>1.0</c:v>
                </c:pt>
              </c:numCache>
            </c:numRef>
          </c:yVal>
          <c:smooth val="0"/>
          <c:extLst>
            <c:ext xmlns:c16="http://schemas.microsoft.com/office/drawing/2014/chart" uri="{C3380CC4-5D6E-409C-BE32-E72D297353CC}">
              <c16:uniqueId val="{00000000-F32D-48B7-BC20-E66FC6253BAD}"/>
            </c:ext>
          </c:extLst>
        </c:ser>
        <c:ser>
          <c:idx val="1"/>
          <c:order val="1"/>
          <c:tx>
            <c:strRef>
              <c:f>Sheet1!$B$9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3:$A$144</c:f>
              <c:numCache>
                <c:formatCode>General</c:formatCode>
                <c:ptCount val="52"/>
                <c:pt idx="0">
                  <c:v>1530.6599</c:v>
                </c:pt>
                <c:pt idx="1">
                  <c:v>1524.4858</c:v>
                </c:pt>
                <c:pt idx="2">
                  <c:v>1486.153</c:v>
                </c:pt>
                <c:pt idx="3">
                  <c:v>1518.4535</c:v>
                </c:pt>
                <c:pt idx="4">
                  <c:v>1503.9079</c:v>
                </c:pt>
                <c:pt idx="5">
                  <c:v>1572.295</c:v>
                </c:pt>
                <c:pt idx="6">
                  <c:v>1468.2125</c:v>
                </c:pt>
                <c:pt idx="7">
                  <c:v>1540.8576</c:v>
                </c:pt>
                <c:pt idx="8">
                  <c:v>1532.2076</c:v>
                </c:pt>
                <c:pt idx="9">
                  <c:v>1535.3333</c:v>
                </c:pt>
                <c:pt idx="10">
                  <c:v>1561.4618</c:v>
                </c:pt>
                <c:pt idx="11">
                  <c:v>1372.746</c:v>
                </c:pt>
                <c:pt idx="12">
                  <c:v>1401.4482</c:v>
                </c:pt>
                <c:pt idx="13">
                  <c:v>1495.6087</c:v>
                </c:pt>
                <c:pt idx="14">
                  <c:v>1477.9597</c:v>
                </c:pt>
                <c:pt idx="15">
                  <c:v>1520.1786</c:v>
                </c:pt>
                <c:pt idx="16">
                  <c:v>1551.2371</c:v>
                </c:pt>
                <c:pt idx="17">
                  <c:v>1505.1233</c:v>
                </c:pt>
                <c:pt idx="18">
                  <c:v>1425.1198</c:v>
                </c:pt>
                <c:pt idx="19">
                  <c:v>1681.4145</c:v>
                </c:pt>
                <c:pt idx="20">
                  <c:v>1714.4329</c:v>
                </c:pt>
                <c:pt idx="21">
                  <c:v>1600.3768</c:v>
                </c:pt>
                <c:pt idx="22">
                  <c:v>1404.5369</c:v>
                </c:pt>
                <c:pt idx="23">
                  <c:v>1613.3178</c:v>
                </c:pt>
                <c:pt idx="24">
                  <c:v>1693.2847</c:v>
                </c:pt>
                <c:pt idx="25">
                  <c:v>1467.5755</c:v>
                </c:pt>
                <c:pt idx="26">
                  <c:v>1520.9448</c:v>
                </c:pt>
                <c:pt idx="27">
                  <c:v>1630.457</c:v>
                </c:pt>
                <c:pt idx="28">
                  <c:v>1577.0432</c:v>
                </c:pt>
                <c:pt idx="29">
                  <c:v>1568.0301</c:v>
                </c:pt>
                <c:pt idx="30">
                  <c:v>1422.0914</c:v>
                </c:pt>
                <c:pt idx="31">
                  <c:v>1272.6364</c:v>
                </c:pt>
                <c:pt idx="32">
                  <c:v>1436.9</c:v>
                </c:pt>
                <c:pt idx="33">
                  <c:v>1565.0987</c:v>
                </c:pt>
                <c:pt idx="34">
                  <c:v>1652.767</c:v>
                </c:pt>
                <c:pt idx="35">
                  <c:v>1591.7683</c:v>
                </c:pt>
                <c:pt idx="36">
                  <c:v>1692.6204</c:v>
                </c:pt>
                <c:pt idx="37">
                  <c:v>1769.2406</c:v>
                </c:pt>
                <c:pt idx="38">
                  <c:v>1702.3438</c:v>
                </c:pt>
                <c:pt idx="39">
                  <c:v>1608.8918</c:v>
                </c:pt>
                <c:pt idx="40">
                  <c:v>1652.5253</c:v>
                </c:pt>
                <c:pt idx="41">
                  <c:v>1752.0966</c:v>
                </c:pt>
                <c:pt idx="42">
                  <c:v>1713.8342</c:v>
                </c:pt>
                <c:pt idx="43">
                  <c:v>1623.6379</c:v>
                </c:pt>
                <c:pt idx="44">
                  <c:v>1672.5992</c:v>
                </c:pt>
                <c:pt idx="45">
                  <c:v>1594.6106</c:v>
                </c:pt>
                <c:pt idx="46">
                  <c:v>1525.2618</c:v>
                </c:pt>
                <c:pt idx="47">
                  <c:v>1472.9267</c:v>
                </c:pt>
                <c:pt idx="48">
                  <c:v>1450.056</c:v>
                </c:pt>
                <c:pt idx="49">
                  <c:v>1476.5245</c:v>
                </c:pt>
                <c:pt idx="50">
                  <c:v>1416.4059</c:v>
                </c:pt>
                <c:pt idx="51">
                  <c:v>1351.0817</c:v>
                </c:pt>
              </c:numCache>
            </c:numRef>
          </c:xVal>
          <c:yVal>
            <c:numRef>
              <c:f>Sheet1!$B$93:$B$144</c:f>
              <c:numCache>
                <c:formatCode>General</c:formatCode>
                <c:ptCount val="52"/>
                <c:pt idx="0">
                  <c:v>0.9830028328611898</c:v>
                </c:pt>
                <c:pt idx="1">
                  <c:v>0.9968553459119497</c:v>
                </c:pt>
                <c:pt idx="2">
                  <c:v>0.997275204359673</c:v>
                </c:pt>
                <c:pt idx="3">
                  <c:v>0.9976190476190476</c:v>
                </c:pt>
                <c:pt idx="4">
                  <c:v>1.0</c:v>
                </c:pt>
                <c:pt idx="5">
                  <c:v>1.0</c:v>
                </c:pt>
                <c:pt idx="6">
                  <c:v>0.9976958525345622</c:v>
                </c:pt>
                <c:pt idx="7">
                  <c:v>0.993421052631579</c:v>
                </c:pt>
                <c:pt idx="8">
                  <c:v>0.996551724137931</c:v>
                </c:pt>
                <c:pt idx="9">
                  <c:v>1.0</c:v>
                </c:pt>
                <c:pt idx="10">
                  <c:v>0.9969512195121951</c:v>
                </c:pt>
                <c:pt idx="11">
                  <c:v>0.998003992015968</c:v>
                </c:pt>
                <c:pt idx="12">
                  <c:v>1.0</c:v>
                </c:pt>
                <c:pt idx="13">
                  <c:v>1.0</c:v>
                </c:pt>
                <c:pt idx="14">
                  <c:v>0.9973190348525469</c:v>
                </c:pt>
                <c:pt idx="15">
                  <c:v>1.0</c:v>
                </c:pt>
                <c:pt idx="16">
                  <c:v>1.0</c:v>
                </c:pt>
                <c:pt idx="17">
                  <c:v>1.0</c:v>
                </c:pt>
                <c:pt idx="18">
                  <c:v>1.0</c:v>
                </c:pt>
                <c:pt idx="19">
                  <c:v>1.0</c:v>
                </c:pt>
                <c:pt idx="20">
                  <c:v>1.0</c:v>
                </c:pt>
                <c:pt idx="21">
                  <c:v>1.0</c:v>
                </c:pt>
                <c:pt idx="22">
                  <c:v>1.0</c:v>
                </c:pt>
                <c:pt idx="23">
                  <c:v>1.0</c:v>
                </c:pt>
                <c:pt idx="24">
                  <c:v>1.0</c:v>
                </c:pt>
                <c:pt idx="25">
                  <c:v>0.9928571428571429</c:v>
                </c:pt>
                <c:pt idx="26">
                  <c:v>1.0</c:v>
                </c:pt>
                <c:pt idx="27">
                  <c:v>1.0</c:v>
                </c:pt>
                <c:pt idx="28">
                  <c:v>1.0</c:v>
                </c:pt>
                <c:pt idx="29">
                  <c:v>1.0</c:v>
                </c:pt>
                <c:pt idx="30">
                  <c:v>1.0</c:v>
                </c:pt>
                <c:pt idx="31">
                  <c:v>1.0</c:v>
                </c:pt>
                <c:pt idx="32">
                  <c:v>0.9411764705882353</c:v>
                </c:pt>
                <c:pt idx="33">
                  <c:v>1.0</c:v>
                </c:pt>
                <c:pt idx="34">
                  <c:v>1.0</c:v>
                </c:pt>
                <c:pt idx="35">
                  <c:v>0.9959514170040485</c:v>
                </c:pt>
                <c:pt idx="36">
                  <c:v>0.958041958041958</c:v>
                </c:pt>
                <c:pt idx="37">
                  <c:v>1.0</c:v>
                </c:pt>
                <c:pt idx="38">
                  <c:v>0.9846153846153847</c:v>
                </c:pt>
                <c:pt idx="39">
                  <c:v>0.941747572815534</c:v>
                </c:pt>
                <c:pt idx="40">
                  <c:v>0.9473684210526315</c:v>
                </c:pt>
                <c:pt idx="41">
                  <c:v>0.9452054794520548</c:v>
                </c:pt>
                <c:pt idx="42">
                  <c:v>0.9414634146341463</c:v>
                </c:pt>
                <c:pt idx="43">
                  <c:v>0.9418604651162791</c:v>
                </c:pt>
                <c:pt idx="44">
                  <c:v>0.9573643410852714</c:v>
                </c:pt>
                <c:pt idx="45">
                  <c:v>0.9683698296836983</c:v>
                </c:pt>
                <c:pt idx="46">
                  <c:v>0.9855072463768116</c:v>
                </c:pt>
                <c:pt idx="47">
                  <c:v>0.9770773638968482</c:v>
                </c:pt>
                <c:pt idx="48">
                  <c:v>0.9727722772277227</c:v>
                </c:pt>
                <c:pt idx="49">
                  <c:v>0.9670103092783505</c:v>
                </c:pt>
                <c:pt idx="50">
                  <c:v>0.968609865470852</c:v>
                </c:pt>
                <c:pt idx="51">
                  <c:v>0.9673024523160763</c:v>
                </c:pt>
              </c:numCache>
            </c:numRef>
          </c:yVal>
          <c:smooth val="0"/>
          <c:extLst>
            <c:ext xmlns:c16="http://schemas.microsoft.com/office/drawing/2014/chart" uri="{C3380CC4-5D6E-409C-BE32-E72D297353CC}">
              <c16:uniqueId val="{00000002-F32D-48B7-BC20-E66FC6253BAD}"/>
            </c:ext>
          </c:extLst>
        </c:ser>
        <c:ser>
          <c:idx val="2"/>
          <c:order val="2"/>
          <c:tx>
            <c:strRef>
              <c:f>Sheet1!$B$146</c:f>
              <c:strCache>
                <c:ptCount val="1"/>
                <c:pt idx="0">
                  <c:v>Custom Linep3yQ</c:v>
                </c:pt>
              </c:strCache>
            </c:strRef>
          </c:tx>
          <c:spPr>
            <a:ln w="19050" cap="rnd">
              <a:solidFill>
                <a:srgbClr val="C00000"/>
              </a:solidFill>
              <a:prstDash val="sysDot"/>
              <a:round/>
            </a:ln>
            <a:effectLst/>
          </c:spPr>
          <c:marker>
            <c:symbol val="none"/>
          </c:marker>
          <c:xVal>
            <c:numRef>
              <c:f>Sheet1!$A$147:$A$148</c:f>
              <c:numCache>
                <c:formatCode>General</c:formatCode>
                <c:ptCount val="2"/>
                <c:pt idx="0">
                  <c:v>0</c:v>
                </c:pt>
                <c:pt idx="1">
                  <c:v>1225.5846460504195</c:v>
                </c:pt>
              </c:numCache>
            </c:numRef>
          </c:xVal>
          <c:yVal>
            <c:numRef>
              <c:f>Sheet1!$B$147:$B$148</c:f>
              <c:numCache>
                <c:formatCode>General</c:formatCode>
                <c:ptCount val="2"/>
                <c:pt idx="0">
                  <c:v>1.0</c:v>
                </c:pt>
                <c:pt idx="1">
                  <c:v>1.0</c:v>
                </c:pt>
              </c:numCache>
            </c:numRef>
          </c:yVal>
          <c:smooth val="0"/>
          <c:extLst>
            <c:ext xmlns:c16="http://schemas.microsoft.com/office/drawing/2014/chart" uri="{C3380CC4-5D6E-409C-BE32-E72D297353CC}">
              <c16:uniqueId val="{00000003-F32D-48B7-BC20-E66FC6253BAD}"/>
            </c:ext>
          </c:extLst>
        </c:ser>
        <c:ser>
          <c:idx val="3"/>
          <c:order val="3"/>
          <c:tx>
            <c:strRef>
              <c:f>Sheet1!$B$150</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1:$A$152</c:f>
              <c:numCache>
                <c:formatCode>General</c:formatCode>
                <c:ptCount val="2"/>
                <c:pt idx="0">
                  <c:v>1225.5846460504195</c:v>
                </c:pt>
                <c:pt idx="1">
                  <c:v>1225.5846460504195</c:v>
                </c:pt>
              </c:numCache>
            </c:numRef>
          </c:xVal>
          <c:yVal>
            <c:numRef>
              <c:f>Sheet1!$B$151:$B$152</c:f>
              <c:numCache>
                <c:formatCode>General</c:formatCode>
                <c:ptCount val="2"/>
                <c:pt idx="0">
                  <c:v>1.0</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54</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55:$A$156</c:f>
              <c:numCache>
                <c:formatCode>General</c:formatCode>
                <c:ptCount val="2"/>
                <c:pt idx="0">
                  <c:v>0</c:v>
                </c:pt>
                <c:pt idx="1">
                  <c:v>1239.9303990862013</c:v>
                </c:pt>
              </c:numCache>
            </c:numRef>
          </c:xVal>
          <c:yVal>
            <c:numRef>
              <c:f>Sheet1!$B$155:$B$156</c:f>
              <c:numCache>
                <c:formatCode>General</c:formatCode>
                <c:ptCount val="2"/>
                <c:pt idx="0">
                  <c:v>0.9994057112600546</c:v>
                </c:pt>
                <c:pt idx="1">
                  <c:v>0.9994057112600546</c:v>
                </c:pt>
              </c:numCache>
            </c:numRef>
          </c:yVal>
          <c:smooth val="0"/>
          <c:extLst>
            <c:ext xmlns:c16="http://schemas.microsoft.com/office/drawing/2014/chart" uri="{C3380CC4-5D6E-409C-BE32-E72D297353CC}">
              <c16:uniqueId val="{0000000A-F32D-48B7-BC20-E66FC6253BAD}"/>
            </c:ext>
          </c:extLst>
        </c:ser>
        <c:ser>
          <c:idx val="5"/>
          <c:order val="5"/>
          <c:tx>
            <c:strRef>
              <c:f>Sheet1!$B$158</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9:$A$160</c:f>
              <c:numCache>
                <c:formatCode>General</c:formatCode>
                <c:ptCount val="2"/>
                <c:pt idx="0">
                  <c:v>1239.9303990862013</c:v>
                </c:pt>
                <c:pt idx="1">
                  <c:v>1239.9303990862013</c:v>
                </c:pt>
              </c:numCache>
            </c:numRef>
          </c:xVal>
          <c:yVal>
            <c:numRef>
              <c:f>Sheet1!$B$159:$B$160</c:f>
              <c:numCache>
                <c:formatCode>General</c:formatCode>
                <c:ptCount val="2"/>
                <c:pt idx="0">
                  <c:v>0.999405711260054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62</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63:$A$164</c:f>
              <c:numCache>
                <c:formatCode>General</c:formatCode>
                <c:ptCount val="2"/>
                <c:pt idx="0">
                  <c:v>0</c:v>
                </c:pt>
                <c:pt idx="1">
                  <c:v>2188.0786356059257</c:v>
                </c:pt>
              </c:numCache>
            </c:numRef>
          </c:xVal>
          <c:yVal>
            <c:numRef>
              <c:f>Sheet1!$B$163:$B$164</c:f>
              <c:numCache>
                <c:formatCode>General</c:formatCode>
                <c:ptCount val="2"/>
                <c:pt idx="0">
                  <c:v>0.9601276183389443</c:v>
                </c:pt>
                <c:pt idx="1">
                  <c:v>0.9601276183389443</c:v>
                </c:pt>
              </c:numCache>
            </c:numRef>
          </c:yVal>
          <c:smooth val="0"/>
          <c:extLst>
            <c:ext xmlns:c16="http://schemas.microsoft.com/office/drawing/2014/chart" uri="{C3380CC4-5D6E-409C-BE32-E72D297353CC}">
              <c16:uniqueId val="{00000011-F32D-48B7-BC20-E66FC6253BAD}"/>
            </c:ext>
          </c:extLst>
        </c:ser>
        <c:ser>
          <c:idx val="7"/>
          <c:order val="7"/>
          <c:tx>
            <c:strRef>
              <c:f>Sheet1!$B$166</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2188.0786356059257</c:v>
                </c:pt>
                <c:pt idx="1">
                  <c:v>2188.0786356059257</c:v>
                </c:pt>
              </c:numCache>
            </c:numRef>
          </c:xVal>
          <c:yVal>
            <c:numRef>
              <c:f>Sheet1!$B$167:$B$168</c:f>
              <c:numCache>
                <c:formatCode>General</c:formatCode>
                <c:ptCount val="2"/>
                <c:pt idx="0">
                  <c:v>0.960127618338944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70</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71:$A$225</c:f>
              <c:numCache>
                <c:formatCode>General</c:formatCode>
                <c:ptCount val="55"/>
                <c:pt idx="0">
                  <c:v>1530.6599</c:v>
                </c:pt>
                <c:pt idx="1">
                  <c:v>1524.4858</c:v>
                </c:pt>
                <c:pt idx="2">
                  <c:v>1486.153</c:v>
                </c:pt>
                <c:pt idx="3">
                  <c:v>1518.4535</c:v>
                </c:pt>
                <c:pt idx="4">
                  <c:v>1503.9079</c:v>
                </c:pt>
                <c:pt idx="5">
                  <c:v>1572.295</c:v>
                </c:pt>
                <c:pt idx="6">
                  <c:v>1468.2125</c:v>
                </c:pt>
                <c:pt idx="7">
                  <c:v>1540.8576</c:v>
                </c:pt>
                <c:pt idx="8">
                  <c:v>1532.2076</c:v>
                </c:pt>
                <c:pt idx="9">
                  <c:v>1535.3333</c:v>
                </c:pt>
                <c:pt idx="10">
                  <c:v>1561.4618</c:v>
                </c:pt>
                <c:pt idx="11">
                  <c:v>1372.746</c:v>
                </c:pt>
                <c:pt idx="12">
                  <c:v>1401.4482</c:v>
                </c:pt>
                <c:pt idx="13">
                  <c:v>1495.6087</c:v>
                </c:pt>
                <c:pt idx="14">
                  <c:v>1477.9597</c:v>
                </c:pt>
                <c:pt idx="15">
                  <c:v>1520.1786</c:v>
                </c:pt>
                <c:pt idx="16">
                  <c:v>1551.2371</c:v>
                </c:pt>
                <c:pt idx="17">
                  <c:v>1505.1233</c:v>
                </c:pt>
                <c:pt idx="18">
                  <c:v>1425.1198</c:v>
                </c:pt>
                <c:pt idx="19">
                  <c:v>1681.4145</c:v>
                </c:pt>
                <c:pt idx="20">
                  <c:v>1714.4329</c:v>
                </c:pt>
                <c:pt idx="21">
                  <c:v>1600.3768</c:v>
                </c:pt>
                <c:pt idx="22">
                  <c:v>1404.5369</c:v>
                </c:pt>
                <c:pt idx="23">
                  <c:v>1613.3178</c:v>
                </c:pt>
                <c:pt idx="24">
                  <c:v>1693.2847</c:v>
                </c:pt>
                <c:pt idx="25">
                  <c:v>1467.5755</c:v>
                </c:pt>
                <c:pt idx="26">
                  <c:v>1520.9448</c:v>
                </c:pt>
                <c:pt idx="27">
                  <c:v>1630.457</c:v>
                </c:pt>
                <c:pt idx="28">
                  <c:v>1577.0432</c:v>
                </c:pt>
                <c:pt idx="29">
                  <c:v>1568.0301</c:v>
                </c:pt>
                <c:pt idx="30">
                  <c:v>1422.0914</c:v>
                </c:pt>
                <c:pt idx="31">
                  <c:v>1272.6364</c:v>
                </c:pt>
                <c:pt idx="32">
                  <c:v>1436.9</c:v>
                </c:pt>
                <c:pt idx="33">
                  <c:v>1565.0987</c:v>
                </c:pt>
                <c:pt idx="34">
                  <c:v>1652.767</c:v>
                </c:pt>
                <c:pt idx="35">
                  <c:v>1591.7683</c:v>
                </c:pt>
                <c:pt idx="36">
                  <c:v>1692.6204</c:v>
                </c:pt>
                <c:pt idx="37">
                  <c:v>1769.2406</c:v>
                </c:pt>
                <c:pt idx="38">
                  <c:v>1702.3438</c:v>
                </c:pt>
                <c:pt idx="39">
                  <c:v>1608.8918</c:v>
                </c:pt>
                <c:pt idx="40">
                  <c:v>1652.5253</c:v>
                </c:pt>
                <c:pt idx="41">
                  <c:v>1752.0966</c:v>
                </c:pt>
                <c:pt idx="42">
                  <c:v>1713.8342</c:v>
                </c:pt>
                <c:pt idx="43">
                  <c:v>1623.6379</c:v>
                </c:pt>
                <c:pt idx="44">
                  <c:v>1672.5992</c:v>
                </c:pt>
                <c:pt idx="45">
                  <c:v>1594.6106</c:v>
                </c:pt>
                <c:pt idx="46">
                  <c:v>1525.2618</c:v>
                </c:pt>
                <c:pt idx="47">
                  <c:v>1472.9267</c:v>
                </c:pt>
                <c:pt idx="48">
                  <c:v>1450.056</c:v>
                </c:pt>
                <c:pt idx="49">
                  <c:v>1476.5245</c:v>
                </c:pt>
                <c:pt idx="50">
                  <c:v>1416.4059</c:v>
                </c:pt>
                <c:pt idx="51">
                  <c:v>1351.0817</c:v>
                </c:pt>
                <c:pt idx="52">
                  <c:v>1239.9303990862013</c:v>
                </c:pt>
                <c:pt idx="53">
                  <c:v>1225.5846460504195</c:v>
                </c:pt>
                <c:pt idx="54">
                  <c:v>2188.0786356059257</c:v>
                </c:pt>
              </c:numCache>
            </c:numRef>
          </c:xVal>
          <c:yVal>
            <c:numRef>
              <c:f>Sheet1!$B$171:$B$225</c:f>
              <c:numCache>
                <c:formatCode>General</c:formatCode>
                <c:ptCount val="55"/>
                <c:pt idx="0">
                  <c:v>0.9873619190427997</c:v>
                </c:pt>
                <c:pt idx="1">
                  <c:v>0.9876176879871099</c:v>
                </c:pt>
                <c:pt idx="2">
                  <c:v>0.9892056667675725</c:v>
                </c:pt>
                <c:pt idx="3">
                  <c:v>0.9878675827090552</c:v>
                </c:pt>
                <c:pt idx="4">
                  <c:v>0.9884701503312768</c:v>
                </c:pt>
                <c:pt idx="5">
                  <c:v>0.9856371388200548</c:v>
                </c:pt>
                <c:pt idx="6">
                  <c:v>0.9899488718898408</c:v>
                </c:pt>
                <c:pt idx="7">
                  <c:v>0.9869394680032325</c:v>
                </c:pt>
                <c:pt idx="8">
                  <c:v>0.9872978038527139</c:v>
                </c:pt>
                <c:pt idx="9">
                  <c:v>0.9871683182614164</c:v>
                </c:pt>
                <c:pt idx="10">
                  <c:v>0.9860859161523787</c:v>
                </c:pt>
                <c:pt idx="11">
                  <c:v>0.9939036775978776</c:v>
                </c:pt>
                <c:pt idx="12">
                  <c:v>0.9927146571101336</c:v>
                </c:pt>
                <c:pt idx="13">
                  <c:v>0.9888139539014521</c:v>
                </c:pt>
                <c:pt idx="14">
                  <c:v>0.9895450833127235</c:v>
                </c:pt>
                <c:pt idx="15">
                  <c:v>0.9877961185270968</c:v>
                </c:pt>
                <c:pt idx="16">
                  <c:v>0.9865094856969097</c:v>
                </c:pt>
                <c:pt idx="17">
                  <c:v>0.9884198010374665</c:v>
                </c:pt>
                <c:pt idx="18">
                  <c:v>0.9917340348101816</c:v>
                </c:pt>
                <c:pt idx="19">
                  <c:v>0.9811167424353742</c:v>
                </c:pt>
                <c:pt idx="20">
                  <c:v>0.9797489185726553</c:v>
                </c:pt>
                <c:pt idx="21">
                  <c:v>0.98447381909081</c:v>
                </c:pt>
                <c:pt idx="22">
                  <c:v>0.9925867042848974</c:v>
                </c:pt>
                <c:pt idx="23">
                  <c:v>0.98393772380432</c:v>
                </c:pt>
                <c:pt idx="24">
                  <c:v>0.9806250062272222</c:v>
                </c:pt>
                <c:pt idx="25">
                  <c:v>0.9899752603217622</c:v>
                </c:pt>
                <c:pt idx="26">
                  <c:v>0.9877643778417936</c:v>
                </c:pt>
                <c:pt idx="27">
                  <c:v>0.9832277134238075</c:v>
                </c:pt>
                <c:pt idx="28">
                  <c:v>0.9854404393656608</c:v>
                </c:pt>
                <c:pt idx="29">
                  <c:v>0.9858138170355986</c:v>
                </c:pt>
                <c:pt idx="30">
                  <c:v>0.9918594896409989</c:v>
                </c:pt>
                <c:pt idx="31">
                  <c:v>0.9980508288761718</c:v>
                </c:pt>
                <c:pt idx="32">
                  <c:v>0.9912460269519088</c:v>
                </c:pt>
                <c:pt idx="33">
                  <c:v>0.9859352535337684</c:v>
                </c:pt>
                <c:pt idx="34">
                  <c:v>0.9823034969149139</c:v>
                </c:pt>
                <c:pt idx="35">
                  <c:v>0.9848304357567361</c:v>
                </c:pt>
                <c:pt idx="36">
                  <c:v>0.9806525255919402</c:v>
                </c:pt>
                <c:pt idx="37">
                  <c:v>0.9774784487763984</c:v>
                </c:pt>
                <c:pt idx="38">
                  <c:v>0.9802497229562352</c:v>
                </c:pt>
                <c:pt idx="39">
                  <c:v>0.984121075766147</c:v>
                </c:pt>
                <c:pt idx="40">
                  <c:v>0.9823135096056445</c:v>
                </c:pt>
                <c:pt idx="41">
                  <c:v>0.9781886580022376</c:v>
                </c:pt>
                <c:pt idx="42">
                  <c:v>0.9797737203845727</c:v>
                </c:pt>
                <c:pt idx="43">
                  <c:v>0.9835102022089173</c:v>
                </c:pt>
                <c:pt idx="44">
                  <c:v>0.9814819260208</c:v>
                </c:pt>
                <c:pt idx="45">
                  <c:v>0.9847126903249463</c:v>
                </c:pt>
                <c:pt idx="46">
                  <c:v>0.987585541325931</c:v>
                </c:pt>
                <c:pt idx="47">
                  <c:v>0.989753580923179</c:v>
                </c:pt>
                <c:pt idx="48">
                  <c:v>0.9907010250518189</c:v>
                </c:pt>
                <c:pt idx="49">
                  <c:v>0.9896045380654606</c:v>
                </c:pt>
                <c:pt idx="50">
                  <c:v>0.9920950177880772</c:v>
                </c:pt>
                <c:pt idx="51">
                  <c:v>0.994801145267695</c:v>
                </c:pt>
                <c:pt idx="52">
                  <c:v>0.9994057112600546</c:v>
                </c:pt>
                <c:pt idx="53">
                  <c:v>1.0</c:v>
                </c:pt>
                <c:pt idx="54">
                  <c:v>0.960127618338944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626.0"/>
          <c:min val="88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2"/>
          <c:min val="0.752941176470588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16</c:f>
              <c:numCache>
                <c:formatCode>General</c:formatCode>
                <c:ptCount val="13"/>
                <c:pt idx="0">
                  <c:v>0.9160688948357343</c:v>
                </c:pt>
                <c:pt idx="1">
                  <c:v>0.9752288580702272</c:v>
                </c:pt>
                <c:pt idx="2">
                  <c:v>1.0577099909447631</c:v>
                </c:pt>
                <c:pt idx="3">
                  <c:v>1.2100785144390314</c:v>
                </c:pt>
                <c:pt idx="4">
                  <c:v>1.0689446629956731</c:v>
                </c:pt>
                <c:pt idx="5">
                  <c:v>1.02745819767799</c:v>
                </c:pt>
                <c:pt idx="6">
                  <c:v>1.0023744159743198</c:v>
                </c:pt>
                <c:pt idx="7">
                  <c:v>0.6322765597937897</c:v>
                </c:pt>
                <c:pt idx="8">
                  <c:v>0.859952533862681</c:v>
                </c:pt>
                <c:pt idx="9">
                  <c:v>0.6838273991983023</c:v>
                </c:pt>
                <c:pt idx="10">
                  <c:v>0.876067699062537</c:v>
                </c:pt>
                <c:pt idx="11">
                  <c:v>0.8263209426740191</c:v>
                </c:pt>
                <c:pt idx="12">
                  <c:v>0.6474315413694041</c:v>
                </c:pt>
              </c:numCache>
            </c:numRef>
          </c:xVal>
          <c:yVal>
            <c:numRef>
              <c:f>Sheet1!$B$4:$B$16</c:f>
              <c:numCache>
                <c:formatCode>General</c:formatCode>
                <c:ptCount val="13"/>
                <c:pt idx="0">
                  <c:v>0.941747572815534</c:v>
                </c:pt>
                <c:pt idx="1">
                  <c:v>0.9473684210526315</c:v>
                </c:pt>
                <c:pt idx="2">
                  <c:v>0.9452054794520548</c:v>
                </c:pt>
                <c:pt idx="3">
                  <c:v>0.9414634146341463</c:v>
                </c:pt>
                <c:pt idx="4">
                  <c:v>0.9418604651162791</c:v>
                </c:pt>
                <c:pt idx="5">
                  <c:v>0.9573643410852714</c:v>
                </c:pt>
                <c:pt idx="6">
                  <c:v>0.9683698296836983</c:v>
                </c:pt>
                <c:pt idx="7">
                  <c:v>0.9855072463768116</c:v>
                </c:pt>
                <c:pt idx="8">
                  <c:v>0.9770773638968482</c:v>
                </c:pt>
                <c:pt idx="9">
                  <c:v>0.9727722772277227</c:v>
                </c:pt>
                <c:pt idx="10">
                  <c:v>0.9670103092783505</c:v>
                </c:pt>
                <c:pt idx="11">
                  <c:v>0.968609865470852</c:v>
                </c:pt>
                <c:pt idx="12">
                  <c:v>0.9673024523160763</c:v>
                </c:pt>
              </c:numCache>
            </c:numRef>
          </c:yVal>
          <c:smooth val="0"/>
          <c:extLst>
            <c:ext xmlns:c16="http://schemas.microsoft.com/office/drawing/2014/chart" uri="{C3380CC4-5D6E-409C-BE32-E72D297353CC}">
              <c16:uniqueId val="{00000002-096C-4121-9522-6AB7243CCAAE}"/>
            </c:ext>
          </c:extLst>
        </c:ser>
        <c:ser>
          <c:idx val="2"/>
          <c:order val="2"/>
          <c:tx>
            <c:strRef>
              <c:f>Sheet1!$B$1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9:$A$20</c:f>
              <c:numCache>
                <c:formatCode>General</c:formatCode>
                <c:ptCount val="2"/>
                <c:pt idx="0">
                  <c:v>0</c:v>
                </c:pt>
                <c:pt idx="1">
                  <c:v>0.7746839342248829</c:v>
                </c:pt>
              </c:numCache>
            </c:numRef>
          </c:xVal>
          <c:yVal>
            <c:numRef>
              <c:f>Sheet1!$B$19:$B$20</c:f>
              <c:numCache>
                <c:formatCode>General</c:formatCode>
                <c:ptCount val="2"/>
                <c:pt idx="0">
                  <c:v>0.9689237260732504</c:v>
                </c:pt>
                <c:pt idx="1">
                  <c:v>0.9689237260732504</c:v>
                </c:pt>
              </c:numCache>
            </c:numRef>
          </c:yVal>
          <c:smooth val="0"/>
          <c:extLst>
            <c:ext xmlns:c16="http://schemas.microsoft.com/office/drawing/2014/chart" uri="{C3380CC4-5D6E-409C-BE32-E72D297353CC}">
              <c16:uniqueId val="{00000005-096C-4121-9522-6AB7243CCAAE}"/>
            </c:ext>
          </c:extLst>
        </c:ser>
        <c:ser>
          <c:idx val="3"/>
          <c:order val="3"/>
          <c:tx>
            <c:strRef>
              <c:f>Sheet1!$B$2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3:$A$24</c:f>
              <c:numCache>
                <c:formatCode>General</c:formatCode>
                <c:ptCount val="2"/>
                <c:pt idx="0">
                  <c:v>0.7746839342248829</c:v>
                </c:pt>
                <c:pt idx="1">
                  <c:v>0.7746839342248829</c:v>
                </c:pt>
              </c:numCache>
            </c:numRef>
          </c:xVal>
          <c:yVal>
            <c:numRef>
              <c:f>Sheet1!$B$23:$B$24</c:f>
              <c:numCache>
                <c:formatCode>General</c:formatCode>
                <c:ptCount val="2"/>
                <c:pt idx="0">
                  <c:v>0.968923726073250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7:$A$28</c:f>
              <c:numCache>
                <c:formatCode>General</c:formatCode>
                <c:ptCount val="2"/>
                <c:pt idx="0">
                  <c:v>0</c:v>
                </c:pt>
                <c:pt idx="1">
                  <c:v>0.7746839342248829</c:v>
                </c:pt>
              </c:numCache>
            </c:numRef>
          </c:xVal>
          <c:yVal>
            <c:numRef>
              <c:f>Sheet1!$B$27:$B$28</c:f>
              <c:numCache>
                <c:formatCode>General</c:formatCode>
                <c:ptCount val="2"/>
                <c:pt idx="0">
                  <c:v>0.9689237260732504</c:v>
                </c:pt>
                <c:pt idx="1">
                  <c:v>0.9689237260732504</c:v>
                </c:pt>
              </c:numCache>
            </c:numRef>
          </c:yVal>
          <c:smooth val="0"/>
          <c:extLst>
            <c:ext xmlns:c16="http://schemas.microsoft.com/office/drawing/2014/chart" uri="{C3380CC4-5D6E-409C-BE32-E72D297353CC}">
              <c16:uniqueId val="{0000000D-096C-4121-9522-6AB7243CCAAE}"/>
            </c:ext>
          </c:extLst>
        </c:ser>
        <c:ser>
          <c:idx val="5"/>
          <c:order val="5"/>
          <c:tx>
            <c:strRef>
              <c:f>Sheet1!$B$3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1:$A$32</c:f>
              <c:numCache>
                <c:formatCode>General</c:formatCode>
                <c:ptCount val="2"/>
                <c:pt idx="0">
                  <c:v>0.7746839342248829</c:v>
                </c:pt>
                <c:pt idx="1">
                  <c:v>0.7746839342248829</c:v>
                </c:pt>
              </c:numCache>
            </c:numRef>
          </c:xVal>
          <c:yVal>
            <c:numRef>
              <c:f>Sheet1!$B$31:$B$32</c:f>
              <c:numCache>
                <c:formatCode>General</c:formatCode>
                <c:ptCount val="2"/>
                <c:pt idx="0">
                  <c:v>0.96892372607325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3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5:$A$36</c:f>
              <c:numCache>
                <c:formatCode>General</c:formatCode>
                <c:ptCount val="2"/>
                <c:pt idx="0">
                  <c:v>0</c:v>
                </c:pt>
                <c:pt idx="1">
                  <c:v>0.9064415546844937</c:v>
                </c:pt>
              </c:numCache>
            </c:numRef>
          </c:xVal>
          <c:yVal>
            <c:numRef>
              <c:f>Sheet1!$B$35:$B$36</c:f>
              <c:numCache>
                <c:formatCode>General</c:formatCode>
                <c:ptCount val="2"/>
                <c:pt idx="0">
                  <c:v>0.9601276183389443</c:v>
                </c:pt>
                <c:pt idx="1">
                  <c:v>0.9601276183389443</c:v>
                </c:pt>
              </c:numCache>
            </c:numRef>
          </c:yVal>
          <c:smooth val="0"/>
          <c:extLst>
            <c:ext xmlns:c16="http://schemas.microsoft.com/office/drawing/2014/chart" uri="{C3380CC4-5D6E-409C-BE32-E72D297353CC}">
              <c16:uniqueId val="{00000015-096C-4121-9522-6AB7243CCAAE}"/>
            </c:ext>
          </c:extLst>
        </c:ser>
        <c:ser>
          <c:idx val="7"/>
          <c:order val="7"/>
          <c:tx>
            <c:strRef>
              <c:f>Sheet1!$B$3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9:$A$40</c:f>
              <c:numCache>
                <c:formatCode>General</c:formatCode>
                <c:ptCount val="2"/>
                <c:pt idx="0">
                  <c:v>0.9064415546844937</c:v>
                </c:pt>
                <c:pt idx="1">
                  <c:v>0.9064415546844937</c:v>
                </c:pt>
              </c:numCache>
            </c:numRef>
          </c:xVal>
          <c:yVal>
            <c:numRef>
              <c:f>Sheet1!$B$39:$B$40</c:f>
              <c:numCache>
                <c:formatCode>General</c:formatCode>
                <c:ptCount val="2"/>
                <c:pt idx="0">
                  <c:v>0.960127618338944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4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43:$A$58</c:f>
              <c:numCache>
                <c:formatCode>General</c:formatCode>
                <c:ptCount val="16"/>
                <c:pt idx="0">
                  <c:v>0.9160688948357343</c:v>
                </c:pt>
                <c:pt idx="1">
                  <c:v>0.9752288580702272</c:v>
                </c:pt>
                <c:pt idx="2">
                  <c:v>1.0577099909447631</c:v>
                </c:pt>
                <c:pt idx="3">
                  <c:v>1.2100785144390314</c:v>
                </c:pt>
                <c:pt idx="4">
                  <c:v>1.0689446629956731</c:v>
                </c:pt>
                <c:pt idx="5">
                  <c:v>1.02745819767799</c:v>
                </c:pt>
                <c:pt idx="6">
                  <c:v>1.0023744159743198</c:v>
                </c:pt>
                <c:pt idx="7">
                  <c:v>0.6322765597937897</c:v>
                </c:pt>
                <c:pt idx="8">
                  <c:v>0.859952533862681</c:v>
                </c:pt>
                <c:pt idx="9">
                  <c:v>0.6838273991983023</c:v>
                </c:pt>
                <c:pt idx="10">
                  <c:v>0.876067699062537</c:v>
                </c:pt>
                <c:pt idx="11">
                  <c:v>0.8263209426740191</c:v>
                </c:pt>
                <c:pt idx="12">
                  <c:v>0.6474315413694041</c:v>
                </c:pt>
                <c:pt idx="13">
                  <c:v>0.7746839342248829</c:v>
                </c:pt>
                <c:pt idx="14">
                  <c:v>0.7746839342248829</c:v>
                </c:pt>
                <c:pt idx="15">
                  <c:v>0.9064415546844937</c:v>
                </c:pt>
              </c:numCache>
            </c:numRef>
          </c:xVal>
          <c:yVal>
            <c:numRef>
              <c:f>Sheet1!$B$43:$B$58</c:f>
              <c:numCache>
                <c:formatCode>General</c:formatCode>
                <c:ptCount val="16"/>
                <c:pt idx="0">
                  <c:v>0.9594848993761267</c:v>
                </c:pt>
                <c:pt idx="1">
                  <c:v>0.9555353941531806</c:v>
                </c:pt>
                <c:pt idx="2">
                  <c:v>0.950028973133423</c:v>
                </c:pt>
                <c:pt idx="3">
                  <c:v>0.9398568863630524</c:v>
                </c:pt>
                <c:pt idx="4">
                  <c:v>0.9492789490712498</c:v>
                </c:pt>
                <c:pt idx="5">
                  <c:v>0.9520485757325157</c:v>
                </c:pt>
                <c:pt idx="6">
                  <c:v>0.9537231630958852</c:v>
                </c:pt>
                <c:pt idx="7">
                  <c:v>0.9784308088764005</c:v>
                </c:pt>
                <c:pt idx="8">
                  <c:v>0.9632312144283744</c:v>
                </c:pt>
                <c:pt idx="9">
                  <c:v>0.9749892869696278</c:v>
                </c:pt>
                <c:pt idx="10">
                  <c:v>0.9621553697921431</c:v>
                </c:pt>
                <c:pt idx="11">
                  <c:v>0.9654764515413374</c:v>
                </c:pt>
                <c:pt idx="12">
                  <c:v>0.9774190658729559</c:v>
                </c:pt>
                <c:pt idx="13">
                  <c:v>0.9689237260732504</c:v>
                </c:pt>
                <c:pt idx="14">
                  <c:v>0.9689237260732504</c:v>
                </c:pt>
                <c:pt idx="15">
                  <c:v>0.96012761833894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82608695652174"/>
          <c:min val="0.753170731707317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16</c:f>
              <c:numCache>
                <c:formatCode>General</c:formatCode>
                <c:ptCount val="13"/>
                <c:pt idx="0">
                  <c:v>1608.8918</c:v>
                </c:pt>
                <c:pt idx="1">
                  <c:v>1652.5253</c:v>
                </c:pt>
                <c:pt idx="2">
                  <c:v>1752.0966</c:v>
                </c:pt>
                <c:pt idx="3">
                  <c:v>1713.8342</c:v>
                </c:pt>
                <c:pt idx="4">
                  <c:v>1623.6379</c:v>
                </c:pt>
                <c:pt idx="5">
                  <c:v>1672.5992</c:v>
                </c:pt>
                <c:pt idx="6">
                  <c:v>1594.6106</c:v>
                </c:pt>
                <c:pt idx="7">
                  <c:v>1525.2618</c:v>
                </c:pt>
                <c:pt idx="8">
                  <c:v>1472.9267</c:v>
                </c:pt>
                <c:pt idx="9">
                  <c:v>1450.056</c:v>
                </c:pt>
                <c:pt idx="10">
                  <c:v>1476.5245</c:v>
                </c:pt>
                <c:pt idx="11">
                  <c:v>1416.4059</c:v>
                </c:pt>
                <c:pt idx="12">
                  <c:v>1351.0817</c:v>
                </c:pt>
              </c:numCache>
            </c:numRef>
          </c:xVal>
          <c:yVal>
            <c:numRef>
              <c:f>Sheet1!$B$4:$B$16</c:f>
              <c:numCache>
                <c:formatCode>General</c:formatCode>
                <c:ptCount val="13"/>
                <c:pt idx="0">
                  <c:v>0.941747572815534</c:v>
                </c:pt>
                <c:pt idx="1">
                  <c:v>0.9473684210526315</c:v>
                </c:pt>
                <c:pt idx="2">
                  <c:v>0.9452054794520548</c:v>
                </c:pt>
                <c:pt idx="3">
                  <c:v>0.9414634146341463</c:v>
                </c:pt>
                <c:pt idx="4">
                  <c:v>0.9418604651162791</c:v>
                </c:pt>
                <c:pt idx="5">
                  <c:v>0.9573643410852714</c:v>
                </c:pt>
                <c:pt idx="6">
                  <c:v>0.9683698296836983</c:v>
                </c:pt>
                <c:pt idx="7">
                  <c:v>0.9855072463768116</c:v>
                </c:pt>
                <c:pt idx="8">
                  <c:v>0.9770773638968482</c:v>
                </c:pt>
                <c:pt idx="9">
                  <c:v>0.9727722772277227</c:v>
                </c:pt>
                <c:pt idx="10">
                  <c:v>0.9670103092783505</c:v>
                </c:pt>
                <c:pt idx="11">
                  <c:v>0.968609865470852</c:v>
                </c:pt>
                <c:pt idx="12">
                  <c:v>0.9673024523160763</c:v>
                </c:pt>
              </c:numCache>
            </c:numRef>
          </c:yVal>
          <c:smooth val="0"/>
          <c:extLst>
            <c:ext xmlns:c16="http://schemas.microsoft.com/office/drawing/2014/chart" uri="{C3380CC4-5D6E-409C-BE32-E72D297353CC}">
              <c16:uniqueId val="{00000002-F32D-48B7-BC20-E66FC6253BAD}"/>
            </c:ext>
          </c:extLst>
        </c:ser>
        <c:ser>
          <c:idx val="2"/>
          <c:order val="2"/>
          <c:tx>
            <c:strRef>
              <c:f>Sheet1!$B$18</c:f>
              <c:strCache>
                <c:ptCount val="1"/>
                <c:pt idx="0">
                  <c:v>Custom Linep3yQ</c:v>
                </c:pt>
              </c:strCache>
            </c:strRef>
          </c:tx>
          <c:spPr>
            <a:ln w="19050" cap="rnd">
              <a:solidFill>
                <a:srgbClr val="C00000"/>
              </a:solidFill>
              <a:prstDash val="sysDot"/>
              <a:round/>
            </a:ln>
            <a:effectLst/>
          </c:spPr>
          <c:marker>
            <c:symbol val="none"/>
          </c:marker>
          <c:xVal>
            <c:numRef>
              <c:f>Sheet1!$A$19:$A$20</c:f>
              <c:numCache>
                <c:formatCode>General</c:formatCode>
                <c:ptCount val="2"/>
                <c:pt idx="0">
                  <c:v>0</c:v>
                </c:pt>
                <c:pt idx="1">
                  <c:v>1462.8473960194149</c:v>
                </c:pt>
              </c:numCache>
            </c:numRef>
          </c:xVal>
          <c:yVal>
            <c:numRef>
              <c:f>Sheet1!$B$19:$B$20</c:f>
              <c:numCache>
                <c:formatCode>General</c:formatCode>
                <c:ptCount val="2"/>
                <c:pt idx="0">
                  <c:v>0.9689237260732504</c:v>
                </c:pt>
                <c:pt idx="1">
                  <c:v>0.9689237260732504</c:v>
                </c:pt>
              </c:numCache>
            </c:numRef>
          </c:yVal>
          <c:smooth val="0"/>
          <c:extLst>
            <c:ext xmlns:c16="http://schemas.microsoft.com/office/drawing/2014/chart" uri="{C3380CC4-5D6E-409C-BE32-E72D297353CC}">
              <c16:uniqueId val="{00000003-F32D-48B7-BC20-E66FC6253BAD}"/>
            </c:ext>
          </c:extLst>
        </c:ser>
        <c:ser>
          <c:idx val="3"/>
          <c:order val="3"/>
          <c:tx>
            <c:strRef>
              <c:f>Sheet1!$B$2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3:$A$24</c:f>
              <c:numCache>
                <c:formatCode>General</c:formatCode>
                <c:ptCount val="2"/>
                <c:pt idx="0">
                  <c:v>1462.8473960194149</c:v>
                </c:pt>
                <c:pt idx="1">
                  <c:v>1462.8473960194149</c:v>
                </c:pt>
              </c:numCache>
            </c:numRef>
          </c:xVal>
          <c:yVal>
            <c:numRef>
              <c:f>Sheet1!$B$23:$B$24</c:f>
              <c:numCache>
                <c:formatCode>General</c:formatCode>
                <c:ptCount val="2"/>
                <c:pt idx="0">
                  <c:v>0.968923726073250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7:$A$28</c:f>
              <c:numCache>
                <c:formatCode>General</c:formatCode>
                <c:ptCount val="2"/>
                <c:pt idx="0">
                  <c:v>0</c:v>
                </c:pt>
                <c:pt idx="1">
                  <c:v>1462.8473960194149</c:v>
                </c:pt>
              </c:numCache>
            </c:numRef>
          </c:xVal>
          <c:yVal>
            <c:numRef>
              <c:f>Sheet1!$B$27:$B$28</c:f>
              <c:numCache>
                <c:formatCode>General</c:formatCode>
                <c:ptCount val="2"/>
                <c:pt idx="0">
                  <c:v>0.9689237260732504</c:v>
                </c:pt>
                <c:pt idx="1">
                  <c:v>0.9689237260732504</c:v>
                </c:pt>
              </c:numCache>
            </c:numRef>
          </c:yVal>
          <c:smooth val="0"/>
          <c:extLst>
            <c:ext xmlns:c16="http://schemas.microsoft.com/office/drawing/2014/chart" uri="{C3380CC4-5D6E-409C-BE32-E72D297353CC}">
              <c16:uniqueId val="{0000000A-F32D-48B7-BC20-E66FC6253BAD}"/>
            </c:ext>
          </c:extLst>
        </c:ser>
        <c:ser>
          <c:idx val="5"/>
          <c:order val="5"/>
          <c:tx>
            <c:strRef>
              <c:f>Sheet1!$B$3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1:$A$32</c:f>
              <c:numCache>
                <c:formatCode>General</c:formatCode>
                <c:ptCount val="2"/>
                <c:pt idx="0">
                  <c:v>1462.8473960194149</c:v>
                </c:pt>
                <c:pt idx="1">
                  <c:v>1462.8473960194149</c:v>
                </c:pt>
              </c:numCache>
            </c:numRef>
          </c:xVal>
          <c:yVal>
            <c:numRef>
              <c:f>Sheet1!$B$31:$B$32</c:f>
              <c:numCache>
                <c:formatCode>General</c:formatCode>
                <c:ptCount val="2"/>
                <c:pt idx="0">
                  <c:v>0.96892372607325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3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5:$A$36</c:f>
              <c:numCache>
                <c:formatCode>General</c:formatCode>
                <c:ptCount val="2"/>
                <c:pt idx="0">
                  <c:v>0</c:v>
                </c:pt>
                <c:pt idx="1">
                  <c:v>1562.3424769230787</c:v>
                </c:pt>
              </c:numCache>
            </c:numRef>
          </c:xVal>
          <c:yVal>
            <c:numRef>
              <c:f>Sheet1!$B$35:$B$36</c:f>
              <c:numCache>
                <c:formatCode>General</c:formatCode>
                <c:ptCount val="2"/>
                <c:pt idx="0">
                  <c:v>0.9601276183389443</c:v>
                </c:pt>
                <c:pt idx="1">
                  <c:v>0.9601276183389443</c:v>
                </c:pt>
              </c:numCache>
            </c:numRef>
          </c:yVal>
          <c:smooth val="0"/>
          <c:extLst>
            <c:ext xmlns:c16="http://schemas.microsoft.com/office/drawing/2014/chart" uri="{C3380CC4-5D6E-409C-BE32-E72D297353CC}">
              <c16:uniqueId val="{00000011-F32D-48B7-BC20-E66FC6253BAD}"/>
            </c:ext>
          </c:extLst>
        </c:ser>
        <c:ser>
          <c:idx val="7"/>
          <c:order val="7"/>
          <c:tx>
            <c:strRef>
              <c:f>Sheet1!$B$3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9:$A$40</c:f>
              <c:numCache>
                <c:formatCode>General</c:formatCode>
                <c:ptCount val="2"/>
                <c:pt idx="0">
                  <c:v>1562.3424769230787</c:v>
                </c:pt>
                <c:pt idx="1">
                  <c:v>1562.3424769230787</c:v>
                </c:pt>
              </c:numCache>
            </c:numRef>
          </c:xVal>
          <c:yVal>
            <c:numRef>
              <c:f>Sheet1!$B$39:$B$40</c:f>
              <c:numCache>
                <c:formatCode>General</c:formatCode>
                <c:ptCount val="2"/>
                <c:pt idx="0">
                  <c:v>0.960127618338944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4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43:$A$58</c:f>
              <c:numCache>
                <c:formatCode>General</c:formatCode>
                <c:ptCount val="16"/>
                <c:pt idx="0">
                  <c:v>1608.8918</c:v>
                </c:pt>
                <c:pt idx="1">
                  <c:v>1652.5253</c:v>
                </c:pt>
                <c:pt idx="2">
                  <c:v>1752.0966</c:v>
                </c:pt>
                <c:pt idx="3">
                  <c:v>1713.8342</c:v>
                </c:pt>
                <c:pt idx="4">
                  <c:v>1623.6379</c:v>
                </c:pt>
                <c:pt idx="5">
                  <c:v>1672.5992</c:v>
                </c:pt>
                <c:pt idx="6">
                  <c:v>1594.6106</c:v>
                </c:pt>
                <c:pt idx="7">
                  <c:v>1525.2618</c:v>
                </c:pt>
                <c:pt idx="8">
                  <c:v>1472.9267</c:v>
                </c:pt>
                <c:pt idx="9">
                  <c:v>1450.056</c:v>
                </c:pt>
                <c:pt idx="10">
                  <c:v>1476.5245</c:v>
                </c:pt>
                <c:pt idx="11">
                  <c:v>1416.4059</c:v>
                </c:pt>
                <c:pt idx="12">
                  <c:v>1351.0817</c:v>
                </c:pt>
                <c:pt idx="13">
                  <c:v>1462.8473960194149</c:v>
                </c:pt>
                <c:pt idx="14">
                  <c:v>1462.8473960194149</c:v>
                </c:pt>
                <c:pt idx="15">
                  <c:v>1562.3424769230787</c:v>
                </c:pt>
              </c:numCache>
            </c:numRef>
          </c:xVal>
          <c:yVal>
            <c:numRef>
              <c:f>Sheet1!$B$43:$B$58</c:f>
              <c:numCache>
                <c:formatCode>General</c:formatCode>
                <c:ptCount val="16"/>
                <c:pt idx="0">
                  <c:v>0.9560123107576572</c:v>
                </c:pt>
                <c:pt idx="1">
                  <c:v>0.9521547836986415</c:v>
                </c:pt>
                <c:pt idx="2">
                  <c:v>0.9433519376273575</c:v>
                </c:pt>
                <c:pt idx="3">
                  <c:v>0.9467346193591205</c:v>
                </c:pt>
                <c:pt idx="4">
                  <c:v>0.9547086454600087</c:v>
                </c:pt>
                <c:pt idx="5">
                  <c:v>0.9503801011169102</c:v>
                </c:pt>
                <c:pt idx="6">
                  <c:v>0.9572748754255206</c:v>
                </c:pt>
                <c:pt idx="7">
                  <c:v>0.9634058269309068</c:v>
                </c:pt>
                <c:pt idx="8">
                  <c:v>0.9680326403743916</c:v>
                </c:pt>
                <c:pt idx="9">
                  <c:v>0.9700545809500647</c:v>
                </c:pt>
                <c:pt idx="10">
                  <c:v>0.9677145680021794</c:v>
                </c:pt>
                <c:pt idx="11">
                  <c:v>0.9730295009378858</c:v>
                </c:pt>
                <c:pt idx="12">
                  <c:v>0.978804647765634</c:v>
                </c:pt>
                <c:pt idx="13">
                  <c:v>0.9689237260732504</c:v>
                </c:pt>
                <c:pt idx="14">
                  <c:v>0.9689237260732504</c:v>
                </c:pt>
                <c:pt idx="15">
                  <c:v>0.960127618338944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03.0"/>
          <c:min val="108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82608695652174"/>
          <c:min val="0.753170731707317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c:f>
              <c:numCache>
                <c:formatCode>General</c:formatCode>
                <c:ptCount val="1"/>
                <c:pt idx="0">
                  <c:v>0.0</c:v>
                </c:pt>
              </c:numCache>
            </c:numRef>
          </c:xVal>
          <c:yVal>
            <c:numRef>
              <c:f>Sheet1!$B$2:$B$2</c:f>
              <c:numCache>
                <c:formatCode>General</c:formatCode>
                <c:ptCount val="1"/>
                <c:pt idx="0">
                  <c:v>0.9670103092783505</c:v>
                </c:pt>
              </c:numCache>
            </c:numRef>
          </c:yVal>
          <c:smooth val="0"/>
          <c:extLst>
            <c:ext xmlns:c16="http://schemas.microsoft.com/office/drawing/2014/chart" uri="{C3380CC4-5D6E-409C-BE32-E72D297353CC}">
              <c16:uniqueId val="{00000000-096C-4121-9522-6AB7243CCAAE}"/>
            </c:ext>
          </c:extLst>
        </c:ser>
        <c:ser>
          <c:idx val="1"/>
          <c:order val="1"/>
          <c:tx>
            <c:strRef>
              <c:f>Sheet1!$B$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A$7</c:f>
              <c:numCache>
                <c:formatCode>General</c:formatCode>
                <c:ptCount val="3"/>
                <c:pt idx="0">
                  <c:v>8.266388610911141</c:v>
                </c:pt>
                <c:pt idx="1">
                  <c:v>7.349872122762148</c:v>
                </c:pt>
                <c:pt idx="2">
                  <c:v>8.505630150753769</c:v>
                </c:pt>
              </c:numCache>
            </c:numRef>
          </c:xVal>
          <c:yVal>
            <c:numRef>
              <c:f>Sheet1!$B$5:$B$7</c:f>
              <c:numCache>
                <c:formatCode>General</c:formatCode>
                <c:ptCount val="3"/>
                <c:pt idx="0">
                  <c:v>0.9830028328611898</c:v>
                </c:pt>
                <c:pt idx="1">
                  <c:v>0.9411764705882353</c:v>
                </c:pt>
                <c:pt idx="2">
                  <c:v>0.958041958041958</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8.999304123558266</c:v>
                </c:pt>
              </c:numCache>
            </c:numRef>
          </c:xVal>
          <c:yVal>
            <c:numRef>
              <c:f>Sheet1!$B$10:$B$11</c:f>
              <c:numCache>
                <c:formatCode>General</c:formatCode>
                <c:ptCount val="2"/>
                <c:pt idx="0">
                  <c:v>0.9830028328611898</c:v>
                </c:pt>
                <c:pt idx="1">
                  <c:v>0.9830028328611898</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8.999304123558266</c:v>
                </c:pt>
                <c:pt idx="1">
                  <c:v>8.999304123558266</c:v>
                </c:pt>
              </c:numCache>
            </c:numRef>
          </c:xVal>
          <c:yVal>
            <c:numRef>
              <c:f>Sheet1!$B$14:$B$15</c:f>
              <c:numCache>
                <c:formatCode>General</c:formatCode>
                <c:ptCount val="2"/>
                <c:pt idx="0">
                  <c:v>0.983002832861189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8.999304123558266</c:v>
                </c:pt>
              </c:numCache>
            </c:numRef>
          </c:xVal>
          <c:yVal>
            <c:numRef>
              <c:f>Sheet1!$B$18:$B$19</c:f>
              <c:numCache>
                <c:formatCode>General</c:formatCode>
                <c:ptCount val="2"/>
                <c:pt idx="0">
                  <c:v>0.9830028328611898</c:v>
                </c:pt>
                <c:pt idx="1">
                  <c:v>0.9830028328611898</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8.999304123558266</c:v>
                </c:pt>
                <c:pt idx="1">
                  <c:v>8.999304123558266</c:v>
                </c:pt>
              </c:numCache>
            </c:numRef>
          </c:xVal>
          <c:yVal>
            <c:numRef>
              <c:f>Sheet1!$B$22:$B$23</c:f>
              <c:numCache>
                <c:formatCode>General</c:formatCode>
                <c:ptCount val="2"/>
                <c:pt idx="0">
                  <c:v>0.983002832861189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8.310627013288187</c:v>
                </c:pt>
              </c:numCache>
            </c:numRef>
          </c:xVal>
          <c:yVal>
            <c:numRef>
              <c:f>Sheet1!$B$26:$B$27</c:f>
              <c:numCache>
                <c:formatCode>General</c:formatCode>
                <c:ptCount val="2"/>
                <c:pt idx="0">
                  <c:v>0.9670103092783505</c:v>
                </c:pt>
                <c:pt idx="1">
                  <c:v>0.9670103092783505</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8.310627013288187</c:v>
                </c:pt>
                <c:pt idx="1">
                  <c:v>8.310627013288187</c:v>
                </c:pt>
              </c:numCache>
            </c:numRef>
          </c:xVal>
          <c:yVal>
            <c:numRef>
              <c:f>Sheet1!$B$30:$B$31</c:f>
              <c:numCache>
                <c:formatCode>General</c:formatCode>
                <c:ptCount val="2"/>
                <c:pt idx="0">
                  <c:v>0.96701030927835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39</c:f>
              <c:numCache>
                <c:formatCode>General</c:formatCode>
                <c:ptCount val="6"/>
                <c:pt idx="0">
                  <c:v>8.266388610911141</c:v>
                </c:pt>
                <c:pt idx="1">
                  <c:v>7.349872122762148</c:v>
                </c:pt>
                <c:pt idx="2">
                  <c:v>8.505630150753769</c:v>
                </c:pt>
                <c:pt idx="3">
                  <c:v>8.999304123558266</c:v>
                </c:pt>
                <c:pt idx="4">
                  <c:v>8.999304123558266</c:v>
                </c:pt>
                <c:pt idx="5">
                  <c:v>8.310627013288187</c:v>
                </c:pt>
              </c:numCache>
            </c:numRef>
          </c:xVal>
          <c:yVal>
            <c:numRef>
              <c:f>Sheet1!$B$34:$B$39</c:f>
              <c:numCache>
                <c:formatCode>General</c:formatCode>
                <c:ptCount val="6"/>
                <c:pt idx="0">
                  <c:v>0.9659830010046596</c:v>
                </c:pt>
                <c:pt idx="1">
                  <c:v>0.9446995703051324</c:v>
                </c:pt>
                <c:pt idx="2">
                  <c:v>0.9715386901815912</c:v>
                </c:pt>
                <c:pt idx="3">
                  <c:v>0.9830028328611898</c:v>
                </c:pt>
                <c:pt idx="4">
                  <c:v>0.9830028328611898</c:v>
                </c:pt>
                <c:pt idx="5">
                  <c:v>0.96701030927835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eutrogen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796033994334278"/>
          <c:min val="0.752941176470588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1530.6599</c:v>
                </c:pt>
                <c:pt idx="1">
                  <c:v>1436.9</c:v>
                </c:pt>
                <c:pt idx="2">
                  <c:v>1692.6204</c:v>
                </c:pt>
                <c:pt idx="3">
                  <c:v>1476.5245</c:v>
                </c:pt>
              </c:numCache>
            </c:numRef>
          </c:xVal>
          <c:yVal>
            <c:numRef>
              <c:f>Sheet1!$B$4:$B$7</c:f>
              <c:numCache>
                <c:formatCode>General</c:formatCode>
                <c:ptCount val="4"/>
                <c:pt idx="0">
                  <c:v>0.9830028328611898</c:v>
                </c:pt>
                <c:pt idx="1">
                  <c:v>0.9411764705882353</c:v>
                </c:pt>
                <c:pt idx="2">
                  <c:v>0.958041958041958</c:v>
                </c:pt>
                <c:pt idx="3">
                  <c:v>0.9670103092783505</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2291.4717462071626</c:v>
                </c:pt>
              </c:numCache>
            </c:numRef>
          </c:xVal>
          <c:yVal>
            <c:numRef>
              <c:f>Sheet1!$B$10:$B$11</c:f>
              <c:numCache>
                <c:formatCode>General</c:formatCode>
                <c:ptCount val="2"/>
                <c:pt idx="0">
                  <c:v>0.9830028328611898</c:v>
                </c:pt>
                <c:pt idx="1">
                  <c:v>0.9830028328611898</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2291.4717462071626</c:v>
                </c:pt>
                <c:pt idx="1">
                  <c:v>2291.4717462071626</c:v>
                </c:pt>
              </c:numCache>
            </c:numRef>
          </c:xVal>
          <c:yVal>
            <c:numRef>
              <c:f>Sheet1!$B$14:$B$15</c:f>
              <c:numCache>
                <c:formatCode>General</c:formatCode>
                <c:ptCount val="2"/>
                <c:pt idx="0">
                  <c:v>0.983002832861189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2291.4717462071626</c:v>
                </c:pt>
              </c:numCache>
            </c:numRef>
          </c:xVal>
          <c:yVal>
            <c:numRef>
              <c:f>Sheet1!$B$18:$B$19</c:f>
              <c:numCache>
                <c:formatCode>General</c:formatCode>
                <c:ptCount val="2"/>
                <c:pt idx="0">
                  <c:v>0.9830028328611898</c:v>
                </c:pt>
                <c:pt idx="1">
                  <c:v>0.9830028328611898</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2291.4717462071626</c:v>
                </c:pt>
                <c:pt idx="1">
                  <c:v>2291.4717462071626</c:v>
                </c:pt>
              </c:numCache>
            </c:numRef>
          </c:xVal>
          <c:yVal>
            <c:numRef>
              <c:f>Sheet1!$B$22:$B$23</c:f>
              <c:numCache>
                <c:formatCode>General</c:formatCode>
                <c:ptCount val="2"/>
                <c:pt idx="0">
                  <c:v>0.983002832861189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706.2530027298842</c:v>
                </c:pt>
              </c:numCache>
            </c:numRef>
          </c:xVal>
          <c:yVal>
            <c:numRef>
              <c:f>Sheet1!$B$26:$B$27</c:f>
              <c:numCache>
                <c:formatCode>General</c:formatCode>
                <c:ptCount val="2"/>
                <c:pt idx="0">
                  <c:v>0.9670103092783505</c:v>
                </c:pt>
                <c:pt idx="1">
                  <c:v>0.9670103092783505</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706.2530027298842</c:v>
                </c:pt>
                <c:pt idx="1">
                  <c:v>1706.2530027298842</c:v>
                </c:pt>
              </c:numCache>
            </c:numRef>
          </c:xVal>
          <c:yVal>
            <c:numRef>
              <c:f>Sheet1!$B$30:$B$31</c:f>
              <c:numCache>
                <c:formatCode>General</c:formatCode>
                <c:ptCount val="2"/>
                <c:pt idx="0">
                  <c:v>0.96701030927835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1530.6599</c:v>
                </c:pt>
                <c:pt idx="1">
                  <c:v>1436.9</c:v>
                </c:pt>
                <c:pt idx="2">
                  <c:v>1692.6204</c:v>
                </c:pt>
                <c:pt idx="3">
                  <c:v>1476.5245</c:v>
                </c:pt>
                <c:pt idx="4">
                  <c:v>2291.4717462071626</c:v>
                </c:pt>
                <c:pt idx="5">
                  <c:v>2291.4717462071626</c:v>
                </c:pt>
                <c:pt idx="6">
                  <c:v>1706.2530027298842</c:v>
                </c:pt>
              </c:numCache>
            </c:numRef>
          </c:xVal>
          <c:yVal>
            <c:numRef>
              <c:f>Sheet1!$B$34:$B$40</c:f>
              <c:numCache>
                <c:formatCode>General</c:formatCode>
                <c:ptCount val="7"/>
                <c:pt idx="0">
                  <c:v>0.9622118012543152</c:v>
                </c:pt>
                <c:pt idx="1">
                  <c:v>0.9596495842566758</c:v>
                </c:pt>
                <c:pt idx="2">
                  <c:v>0.9666377652970048</c:v>
                </c:pt>
                <c:pt idx="3">
                  <c:v>0.960732419961737</c:v>
                </c:pt>
                <c:pt idx="4">
                  <c:v>0.9830028328611898</c:v>
                </c:pt>
                <c:pt idx="5">
                  <c:v>0.9830028328611898</c:v>
                </c:pt>
                <c:pt idx="6">
                  <c:v>0.96701030927835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50.0"/>
          <c:min val="115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796033994334278"/>
          <c:min val="0.752941176470588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6</c:f>
              <c:numCache>
                <c:formatCode>General</c:formatCode>
                <c:ptCount val="55"/>
                <c:pt idx="0">
                  <c:v>0.44714753926701567</c:v>
                </c:pt>
                <c:pt idx="1">
                  <c:v>0.3597957338081529</c:v>
                </c:pt>
                <c:pt idx="2">
                  <c:v>0.3797660994764398</c:v>
                </c:pt>
                <c:pt idx="3">
                  <c:v>0.3266962602842184</c:v>
                </c:pt>
                <c:pt idx="4">
                  <c:v>0.42470822029954547</c:v>
                </c:pt>
                <c:pt idx="5">
                  <c:v>0.48493669624276936</c:v>
                </c:pt>
                <c:pt idx="6">
                  <c:v>0.37150715532286216</c:v>
                </c:pt>
                <c:pt idx="7">
                  <c:v>0.3012297307404637</c:v>
                </c:pt>
                <c:pt idx="8">
                  <c:v>0.33295565847764796</c:v>
                </c:pt>
                <c:pt idx="9">
                  <c:v>0.24763769633507854</c:v>
                </c:pt>
                <c:pt idx="10">
                  <c:v>0.3899877486910995</c:v>
                </c:pt>
                <c:pt idx="11">
                  <c:v>0.3990540437472429</c:v>
                </c:pt>
                <c:pt idx="12">
                  <c:v>0.420485150858723</c:v>
                </c:pt>
                <c:pt idx="13">
                  <c:v>0.4378588846840249</c:v>
                </c:pt>
                <c:pt idx="14">
                  <c:v>0.3783742582897033</c:v>
                </c:pt>
                <c:pt idx="15">
                  <c:v>0.4851800395441279</c:v>
                </c:pt>
                <c:pt idx="16">
                  <c:v>0.4020602340304861</c:v>
                </c:pt>
                <c:pt idx="17">
                  <c:v>0.4271347255748482</c:v>
                </c:pt>
                <c:pt idx="18">
                  <c:v>0.4382467215158315</c:v>
                </c:pt>
                <c:pt idx="19">
                  <c:v>0.45890052356020944</c:v>
                </c:pt>
                <c:pt idx="20">
                  <c:v>0.3606298429319372</c:v>
                </c:pt>
                <c:pt idx="21">
                  <c:v>0.24170251963350786</c:v>
                </c:pt>
                <c:pt idx="22">
                  <c:v>0.41048574752763234</c:v>
                </c:pt>
                <c:pt idx="23">
                  <c:v>0.2387295078534031</c:v>
                </c:pt>
                <c:pt idx="24">
                  <c:v>0.13819332460732986</c:v>
                </c:pt>
                <c:pt idx="25">
                  <c:v>0.23922612252321826</c:v>
                </c:pt>
                <c:pt idx="26">
                  <c:v>0.31240832710047367</c:v>
                </c:pt>
                <c:pt idx="27">
                  <c:v>0.2923521533804375</c:v>
                </c:pt>
                <c:pt idx="28">
                  <c:v>0.3811499017377594</c:v>
                </c:pt>
                <c:pt idx="29">
                  <c:v>0.4387387669950714</c:v>
                </c:pt>
                <c:pt idx="30">
                  <c:v>0.38077369109947645</c:v>
                </c:pt>
                <c:pt idx="31">
                  <c:v>0.3931405872979741</c:v>
                </c:pt>
                <c:pt idx="32">
                  <c:v>0.4295605678768922</c:v>
                </c:pt>
                <c:pt idx="33">
                  <c:v>0.44943980646136583</c:v>
                </c:pt>
                <c:pt idx="34">
                  <c:v>0.40338409475465314</c:v>
                </c:pt>
                <c:pt idx="35">
                  <c:v>0.40077805410122164</c:v>
                </c:pt>
                <c:pt idx="36">
                  <c:v>0.41586274695150766</c:v>
                </c:pt>
                <c:pt idx="37">
                  <c:v>0.43332846514191237</c:v>
                </c:pt>
                <c:pt idx="38">
                  <c:v>0.40349038553069966</c:v>
                </c:pt>
                <c:pt idx="39">
                  <c:v>0.334505890052356</c:v>
                </c:pt>
                <c:pt idx="40">
                  <c:v>0.36480489201570676</c:v>
                </c:pt>
                <c:pt idx="41">
                  <c:v>0.4816912281780579</c:v>
                </c:pt>
                <c:pt idx="42">
                  <c:v>0.3881761872701849</c:v>
                </c:pt>
                <c:pt idx="43">
                  <c:v>0.3239528795811518</c:v>
                </c:pt>
                <c:pt idx="44">
                  <c:v>0.3710782062520972</c:v>
                </c:pt>
                <c:pt idx="45">
                  <c:v>0.35969220248388983</c:v>
                </c:pt>
                <c:pt idx="46">
                  <c:v>0.31437054856796487</c:v>
                </c:pt>
                <c:pt idx="47">
                  <c:v>0.33063258773237897</c:v>
                </c:pt>
                <c:pt idx="48">
                  <c:v>0.3301563976068017</c:v>
                </c:pt>
                <c:pt idx="49">
                  <c:v>0.24602714458316552</c:v>
                </c:pt>
                <c:pt idx="50">
                  <c:v>0.2585997382198953</c:v>
                </c:pt>
                <c:pt idx="51">
                  <c:v>0.28839441535776617</c:v>
                </c:pt>
                <c:pt idx="52">
                  <c:v>0.3865239965095986</c:v>
                </c:pt>
                <c:pt idx="53">
                  <c:v>0.32550826477187733</c:v>
                </c:pt>
                <c:pt idx="54">
                  <c:v>0.3939195621132794</c:v>
                </c:pt>
              </c:numCache>
            </c:numRef>
          </c:xVal>
          <c:yVal>
            <c:numRef>
              <c:f>Sheet1!$B$2:$B$56</c:f>
              <c:numCache>
                <c:formatCode>General</c:formatCode>
                <c:ptCount val="55"/>
                <c:pt idx="0">
                  <c:v>0.9935691318327974</c:v>
                </c:pt>
                <c:pt idx="1">
                  <c:v>0.9864864864864865</c:v>
                </c:pt>
                <c:pt idx="2">
                  <c:v>0.9928057553956835</c:v>
                </c:pt>
                <c:pt idx="3">
                  <c:v>0.991701244813278</c:v>
                </c:pt>
                <c:pt idx="4">
                  <c:v>0.9836065573770492</c:v>
                </c:pt>
                <c:pt idx="5">
                  <c:v>0.9808917197452229</c:v>
                </c:pt>
                <c:pt idx="6">
                  <c:v>0.978021978021978</c:v>
                </c:pt>
                <c:pt idx="7">
                  <c:v>0.9906976744186047</c:v>
                </c:pt>
                <c:pt idx="8">
                  <c:v>0.982532751091703</c:v>
                </c:pt>
                <c:pt idx="9">
                  <c:v>0.9954545454545455</c:v>
                </c:pt>
                <c:pt idx="10">
                  <c:v>0.9921875</c:v>
                </c:pt>
                <c:pt idx="11">
                  <c:v>0.9859154929577465</c:v>
                </c:pt>
                <c:pt idx="12">
                  <c:v>0.9842105263157894</c:v>
                </c:pt>
                <c:pt idx="13">
                  <c:v>0.9739130434782609</c:v>
                </c:pt>
                <c:pt idx="14">
                  <c:v>0.9757281553398058</c:v>
                </c:pt>
                <c:pt idx="15">
                  <c:v>0.9831460674157303</c:v>
                </c:pt>
                <c:pt idx="16">
                  <c:v>0.9846938775510204</c:v>
                </c:pt>
                <c:pt idx="17">
                  <c:v>0.9788732394366197</c:v>
                </c:pt>
                <c:pt idx="18">
                  <c:v>0.9629629629629629</c:v>
                </c:pt>
                <c:pt idx="19">
                  <c:v>0.987012987012987</c:v>
                </c:pt>
                <c:pt idx="20">
                  <c:v>0.9821428571428571</c:v>
                </c:pt>
                <c:pt idx="21">
                  <c:v>0.9655172413793104</c:v>
                </c:pt>
                <c:pt idx="22">
                  <c:v>0.9473684210526315</c:v>
                </c:pt>
                <c:pt idx="23">
                  <c:v>0.9375</c:v>
                </c:pt>
                <c:pt idx="24">
                  <c:v>0.9817073170731707</c:v>
                </c:pt>
                <c:pt idx="25">
                  <c:v>0.9411764705882353</c:v>
                </c:pt>
                <c:pt idx="26">
                  <c:v>0.9148936170212766</c:v>
                </c:pt>
                <c:pt idx="27">
                  <c:v>0.925</c:v>
                </c:pt>
                <c:pt idx="28">
                  <c:v>0.8421052631578947</c:v>
                </c:pt>
                <c:pt idx="29">
                  <c:v>0.8235294117647058</c:v>
                </c:pt>
                <c:pt idx="30">
                  <c:v>0.8333333333333334</c:v>
                </c:pt>
                <c:pt idx="31">
                  <c:v>0.7894736842105263</c:v>
                </c:pt>
                <c:pt idx="32">
                  <c:v>0.5625</c:v>
                </c:pt>
                <c:pt idx="33">
                  <c:v>0.46153846153846156</c:v>
                </c:pt>
                <c:pt idx="34">
                  <c:v>0.6363636363636364</c:v>
                </c:pt>
                <c:pt idx="35">
                  <c:v>0.75</c:v>
                </c:pt>
                <c:pt idx="36">
                  <c:v>0.7727272727272727</c:v>
                </c:pt>
                <c:pt idx="37">
                  <c:v>0.6296296296296297</c:v>
                </c:pt>
                <c:pt idx="38">
                  <c:v>0.7142857142857143</c:v>
                </c:pt>
                <c:pt idx="39">
                  <c:v>0.6666666666666666</c:v>
                </c:pt>
                <c:pt idx="40">
                  <c:v>0.7619047619047619</c:v>
                </c:pt>
                <c:pt idx="41">
                  <c:v>0.42105263157894735</c:v>
                </c:pt>
                <c:pt idx="42">
                  <c:v>0.6296296296296297</c:v>
                </c:pt>
                <c:pt idx="43">
                  <c:v>0.7741935483870968</c:v>
                </c:pt>
                <c:pt idx="44">
                  <c:v>0.5909090909090909</c:v>
                </c:pt>
                <c:pt idx="45">
                  <c:v>0.65</c:v>
                </c:pt>
                <c:pt idx="46">
                  <c:v>0.7619047619047619</c:v>
                </c:pt>
                <c:pt idx="47">
                  <c:v>0.8571428571428571</c:v>
                </c:pt>
                <c:pt idx="48">
                  <c:v>0.9090909090909091</c:v>
                </c:pt>
                <c:pt idx="49">
                  <c:v>0.96</c:v>
                </c:pt>
                <c:pt idx="50">
                  <c:v>0.9663865546218487</c:v>
                </c:pt>
                <c:pt idx="51">
                  <c:v>0.9322033898305084</c:v>
                </c:pt>
                <c:pt idx="52">
                  <c:v>0.92</c:v>
                </c:pt>
                <c:pt idx="53">
                  <c:v>0.8461538461538461</c:v>
                </c:pt>
                <c:pt idx="54">
                  <c:v>0.8</c:v>
                </c:pt>
              </c:numCache>
            </c:numRef>
          </c:yVal>
          <c:smooth val="0"/>
          <c:extLst>
            <c:ext xmlns:c16="http://schemas.microsoft.com/office/drawing/2014/chart" uri="{C3380CC4-5D6E-409C-BE32-E72D297353CC}">
              <c16:uniqueId val="{00000000-096C-4121-9522-6AB7243CCAAE}"/>
            </c:ext>
          </c:extLst>
        </c:ser>
        <c:ser>
          <c:idx val="1"/>
          <c:order val="1"/>
          <c:tx>
            <c:strRef>
              <c:f>Sheet1!$B$5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9:$A$108</c:f>
              <c:numCache>
                <c:formatCode>General</c:formatCode>
                <c:ptCount val="50"/>
                <c:pt idx="0">
                  <c:v>0.33143394113883556</c:v>
                </c:pt>
                <c:pt idx="1">
                  <c:v>0.4658734031413613</c:v>
                </c:pt>
                <c:pt idx="2">
                  <c:v>0.38326261205928097</c:v>
                </c:pt>
                <c:pt idx="3">
                  <c:v>0.4133613535000969</c:v>
                </c:pt>
                <c:pt idx="4">
                  <c:v>0.3568264196536448</c:v>
                </c:pt>
                <c:pt idx="5">
                  <c:v>0.4312261489237929</c:v>
                </c:pt>
                <c:pt idx="6">
                  <c:v>0.3899271651481831</c:v>
                </c:pt>
                <c:pt idx="7">
                  <c:v>0.2988806609947644</c:v>
                </c:pt>
                <c:pt idx="8">
                  <c:v>0.43517196573060446</c:v>
                </c:pt>
                <c:pt idx="9">
                  <c:v>0.34386404886561955</c:v>
                </c:pt>
                <c:pt idx="10">
                  <c:v>0.3758558027923211</c:v>
                </c:pt>
                <c:pt idx="11">
                  <c:v>0.2946775573902537</c:v>
                </c:pt>
                <c:pt idx="12">
                  <c:v>0.3702996135627025</c:v>
                </c:pt>
                <c:pt idx="13">
                  <c:v>0.3807260789936587</c:v>
                </c:pt>
                <c:pt idx="14">
                  <c:v>0.4369807853403141</c:v>
                </c:pt>
                <c:pt idx="15">
                  <c:v>0.4149328477122695</c:v>
                </c:pt>
                <c:pt idx="16">
                  <c:v>0.3443652033830044</c:v>
                </c:pt>
                <c:pt idx="17">
                  <c:v>0.3826123089365157</c:v>
                </c:pt>
                <c:pt idx="18">
                  <c:v>0.6041136649214659</c:v>
                </c:pt>
                <c:pt idx="19">
                  <c:v>0.6841637931034483</c:v>
                </c:pt>
                <c:pt idx="20">
                  <c:v>0.6201570680628272</c:v>
                </c:pt>
                <c:pt idx="21">
                  <c:v>0.7108336689488522</c:v>
                </c:pt>
                <c:pt idx="22">
                  <c:v>0.14290635751682873</c:v>
                </c:pt>
                <c:pt idx="23">
                  <c:v>0.16340410122164048</c:v>
                </c:pt>
                <c:pt idx="24">
                  <c:v>0.19681560209424084</c:v>
                </c:pt>
                <c:pt idx="25">
                  <c:v>0.2476047120418848</c:v>
                </c:pt>
                <c:pt idx="26">
                  <c:v>0.0</c:v>
                </c:pt>
                <c:pt idx="27">
                  <c:v>0.35231239092495636</c:v>
                </c:pt>
                <c:pt idx="28">
                  <c:v>0.0</c:v>
                </c:pt>
                <c:pt idx="29">
                  <c:v>0.0</c:v>
                </c:pt>
                <c:pt idx="30">
                  <c:v>0.0</c:v>
                </c:pt>
                <c:pt idx="31">
                  <c:v>0.0</c:v>
                </c:pt>
                <c:pt idx="32">
                  <c:v>0.4142778333203165</c:v>
                </c:pt>
                <c:pt idx="33">
                  <c:v>0.28373212917644247</c:v>
                </c:pt>
                <c:pt idx="34">
                  <c:v>0.0</c:v>
                </c:pt>
                <c:pt idx="35">
                  <c:v>0.24279172155500867</c:v>
                </c:pt>
                <c:pt idx="36">
                  <c:v>0.24031625526215078</c:v>
                </c:pt>
                <c:pt idx="37">
                  <c:v>0.17851439947857003</c:v>
                </c:pt>
                <c:pt idx="38">
                  <c:v>0.2034741981390257</c:v>
                </c:pt>
                <c:pt idx="39">
                  <c:v>0.2272978383981584</c:v>
                </c:pt>
                <c:pt idx="40">
                  <c:v>0.21616916740550998</c:v>
                </c:pt>
                <c:pt idx="41">
                  <c:v>0.20297856221121424</c:v>
                </c:pt>
                <c:pt idx="42">
                  <c:v>0.19043819978275628</c:v>
                </c:pt>
                <c:pt idx="43">
                  <c:v>0.2011600303867432</c:v>
                </c:pt>
                <c:pt idx="44">
                  <c:v>0.1950693483125731</c:v>
                </c:pt>
                <c:pt idx="45">
                  <c:v>0.19756058417589473</c:v>
                </c:pt>
                <c:pt idx="46">
                  <c:v>0.21859898687267118</c:v>
                </c:pt>
                <c:pt idx="47">
                  <c:v>0.24783868064048412</c:v>
                </c:pt>
                <c:pt idx="48">
                  <c:v>0.22983212566359873</c:v>
                </c:pt>
                <c:pt idx="49">
                  <c:v>0.203822168534745</c:v>
                </c:pt>
              </c:numCache>
            </c:numRef>
          </c:xVal>
          <c:yVal>
            <c:numRef>
              <c:f>Sheet1!$B$59:$B$108</c:f>
              <c:numCache>
                <c:formatCode>General</c:formatCode>
                <c:ptCount val="50"/>
                <c:pt idx="0">
                  <c:v>0.8</c:v>
                </c:pt>
                <c:pt idx="1">
                  <c:v>0.8148148148148148</c:v>
                </c:pt>
                <c:pt idx="2">
                  <c:v>0.8928571428571429</c:v>
                </c:pt>
                <c:pt idx="3">
                  <c:v>0.8148148148148148</c:v>
                </c:pt>
                <c:pt idx="4">
                  <c:v>0.8717948717948718</c:v>
                </c:pt>
                <c:pt idx="5">
                  <c:v>0.8333333333333334</c:v>
                </c:pt>
                <c:pt idx="6">
                  <c:v>0.8541666666666666</c:v>
                </c:pt>
                <c:pt idx="7">
                  <c:v>0.9666666666666667</c:v>
                </c:pt>
                <c:pt idx="8">
                  <c:v>0.9</c:v>
                </c:pt>
                <c:pt idx="9">
                  <c:v>0.8979591836734694</c:v>
                </c:pt>
                <c:pt idx="10">
                  <c:v>0.8863636363636364</c:v>
                </c:pt>
                <c:pt idx="11">
                  <c:v>0.9516129032258065</c:v>
                </c:pt>
                <c:pt idx="12">
                  <c:v>0.9292929292929293</c:v>
                </c:pt>
                <c:pt idx="13">
                  <c:v>0.8297872340425532</c:v>
                </c:pt>
                <c:pt idx="14">
                  <c:v>0.8571428571428571</c:v>
                </c:pt>
                <c:pt idx="15">
                  <c:v>0.8</c:v>
                </c:pt>
                <c:pt idx="16">
                  <c:v>0.85</c:v>
                </c:pt>
                <c:pt idx="17">
                  <c:v>0.6428571428571429</c:v>
                </c:pt>
                <c:pt idx="18">
                  <c:v>0.7</c:v>
                </c:pt>
                <c:pt idx="19">
                  <c:v>0.4</c:v>
                </c:pt>
                <c:pt idx="20">
                  <c:v>0.4166666666666667</c:v>
                </c:pt>
                <c:pt idx="21">
                  <c:v>0.3333333333333333</c:v>
                </c:pt>
                <c:pt idx="22">
                  <c:v>0.95</c:v>
                </c:pt>
                <c:pt idx="23">
                  <c:v>0.9574468085106383</c:v>
                </c:pt>
                <c:pt idx="24">
                  <c:v>0.9240506329113924</c:v>
                </c:pt>
                <c:pt idx="25">
                  <c:v>0.9259259259259259</c:v>
                </c:pt>
                <c:pt idx="26">
                  <c:v>0.0</c:v>
                </c:pt>
                <c:pt idx="27">
                  <c:v>0.14285714285714285</c:v>
                </c:pt>
                <c:pt idx="28">
                  <c:v>0.0</c:v>
                </c:pt>
                <c:pt idx="29">
                  <c:v>0.0</c:v>
                </c:pt>
                <c:pt idx="30">
                  <c:v>0.0</c:v>
                </c:pt>
                <c:pt idx="31">
                  <c:v>0.0</c:v>
                </c:pt>
                <c:pt idx="32">
                  <c:v>0.09090909090909091</c:v>
                </c:pt>
                <c:pt idx="33">
                  <c:v>0.07142857142857142</c:v>
                </c:pt>
                <c:pt idx="34">
                  <c:v>0.0</c:v>
                </c:pt>
                <c:pt idx="35">
                  <c:v>0.23529411764705882</c:v>
                </c:pt>
                <c:pt idx="36">
                  <c:v>0.8076923076923077</c:v>
                </c:pt>
                <c:pt idx="37">
                  <c:v>0.78125</c:v>
                </c:pt>
                <c:pt idx="38">
                  <c:v>0.7169811320754716</c:v>
                </c:pt>
                <c:pt idx="39">
                  <c:v>0.5476190476190477</c:v>
                </c:pt>
                <c:pt idx="40">
                  <c:v>0.5454545454545454</c:v>
                </c:pt>
                <c:pt idx="41">
                  <c:v>0.41935483870967744</c:v>
                </c:pt>
                <c:pt idx="42">
                  <c:v>0.43243243243243246</c:v>
                </c:pt>
                <c:pt idx="43">
                  <c:v>0.52</c:v>
                </c:pt>
                <c:pt idx="44">
                  <c:v>0.5135135135135135</c:v>
                </c:pt>
                <c:pt idx="45">
                  <c:v>0.5925925925925926</c:v>
                </c:pt>
                <c:pt idx="46">
                  <c:v>0.4642857142857143</c:v>
                </c:pt>
                <c:pt idx="47">
                  <c:v>0.4444444444444444</c:v>
                </c:pt>
                <c:pt idx="48">
                  <c:v>0.39473684210526316</c:v>
                </c:pt>
                <c:pt idx="49">
                  <c:v>0.35294117647058826</c:v>
                </c:pt>
              </c:numCache>
            </c:numRef>
          </c:yVal>
          <c:smooth val="0"/>
          <c:extLst>
            <c:ext xmlns:c16="http://schemas.microsoft.com/office/drawing/2014/chart" uri="{C3380CC4-5D6E-409C-BE32-E72D297353CC}">
              <c16:uniqueId val="{00000002-096C-4121-9522-6AB7243CCAAE}"/>
            </c:ext>
          </c:extLst>
        </c:ser>
        <c:ser>
          <c:idx val="2"/>
          <c:order val="2"/>
          <c:tx>
            <c:strRef>
              <c:f>Sheet1!$B$110</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1:$A$112</c:f>
              <c:numCache>
                <c:formatCode>General</c:formatCode>
                <c:ptCount val="2"/>
                <c:pt idx="0">
                  <c:v>0</c:v>
                </c:pt>
                <c:pt idx="1">
                  <c:v>0.8188511187337457</c:v>
                </c:pt>
              </c:numCache>
            </c:numRef>
          </c:xVal>
          <c:yVal>
            <c:numRef>
              <c:f>Sheet1!$B$111:$B$112</c:f>
              <c:numCache>
                <c:formatCode>General</c:formatCode>
                <c:ptCount val="2"/>
                <c:pt idx="0">
                  <c:v>0.9879959404215771</c:v>
                </c:pt>
                <c:pt idx="1">
                  <c:v>0.9879959404215771</c:v>
                </c:pt>
              </c:numCache>
            </c:numRef>
          </c:yVal>
          <c:smooth val="0"/>
          <c:extLst>
            <c:ext xmlns:c16="http://schemas.microsoft.com/office/drawing/2014/chart" uri="{C3380CC4-5D6E-409C-BE32-E72D297353CC}">
              <c16:uniqueId val="{00000005-096C-4121-9522-6AB7243CCAAE}"/>
            </c:ext>
          </c:extLst>
        </c:ser>
        <c:ser>
          <c:idx val="3"/>
          <c:order val="3"/>
          <c:tx>
            <c:strRef>
              <c:f>Sheet1!$B$114</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5:$A$116</c:f>
              <c:numCache>
                <c:formatCode>General</c:formatCode>
                <c:ptCount val="2"/>
                <c:pt idx="0">
                  <c:v>0.8188511187337457</c:v>
                </c:pt>
                <c:pt idx="1">
                  <c:v>0.8188511187337457</c:v>
                </c:pt>
              </c:numCache>
            </c:numRef>
          </c:xVal>
          <c:yVal>
            <c:numRef>
              <c:f>Sheet1!$B$115:$B$116</c:f>
              <c:numCache>
                <c:formatCode>General</c:formatCode>
                <c:ptCount val="2"/>
                <c:pt idx="0">
                  <c:v>0.987995940421577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8</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9:$A$120</c:f>
              <c:numCache>
                <c:formatCode>General</c:formatCode>
                <c:ptCount val="2"/>
                <c:pt idx="0">
                  <c:v>0</c:v>
                </c:pt>
                <c:pt idx="1">
                  <c:v>0.6533426670591793</c:v>
                </c:pt>
              </c:numCache>
            </c:numRef>
          </c:xVal>
          <c:yVal>
            <c:numRef>
              <c:f>Sheet1!$B$119:$B$120</c:f>
              <c:numCache>
                <c:formatCode>General</c:formatCode>
                <c:ptCount val="2"/>
                <c:pt idx="0">
                  <c:v>0.8609387012164791</c:v>
                </c:pt>
                <c:pt idx="1">
                  <c:v>0.8609387012164791</c:v>
                </c:pt>
              </c:numCache>
            </c:numRef>
          </c:yVal>
          <c:smooth val="0"/>
          <c:extLst>
            <c:ext xmlns:c16="http://schemas.microsoft.com/office/drawing/2014/chart" uri="{C3380CC4-5D6E-409C-BE32-E72D297353CC}">
              <c16:uniqueId val="{0000000D-096C-4121-9522-6AB7243CCAAE}"/>
            </c:ext>
          </c:extLst>
        </c:ser>
        <c:ser>
          <c:idx val="5"/>
          <c:order val="5"/>
          <c:tx>
            <c:strRef>
              <c:f>Sheet1!$B$122</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3:$A$124</c:f>
              <c:numCache>
                <c:formatCode>General</c:formatCode>
                <c:ptCount val="2"/>
                <c:pt idx="0">
                  <c:v>0.6533426670591793</c:v>
                </c:pt>
                <c:pt idx="1">
                  <c:v>0.6533426670591793</c:v>
                </c:pt>
              </c:numCache>
            </c:numRef>
          </c:xVal>
          <c:yVal>
            <c:numRef>
              <c:f>Sheet1!$B$123:$B$124</c:f>
              <c:numCache>
                <c:formatCode>General</c:formatCode>
                <c:ptCount val="2"/>
                <c:pt idx="0">
                  <c:v>0.860938701216479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6</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7:$A$128</c:f>
              <c:numCache>
                <c:formatCode>General</c:formatCode>
                <c:ptCount val="2"/>
                <c:pt idx="0">
                  <c:v>0</c:v>
                </c:pt>
                <c:pt idx="1">
                  <c:v>0.20577968059355772</c:v>
                </c:pt>
              </c:numCache>
            </c:numRef>
          </c:xVal>
          <c:yVal>
            <c:numRef>
              <c:f>Sheet1!$B$127:$B$128</c:f>
              <c:numCache>
                <c:formatCode>General</c:formatCode>
                <c:ptCount val="2"/>
                <c:pt idx="0">
                  <c:v>0.5173543292079454</c:v>
                </c:pt>
                <c:pt idx="1">
                  <c:v>0.5173543292079454</c:v>
                </c:pt>
              </c:numCache>
            </c:numRef>
          </c:yVal>
          <c:smooth val="0"/>
          <c:extLst>
            <c:ext xmlns:c16="http://schemas.microsoft.com/office/drawing/2014/chart" uri="{C3380CC4-5D6E-409C-BE32-E72D297353CC}">
              <c16:uniqueId val="{00000015-096C-4121-9522-6AB7243CCAAE}"/>
            </c:ext>
          </c:extLst>
        </c:ser>
        <c:ser>
          <c:idx val="7"/>
          <c:order val="7"/>
          <c:tx>
            <c:strRef>
              <c:f>Sheet1!$B$130</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1:$A$132</c:f>
              <c:numCache>
                <c:formatCode>General</c:formatCode>
                <c:ptCount val="2"/>
                <c:pt idx="0">
                  <c:v>0.20577968059355772</c:v>
                </c:pt>
                <c:pt idx="1">
                  <c:v>0.20577968059355772</c:v>
                </c:pt>
              </c:numCache>
            </c:numRef>
          </c:xVal>
          <c:yVal>
            <c:numRef>
              <c:f>Sheet1!$B$131:$B$132</c:f>
              <c:numCache>
                <c:formatCode>General</c:formatCode>
                <c:ptCount val="2"/>
                <c:pt idx="0">
                  <c:v>0.51735432920794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4</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5:$A$187</c:f>
              <c:numCache>
                <c:formatCode>General</c:formatCode>
                <c:ptCount val="53"/>
                <c:pt idx="0">
                  <c:v>0.33143394113883556</c:v>
                </c:pt>
                <c:pt idx="1">
                  <c:v>0.4658734031413613</c:v>
                </c:pt>
                <c:pt idx="2">
                  <c:v>0.38326261205928097</c:v>
                </c:pt>
                <c:pt idx="3">
                  <c:v>0.4133613535000969</c:v>
                </c:pt>
                <c:pt idx="4">
                  <c:v>0.3568264196536448</c:v>
                </c:pt>
                <c:pt idx="5">
                  <c:v>0.4312261489237929</c:v>
                </c:pt>
                <c:pt idx="6">
                  <c:v>0.3899271651481831</c:v>
                </c:pt>
                <c:pt idx="7">
                  <c:v>0.2988806609947644</c:v>
                </c:pt>
                <c:pt idx="8">
                  <c:v>0.43517196573060446</c:v>
                </c:pt>
                <c:pt idx="9">
                  <c:v>0.34386404886561955</c:v>
                </c:pt>
                <c:pt idx="10">
                  <c:v>0.3758558027923211</c:v>
                </c:pt>
                <c:pt idx="11">
                  <c:v>0.2946775573902537</c:v>
                </c:pt>
                <c:pt idx="12">
                  <c:v>0.3702996135627025</c:v>
                </c:pt>
                <c:pt idx="13">
                  <c:v>0.3807260789936587</c:v>
                </c:pt>
                <c:pt idx="14">
                  <c:v>0.4369807853403141</c:v>
                </c:pt>
                <c:pt idx="15">
                  <c:v>0.4149328477122695</c:v>
                </c:pt>
                <c:pt idx="16">
                  <c:v>0.3443652033830044</c:v>
                </c:pt>
                <c:pt idx="17">
                  <c:v>0.3826123089365157</c:v>
                </c:pt>
                <c:pt idx="18">
                  <c:v>0.6041136649214659</c:v>
                </c:pt>
                <c:pt idx="19">
                  <c:v>0.6841637931034483</c:v>
                </c:pt>
                <c:pt idx="20">
                  <c:v>0.6201570680628272</c:v>
                </c:pt>
                <c:pt idx="21">
                  <c:v>0.7108336689488522</c:v>
                </c:pt>
                <c:pt idx="22">
                  <c:v>0.14290635751682873</c:v>
                </c:pt>
                <c:pt idx="23">
                  <c:v>0.16340410122164048</c:v>
                </c:pt>
                <c:pt idx="24">
                  <c:v>0.19681560209424084</c:v>
                </c:pt>
                <c:pt idx="25">
                  <c:v>0.2476047120418848</c:v>
                </c:pt>
                <c:pt idx="26">
                  <c:v>0.0</c:v>
                </c:pt>
                <c:pt idx="27">
                  <c:v>0.35231239092495636</c:v>
                </c:pt>
                <c:pt idx="28">
                  <c:v>0.0</c:v>
                </c:pt>
                <c:pt idx="29">
                  <c:v>0.0</c:v>
                </c:pt>
                <c:pt idx="30">
                  <c:v>0.0</c:v>
                </c:pt>
                <c:pt idx="31">
                  <c:v>0.0</c:v>
                </c:pt>
                <c:pt idx="32">
                  <c:v>0.4142778333203165</c:v>
                </c:pt>
                <c:pt idx="33">
                  <c:v>0.28373212917644247</c:v>
                </c:pt>
                <c:pt idx="34">
                  <c:v>0.0</c:v>
                </c:pt>
                <c:pt idx="35">
                  <c:v>0.24279172155500867</c:v>
                </c:pt>
                <c:pt idx="36">
                  <c:v>0.24031625526215078</c:v>
                </c:pt>
                <c:pt idx="37">
                  <c:v>0.17851439947857003</c:v>
                </c:pt>
                <c:pt idx="38">
                  <c:v>0.2034741981390257</c:v>
                </c:pt>
                <c:pt idx="39">
                  <c:v>0.2272978383981584</c:v>
                </c:pt>
                <c:pt idx="40">
                  <c:v>0.21616916740550998</c:v>
                </c:pt>
                <c:pt idx="41">
                  <c:v>0.20297856221121424</c:v>
                </c:pt>
                <c:pt idx="42">
                  <c:v>0.19043819978275628</c:v>
                </c:pt>
                <c:pt idx="43">
                  <c:v>0.2011600303867432</c:v>
                </c:pt>
                <c:pt idx="44">
                  <c:v>0.1950693483125731</c:v>
                </c:pt>
                <c:pt idx="45">
                  <c:v>0.19756058417589473</c:v>
                </c:pt>
                <c:pt idx="46">
                  <c:v>0.21859898687267118</c:v>
                </c:pt>
                <c:pt idx="47">
                  <c:v>0.24783868064048412</c:v>
                </c:pt>
                <c:pt idx="48">
                  <c:v>0.22983212566359873</c:v>
                </c:pt>
                <c:pt idx="49">
                  <c:v>0.203822168534745</c:v>
                </c:pt>
                <c:pt idx="50">
                  <c:v>0.6533426670591793</c:v>
                </c:pt>
                <c:pt idx="51">
                  <c:v>0.8188511187337457</c:v>
                </c:pt>
                <c:pt idx="52">
                  <c:v>0.20577968059355772</c:v>
                </c:pt>
              </c:numCache>
            </c:numRef>
          </c:xVal>
          <c:yVal>
            <c:numRef>
              <c:f>Sheet1!$B$135:$B$187</c:f>
              <c:numCache>
                <c:formatCode>General</c:formatCode>
                <c:ptCount val="53"/>
                <c:pt idx="0">
                  <c:v>0.6138163725520104</c:v>
                </c:pt>
                <c:pt idx="1">
                  <c:v>0.7170226240118839</c:v>
                </c:pt>
                <c:pt idx="2">
                  <c:v>0.6536041161517729</c:v>
                </c:pt>
                <c:pt idx="3">
                  <c:v>0.6767102654288968</c:v>
                </c:pt>
                <c:pt idx="4">
                  <c:v>0.6333096261231947</c:v>
                </c:pt>
                <c:pt idx="5">
                  <c:v>0.6904246803879698</c:v>
                </c:pt>
                <c:pt idx="6">
                  <c:v>0.658720348630805</c:v>
                </c:pt>
                <c:pt idx="7">
                  <c:v>0.5888259272887766</c:v>
                </c:pt>
                <c:pt idx="8">
                  <c:v>0.6934537981448583</c:v>
                </c:pt>
                <c:pt idx="9">
                  <c:v>0.6233586959488393</c:v>
                </c:pt>
                <c:pt idx="10">
                  <c:v>0.647918069745943</c:v>
                </c:pt>
                <c:pt idx="11">
                  <c:v>0.5855992960522511</c:v>
                </c:pt>
                <c:pt idx="12">
                  <c:v>0.6436527040992114</c:v>
                </c:pt>
                <c:pt idx="13">
                  <c:v>0.6516568748767225</c:v>
                </c:pt>
                <c:pt idx="14">
                  <c:v>0.6948423896246556</c:v>
                </c:pt>
                <c:pt idx="15">
                  <c:v>0.677916667361881</c:v>
                </c:pt>
                <c:pt idx="16">
                  <c:v>0.6237434213737334</c:v>
                </c:pt>
                <c:pt idx="17">
                  <c:v>0.6531048925859126</c:v>
                </c:pt>
                <c:pt idx="18">
                  <c:v>0.8231466668088432</c:v>
                </c:pt>
                <c:pt idx="19">
                  <c:v>0.8845994094447038</c:v>
                </c:pt>
                <c:pt idx="20">
                  <c:v>0.8354628385207499</c:v>
                </c:pt>
                <c:pt idx="21">
                  <c:v>0.9050732931683136</c:v>
                </c:pt>
                <c:pt idx="22">
                  <c:v>0.4690878463247214</c:v>
                </c:pt>
                <c:pt idx="23">
                  <c:v>0.48482351842313465</c:v>
                </c:pt>
                <c:pt idx="24">
                  <c:v>0.5104728010767993</c:v>
                </c:pt>
                <c:pt idx="25">
                  <c:v>0.5494624963240268</c:v>
                </c:pt>
                <c:pt idx="26">
                  <c:v>0.3593817432995596</c:v>
                </c:pt>
                <c:pt idx="27">
                  <c:v>0.6298443044302133</c:v>
                </c:pt>
                <c:pt idx="28">
                  <c:v>0.3593817432995596</c:v>
                </c:pt>
                <c:pt idx="29">
                  <c:v>0.3593817432995596</c:v>
                </c:pt>
                <c:pt idx="30">
                  <c:v>0.3593817432995596</c:v>
                </c:pt>
                <c:pt idx="31">
                  <c:v>0.3593817432995596</c:v>
                </c:pt>
                <c:pt idx="32">
                  <c:v>0.6774138270571165</c:v>
                </c:pt>
                <c:pt idx="33">
                  <c:v>0.5771967288317026</c:v>
                </c:pt>
                <c:pt idx="34">
                  <c:v>0.3593817432995596</c:v>
                </c:pt>
                <c:pt idx="35">
                  <c:v>0.5457676681905046</c:v>
                </c:pt>
                <c:pt idx="36">
                  <c:v>0.5438673065489478</c:v>
                </c:pt>
                <c:pt idx="37">
                  <c:v>0.49642336580655444</c:v>
                </c:pt>
                <c:pt idx="38">
                  <c:v>0.5155844604626042</c:v>
                </c:pt>
                <c:pt idx="39">
                  <c:v>0.5338733510208499</c:v>
                </c:pt>
                <c:pt idx="40">
                  <c:v>0.5253301123037841</c:v>
                </c:pt>
                <c:pt idx="41">
                  <c:v>0.5152039715389183</c:v>
                </c:pt>
                <c:pt idx="42">
                  <c:v>0.5055770080052122</c:v>
                </c:pt>
                <c:pt idx="43">
                  <c:v>0.5138079242030504</c:v>
                </c:pt>
                <c:pt idx="44">
                  <c:v>0.5091322400226337</c:v>
                </c:pt>
                <c:pt idx="45">
                  <c:v>0.5110447076205105</c:v>
                </c:pt>
                <c:pt idx="46">
                  <c:v>0.527195431869889</c:v>
                </c:pt>
                <c:pt idx="47">
                  <c:v>0.5496421089292922</c:v>
                </c:pt>
                <c:pt idx="48">
                  <c:v>0.5358188682439378</c:v>
                </c:pt>
                <c:pt idx="49">
                  <c:v>0.5158515897684365</c:v>
                </c:pt>
                <c:pt idx="50">
                  <c:v>0.8609387012164791</c:v>
                </c:pt>
                <c:pt idx="51">
                  <c:v>0.9879959404215772</c:v>
                </c:pt>
                <c:pt idx="52">
                  <c:v>0.51735432920794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Australian Gol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4545454545454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6</c:f>
              <c:numCache>
                <c:formatCode>General</c:formatCode>
                <c:ptCount val="55"/>
                <c:pt idx="0">
                  <c:v>854.0518</c:v>
                </c:pt>
                <c:pt idx="1">
                  <c:v>870.4658</c:v>
                </c:pt>
                <c:pt idx="2">
                  <c:v>870.4239</c:v>
                </c:pt>
                <c:pt idx="3">
                  <c:v>873.5858</c:v>
                </c:pt>
                <c:pt idx="4">
                  <c:v>865.2722</c:v>
                </c:pt>
                <c:pt idx="5">
                  <c:v>864.4805</c:v>
                </c:pt>
                <c:pt idx="6">
                  <c:v>851.4944</c:v>
                </c:pt>
                <c:pt idx="7">
                  <c:v>805.4883</c:v>
                </c:pt>
                <c:pt idx="8">
                  <c:v>826.7289</c:v>
                </c:pt>
                <c:pt idx="9">
                  <c:v>756.7808</c:v>
                </c:pt>
                <c:pt idx="10">
                  <c:v>744.8766</c:v>
                </c:pt>
                <c:pt idx="11">
                  <c:v>863.819</c:v>
                </c:pt>
                <c:pt idx="12">
                  <c:v>856.6684</c:v>
                </c:pt>
                <c:pt idx="13">
                  <c:v>864.1875</c:v>
                </c:pt>
                <c:pt idx="14">
                  <c:v>867.2338</c:v>
                </c:pt>
                <c:pt idx="15">
                  <c:v>864.9143</c:v>
                </c:pt>
                <c:pt idx="16">
                  <c:v>870.3264</c:v>
                </c:pt>
                <c:pt idx="17">
                  <c:v>870.2158</c:v>
                </c:pt>
                <c:pt idx="18">
                  <c:v>878.9038</c:v>
                </c:pt>
                <c:pt idx="19">
                  <c:v>876.5</c:v>
                </c:pt>
                <c:pt idx="20">
                  <c:v>826.5636</c:v>
                </c:pt>
                <c:pt idx="21">
                  <c:v>738.6429</c:v>
                </c:pt>
                <c:pt idx="22">
                  <c:v>705.625</c:v>
                </c:pt>
                <c:pt idx="23">
                  <c:v>569.9667</c:v>
                </c:pt>
                <c:pt idx="24">
                  <c:v>316.7391</c:v>
                </c:pt>
                <c:pt idx="25">
                  <c:v>609.2292</c:v>
                </c:pt>
                <c:pt idx="26">
                  <c:v>626.5349</c:v>
                </c:pt>
                <c:pt idx="27">
                  <c:v>707.2973</c:v>
                </c:pt>
                <c:pt idx="28">
                  <c:v>825.0625</c:v>
                </c:pt>
                <c:pt idx="29">
                  <c:v>893.8571</c:v>
                </c:pt>
                <c:pt idx="30">
                  <c:v>872.7333</c:v>
                </c:pt>
                <c:pt idx="31">
                  <c:v>863.5333</c:v>
                </c:pt>
                <c:pt idx="32">
                  <c:v>961.1111</c:v>
                </c:pt>
                <c:pt idx="33">
                  <c:v>894.0</c:v>
                </c:pt>
                <c:pt idx="34">
                  <c:v>894.0</c:v>
                </c:pt>
                <c:pt idx="35">
                  <c:v>918.5833</c:v>
                </c:pt>
                <c:pt idx="36">
                  <c:v>879.8824</c:v>
                </c:pt>
                <c:pt idx="37">
                  <c:v>943.5294</c:v>
                </c:pt>
                <c:pt idx="38">
                  <c:v>847.7333</c:v>
                </c:pt>
                <c:pt idx="39">
                  <c:v>817.8</c:v>
                </c:pt>
                <c:pt idx="40">
                  <c:v>891.875</c:v>
                </c:pt>
                <c:pt idx="41">
                  <c:v>1037.125</c:v>
                </c:pt>
                <c:pt idx="42">
                  <c:v>749.5294</c:v>
                </c:pt>
                <c:pt idx="43">
                  <c:v>742.5</c:v>
                </c:pt>
                <c:pt idx="44">
                  <c:v>891.0</c:v>
                </c:pt>
                <c:pt idx="45">
                  <c:v>937.9231</c:v>
                </c:pt>
                <c:pt idx="46">
                  <c:v>829.8125</c:v>
                </c:pt>
                <c:pt idx="47">
                  <c:v>831.4583</c:v>
                </c:pt>
                <c:pt idx="48">
                  <c:v>786.35</c:v>
                </c:pt>
                <c:pt idx="49">
                  <c:v>610.8854</c:v>
                </c:pt>
                <c:pt idx="50">
                  <c:v>691.4957</c:v>
                </c:pt>
                <c:pt idx="51">
                  <c:v>661.0</c:v>
                </c:pt>
                <c:pt idx="52">
                  <c:v>885.913</c:v>
                </c:pt>
                <c:pt idx="53">
                  <c:v>870.4091</c:v>
                </c:pt>
                <c:pt idx="54">
                  <c:v>827.625</c:v>
                </c:pt>
              </c:numCache>
            </c:numRef>
          </c:xVal>
          <c:yVal>
            <c:numRef>
              <c:f>Sheet1!$B$2:$B$56</c:f>
              <c:numCache>
                <c:formatCode>General</c:formatCode>
                <c:ptCount val="55"/>
                <c:pt idx="0">
                  <c:v>0.9935691318327974</c:v>
                </c:pt>
                <c:pt idx="1">
                  <c:v>0.9864864864864865</c:v>
                </c:pt>
                <c:pt idx="2">
                  <c:v>0.9928057553956835</c:v>
                </c:pt>
                <c:pt idx="3">
                  <c:v>0.991701244813278</c:v>
                </c:pt>
                <c:pt idx="4">
                  <c:v>0.9836065573770492</c:v>
                </c:pt>
                <c:pt idx="5">
                  <c:v>0.9808917197452229</c:v>
                </c:pt>
                <c:pt idx="6">
                  <c:v>0.978021978021978</c:v>
                </c:pt>
                <c:pt idx="7">
                  <c:v>0.9906976744186047</c:v>
                </c:pt>
                <c:pt idx="8">
                  <c:v>0.982532751091703</c:v>
                </c:pt>
                <c:pt idx="9">
                  <c:v>0.9954545454545455</c:v>
                </c:pt>
                <c:pt idx="10">
                  <c:v>0.9921875</c:v>
                </c:pt>
                <c:pt idx="11">
                  <c:v>0.9859154929577465</c:v>
                </c:pt>
                <c:pt idx="12">
                  <c:v>0.9842105263157894</c:v>
                </c:pt>
                <c:pt idx="13">
                  <c:v>0.9739130434782609</c:v>
                </c:pt>
                <c:pt idx="14">
                  <c:v>0.9757281553398058</c:v>
                </c:pt>
                <c:pt idx="15">
                  <c:v>0.9831460674157303</c:v>
                </c:pt>
                <c:pt idx="16">
                  <c:v>0.9846938775510204</c:v>
                </c:pt>
                <c:pt idx="17">
                  <c:v>0.9788732394366197</c:v>
                </c:pt>
                <c:pt idx="18">
                  <c:v>0.9629629629629629</c:v>
                </c:pt>
                <c:pt idx="19">
                  <c:v>0.987012987012987</c:v>
                </c:pt>
                <c:pt idx="20">
                  <c:v>0.9821428571428571</c:v>
                </c:pt>
                <c:pt idx="21">
                  <c:v>0.9655172413793104</c:v>
                </c:pt>
                <c:pt idx="22">
                  <c:v>0.9473684210526315</c:v>
                </c:pt>
                <c:pt idx="23">
                  <c:v>0.9375</c:v>
                </c:pt>
                <c:pt idx="24">
                  <c:v>0.9817073170731707</c:v>
                </c:pt>
                <c:pt idx="25">
                  <c:v>0.9411764705882353</c:v>
                </c:pt>
                <c:pt idx="26">
                  <c:v>0.9148936170212766</c:v>
                </c:pt>
                <c:pt idx="27">
                  <c:v>0.925</c:v>
                </c:pt>
                <c:pt idx="28">
                  <c:v>0.8421052631578947</c:v>
                </c:pt>
                <c:pt idx="29">
                  <c:v>0.8235294117647058</c:v>
                </c:pt>
                <c:pt idx="30">
                  <c:v>0.8333333333333334</c:v>
                </c:pt>
                <c:pt idx="31">
                  <c:v>0.7894736842105263</c:v>
                </c:pt>
                <c:pt idx="32">
                  <c:v>0.5625</c:v>
                </c:pt>
                <c:pt idx="33">
                  <c:v>0.46153846153846156</c:v>
                </c:pt>
                <c:pt idx="34">
                  <c:v>0.6363636363636364</c:v>
                </c:pt>
                <c:pt idx="35">
                  <c:v>0.75</c:v>
                </c:pt>
                <c:pt idx="36">
                  <c:v>0.7727272727272727</c:v>
                </c:pt>
                <c:pt idx="37">
                  <c:v>0.6296296296296297</c:v>
                </c:pt>
                <c:pt idx="38">
                  <c:v>0.7142857142857143</c:v>
                </c:pt>
                <c:pt idx="39">
                  <c:v>0.6666666666666666</c:v>
                </c:pt>
                <c:pt idx="40">
                  <c:v>0.7619047619047619</c:v>
                </c:pt>
                <c:pt idx="41">
                  <c:v>0.42105263157894735</c:v>
                </c:pt>
                <c:pt idx="42">
                  <c:v>0.6296296296296297</c:v>
                </c:pt>
                <c:pt idx="43">
                  <c:v>0.7741935483870968</c:v>
                </c:pt>
                <c:pt idx="44">
                  <c:v>0.5909090909090909</c:v>
                </c:pt>
                <c:pt idx="45">
                  <c:v>0.65</c:v>
                </c:pt>
                <c:pt idx="46">
                  <c:v>0.7619047619047619</c:v>
                </c:pt>
                <c:pt idx="47">
                  <c:v>0.8571428571428571</c:v>
                </c:pt>
                <c:pt idx="48">
                  <c:v>0.9090909090909091</c:v>
                </c:pt>
                <c:pt idx="49">
                  <c:v>0.96</c:v>
                </c:pt>
                <c:pt idx="50">
                  <c:v>0.9663865546218487</c:v>
                </c:pt>
                <c:pt idx="51">
                  <c:v>0.9322033898305084</c:v>
                </c:pt>
                <c:pt idx="52">
                  <c:v>0.92</c:v>
                </c:pt>
                <c:pt idx="53">
                  <c:v>0.8461538461538461</c:v>
                </c:pt>
                <c:pt idx="54">
                  <c:v>0.8</c:v>
                </c:pt>
              </c:numCache>
            </c:numRef>
          </c:yVal>
          <c:smooth val="0"/>
          <c:extLst>
            <c:ext xmlns:c16="http://schemas.microsoft.com/office/drawing/2014/chart" uri="{C3380CC4-5D6E-409C-BE32-E72D297353CC}">
              <c16:uniqueId val="{00000000-F32D-48B7-BC20-E66FC6253BAD}"/>
            </c:ext>
          </c:extLst>
        </c:ser>
        <c:ser>
          <c:idx val="1"/>
          <c:order val="1"/>
          <c:tx>
            <c:strRef>
              <c:f>Sheet1!$B$5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9:$A$108</c:f>
              <c:numCache>
                <c:formatCode>General</c:formatCode>
                <c:ptCount val="50"/>
                <c:pt idx="0">
                  <c:v>828.85</c:v>
                </c:pt>
                <c:pt idx="1">
                  <c:v>889.8182</c:v>
                </c:pt>
                <c:pt idx="2">
                  <c:v>927.24</c:v>
                </c:pt>
                <c:pt idx="3">
                  <c:v>852.6818</c:v>
                </c:pt>
                <c:pt idx="4">
                  <c:v>886.0</c:v>
                </c:pt>
                <c:pt idx="5">
                  <c:v>889.5333</c:v>
                </c:pt>
                <c:pt idx="6">
                  <c:v>744.6829</c:v>
                </c:pt>
                <c:pt idx="7">
                  <c:v>913.3793</c:v>
                </c:pt>
                <c:pt idx="8">
                  <c:v>914.2963</c:v>
                </c:pt>
                <c:pt idx="9">
                  <c:v>788.1364</c:v>
                </c:pt>
                <c:pt idx="10">
                  <c:v>861.4615</c:v>
                </c:pt>
                <c:pt idx="11">
                  <c:v>585.3475</c:v>
                </c:pt>
                <c:pt idx="12">
                  <c:v>594.1087</c:v>
                </c:pt>
                <c:pt idx="13">
                  <c:v>848.3846</c:v>
                </c:pt>
                <c:pt idx="14">
                  <c:v>834.6333</c:v>
                </c:pt>
                <c:pt idx="15">
                  <c:v>911.4</c:v>
                </c:pt>
                <c:pt idx="16">
                  <c:v>855.0588</c:v>
                </c:pt>
                <c:pt idx="17">
                  <c:v>925.6667</c:v>
                </c:pt>
                <c:pt idx="18">
                  <c:v>1153.8571</c:v>
                </c:pt>
                <c:pt idx="19">
                  <c:v>1515.8333</c:v>
                </c:pt>
                <c:pt idx="20">
                  <c:v>1421.4</c:v>
                </c:pt>
                <c:pt idx="21">
                  <c:v>1765.0</c:v>
                </c:pt>
                <c:pt idx="22">
                  <c:v>382.1316</c:v>
                </c:pt>
                <c:pt idx="23">
                  <c:v>374.5222</c:v>
                </c:pt>
                <c:pt idx="24">
                  <c:v>375.9178</c:v>
                </c:pt>
                <c:pt idx="25">
                  <c:v>378.34</c:v>
                </c:pt>
                <c:pt idx="26">
                  <c:v>0.0</c:v>
                </c:pt>
                <c:pt idx="27">
                  <c:v>1615.0</c:v>
                </c:pt>
                <c:pt idx="28">
                  <c:v>0.0</c:v>
                </c:pt>
                <c:pt idx="29">
                  <c:v>0.0</c:v>
                </c:pt>
                <c:pt idx="30">
                  <c:v>0.0</c:v>
                </c:pt>
                <c:pt idx="31">
                  <c:v>0.0</c:v>
                </c:pt>
                <c:pt idx="32">
                  <c:v>1002.0</c:v>
                </c:pt>
                <c:pt idx="33">
                  <c:v>668.0</c:v>
                </c:pt>
                <c:pt idx="34">
                  <c:v>0.0</c:v>
                </c:pt>
                <c:pt idx="35">
                  <c:v>511.25</c:v>
                </c:pt>
                <c:pt idx="36">
                  <c:v>502.3571</c:v>
                </c:pt>
                <c:pt idx="37">
                  <c:v>427.78</c:v>
                </c:pt>
                <c:pt idx="38">
                  <c:v>464.6842</c:v>
                </c:pt>
                <c:pt idx="39">
                  <c:v>516.5217</c:v>
                </c:pt>
                <c:pt idx="40">
                  <c:v>482.7778</c:v>
                </c:pt>
                <c:pt idx="41">
                  <c:v>487.6154</c:v>
                </c:pt>
                <c:pt idx="42">
                  <c:v>440.8125</c:v>
                </c:pt>
                <c:pt idx="43">
                  <c:v>441.0769</c:v>
                </c:pt>
                <c:pt idx="44">
                  <c:v>426.3684</c:v>
                </c:pt>
                <c:pt idx="45">
                  <c:v>461.625</c:v>
                </c:pt>
                <c:pt idx="46">
                  <c:v>506.1538</c:v>
                </c:pt>
                <c:pt idx="47">
                  <c:v>512.8333</c:v>
                </c:pt>
                <c:pt idx="48">
                  <c:v>484.6667</c:v>
                </c:pt>
                <c:pt idx="49">
                  <c:v>419.5</c:v>
                </c:pt>
              </c:numCache>
            </c:numRef>
          </c:xVal>
          <c:yVal>
            <c:numRef>
              <c:f>Sheet1!$B$59:$B$108</c:f>
              <c:numCache>
                <c:formatCode>General</c:formatCode>
                <c:ptCount val="50"/>
                <c:pt idx="0">
                  <c:v>0.8</c:v>
                </c:pt>
                <c:pt idx="1">
                  <c:v>0.8148148148148148</c:v>
                </c:pt>
                <c:pt idx="2">
                  <c:v>0.8928571428571429</c:v>
                </c:pt>
                <c:pt idx="3">
                  <c:v>0.8148148148148148</c:v>
                </c:pt>
                <c:pt idx="4">
                  <c:v>0.8717948717948718</c:v>
                </c:pt>
                <c:pt idx="5">
                  <c:v>0.8333333333333334</c:v>
                </c:pt>
                <c:pt idx="6">
                  <c:v>0.8541666666666666</c:v>
                </c:pt>
                <c:pt idx="7">
                  <c:v>0.9666666666666667</c:v>
                </c:pt>
                <c:pt idx="8">
                  <c:v>0.9</c:v>
                </c:pt>
                <c:pt idx="9">
                  <c:v>0.8979591836734694</c:v>
                </c:pt>
                <c:pt idx="10">
                  <c:v>0.8863636363636364</c:v>
                </c:pt>
                <c:pt idx="11">
                  <c:v>0.9516129032258065</c:v>
                </c:pt>
                <c:pt idx="12">
                  <c:v>0.9292929292929293</c:v>
                </c:pt>
                <c:pt idx="13">
                  <c:v>0.8297872340425532</c:v>
                </c:pt>
                <c:pt idx="14">
                  <c:v>0.8571428571428571</c:v>
                </c:pt>
                <c:pt idx="15">
                  <c:v>0.8</c:v>
                </c:pt>
                <c:pt idx="16">
                  <c:v>0.85</c:v>
                </c:pt>
                <c:pt idx="17">
                  <c:v>0.6428571428571429</c:v>
                </c:pt>
                <c:pt idx="18">
                  <c:v>0.7</c:v>
                </c:pt>
                <c:pt idx="19">
                  <c:v>0.4</c:v>
                </c:pt>
                <c:pt idx="20">
                  <c:v>0.4166666666666667</c:v>
                </c:pt>
                <c:pt idx="21">
                  <c:v>0.3333333333333333</c:v>
                </c:pt>
                <c:pt idx="22">
                  <c:v>0.95</c:v>
                </c:pt>
                <c:pt idx="23">
                  <c:v>0.9574468085106383</c:v>
                </c:pt>
                <c:pt idx="24">
                  <c:v>0.9240506329113924</c:v>
                </c:pt>
                <c:pt idx="25">
                  <c:v>0.9259259259259259</c:v>
                </c:pt>
                <c:pt idx="26">
                  <c:v>0.0</c:v>
                </c:pt>
                <c:pt idx="27">
                  <c:v>0.14285714285714285</c:v>
                </c:pt>
                <c:pt idx="28">
                  <c:v>0.0</c:v>
                </c:pt>
                <c:pt idx="29">
                  <c:v>0.0</c:v>
                </c:pt>
                <c:pt idx="30">
                  <c:v>0.0</c:v>
                </c:pt>
                <c:pt idx="31">
                  <c:v>0.0</c:v>
                </c:pt>
                <c:pt idx="32">
                  <c:v>0.09090909090909091</c:v>
                </c:pt>
                <c:pt idx="33">
                  <c:v>0.07142857142857142</c:v>
                </c:pt>
                <c:pt idx="34">
                  <c:v>0.0</c:v>
                </c:pt>
                <c:pt idx="35">
                  <c:v>0.23529411764705882</c:v>
                </c:pt>
                <c:pt idx="36">
                  <c:v>0.8076923076923077</c:v>
                </c:pt>
                <c:pt idx="37">
                  <c:v>0.78125</c:v>
                </c:pt>
                <c:pt idx="38">
                  <c:v>0.7169811320754716</c:v>
                </c:pt>
                <c:pt idx="39">
                  <c:v>0.5476190476190477</c:v>
                </c:pt>
                <c:pt idx="40">
                  <c:v>0.5454545454545454</c:v>
                </c:pt>
                <c:pt idx="41">
                  <c:v>0.41935483870967744</c:v>
                </c:pt>
                <c:pt idx="42">
                  <c:v>0.43243243243243246</c:v>
                </c:pt>
                <c:pt idx="43">
                  <c:v>0.52</c:v>
                </c:pt>
                <c:pt idx="44">
                  <c:v>0.5135135135135135</c:v>
                </c:pt>
                <c:pt idx="45">
                  <c:v>0.5925925925925926</c:v>
                </c:pt>
                <c:pt idx="46">
                  <c:v>0.4642857142857143</c:v>
                </c:pt>
                <c:pt idx="47">
                  <c:v>0.4444444444444444</c:v>
                </c:pt>
                <c:pt idx="48">
                  <c:v>0.39473684210526316</c:v>
                </c:pt>
                <c:pt idx="49">
                  <c:v>0.35294117647058826</c:v>
                </c:pt>
              </c:numCache>
            </c:numRef>
          </c:yVal>
          <c:smooth val="0"/>
          <c:extLst>
            <c:ext xmlns:c16="http://schemas.microsoft.com/office/drawing/2014/chart" uri="{C3380CC4-5D6E-409C-BE32-E72D297353CC}">
              <c16:uniqueId val="{00000002-F32D-48B7-BC20-E66FC6253BAD}"/>
            </c:ext>
          </c:extLst>
        </c:ser>
        <c:ser>
          <c:idx val="2"/>
          <c:order val="2"/>
          <c:tx>
            <c:strRef>
              <c:f>Sheet1!$B$110</c:f>
              <c:strCache>
                <c:ptCount val="1"/>
                <c:pt idx="0">
                  <c:v>Custom Linep3yQ</c:v>
                </c:pt>
              </c:strCache>
            </c:strRef>
          </c:tx>
          <c:spPr>
            <a:ln w="19050" cap="rnd">
              <a:solidFill>
                <a:srgbClr val="C00000"/>
              </a:solidFill>
              <a:prstDash val="sysDot"/>
              <a:round/>
            </a:ln>
            <a:effectLst/>
          </c:spPr>
          <c:marker>
            <c:symbol val="none"/>
          </c:marker>
          <c:xVal>
            <c:numRef>
              <c:f>Sheet1!$A$111:$A$112</c:f>
              <c:numCache>
                <c:formatCode>General</c:formatCode>
                <c:ptCount val="2"/>
                <c:pt idx="0">
                  <c:v>0</c:v>
                </c:pt>
                <c:pt idx="1">
                  <c:v>2473.2437444378056</c:v>
                </c:pt>
              </c:numCache>
            </c:numRef>
          </c:xVal>
          <c:yVal>
            <c:numRef>
              <c:f>Sheet1!$B$111:$B$112</c:f>
              <c:numCache>
                <c:formatCode>General</c:formatCode>
                <c:ptCount val="2"/>
                <c:pt idx="0">
                  <c:v>0.9879959404215771</c:v>
                </c:pt>
                <c:pt idx="1">
                  <c:v>0.9879959404215771</c:v>
                </c:pt>
              </c:numCache>
            </c:numRef>
          </c:yVal>
          <c:smooth val="0"/>
          <c:extLst>
            <c:ext xmlns:c16="http://schemas.microsoft.com/office/drawing/2014/chart" uri="{C3380CC4-5D6E-409C-BE32-E72D297353CC}">
              <c16:uniqueId val="{00000003-F32D-48B7-BC20-E66FC6253BAD}"/>
            </c:ext>
          </c:extLst>
        </c:ser>
        <c:ser>
          <c:idx val="3"/>
          <c:order val="3"/>
          <c:tx>
            <c:strRef>
              <c:f>Sheet1!$B$114</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5:$A$116</c:f>
              <c:numCache>
                <c:formatCode>General</c:formatCode>
                <c:ptCount val="2"/>
                <c:pt idx="0">
                  <c:v>2473.2437444378056</c:v>
                </c:pt>
                <c:pt idx="1">
                  <c:v>2473.2437444378056</c:v>
                </c:pt>
              </c:numCache>
            </c:numRef>
          </c:xVal>
          <c:yVal>
            <c:numRef>
              <c:f>Sheet1!$B$115:$B$116</c:f>
              <c:numCache>
                <c:formatCode>General</c:formatCode>
                <c:ptCount val="2"/>
                <c:pt idx="0">
                  <c:v>0.987995940421577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8</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9:$A$120</c:f>
              <c:numCache>
                <c:formatCode>General</c:formatCode>
                <c:ptCount val="2"/>
                <c:pt idx="0">
                  <c:v>0</c:v>
                </c:pt>
                <c:pt idx="1">
                  <c:v>1905.17168498721</c:v>
                </c:pt>
              </c:numCache>
            </c:numRef>
          </c:xVal>
          <c:yVal>
            <c:numRef>
              <c:f>Sheet1!$B$119:$B$120</c:f>
              <c:numCache>
                <c:formatCode>General</c:formatCode>
                <c:ptCount val="2"/>
                <c:pt idx="0">
                  <c:v>0.8609387012164791</c:v>
                </c:pt>
                <c:pt idx="1">
                  <c:v>0.8609387012164791</c:v>
                </c:pt>
              </c:numCache>
            </c:numRef>
          </c:yVal>
          <c:smooth val="0"/>
          <c:extLst>
            <c:ext xmlns:c16="http://schemas.microsoft.com/office/drawing/2014/chart" uri="{C3380CC4-5D6E-409C-BE32-E72D297353CC}">
              <c16:uniqueId val="{0000000A-F32D-48B7-BC20-E66FC6253BAD}"/>
            </c:ext>
          </c:extLst>
        </c:ser>
        <c:ser>
          <c:idx val="5"/>
          <c:order val="5"/>
          <c:tx>
            <c:strRef>
              <c:f>Sheet1!$B$122</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3:$A$124</c:f>
              <c:numCache>
                <c:formatCode>General</c:formatCode>
                <c:ptCount val="2"/>
                <c:pt idx="0">
                  <c:v>1905.17168498721</c:v>
                </c:pt>
                <c:pt idx="1">
                  <c:v>1905.17168498721</c:v>
                </c:pt>
              </c:numCache>
            </c:numRef>
          </c:xVal>
          <c:yVal>
            <c:numRef>
              <c:f>Sheet1!$B$123:$B$124</c:f>
              <c:numCache>
                <c:formatCode>General</c:formatCode>
                <c:ptCount val="2"/>
                <c:pt idx="0">
                  <c:v>0.860938701216479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6</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7:$A$128</c:f>
              <c:numCache>
                <c:formatCode>General</c:formatCode>
                <c:ptCount val="2"/>
                <c:pt idx="0">
                  <c:v>0</c:v>
                </c:pt>
                <c:pt idx="1">
                  <c:v>369.0082753064504</c:v>
                </c:pt>
              </c:numCache>
            </c:numRef>
          </c:xVal>
          <c:yVal>
            <c:numRef>
              <c:f>Sheet1!$B$127:$B$128</c:f>
              <c:numCache>
                <c:formatCode>General</c:formatCode>
                <c:ptCount val="2"/>
                <c:pt idx="0">
                  <c:v>0.5173543292079454</c:v>
                </c:pt>
                <c:pt idx="1">
                  <c:v>0.5173543292079454</c:v>
                </c:pt>
              </c:numCache>
            </c:numRef>
          </c:yVal>
          <c:smooth val="0"/>
          <c:extLst>
            <c:ext xmlns:c16="http://schemas.microsoft.com/office/drawing/2014/chart" uri="{C3380CC4-5D6E-409C-BE32-E72D297353CC}">
              <c16:uniqueId val="{00000011-F32D-48B7-BC20-E66FC6253BAD}"/>
            </c:ext>
          </c:extLst>
        </c:ser>
        <c:ser>
          <c:idx val="7"/>
          <c:order val="7"/>
          <c:tx>
            <c:strRef>
              <c:f>Sheet1!$B$130</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1:$A$132</c:f>
              <c:numCache>
                <c:formatCode>General</c:formatCode>
                <c:ptCount val="2"/>
                <c:pt idx="0">
                  <c:v>369.0082753064504</c:v>
                </c:pt>
                <c:pt idx="1">
                  <c:v>369.0082753064504</c:v>
                </c:pt>
              </c:numCache>
            </c:numRef>
          </c:xVal>
          <c:yVal>
            <c:numRef>
              <c:f>Sheet1!$B$131:$B$132</c:f>
              <c:numCache>
                <c:formatCode>General</c:formatCode>
                <c:ptCount val="2"/>
                <c:pt idx="0">
                  <c:v>0.51735432920794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4</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5:$A$187</c:f>
              <c:numCache>
                <c:formatCode>General</c:formatCode>
                <c:ptCount val="53"/>
                <c:pt idx="0">
                  <c:v>828.85</c:v>
                </c:pt>
                <c:pt idx="1">
                  <c:v>889.8182</c:v>
                </c:pt>
                <c:pt idx="2">
                  <c:v>927.24</c:v>
                </c:pt>
                <c:pt idx="3">
                  <c:v>852.6818</c:v>
                </c:pt>
                <c:pt idx="4">
                  <c:v>886.0</c:v>
                </c:pt>
                <c:pt idx="5">
                  <c:v>889.5333</c:v>
                </c:pt>
                <c:pt idx="6">
                  <c:v>744.6829</c:v>
                </c:pt>
                <c:pt idx="7">
                  <c:v>913.3793</c:v>
                </c:pt>
                <c:pt idx="8">
                  <c:v>914.2963</c:v>
                </c:pt>
                <c:pt idx="9">
                  <c:v>788.1364</c:v>
                </c:pt>
                <c:pt idx="10">
                  <c:v>861.4615</c:v>
                </c:pt>
                <c:pt idx="11">
                  <c:v>585.3475</c:v>
                </c:pt>
                <c:pt idx="12">
                  <c:v>594.1087</c:v>
                </c:pt>
                <c:pt idx="13">
                  <c:v>848.3846</c:v>
                </c:pt>
                <c:pt idx="14">
                  <c:v>834.6333</c:v>
                </c:pt>
                <c:pt idx="15">
                  <c:v>911.4</c:v>
                </c:pt>
                <c:pt idx="16">
                  <c:v>855.0588</c:v>
                </c:pt>
                <c:pt idx="17">
                  <c:v>925.6667</c:v>
                </c:pt>
                <c:pt idx="18">
                  <c:v>1153.8571</c:v>
                </c:pt>
                <c:pt idx="19">
                  <c:v>1515.8333</c:v>
                </c:pt>
                <c:pt idx="20">
                  <c:v>1421.4</c:v>
                </c:pt>
                <c:pt idx="21">
                  <c:v>1765.0</c:v>
                </c:pt>
                <c:pt idx="22">
                  <c:v>382.1316</c:v>
                </c:pt>
                <c:pt idx="23">
                  <c:v>374.5222</c:v>
                </c:pt>
                <c:pt idx="24">
                  <c:v>375.9178</c:v>
                </c:pt>
                <c:pt idx="25">
                  <c:v>378.34</c:v>
                </c:pt>
                <c:pt idx="26">
                  <c:v>0.0</c:v>
                </c:pt>
                <c:pt idx="27">
                  <c:v>1615.0</c:v>
                </c:pt>
                <c:pt idx="28">
                  <c:v>0.0</c:v>
                </c:pt>
                <c:pt idx="29">
                  <c:v>0.0</c:v>
                </c:pt>
                <c:pt idx="30">
                  <c:v>0.0</c:v>
                </c:pt>
                <c:pt idx="31">
                  <c:v>0.0</c:v>
                </c:pt>
                <c:pt idx="32">
                  <c:v>1002.0</c:v>
                </c:pt>
                <c:pt idx="33">
                  <c:v>668.0</c:v>
                </c:pt>
                <c:pt idx="34">
                  <c:v>0.0</c:v>
                </c:pt>
                <c:pt idx="35">
                  <c:v>511.25</c:v>
                </c:pt>
                <c:pt idx="36">
                  <c:v>502.3571</c:v>
                </c:pt>
                <c:pt idx="37">
                  <c:v>427.78</c:v>
                </c:pt>
                <c:pt idx="38">
                  <c:v>464.6842</c:v>
                </c:pt>
                <c:pt idx="39">
                  <c:v>516.5217</c:v>
                </c:pt>
                <c:pt idx="40">
                  <c:v>482.7778</c:v>
                </c:pt>
                <c:pt idx="41">
                  <c:v>487.6154</c:v>
                </c:pt>
                <c:pt idx="42">
                  <c:v>440.8125</c:v>
                </c:pt>
                <c:pt idx="43">
                  <c:v>441.0769</c:v>
                </c:pt>
                <c:pt idx="44">
                  <c:v>426.3684</c:v>
                </c:pt>
                <c:pt idx="45">
                  <c:v>461.625</c:v>
                </c:pt>
                <c:pt idx="46">
                  <c:v>506.1538</c:v>
                </c:pt>
                <c:pt idx="47">
                  <c:v>512.8333</c:v>
                </c:pt>
                <c:pt idx="48">
                  <c:v>484.6667</c:v>
                </c:pt>
                <c:pt idx="49">
                  <c:v>419.5</c:v>
                </c:pt>
                <c:pt idx="50">
                  <c:v>1905.17168498721</c:v>
                </c:pt>
                <c:pt idx="51">
                  <c:v>2473.2437444378056</c:v>
                </c:pt>
                <c:pt idx="52">
                  <c:v>369.0082753064504</c:v>
                </c:pt>
              </c:numCache>
            </c:numRef>
          </c:xVal>
          <c:yVal>
            <c:numRef>
              <c:f>Sheet1!$B$135:$B$187</c:f>
              <c:numCache>
                <c:formatCode>General</c:formatCode>
                <c:ptCount val="53"/>
                <c:pt idx="0">
                  <c:v>0.6202043445165304</c:v>
                </c:pt>
                <c:pt idx="1">
                  <c:v>0.633840732792335</c:v>
                </c:pt>
                <c:pt idx="2">
                  <c:v>0.6422106402978789</c:v>
                </c:pt>
                <c:pt idx="3">
                  <c:v>0.6255346589773694</c:v>
                </c:pt>
                <c:pt idx="4">
                  <c:v>0.6329867391085018</c:v>
                </c:pt>
                <c:pt idx="5">
                  <c:v>0.6337770109337304</c:v>
                </c:pt>
                <c:pt idx="6">
                  <c:v>0.6013791986921749</c:v>
                </c:pt>
                <c:pt idx="7">
                  <c:v>0.6391105014226219</c:v>
                </c:pt>
                <c:pt idx="8">
                  <c:v>0.6393156012623566</c:v>
                </c:pt>
                <c:pt idx="9">
                  <c:v>0.6110981800290468</c:v>
                </c:pt>
                <c:pt idx="10">
                  <c:v>0.6274983613360593</c:v>
                </c:pt>
                <c:pt idx="11">
                  <c:v>0.5657416141730218</c:v>
                </c:pt>
                <c:pt idx="12">
                  <c:v>0.5677011787486855</c:v>
                </c:pt>
                <c:pt idx="13">
                  <c:v>0.6245735302627479</c:v>
                </c:pt>
                <c:pt idx="14">
                  <c:v>0.6214978602233326</c:v>
                </c:pt>
                <c:pt idx="15">
                  <c:v>0.6386678033716002</c:v>
                </c:pt>
                <c:pt idx="16">
                  <c:v>0.6260663081802585</c:v>
                </c:pt>
                <c:pt idx="17">
                  <c:v>0.6418587498094879</c:v>
                </c:pt>
                <c:pt idx="18">
                  <c:v>0.6928967154245324</c:v>
                </c:pt>
                <c:pt idx="19">
                  <c:v>0.7738577411691057</c:v>
                </c:pt>
                <c:pt idx="20">
                  <c:v>0.7527364165283005</c:v>
                </c:pt>
                <c:pt idx="21">
                  <c:v>0.8295873488432852</c:v>
                </c:pt>
                <c:pt idx="22">
                  <c:v>0.5202895438114715</c:v>
                </c:pt>
                <c:pt idx="23">
                  <c:v>0.518587595370384</c:v>
                </c:pt>
                <c:pt idx="24">
                  <c:v>0.5188997407753282</c:v>
                </c:pt>
                <c:pt idx="25">
                  <c:v>0.5194414995886383</c:v>
                </c:pt>
                <c:pt idx="26">
                  <c:v>0.434820481742156</c:v>
                </c:pt>
                <c:pt idx="27">
                  <c:v>0.7960377567383733</c:v>
                </c:pt>
                <c:pt idx="28">
                  <c:v>0.434820481742156</c:v>
                </c:pt>
                <c:pt idx="29">
                  <c:v>0.434820481742156</c:v>
                </c:pt>
                <c:pt idx="30">
                  <c:v>0.434820481742156</c:v>
                </c:pt>
                <c:pt idx="31">
                  <c:v>0.434820481742156</c:v>
                </c:pt>
                <c:pt idx="32">
                  <c:v>0.658931757002967</c:v>
                </c:pt>
                <c:pt idx="33">
                  <c:v>0.5842279985826966</c:v>
                </c:pt>
                <c:pt idx="34">
                  <c:v>0.434820481742156</c:v>
                </c:pt>
                <c:pt idx="35">
                  <c:v>0.5491686748330638</c:v>
                </c:pt>
                <c:pt idx="36">
                  <c:v>0.547179653715532</c:v>
                </c:pt>
                <c:pt idx="37">
                  <c:v>0.5304994451464172</c:v>
                </c:pt>
                <c:pt idx="38">
                  <c:v>0.5387535841928044</c:v>
                </c:pt>
                <c:pt idx="39">
                  <c:v>0.5503477640643936</c:v>
                </c:pt>
                <c:pt idx="40">
                  <c:v>0.5428004701908673</c:v>
                </c:pt>
                <c:pt idx="41">
                  <c:v>0.5438824669026454</c:v>
                </c:pt>
                <c:pt idx="42">
                  <c:v>0.5334143455404656</c:v>
                </c:pt>
                <c:pt idx="43">
                  <c:v>0.5334734822881492</c:v>
                </c:pt>
                <c:pt idx="44">
                  <c:v>0.5301837211183152</c:v>
                </c:pt>
                <c:pt idx="45">
                  <c:v>0.5380693514450221</c:v>
                </c:pt>
                <c:pt idx="46">
                  <c:v>0.5480288386244968</c:v>
                </c:pt>
                <c:pt idx="47">
                  <c:v>0.5495228019609285</c:v>
                </c:pt>
                <c:pt idx="48">
                  <c:v>0.5432229490210471</c:v>
                </c:pt>
                <c:pt idx="49">
                  <c:v>0.528647507662226</c:v>
                </c:pt>
                <c:pt idx="50">
                  <c:v>0.8609387012164791</c:v>
                </c:pt>
                <c:pt idx="51">
                  <c:v>0.987995940421577</c:v>
                </c:pt>
                <c:pt idx="52">
                  <c:v>0.51735432920794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96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94545454545454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c:f>
              <c:numCache>
                <c:formatCode>General</c:formatCode>
                <c:ptCount val="3"/>
                <c:pt idx="0">
                  <c:v>0.0</c:v>
                </c:pt>
                <c:pt idx="1">
                  <c:v>0.0</c:v>
                </c:pt>
                <c:pt idx="2">
                  <c:v>0.0</c:v>
                </c:pt>
              </c:numCache>
            </c:numRef>
          </c:xVal>
          <c:yVal>
            <c:numRef>
              <c:f>Sheet1!$B$2:$B$4</c:f>
              <c:numCache>
                <c:formatCode>General</c:formatCode>
                <c:ptCount val="3"/>
                <c:pt idx="0">
                  <c:v>0.9666666666666667</c:v>
                </c:pt>
                <c:pt idx="1">
                  <c:v>0.8863636363636364</c:v>
                </c:pt>
                <c:pt idx="2">
                  <c:v>0.7</c:v>
                </c:pt>
              </c:numCache>
            </c:numRef>
          </c:yVal>
          <c:smooth val="0"/>
          <c:extLst>
            <c:ext xmlns:c16="http://schemas.microsoft.com/office/drawing/2014/chart" uri="{C3380CC4-5D6E-409C-BE32-E72D297353CC}">
              <c16:uniqueId val="{00000000-096C-4121-9522-6AB7243CCAAE}"/>
            </c:ext>
          </c:extLst>
        </c:ser>
        <c:ser>
          <c:idx val="1"/>
          <c:order val="1"/>
          <c:tx>
            <c:strRef>
              <c:f>Sheet1!$B$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A$49</c:f>
              <c:numCache>
                <c:formatCode>General</c:formatCode>
                <c:ptCount val="43"/>
                <c:pt idx="0">
                  <c:v>0.28580645161290325</c:v>
                </c:pt>
                <c:pt idx="1">
                  <c:v>0.31882913978494626</c:v>
                </c:pt>
                <c:pt idx="2">
                  <c:v>0.40036715053763444</c:v>
                </c:pt>
                <c:pt idx="3">
                  <c:v>0.5898685806451612</c:v>
                </c:pt>
                <c:pt idx="4">
                  <c:v>0.42372924731182793</c:v>
                </c:pt>
                <c:pt idx="5">
                  <c:v>0.17165615835777126</c:v>
                </c:pt>
                <c:pt idx="6">
                  <c:v>0.255530623655914</c:v>
                </c:pt>
                <c:pt idx="7">
                  <c:v>0.342090564516129</c:v>
                </c:pt>
                <c:pt idx="8">
                  <c:v>0.24476049853372434</c:v>
                </c:pt>
                <c:pt idx="9">
                  <c:v>0.245</c:v>
                </c:pt>
                <c:pt idx="10">
                  <c:v>0.30647268817204304</c:v>
                </c:pt>
                <c:pt idx="11">
                  <c:v>0.4593879404466501</c:v>
                </c:pt>
                <c:pt idx="12">
                  <c:v>0.5433094265232975</c:v>
                </c:pt>
                <c:pt idx="13">
                  <c:v>0.8597177592685032</c:v>
                </c:pt>
                <c:pt idx="14">
                  <c:v>1.328066215199398</c:v>
                </c:pt>
                <c:pt idx="15">
                  <c:v>0.17609751152073733</c:v>
                </c:pt>
                <c:pt idx="16">
                  <c:v>0.20135602150537635</c:v>
                </c:pt>
                <c:pt idx="17">
                  <c:v>0.13473756272401433</c:v>
                </c:pt>
                <c:pt idx="18">
                  <c:v>0.22190029325513194</c:v>
                </c:pt>
                <c:pt idx="19">
                  <c:v>0.0</c:v>
                </c:pt>
                <c:pt idx="20">
                  <c:v>1.3544870381461291</c:v>
                </c:pt>
                <c:pt idx="21">
                  <c:v>0.0</c:v>
                </c:pt>
                <c:pt idx="22">
                  <c:v>0.0</c:v>
                </c:pt>
                <c:pt idx="23">
                  <c:v>0.0</c:v>
                </c:pt>
                <c:pt idx="24">
                  <c:v>0.0</c:v>
                </c:pt>
                <c:pt idx="25">
                  <c:v>0.4309677419354839</c:v>
                </c:pt>
                <c:pt idx="26">
                  <c:v>0.30783410138248846</c:v>
                </c:pt>
                <c:pt idx="27">
                  <c:v>0.0</c:v>
                </c:pt>
                <c:pt idx="28">
                  <c:v>0.21564450818289183</c:v>
                </c:pt>
                <c:pt idx="29">
                  <c:v>0.23001698717948718</c:v>
                </c:pt>
                <c:pt idx="30">
                  <c:v>0.1802805571393237</c:v>
                </c:pt>
                <c:pt idx="31">
                  <c:v>0.23030771137770176</c:v>
                </c:pt>
                <c:pt idx="32">
                  <c:v>0.2672892943258807</c:v>
                </c:pt>
                <c:pt idx="33">
                  <c:v>0.2062800376004102</c:v>
                </c:pt>
                <c:pt idx="34">
                  <c:v>0.2249593254459807</c:v>
                </c:pt>
                <c:pt idx="35">
                  <c:v>0.19938147360803293</c:v>
                </c:pt>
                <c:pt idx="36">
                  <c:v>0.20401336725254396</c:v>
                </c:pt>
                <c:pt idx="37">
                  <c:v>0.2159920972644377</c:v>
                </c:pt>
                <c:pt idx="38">
                  <c:v>0.19949222126188418</c:v>
                </c:pt>
                <c:pt idx="39">
                  <c:v>0.20800271225445877</c:v>
                </c:pt>
                <c:pt idx="40">
                  <c:v>0.27369355570380255</c:v>
                </c:pt>
                <c:pt idx="41">
                  <c:v>0.2077439777111016</c:v>
                </c:pt>
                <c:pt idx="42">
                  <c:v>0.16184413580246915</c:v>
                </c:pt>
              </c:numCache>
            </c:numRef>
          </c:xVal>
          <c:yVal>
            <c:numRef>
              <c:f>Sheet1!$B$7:$B$49</c:f>
              <c:numCache>
                <c:formatCode>General</c:formatCode>
                <c:ptCount val="43"/>
                <c:pt idx="0">
                  <c:v>0.8717948717948718</c:v>
                </c:pt>
                <c:pt idx="1">
                  <c:v>0.8333333333333334</c:v>
                </c:pt>
                <c:pt idx="2">
                  <c:v>0.8541666666666666</c:v>
                </c:pt>
                <c:pt idx="3">
                  <c:v>0.9</c:v>
                </c:pt>
                <c:pt idx="4">
                  <c:v>0.8979591836734694</c:v>
                </c:pt>
                <c:pt idx="5">
                  <c:v>0.9516129032258065</c:v>
                </c:pt>
                <c:pt idx="6">
                  <c:v>0.9292929292929293</c:v>
                </c:pt>
                <c:pt idx="7">
                  <c:v>0.8297872340425532</c:v>
                </c:pt>
                <c:pt idx="8">
                  <c:v>0.8571428571428571</c:v>
                </c:pt>
                <c:pt idx="9">
                  <c:v>0.8</c:v>
                </c:pt>
                <c:pt idx="10">
                  <c:v>0.85</c:v>
                </c:pt>
                <c:pt idx="11">
                  <c:v>0.6428571428571429</c:v>
                </c:pt>
                <c:pt idx="12">
                  <c:v>0.4</c:v>
                </c:pt>
                <c:pt idx="13">
                  <c:v>0.4166666666666667</c:v>
                </c:pt>
                <c:pt idx="14">
                  <c:v>0.3333333333333333</c:v>
                </c:pt>
                <c:pt idx="15">
                  <c:v>0.95</c:v>
                </c:pt>
                <c:pt idx="16">
                  <c:v>0.9574468085106383</c:v>
                </c:pt>
                <c:pt idx="17">
                  <c:v>0.9240506329113924</c:v>
                </c:pt>
                <c:pt idx="18">
                  <c:v>0.9259259259259259</c:v>
                </c:pt>
                <c:pt idx="19">
                  <c:v>0.0</c:v>
                </c:pt>
                <c:pt idx="20">
                  <c:v>0.14285714285714285</c:v>
                </c:pt>
                <c:pt idx="21">
                  <c:v>0.0</c:v>
                </c:pt>
                <c:pt idx="22">
                  <c:v>0.0</c:v>
                </c:pt>
                <c:pt idx="23">
                  <c:v>0.0</c:v>
                </c:pt>
                <c:pt idx="24">
                  <c:v>0.0</c:v>
                </c:pt>
                <c:pt idx="25">
                  <c:v>0.09090909090909091</c:v>
                </c:pt>
                <c:pt idx="26">
                  <c:v>0.07142857142857142</c:v>
                </c:pt>
                <c:pt idx="27">
                  <c:v>0.0</c:v>
                </c:pt>
                <c:pt idx="28">
                  <c:v>0.23529411764705882</c:v>
                </c:pt>
                <c:pt idx="29">
                  <c:v>0.8076923076923077</c:v>
                </c:pt>
                <c:pt idx="30">
                  <c:v>0.78125</c:v>
                </c:pt>
                <c:pt idx="31">
                  <c:v>0.7169811320754716</c:v>
                </c:pt>
                <c:pt idx="32">
                  <c:v>0.5476190476190477</c:v>
                </c:pt>
                <c:pt idx="33">
                  <c:v>0.5454545454545454</c:v>
                </c:pt>
                <c:pt idx="34">
                  <c:v>0.41935483870967744</c:v>
                </c:pt>
                <c:pt idx="35">
                  <c:v>0.43243243243243246</c:v>
                </c:pt>
                <c:pt idx="36">
                  <c:v>0.52</c:v>
                </c:pt>
                <c:pt idx="37">
                  <c:v>0.5135135135135135</c:v>
                </c:pt>
                <c:pt idx="38">
                  <c:v>0.5925925925925926</c:v>
                </c:pt>
                <c:pt idx="39">
                  <c:v>0.4642857142857143</c:v>
                </c:pt>
                <c:pt idx="40">
                  <c:v>0.4444444444444444</c:v>
                </c:pt>
                <c:pt idx="41">
                  <c:v>0.39473684210526316</c:v>
                </c:pt>
                <c:pt idx="42">
                  <c:v>0.35294117647058826</c:v>
                </c:pt>
              </c:numCache>
            </c:numRef>
          </c:yVal>
          <c:smooth val="0"/>
          <c:extLst>
            <c:ext xmlns:c16="http://schemas.microsoft.com/office/drawing/2014/chart" uri="{C3380CC4-5D6E-409C-BE32-E72D297353CC}">
              <c16:uniqueId val="{00000002-096C-4121-9522-6AB7243CCAAE}"/>
            </c:ext>
          </c:extLst>
        </c:ser>
        <c:ser>
          <c:idx val="2"/>
          <c:order val="2"/>
          <c:tx>
            <c:strRef>
              <c:f>Sheet1!$B$5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52:$A$53</c:f>
              <c:numCache>
                <c:formatCode>General</c:formatCode>
                <c:ptCount val="2"/>
                <c:pt idx="0">
                  <c:v>0</c:v>
                </c:pt>
                <c:pt idx="1">
                  <c:v>9.328778469792859</c:v>
                </c:pt>
              </c:numCache>
            </c:numRef>
          </c:xVal>
          <c:yVal>
            <c:numRef>
              <c:f>Sheet1!$B$52:$B$53</c:f>
              <c:numCache>
                <c:formatCode>General</c:formatCode>
                <c:ptCount val="2"/>
                <c:pt idx="0">
                  <c:v>0.8851923076923077</c:v>
                </c:pt>
                <c:pt idx="1">
                  <c:v>0.8851923076923077</c:v>
                </c:pt>
              </c:numCache>
            </c:numRef>
          </c:yVal>
          <c:smooth val="0"/>
          <c:extLst>
            <c:ext xmlns:c16="http://schemas.microsoft.com/office/drawing/2014/chart" uri="{C3380CC4-5D6E-409C-BE32-E72D297353CC}">
              <c16:uniqueId val="{00000005-096C-4121-9522-6AB7243CCAAE}"/>
            </c:ext>
          </c:extLst>
        </c:ser>
        <c:ser>
          <c:idx val="3"/>
          <c:order val="3"/>
          <c:tx>
            <c:strRef>
              <c:f>Sheet1!$B$5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6:$A$57</c:f>
              <c:numCache>
                <c:formatCode>General</c:formatCode>
                <c:ptCount val="2"/>
                <c:pt idx="0">
                  <c:v>9.328778469792859</c:v>
                </c:pt>
                <c:pt idx="1">
                  <c:v>9.328778469792859</c:v>
                </c:pt>
              </c:numCache>
            </c:numRef>
          </c:xVal>
          <c:yVal>
            <c:numRef>
              <c:f>Sheet1!$B$56:$B$57</c:f>
              <c:numCache>
                <c:formatCode>General</c:formatCode>
                <c:ptCount val="2"/>
                <c:pt idx="0">
                  <c:v>0.885192307692307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5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60:$A$61</c:f>
              <c:numCache>
                <c:formatCode>General</c:formatCode>
                <c:ptCount val="2"/>
                <c:pt idx="0">
                  <c:v>0</c:v>
                </c:pt>
                <c:pt idx="1">
                  <c:v>9.328778469792859</c:v>
                </c:pt>
              </c:numCache>
            </c:numRef>
          </c:xVal>
          <c:yVal>
            <c:numRef>
              <c:f>Sheet1!$B$60:$B$61</c:f>
              <c:numCache>
                <c:formatCode>General</c:formatCode>
                <c:ptCount val="2"/>
                <c:pt idx="0">
                  <c:v>0.8851923076923077</c:v>
                </c:pt>
                <c:pt idx="1">
                  <c:v>0.8851923076923077</c:v>
                </c:pt>
              </c:numCache>
            </c:numRef>
          </c:yVal>
          <c:smooth val="0"/>
          <c:extLst>
            <c:ext xmlns:c16="http://schemas.microsoft.com/office/drawing/2014/chart" uri="{C3380CC4-5D6E-409C-BE32-E72D297353CC}">
              <c16:uniqueId val="{0000000D-096C-4121-9522-6AB7243CCAAE}"/>
            </c:ext>
          </c:extLst>
        </c:ser>
        <c:ser>
          <c:idx val="5"/>
          <c:order val="5"/>
          <c:tx>
            <c:strRef>
              <c:f>Sheet1!$B$6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64:$A$65</c:f>
              <c:numCache>
                <c:formatCode>General</c:formatCode>
                <c:ptCount val="2"/>
                <c:pt idx="0">
                  <c:v>9.328778469792859</c:v>
                </c:pt>
                <c:pt idx="1">
                  <c:v>9.328778469792859</c:v>
                </c:pt>
              </c:numCache>
            </c:numRef>
          </c:xVal>
          <c:yVal>
            <c:numRef>
              <c:f>Sheet1!$B$64:$B$65</c:f>
              <c:numCache>
                <c:formatCode>General</c:formatCode>
                <c:ptCount val="2"/>
                <c:pt idx="0">
                  <c:v>0.885192307692307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6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68:$A$69</c:f>
              <c:numCache>
                <c:formatCode>General</c:formatCode>
                <c:ptCount val="2"/>
                <c:pt idx="0">
                  <c:v>0</c:v>
                </c:pt>
                <c:pt idx="1">
                  <c:v>-0.28063369203535954</c:v>
                </c:pt>
              </c:numCache>
            </c:numRef>
          </c:xVal>
          <c:yVal>
            <c:numRef>
              <c:f>Sheet1!$B$68:$B$69</c:f>
              <c:numCache>
                <c:formatCode>General</c:formatCode>
                <c:ptCount val="2"/>
                <c:pt idx="0">
                  <c:v>0.5173543292079454</c:v>
                </c:pt>
                <c:pt idx="1">
                  <c:v>0.5173543292079454</c:v>
                </c:pt>
              </c:numCache>
            </c:numRef>
          </c:yVal>
          <c:smooth val="0"/>
          <c:extLst>
            <c:ext xmlns:c16="http://schemas.microsoft.com/office/drawing/2014/chart" uri="{C3380CC4-5D6E-409C-BE32-E72D297353CC}">
              <c16:uniqueId val="{00000015-096C-4121-9522-6AB7243CCAAE}"/>
            </c:ext>
          </c:extLst>
        </c:ser>
        <c:ser>
          <c:idx val="7"/>
          <c:order val="7"/>
          <c:tx>
            <c:strRef>
              <c:f>Sheet1!$B$7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72:$A$73</c:f>
              <c:numCache>
                <c:formatCode>General</c:formatCode>
                <c:ptCount val="2"/>
                <c:pt idx="0">
                  <c:v>-0.28063369203535954</c:v>
                </c:pt>
                <c:pt idx="1">
                  <c:v>-0.28063369203535954</c:v>
                </c:pt>
              </c:numCache>
            </c:numRef>
          </c:xVal>
          <c:yVal>
            <c:numRef>
              <c:f>Sheet1!$B$72:$B$73</c:f>
              <c:numCache>
                <c:formatCode>General</c:formatCode>
                <c:ptCount val="2"/>
                <c:pt idx="0">
                  <c:v>0.51735432920794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7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76:$A$121</c:f>
              <c:numCache>
                <c:formatCode>General</c:formatCode>
                <c:ptCount val="46"/>
                <c:pt idx="0">
                  <c:v>0.28580645161290325</c:v>
                </c:pt>
                <c:pt idx="1">
                  <c:v>0.31882913978494626</c:v>
                </c:pt>
                <c:pt idx="2">
                  <c:v>0.40036715053763444</c:v>
                </c:pt>
                <c:pt idx="3">
                  <c:v>0.5898685806451612</c:v>
                </c:pt>
                <c:pt idx="4">
                  <c:v>0.42372924731182793</c:v>
                </c:pt>
                <c:pt idx="5">
                  <c:v>0.17165615835777126</c:v>
                </c:pt>
                <c:pt idx="6">
                  <c:v>0.255530623655914</c:v>
                </c:pt>
                <c:pt idx="7">
                  <c:v>0.342090564516129</c:v>
                </c:pt>
                <c:pt idx="8">
                  <c:v>0.24476049853372434</c:v>
                </c:pt>
                <c:pt idx="9">
                  <c:v>0.245</c:v>
                </c:pt>
                <c:pt idx="10">
                  <c:v>0.30647268817204304</c:v>
                </c:pt>
                <c:pt idx="11">
                  <c:v>0.4593879404466501</c:v>
                </c:pt>
                <c:pt idx="12">
                  <c:v>0.5433094265232975</c:v>
                </c:pt>
                <c:pt idx="13">
                  <c:v>0.8597177592685032</c:v>
                </c:pt>
                <c:pt idx="14">
                  <c:v>1.328066215199398</c:v>
                </c:pt>
                <c:pt idx="15">
                  <c:v>0.17609751152073733</c:v>
                </c:pt>
                <c:pt idx="16">
                  <c:v>0.20135602150537635</c:v>
                </c:pt>
                <c:pt idx="17">
                  <c:v>0.13473756272401433</c:v>
                </c:pt>
                <c:pt idx="18">
                  <c:v>0.22190029325513194</c:v>
                </c:pt>
                <c:pt idx="19">
                  <c:v>0.0</c:v>
                </c:pt>
                <c:pt idx="20">
                  <c:v>1.3544870381461291</c:v>
                </c:pt>
                <c:pt idx="21">
                  <c:v>0.0</c:v>
                </c:pt>
                <c:pt idx="22">
                  <c:v>0.0</c:v>
                </c:pt>
                <c:pt idx="23">
                  <c:v>0.0</c:v>
                </c:pt>
                <c:pt idx="24">
                  <c:v>0.0</c:v>
                </c:pt>
                <c:pt idx="25">
                  <c:v>0.4309677419354839</c:v>
                </c:pt>
                <c:pt idx="26">
                  <c:v>0.30783410138248846</c:v>
                </c:pt>
                <c:pt idx="27">
                  <c:v>0.0</c:v>
                </c:pt>
                <c:pt idx="28">
                  <c:v>0.21564450818289183</c:v>
                </c:pt>
                <c:pt idx="29">
                  <c:v>0.23001698717948718</c:v>
                </c:pt>
                <c:pt idx="30">
                  <c:v>0.1802805571393237</c:v>
                </c:pt>
                <c:pt idx="31">
                  <c:v>0.23030771137770176</c:v>
                </c:pt>
                <c:pt idx="32">
                  <c:v>0.2672892943258807</c:v>
                </c:pt>
                <c:pt idx="33">
                  <c:v>0.2062800376004102</c:v>
                </c:pt>
                <c:pt idx="34">
                  <c:v>0.2249593254459807</c:v>
                </c:pt>
                <c:pt idx="35">
                  <c:v>0.19938147360803293</c:v>
                </c:pt>
                <c:pt idx="36">
                  <c:v>0.20401336725254396</c:v>
                </c:pt>
                <c:pt idx="37">
                  <c:v>0.2159920972644377</c:v>
                </c:pt>
                <c:pt idx="38">
                  <c:v>0.19949222126188418</c:v>
                </c:pt>
                <c:pt idx="39">
                  <c:v>0.20800271225445877</c:v>
                </c:pt>
                <c:pt idx="40">
                  <c:v>0.27369355570380255</c:v>
                </c:pt>
                <c:pt idx="41">
                  <c:v>0.2077439777111016</c:v>
                </c:pt>
                <c:pt idx="42">
                  <c:v>0.16184413580246915</c:v>
                </c:pt>
                <c:pt idx="43">
                  <c:v>9.328778469792859</c:v>
                </c:pt>
                <c:pt idx="44">
                  <c:v>9.328778469792859</c:v>
                </c:pt>
                <c:pt idx="45">
                  <c:v>-0.28063369203535954</c:v>
                </c:pt>
              </c:numCache>
            </c:numRef>
          </c:xVal>
          <c:yVal>
            <c:numRef>
              <c:f>Sheet1!$B$76:$B$121</c:f>
              <c:numCache>
                <c:formatCode>General</c:formatCode>
                <c:ptCount val="46"/>
                <c:pt idx="0">
                  <c:v>0.5390370496348658</c:v>
                </c:pt>
                <c:pt idx="1">
                  <c:v>0.540301122676667</c:v>
                </c:pt>
                <c:pt idx="2">
                  <c:v>0.54342231016866</c:v>
                </c:pt>
                <c:pt idx="3">
                  <c:v>0.5506762214170029</c:v>
                </c:pt>
                <c:pt idx="4">
                  <c:v>0.5443165861457808</c:v>
                </c:pt>
                <c:pt idx="5">
                  <c:v>0.5346674989893894</c:v>
                </c:pt>
                <c:pt idx="6">
                  <c:v>0.53787812345238</c:v>
                </c:pt>
                <c:pt idx="7">
                  <c:v>0.541191545036088</c:v>
                </c:pt>
                <c:pt idx="8">
                  <c:v>0.537465854628205</c:v>
                </c:pt>
                <c:pt idx="9">
                  <c:v>0.5374750224871453</c:v>
                </c:pt>
                <c:pt idx="10">
                  <c:v>0.5398281309779046</c:v>
                </c:pt>
                <c:pt idx="11">
                  <c:v>0.5456815626268825</c:v>
                </c:pt>
                <c:pt idx="12">
                  <c:v>0.548893986994781</c:v>
                </c:pt>
                <c:pt idx="13">
                  <c:v>0.5610057581970749</c:v>
                </c:pt>
                <c:pt idx="14">
                  <c:v>0.5789336341539656</c:v>
                </c:pt>
                <c:pt idx="15">
                  <c:v>0.5348375092191191</c:v>
                </c:pt>
                <c:pt idx="16">
                  <c:v>0.5358043778574718</c:v>
                </c:pt>
                <c:pt idx="17">
                  <c:v>0.5332542947935752</c:v>
                </c:pt>
                <c:pt idx="18">
                  <c:v>0.5365907905185795</c:v>
                </c:pt>
                <c:pt idx="19">
                  <c:v>0.5280966855804762</c:v>
                </c:pt>
                <c:pt idx="20">
                  <c:v>0.579944994884357</c:v>
                </c:pt>
                <c:pt idx="21">
                  <c:v>0.5280966855804762</c:v>
                </c:pt>
                <c:pt idx="22">
                  <c:v>0.5280966855804762</c:v>
                </c:pt>
                <c:pt idx="23">
                  <c:v>0.5280966855804762</c:v>
                </c:pt>
                <c:pt idx="24">
                  <c:v>0.5280966855804762</c:v>
                </c:pt>
                <c:pt idx="25">
                  <c:v>0.5445936679469146</c:v>
                </c:pt>
                <c:pt idx="26">
                  <c:v>0.5398802444136465</c:v>
                </c:pt>
                <c:pt idx="27">
                  <c:v>0.5280966855804762</c:v>
                </c:pt>
                <c:pt idx="28">
                  <c:v>0.536351325783791</c:v>
                </c:pt>
                <c:pt idx="29">
                  <c:v>0.5369014888458893</c:v>
                </c:pt>
                <c:pt idx="30">
                  <c:v>0.5349976317134337</c:v>
                </c:pt>
                <c:pt idx="31">
                  <c:v>0.5369126174560027</c:v>
                </c:pt>
                <c:pt idx="32">
                  <c:v>0.538328232738574</c:v>
                </c:pt>
                <c:pt idx="33">
                  <c:v>0.5359928639059334</c:v>
                </c:pt>
                <c:pt idx="34">
                  <c:v>0.5367078869859024</c:v>
                </c:pt>
                <c:pt idx="35">
                  <c:v>0.5357287942843304</c:v>
                </c:pt>
                <c:pt idx="36">
                  <c:v>0.5359060981990817</c:v>
                </c:pt>
                <c:pt idx="37">
                  <c:v>0.5363646311205739</c:v>
                </c:pt>
                <c:pt idx="38">
                  <c:v>0.5357330335855934</c:v>
                </c:pt>
                <c:pt idx="39">
                  <c:v>0.5360588060417957</c:v>
                </c:pt>
                <c:pt idx="40">
                  <c:v>0.5385733809869026</c:v>
                </c:pt>
                <c:pt idx="41">
                  <c:v>0.5360489019613182</c:v>
                </c:pt>
                <c:pt idx="42">
                  <c:v>0.534291905302616</c:v>
                </c:pt>
                <c:pt idx="43">
                  <c:v>0.8851923076923077</c:v>
                </c:pt>
                <c:pt idx="44">
                  <c:v>0.8851923076923077</c:v>
                </c:pt>
                <c:pt idx="45">
                  <c:v>0.51735432920794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cean Poti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0.46939870490747543</c:v>
                </c:pt>
                <c:pt idx="1">
                  <c:v>0.8468787028004118</c:v>
                </c:pt>
                <c:pt idx="2">
                  <c:v>0.8432909799305868</c:v>
                </c:pt>
                <c:pt idx="3">
                  <c:v>1.0278422858473413</c:v>
                </c:pt>
                <c:pt idx="4">
                  <c:v>0.7761020353249886</c:v>
                </c:pt>
                <c:pt idx="5">
                  <c:v>0.5719204667077151</c:v>
                </c:pt>
                <c:pt idx="6">
                  <c:v>0.7402428920013648</c:v>
                </c:pt>
                <c:pt idx="7">
                  <c:v>0.44373275595624384</c:v>
                </c:pt>
                <c:pt idx="8">
                  <c:v>0.647959808846955</c:v>
                </c:pt>
                <c:pt idx="9">
                  <c:v>0.5940324951213795</c:v>
                </c:pt>
                <c:pt idx="10">
                  <c:v>0.81419950078513</c:v>
                </c:pt>
                <c:pt idx="11">
                  <c:v>0.5355102334830766</c:v>
                </c:pt>
                <c:pt idx="12">
                  <c:v>0.713831367990593</c:v>
                </c:pt>
                <c:pt idx="13">
                  <c:v>0.6330002935230316</c:v>
                </c:pt>
                <c:pt idx="14">
                  <c:v>0.7409528864318915</c:v>
                </c:pt>
                <c:pt idx="15">
                  <c:v>0.4520925808321466</c:v>
                </c:pt>
                <c:pt idx="16">
                  <c:v>0.2594965886944932</c:v>
                </c:pt>
                <c:pt idx="17">
                  <c:v>0.5342467381600108</c:v>
                </c:pt>
                <c:pt idx="18">
                  <c:v>0.4515921291536882</c:v>
                </c:pt>
                <c:pt idx="19">
                  <c:v>0.4629319944655761</c:v>
                </c:pt>
                <c:pt idx="20">
                  <c:v>0.37044814665437303</c:v>
                </c:pt>
                <c:pt idx="21">
                  <c:v>0.46587487838323405</c:v>
                </c:pt>
                <c:pt idx="22">
                  <c:v>0.7310771948982819</c:v>
                </c:pt>
                <c:pt idx="23">
                  <c:v>0.544618589808806</c:v>
                </c:pt>
                <c:pt idx="24">
                  <c:v>0.4223067824934803</c:v>
                </c:pt>
                <c:pt idx="25">
                  <c:v>0.7297420636162235</c:v>
                </c:pt>
                <c:pt idx="26">
                  <c:v>0.8469994617213958</c:v>
                </c:pt>
                <c:pt idx="27">
                  <c:v>0.35719248754673416</c:v>
                </c:pt>
                <c:pt idx="28">
                  <c:v>0.7466745304643794</c:v>
                </c:pt>
                <c:pt idx="29">
                  <c:v>0.4072747037988054</c:v>
                </c:pt>
                <c:pt idx="30">
                  <c:v>0.5311045347573554</c:v>
                </c:pt>
                <c:pt idx="31">
                  <c:v>0.6059877957565125</c:v>
                </c:pt>
                <c:pt idx="32">
                  <c:v>0.35941442289636527</c:v>
                </c:pt>
                <c:pt idx="33">
                  <c:v>0.38381208122380844</c:v>
                </c:pt>
                <c:pt idx="34">
                  <c:v>0.4096953940708383</c:v>
                </c:pt>
                <c:pt idx="35">
                  <c:v>0.7174246387634702</c:v>
                </c:pt>
                <c:pt idx="36">
                  <c:v>0.4914422970359965</c:v>
                </c:pt>
                <c:pt idx="37">
                  <c:v>0.823440513488177</c:v>
                </c:pt>
                <c:pt idx="38">
                  <c:v>0.5886489316268869</c:v>
                </c:pt>
                <c:pt idx="39">
                  <c:v>0.6271599615267982</c:v>
                </c:pt>
                <c:pt idx="40">
                  <c:v>0.5634890306988272</c:v>
                </c:pt>
                <c:pt idx="41">
                  <c:v>1.1671518579253948</c:v>
                </c:pt>
                <c:pt idx="42">
                  <c:v>0.6068095891625875</c:v>
                </c:pt>
                <c:pt idx="43">
                  <c:v>0.457159224968731</c:v>
                </c:pt>
                <c:pt idx="44">
                  <c:v>0.5259305957915064</c:v>
                </c:pt>
                <c:pt idx="45">
                  <c:v>0.4984293595332867</c:v>
                </c:pt>
                <c:pt idx="46">
                  <c:v>0.4393709517098195</c:v>
                </c:pt>
                <c:pt idx="47">
                  <c:v>0.5579663451949507</c:v>
                </c:pt>
                <c:pt idx="48">
                  <c:v>0.4346208832143825</c:v>
                </c:pt>
                <c:pt idx="49">
                  <c:v>0.4432641846512594</c:v>
                </c:pt>
                <c:pt idx="50">
                  <c:v>0.49750227399068864</c:v>
                </c:pt>
                <c:pt idx="51">
                  <c:v>0.512740377872126</c:v>
                </c:pt>
                <c:pt idx="52">
                  <c:v>0.41253297761968283</c:v>
                </c:pt>
                <c:pt idx="53">
                  <c:v>0.39590591536171044</c:v>
                </c:pt>
                <c:pt idx="54">
                  <c:v>0.4590181267595203</c:v>
                </c:pt>
                <c:pt idx="55">
                  <c:v>1.6606905512246182</c:v>
                </c:pt>
                <c:pt idx="56">
                  <c:v>0.701360187586627</c:v>
                </c:pt>
                <c:pt idx="57">
                  <c:v>1.2381268011023485</c:v>
                </c:pt>
                <c:pt idx="58">
                  <c:v>0.5851382857130354</c:v>
                </c:pt>
                <c:pt idx="59">
                  <c:v>0.4982778329917671</c:v>
                </c:pt>
                <c:pt idx="60">
                  <c:v>0.48971734323768634</c:v>
                </c:pt>
                <c:pt idx="61">
                  <c:v>0.4651161624107169</c:v>
                </c:pt>
                <c:pt idx="62">
                  <c:v>0.4344544753382768</c:v>
                </c:pt>
                <c:pt idx="63">
                  <c:v>0.3551141114199712</c:v>
                </c:pt>
                <c:pt idx="64">
                  <c:v>0.37245060699973087</c:v>
                </c:pt>
                <c:pt idx="65">
                  <c:v>0.7573224023348165</c:v>
                </c:pt>
                <c:pt idx="66">
                  <c:v>1.1224509207807993</c:v>
                </c:pt>
                <c:pt idx="67">
                  <c:v>0.5815735241223311</c:v>
                </c:pt>
                <c:pt idx="68">
                  <c:v>1.8851591015470728</c:v>
                </c:pt>
                <c:pt idx="69">
                  <c:v>0.5861912728447894</c:v>
                </c:pt>
                <c:pt idx="70">
                  <c:v>0.577930590259763</c:v>
                </c:pt>
                <c:pt idx="71">
                  <c:v>0.5943328610187201</c:v>
                </c:pt>
                <c:pt idx="72">
                  <c:v>0.5912258351132043</c:v>
                </c:pt>
                <c:pt idx="73">
                  <c:v>0.5765760378633162</c:v>
                </c:pt>
                <c:pt idx="74">
                  <c:v>0.5500125862419336</c:v>
                </c:pt>
                <c:pt idx="75">
                  <c:v>0.7782212405654674</c:v>
                </c:pt>
                <c:pt idx="76">
                  <c:v>0.7980863022759048</c:v>
                </c:pt>
                <c:pt idx="77">
                  <c:v>0.4109154490871366</c:v>
                </c:pt>
                <c:pt idx="78">
                  <c:v>2.070102352198826</c:v>
                </c:pt>
                <c:pt idx="79">
                  <c:v>1.6883111018130672</c:v>
                </c:pt>
                <c:pt idx="80">
                  <c:v>1.654211191007365</c:v>
                </c:pt>
                <c:pt idx="81">
                  <c:v>1.2706470090625375</c:v>
                </c:pt>
                <c:pt idx="82">
                  <c:v>1.6428009563034274</c:v>
                </c:pt>
                <c:pt idx="83">
                  <c:v>2.08931405818351</c:v>
                </c:pt>
                <c:pt idx="84">
                  <c:v>0.6812206100320882</c:v>
                </c:pt>
                <c:pt idx="85">
                  <c:v>1.2201791785228386</c:v>
                </c:pt>
                <c:pt idx="86">
                  <c:v>0.6039706355464437</c:v>
                </c:pt>
                <c:pt idx="87">
                  <c:v>1.083198532811069</c:v>
                </c:pt>
              </c:numCache>
            </c:numRef>
          </c:xVal>
          <c:yVal>
            <c:numRef>
              <c:f>Sheet1!$B$2:$B$89</c:f>
              <c:numCache>
                <c:formatCode>General</c:formatCode>
                <c:ptCount val="88"/>
                <c:pt idx="0">
                  <c:v>0.0011991434689507495</c:v>
                </c:pt>
                <c:pt idx="1">
                  <c:v>0.00028042624789680314</c:v>
                </c:pt>
                <c:pt idx="2">
                  <c:v>0.0002781125428756837</c:v>
                </c:pt>
                <c:pt idx="3">
                  <c:v>0.00019022256039566293</c:v>
                </c:pt>
                <c:pt idx="4">
                  <c:v>0.00021652051531882645</c:v>
                </c:pt>
                <c:pt idx="5">
                  <c:v>0.0005567308762943993</c:v>
                </c:pt>
                <c:pt idx="6">
                  <c:v>0.0006385016494625945</c:v>
                </c:pt>
                <c:pt idx="7">
                  <c:v>0.0008297771455666193</c:v>
                </c:pt>
                <c:pt idx="8">
                  <c:v>0.0004679457182966776</c:v>
                </c:pt>
                <c:pt idx="9">
                  <c:v>0.000599101347978033</c:v>
                </c:pt>
                <c:pt idx="10">
                  <c:v>0.00028153153153153153</c:v>
                </c:pt>
                <c:pt idx="11">
                  <c:v>0.0006146821215314366</c:v>
                </c:pt>
                <c:pt idx="12">
                  <c:v>0.00046289152908501776</c:v>
                </c:pt>
                <c:pt idx="13">
                  <c:v>0.0005209237714881056</c:v>
                </c:pt>
                <c:pt idx="14">
                  <c:v>0.00018675880100849752</c:v>
                </c:pt>
                <c:pt idx="15">
                  <c:v>0.0005408913890090869</c:v>
                </c:pt>
                <c:pt idx="16">
                  <c:v>0.0004919444102816382</c:v>
                </c:pt>
                <c:pt idx="17">
                  <c:v>0.0004095004095004095</c:v>
                </c:pt>
                <c:pt idx="18">
                  <c:v>0.0005367686527106817</c:v>
                </c:pt>
                <c:pt idx="19">
                  <c:v>0.0005787874403125452</c:v>
                </c:pt>
                <c:pt idx="20">
                  <c:v>0.00034246575342465754</c:v>
                </c:pt>
                <c:pt idx="21">
                  <c:v>0.000943040362127499</c:v>
                </c:pt>
                <c:pt idx="22">
                  <c:v>0.0005824111822947001</c:v>
                </c:pt>
                <c:pt idx="23">
                  <c:v>0.0009085953116481918</c:v>
                </c:pt>
                <c:pt idx="24">
                  <c:v>0.001445086705202312</c:v>
                </c:pt>
                <c:pt idx="25">
                  <c:v>0.0008476012883539584</c:v>
                </c:pt>
                <c:pt idx="26">
                  <c:v>0.00035180299032541777</c:v>
                </c:pt>
                <c:pt idx="27">
                  <c:v>0.0008799718409010912</c:v>
                </c:pt>
                <c:pt idx="28">
                  <c:v>0.0006350214319733291</c:v>
                </c:pt>
                <c:pt idx="29">
                  <c:v>0.0007874015748031496</c:v>
                </c:pt>
                <c:pt idx="30">
                  <c:v>0.0008008008008008008</c:v>
                </c:pt>
                <c:pt idx="31">
                  <c:v>0.0006087662337662338</c:v>
                </c:pt>
                <c:pt idx="32">
                  <c:v>0.001777145903678692</c:v>
                </c:pt>
                <c:pt idx="33">
                  <c:v>0.001896633475580844</c:v>
                </c:pt>
                <c:pt idx="34">
                  <c:v>0.001708150317227916</c:v>
                </c:pt>
                <c:pt idx="35">
                  <c:v>0.0005660911406736484</c:v>
                </c:pt>
                <c:pt idx="36">
                  <c:v>0.0007027406886858749</c:v>
                </c:pt>
                <c:pt idx="37">
                  <c:v>0.0003351206434316354</c:v>
                </c:pt>
                <c:pt idx="38">
                  <c:v>0.0007473841554559044</c:v>
                </c:pt>
                <c:pt idx="39">
                  <c:v>0.00045676004872107184</c:v>
                </c:pt>
                <c:pt idx="40">
                  <c:v>0.0005029337803855825</c:v>
                </c:pt>
                <c:pt idx="41">
                  <c:v>0.0001405283867341203</c:v>
                </c:pt>
                <c:pt idx="42">
                  <c:v>0.0004873294346978557</c:v>
                </c:pt>
                <c:pt idx="43">
                  <c:v>0.0006576475009394964</c:v>
                </c:pt>
                <c:pt idx="44">
                  <c:v>0.00043825050398807957</c:v>
                </c:pt>
                <c:pt idx="45">
                  <c:v>0.0009446114212108201</c:v>
                </c:pt>
                <c:pt idx="46">
                  <c:v>0.0011339846475924634</c:v>
                </c:pt>
                <c:pt idx="47">
                  <c:v>0.0006391409945033875</c:v>
                </c:pt>
                <c:pt idx="48">
                  <c:v>0.0007207359986433205</c:v>
                </c:pt>
                <c:pt idx="49">
                  <c:v>0.0008355964069354502</c:v>
                </c:pt>
                <c:pt idx="50">
                  <c:v>0.0007998080460689434</c:v>
                </c:pt>
                <c:pt idx="51">
                  <c:v>0.00027660604384205796</c:v>
                </c:pt>
                <c:pt idx="52">
                  <c:v>0.00046048996131884323</c:v>
                </c:pt>
                <c:pt idx="53">
                  <c:v>0.0010156408693885843</c:v>
                </c:pt>
                <c:pt idx="54">
                  <c:v>0.000524824183898394</c:v>
                </c:pt>
                <c:pt idx="55">
                  <c:v>9.974067424695791e-05</c:v>
                </c:pt>
                <c:pt idx="56">
                  <c:v>0.0001799694052011158</c:v>
                </c:pt>
                <c:pt idx="57">
                  <c:v>8.116224332440549e-05</c:v>
                </c:pt>
                <c:pt idx="58">
                  <c:v>0.00021578464692237147</c:v>
                </c:pt>
                <c:pt idx="59">
                  <c:v>0.00022507314877335134</c:v>
                </c:pt>
                <c:pt idx="60">
                  <c:v>0.000373440884308014</c:v>
                </c:pt>
                <c:pt idx="61">
                  <c:v>0.00030483158055174517</c:v>
                </c:pt>
                <c:pt idx="62">
                  <c:v>0.0003925417075564279</c:v>
                </c:pt>
                <c:pt idx="63">
                  <c:v>0.0005675368898978433</c:v>
                </c:pt>
                <c:pt idx="64">
                  <c:v>0.0003447800303406427</c:v>
                </c:pt>
                <c:pt idx="65">
                  <c:v>7.407956144899622e-05</c:v>
                </c:pt>
                <c:pt idx="66">
                  <c:v>7.678722260615834e-05</c:v>
                </c:pt>
                <c:pt idx="67">
                  <c:v>0.00023070711731456916</c:v>
                </c:pt>
                <c:pt idx="68">
                  <c:v>0.00011132138483802739</c:v>
                </c:pt>
                <c:pt idx="69">
                  <c:v>0.0005693463903438852</c:v>
                </c:pt>
                <c:pt idx="70">
                  <c:v>0.0008230452674897119</c:v>
                </c:pt>
                <c:pt idx="71">
                  <c:v>0.0006932889628397116</c:v>
                </c:pt>
                <c:pt idx="72">
                  <c:v>0.0007217090069284065</c:v>
                </c:pt>
                <c:pt idx="73">
                  <c:v>0.0007265329845975008</c:v>
                </c:pt>
                <c:pt idx="74">
                  <c:v>0.0011488593467914</c:v>
                </c:pt>
                <c:pt idx="75">
                  <c:v>0.0008382229673093043</c:v>
                </c:pt>
                <c:pt idx="76">
                  <c:v>0.0006619228859837829</c:v>
                </c:pt>
                <c:pt idx="77">
                  <c:v>0.0014915254237288136</c:v>
                </c:pt>
                <c:pt idx="78">
                  <c:v>0.00016943409013893597</c:v>
                </c:pt>
                <c:pt idx="79">
                  <c:v>0.00021222410865874363</c:v>
                </c:pt>
                <c:pt idx="80">
                  <c:v>0.00021235931195582927</c:v>
                </c:pt>
                <c:pt idx="81">
                  <c:v>7.328154770628756e-05</c:v>
                </c:pt>
                <c:pt idx="82">
                  <c:v>5.774672287347693e-05</c:v>
                </c:pt>
                <c:pt idx="83">
                  <c:v>3.8968124074507054e-05</c:v>
                </c:pt>
                <c:pt idx="84">
                  <c:v>0.00012721027859051011</c:v>
                </c:pt>
                <c:pt idx="85">
                  <c:v>6.444544692917445e-05</c:v>
                </c:pt>
                <c:pt idx="86">
                  <c:v>0.00020827547903360177</c:v>
                </c:pt>
                <c:pt idx="87">
                  <c:v>7.61266747868453e-05</c:v>
                </c:pt>
              </c:numCache>
            </c:numRef>
          </c:yVal>
          <c:smooth val="0"/>
          <c:extLst>
            <c:ext xmlns:c16="http://schemas.microsoft.com/office/drawing/2014/chart" uri="{C3380CC4-5D6E-409C-BE32-E72D297353CC}">
              <c16:uniqueId val="{00000000-096C-4121-9522-6AB7243CCAAE}"/>
            </c:ext>
          </c:extLst>
        </c:ser>
        <c:ser>
          <c:idx val="1"/>
          <c:order val="1"/>
          <c:tx>
            <c:strRef>
              <c:f>Sheet1!$B$9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25163992360699</c:v>
                </c:pt>
                <c:pt idx="21">
                  <c:v>0.7070767711186564</c:v>
                </c:pt>
                <c:pt idx="22">
                  <c:v>0.0</c:v>
                </c:pt>
                <c:pt idx="23">
                  <c:v>0.0</c:v>
                </c:pt>
                <c:pt idx="24">
                  <c:v>0.9476271249978911</c:v>
                </c:pt>
                <c:pt idx="25">
                  <c:v>0.0</c:v>
                </c:pt>
                <c:pt idx="26">
                  <c:v>0.502130106342899</c:v>
                </c:pt>
                <c:pt idx="27">
                  <c:v>0.7526455652351084</c:v>
                </c:pt>
                <c:pt idx="28">
                  <c:v>0.9288213107470388</c:v>
                </c:pt>
                <c:pt idx="29">
                  <c:v>0.0</c:v>
                </c:pt>
                <c:pt idx="30">
                  <c:v>0.0</c:v>
                </c:pt>
                <c:pt idx="31">
                  <c:v>1.413762453191181</c:v>
                </c:pt>
                <c:pt idx="32">
                  <c:v>1.192933163788536</c:v>
                </c:pt>
                <c:pt idx="33">
                  <c:v>1.151082146268363</c:v>
                </c:pt>
                <c:pt idx="34">
                  <c:v>0.0</c:v>
                </c:pt>
                <c:pt idx="35">
                  <c:v>0.0</c:v>
                </c:pt>
                <c:pt idx="36">
                  <c:v>1.1546386660437256</c:v>
                </c:pt>
                <c:pt idx="37">
                  <c:v>0.0</c:v>
                </c:pt>
                <c:pt idx="38">
                  <c:v>0.6443383681966601</c:v>
                </c:pt>
                <c:pt idx="39">
                  <c:v>0.6698011102684592</c:v>
                </c:pt>
                <c:pt idx="40">
                  <c:v>0.6506565637867918</c:v>
                </c:pt>
                <c:pt idx="41">
                  <c:v>1.1213666552280346</c:v>
                </c:pt>
                <c:pt idx="42">
                  <c:v>0.5176271049895297</c:v>
                </c:pt>
                <c:pt idx="43">
                  <c:v>0.40236945262247686</c:v>
                </c:pt>
                <c:pt idx="44">
                  <c:v>0.47364274386645294</c:v>
                </c:pt>
                <c:pt idx="45">
                  <c:v>0.7426863797037254</c:v>
                </c:pt>
                <c:pt idx="46">
                  <c:v>0.5499595662754074</c:v>
                </c:pt>
                <c:pt idx="47">
                  <c:v>0.6473292798480431</c:v>
                </c:pt>
                <c:pt idx="48">
                  <c:v>0.0</c:v>
                </c:pt>
                <c:pt idx="49">
                  <c:v>0.5453417423752396</c:v>
                </c:pt>
                <c:pt idx="50">
                  <c:v>0.22258304208920734</c:v>
                </c:pt>
                <c:pt idx="51">
                  <c:v>0.20503969210562828</c:v>
                </c:pt>
                <c:pt idx="52">
                  <c:v>0.35088331806488726</c:v>
                </c:pt>
                <c:pt idx="53">
                  <c:v>0.0</c:v>
                </c:pt>
                <c:pt idx="54">
                  <c:v>0.0</c:v>
                </c:pt>
                <c:pt idx="55">
                  <c:v>0.0</c:v>
                </c:pt>
                <c:pt idx="56">
                  <c:v>0.0</c:v>
                </c:pt>
                <c:pt idx="57">
                  <c:v>1.2489977652381543</c:v>
                </c:pt>
                <c:pt idx="58">
                  <c:v>0.9141552656714879</c:v>
                </c:pt>
                <c:pt idx="59">
                  <c:v>1.1495811409414873</c:v>
                </c:pt>
                <c:pt idx="60">
                  <c:v>0.0</c:v>
                </c:pt>
                <c:pt idx="61">
                  <c:v>0.0</c:v>
                </c:pt>
                <c:pt idx="62">
                  <c:v>0.0</c:v>
                </c:pt>
                <c:pt idx="63">
                  <c:v>0.0</c:v>
                </c:pt>
                <c:pt idx="64">
                  <c:v>0.0</c:v>
                </c:pt>
                <c:pt idx="65">
                  <c:v>0.0</c:v>
                </c:pt>
                <c:pt idx="66">
                  <c:v>0.0</c:v>
                </c:pt>
                <c:pt idx="67">
                  <c:v>0.5660424183706909</c:v>
                </c:pt>
                <c:pt idx="68">
                  <c:v>1.5382123597972106</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6.82081713389264e-05</c:v>
                </c:pt>
                <c:pt idx="21">
                  <c:v>0.00014652014652014652</c:v>
                </c:pt>
                <c:pt idx="22">
                  <c:v>0.0</c:v>
                </c:pt>
                <c:pt idx="23">
                  <c:v>0.0</c:v>
                </c:pt>
                <c:pt idx="24">
                  <c:v>0.00010643959552953698</c:v>
                </c:pt>
                <c:pt idx="25">
                  <c:v>0.0</c:v>
                </c:pt>
                <c:pt idx="26">
                  <c:v>0.00019327406262079628</c:v>
                </c:pt>
                <c:pt idx="27">
                  <c:v>8.983111749910169e-05</c:v>
                </c:pt>
                <c:pt idx="28">
                  <c:v>0.00015355086372360844</c:v>
                </c:pt>
                <c:pt idx="29">
                  <c:v>0.0</c:v>
                </c:pt>
                <c:pt idx="30">
                  <c:v>0.0</c:v>
                </c:pt>
                <c:pt idx="31">
                  <c:v>8.554319931565441e-05</c:v>
                </c:pt>
                <c:pt idx="32">
                  <c:v>8.918219923303308e-05</c:v>
                </c:pt>
                <c:pt idx="33">
                  <c:v>0.00019845207382417147</c:v>
                </c:pt>
                <c:pt idx="34">
                  <c:v>0.0</c:v>
                </c:pt>
                <c:pt idx="35">
                  <c:v>0.0</c:v>
                </c:pt>
                <c:pt idx="36">
                  <c:v>0.00011122233344455567</c:v>
                </c:pt>
                <c:pt idx="37">
                  <c:v>0.0</c:v>
                </c:pt>
                <c:pt idx="38">
                  <c:v>0.0003213883978788366</c:v>
                </c:pt>
                <c:pt idx="39">
                  <c:v>0.0003180155827635554</c:v>
                </c:pt>
                <c:pt idx="40">
                  <c:v>0.00015946420028703555</c:v>
                </c:pt>
                <c:pt idx="41">
                  <c:v>0.00014992503748125936</c:v>
                </c:pt>
                <c:pt idx="42">
                  <c:v>0.00047244094488188977</c:v>
                </c:pt>
                <c:pt idx="43">
                  <c:v>0.000792016473942658</c:v>
                </c:pt>
                <c:pt idx="44">
                  <c:v>0.00028814291888776836</c:v>
                </c:pt>
                <c:pt idx="45">
                  <c:v>0.00026215755669157164</c:v>
                </c:pt>
                <c:pt idx="46">
                  <c:v>0.00031660598385309483</c:v>
                </c:pt>
                <c:pt idx="47">
                  <c:v>0.00016564518800728838</c:v>
                </c:pt>
                <c:pt idx="48">
                  <c:v>0.0</c:v>
                </c:pt>
                <c:pt idx="49">
                  <c:v>0.0001686056314280897</c:v>
                </c:pt>
                <c:pt idx="50">
                  <c:v>0.0006701289998324678</c:v>
                </c:pt>
                <c:pt idx="51">
                  <c:v>0.0005676657584014533</c:v>
                </c:pt>
                <c:pt idx="52">
                  <c:v>0.0006191183754333828</c:v>
                </c:pt>
                <c:pt idx="53">
                  <c:v>0.0</c:v>
                </c:pt>
                <c:pt idx="54">
                  <c:v>0.0</c:v>
                </c:pt>
                <c:pt idx="55">
                  <c:v>0.0</c:v>
                </c:pt>
                <c:pt idx="56">
                  <c:v>0.0</c:v>
                </c:pt>
                <c:pt idx="57">
                  <c:v>0.0001386193512614361</c:v>
                </c:pt>
                <c:pt idx="58">
                  <c:v>0.00012913223140495868</c:v>
                </c:pt>
                <c:pt idx="59">
                  <c:v>0.0001426533523537803</c:v>
                </c:pt>
                <c:pt idx="60">
                  <c:v>0.0</c:v>
                </c:pt>
                <c:pt idx="61">
                  <c:v>0.0</c:v>
                </c:pt>
                <c:pt idx="62">
                  <c:v>0.0</c:v>
                </c:pt>
                <c:pt idx="63">
                  <c:v>0.0</c:v>
                </c:pt>
                <c:pt idx="64">
                  <c:v>0.0</c:v>
                </c:pt>
                <c:pt idx="65">
                  <c:v>0.0</c:v>
                </c:pt>
                <c:pt idx="66">
                  <c:v>0.0</c:v>
                </c:pt>
                <c:pt idx="67">
                  <c:v>0.00014715620631300125</c:v>
                </c:pt>
                <c:pt idx="68">
                  <c:v>5.969436485195797e-05</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6.9289207848902175</c:v>
                </c:pt>
              </c:numCache>
            </c:numRef>
          </c:xVal>
          <c:yVal>
            <c:numRef>
              <c:f>Sheet1!$B$163:$B$164</c:f>
              <c:numCache>
                <c:formatCode>General</c:formatCode>
                <c:ptCount val="2"/>
                <c:pt idx="0">
                  <c:v>0.0009587907001120169</c:v>
                </c:pt>
                <c:pt idx="1">
                  <c:v>0.0009587907001120169</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6.9289207848902175</c:v>
                </c:pt>
                <c:pt idx="1">
                  <c:v>6.9289207848902175</c:v>
                </c:pt>
              </c:numCache>
            </c:numRef>
          </c:xVal>
          <c:yVal>
            <c:numRef>
              <c:f>Sheet1!$B$167:$B$168</c:f>
              <c:numCache>
                <c:formatCode>General</c:formatCode>
                <c:ptCount val="2"/>
                <c:pt idx="0">
                  <c:v>0.000958790700112016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1068043646957095</c:v>
                </c:pt>
              </c:numCache>
            </c:numRef>
          </c:xVal>
          <c:yVal>
            <c:numRef>
              <c:f>Sheet1!$B$171:$B$172</c:f>
              <c:numCache>
                <c:formatCode>General</c:formatCode>
                <c:ptCount val="2"/>
                <c:pt idx="0">
                  <c:v>0.00033313955972754864</c:v>
                </c:pt>
                <c:pt idx="1">
                  <c:v>0.00033313955972754864</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1068043646957095</c:v>
                </c:pt>
                <c:pt idx="1">
                  <c:v>2.1068043646957095</c:v>
                </c:pt>
              </c:numCache>
            </c:numRef>
          </c:xVal>
          <c:yVal>
            <c:numRef>
              <c:f>Sheet1!$B$175:$B$176</c:f>
              <c:numCache>
                <c:formatCode>General</c:formatCode>
                <c:ptCount val="2"/>
                <c:pt idx="0">
                  <c:v>0.000333139559727548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9486652326991947</c:v>
                </c:pt>
              </c:numCache>
            </c:numRef>
          </c:xVal>
          <c:yVal>
            <c:numRef>
              <c:f>Sheet1!$B$179:$B$180</c:f>
              <c:numCache>
                <c:formatCode>General</c:formatCode>
                <c:ptCount val="2"/>
                <c:pt idx="0">
                  <c:v>4.748119278347187e-05</c:v>
                </c:pt>
                <c:pt idx="1">
                  <c:v>4.748119278347187e-0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9486652326991947</c:v>
                </c:pt>
                <c:pt idx="1">
                  <c:v>-0.09486652326991947</c:v>
                </c:pt>
              </c:numCache>
            </c:numRef>
          </c:xVal>
          <c:yVal>
            <c:numRef>
              <c:f>Sheet1!$B$183:$B$184</c:f>
              <c:numCache>
                <c:formatCode>General</c:formatCode>
                <c:ptCount val="2"/>
                <c:pt idx="0">
                  <c:v>4.748119278347187e-0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25163992360699</c:v>
                </c:pt>
                <c:pt idx="21">
                  <c:v>0.7070767711186564</c:v>
                </c:pt>
                <c:pt idx="22">
                  <c:v>0.0</c:v>
                </c:pt>
                <c:pt idx="23">
                  <c:v>0.0</c:v>
                </c:pt>
                <c:pt idx="24">
                  <c:v>0.9476271249978911</c:v>
                </c:pt>
                <c:pt idx="25">
                  <c:v>0.0</c:v>
                </c:pt>
                <c:pt idx="26">
                  <c:v>0.502130106342899</c:v>
                </c:pt>
                <c:pt idx="27">
                  <c:v>0.7526455652351084</c:v>
                </c:pt>
                <c:pt idx="28">
                  <c:v>0.9288213107470388</c:v>
                </c:pt>
                <c:pt idx="29">
                  <c:v>0.0</c:v>
                </c:pt>
                <c:pt idx="30">
                  <c:v>0.0</c:v>
                </c:pt>
                <c:pt idx="31">
                  <c:v>1.413762453191181</c:v>
                </c:pt>
                <c:pt idx="32">
                  <c:v>1.192933163788536</c:v>
                </c:pt>
                <c:pt idx="33">
                  <c:v>1.151082146268363</c:v>
                </c:pt>
                <c:pt idx="34">
                  <c:v>0.0</c:v>
                </c:pt>
                <c:pt idx="35">
                  <c:v>0.0</c:v>
                </c:pt>
                <c:pt idx="36">
                  <c:v>1.1546386660437256</c:v>
                </c:pt>
                <c:pt idx="37">
                  <c:v>0.0</c:v>
                </c:pt>
                <c:pt idx="38">
                  <c:v>0.6443383681966601</c:v>
                </c:pt>
                <c:pt idx="39">
                  <c:v>0.6698011102684592</c:v>
                </c:pt>
                <c:pt idx="40">
                  <c:v>0.6506565637867918</c:v>
                </c:pt>
                <c:pt idx="41">
                  <c:v>1.1213666552280346</c:v>
                </c:pt>
                <c:pt idx="42">
                  <c:v>0.5176271049895297</c:v>
                </c:pt>
                <c:pt idx="43">
                  <c:v>0.40236945262247686</c:v>
                </c:pt>
                <c:pt idx="44">
                  <c:v>0.47364274386645294</c:v>
                </c:pt>
                <c:pt idx="45">
                  <c:v>0.7426863797037254</c:v>
                </c:pt>
                <c:pt idx="46">
                  <c:v>0.5499595662754074</c:v>
                </c:pt>
                <c:pt idx="47">
                  <c:v>0.6473292798480431</c:v>
                </c:pt>
                <c:pt idx="48">
                  <c:v>0.0</c:v>
                </c:pt>
                <c:pt idx="49">
                  <c:v>0.5453417423752396</c:v>
                </c:pt>
                <c:pt idx="50">
                  <c:v>0.22258304208920734</c:v>
                </c:pt>
                <c:pt idx="51">
                  <c:v>0.20503969210562828</c:v>
                </c:pt>
                <c:pt idx="52">
                  <c:v>0.35088331806488726</c:v>
                </c:pt>
                <c:pt idx="53">
                  <c:v>0.0</c:v>
                </c:pt>
                <c:pt idx="54">
                  <c:v>0.0</c:v>
                </c:pt>
                <c:pt idx="55">
                  <c:v>0.0</c:v>
                </c:pt>
                <c:pt idx="56">
                  <c:v>0.0</c:v>
                </c:pt>
                <c:pt idx="57">
                  <c:v>1.2489977652381543</c:v>
                </c:pt>
                <c:pt idx="58">
                  <c:v>0.9141552656714879</c:v>
                </c:pt>
                <c:pt idx="59">
                  <c:v>1.1495811409414873</c:v>
                </c:pt>
                <c:pt idx="60">
                  <c:v>0.0</c:v>
                </c:pt>
                <c:pt idx="61">
                  <c:v>0.0</c:v>
                </c:pt>
                <c:pt idx="62">
                  <c:v>0.0</c:v>
                </c:pt>
                <c:pt idx="63">
                  <c:v>0.0</c:v>
                </c:pt>
                <c:pt idx="64">
                  <c:v>0.0</c:v>
                </c:pt>
                <c:pt idx="65">
                  <c:v>0.0</c:v>
                </c:pt>
                <c:pt idx="66">
                  <c:v>0.0</c:v>
                </c:pt>
                <c:pt idx="67">
                  <c:v>0.5660424183706909</c:v>
                </c:pt>
                <c:pt idx="68">
                  <c:v>1.5382123597972106</c:v>
                </c:pt>
                <c:pt idx="69">
                  <c:v>2.1068043646957095</c:v>
                </c:pt>
                <c:pt idx="70">
                  <c:v>6.9289207848902175</c:v>
                </c:pt>
                <c:pt idx="71">
                  <c:v>-0.09486652326991947</c:v>
                </c:pt>
              </c:numCache>
            </c:numRef>
          </c:xVal>
          <c:yVal>
            <c:numRef>
              <c:f>Sheet1!$B$187:$B$258</c:f>
              <c:numCache>
                <c:formatCode>General</c:formatCode>
                <c:ptCount val="72"/>
                <c:pt idx="0">
                  <c:v>5.9789760909195535e-05</c:v>
                </c:pt>
                <c:pt idx="1">
                  <c:v>5.9789760909195535e-05</c:v>
                </c:pt>
                <c:pt idx="2">
                  <c:v>5.9789760909195535e-05</c:v>
                </c:pt>
                <c:pt idx="3">
                  <c:v>5.9789760909195535e-05</c:v>
                </c:pt>
                <c:pt idx="4">
                  <c:v>5.9789760909195535e-05</c:v>
                </c:pt>
                <c:pt idx="5">
                  <c:v>5.9789760909195535e-05</c:v>
                </c:pt>
                <c:pt idx="6">
                  <c:v>5.9789760909195535e-05</c:v>
                </c:pt>
                <c:pt idx="7">
                  <c:v>5.9789760909195535e-05</c:v>
                </c:pt>
                <c:pt idx="8">
                  <c:v>5.9789760909195535e-05</c:v>
                </c:pt>
                <c:pt idx="9">
                  <c:v>5.9789760909195535e-05</c:v>
                </c:pt>
                <c:pt idx="10">
                  <c:v>5.9789760909195535e-05</c:v>
                </c:pt>
                <c:pt idx="11">
                  <c:v>5.9789760909195535e-05</c:v>
                </c:pt>
                <c:pt idx="12">
                  <c:v>5.9789760909195535e-05</c:v>
                </c:pt>
                <c:pt idx="13">
                  <c:v>5.9789760909195535e-05</c:v>
                </c:pt>
                <c:pt idx="14">
                  <c:v>5.9789760909195535e-05</c:v>
                </c:pt>
                <c:pt idx="15">
                  <c:v>5.9789760909195535e-05</c:v>
                </c:pt>
                <c:pt idx="16">
                  <c:v>5.9789760909195535e-05</c:v>
                </c:pt>
                <c:pt idx="17">
                  <c:v>5.9789760909195535e-05</c:v>
                </c:pt>
                <c:pt idx="18">
                  <c:v>5.9789760909195535e-05</c:v>
                </c:pt>
                <c:pt idx="19">
                  <c:v>5.9789760909195535e-05</c:v>
                </c:pt>
                <c:pt idx="20">
                  <c:v>0.00022218524814296387</c:v>
                </c:pt>
                <c:pt idx="21">
                  <c:v>0.00015153026438130183</c:v>
                </c:pt>
                <c:pt idx="22">
                  <c:v>5.9789760909195535e-05</c:v>
                </c:pt>
                <c:pt idx="23">
                  <c:v>5.9789760909195535e-05</c:v>
                </c:pt>
                <c:pt idx="24">
                  <c:v>0.00018274075166737193</c:v>
                </c:pt>
                <c:pt idx="25">
                  <c:v>5.9789760909195535e-05</c:v>
                </c:pt>
                <c:pt idx="26">
                  <c:v>0.0001249392194206383</c:v>
                </c:pt>
                <c:pt idx="27">
                  <c:v>0.0001574426409231675</c:v>
                </c:pt>
                <c:pt idx="28">
                  <c:v>0.00018030076928066927</c:v>
                </c:pt>
                <c:pt idx="29">
                  <c:v>5.9789760909195535e-05</c:v>
                </c:pt>
                <c:pt idx="30">
                  <c:v>5.9789760909195535e-05</c:v>
                </c:pt>
                <c:pt idx="31">
                  <c:v>0.00024322002554725403</c:v>
                </c:pt>
                <c:pt idx="32">
                  <c:v>0.00021456827085994525</c:v>
                </c:pt>
                <c:pt idx="33">
                  <c:v>0.00020913826159511492</c:v>
                </c:pt>
                <c:pt idx="34">
                  <c:v>5.9789760909195535e-05</c:v>
                </c:pt>
                <c:pt idx="35">
                  <c:v>5.9789760909195535e-05</c:v>
                </c:pt>
                <c:pt idx="36">
                  <c:v>0.00020959970641713056</c:v>
                </c:pt>
                <c:pt idx="37">
                  <c:v>5.9789760909195535e-05</c:v>
                </c:pt>
                <c:pt idx="38">
                  <c:v>0.00014339019684380677</c:v>
                </c:pt>
                <c:pt idx="39">
                  <c:v>0.00014669389012417225</c:v>
                </c:pt>
                <c:pt idx="40">
                  <c:v>0.000144209958527615</c:v>
                </c:pt>
                <c:pt idx="41">
                  <c:v>0.00020528279042096272</c:v>
                </c:pt>
                <c:pt idx="42">
                  <c:v>0.00012694989565300723</c:v>
                </c:pt>
                <c:pt idx="43">
                  <c:v>0.00011199565660985812</c:v>
                </c:pt>
                <c:pt idx="44">
                  <c:v>0.00012124309322482671</c:v>
                </c:pt>
                <c:pt idx="45">
                  <c:v>0.0001561504747367777</c:v>
                </c:pt>
                <c:pt idx="46">
                  <c:v>0.00013114490869546092</c:v>
                </c:pt>
                <c:pt idx="47">
                  <c:v>0.00014377825617759645</c:v>
                </c:pt>
                <c:pt idx="48">
                  <c:v>5.9789760909195535e-05</c:v>
                </c:pt>
                <c:pt idx="49">
                  <c:v>0.00013054576372726083</c:v>
                </c:pt>
                <c:pt idx="50">
                  <c:v>8.86690582920114e-05</c:v>
                </c:pt>
                <c:pt idx="51">
                  <c:v>8.6392875809684e-05</c:v>
                </c:pt>
                <c:pt idx="52">
                  <c:v>0.00010531552780478775</c:v>
                </c:pt>
                <c:pt idx="53">
                  <c:v>5.9789760909195535e-05</c:v>
                </c:pt>
                <c:pt idx="54">
                  <c:v>5.9789760909195535e-05</c:v>
                </c:pt>
                <c:pt idx="55">
                  <c:v>5.9789760909195535e-05</c:v>
                </c:pt>
                <c:pt idx="56">
                  <c:v>5.9789760909195535e-05</c:v>
                </c:pt>
                <c:pt idx="57">
                  <c:v>0.00022184243821211783</c:v>
                </c:pt>
                <c:pt idx="58">
                  <c:v>0.00017839790609221098</c:v>
                </c:pt>
                <c:pt idx="59">
                  <c:v>0.0002089435119016919</c:v>
                </c:pt>
                <c:pt idx="60">
                  <c:v>5.9789760909195535e-05</c:v>
                </c:pt>
                <c:pt idx="61">
                  <c:v>5.9789760909195535e-05</c:v>
                </c:pt>
                <c:pt idx="62">
                  <c:v>5.9789760909195535e-05</c:v>
                </c:pt>
                <c:pt idx="63">
                  <c:v>5.9789760909195535e-05</c:v>
                </c:pt>
                <c:pt idx="64">
                  <c:v>5.9789760909195535e-05</c:v>
                </c:pt>
                <c:pt idx="65">
                  <c:v>5.9789760909195535e-05</c:v>
                </c:pt>
                <c:pt idx="66">
                  <c:v>5.9789760909195535e-05</c:v>
                </c:pt>
                <c:pt idx="67">
                  <c:v>0.0001332315971694076</c:v>
                </c:pt>
                <c:pt idx="68">
                  <c:v>0.00025936692437838224</c:v>
                </c:pt>
                <c:pt idx="69">
                  <c:v>0.00033313955972754864</c:v>
                </c:pt>
                <c:pt idx="70">
                  <c:v>0.0009587907001120168</c:v>
                </c:pt>
                <c:pt idx="71">
                  <c:v>4.748119278347187e-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Eucer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275960170697012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49</c:f>
              <c:numCache>
                <c:formatCode>General</c:formatCode>
                <c:ptCount val="46"/>
                <c:pt idx="0">
                  <c:v>886.0</c:v>
                </c:pt>
                <c:pt idx="1">
                  <c:v>889.5333</c:v>
                </c:pt>
                <c:pt idx="2">
                  <c:v>744.6829</c:v>
                </c:pt>
                <c:pt idx="3">
                  <c:v>913.3793</c:v>
                </c:pt>
                <c:pt idx="4">
                  <c:v>914.2963</c:v>
                </c:pt>
                <c:pt idx="5">
                  <c:v>788.1364</c:v>
                </c:pt>
                <c:pt idx="6">
                  <c:v>861.4615</c:v>
                </c:pt>
                <c:pt idx="7">
                  <c:v>585.3475</c:v>
                </c:pt>
                <c:pt idx="8">
                  <c:v>594.1087</c:v>
                </c:pt>
                <c:pt idx="9">
                  <c:v>848.3846</c:v>
                </c:pt>
                <c:pt idx="10">
                  <c:v>834.6333</c:v>
                </c:pt>
                <c:pt idx="11">
                  <c:v>911.4</c:v>
                </c:pt>
                <c:pt idx="12">
                  <c:v>855.0588</c:v>
                </c:pt>
                <c:pt idx="13">
                  <c:v>925.6667</c:v>
                </c:pt>
                <c:pt idx="14">
                  <c:v>1153.8571</c:v>
                </c:pt>
                <c:pt idx="15">
                  <c:v>1515.8333</c:v>
                </c:pt>
                <c:pt idx="16">
                  <c:v>1421.4</c:v>
                </c:pt>
                <c:pt idx="17">
                  <c:v>1765.0</c:v>
                </c:pt>
                <c:pt idx="18">
                  <c:v>382.1316</c:v>
                </c:pt>
                <c:pt idx="19">
                  <c:v>374.5222</c:v>
                </c:pt>
                <c:pt idx="20">
                  <c:v>375.9178</c:v>
                </c:pt>
                <c:pt idx="21">
                  <c:v>378.34</c:v>
                </c:pt>
                <c:pt idx="22">
                  <c:v>0.0</c:v>
                </c:pt>
                <c:pt idx="23">
                  <c:v>1615.0</c:v>
                </c:pt>
                <c:pt idx="24">
                  <c:v>0.0</c:v>
                </c:pt>
                <c:pt idx="25">
                  <c:v>0.0</c:v>
                </c:pt>
                <c:pt idx="26">
                  <c:v>0.0</c:v>
                </c:pt>
                <c:pt idx="27">
                  <c:v>0.0</c:v>
                </c:pt>
                <c:pt idx="28">
                  <c:v>1002.0</c:v>
                </c:pt>
                <c:pt idx="29">
                  <c:v>668.0</c:v>
                </c:pt>
                <c:pt idx="30">
                  <c:v>0.0</c:v>
                </c:pt>
                <c:pt idx="31">
                  <c:v>511.25</c:v>
                </c:pt>
                <c:pt idx="32">
                  <c:v>502.3571</c:v>
                </c:pt>
                <c:pt idx="33">
                  <c:v>427.78</c:v>
                </c:pt>
                <c:pt idx="34">
                  <c:v>464.6842</c:v>
                </c:pt>
                <c:pt idx="35">
                  <c:v>516.5217</c:v>
                </c:pt>
                <c:pt idx="36">
                  <c:v>482.7778</c:v>
                </c:pt>
                <c:pt idx="37">
                  <c:v>487.6154</c:v>
                </c:pt>
                <c:pt idx="38">
                  <c:v>440.8125</c:v>
                </c:pt>
                <c:pt idx="39">
                  <c:v>441.0769</c:v>
                </c:pt>
                <c:pt idx="40">
                  <c:v>426.3684</c:v>
                </c:pt>
                <c:pt idx="41">
                  <c:v>461.625</c:v>
                </c:pt>
                <c:pt idx="42">
                  <c:v>506.1538</c:v>
                </c:pt>
                <c:pt idx="43">
                  <c:v>512.8333</c:v>
                </c:pt>
                <c:pt idx="44">
                  <c:v>484.6667</c:v>
                </c:pt>
                <c:pt idx="45">
                  <c:v>419.5</c:v>
                </c:pt>
              </c:numCache>
            </c:numRef>
          </c:xVal>
          <c:yVal>
            <c:numRef>
              <c:f>Sheet1!$B$4:$B$49</c:f>
              <c:numCache>
                <c:formatCode>General</c:formatCode>
                <c:ptCount val="46"/>
                <c:pt idx="0">
                  <c:v>0.8717948717948718</c:v>
                </c:pt>
                <c:pt idx="1">
                  <c:v>0.8333333333333334</c:v>
                </c:pt>
                <c:pt idx="2">
                  <c:v>0.8541666666666666</c:v>
                </c:pt>
                <c:pt idx="3">
                  <c:v>0.9666666666666667</c:v>
                </c:pt>
                <c:pt idx="4">
                  <c:v>0.9</c:v>
                </c:pt>
                <c:pt idx="5">
                  <c:v>0.8979591836734694</c:v>
                </c:pt>
                <c:pt idx="6">
                  <c:v>0.8863636363636364</c:v>
                </c:pt>
                <c:pt idx="7">
                  <c:v>0.9516129032258065</c:v>
                </c:pt>
                <c:pt idx="8">
                  <c:v>0.9292929292929293</c:v>
                </c:pt>
                <c:pt idx="9">
                  <c:v>0.8297872340425532</c:v>
                </c:pt>
                <c:pt idx="10">
                  <c:v>0.8571428571428571</c:v>
                </c:pt>
                <c:pt idx="11">
                  <c:v>0.8</c:v>
                </c:pt>
                <c:pt idx="12">
                  <c:v>0.85</c:v>
                </c:pt>
                <c:pt idx="13">
                  <c:v>0.6428571428571429</c:v>
                </c:pt>
                <c:pt idx="14">
                  <c:v>0.7</c:v>
                </c:pt>
                <c:pt idx="15">
                  <c:v>0.4</c:v>
                </c:pt>
                <c:pt idx="16">
                  <c:v>0.4166666666666667</c:v>
                </c:pt>
                <c:pt idx="17">
                  <c:v>0.3333333333333333</c:v>
                </c:pt>
                <c:pt idx="18">
                  <c:v>0.95</c:v>
                </c:pt>
                <c:pt idx="19">
                  <c:v>0.9574468085106383</c:v>
                </c:pt>
                <c:pt idx="20">
                  <c:v>0.9240506329113924</c:v>
                </c:pt>
                <c:pt idx="21">
                  <c:v>0.9259259259259259</c:v>
                </c:pt>
                <c:pt idx="22">
                  <c:v>0.0</c:v>
                </c:pt>
                <c:pt idx="23">
                  <c:v>0.14285714285714285</c:v>
                </c:pt>
                <c:pt idx="24">
                  <c:v>0.0</c:v>
                </c:pt>
                <c:pt idx="25">
                  <c:v>0.0</c:v>
                </c:pt>
                <c:pt idx="26">
                  <c:v>0.0</c:v>
                </c:pt>
                <c:pt idx="27">
                  <c:v>0.0</c:v>
                </c:pt>
                <c:pt idx="28">
                  <c:v>0.09090909090909091</c:v>
                </c:pt>
                <c:pt idx="29">
                  <c:v>0.07142857142857142</c:v>
                </c:pt>
                <c:pt idx="30">
                  <c:v>0.0</c:v>
                </c:pt>
                <c:pt idx="31">
                  <c:v>0.23529411764705882</c:v>
                </c:pt>
                <c:pt idx="32">
                  <c:v>0.8076923076923077</c:v>
                </c:pt>
                <c:pt idx="33">
                  <c:v>0.78125</c:v>
                </c:pt>
                <c:pt idx="34">
                  <c:v>0.7169811320754716</c:v>
                </c:pt>
                <c:pt idx="35">
                  <c:v>0.5476190476190477</c:v>
                </c:pt>
                <c:pt idx="36">
                  <c:v>0.5454545454545454</c:v>
                </c:pt>
                <c:pt idx="37">
                  <c:v>0.41935483870967744</c:v>
                </c:pt>
                <c:pt idx="38">
                  <c:v>0.43243243243243246</c:v>
                </c:pt>
                <c:pt idx="39">
                  <c:v>0.52</c:v>
                </c:pt>
                <c:pt idx="40">
                  <c:v>0.5135135135135135</c:v>
                </c:pt>
                <c:pt idx="41">
                  <c:v>0.5925925925925926</c:v>
                </c:pt>
                <c:pt idx="42">
                  <c:v>0.4642857142857143</c:v>
                </c:pt>
                <c:pt idx="43">
                  <c:v>0.4444444444444444</c:v>
                </c:pt>
                <c:pt idx="44">
                  <c:v>0.39473684210526316</c:v>
                </c:pt>
                <c:pt idx="45">
                  <c:v>0.35294117647058826</c:v>
                </c:pt>
              </c:numCache>
            </c:numRef>
          </c:yVal>
          <c:smooth val="0"/>
          <c:extLst>
            <c:ext xmlns:c16="http://schemas.microsoft.com/office/drawing/2014/chart" uri="{C3380CC4-5D6E-409C-BE32-E72D297353CC}">
              <c16:uniqueId val="{00000002-F32D-48B7-BC20-E66FC6253BAD}"/>
            </c:ext>
          </c:extLst>
        </c:ser>
        <c:ser>
          <c:idx val="2"/>
          <c:order val="2"/>
          <c:tx>
            <c:strRef>
              <c:f>Sheet1!$B$51</c:f>
              <c:strCache>
                <c:ptCount val="1"/>
                <c:pt idx="0">
                  <c:v>Custom Linep3yQ</c:v>
                </c:pt>
              </c:strCache>
            </c:strRef>
          </c:tx>
          <c:spPr>
            <a:ln w="19050" cap="rnd">
              <a:solidFill>
                <a:srgbClr val="C00000"/>
              </a:solidFill>
              <a:prstDash val="sysDot"/>
              <a:round/>
            </a:ln>
            <a:effectLst/>
          </c:spPr>
          <c:marker>
            <c:symbol val="none"/>
          </c:marker>
          <c:xVal>
            <c:numRef>
              <c:f>Sheet1!$A$52:$A$53</c:f>
              <c:numCache>
                <c:formatCode>General</c:formatCode>
                <c:ptCount val="2"/>
                <c:pt idx="0">
                  <c:v>0</c:v>
                </c:pt>
                <c:pt idx="1">
                  <c:v>2273.392694123256</c:v>
                </c:pt>
              </c:numCache>
            </c:numRef>
          </c:xVal>
          <c:yVal>
            <c:numRef>
              <c:f>Sheet1!$B$52:$B$53</c:f>
              <c:numCache>
                <c:formatCode>General</c:formatCode>
                <c:ptCount val="2"/>
                <c:pt idx="0">
                  <c:v>0.8851923076923077</c:v>
                </c:pt>
                <c:pt idx="1">
                  <c:v>0.8851923076923077</c:v>
                </c:pt>
              </c:numCache>
            </c:numRef>
          </c:yVal>
          <c:smooth val="0"/>
          <c:extLst>
            <c:ext xmlns:c16="http://schemas.microsoft.com/office/drawing/2014/chart" uri="{C3380CC4-5D6E-409C-BE32-E72D297353CC}">
              <c16:uniqueId val="{00000003-F32D-48B7-BC20-E66FC6253BAD}"/>
            </c:ext>
          </c:extLst>
        </c:ser>
        <c:ser>
          <c:idx val="3"/>
          <c:order val="3"/>
          <c:tx>
            <c:strRef>
              <c:f>Sheet1!$B$5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6:$A$57</c:f>
              <c:numCache>
                <c:formatCode>General</c:formatCode>
                <c:ptCount val="2"/>
                <c:pt idx="0">
                  <c:v>2273.392694123256</c:v>
                </c:pt>
                <c:pt idx="1">
                  <c:v>2273.392694123256</c:v>
                </c:pt>
              </c:numCache>
            </c:numRef>
          </c:xVal>
          <c:yVal>
            <c:numRef>
              <c:f>Sheet1!$B$56:$B$57</c:f>
              <c:numCache>
                <c:formatCode>General</c:formatCode>
                <c:ptCount val="2"/>
                <c:pt idx="0">
                  <c:v>0.885192307692307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5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60:$A$61</c:f>
              <c:numCache>
                <c:formatCode>General</c:formatCode>
                <c:ptCount val="2"/>
                <c:pt idx="0">
                  <c:v>0</c:v>
                </c:pt>
                <c:pt idx="1">
                  <c:v>2273.392694123256</c:v>
                </c:pt>
              </c:numCache>
            </c:numRef>
          </c:xVal>
          <c:yVal>
            <c:numRef>
              <c:f>Sheet1!$B$60:$B$61</c:f>
              <c:numCache>
                <c:formatCode>General</c:formatCode>
                <c:ptCount val="2"/>
                <c:pt idx="0">
                  <c:v>0.8851923076923077</c:v>
                </c:pt>
                <c:pt idx="1">
                  <c:v>0.8851923076923077</c:v>
                </c:pt>
              </c:numCache>
            </c:numRef>
          </c:yVal>
          <c:smooth val="0"/>
          <c:extLst>
            <c:ext xmlns:c16="http://schemas.microsoft.com/office/drawing/2014/chart" uri="{C3380CC4-5D6E-409C-BE32-E72D297353CC}">
              <c16:uniqueId val="{0000000A-F32D-48B7-BC20-E66FC6253BAD}"/>
            </c:ext>
          </c:extLst>
        </c:ser>
        <c:ser>
          <c:idx val="5"/>
          <c:order val="5"/>
          <c:tx>
            <c:strRef>
              <c:f>Sheet1!$B$6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64:$A$65</c:f>
              <c:numCache>
                <c:formatCode>General</c:formatCode>
                <c:ptCount val="2"/>
                <c:pt idx="0">
                  <c:v>2273.392694123256</c:v>
                </c:pt>
                <c:pt idx="1">
                  <c:v>2273.392694123256</c:v>
                </c:pt>
              </c:numCache>
            </c:numRef>
          </c:xVal>
          <c:yVal>
            <c:numRef>
              <c:f>Sheet1!$B$64:$B$65</c:f>
              <c:numCache>
                <c:formatCode>General</c:formatCode>
                <c:ptCount val="2"/>
                <c:pt idx="0">
                  <c:v>0.885192307692307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6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68:$A$69</c:f>
              <c:numCache>
                <c:formatCode>General</c:formatCode>
                <c:ptCount val="2"/>
                <c:pt idx="0">
                  <c:v>0</c:v>
                </c:pt>
                <c:pt idx="1">
                  <c:v>423.0776893341948</c:v>
                </c:pt>
              </c:numCache>
            </c:numRef>
          </c:xVal>
          <c:yVal>
            <c:numRef>
              <c:f>Sheet1!$B$68:$B$69</c:f>
              <c:numCache>
                <c:formatCode>General</c:formatCode>
                <c:ptCount val="2"/>
                <c:pt idx="0">
                  <c:v>0.5173543292079454</c:v>
                </c:pt>
                <c:pt idx="1">
                  <c:v>0.5173543292079454</c:v>
                </c:pt>
              </c:numCache>
            </c:numRef>
          </c:yVal>
          <c:smooth val="0"/>
          <c:extLst>
            <c:ext xmlns:c16="http://schemas.microsoft.com/office/drawing/2014/chart" uri="{C3380CC4-5D6E-409C-BE32-E72D297353CC}">
              <c16:uniqueId val="{00000011-F32D-48B7-BC20-E66FC6253BAD}"/>
            </c:ext>
          </c:extLst>
        </c:ser>
        <c:ser>
          <c:idx val="7"/>
          <c:order val="7"/>
          <c:tx>
            <c:strRef>
              <c:f>Sheet1!$B$7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72:$A$73</c:f>
              <c:numCache>
                <c:formatCode>General</c:formatCode>
                <c:ptCount val="2"/>
                <c:pt idx="0">
                  <c:v>423.0776893341948</c:v>
                </c:pt>
                <c:pt idx="1">
                  <c:v>423.0776893341948</c:v>
                </c:pt>
              </c:numCache>
            </c:numRef>
          </c:xVal>
          <c:yVal>
            <c:numRef>
              <c:f>Sheet1!$B$72:$B$73</c:f>
              <c:numCache>
                <c:formatCode>General</c:formatCode>
                <c:ptCount val="2"/>
                <c:pt idx="0">
                  <c:v>0.51735432920794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7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76:$A$124</c:f>
              <c:numCache>
                <c:formatCode>General</c:formatCode>
                <c:ptCount val="49"/>
                <c:pt idx="0">
                  <c:v>886.0</c:v>
                </c:pt>
                <c:pt idx="1">
                  <c:v>889.5333</c:v>
                </c:pt>
                <c:pt idx="2">
                  <c:v>744.6829</c:v>
                </c:pt>
                <c:pt idx="3">
                  <c:v>913.3793</c:v>
                </c:pt>
                <c:pt idx="4">
                  <c:v>914.2963</c:v>
                </c:pt>
                <c:pt idx="5">
                  <c:v>788.1364</c:v>
                </c:pt>
                <c:pt idx="6">
                  <c:v>861.4615</c:v>
                </c:pt>
                <c:pt idx="7">
                  <c:v>585.3475</c:v>
                </c:pt>
                <c:pt idx="8">
                  <c:v>594.1087</c:v>
                </c:pt>
                <c:pt idx="9">
                  <c:v>848.3846</c:v>
                </c:pt>
                <c:pt idx="10">
                  <c:v>834.6333</c:v>
                </c:pt>
                <c:pt idx="11">
                  <c:v>911.4</c:v>
                </c:pt>
                <c:pt idx="12">
                  <c:v>855.0588</c:v>
                </c:pt>
                <c:pt idx="13">
                  <c:v>925.6667</c:v>
                </c:pt>
                <c:pt idx="14">
                  <c:v>1153.8571</c:v>
                </c:pt>
                <c:pt idx="15">
                  <c:v>1515.8333</c:v>
                </c:pt>
                <c:pt idx="16">
                  <c:v>1421.4</c:v>
                </c:pt>
                <c:pt idx="17">
                  <c:v>1765.0</c:v>
                </c:pt>
                <c:pt idx="18">
                  <c:v>382.1316</c:v>
                </c:pt>
                <c:pt idx="19">
                  <c:v>374.5222</c:v>
                </c:pt>
                <c:pt idx="20">
                  <c:v>375.9178</c:v>
                </c:pt>
                <c:pt idx="21">
                  <c:v>378.34</c:v>
                </c:pt>
                <c:pt idx="22">
                  <c:v>0.0</c:v>
                </c:pt>
                <c:pt idx="23">
                  <c:v>1615.0</c:v>
                </c:pt>
                <c:pt idx="24">
                  <c:v>0.0</c:v>
                </c:pt>
                <c:pt idx="25">
                  <c:v>0.0</c:v>
                </c:pt>
                <c:pt idx="26">
                  <c:v>0.0</c:v>
                </c:pt>
                <c:pt idx="27">
                  <c:v>0.0</c:v>
                </c:pt>
                <c:pt idx="28">
                  <c:v>1002.0</c:v>
                </c:pt>
                <c:pt idx="29">
                  <c:v>668.0</c:v>
                </c:pt>
                <c:pt idx="30">
                  <c:v>0.0</c:v>
                </c:pt>
                <c:pt idx="31">
                  <c:v>511.25</c:v>
                </c:pt>
                <c:pt idx="32">
                  <c:v>502.3571</c:v>
                </c:pt>
                <c:pt idx="33">
                  <c:v>427.78</c:v>
                </c:pt>
                <c:pt idx="34">
                  <c:v>464.6842</c:v>
                </c:pt>
                <c:pt idx="35">
                  <c:v>516.5217</c:v>
                </c:pt>
                <c:pt idx="36">
                  <c:v>482.7778</c:v>
                </c:pt>
                <c:pt idx="37">
                  <c:v>487.6154</c:v>
                </c:pt>
                <c:pt idx="38">
                  <c:v>440.8125</c:v>
                </c:pt>
                <c:pt idx="39">
                  <c:v>441.0769</c:v>
                </c:pt>
                <c:pt idx="40">
                  <c:v>426.3684</c:v>
                </c:pt>
                <c:pt idx="41">
                  <c:v>461.625</c:v>
                </c:pt>
                <c:pt idx="42">
                  <c:v>506.1538</c:v>
                </c:pt>
                <c:pt idx="43">
                  <c:v>512.8333</c:v>
                </c:pt>
                <c:pt idx="44">
                  <c:v>484.6667</c:v>
                </c:pt>
                <c:pt idx="45">
                  <c:v>419.5</c:v>
                </c:pt>
                <c:pt idx="46">
                  <c:v>2273.392694123256</c:v>
                </c:pt>
                <c:pt idx="47">
                  <c:v>2273.392694123256</c:v>
                </c:pt>
                <c:pt idx="48">
                  <c:v>423.0776893341948</c:v>
                </c:pt>
              </c:numCache>
            </c:numRef>
          </c:xVal>
          <c:yVal>
            <c:numRef>
              <c:f>Sheet1!$B$76:$B$124</c:f>
              <c:numCache>
                <c:formatCode>General</c:formatCode>
                <c:ptCount val="49"/>
                <c:pt idx="0">
                  <c:v>0.6093821225890146</c:v>
                </c:pt>
                <c:pt idx="1">
                  <c:v>0.6100845337600935</c:v>
                </c:pt>
                <c:pt idx="2">
                  <c:v>0.581288637828457</c:v>
                </c:pt>
                <c:pt idx="3">
                  <c:v>0.6148250587043519</c:v>
                </c:pt>
                <c:pt idx="4">
                  <c:v>0.6150073560025942</c:v>
                </c:pt>
                <c:pt idx="5">
                  <c:v>0.5899270845560143</c:v>
                </c:pt>
                <c:pt idx="6">
                  <c:v>0.6045039303829974</c:v>
                </c:pt>
                <c:pt idx="7">
                  <c:v>0.5496131602555565</c:v>
                </c:pt>
                <c:pt idx="8">
                  <c:v>0.5513548648241062</c:v>
                </c:pt>
                <c:pt idx="9">
                  <c:v>0.6019042754872677</c:v>
                </c:pt>
                <c:pt idx="10">
                  <c:v>0.5991705515643464</c:v>
                </c:pt>
                <c:pt idx="11">
                  <c:v>0.6144315788325843</c:v>
                </c:pt>
                <c:pt idx="12">
                  <c:v>0.6032310896943871</c:v>
                </c:pt>
                <c:pt idx="13">
                  <c:v>0.6172677629818022</c:v>
                </c:pt>
                <c:pt idx="14">
                  <c:v>0.6626314417220646</c:v>
                </c:pt>
                <c:pt idx="15">
                  <c:v>0.7345914016871682</c:v>
                </c:pt>
                <c:pt idx="16">
                  <c:v>0.7158182986837867</c:v>
                </c:pt>
                <c:pt idx="17">
                  <c:v>0.7841251162149104</c:v>
                </c:pt>
                <c:pt idx="18">
                  <c:v>0.5092143494269095</c:v>
                </c:pt>
                <c:pt idx="19">
                  <c:v>0.5077016198072316</c:v>
                </c:pt>
                <c:pt idx="20">
                  <c:v>0.5079790615841421</c:v>
                </c:pt>
                <c:pt idx="21">
                  <c:v>0.5084605888641883</c:v>
                </c:pt>
                <c:pt idx="22">
                  <c:v>0.4332475465337885</c:v>
                </c:pt>
                <c:pt idx="23">
                  <c:v>0.7543054927292627</c:v>
                </c:pt>
                <c:pt idx="24">
                  <c:v>0.4332475465337885</c:v>
                </c:pt>
                <c:pt idx="25">
                  <c:v>0.4332475465337885</c:v>
                </c:pt>
                <c:pt idx="26">
                  <c:v>0.4332475465337885</c:v>
                </c:pt>
                <c:pt idx="27">
                  <c:v>0.4332475465337885</c:v>
                </c:pt>
                <c:pt idx="28">
                  <c:v>0.6324426314179155</c:v>
                </c:pt>
                <c:pt idx="29">
                  <c:v>0.5660442697898732</c:v>
                </c:pt>
                <c:pt idx="30">
                  <c:v>0.4332475465337885</c:v>
                </c:pt>
                <c:pt idx="31">
                  <c:v>0.5348827632473713</c:v>
                </c:pt>
                <c:pt idx="32">
                  <c:v>0.5331148770494012</c:v>
                </c:pt>
                <c:pt idx="33">
                  <c:v>0.5182891367650578</c:v>
                </c:pt>
                <c:pt idx="34">
                  <c:v>0.5256255990919847</c:v>
                </c:pt>
                <c:pt idx="35">
                  <c:v>0.5359307639748998</c:v>
                </c:pt>
                <c:pt idx="36">
                  <c:v>0.5292225613553175</c:v>
                </c:pt>
                <c:pt idx="37">
                  <c:v>0.5301842640924787</c:v>
                </c:pt>
                <c:pt idx="38">
                  <c:v>0.5208799650522359</c:v>
                </c:pt>
                <c:pt idx="39">
                  <c:v>0.5209325271085665</c:v>
                </c:pt>
                <c:pt idx="40">
                  <c:v>0.5180085142283088</c:v>
                </c:pt>
                <c:pt idx="41">
                  <c:v>0.5250174378108695</c:v>
                </c:pt>
                <c:pt idx="42">
                  <c:v>0.5338696514793209</c:v>
                </c:pt>
                <c:pt idx="43">
                  <c:v>0.5351975193131367</c:v>
                </c:pt>
                <c:pt idx="44">
                  <c:v>0.5295980699339978</c:v>
                </c:pt>
                <c:pt idx="45">
                  <c:v>0.51664309354865</c:v>
                </c:pt>
                <c:pt idx="46">
                  <c:v>0.8851923076923076</c:v>
                </c:pt>
                <c:pt idx="47">
                  <c:v>0.8851923076923076</c:v>
                </c:pt>
                <c:pt idx="48">
                  <c:v>0.51735432920794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2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c:f>
              <c:numCache>
                <c:formatCode>General</c:formatCode>
                <c:ptCount val="4"/>
                <c:pt idx="0">
                  <c:v>0.0</c:v>
                </c:pt>
                <c:pt idx="1">
                  <c:v>0.0</c:v>
                </c:pt>
                <c:pt idx="2">
                  <c:v>0.0</c:v>
                </c:pt>
                <c:pt idx="3">
                  <c:v>0.0</c:v>
                </c:pt>
              </c:numCache>
            </c:numRef>
          </c:xVal>
          <c:yVal>
            <c:numRef>
              <c:f>Sheet1!$B$2:$B$5</c:f>
              <c:numCache>
                <c:formatCode>General</c:formatCode>
                <c:ptCount val="4"/>
                <c:pt idx="0">
                  <c:v>0.43243243243243246</c:v>
                </c:pt>
                <c:pt idx="1">
                  <c:v>0.52</c:v>
                </c:pt>
                <c:pt idx="2">
                  <c:v>0.5135135135135135</c:v>
                </c:pt>
                <c:pt idx="3">
                  <c:v>0.5925925925925926</c:v>
                </c:pt>
              </c:numCache>
            </c:numRef>
          </c:yVal>
          <c:smooth val="0"/>
          <c:extLst>
            <c:ext xmlns:c16="http://schemas.microsoft.com/office/drawing/2014/chart" uri="{C3380CC4-5D6E-409C-BE32-E72D297353CC}">
              <c16:uniqueId val="{00000000-096C-4121-9522-6AB7243CCAAE}"/>
            </c:ext>
          </c:extLst>
        </c:ser>
        <c:ser>
          <c:idx val="1"/>
          <c:order val="1"/>
          <c:tx>
            <c:strRef>
              <c:f>Sheet1!$B$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A$35</c:f>
              <c:numCache>
                <c:formatCode>General</c:formatCode>
                <c:ptCount val="28"/>
                <c:pt idx="0">
                  <c:v>1.1666906976744185</c:v>
                </c:pt>
                <c:pt idx="1">
                  <c:v>1.3526174196128073</c:v>
                </c:pt>
                <c:pt idx="2">
                  <c:v>0.8984829329962074</c:v>
                </c:pt>
                <c:pt idx="3">
                  <c:v>1.115676359039191</c:v>
                </c:pt>
                <c:pt idx="4">
                  <c:v>0.3220662452591656</c:v>
                </c:pt>
                <c:pt idx="5">
                  <c:v>0.2706085260115607</c:v>
                </c:pt>
                <c:pt idx="6">
                  <c:v>0.2533992585102797</c:v>
                </c:pt>
                <c:pt idx="7">
                  <c:v>0.2125505617977528</c:v>
                </c:pt>
                <c:pt idx="8">
                  <c:v>0.0</c:v>
                </c:pt>
                <c:pt idx="9">
                  <c:v>1.0886417256488035</c:v>
                </c:pt>
                <c:pt idx="10">
                  <c:v>0.0</c:v>
                </c:pt>
                <c:pt idx="11">
                  <c:v>0.0</c:v>
                </c:pt>
                <c:pt idx="12">
                  <c:v>0.0</c:v>
                </c:pt>
                <c:pt idx="13">
                  <c:v>0.0</c:v>
                </c:pt>
                <c:pt idx="14">
                  <c:v>0.9213793103448276</c:v>
                </c:pt>
                <c:pt idx="15">
                  <c:v>0.3931724543849323</c:v>
                </c:pt>
                <c:pt idx="16">
                  <c:v>0.0</c:v>
                </c:pt>
                <c:pt idx="17">
                  <c:v>0.3098484848484849</c:v>
                </c:pt>
                <c:pt idx="18">
                  <c:v>0.3157492771841609</c:v>
                </c:pt>
                <c:pt idx="19">
                  <c:v>0.24755787037037036</c:v>
                </c:pt>
                <c:pt idx="20">
                  <c:v>0.29170382925298177</c:v>
                </c:pt>
                <c:pt idx="21">
                  <c:v>0.3180552339901478</c:v>
                </c:pt>
                <c:pt idx="22">
                  <c:v>0.3030620213433773</c:v>
                </c:pt>
                <c:pt idx="23">
                  <c:v>0.4930388270980789</c:v>
                </c:pt>
                <c:pt idx="24">
                  <c:v>0.5117834175935289</c:v>
                </c:pt>
                <c:pt idx="25">
                  <c:v>0.34569147286821705</c:v>
                </c:pt>
                <c:pt idx="26">
                  <c:v>0.39318552208800644</c:v>
                </c:pt>
                <c:pt idx="27">
                  <c:v>0.4241658240647118</c:v>
                </c:pt>
              </c:numCache>
            </c:numRef>
          </c:xVal>
          <c:yVal>
            <c:numRef>
              <c:f>Sheet1!$B$8:$B$35</c:f>
              <c:numCache>
                <c:formatCode>General</c:formatCode>
                <c:ptCount val="28"/>
                <c:pt idx="0">
                  <c:v>0.7</c:v>
                </c:pt>
                <c:pt idx="1">
                  <c:v>0.4</c:v>
                </c:pt>
                <c:pt idx="2">
                  <c:v>0.4166666666666667</c:v>
                </c:pt>
                <c:pt idx="3">
                  <c:v>0.3333333333333333</c:v>
                </c:pt>
                <c:pt idx="4">
                  <c:v>0.95</c:v>
                </c:pt>
                <c:pt idx="5">
                  <c:v>0.9574468085106383</c:v>
                </c:pt>
                <c:pt idx="6">
                  <c:v>0.9240506329113924</c:v>
                </c:pt>
                <c:pt idx="7">
                  <c:v>0.9259259259259259</c:v>
                </c:pt>
                <c:pt idx="8">
                  <c:v>0.0</c:v>
                </c:pt>
                <c:pt idx="9">
                  <c:v>0.14285714285714285</c:v>
                </c:pt>
                <c:pt idx="10">
                  <c:v>0.0</c:v>
                </c:pt>
                <c:pt idx="11">
                  <c:v>0.0</c:v>
                </c:pt>
                <c:pt idx="12">
                  <c:v>0.0</c:v>
                </c:pt>
                <c:pt idx="13">
                  <c:v>0.0</c:v>
                </c:pt>
                <c:pt idx="14">
                  <c:v>0.09090909090909091</c:v>
                </c:pt>
                <c:pt idx="15">
                  <c:v>0.07142857142857142</c:v>
                </c:pt>
                <c:pt idx="16">
                  <c:v>0.0</c:v>
                </c:pt>
                <c:pt idx="17">
                  <c:v>0.23529411764705882</c:v>
                </c:pt>
                <c:pt idx="18">
                  <c:v>0.8076923076923077</c:v>
                </c:pt>
                <c:pt idx="19">
                  <c:v>0.78125</c:v>
                </c:pt>
                <c:pt idx="20">
                  <c:v>0.7169811320754716</c:v>
                </c:pt>
                <c:pt idx="21">
                  <c:v>0.5476190476190477</c:v>
                </c:pt>
                <c:pt idx="22">
                  <c:v>0.5454545454545454</c:v>
                </c:pt>
                <c:pt idx="23">
                  <c:v>0.41935483870967744</c:v>
                </c:pt>
                <c:pt idx="24">
                  <c:v>0.4642857142857143</c:v>
                </c:pt>
                <c:pt idx="25">
                  <c:v>0.4444444444444444</c:v>
                </c:pt>
                <c:pt idx="26">
                  <c:v>0.39473684210526316</c:v>
                </c:pt>
                <c:pt idx="27">
                  <c:v>0.35294117647058826</c:v>
                </c:pt>
              </c:numCache>
            </c:numRef>
          </c:yVal>
          <c:smooth val="0"/>
          <c:extLst>
            <c:ext xmlns:c16="http://schemas.microsoft.com/office/drawing/2014/chart" uri="{C3380CC4-5D6E-409C-BE32-E72D297353CC}">
              <c16:uniqueId val="{00000002-096C-4121-9522-6AB7243CCAAE}"/>
            </c:ext>
          </c:extLst>
        </c:ser>
        <c:ser>
          <c:idx val="2"/>
          <c:order val="2"/>
          <c:tx>
            <c:strRef>
              <c:f>Sheet1!$B$3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38:$A$39</c:f>
              <c:numCache>
                <c:formatCode>General</c:formatCode>
                <c:ptCount val="2"/>
                <c:pt idx="0">
                  <c:v>0</c:v>
                </c:pt>
                <c:pt idx="1">
                  <c:v>1.081838899866899</c:v>
                </c:pt>
              </c:numCache>
            </c:numRef>
          </c:xVal>
          <c:yVal>
            <c:numRef>
              <c:f>Sheet1!$B$38:$B$39</c:f>
              <c:numCache>
                <c:formatCode>General</c:formatCode>
                <c:ptCount val="2"/>
                <c:pt idx="0">
                  <c:v>0.4756625460896322</c:v>
                </c:pt>
                <c:pt idx="1">
                  <c:v>0.4756625460896322</c:v>
                </c:pt>
              </c:numCache>
            </c:numRef>
          </c:yVal>
          <c:smooth val="0"/>
          <c:extLst>
            <c:ext xmlns:c16="http://schemas.microsoft.com/office/drawing/2014/chart" uri="{C3380CC4-5D6E-409C-BE32-E72D297353CC}">
              <c16:uniqueId val="{00000005-096C-4121-9522-6AB7243CCAAE}"/>
            </c:ext>
          </c:extLst>
        </c:ser>
        <c:ser>
          <c:idx val="3"/>
          <c:order val="3"/>
          <c:tx>
            <c:strRef>
              <c:f>Sheet1!$B$4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42:$A$43</c:f>
              <c:numCache>
                <c:formatCode>General</c:formatCode>
                <c:ptCount val="2"/>
                <c:pt idx="0">
                  <c:v>1.081838899866899</c:v>
                </c:pt>
                <c:pt idx="1">
                  <c:v>1.081838899866899</c:v>
                </c:pt>
              </c:numCache>
            </c:numRef>
          </c:xVal>
          <c:yVal>
            <c:numRef>
              <c:f>Sheet1!$B$42:$B$43</c:f>
              <c:numCache>
                <c:formatCode>General</c:formatCode>
                <c:ptCount val="2"/>
                <c:pt idx="0">
                  <c:v>0.47566254608963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4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46:$A$47</c:f>
              <c:numCache>
                <c:formatCode>General</c:formatCode>
                <c:ptCount val="2"/>
                <c:pt idx="0">
                  <c:v>0</c:v>
                </c:pt>
                <c:pt idx="1">
                  <c:v>1.081838899866899</c:v>
                </c:pt>
              </c:numCache>
            </c:numRef>
          </c:xVal>
          <c:yVal>
            <c:numRef>
              <c:f>Sheet1!$B$46:$B$47</c:f>
              <c:numCache>
                <c:formatCode>General</c:formatCode>
                <c:ptCount val="2"/>
                <c:pt idx="0">
                  <c:v>0.4756625460896322</c:v>
                </c:pt>
                <c:pt idx="1">
                  <c:v>0.4756625460896322</c:v>
                </c:pt>
              </c:numCache>
            </c:numRef>
          </c:yVal>
          <c:smooth val="0"/>
          <c:extLst>
            <c:ext xmlns:c16="http://schemas.microsoft.com/office/drawing/2014/chart" uri="{C3380CC4-5D6E-409C-BE32-E72D297353CC}">
              <c16:uniqueId val="{0000000D-096C-4121-9522-6AB7243CCAAE}"/>
            </c:ext>
          </c:extLst>
        </c:ser>
        <c:ser>
          <c:idx val="5"/>
          <c:order val="5"/>
          <c:tx>
            <c:strRef>
              <c:f>Sheet1!$B$4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0:$A$51</c:f>
              <c:numCache>
                <c:formatCode>General</c:formatCode>
                <c:ptCount val="2"/>
                <c:pt idx="0">
                  <c:v>1.081838899866899</c:v>
                </c:pt>
                <c:pt idx="1">
                  <c:v>1.081838899866899</c:v>
                </c:pt>
              </c:numCache>
            </c:numRef>
          </c:xVal>
          <c:yVal>
            <c:numRef>
              <c:f>Sheet1!$B$50:$B$51</c:f>
              <c:numCache>
                <c:formatCode>General</c:formatCode>
                <c:ptCount val="2"/>
                <c:pt idx="0">
                  <c:v>0.47566254608963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5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54:$A$55</c:f>
              <c:numCache>
                <c:formatCode>General</c:formatCode>
                <c:ptCount val="2"/>
                <c:pt idx="0">
                  <c:v>0</c:v>
                </c:pt>
                <c:pt idx="1">
                  <c:v>1.5327707158231747</c:v>
                </c:pt>
              </c:numCache>
            </c:numRef>
          </c:xVal>
          <c:yVal>
            <c:numRef>
              <c:f>Sheet1!$B$54:$B$55</c:f>
              <c:numCache>
                <c:formatCode>General</c:formatCode>
                <c:ptCount val="2"/>
                <c:pt idx="0">
                  <c:v>0.5173543292079454</c:v>
                </c:pt>
                <c:pt idx="1">
                  <c:v>0.5173543292079454</c:v>
                </c:pt>
              </c:numCache>
            </c:numRef>
          </c:yVal>
          <c:smooth val="0"/>
          <c:extLst>
            <c:ext xmlns:c16="http://schemas.microsoft.com/office/drawing/2014/chart" uri="{C3380CC4-5D6E-409C-BE32-E72D297353CC}">
              <c16:uniqueId val="{00000015-096C-4121-9522-6AB7243CCAAE}"/>
            </c:ext>
          </c:extLst>
        </c:ser>
        <c:ser>
          <c:idx val="7"/>
          <c:order val="7"/>
          <c:tx>
            <c:strRef>
              <c:f>Sheet1!$B$5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58:$A$59</c:f>
              <c:numCache>
                <c:formatCode>General</c:formatCode>
                <c:ptCount val="2"/>
                <c:pt idx="0">
                  <c:v>1.5327707158231747</c:v>
                </c:pt>
                <c:pt idx="1">
                  <c:v>1.5327707158231747</c:v>
                </c:pt>
              </c:numCache>
            </c:numRef>
          </c:xVal>
          <c:yVal>
            <c:numRef>
              <c:f>Sheet1!$B$58:$B$59</c:f>
              <c:numCache>
                <c:formatCode>General</c:formatCode>
                <c:ptCount val="2"/>
                <c:pt idx="0">
                  <c:v>0.517354329207945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6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62:$A$92</c:f>
              <c:numCache>
                <c:formatCode>General</c:formatCode>
                <c:ptCount val="31"/>
                <c:pt idx="0">
                  <c:v>1.1666906976744185</c:v>
                </c:pt>
                <c:pt idx="1">
                  <c:v>1.3526174196128073</c:v>
                </c:pt>
                <c:pt idx="2">
                  <c:v>0.8984829329962074</c:v>
                </c:pt>
                <c:pt idx="3">
                  <c:v>1.115676359039191</c:v>
                </c:pt>
                <c:pt idx="4">
                  <c:v>0.3220662452591656</c:v>
                </c:pt>
                <c:pt idx="5">
                  <c:v>0.2706085260115607</c:v>
                </c:pt>
                <c:pt idx="6">
                  <c:v>0.2533992585102797</c:v>
                </c:pt>
                <c:pt idx="7">
                  <c:v>0.2125505617977528</c:v>
                </c:pt>
                <c:pt idx="8">
                  <c:v>0.0</c:v>
                </c:pt>
                <c:pt idx="9">
                  <c:v>1.0886417256488035</c:v>
                </c:pt>
                <c:pt idx="10">
                  <c:v>0.0</c:v>
                </c:pt>
                <c:pt idx="11">
                  <c:v>0.0</c:v>
                </c:pt>
                <c:pt idx="12">
                  <c:v>0.0</c:v>
                </c:pt>
                <c:pt idx="13">
                  <c:v>0.0</c:v>
                </c:pt>
                <c:pt idx="14">
                  <c:v>0.9213793103448276</c:v>
                </c:pt>
                <c:pt idx="15">
                  <c:v>0.3931724543849323</c:v>
                </c:pt>
                <c:pt idx="16">
                  <c:v>0.0</c:v>
                </c:pt>
                <c:pt idx="17">
                  <c:v>0.3098484848484849</c:v>
                </c:pt>
                <c:pt idx="18">
                  <c:v>0.3157492771841609</c:v>
                </c:pt>
                <c:pt idx="19">
                  <c:v>0.24755787037037036</c:v>
                </c:pt>
                <c:pt idx="20">
                  <c:v>0.29170382925298177</c:v>
                </c:pt>
                <c:pt idx="21">
                  <c:v>0.3180552339901478</c:v>
                </c:pt>
                <c:pt idx="22">
                  <c:v>0.3030620213433773</c:v>
                </c:pt>
                <c:pt idx="23">
                  <c:v>0.4930388270980789</c:v>
                </c:pt>
                <c:pt idx="24">
                  <c:v>0.5117834175935289</c:v>
                </c:pt>
                <c:pt idx="25">
                  <c:v>0.34569147286821705</c:v>
                </c:pt>
                <c:pt idx="26">
                  <c:v>0.39318552208800644</c:v>
                </c:pt>
                <c:pt idx="27">
                  <c:v>0.4241658240647118</c:v>
                </c:pt>
                <c:pt idx="28">
                  <c:v>1.081838899866899</c:v>
                </c:pt>
                <c:pt idx="29">
                  <c:v>1.081838899866899</c:v>
                </c:pt>
                <c:pt idx="30">
                  <c:v>1.5327707158231747</c:v>
                </c:pt>
              </c:numCache>
            </c:numRef>
          </c:xVal>
          <c:yVal>
            <c:numRef>
              <c:f>Sheet1!$B$62:$B$92</c:f>
              <c:numCache>
                <c:formatCode>General</c:formatCode>
                <c:ptCount val="31"/>
                <c:pt idx="0">
                  <c:v>0.4835076850357231</c:v>
                </c:pt>
                <c:pt idx="1">
                  <c:v>0.5006979038064161</c:v>
                </c:pt>
                <c:pt idx="2">
                  <c:v>0.45871001150741336</c:v>
                </c:pt>
                <c:pt idx="3">
                  <c:v>0.4787910545673369</c:v>
                </c:pt>
                <c:pt idx="4">
                  <c:v>0.4054162791058845</c:v>
                </c:pt>
                <c:pt idx="5">
                  <c:v>0.4006586550156779</c:v>
                </c:pt>
                <c:pt idx="6">
                  <c:v>0.39906753852555643</c:v>
                </c:pt>
                <c:pt idx="7">
                  <c:v>0.39529079236628883</c:v>
                </c:pt>
                <c:pt idx="8">
                  <c:v>0.37563901440213027</c:v>
                </c:pt>
                <c:pt idx="9">
                  <c:v>0.4762915146544015</c:v>
                </c:pt>
                <c:pt idx="10">
                  <c:v>0.37563901440213027</c:v>
                </c:pt>
                <c:pt idx="11">
                  <c:v>0.37563901440213027</c:v>
                </c:pt>
                <c:pt idx="12">
                  <c:v>0.37563901440213027</c:v>
                </c:pt>
                <c:pt idx="13">
                  <c:v>0.37563901440213027</c:v>
                </c:pt>
                <c:pt idx="14">
                  <c:v>0.46082694086310627</c:v>
                </c:pt>
                <c:pt idx="15">
                  <c:v>0.41199054276246433</c:v>
                </c:pt>
                <c:pt idx="16">
                  <c:v>0.37563901440213027</c:v>
                </c:pt>
                <c:pt idx="17">
                  <c:v>0.4042866621677818</c:v>
                </c:pt>
                <c:pt idx="18">
                  <c:v>0.4048322314657997</c:v>
                </c:pt>
                <c:pt idx="19">
                  <c:v>0.3985274615586595</c:v>
                </c:pt>
                <c:pt idx="20">
                  <c:v>0.4026090625416832</c:v>
                </c:pt>
                <c:pt idx="21">
                  <c:v>0.40504543321301184</c:v>
                </c:pt>
                <c:pt idx="22">
                  <c:v>0.40365920640932024</c:v>
                </c:pt>
                <c:pt idx="23">
                  <c:v>0.4212238836016764</c:v>
                </c:pt>
                <c:pt idx="24">
                  <c:v>0.4229569513824907</c:v>
                </c:pt>
                <c:pt idx="25">
                  <c:v>0.4076005957381198</c:v>
                </c:pt>
                <c:pt idx="26">
                  <c:v>0.41199175096251395</c:v>
                </c:pt>
                <c:pt idx="27">
                  <c:v>0.41485609538277524</c:v>
                </c:pt>
                <c:pt idx="28">
                  <c:v>0.4756625460896322</c:v>
                </c:pt>
                <c:pt idx="29">
                  <c:v>0.4756625460896322</c:v>
                </c:pt>
                <c:pt idx="30">
                  <c:v>0.517354329207945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48936170212766"/>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35</c:f>
              <c:numCache>
                <c:formatCode>General</c:formatCode>
                <c:ptCount val="32"/>
                <c:pt idx="0">
                  <c:v>1153.8571</c:v>
                </c:pt>
                <c:pt idx="1">
                  <c:v>1515.8333</c:v>
                </c:pt>
                <c:pt idx="2">
                  <c:v>1421.4</c:v>
                </c:pt>
                <c:pt idx="3">
                  <c:v>1765.0</c:v>
                </c:pt>
                <c:pt idx="4">
                  <c:v>382.1316</c:v>
                </c:pt>
                <c:pt idx="5">
                  <c:v>374.5222</c:v>
                </c:pt>
                <c:pt idx="6">
                  <c:v>375.9178</c:v>
                </c:pt>
                <c:pt idx="7">
                  <c:v>378.34</c:v>
                </c:pt>
                <c:pt idx="8">
                  <c:v>0.0</c:v>
                </c:pt>
                <c:pt idx="9">
                  <c:v>1615.0</c:v>
                </c:pt>
                <c:pt idx="10">
                  <c:v>0.0</c:v>
                </c:pt>
                <c:pt idx="11">
                  <c:v>0.0</c:v>
                </c:pt>
                <c:pt idx="12">
                  <c:v>0.0</c:v>
                </c:pt>
                <c:pt idx="13">
                  <c:v>0.0</c:v>
                </c:pt>
                <c:pt idx="14">
                  <c:v>1002.0</c:v>
                </c:pt>
                <c:pt idx="15">
                  <c:v>668.0</c:v>
                </c:pt>
                <c:pt idx="16">
                  <c:v>0.0</c:v>
                </c:pt>
                <c:pt idx="17">
                  <c:v>511.25</c:v>
                </c:pt>
                <c:pt idx="18">
                  <c:v>502.3571</c:v>
                </c:pt>
                <c:pt idx="19">
                  <c:v>427.78</c:v>
                </c:pt>
                <c:pt idx="20">
                  <c:v>464.6842</c:v>
                </c:pt>
                <c:pt idx="21">
                  <c:v>516.5217</c:v>
                </c:pt>
                <c:pt idx="22">
                  <c:v>482.7778</c:v>
                </c:pt>
                <c:pt idx="23">
                  <c:v>487.6154</c:v>
                </c:pt>
                <c:pt idx="24">
                  <c:v>440.8125</c:v>
                </c:pt>
                <c:pt idx="25">
                  <c:v>441.0769</c:v>
                </c:pt>
                <c:pt idx="26">
                  <c:v>426.3684</c:v>
                </c:pt>
                <c:pt idx="27">
                  <c:v>461.625</c:v>
                </c:pt>
                <c:pt idx="28">
                  <c:v>506.1538</c:v>
                </c:pt>
                <c:pt idx="29">
                  <c:v>512.8333</c:v>
                </c:pt>
                <c:pt idx="30">
                  <c:v>484.6667</c:v>
                </c:pt>
                <c:pt idx="31">
                  <c:v>419.5</c:v>
                </c:pt>
              </c:numCache>
            </c:numRef>
          </c:xVal>
          <c:yVal>
            <c:numRef>
              <c:f>Sheet1!$B$4:$B$35</c:f>
              <c:numCache>
                <c:formatCode>General</c:formatCode>
                <c:ptCount val="32"/>
                <c:pt idx="0">
                  <c:v>0.7</c:v>
                </c:pt>
                <c:pt idx="1">
                  <c:v>0.4</c:v>
                </c:pt>
                <c:pt idx="2">
                  <c:v>0.4166666666666667</c:v>
                </c:pt>
                <c:pt idx="3">
                  <c:v>0.3333333333333333</c:v>
                </c:pt>
                <c:pt idx="4">
                  <c:v>0.95</c:v>
                </c:pt>
                <c:pt idx="5">
                  <c:v>0.9574468085106383</c:v>
                </c:pt>
                <c:pt idx="6">
                  <c:v>0.9240506329113924</c:v>
                </c:pt>
                <c:pt idx="7">
                  <c:v>0.9259259259259259</c:v>
                </c:pt>
                <c:pt idx="8">
                  <c:v>0.0</c:v>
                </c:pt>
                <c:pt idx="9">
                  <c:v>0.14285714285714285</c:v>
                </c:pt>
                <c:pt idx="10">
                  <c:v>0.0</c:v>
                </c:pt>
                <c:pt idx="11">
                  <c:v>0.0</c:v>
                </c:pt>
                <c:pt idx="12">
                  <c:v>0.0</c:v>
                </c:pt>
                <c:pt idx="13">
                  <c:v>0.0</c:v>
                </c:pt>
                <c:pt idx="14">
                  <c:v>0.09090909090909091</c:v>
                </c:pt>
                <c:pt idx="15">
                  <c:v>0.07142857142857142</c:v>
                </c:pt>
                <c:pt idx="16">
                  <c:v>0.0</c:v>
                </c:pt>
                <c:pt idx="17">
                  <c:v>0.23529411764705882</c:v>
                </c:pt>
                <c:pt idx="18">
                  <c:v>0.8076923076923077</c:v>
                </c:pt>
                <c:pt idx="19">
                  <c:v>0.78125</c:v>
                </c:pt>
                <c:pt idx="20">
                  <c:v>0.7169811320754716</c:v>
                </c:pt>
                <c:pt idx="21">
                  <c:v>0.5476190476190477</c:v>
                </c:pt>
                <c:pt idx="22">
                  <c:v>0.5454545454545454</c:v>
                </c:pt>
                <c:pt idx="23">
                  <c:v>0.41935483870967744</c:v>
                </c:pt>
                <c:pt idx="24">
                  <c:v>0.43243243243243246</c:v>
                </c:pt>
                <c:pt idx="25">
                  <c:v>0.52</c:v>
                </c:pt>
                <c:pt idx="26">
                  <c:v>0.5135135135135135</c:v>
                </c:pt>
                <c:pt idx="27">
                  <c:v>0.5925925925925926</c:v>
                </c:pt>
                <c:pt idx="28">
                  <c:v>0.4642857142857143</c:v>
                </c:pt>
                <c:pt idx="29">
                  <c:v>0.4444444444444444</c:v>
                </c:pt>
                <c:pt idx="30">
                  <c:v>0.39473684210526316</c:v>
                </c:pt>
                <c:pt idx="31">
                  <c:v>0.35294117647058826</c:v>
                </c:pt>
              </c:numCache>
            </c:numRef>
          </c:yVal>
          <c:smooth val="0"/>
          <c:extLst>
            <c:ext xmlns:c16="http://schemas.microsoft.com/office/drawing/2014/chart" uri="{C3380CC4-5D6E-409C-BE32-E72D297353CC}">
              <c16:uniqueId val="{00000002-F32D-48B7-BC20-E66FC6253BAD}"/>
            </c:ext>
          </c:extLst>
        </c:ser>
        <c:ser>
          <c:idx val="2"/>
          <c:order val="2"/>
          <c:tx>
            <c:strRef>
              <c:f>Sheet1!$B$37</c:f>
              <c:strCache>
                <c:ptCount val="1"/>
                <c:pt idx="0">
                  <c:v>Custom Linep3yQ</c:v>
                </c:pt>
              </c:strCache>
            </c:strRef>
          </c:tx>
          <c:spPr>
            <a:ln w="19050" cap="rnd">
              <a:solidFill>
                <a:srgbClr val="C00000"/>
              </a:solidFill>
              <a:prstDash val="sysDot"/>
              <a:round/>
            </a:ln>
            <a:effectLst/>
          </c:spPr>
          <c:marker>
            <c:symbol val="none"/>
          </c:marker>
          <c:xVal>
            <c:numRef>
              <c:f>Sheet1!$A$38:$A$39</c:f>
              <c:numCache>
                <c:formatCode>General</c:formatCode>
                <c:ptCount val="2"/>
                <c:pt idx="0">
                  <c:v>0</c:v>
                </c:pt>
                <c:pt idx="1">
                  <c:v>1281.0370861677677</c:v>
                </c:pt>
              </c:numCache>
            </c:numRef>
          </c:xVal>
          <c:yVal>
            <c:numRef>
              <c:f>Sheet1!$B$38:$B$39</c:f>
              <c:numCache>
                <c:formatCode>General</c:formatCode>
                <c:ptCount val="2"/>
                <c:pt idx="0">
                  <c:v>0.4756625460896322</c:v>
                </c:pt>
                <c:pt idx="1">
                  <c:v>0.4756625460896322</c:v>
                </c:pt>
              </c:numCache>
            </c:numRef>
          </c:yVal>
          <c:smooth val="0"/>
          <c:extLst>
            <c:ext xmlns:c16="http://schemas.microsoft.com/office/drawing/2014/chart" uri="{C3380CC4-5D6E-409C-BE32-E72D297353CC}">
              <c16:uniqueId val="{00000003-F32D-48B7-BC20-E66FC6253BAD}"/>
            </c:ext>
          </c:extLst>
        </c:ser>
        <c:ser>
          <c:idx val="3"/>
          <c:order val="3"/>
          <c:tx>
            <c:strRef>
              <c:f>Sheet1!$B$4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42:$A$43</c:f>
              <c:numCache>
                <c:formatCode>General</c:formatCode>
                <c:ptCount val="2"/>
                <c:pt idx="0">
                  <c:v>1281.0370861677677</c:v>
                </c:pt>
                <c:pt idx="1">
                  <c:v>1281.0370861677677</c:v>
                </c:pt>
              </c:numCache>
            </c:numRef>
          </c:xVal>
          <c:yVal>
            <c:numRef>
              <c:f>Sheet1!$B$42:$B$43</c:f>
              <c:numCache>
                <c:formatCode>General</c:formatCode>
                <c:ptCount val="2"/>
                <c:pt idx="0">
                  <c:v>0.47566254608963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4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46:$A$47</c:f>
              <c:numCache>
                <c:formatCode>General</c:formatCode>
                <c:ptCount val="2"/>
                <c:pt idx="0">
                  <c:v>0</c:v>
                </c:pt>
                <c:pt idx="1">
                  <c:v>1281.0370861677677</c:v>
                </c:pt>
              </c:numCache>
            </c:numRef>
          </c:xVal>
          <c:yVal>
            <c:numRef>
              <c:f>Sheet1!$B$46:$B$47</c:f>
              <c:numCache>
                <c:formatCode>General</c:formatCode>
                <c:ptCount val="2"/>
                <c:pt idx="0">
                  <c:v>0.4756625460896322</c:v>
                </c:pt>
                <c:pt idx="1">
                  <c:v>0.4756625460896322</c:v>
                </c:pt>
              </c:numCache>
            </c:numRef>
          </c:yVal>
          <c:smooth val="0"/>
          <c:extLst>
            <c:ext xmlns:c16="http://schemas.microsoft.com/office/drawing/2014/chart" uri="{C3380CC4-5D6E-409C-BE32-E72D297353CC}">
              <c16:uniqueId val="{0000000A-F32D-48B7-BC20-E66FC6253BAD}"/>
            </c:ext>
          </c:extLst>
        </c:ser>
        <c:ser>
          <c:idx val="5"/>
          <c:order val="5"/>
          <c:tx>
            <c:strRef>
              <c:f>Sheet1!$B$4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0:$A$51</c:f>
              <c:numCache>
                <c:formatCode>General</c:formatCode>
                <c:ptCount val="2"/>
                <c:pt idx="0">
                  <c:v>1281.0370861677677</c:v>
                </c:pt>
                <c:pt idx="1">
                  <c:v>1281.0370861677677</c:v>
                </c:pt>
              </c:numCache>
            </c:numRef>
          </c:xVal>
          <c:yVal>
            <c:numRef>
              <c:f>Sheet1!$B$50:$B$51</c:f>
              <c:numCache>
                <c:formatCode>General</c:formatCode>
                <c:ptCount val="2"/>
                <c:pt idx="0">
                  <c:v>0.47566254608963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5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54:$A$55</c:f>
              <c:numCache>
                <c:formatCode>General</c:formatCode>
                <c:ptCount val="2"/>
                <c:pt idx="0">
                  <c:v>0</c:v>
                </c:pt>
                <c:pt idx="1">
                  <c:v>1910.6183124548315</c:v>
                </c:pt>
              </c:numCache>
            </c:numRef>
          </c:xVal>
          <c:yVal>
            <c:numRef>
              <c:f>Sheet1!$B$54:$B$55</c:f>
              <c:numCache>
                <c:formatCode>General</c:formatCode>
                <c:ptCount val="2"/>
                <c:pt idx="0">
                  <c:v>0.5173543292079454</c:v>
                </c:pt>
                <c:pt idx="1">
                  <c:v>0.5173543292079454</c:v>
                </c:pt>
              </c:numCache>
            </c:numRef>
          </c:yVal>
          <c:smooth val="0"/>
          <c:extLst>
            <c:ext xmlns:c16="http://schemas.microsoft.com/office/drawing/2014/chart" uri="{C3380CC4-5D6E-409C-BE32-E72D297353CC}">
              <c16:uniqueId val="{00000011-F32D-48B7-BC20-E66FC6253BAD}"/>
            </c:ext>
          </c:extLst>
        </c:ser>
        <c:ser>
          <c:idx val="7"/>
          <c:order val="7"/>
          <c:tx>
            <c:strRef>
              <c:f>Sheet1!$B$5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58:$A$59</c:f>
              <c:numCache>
                <c:formatCode>General</c:formatCode>
                <c:ptCount val="2"/>
                <c:pt idx="0">
                  <c:v>1910.6183124548315</c:v>
                </c:pt>
                <c:pt idx="1">
                  <c:v>1910.6183124548315</c:v>
                </c:pt>
              </c:numCache>
            </c:numRef>
          </c:xVal>
          <c:yVal>
            <c:numRef>
              <c:f>Sheet1!$B$58:$B$59</c:f>
              <c:numCache>
                <c:formatCode>General</c:formatCode>
                <c:ptCount val="2"/>
                <c:pt idx="0">
                  <c:v>0.517354329207945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6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62:$A$96</c:f>
              <c:numCache>
                <c:formatCode>General</c:formatCode>
                <c:ptCount val="35"/>
                <c:pt idx="0">
                  <c:v>1153.8571</c:v>
                </c:pt>
                <c:pt idx="1">
                  <c:v>1515.8333</c:v>
                </c:pt>
                <c:pt idx="2">
                  <c:v>1421.4</c:v>
                </c:pt>
                <c:pt idx="3">
                  <c:v>1765.0</c:v>
                </c:pt>
                <c:pt idx="4">
                  <c:v>382.1316</c:v>
                </c:pt>
                <c:pt idx="5">
                  <c:v>374.5222</c:v>
                </c:pt>
                <c:pt idx="6">
                  <c:v>375.9178</c:v>
                </c:pt>
                <c:pt idx="7">
                  <c:v>378.34</c:v>
                </c:pt>
                <c:pt idx="8">
                  <c:v>0.0</c:v>
                </c:pt>
                <c:pt idx="9">
                  <c:v>1615.0</c:v>
                </c:pt>
                <c:pt idx="10">
                  <c:v>0.0</c:v>
                </c:pt>
                <c:pt idx="11">
                  <c:v>0.0</c:v>
                </c:pt>
                <c:pt idx="12">
                  <c:v>0.0</c:v>
                </c:pt>
                <c:pt idx="13">
                  <c:v>0.0</c:v>
                </c:pt>
                <c:pt idx="14">
                  <c:v>1002.0</c:v>
                </c:pt>
                <c:pt idx="15">
                  <c:v>668.0</c:v>
                </c:pt>
                <c:pt idx="16">
                  <c:v>0.0</c:v>
                </c:pt>
                <c:pt idx="17">
                  <c:v>511.25</c:v>
                </c:pt>
                <c:pt idx="18">
                  <c:v>502.3571</c:v>
                </c:pt>
                <c:pt idx="19">
                  <c:v>427.78</c:v>
                </c:pt>
                <c:pt idx="20">
                  <c:v>464.6842</c:v>
                </c:pt>
                <c:pt idx="21">
                  <c:v>516.5217</c:v>
                </c:pt>
                <c:pt idx="22">
                  <c:v>482.7778</c:v>
                </c:pt>
                <c:pt idx="23">
                  <c:v>487.6154</c:v>
                </c:pt>
                <c:pt idx="24">
                  <c:v>440.8125</c:v>
                </c:pt>
                <c:pt idx="25">
                  <c:v>441.0769</c:v>
                </c:pt>
                <c:pt idx="26">
                  <c:v>426.3684</c:v>
                </c:pt>
                <c:pt idx="27">
                  <c:v>461.625</c:v>
                </c:pt>
                <c:pt idx="28">
                  <c:v>506.1538</c:v>
                </c:pt>
                <c:pt idx="29">
                  <c:v>512.8333</c:v>
                </c:pt>
                <c:pt idx="30">
                  <c:v>484.6667</c:v>
                </c:pt>
                <c:pt idx="31">
                  <c:v>419.5</c:v>
                </c:pt>
                <c:pt idx="32">
                  <c:v>1281.0370861677677</c:v>
                </c:pt>
                <c:pt idx="33">
                  <c:v>1281.0370861677677</c:v>
                </c:pt>
                <c:pt idx="34">
                  <c:v>1910.6183124548315</c:v>
                </c:pt>
              </c:numCache>
            </c:numRef>
          </c:xVal>
          <c:yVal>
            <c:numRef>
              <c:f>Sheet1!$B$62:$B$96</c:f>
              <c:numCache>
                <c:formatCode>General</c:formatCode>
                <c:ptCount val="35"/>
                <c:pt idx="0">
                  <c:v>0.4672405027076096</c:v>
                </c:pt>
                <c:pt idx="1">
                  <c:v>0.4912110923539884</c:v>
                </c:pt>
                <c:pt idx="2">
                  <c:v>0.48495758208659134</c:v>
                </c:pt>
                <c:pt idx="3">
                  <c:v>0.5077112730820097</c:v>
                </c:pt>
                <c:pt idx="4">
                  <c:v>0.41613571935404514</c:v>
                </c:pt>
                <c:pt idx="5">
                  <c:v>0.4156318138352426</c:v>
                </c:pt>
                <c:pt idx="6">
                  <c:v>0.41572423249401214</c:v>
                </c:pt>
                <c:pt idx="7">
                  <c:v>0.41588463409566845</c:v>
                </c:pt>
                <c:pt idx="8">
                  <c:v>0.39083040984885065</c:v>
                </c:pt>
                <c:pt idx="9">
                  <c:v>0.4977780552434976</c:v>
                </c:pt>
                <c:pt idx="10">
                  <c:v>0.39083040984885065</c:v>
                </c:pt>
                <c:pt idx="11">
                  <c:v>0.39083040984885065</c:v>
                </c:pt>
                <c:pt idx="12">
                  <c:v>0.39083040984885065</c:v>
                </c:pt>
                <c:pt idx="13">
                  <c:v>0.39083040984885065</c:v>
                </c:pt>
                <c:pt idx="14">
                  <c:v>0.4571843050101115</c:v>
                </c:pt>
                <c:pt idx="15">
                  <c:v>0.43506633995635785</c:v>
                </c:pt>
                <c:pt idx="16">
                  <c:v>0.39083040984885065</c:v>
                </c:pt>
                <c:pt idx="17">
                  <c:v>0.42468612731511274</c:v>
                </c:pt>
                <c:pt idx="18">
                  <c:v>0.4240972265623387</c:v>
                </c:pt>
                <c:pt idx="19">
                  <c:v>0.419158622695242</c:v>
                </c:pt>
                <c:pt idx="20">
                  <c:v>0.4216024724136155</c:v>
                </c:pt>
                <c:pt idx="21">
                  <c:v>0.42503522694497464</c:v>
                </c:pt>
                <c:pt idx="22">
                  <c:v>0.42280065688216817</c:v>
                </c:pt>
                <c:pt idx="23">
                  <c:v>0.42312100977960543</c:v>
                </c:pt>
                <c:pt idx="24">
                  <c:v>0.4200216537717781</c:v>
                </c:pt>
                <c:pt idx="25">
                  <c:v>0.42003916272375474</c:v>
                </c:pt>
                <c:pt idx="26">
                  <c:v>0.4190651444932364</c:v>
                </c:pt>
                <c:pt idx="27">
                  <c:v>0.42139988774687165</c:v>
                </c:pt>
                <c:pt idx="28">
                  <c:v>0.42434864955012186</c:v>
                </c:pt>
                <c:pt idx="29">
                  <c:v>0.4247909757404708</c:v>
                </c:pt>
                <c:pt idx="30">
                  <c:v>0.42292574258333593</c:v>
                </c:pt>
                <c:pt idx="31">
                  <c:v>0.41861030907055613</c:v>
                </c:pt>
                <c:pt idx="32">
                  <c:v>0.4756625460896322</c:v>
                </c:pt>
                <c:pt idx="33">
                  <c:v>0.4756625460896322</c:v>
                </c:pt>
                <c:pt idx="34">
                  <c:v>0.517354329207945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29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4893617021276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9</c:f>
              <c:numCache>
                <c:formatCode>General</c:formatCode>
                <c:ptCount val="88"/>
                <c:pt idx="0">
                  <c:v>3581.0714</c:v>
                </c:pt>
                <c:pt idx="1">
                  <c:v>6230.0</c:v>
                </c:pt>
                <c:pt idx="2">
                  <c:v>6349.6667</c:v>
                </c:pt>
                <c:pt idx="3">
                  <c:v>7566.0</c:v>
                </c:pt>
                <c:pt idx="4">
                  <c:v>5972.0</c:v>
                </c:pt>
                <c:pt idx="5">
                  <c:v>4616.6</c:v>
                </c:pt>
                <c:pt idx="6">
                  <c:v>5895.1667</c:v>
                </c:pt>
                <c:pt idx="7">
                  <c:v>3666.0</c:v>
                </c:pt>
                <c:pt idx="8">
                  <c:v>5288.0</c:v>
                </c:pt>
                <c:pt idx="9">
                  <c:v>4848.0</c:v>
                </c:pt>
                <c:pt idx="10">
                  <c:v>7054.0</c:v>
                </c:pt>
                <c:pt idx="11">
                  <c:v>4469.4286</c:v>
                </c:pt>
                <c:pt idx="12">
                  <c:v>5880.3333</c:v>
                </c:pt>
                <c:pt idx="13">
                  <c:v>5253.1667</c:v>
                </c:pt>
                <c:pt idx="14">
                  <c:v>5922.0</c:v>
                </c:pt>
                <c:pt idx="15">
                  <c:v>3753.2</c:v>
                </c:pt>
                <c:pt idx="16">
                  <c:v>2170.25</c:v>
                </c:pt>
                <c:pt idx="17">
                  <c:v>4387.0</c:v>
                </c:pt>
                <c:pt idx="18">
                  <c:v>3807.0</c:v>
                </c:pt>
                <c:pt idx="19">
                  <c:v>3804.25</c:v>
                </c:pt>
                <c:pt idx="20">
                  <c:v>3359.5</c:v>
                </c:pt>
                <c:pt idx="21">
                  <c:v>4369.8</c:v>
                </c:pt>
                <c:pt idx="22">
                  <c:v>6539.0</c:v>
                </c:pt>
                <c:pt idx="23">
                  <c:v>5053.4</c:v>
                </c:pt>
                <c:pt idx="24">
                  <c:v>3948.1429</c:v>
                </c:pt>
                <c:pt idx="25">
                  <c:v>6402.2</c:v>
                </c:pt>
                <c:pt idx="26">
                  <c:v>7763.5</c:v>
                </c:pt>
                <c:pt idx="27">
                  <c:v>3345.6</c:v>
                </c:pt>
                <c:pt idx="28">
                  <c:v>7017.25</c:v>
                </c:pt>
                <c:pt idx="29">
                  <c:v>3873.25</c:v>
                </c:pt>
                <c:pt idx="30">
                  <c:v>5011.5</c:v>
                </c:pt>
                <c:pt idx="31">
                  <c:v>5771.0</c:v>
                </c:pt>
                <c:pt idx="32">
                  <c:v>3461.5</c:v>
                </c:pt>
                <c:pt idx="33">
                  <c:v>3505.5833</c:v>
                </c:pt>
                <c:pt idx="34">
                  <c:v>3707.6429</c:v>
                </c:pt>
                <c:pt idx="35">
                  <c:v>6483.0</c:v>
                </c:pt>
                <c:pt idx="36">
                  <c:v>4574.5</c:v>
                </c:pt>
                <c:pt idx="37">
                  <c:v>7663.0</c:v>
                </c:pt>
                <c:pt idx="38">
                  <c:v>5601.0</c:v>
                </c:pt>
                <c:pt idx="39">
                  <c:v>5694.6667</c:v>
                </c:pt>
                <c:pt idx="40">
                  <c:v>5335.6667</c:v>
                </c:pt>
                <c:pt idx="41">
                  <c:v>10645.0</c:v>
                </c:pt>
                <c:pt idx="42">
                  <c:v>5430.5</c:v>
                </c:pt>
                <c:pt idx="43">
                  <c:v>3861.5714</c:v>
                </c:pt>
                <c:pt idx="44">
                  <c:v>4392.6</c:v>
                </c:pt>
                <c:pt idx="45">
                  <c:v>4084.4545</c:v>
                </c:pt>
                <c:pt idx="46">
                  <c:v>3682.6154</c:v>
                </c:pt>
                <c:pt idx="47">
                  <c:v>4401.9</c:v>
                </c:pt>
                <c:pt idx="48">
                  <c:v>3202.1176</c:v>
                </c:pt>
                <c:pt idx="49">
                  <c:v>3614.8333</c:v>
                </c:pt>
                <c:pt idx="50">
                  <c:v>4083.9</c:v>
                </c:pt>
                <c:pt idx="51">
                  <c:v>4174.75</c:v>
                </c:pt>
                <c:pt idx="52">
                  <c:v>3479.2</c:v>
                </c:pt>
                <c:pt idx="53">
                  <c:v>3423.5</c:v>
                </c:pt>
                <c:pt idx="54">
                  <c:v>4202.4</c:v>
                </c:pt>
                <c:pt idx="55">
                  <c:v>15202.0</c:v>
                </c:pt>
                <c:pt idx="56">
                  <c:v>6202.5</c:v>
                </c:pt>
                <c:pt idx="57">
                  <c:v>10480.0</c:v>
                </c:pt>
                <c:pt idx="58">
                  <c:v>4706.5</c:v>
                </c:pt>
                <c:pt idx="59">
                  <c:v>3925.25</c:v>
                </c:pt>
                <c:pt idx="60">
                  <c:v>3984.0</c:v>
                </c:pt>
                <c:pt idx="61">
                  <c:v>3894.25</c:v>
                </c:pt>
                <c:pt idx="62">
                  <c:v>3523.6667</c:v>
                </c:pt>
                <c:pt idx="63">
                  <c:v>2920.0</c:v>
                </c:pt>
                <c:pt idx="64">
                  <c:v>3077.6</c:v>
                </c:pt>
                <c:pt idx="65">
                  <c:v>6638.0</c:v>
                </c:pt>
                <c:pt idx="66">
                  <c:v>10119.0</c:v>
                </c:pt>
                <c:pt idx="67">
                  <c:v>5730.5</c:v>
                </c:pt>
                <c:pt idx="68">
                  <c:v>17630.0</c:v>
                </c:pt>
                <c:pt idx="69">
                  <c:v>5701.0</c:v>
                </c:pt>
                <c:pt idx="70">
                  <c:v>5620.2857</c:v>
                </c:pt>
                <c:pt idx="71">
                  <c:v>6033.2</c:v>
                </c:pt>
                <c:pt idx="72">
                  <c:v>5945.6</c:v>
                </c:pt>
                <c:pt idx="73">
                  <c:v>5831.6</c:v>
                </c:pt>
                <c:pt idx="74">
                  <c:v>5610.1429</c:v>
                </c:pt>
                <c:pt idx="75">
                  <c:v>8324.4</c:v>
                </c:pt>
                <c:pt idx="76">
                  <c:v>8366.5</c:v>
                </c:pt>
                <c:pt idx="77">
                  <c:v>4291.4545</c:v>
                </c:pt>
                <c:pt idx="78">
                  <c:v>22182.0</c:v>
                </c:pt>
                <c:pt idx="79">
                  <c:v>18169.0</c:v>
                </c:pt>
                <c:pt idx="80">
                  <c:v>17887.0</c:v>
                </c:pt>
                <c:pt idx="81">
                  <c:v>11855.0</c:v>
                </c:pt>
                <c:pt idx="82">
                  <c:v>14450.0</c:v>
                </c:pt>
                <c:pt idx="83">
                  <c:v>17175.0</c:v>
                </c:pt>
                <c:pt idx="84">
                  <c:v>6509.5</c:v>
                </c:pt>
                <c:pt idx="85">
                  <c:v>11668.0</c:v>
                </c:pt>
                <c:pt idx="86">
                  <c:v>5744.6667</c:v>
                </c:pt>
                <c:pt idx="87">
                  <c:v>10423.0</c:v>
                </c:pt>
              </c:numCache>
            </c:numRef>
          </c:xVal>
          <c:yVal>
            <c:numRef>
              <c:f>Sheet1!$B$2:$B$89</c:f>
              <c:numCache>
                <c:formatCode>General</c:formatCode>
                <c:ptCount val="88"/>
                <c:pt idx="0">
                  <c:v>0.0011991434689507495</c:v>
                </c:pt>
                <c:pt idx="1">
                  <c:v>0.00028042624789680314</c:v>
                </c:pt>
                <c:pt idx="2">
                  <c:v>0.0002781125428756837</c:v>
                </c:pt>
                <c:pt idx="3">
                  <c:v>0.00019022256039566293</c:v>
                </c:pt>
                <c:pt idx="4">
                  <c:v>0.00021652051531882645</c:v>
                </c:pt>
                <c:pt idx="5">
                  <c:v>0.0005567308762943993</c:v>
                </c:pt>
                <c:pt idx="6">
                  <c:v>0.0006385016494625945</c:v>
                </c:pt>
                <c:pt idx="7">
                  <c:v>0.0008297771455666193</c:v>
                </c:pt>
                <c:pt idx="8">
                  <c:v>0.0004679457182966776</c:v>
                </c:pt>
                <c:pt idx="9">
                  <c:v>0.000599101347978033</c:v>
                </c:pt>
                <c:pt idx="10">
                  <c:v>0.00028153153153153153</c:v>
                </c:pt>
                <c:pt idx="11">
                  <c:v>0.0006146821215314366</c:v>
                </c:pt>
                <c:pt idx="12">
                  <c:v>0.00046289152908501776</c:v>
                </c:pt>
                <c:pt idx="13">
                  <c:v>0.0005209237714881056</c:v>
                </c:pt>
                <c:pt idx="14">
                  <c:v>0.00018675880100849752</c:v>
                </c:pt>
                <c:pt idx="15">
                  <c:v>0.0005408913890090869</c:v>
                </c:pt>
                <c:pt idx="16">
                  <c:v>0.0004919444102816382</c:v>
                </c:pt>
                <c:pt idx="17">
                  <c:v>0.0004095004095004095</c:v>
                </c:pt>
                <c:pt idx="18">
                  <c:v>0.0005367686527106817</c:v>
                </c:pt>
                <c:pt idx="19">
                  <c:v>0.0005787874403125452</c:v>
                </c:pt>
                <c:pt idx="20">
                  <c:v>0.00034246575342465754</c:v>
                </c:pt>
                <c:pt idx="21">
                  <c:v>0.000943040362127499</c:v>
                </c:pt>
                <c:pt idx="22">
                  <c:v>0.0005824111822947001</c:v>
                </c:pt>
                <c:pt idx="23">
                  <c:v>0.0009085953116481918</c:v>
                </c:pt>
                <c:pt idx="24">
                  <c:v>0.001445086705202312</c:v>
                </c:pt>
                <c:pt idx="25">
                  <c:v>0.0008476012883539584</c:v>
                </c:pt>
                <c:pt idx="26">
                  <c:v>0.00035180299032541777</c:v>
                </c:pt>
                <c:pt idx="27">
                  <c:v>0.0008799718409010912</c:v>
                </c:pt>
                <c:pt idx="28">
                  <c:v>0.0006350214319733291</c:v>
                </c:pt>
                <c:pt idx="29">
                  <c:v>0.0007874015748031496</c:v>
                </c:pt>
                <c:pt idx="30">
                  <c:v>0.0008008008008008008</c:v>
                </c:pt>
                <c:pt idx="31">
                  <c:v>0.0006087662337662338</c:v>
                </c:pt>
                <c:pt idx="32">
                  <c:v>0.001777145903678692</c:v>
                </c:pt>
                <c:pt idx="33">
                  <c:v>0.001896633475580844</c:v>
                </c:pt>
                <c:pt idx="34">
                  <c:v>0.001708150317227916</c:v>
                </c:pt>
                <c:pt idx="35">
                  <c:v>0.0005660911406736484</c:v>
                </c:pt>
                <c:pt idx="36">
                  <c:v>0.0007027406886858749</c:v>
                </c:pt>
                <c:pt idx="37">
                  <c:v>0.0003351206434316354</c:v>
                </c:pt>
                <c:pt idx="38">
                  <c:v>0.0007473841554559044</c:v>
                </c:pt>
                <c:pt idx="39">
                  <c:v>0.00045676004872107184</c:v>
                </c:pt>
                <c:pt idx="40">
                  <c:v>0.0005029337803855825</c:v>
                </c:pt>
                <c:pt idx="41">
                  <c:v>0.0001405283867341203</c:v>
                </c:pt>
                <c:pt idx="42">
                  <c:v>0.0004873294346978557</c:v>
                </c:pt>
                <c:pt idx="43">
                  <c:v>0.0006576475009394964</c:v>
                </c:pt>
                <c:pt idx="44">
                  <c:v>0.00043825050398807957</c:v>
                </c:pt>
                <c:pt idx="45">
                  <c:v>0.0009446114212108201</c:v>
                </c:pt>
                <c:pt idx="46">
                  <c:v>0.0011339846475924634</c:v>
                </c:pt>
                <c:pt idx="47">
                  <c:v>0.0006391409945033875</c:v>
                </c:pt>
                <c:pt idx="48">
                  <c:v>0.0007207359986433205</c:v>
                </c:pt>
                <c:pt idx="49">
                  <c:v>0.0008355964069354502</c:v>
                </c:pt>
                <c:pt idx="50">
                  <c:v>0.0007998080460689434</c:v>
                </c:pt>
                <c:pt idx="51">
                  <c:v>0.00027660604384205796</c:v>
                </c:pt>
                <c:pt idx="52">
                  <c:v>0.00046048996131884323</c:v>
                </c:pt>
                <c:pt idx="53">
                  <c:v>0.0010156408693885843</c:v>
                </c:pt>
                <c:pt idx="54">
                  <c:v>0.000524824183898394</c:v>
                </c:pt>
                <c:pt idx="55">
                  <c:v>9.974067424695791e-05</c:v>
                </c:pt>
                <c:pt idx="56">
                  <c:v>0.0001799694052011158</c:v>
                </c:pt>
                <c:pt idx="57">
                  <c:v>8.116224332440549e-05</c:v>
                </c:pt>
                <c:pt idx="58">
                  <c:v>0.00021578464692237147</c:v>
                </c:pt>
                <c:pt idx="59">
                  <c:v>0.00022507314877335134</c:v>
                </c:pt>
                <c:pt idx="60">
                  <c:v>0.000373440884308014</c:v>
                </c:pt>
                <c:pt idx="61">
                  <c:v>0.00030483158055174517</c:v>
                </c:pt>
                <c:pt idx="62">
                  <c:v>0.0003925417075564279</c:v>
                </c:pt>
                <c:pt idx="63">
                  <c:v>0.0005675368898978433</c:v>
                </c:pt>
                <c:pt idx="64">
                  <c:v>0.0003447800303406427</c:v>
                </c:pt>
                <c:pt idx="65">
                  <c:v>7.407956144899622e-05</c:v>
                </c:pt>
                <c:pt idx="66">
                  <c:v>7.678722260615834e-05</c:v>
                </c:pt>
                <c:pt idx="67">
                  <c:v>0.00023070711731456916</c:v>
                </c:pt>
                <c:pt idx="68">
                  <c:v>0.00011132138483802739</c:v>
                </c:pt>
                <c:pt idx="69">
                  <c:v>0.0005693463903438852</c:v>
                </c:pt>
                <c:pt idx="70">
                  <c:v>0.0008230452674897119</c:v>
                </c:pt>
                <c:pt idx="71">
                  <c:v>0.0006932889628397116</c:v>
                </c:pt>
                <c:pt idx="72">
                  <c:v>0.0007217090069284065</c:v>
                </c:pt>
                <c:pt idx="73">
                  <c:v>0.0007265329845975008</c:v>
                </c:pt>
                <c:pt idx="74">
                  <c:v>0.0011488593467914</c:v>
                </c:pt>
                <c:pt idx="75">
                  <c:v>0.0008382229673093043</c:v>
                </c:pt>
                <c:pt idx="76">
                  <c:v>0.0006619228859837829</c:v>
                </c:pt>
                <c:pt idx="77">
                  <c:v>0.0014915254237288136</c:v>
                </c:pt>
                <c:pt idx="78">
                  <c:v>0.00016943409013893597</c:v>
                </c:pt>
                <c:pt idx="79">
                  <c:v>0.00021222410865874363</c:v>
                </c:pt>
                <c:pt idx="80">
                  <c:v>0.00021235931195582927</c:v>
                </c:pt>
                <c:pt idx="81">
                  <c:v>7.328154770628756e-05</c:v>
                </c:pt>
                <c:pt idx="82">
                  <c:v>5.774672287347693e-05</c:v>
                </c:pt>
                <c:pt idx="83">
                  <c:v>3.8968124074507054e-05</c:v>
                </c:pt>
                <c:pt idx="84">
                  <c:v>0.00012721027859051011</c:v>
                </c:pt>
                <c:pt idx="85">
                  <c:v>6.444544692917445e-05</c:v>
                </c:pt>
                <c:pt idx="86">
                  <c:v>0.00020827547903360177</c:v>
                </c:pt>
                <c:pt idx="87">
                  <c:v>7.61266747868453e-05</c:v>
                </c:pt>
              </c:numCache>
            </c:numRef>
          </c:yVal>
          <c:smooth val="0"/>
          <c:extLst>
            <c:ext xmlns:c16="http://schemas.microsoft.com/office/drawing/2014/chart" uri="{C3380CC4-5D6E-409C-BE32-E72D297353CC}">
              <c16:uniqueId val="{00000000-F32D-48B7-BC20-E66FC6253BAD}"/>
            </c:ext>
          </c:extLst>
        </c:ser>
        <c:ser>
          <c:idx val="1"/>
          <c:order val="1"/>
          <c:tx>
            <c:strRef>
              <c:f>Sheet1!$B$9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92:$A$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numCache>
            </c:numRef>
          </c:xVal>
          <c:yVal>
            <c:numRef>
              <c:f>Sheet1!$B$92:$B$160</c:f>
              <c:numCache>
                <c:formatCode>General</c:formatCode>
                <c:ptCount val="69"/>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6.82081713389264e-05</c:v>
                </c:pt>
                <c:pt idx="21">
                  <c:v>0.00014652014652014652</c:v>
                </c:pt>
                <c:pt idx="22">
                  <c:v>0.0</c:v>
                </c:pt>
                <c:pt idx="23">
                  <c:v>0.0</c:v>
                </c:pt>
                <c:pt idx="24">
                  <c:v>0.00010643959552953698</c:v>
                </c:pt>
                <c:pt idx="25">
                  <c:v>0.0</c:v>
                </c:pt>
                <c:pt idx="26">
                  <c:v>0.00019327406262079628</c:v>
                </c:pt>
                <c:pt idx="27">
                  <c:v>8.983111749910169e-05</c:v>
                </c:pt>
                <c:pt idx="28">
                  <c:v>0.00015355086372360844</c:v>
                </c:pt>
                <c:pt idx="29">
                  <c:v>0.0</c:v>
                </c:pt>
                <c:pt idx="30">
                  <c:v>0.0</c:v>
                </c:pt>
                <c:pt idx="31">
                  <c:v>8.554319931565441e-05</c:v>
                </c:pt>
                <c:pt idx="32">
                  <c:v>8.918219923303308e-05</c:v>
                </c:pt>
                <c:pt idx="33">
                  <c:v>0.00019845207382417147</c:v>
                </c:pt>
                <c:pt idx="34">
                  <c:v>0.0</c:v>
                </c:pt>
                <c:pt idx="35">
                  <c:v>0.0</c:v>
                </c:pt>
                <c:pt idx="36">
                  <c:v>0.00011122233344455567</c:v>
                </c:pt>
                <c:pt idx="37">
                  <c:v>0.0</c:v>
                </c:pt>
                <c:pt idx="38">
                  <c:v>0.0003213883978788366</c:v>
                </c:pt>
                <c:pt idx="39">
                  <c:v>0.0003180155827635554</c:v>
                </c:pt>
                <c:pt idx="40">
                  <c:v>0.00015946420028703555</c:v>
                </c:pt>
                <c:pt idx="41">
                  <c:v>0.00014992503748125936</c:v>
                </c:pt>
                <c:pt idx="42">
                  <c:v>0.00047244094488188977</c:v>
                </c:pt>
                <c:pt idx="43">
                  <c:v>0.000792016473942658</c:v>
                </c:pt>
                <c:pt idx="44">
                  <c:v>0.00028814291888776836</c:v>
                </c:pt>
                <c:pt idx="45">
                  <c:v>0.00026215755669157164</c:v>
                </c:pt>
                <c:pt idx="46">
                  <c:v>0.00031660598385309483</c:v>
                </c:pt>
                <c:pt idx="47">
                  <c:v>0.00016564518800728838</c:v>
                </c:pt>
                <c:pt idx="48">
                  <c:v>0.0</c:v>
                </c:pt>
                <c:pt idx="49">
                  <c:v>0.0001686056314280897</c:v>
                </c:pt>
                <c:pt idx="50">
                  <c:v>0.0006701289998324678</c:v>
                </c:pt>
                <c:pt idx="51">
                  <c:v>0.0005676657584014533</c:v>
                </c:pt>
                <c:pt idx="52">
                  <c:v>0.0006191183754333828</c:v>
                </c:pt>
                <c:pt idx="53">
                  <c:v>0.0</c:v>
                </c:pt>
                <c:pt idx="54">
                  <c:v>0.0</c:v>
                </c:pt>
                <c:pt idx="55">
                  <c:v>0.0</c:v>
                </c:pt>
                <c:pt idx="56">
                  <c:v>0.0</c:v>
                </c:pt>
                <c:pt idx="57">
                  <c:v>0.0001386193512614361</c:v>
                </c:pt>
                <c:pt idx="58">
                  <c:v>0.00012913223140495868</c:v>
                </c:pt>
                <c:pt idx="59">
                  <c:v>0.0001426533523537803</c:v>
                </c:pt>
                <c:pt idx="60">
                  <c:v>0.0</c:v>
                </c:pt>
                <c:pt idx="61">
                  <c:v>0.0</c:v>
                </c:pt>
                <c:pt idx="62">
                  <c:v>0.0</c:v>
                </c:pt>
                <c:pt idx="63">
                  <c:v>0.0</c:v>
                </c:pt>
                <c:pt idx="64">
                  <c:v>0.0</c:v>
                </c:pt>
                <c:pt idx="65">
                  <c:v>0.0</c:v>
                </c:pt>
                <c:pt idx="66">
                  <c:v>0.0</c:v>
                </c:pt>
                <c:pt idx="67">
                  <c:v>0.00014715620631300125</c:v>
                </c:pt>
                <c:pt idx="68">
                  <c:v>5.969436485195797e-05</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66084.41892733451</c:v>
                </c:pt>
              </c:numCache>
            </c:numRef>
          </c:xVal>
          <c:yVal>
            <c:numRef>
              <c:f>Sheet1!$B$163:$B$164</c:f>
              <c:numCache>
                <c:formatCode>General</c:formatCode>
                <c:ptCount val="2"/>
                <c:pt idx="0">
                  <c:v>0.0009587907001120169</c:v>
                </c:pt>
                <c:pt idx="1">
                  <c:v>0.0009587907001120169</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66084.41892733451</c:v>
                </c:pt>
                <c:pt idx="1">
                  <c:v>66084.41892733451</c:v>
                </c:pt>
              </c:numCache>
            </c:numRef>
          </c:xVal>
          <c:yVal>
            <c:numRef>
              <c:f>Sheet1!$B$167:$B$168</c:f>
              <c:numCache>
                <c:formatCode>General</c:formatCode>
                <c:ptCount val="2"/>
                <c:pt idx="0">
                  <c:v>0.000958790700112016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20133.573273890583</c:v>
                </c:pt>
              </c:numCache>
            </c:numRef>
          </c:xVal>
          <c:yVal>
            <c:numRef>
              <c:f>Sheet1!$B$171:$B$172</c:f>
              <c:numCache>
                <c:formatCode>General</c:formatCode>
                <c:ptCount val="2"/>
                <c:pt idx="0">
                  <c:v>0.00033313955972754864</c:v>
                </c:pt>
                <c:pt idx="1">
                  <c:v>0.00033313955972754864</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20133.573273890583</c:v>
                </c:pt>
                <c:pt idx="1">
                  <c:v>20133.573273890583</c:v>
                </c:pt>
              </c:numCache>
            </c:numRef>
          </c:xVal>
          <c:yVal>
            <c:numRef>
              <c:f>Sheet1!$B$175:$B$176</c:f>
              <c:numCache>
                <c:formatCode>General</c:formatCode>
                <c:ptCount val="2"/>
                <c:pt idx="0">
                  <c:v>0.000333139559727548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846.5587546324125</c:v>
                </c:pt>
              </c:numCache>
            </c:numRef>
          </c:xVal>
          <c:yVal>
            <c:numRef>
              <c:f>Sheet1!$B$179:$B$180</c:f>
              <c:numCache>
                <c:formatCode>General</c:formatCode>
                <c:ptCount val="2"/>
                <c:pt idx="0">
                  <c:v>4.748119278347187e-05</c:v>
                </c:pt>
                <c:pt idx="1">
                  <c:v>4.748119278347187e-0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846.5587546324125</c:v>
                </c:pt>
                <c:pt idx="1">
                  <c:v>-846.5587546324125</c:v>
                </c:pt>
              </c:numCache>
            </c:numRef>
          </c:xVal>
          <c:yVal>
            <c:numRef>
              <c:f>Sheet1!$B$183:$B$184</c:f>
              <c:numCache>
                <c:formatCode>General</c:formatCode>
                <c:ptCount val="2"/>
                <c:pt idx="0">
                  <c:v>4.748119278347187e-0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58</c:f>
              <c:numCache>
                <c:formatCode>General</c:formatCode>
                <c:ptCount val="72"/>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11184.0</c:v>
                </c:pt>
                <c:pt idx="21">
                  <c:v>6263.5</c:v>
                </c:pt>
                <c:pt idx="22">
                  <c:v>0.0</c:v>
                </c:pt>
                <c:pt idx="23">
                  <c:v>0.0</c:v>
                </c:pt>
                <c:pt idx="24">
                  <c:v>9487.0</c:v>
                </c:pt>
                <c:pt idx="25">
                  <c:v>0.0</c:v>
                </c:pt>
                <c:pt idx="26">
                  <c:v>4962.0</c:v>
                </c:pt>
                <c:pt idx="27">
                  <c:v>7258.0</c:v>
                </c:pt>
                <c:pt idx="28">
                  <c:v>8632.5</c:v>
                </c:pt>
                <c:pt idx="29">
                  <c:v>0.0</c:v>
                </c:pt>
                <c:pt idx="30">
                  <c:v>0.0</c:v>
                </c:pt>
                <c:pt idx="31">
                  <c:v>13577.0</c:v>
                </c:pt>
                <c:pt idx="32">
                  <c:v>11756.0</c:v>
                </c:pt>
                <c:pt idx="33">
                  <c:v>11149.5</c:v>
                </c:pt>
                <c:pt idx="34">
                  <c:v>0.0</c:v>
                </c:pt>
                <c:pt idx="35">
                  <c:v>0.0</c:v>
                </c:pt>
                <c:pt idx="36">
                  <c:v>11632.0</c:v>
                </c:pt>
                <c:pt idx="37">
                  <c:v>0.0</c:v>
                </c:pt>
                <c:pt idx="38">
                  <c:v>6797.5</c:v>
                </c:pt>
                <c:pt idx="39">
                  <c:v>5324.5</c:v>
                </c:pt>
                <c:pt idx="40">
                  <c:v>6378.0</c:v>
                </c:pt>
                <c:pt idx="41">
                  <c:v>11232.0</c:v>
                </c:pt>
                <c:pt idx="42">
                  <c:v>5020.6667</c:v>
                </c:pt>
                <c:pt idx="43">
                  <c:v>4092.0</c:v>
                </c:pt>
                <c:pt idx="44">
                  <c:v>4588.5</c:v>
                </c:pt>
                <c:pt idx="45">
                  <c:v>7233.0</c:v>
                </c:pt>
                <c:pt idx="46">
                  <c:v>5489.5</c:v>
                </c:pt>
                <c:pt idx="47">
                  <c:v>6588.0</c:v>
                </c:pt>
                <c:pt idx="48">
                  <c:v>0.0</c:v>
                </c:pt>
                <c:pt idx="49">
                  <c:v>5862.0</c:v>
                </c:pt>
                <c:pt idx="50">
                  <c:v>2251.0</c:v>
                </c:pt>
                <c:pt idx="51">
                  <c:v>2011.0</c:v>
                </c:pt>
                <c:pt idx="52">
                  <c:v>3521.6</c:v>
                </c:pt>
                <c:pt idx="53">
                  <c:v>0.0</c:v>
                </c:pt>
                <c:pt idx="54">
                  <c:v>0.0</c:v>
                </c:pt>
                <c:pt idx="55">
                  <c:v>0.0</c:v>
                </c:pt>
                <c:pt idx="56">
                  <c:v>0.0</c:v>
                </c:pt>
                <c:pt idx="57">
                  <c:v>12607.0</c:v>
                </c:pt>
                <c:pt idx="58">
                  <c:v>9331.0</c:v>
                </c:pt>
                <c:pt idx="59">
                  <c:v>11822.0</c:v>
                </c:pt>
                <c:pt idx="60">
                  <c:v>0.0</c:v>
                </c:pt>
                <c:pt idx="61">
                  <c:v>0.0</c:v>
                </c:pt>
                <c:pt idx="62">
                  <c:v>0.0</c:v>
                </c:pt>
                <c:pt idx="63">
                  <c:v>0.0</c:v>
                </c:pt>
                <c:pt idx="64">
                  <c:v>0.0</c:v>
                </c:pt>
                <c:pt idx="65">
                  <c:v>0.0</c:v>
                </c:pt>
                <c:pt idx="66">
                  <c:v>0.0</c:v>
                </c:pt>
                <c:pt idx="67">
                  <c:v>4605.0</c:v>
                </c:pt>
                <c:pt idx="68">
                  <c:v>14032.0</c:v>
                </c:pt>
                <c:pt idx="69">
                  <c:v>20133.573273890583</c:v>
                </c:pt>
                <c:pt idx="70">
                  <c:v>66084.41892733451</c:v>
                </c:pt>
                <c:pt idx="71">
                  <c:v>-846.5587546324125</c:v>
                </c:pt>
              </c:numCache>
            </c:numRef>
          </c:xVal>
          <c:yVal>
            <c:numRef>
              <c:f>Sheet1!$B$187:$B$258</c:f>
              <c:numCache>
                <c:formatCode>General</c:formatCode>
                <c:ptCount val="72"/>
                <c:pt idx="0">
                  <c:v>5.900764986399631e-05</c:v>
                </c:pt>
                <c:pt idx="1">
                  <c:v>5.900764986399631e-05</c:v>
                </c:pt>
                <c:pt idx="2">
                  <c:v>5.900764986399631e-05</c:v>
                </c:pt>
                <c:pt idx="3">
                  <c:v>5.900764986399631e-05</c:v>
                </c:pt>
                <c:pt idx="4">
                  <c:v>5.900764986399631e-05</c:v>
                </c:pt>
                <c:pt idx="5">
                  <c:v>5.900764986399631e-05</c:v>
                </c:pt>
                <c:pt idx="6">
                  <c:v>5.900764986399631e-05</c:v>
                </c:pt>
                <c:pt idx="7">
                  <c:v>5.900764986399631e-05</c:v>
                </c:pt>
                <c:pt idx="8">
                  <c:v>5.900764986399631e-05</c:v>
                </c:pt>
                <c:pt idx="9">
                  <c:v>5.900764986399631e-05</c:v>
                </c:pt>
                <c:pt idx="10">
                  <c:v>5.900764986399631e-05</c:v>
                </c:pt>
                <c:pt idx="11">
                  <c:v>5.900764986399631e-05</c:v>
                </c:pt>
                <c:pt idx="12">
                  <c:v>5.900764986399631e-05</c:v>
                </c:pt>
                <c:pt idx="13">
                  <c:v>5.900764986399631e-05</c:v>
                </c:pt>
                <c:pt idx="14">
                  <c:v>5.900764986399631e-05</c:v>
                </c:pt>
                <c:pt idx="15">
                  <c:v>5.900764986399631e-05</c:v>
                </c:pt>
                <c:pt idx="16">
                  <c:v>5.900764986399631e-05</c:v>
                </c:pt>
                <c:pt idx="17">
                  <c:v>5.900764986399631e-05</c:v>
                </c:pt>
                <c:pt idx="18">
                  <c:v>5.900764986399631e-05</c:v>
                </c:pt>
                <c:pt idx="19">
                  <c:v>5.900764986399631e-05</c:v>
                </c:pt>
                <c:pt idx="20">
                  <c:v>0.00021128520329212263</c:v>
                </c:pt>
                <c:pt idx="21">
                  <c:v>0.00014428934298784012</c:v>
                </c:pt>
                <c:pt idx="22">
                  <c:v>5.900764986399631e-05</c:v>
                </c:pt>
                <c:pt idx="23">
                  <c:v>5.900764986399631e-05</c:v>
                </c:pt>
                <c:pt idx="24">
                  <c:v>0.00018817942645310882</c:v>
                </c:pt>
                <c:pt idx="25">
                  <c:v>5.900764986399631e-05</c:v>
                </c:pt>
                <c:pt idx="26">
                  <c:v>0.00012656856010276264</c:v>
                </c:pt>
                <c:pt idx="27">
                  <c:v>0.00015783011792384438</c:v>
                </c:pt>
                <c:pt idx="28">
                  <c:v>0.00017654484406717054</c:v>
                </c:pt>
                <c:pt idx="29">
                  <c:v>5.900764986399631e-05</c:v>
                </c:pt>
                <c:pt idx="30">
                  <c:v>5.900764986399631e-05</c:v>
                </c:pt>
                <c:pt idx="31">
                  <c:v>0.00024386748023717863</c:v>
                </c:pt>
                <c:pt idx="32">
                  <c:v>0.00021907336142524926</c:v>
                </c:pt>
                <c:pt idx="33">
                  <c:v>0.00021081546298514208</c:v>
                </c:pt>
                <c:pt idx="34">
                  <c:v>5.900764986399631e-05</c:v>
                </c:pt>
                <c:pt idx="35">
                  <c:v>5.900764986399631e-05</c:v>
                </c:pt>
                <c:pt idx="36">
                  <c:v>0.00021738501945233368</c:v>
                </c:pt>
                <c:pt idx="37">
                  <c:v>5.900764986399631e-05</c:v>
                </c:pt>
                <c:pt idx="38">
                  <c:v>0.00015156010600023457</c:v>
                </c:pt>
                <c:pt idx="39">
                  <c:v>0.0001315042372413263</c:v>
                </c:pt>
                <c:pt idx="40">
                  <c:v>0.00014584833618057263</c:v>
                </c:pt>
                <c:pt idx="41">
                  <c:v>0.0002119387550235738</c:v>
                </c:pt>
                <c:pt idx="42">
                  <c:v>0.00012736734600616946</c:v>
                </c:pt>
                <c:pt idx="43">
                  <c:v>0.00011472293497020991</c:v>
                </c:pt>
                <c:pt idx="44">
                  <c:v>0.00012148311069240812</c:v>
                </c:pt>
                <c:pt idx="45">
                  <c:v>0.0001574897263970469</c:v>
                </c:pt>
                <c:pt idx="46">
                  <c:v>0.00013375082131818975</c:v>
                </c:pt>
                <c:pt idx="47">
                  <c:v>0.00014870762500567158</c:v>
                </c:pt>
                <c:pt idx="48">
                  <c:v>5.900764986399631e-05</c:v>
                </c:pt>
                <c:pt idx="49">
                  <c:v>0.0001388226550674724</c:v>
                </c:pt>
                <c:pt idx="50">
                  <c:v>8.965650293684255e-05</c:v>
                </c:pt>
                <c:pt idx="51">
                  <c:v>8.638874427958662e-05</c:v>
                </c:pt>
                <c:pt idx="52">
                  <c:v>0.0001069565618947983</c:v>
                </c:pt>
                <c:pt idx="53">
                  <c:v>5.900764986399631e-05</c:v>
                </c:pt>
                <c:pt idx="54">
                  <c:v>5.900764986399631e-05</c:v>
                </c:pt>
                <c:pt idx="55">
                  <c:v>5.900764986399631e-05</c:v>
                </c:pt>
                <c:pt idx="56">
                  <c:v>5.900764986399631e-05</c:v>
                </c:pt>
                <c:pt idx="57">
                  <c:v>0.00023066028899743592</c:v>
                </c:pt>
                <c:pt idx="58">
                  <c:v>0.00018605538332589248</c:v>
                </c:pt>
                <c:pt idx="59">
                  <c:v>0.00021997199505599464</c:v>
                </c:pt>
                <c:pt idx="60">
                  <c:v>5.900764986399631e-05</c:v>
                </c:pt>
                <c:pt idx="61">
                  <c:v>5.900764986399631e-05</c:v>
                </c:pt>
                <c:pt idx="62">
                  <c:v>5.900764986399631e-05</c:v>
                </c:pt>
                <c:pt idx="63">
                  <c:v>5.900764986399631e-05</c:v>
                </c:pt>
                <c:pt idx="64">
                  <c:v>5.900764986399631e-05</c:v>
                </c:pt>
                <c:pt idx="65">
                  <c:v>5.900764986399631e-05</c:v>
                </c:pt>
                <c:pt idx="66">
                  <c:v>5.900764986399631e-05</c:v>
                </c:pt>
                <c:pt idx="67">
                  <c:v>0.00012170776910009446</c:v>
                </c:pt>
                <c:pt idx="68">
                  <c:v>0.000250062606024893</c:v>
                </c:pt>
                <c:pt idx="69">
                  <c:v>0.00033313955972754864</c:v>
                </c:pt>
                <c:pt idx="70">
                  <c:v>0.000958790700112017</c:v>
                </c:pt>
                <c:pt idx="71">
                  <c:v>4.748119278347187e-0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930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22759601706970126"/>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8</c:f>
              <c:numCache>
                <c:formatCode>General</c:formatCode>
                <c:ptCount val="67"/>
                <c:pt idx="0">
                  <c:v>0.5071582710641587</c:v>
                </c:pt>
                <c:pt idx="1">
                  <c:v>0.5739445921587571</c:v>
                </c:pt>
                <c:pt idx="2">
                  <c:v>1.3585501423195427</c:v>
                </c:pt>
                <c:pt idx="3">
                  <c:v>1.8840716302429925</c:v>
                </c:pt>
                <c:pt idx="4">
                  <c:v>1.1597627222713167</c:v>
                </c:pt>
                <c:pt idx="5">
                  <c:v>0.6065086411103211</c:v>
                </c:pt>
                <c:pt idx="6">
                  <c:v>1.33493985719449</c:v>
                </c:pt>
                <c:pt idx="7">
                  <c:v>1.1424309290916939</c:v>
                </c:pt>
                <c:pt idx="8">
                  <c:v>0.1572361710497458</c:v>
                </c:pt>
                <c:pt idx="9">
                  <c:v>3.555115346534653</c:v>
                </c:pt>
                <c:pt idx="10">
                  <c:v>0.7203599331488734</c:v>
                </c:pt>
                <c:pt idx="11">
                  <c:v>0.4819435148159293</c:v>
                </c:pt>
                <c:pt idx="12">
                  <c:v>0.8744278501850733</c:v>
                </c:pt>
                <c:pt idx="13">
                  <c:v>0.43869678592376643</c:v>
                </c:pt>
                <c:pt idx="14">
                  <c:v>1.3294152192274329</c:v>
                </c:pt>
                <c:pt idx="15">
                  <c:v>0.8237409130719002</c:v>
                </c:pt>
                <c:pt idx="16">
                  <c:v>1.4442000235505494</c:v>
                </c:pt>
                <c:pt idx="17">
                  <c:v>0.6282469637329217</c:v>
                </c:pt>
                <c:pt idx="18">
                  <c:v>0.11258310286646003</c:v>
                </c:pt>
                <c:pt idx="19">
                  <c:v>1.0918559325478199</c:v>
                </c:pt>
                <c:pt idx="20">
                  <c:v>1.3516320411169886</c:v>
                </c:pt>
                <c:pt idx="21">
                  <c:v>1.3614504467424908</c:v>
                </c:pt>
                <c:pt idx="22">
                  <c:v>1.218674532573721</c:v>
                </c:pt>
                <c:pt idx="23">
                  <c:v>0.7628660828119546</c:v>
                </c:pt>
                <c:pt idx="24">
                  <c:v>1.215433825692832</c:v>
                </c:pt>
                <c:pt idx="25">
                  <c:v>1.731630011328372</c:v>
                </c:pt>
                <c:pt idx="26">
                  <c:v>0.759687212575834</c:v>
                </c:pt>
                <c:pt idx="27">
                  <c:v>0.38293867506080986</c:v>
                </c:pt>
                <c:pt idx="28">
                  <c:v>0.6405511636317215</c:v>
                </c:pt>
                <c:pt idx="29">
                  <c:v>0.6104183372238755</c:v>
                </c:pt>
                <c:pt idx="30">
                  <c:v>0.826687223489573</c:v>
                </c:pt>
                <c:pt idx="31">
                  <c:v>0.4474106323142455</c:v>
                </c:pt>
                <c:pt idx="32">
                  <c:v>0.8458970675103747</c:v>
                </c:pt>
                <c:pt idx="33">
                  <c:v>0.7157944568268234</c:v>
                </c:pt>
                <c:pt idx="34">
                  <c:v>0.6141526268439195</c:v>
                </c:pt>
                <c:pt idx="35">
                  <c:v>0.569276432917999</c:v>
                </c:pt>
                <c:pt idx="36">
                  <c:v>0.7953713304015829</c:v>
                </c:pt>
                <c:pt idx="37">
                  <c:v>3.852141143206809</c:v>
                </c:pt>
                <c:pt idx="38">
                  <c:v>0.7797992983151094</c:v>
                </c:pt>
                <c:pt idx="39">
                  <c:v>0.4389942424543636</c:v>
                </c:pt>
                <c:pt idx="40">
                  <c:v>1.3467134977917805</c:v>
                </c:pt>
                <c:pt idx="41">
                  <c:v>0.9058909963287355</c:v>
                </c:pt>
                <c:pt idx="42">
                  <c:v>1.0895503146228591</c:v>
                </c:pt>
                <c:pt idx="43">
                  <c:v>0.49561791937871635</c:v>
                </c:pt>
                <c:pt idx="44">
                  <c:v>0.8311626864684943</c:v>
                </c:pt>
                <c:pt idx="45">
                  <c:v>0.752318242545098</c:v>
                </c:pt>
                <c:pt idx="46">
                  <c:v>0.3186403342534174</c:v>
                </c:pt>
                <c:pt idx="47">
                  <c:v>0.8103443189056</c:v>
                </c:pt>
                <c:pt idx="48">
                  <c:v>0.44150229784845785</c:v>
                </c:pt>
                <c:pt idx="49">
                  <c:v>1.5879683336261432</c:v>
                </c:pt>
                <c:pt idx="50">
                  <c:v>0.7523819931616583</c:v>
                </c:pt>
                <c:pt idx="51">
                  <c:v>0.37864826334755947</c:v>
                </c:pt>
                <c:pt idx="52">
                  <c:v>0.7373960859881613</c:v>
                </c:pt>
                <c:pt idx="53">
                  <c:v>0.5941407507521668</c:v>
                </c:pt>
                <c:pt idx="54">
                  <c:v>0.8482298359089759</c:v>
                </c:pt>
                <c:pt idx="55">
                  <c:v>1.0729827173156528</c:v>
                </c:pt>
                <c:pt idx="56">
                  <c:v>0.785904152616578</c:v>
                </c:pt>
                <c:pt idx="57">
                  <c:v>0.8441600639157039</c:v>
                </c:pt>
                <c:pt idx="58">
                  <c:v>0.6639918001904691</c:v>
                </c:pt>
                <c:pt idx="59">
                  <c:v>1.092483615992633</c:v>
                </c:pt>
                <c:pt idx="60">
                  <c:v>0.5729275680910048</c:v>
                </c:pt>
                <c:pt idx="61">
                  <c:v>0.5368127208768535</c:v>
                </c:pt>
                <c:pt idx="62">
                  <c:v>0.4344497095552685</c:v>
                </c:pt>
                <c:pt idx="63">
                  <c:v>0.6142044736608111</c:v>
                </c:pt>
                <c:pt idx="64">
                  <c:v>0.5688565887541087</c:v>
                </c:pt>
                <c:pt idx="65">
                  <c:v>1.0290618534819296</c:v>
                </c:pt>
                <c:pt idx="66">
                  <c:v>1.1762948209203918</c:v>
                </c:pt>
              </c:numCache>
            </c:numRef>
          </c:xVal>
          <c:yVal>
            <c:numRef>
              <c:f>Sheet1!$B$2:$B$68</c:f>
              <c:numCache>
                <c:formatCode>General</c:formatCode>
                <c:ptCount val="67"/>
                <c:pt idx="0">
                  <c:v>0.01330671989354624</c:v>
                </c:pt>
                <c:pt idx="1">
                  <c:v>0.011824324324324325</c:v>
                </c:pt>
                <c:pt idx="2">
                  <c:v>0.23372781065088757</c:v>
                </c:pt>
                <c:pt idx="3">
                  <c:v>0.05628517823639775</c:v>
                </c:pt>
                <c:pt idx="4">
                  <c:v>0.20408163265306123</c:v>
                </c:pt>
                <c:pt idx="5">
                  <c:v>0.04195804195804196</c:v>
                </c:pt>
                <c:pt idx="6">
                  <c:v>0.0472972972972973</c:v>
                </c:pt>
                <c:pt idx="7">
                  <c:v>0.057803468208092484</c:v>
                </c:pt>
                <c:pt idx="8">
                  <c:v>0.7692307692307693</c:v>
                </c:pt>
                <c:pt idx="9">
                  <c:v>0.06342494714587738</c:v>
                </c:pt>
                <c:pt idx="10">
                  <c:v>0.04032258064516129</c:v>
                </c:pt>
                <c:pt idx="11">
                  <c:v>0.2944550669216061</c:v>
                </c:pt>
                <c:pt idx="12">
                  <c:v>0.1978021978021978</c:v>
                </c:pt>
                <c:pt idx="13">
                  <c:v>0.12</c:v>
                </c:pt>
                <c:pt idx="14">
                  <c:v>0.18754833720030936</c:v>
                </c:pt>
                <c:pt idx="15">
                  <c:v>0.09417040358744394</c:v>
                </c:pt>
                <c:pt idx="16">
                  <c:v>0.017991004497751123</c:v>
                </c:pt>
                <c:pt idx="17">
                  <c:v>0.016203703703703703</c:v>
                </c:pt>
                <c:pt idx="18">
                  <c:v>0.09486166007905138</c:v>
                </c:pt>
                <c:pt idx="19">
                  <c:v>0.028985507246376812</c:v>
                </c:pt>
                <c:pt idx="20">
                  <c:v>0.0032310177705977385</c:v>
                </c:pt>
                <c:pt idx="21">
                  <c:v>0.06790123456790123</c:v>
                </c:pt>
                <c:pt idx="22">
                  <c:v>0.04936854190585534</c:v>
                </c:pt>
                <c:pt idx="23">
                  <c:v>0.0863905325443787</c:v>
                </c:pt>
                <c:pt idx="24">
                  <c:v>0.024551927326295114</c:v>
                </c:pt>
                <c:pt idx="25">
                  <c:v>0.00949367088607595</c:v>
                </c:pt>
                <c:pt idx="26">
                  <c:v>0.15783602900167318</c:v>
                </c:pt>
                <c:pt idx="27">
                  <c:v>0.059961315280464215</c:v>
                </c:pt>
                <c:pt idx="28">
                  <c:v>0.00909090909090909</c:v>
                </c:pt>
                <c:pt idx="29">
                  <c:v>0.1600633914421553</c:v>
                </c:pt>
                <c:pt idx="30">
                  <c:v>0.04511970534069982</c:v>
                </c:pt>
                <c:pt idx="31">
                  <c:v>0.052489905787348586</c:v>
                </c:pt>
                <c:pt idx="32">
                  <c:v>0.006517690875232775</c:v>
                </c:pt>
                <c:pt idx="33">
                  <c:v>0.035246727089627394</c:v>
                </c:pt>
                <c:pt idx="34">
                  <c:v>0.18499353169469598</c:v>
                </c:pt>
                <c:pt idx="35">
                  <c:v>0.23780487804878048</c:v>
                </c:pt>
                <c:pt idx="36">
                  <c:v>0.026272577996715927</c:v>
                </c:pt>
                <c:pt idx="37">
                  <c:v>0.00228310502283105</c:v>
                </c:pt>
                <c:pt idx="38">
                  <c:v>0.07373271889400922</c:v>
                </c:pt>
                <c:pt idx="39">
                  <c:v>0.20151133501259447</c:v>
                </c:pt>
                <c:pt idx="40">
                  <c:v>0.009510869565217392</c:v>
                </c:pt>
                <c:pt idx="41">
                  <c:v>0.011892963330029732</c:v>
                </c:pt>
                <c:pt idx="42">
                  <c:v>0.08888888888888889</c:v>
                </c:pt>
                <c:pt idx="43">
                  <c:v>0.11895910780669144</c:v>
                </c:pt>
                <c:pt idx="44">
                  <c:v>0.0730050933786078</c:v>
                </c:pt>
                <c:pt idx="45">
                  <c:v>0.027700831024930747</c:v>
                </c:pt>
                <c:pt idx="46">
                  <c:v>0.07571801566579635</c:v>
                </c:pt>
                <c:pt idx="47">
                  <c:v>0.008620689655172414</c:v>
                </c:pt>
                <c:pt idx="48">
                  <c:v>0.016361886429258902</c:v>
                </c:pt>
                <c:pt idx="49">
                  <c:v>0.022494887525562373</c:v>
                </c:pt>
                <c:pt idx="50">
                  <c:v>0.02666666666666667</c:v>
                </c:pt>
                <c:pt idx="51">
                  <c:v>0.04398148148148148</c:v>
                </c:pt>
                <c:pt idx="52">
                  <c:v>0.2540045766590389</c:v>
                </c:pt>
                <c:pt idx="53">
                  <c:v>0.002544529262086514</c:v>
                </c:pt>
                <c:pt idx="54">
                  <c:v>0.15236686390532544</c:v>
                </c:pt>
                <c:pt idx="55">
                  <c:v>0.3309608540925267</c:v>
                </c:pt>
                <c:pt idx="56">
                  <c:v>0.030211480362537766</c:v>
                </c:pt>
                <c:pt idx="57">
                  <c:v>0.1267123287671233</c:v>
                </c:pt>
                <c:pt idx="58">
                  <c:v>0.007782101167315175</c:v>
                </c:pt>
                <c:pt idx="59">
                  <c:v>0.04391891891891892</c:v>
                </c:pt>
                <c:pt idx="60">
                  <c:v>0.11757269279393173</c:v>
                </c:pt>
                <c:pt idx="61">
                  <c:v>0.08660508083140878</c:v>
                </c:pt>
                <c:pt idx="62">
                  <c:v>0.09256449165402124</c:v>
                </c:pt>
                <c:pt idx="63">
                  <c:v>0.08416389811738649</c:v>
                </c:pt>
                <c:pt idx="64">
                  <c:v>0.1959531416400426</c:v>
                </c:pt>
                <c:pt idx="65">
                  <c:v>0.05219206680584551</c:v>
                </c:pt>
                <c:pt idx="66">
                  <c:v>0.02278481012658228</c:v>
                </c:pt>
              </c:numCache>
            </c:numRef>
          </c:yVal>
          <c:smooth val="0"/>
          <c:extLst>
            <c:ext xmlns:c16="http://schemas.microsoft.com/office/drawing/2014/chart" uri="{C3380CC4-5D6E-409C-BE32-E72D297353CC}">
              <c16:uniqueId val="{00000000-096C-4121-9522-6AB7243CCAAE}"/>
            </c:ext>
          </c:extLst>
        </c:ser>
        <c:ser>
          <c:idx val="1"/>
          <c:order val="1"/>
          <c:tx>
            <c:strRef>
              <c:f>Sheet1!$B$70</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1:$A$99</c:f>
              <c:numCache>
                <c:formatCode>General</c:formatCode>
                <c:ptCount val="29"/>
                <c:pt idx="0">
                  <c:v>0.5062190665323414</c:v>
                </c:pt>
                <c:pt idx="1">
                  <c:v>1.1250381846931512</c:v>
                </c:pt>
                <c:pt idx="2">
                  <c:v>0.6770051852488636</c:v>
                </c:pt>
                <c:pt idx="3">
                  <c:v>0.5262235850267426</c:v>
                </c:pt>
                <c:pt idx="4">
                  <c:v>0.5955250007772035</c:v>
                </c:pt>
                <c:pt idx="5">
                  <c:v>0.5088805722851449</c:v>
                </c:pt>
                <c:pt idx="6">
                  <c:v>0.5173892295043354</c:v>
                </c:pt>
                <c:pt idx="7">
                  <c:v>0.26116290404040404</c:v>
                </c:pt>
                <c:pt idx="8">
                  <c:v>0.8520012462323313</c:v>
                </c:pt>
                <c:pt idx="9">
                  <c:v>0.7015888795207962</c:v>
                </c:pt>
                <c:pt idx="10">
                  <c:v>0.46443640898614647</c:v>
                </c:pt>
                <c:pt idx="11">
                  <c:v>0.6054217991761228</c:v>
                </c:pt>
                <c:pt idx="12">
                  <c:v>0.59934849809264</c:v>
                </c:pt>
                <c:pt idx="13">
                  <c:v>0.7200037725817506</c:v>
                </c:pt>
                <c:pt idx="14">
                  <c:v>0.8354192117059582</c:v>
                </c:pt>
                <c:pt idx="15">
                  <c:v>0.49117602287367507</c:v>
                </c:pt>
                <c:pt idx="16">
                  <c:v>0.5790584309155461</c:v>
                </c:pt>
                <c:pt idx="17">
                  <c:v>0.28328158431914735</c:v>
                </c:pt>
                <c:pt idx="18">
                  <c:v>0.7982730129368906</c:v>
                </c:pt>
                <c:pt idx="19">
                  <c:v>0.4945246699621219</c:v>
                </c:pt>
                <c:pt idx="20">
                  <c:v>0.7273594435149309</c:v>
                </c:pt>
                <c:pt idx="21">
                  <c:v>0.8871050952306868</c:v>
                </c:pt>
                <c:pt idx="22">
                  <c:v>0.7597088582149558</c:v>
                </c:pt>
                <c:pt idx="23">
                  <c:v>0.7142909976278693</c:v>
                </c:pt>
                <c:pt idx="24">
                  <c:v>0.3245592763301997</c:v>
                </c:pt>
                <c:pt idx="25">
                  <c:v>0.7178989459564737</c:v>
                </c:pt>
                <c:pt idx="26">
                  <c:v>0.6795692287496449</c:v>
                </c:pt>
                <c:pt idx="27">
                  <c:v>0.799673802064837</c:v>
                </c:pt>
                <c:pt idx="28">
                  <c:v>0.6308031786311622</c:v>
                </c:pt>
              </c:numCache>
            </c:numRef>
          </c:xVal>
          <c:yVal>
            <c:numRef>
              <c:f>Sheet1!$B$71:$B$99</c:f>
              <c:numCache>
                <c:formatCode>General</c:formatCode>
                <c:ptCount val="29"/>
                <c:pt idx="0">
                  <c:v>0.08333333333333333</c:v>
                </c:pt>
                <c:pt idx="1">
                  <c:v>0.21608040201005024</c:v>
                </c:pt>
                <c:pt idx="2">
                  <c:v>0.20379746835443038</c:v>
                </c:pt>
                <c:pt idx="3">
                  <c:v>0.24662965900079303</c:v>
                </c:pt>
                <c:pt idx="4">
                  <c:v>0.006711409395973154</c:v>
                </c:pt>
                <c:pt idx="5">
                  <c:v>0.012987012987012988</c:v>
                </c:pt>
                <c:pt idx="6">
                  <c:v>0.013015184381778741</c:v>
                </c:pt>
                <c:pt idx="7">
                  <c:v>0.21666666666666667</c:v>
                </c:pt>
                <c:pt idx="8">
                  <c:v>0.020761245674740483</c:v>
                </c:pt>
                <c:pt idx="9">
                  <c:v>0.0380952380952381</c:v>
                </c:pt>
                <c:pt idx="10">
                  <c:v>0.05384615384615385</c:v>
                </c:pt>
                <c:pt idx="11">
                  <c:v>0.0898021308980213</c:v>
                </c:pt>
                <c:pt idx="12">
                  <c:v>0.1332518337408313</c:v>
                </c:pt>
                <c:pt idx="13">
                  <c:v>0.01090909090909091</c:v>
                </c:pt>
                <c:pt idx="14">
                  <c:v>0.03783102143757881</c:v>
                </c:pt>
                <c:pt idx="15">
                  <c:v>0.04588607594936709</c:v>
                </c:pt>
                <c:pt idx="16">
                  <c:v>0.0681265206812652</c:v>
                </c:pt>
                <c:pt idx="17">
                  <c:v>0.6246612466124661</c:v>
                </c:pt>
                <c:pt idx="18">
                  <c:v>0.24915824915824916</c:v>
                </c:pt>
                <c:pt idx="19">
                  <c:v>0.026128266033254157</c:v>
                </c:pt>
                <c:pt idx="20">
                  <c:v>0.12180746561886051</c:v>
                </c:pt>
                <c:pt idx="21">
                  <c:v>0.021207177814029365</c:v>
                </c:pt>
                <c:pt idx="22">
                  <c:v>0.10401459854014598</c:v>
                </c:pt>
                <c:pt idx="23">
                  <c:v>0.04664723032069971</c:v>
                </c:pt>
                <c:pt idx="24">
                  <c:v>0.22491349480968859</c:v>
                </c:pt>
                <c:pt idx="25">
                  <c:v>0.16913319238900634</c:v>
                </c:pt>
                <c:pt idx="26">
                  <c:v>0.01870503597122302</c:v>
                </c:pt>
                <c:pt idx="27">
                  <c:v>0.04660194174757282</c:v>
                </c:pt>
                <c:pt idx="28">
                  <c:v>0.1286549707602339</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0.0007616911202110599</c:v>
                </c:pt>
              </c:numCache>
            </c:numRef>
          </c:xVal>
          <c:yVal>
            <c:numRef>
              <c:f>Sheet1!$B$102:$B$103</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0007616911202110599</c:v>
                </c:pt>
                <c:pt idx="1">
                  <c:v>-0.0007616911202110599</c:v>
                </c:pt>
              </c:numCache>
            </c:numRef>
          </c:xVal>
          <c:yVal>
            <c:numRef>
              <c:f>Sheet1!$B$106:$B$107</c:f>
              <c:numCache>
                <c:formatCode>General</c:formatCode>
                <c:ptCount val="2"/>
                <c:pt idx="0">
                  <c:v>0.2491582491582491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0007616911202110599</c:v>
                </c:pt>
              </c:numCache>
            </c:numRef>
          </c:xVal>
          <c:yVal>
            <c:numRef>
              <c:f>Sheet1!$B$110:$B$111</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0007616911202110599</c:v>
                </c:pt>
                <c:pt idx="1">
                  <c:v>-0.0007616911202110599</c:v>
                </c:pt>
              </c:numCache>
            </c:numRef>
          </c:xVal>
          <c:yVal>
            <c:numRef>
              <c:f>Sheet1!$B$114:$B$115</c:f>
              <c:numCache>
                <c:formatCode>General</c:formatCode>
                <c:ptCount val="2"/>
                <c:pt idx="0">
                  <c:v>0.2491582491582491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7182973687045071</c:v>
                </c:pt>
              </c:numCache>
            </c:numRef>
          </c:xVal>
          <c:yVal>
            <c:numRef>
              <c:f>Sheet1!$B$118:$B$119</c:f>
              <c:numCache>
                <c:formatCode>General</c:formatCode>
                <c:ptCount val="2"/>
                <c:pt idx="0">
                  <c:v>0.09498470529407496</c:v>
                </c:pt>
                <c:pt idx="1">
                  <c:v>0.09498470529407496</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7182973687045071</c:v>
                </c:pt>
                <c:pt idx="1">
                  <c:v>0.7182973687045071</c:v>
                </c:pt>
              </c:numCache>
            </c:numRef>
          </c:xVal>
          <c:yVal>
            <c:numRef>
              <c:f>Sheet1!$B$122:$B$123</c:f>
              <c:numCache>
                <c:formatCode>General</c:formatCode>
                <c:ptCount val="2"/>
                <c:pt idx="0">
                  <c:v>0.0949847052940749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57</c:f>
              <c:numCache>
                <c:formatCode>General</c:formatCode>
                <c:ptCount val="32"/>
                <c:pt idx="0">
                  <c:v>0.5062190665323414</c:v>
                </c:pt>
                <c:pt idx="1">
                  <c:v>1.1250381846931512</c:v>
                </c:pt>
                <c:pt idx="2">
                  <c:v>0.6770051852488636</c:v>
                </c:pt>
                <c:pt idx="3">
                  <c:v>0.5262235850267426</c:v>
                </c:pt>
                <c:pt idx="4">
                  <c:v>0.5955250007772035</c:v>
                </c:pt>
                <c:pt idx="5">
                  <c:v>0.5088805722851449</c:v>
                </c:pt>
                <c:pt idx="6">
                  <c:v>0.5173892295043354</c:v>
                </c:pt>
                <c:pt idx="7">
                  <c:v>0.26116290404040404</c:v>
                </c:pt>
                <c:pt idx="8">
                  <c:v>0.8520012462323313</c:v>
                </c:pt>
                <c:pt idx="9">
                  <c:v>0.7015888795207962</c:v>
                </c:pt>
                <c:pt idx="10">
                  <c:v>0.46443640898614647</c:v>
                </c:pt>
                <c:pt idx="11">
                  <c:v>0.6054217991761228</c:v>
                </c:pt>
                <c:pt idx="12">
                  <c:v>0.59934849809264</c:v>
                </c:pt>
                <c:pt idx="13">
                  <c:v>0.7200037725817506</c:v>
                </c:pt>
                <c:pt idx="14">
                  <c:v>0.8354192117059582</c:v>
                </c:pt>
                <c:pt idx="15">
                  <c:v>0.49117602287367507</c:v>
                </c:pt>
                <c:pt idx="16">
                  <c:v>0.5790584309155461</c:v>
                </c:pt>
                <c:pt idx="17">
                  <c:v>0.28328158431914735</c:v>
                </c:pt>
                <c:pt idx="18">
                  <c:v>0.7982730129368906</c:v>
                </c:pt>
                <c:pt idx="19">
                  <c:v>0.4945246699621219</c:v>
                </c:pt>
                <c:pt idx="20">
                  <c:v>0.7273594435149309</c:v>
                </c:pt>
                <c:pt idx="21">
                  <c:v>0.8871050952306868</c:v>
                </c:pt>
                <c:pt idx="22">
                  <c:v>0.7597088582149558</c:v>
                </c:pt>
                <c:pt idx="23">
                  <c:v>0.7142909976278693</c:v>
                </c:pt>
                <c:pt idx="24">
                  <c:v>0.3245592763301997</c:v>
                </c:pt>
                <c:pt idx="25">
                  <c:v>0.7178989459564737</c:v>
                </c:pt>
                <c:pt idx="26">
                  <c:v>0.6795692287496449</c:v>
                </c:pt>
                <c:pt idx="27">
                  <c:v>0.799673802064837</c:v>
                </c:pt>
                <c:pt idx="28">
                  <c:v>0.6308031786311622</c:v>
                </c:pt>
                <c:pt idx="29">
                  <c:v>-0.0007616911202110599</c:v>
                </c:pt>
                <c:pt idx="30">
                  <c:v>-0.0007616911202110599</c:v>
                </c:pt>
                <c:pt idx="31">
                  <c:v>0.7182973687045071</c:v>
                </c:pt>
              </c:numCache>
            </c:numRef>
          </c:xVal>
          <c:yVal>
            <c:numRef>
              <c:f>Sheet1!$B$126:$B$157</c:f>
              <c:numCache>
                <c:formatCode>General</c:formatCode>
                <c:ptCount val="32"/>
                <c:pt idx="0">
                  <c:v>0.14045644085714587</c:v>
                </c:pt>
                <c:pt idx="1">
                  <c:v>0.0077753555496166415</c:v>
                </c:pt>
                <c:pt idx="2">
                  <c:v>0.10383816756572486</c:v>
                </c:pt>
                <c:pt idx="3">
                  <c:v>0.1361672695193561</c:v>
                </c:pt>
                <c:pt idx="4">
                  <c:v>0.12130834421263992</c:v>
                </c:pt>
                <c:pt idx="5">
                  <c:v>0.13988578707242807</c:v>
                </c:pt>
                <c:pt idx="6">
                  <c:v>0.1380614448030631</c:v>
                </c:pt>
                <c:pt idx="7">
                  <c:v>0.19299896361785857</c:v>
                </c:pt>
                <c:pt idx="8">
                  <c:v>0.06631724002095668</c:v>
                </c:pt>
                <c:pt idx="9">
                  <c:v>0.09856717457093364</c:v>
                </c:pt>
                <c:pt idx="10">
                  <c:v>0.14941506574051824</c:v>
                </c:pt>
                <c:pt idx="11">
                  <c:v>0.11918637041754912</c:v>
                </c:pt>
                <c:pt idx="12">
                  <c:v>0.12048854767016995</c:v>
                </c:pt>
                <c:pt idx="13">
                  <c:v>0.09461883502316518</c:v>
                </c:pt>
                <c:pt idx="14">
                  <c:v>0.06987259613875907</c:v>
                </c:pt>
                <c:pt idx="15">
                  <c:v>0.1436818217485645</c:v>
                </c:pt>
                <c:pt idx="16">
                  <c:v>0.12483894353709259</c:v>
                </c:pt>
                <c:pt idx="17">
                  <c:v>0.18825649458478116</c:v>
                </c:pt>
                <c:pt idx="18">
                  <c:v>0.07783711730994941</c:v>
                </c:pt>
                <c:pt idx="19">
                  <c:v>0.14296383790325679</c:v>
                </c:pt>
                <c:pt idx="20">
                  <c:v>0.0930417046890539</c:v>
                </c:pt>
                <c:pt idx="21">
                  <c:v>0.05879061932213872</c:v>
                </c:pt>
                <c:pt idx="22">
                  <c:v>0.08610566259614097</c:v>
                </c:pt>
                <c:pt idx="23">
                  <c:v>0.09584371182278867</c:v>
                </c:pt>
                <c:pt idx="24">
                  <c:v>0.1794061394255969</c:v>
                </c:pt>
                <c:pt idx="25">
                  <c:v>0.09507013116581822</c:v>
                </c:pt>
                <c:pt idx="26">
                  <c:v>0.10328841067477668</c:v>
                </c:pt>
                <c:pt idx="27">
                  <c:v>0.0775367739360483</c:v>
                </c:pt>
                <c:pt idx="28">
                  <c:v>0.11374434564186706</c:v>
                </c:pt>
                <c:pt idx="29">
                  <c:v>0.24915824915824916</c:v>
                </c:pt>
                <c:pt idx="30">
                  <c:v>0.24915824915824916</c:v>
                </c:pt>
                <c:pt idx="31">
                  <c:v>0.0949847052940749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30769230769231"/>
          <c:min val="0.001826484018264840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8</c:f>
              <c:numCache>
                <c:formatCode>General</c:formatCode>
                <c:ptCount val="67"/>
                <c:pt idx="0">
                  <c:v>629.85</c:v>
                </c:pt>
                <c:pt idx="1">
                  <c:v>599.8571</c:v>
                </c:pt>
                <c:pt idx="2">
                  <c:v>1419.8861</c:v>
                </c:pt>
                <c:pt idx="3">
                  <c:v>1810.5333</c:v>
                </c:pt>
                <c:pt idx="4">
                  <c:v>1305.5667</c:v>
                </c:pt>
                <c:pt idx="5">
                  <c:v>703.6</c:v>
                </c:pt>
                <c:pt idx="6">
                  <c:v>1517.2857</c:v>
                </c:pt>
                <c:pt idx="7">
                  <c:v>1697.7</c:v>
                </c:pt>
                <c:pt idx="8">
                  <c:v>718.15</c:v>
                </c:pt>
                <c:pt idx="9">
                  <c:v>718.1333</c:v>
                </c:pt>
                <c:pt idx="10">
                  <c:v>714.0333</c:v>
                </c:pt>
                <c:pt idx="11">
                  <c:v>678.1299</c:v>
                </c:pt>
                <c:pt idx="12">
                  <c:v>925.4167</c:v>
                </c:pt>
                <c:pt idx="13">
                  <c:v>925.4167</c:v>
                </c:pt>
                <c:pt idx="14">
                  <c:v>1304.3588</c:v>
                </c:pt>
                <c:pt idx="15">
                  <c:v>1108.1429</c:v>
                </c:pt>
                <c:pt idx="16">
                  <c:v>1524.5</c:v>
                </c:pt>
                <c:pt idx="17">
                  <c:v>1269.0</c:v>
                </c:pt>
                <c:pt idx="18">
                  <c:v>146.375</c:v>
                </c:pt>
                <c:pt idx="19">
                  <c:v>1773.0714</c:v>
                </c:pt>
                <c:pt idx="20">
                  <c:v>3436.5</c:v>
                </c:pt>
                <c:pt idx="21">
                  <c:v>1666.8182</c:v>
                </c:pt>
                <c:pt idx="22">
                  <c:v>1546.7093</c:v>
                </c:pt>
                <c:pt idx="23">
                  <c:v>1180.3151</c:v>
                </c:pt>
                <c:pt idx="24">
                  <c:v>1639.58</c:v>
                </c:pt>
                <c:pt idx="25">
                  <c:v>2228.6667</c:v>
                </c:pt>
                <c:pt idx="26">
                  <c:v>955.9717</c:v>
                </c:pt>
                <c:pt idx="27">
                  <c:v>1505.4516</c:v>
                </c:pt>
                <c:pt idx="28">
                  <c:v>984.4545</c:v>
                </c:pt>
                <c:pt idx="29">
                  <c:v>873.5297</c:v>
                </c:pt>
                <c:pt idx="30">
                  <c:v>1894.9184</c:v>
                </c:pt>
                <c:pt idx="31">
                  <c:v>1117.3077</c:v>
                </c:pt>
                <c:pt idx="32">
                  <c:v>1129.8571</c:v>
                </c:pt>
                <c:pt idx="33">
                  <c:v>1160.4857</c:v>
                </c:pt>
                <c:pt idx="34">
                  <c:v>1310.4895</c:v>
                </c:pt>
                <c:pt idx="35">
                  <c:v>1116.6154</c:v>
                </c:pt>
                <c:pt idx="36">
                  <c:v>1335.625</c:v>
                </c:pt>
                <c:pt idx="37">
                  <c:v>7344.0</c:v>
                </c:pt>
                <c:pt idx="38">
                  <c:v>1130.75</c:v>
                </c:pt>
                <c:pt idx="39">
                  <c:v>1090.8625</c:v>
                </c:pt>
                <c:pt idx="40">
                  <c:v>2083.1429</c:v>
                </c:pt>
                <c:pt idx="41">
                  <c:v>1374.3333</c:v>
                </c:pt>
                <c:pt idx="42">
                  <c:v>1366.5833</c:v>
                </c:pt>
                <c:pt idx="43">
                  <c:v>1101.4063</c:v>
                </c:pt>
                <c:pt idx="44">
                  <c:v>1129.0233</c:v>
                </c:pt>
                <c:pt idx="45">
                  <c:v>1097.4</c:v>
                </c:pt>
                <c:pt idx="46">
                  <c:v>1128.2069</c:v>
                </c:pt>
                <c:pt idx="47">
                  <c:v>1214.0</c:v>
                </c:pt>
                <c:pt idx="48">
                  <c:v>1160.4706</c:v>
                </c:pt>
                <c:pt idx="49">
                  <c:v>2249.7273</c:v>
                </c:pt>
                <c:pt idx="50">
                  <c:v>1615.8571</c:v>
                </c:pt>
                <c:pt idx="51">
                  <c:v>1480.3684</c:v>
                </c:pt>
                <c:pt idx="52">
                  <c:v>1443.1216</c:v>
                </c:pt>
                <c:pt idx="53">
                  <c:v>2792.0</c:v>
                </c:pt>
                <c:pt idx="54">
                  <c:v>1790.6796</c:v>
                </c:pt>
                <c:pt idx="55">
                  <c:v>1830.7097</c:v>
                </c:pt>
                <c:pt idx="56">
                  <c:v>1145.8</c:v>
                </c:pt>
                <c:pt idx="57">
                  <c:v>1147.036</c:v>
                </c:pt>
                <c:pt idx="58">
                  <c:v>1141.8333</c:v>
                </c:pt>
                <c:pt idx="59">
                  <c:v>1423.6154</c:v>
                </c:pt>
                <c:pt idx="60">
                  <c:v>788.5484</c:v>
                </c:pt>
                <c:pt idx="61">
                  <c:v>711.4</c:v>
                </c:pt>
                <c:pt idx="62">
                  <c:v>597.5082</c:v>
                </c:pt>
                <c:pt idx="63">
                  <c:v>787.4605</c:v>
                </c:pt>
                <c:pt idx="64">
                  <c:v>796.3098</c:v>
                </c:pt>
                <c:pt idx="65">
                  <c:v>1397.76</c:v>
                </c:pt>
                <c:pt idx="66">
                  <c:v>1729.2222</c:v>
                </c:pt>
              </c:numCache>
            </c:numRef>
          </c:xVal>
          <c:yVal>
            <c:numRef>
              <c:f>Sheet1!$B$2:$B$68</c:f>
              <c:numCache>
                <c:formatCode>General</c:formatCode>
                <c:ptCount val="67"/>
                <c:pt idx="0">
                  <c:v>0.01330671989354624</c:v>
                </c:pt>
                <c:pt idx="1">
                  <c:v>0.011824324324324325</c:v>
                </c:pt>
                <c:pt idx="2">
                  <c:v>0.23372781065088757</c:v>
                </c:pt>
                <c:pt idx="3">
                  <c:v>0.05628517823639775</c:v>
                </c:pt>
                <c:pt idx="4">
                  <c:v>0.20408163265306123</c:v>
                </c:pt>
                <c:pt idx="5">
                  <c:v>0.04195804195804196</c:v>
                </c:pt>
                <c:pt idx="6">
                  <c:v>0.0472972972972973</c:v>
                </c:pt>
                <c:pt idx="7">
                  <c:v>0.057803468208092484</c:v>
                </c:pt>
                <c:pt idx="8">
                  <c:v>0.7692307692307693</c:v>
                </c:pt>
                <c:pt idx="9">
                  <c:v>0.06342494714587738</c:v>
                </c:pt>
                <c:pt idx="10">
                  <c:v>0.04032258064516129</c:v>
                </c:pt>
                <c:pt idx="11">
                  <c:v>0.2944550669216061</c:v>
                </c:pt>
                <c:pt idx="12">
                  <c:v>0.1978021978021978</c:v>
                </c:pt>
                <c:pt idx="13">
                  <c:v>0.12</c:v>
                </c:pt>
                <c:pt idx="14">
                  <c:v>0.18754833720030936</c:v>
                </c:pt>
                <c:pt idx="15">
                  <c:v>0.09417040358744394</c:v>
                </c:pt>
                <c:pt idx="16">
                  <c:v>0.017991004497751123</c:v>
                </c:pt>
                <c:pt idx="17">
                  <c:v>0.016203703703703703</c:v>
                </c:pt>
                <c:pt idx="18">
                  <c:v>0.09486166007905138</c:v>
                </c:pt>
                <c:pt idx="19">
                  <c:v>0.028985507246376812</c:v>
                </c:pt>
                <c:pt idx="20">
                  <c:v>0.0032310177705977385</c:v>
                </c:pt>
                <c:pt idx="21">
                  <c:v>0.06790123456790123</c:v>
                </c:pt>
                <c:pt idx="22">
                  <c:v>0.04936854190585534</c:v>
                </c:pt>
                <c:pt idx="23">
                  <c:v>0.0863905325443787</c:v>
                </c:pt>
                <c:pt idx="24">
                  <c:v>0.024551927326295114</c:v>
                </c:pt>
                <c:pt idx="25">
                  <c:v>0.00949367088607595</c:v>
                </c:pt>
                <c:pt idx="26">
                  <c:v>0.15783602900167318</c:v>
                </c:pt>
                <c:pt idx="27">
                  <c:v>0.059961315280464215</c:v>
                </c:pt>
                <c:pt idx="28">
                  <c:v>0.00909090909090909</c:v>
                </c:pt>
                <c:pt idx="29">
                  <c:v>0.1600633914421553</c:v>
                </c:pt>
                <c:pt idx="30">
                  <c:v>0.04511970534069982</c:v>
                </c:pt>
                <c:pt idx="31">
                  <c:v>0.052489905787348586</c:v>
                </c:pt>
                <c:pt idx="32">
                  <c:v>0.006517690875232775</c:v>
                </c:pt>
                <c:pt idx="33">
                  <c:v>0.035246727089627394</c:v>
                </c:pt>
                <c:pt idx="34">
                  <c:v>0.18499353169469598</c:v>
                </c:pt>
                <c:pt idx="35">
                  <c:v>0.23780487804878048</c:v>
                </c:pt>
                <c:pt idx="36">
                  <c:v>0.026272577996715927</c:v>
                </c:pt>
                <c:pt idx="37">
                  <c:v>0.00228310502283105</c:v>
                </c:pt>
                <c:pt idx="38">
                  <c:v>0.07373271889400922</c:v>
                </c:pt>
                <c:pt idx="39">
                  <c:v>0.20151133501259447</c:v>
                </c:pt>
                <c:pt idx="40">
                  <c:v>0.009510869565217392</c:v>
                </c:pt>
                <c:pt idx="41">
                  <c:v>0.011892963330029732</c:v>
                </c:pt>
                <c:pt idx="42">
                  <c:v>0.08888888888888889</c:v>
                </c:pt>
                <c:pt idx="43">
                  <c:v>0.11895910780669144</c:v>
                </c:pt>
                <c:pt idx="44">
                  <c:v>0.0730050933786078</c:v>
                </c:pt>
                <c:pt idx="45">
                  <c:v>0.027700831024930747</c:v>
                </c:pt>
                <c:pt idx="46">
                  <c:v>0.07571801566579635</c:v>
                </c:pt>
                <c:pt idx="47">
                  <c:v>0.008620689655172414</c:v>
                </c:pt>
                <c:pt idx="48">
                  <c:v>0.016361886429258902</c:v>
                </c:pt>
                <c:pt idx="49">
                  <c:v>0.022494887525562373</c:v>
                </c:pt>
                <c:pt idx="50">
                  <c:v>0.02666666666666667</c:v>
                </c:pt>
                <c:pt idx="51">
                  <c:v>0.04398148148148148</c:v>
                </c:pt>
                <c:pt idx="52">
                  <c:v>0.2540045766590389</c:v>
                </c:pt>
                <c:pt idx="53">
                  <c:v>0.002544529262086514</c:v>
                </c:pt>
                <c:pt idx="54">
                  <c:v>0.15236686390532544</c:v>
                </c:pt>
                <c:pt idx="55">
                  <c:v>0.3309608540925267</c:v>
                </c:pt>
                <c:pt idx="56">
                  <c:v>0.030211480362537766</c:v>
                </c:pt>
                <c:pt idx="57">
                  <c:v>0.1267123287671233</c:v>
                </c:pt>
                <c:pt idx="58">
                  <c:v>0.007782101167315175</c:v>
                </c:pt>
                <c:pt idx="59">
                  <c:v>0.04391891891891892</c:v>
                </c:pt>
                <c:pt idx="60">
                  <c:v>0.11757269279393173</c:v>
                </c:pt>
                <c:pt idx="61">
                  <c:v>0.08660508083140878</c:v>
                </c:pt>
                <c:pt idx="62">
                  <c:v>0.09256449165402124</c:v>
                </c:pt>
                <c:pt idx="63">
                  <c:v>0.08416389811738649</c:v>
                </c:pt>
                <c:pt idx="64">
                  <c:v>0.1959531416400426</c:v>
                </c:pt>
                <c:pt idx="65">
                  <c:v>0.05219206680584551</c:v>
                </c:pt>
                <c:pt idx="66">
                  <c:v>0.02278481012658228</c:v>
                </c:pt>
              </c:numCache>
            </c:numRef>
          </c:yVal>
          <c:smooth val="0"/>
          <c:extLst>
            <c:ext xmlns:c16="http://schemas.microsoft.com/office/drawing/2014/chart" uri="{C3380CC4-5D6E-409C-BE32-E72D297353CC}">
              <c16:uniqueId val="{00000000-F32D-48B7-BC20-E66FC6253BAD}"/>
            </c:ext>
          </c:extLst>
        </c:ser>
        <c:ser>
          <c:idx val="1"/>
          <c:order val="1"/>
          <c:tx>
            <c:strRef>
              <c:f>Sheet1!$B$70</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1:$A$99</c:f>
              <c:numCache>
                <c:formatCode>General</c:formatCode>
                <c:ptCount val="29"/>
                <c:pt idx="0">
                  <c:v>1247.0568</c:v>
                </c:pt>
                <c:pt idx="1">
                  <c:v>1592.1105</c:v>
                </c:pt>
                <c:pt idx="2">
                  <c:v>1038.7516</c:v>
                </c:pt>
                <c:pt idx="3">
                  <c:v>975.8006</c:v>
                </c:pt>
                <c:pt idx="4">
                  <c:v>2398.3333</c:v>
                </c:pt>
                <c:pt idx="5">
                  <c:v>737.4167</c:v>
                </c:pt>
                <c:pt idx="6">
                  <c:v>825.5</c:v>
                </c:pt>
                <c:pt idx="7">
                  <c:v>1034.2051</c:v>
                </c:pt>
                <c:pt idx="8">
                  <c:v>2360.0</c:v>
                </c:pt>
                <c:pt idx="9">
                  <c:v>1066.5357</c:v>
                </c:pt>
                <c:pt idx="10">
                  <c:v>768.5</c:v>
                </c:pt>
                <c:pt idx="11">
                  <c:v>1055.8983</c:v>
                </c:pt>
                <c:pt idx="12">
                  <c:v>838.0183</c:v>
                </c:pt>
                <c:pt idx="13">
                  <c:v>1452.0</c:v>
                </c:pt>
                <c:pt idx="14">
                  <c:v>792.7333</c:v>
                </c:pt>
                <c:pt idx="15">
                  <c:v>817.9655</c:v>
                </c:pt>
                <c:pt idx="16">
                  <c:v>774.6071</c:v>
                </c:pt>
                <c:pt idx="17">
                  <c:v>416.4273</c:v>
                </c:pt>
                <c:pt idx="18">
                  <c:v>1034.3514</c:v>
                </c:pt>
                <c:pt idx="19">
                  <c:v>723.1818</c:v>
                </c:pt>
                <c:pt idx="20">
                  <c:v>1033.2258</c:v>
                </c:pt>
                <c:pt idx="21">
                  <c:v>1345.6923</c:v>
                </c:pt>
                <c:pt idx="22">
                  <c:v>1133.7895</c:v>
                </c:pt>
                <c:pt idx="23">
                  <c:v>907.75</c:v>
                </c:pt>
                <c:pt idx="24">
                  <c:v>1001.5231</c:v>
                </c:pt>
                <c:pt idx="25">
                  <c:v>1051.7875</c:v>
                </c:pt>
                <c:pt idx="26">
                  <c:v>973.2308</c:v>
                </c:pt>
                <c:pt idx="27">
                  <c:v>1008.7917</c:v>
                </c:pt>
                <c:pt idx="28">
                  <c:v>1067.1515</c:v>
                </c:pt>
              </c:numCache>
            </c:numRef>
          </c:xVal>
          <c:yVal>
            <c:numRef>
              <c:f>Sheet1!$B$71:$B$99</c:f>
              <c:numCache>
                <c:formatCode>General</c:formatCode>
                <c:ptCount val="29"/>
                <c:pt idx="0">
                  <c:v>0.08333333333333333</c:v>
                </c:pt>
                <c:pt idx="1">
                  <c:v>0.21608040201005024</c:v>
                </c:pt>
                <c:pt idx="2">
                  <c:v>0.20379746835443038</c:v>
                </c:pt>
                <c:pt idx="3">
                  <c:v>0.24662965900079303</c:v>
                </c:pt>
                <c:pt idx="4">
                  <c:v>0.006711409395973154</c:v>
                </c:pt>
                <c:pt idx="5">
                  <c:v>0.012987012987012988</c:v>
                </c:pt>
                <c:pt idx="6">
                  <c:v>0.013015184381778741</c:v>
                </c:pt>
                <c:pt idx="7">
                  <c:v>0.21666666666666667</c:v>
                </c:pt>
                <c:pt idx="8">
                  <c:v>0.020761245674740483</c:v>
                </c:pt>
                <c:pt idx="9">
                  <c:v>0.0380952380952381</c:v>
                </c:pt>
                <c:pt idx="10">
                  <c:v>0.05384615384615385</c:v>
                </c:pt>
                <c:pt idx="11">
                  <c:v>0.0898021308980213</c:v>
                </c:pt>
                <c:pt idx="12">
                  <c:v>0.1332518337408313</c:v>
                </c:pt>
                <c:pt idx="13">
                  <c:v>0.01090909090909091</c:v>
                </c:pt>
                <c:pt idx="14">
                  <c:v>0.03783102143757881</c:v>
                </c:pt>
                <c:pt idx="15">
                  <c:v>0.04588607594936709</c:v>
                </c:pt>
                <c:pt idx="16">
                  <c:v>0.0681265206812652</c:v>
                </c:pt>
                <c:pt idx="17">
                  <c:v>0.6246612466124661</c:v>
                </c:pt>
                <c:pt idx="18">
                  <c:v>0.24915824915824916</c:v>
                </c:pt>
                <c:pt idx="19">
                  <c:v>0.026128266033254157</c:v>
                </c:pt>
                <c:pt idx="20">
                  <c:v>0.12180746561886051</c:v>
                </c:pt>
                <c:pt idx="21">
                  <c:v>0.021207177814029365</c:v>
                </c:pt>
                <c:pt idx="22">
                  <c:v>0.10401459854014598</c:v>
                </c:pt>
                <c:pt idx="23">
                  <c:v>0.04664723032069971</c:v>
                </c:pt>
                <c:pt idx="24">
                  <c:v>0.22491349480968859</c:v>
                </c:pt>
                <c:pt idx="25">
                  <c:v>0.16913319238900634</c:v>
                </c:pt>
                <c:pt idx="26">
                  <c:v>0.01870503597122302</c:v>
                </c:pt>
                <c:pt idx="27">
                  <c:v>0.04660194174757282</c:v>
                </c:pt>
                <c:pt idx="28">
                  <c:v>0.1286549707602339</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399.5090500812805</c:v>
                </c:pt>
              </c:numCache>
            </c:numRef>
          </c:xVal>
          <c:yVal>
            <c:numRef>
              <c:f>Sheet1!$B$102:$B$103</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399.5090500812805</c:v>
                </c:pt>
                <c:pt idx="1">
                  <c:v>-399.5090500812805</c:v>
                </c:pt>
              </c:numCache>
            </c:numRef>
          </c:xVal>
          <c:yVal>
            <c:numRef>
              <c:f>Sheet1!$B$106:$B$107</c:f>
              <c:numCache>
                <c:formatCode>General</c:formatCode>
                <c:ptCount val="2"/>
                <c:pt idx="0">
                  <c:v>0.2491582491582491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399.5090500812805</c:v>
                </c:pt>
              </c:numCache>
            </c:numRef>
          </c:xVal>
          <c:yVal>
            <c:numRef>
              <c:f>Sheet1!$B$110:$B$111</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399.5090500812805</c:v>
                </c:pt>
                <c:pt idx="1">
                  <c:v>-399.5090500812805</c:v>
                </c:pt>
              </c:numCache>
            </c:numRef>
          </c:xVal>
          <c:yVal>
            <c:numRef>
              <c:f>Sheet1!$B$114:$B$115</c:f>
              <c:numCache>
                <c:formatCode>General</c:formatCode>
                <c:ptCount val="2"/>
                <c:pt idx="0">
                  <c:v>0.2491582491582491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1282.7107993065642</c:v>
                </c:pt>
              </c:numCache>
            </c:numRef>
          </c:xVal>
          <c:yVal>
            <c:numRef>
              <c:f>Sheet1!$B$118:$B$119</c:f>
              <c:numCache>
                <c:formatCode>General</c:formatCode>
                <c:ptCount val="2"/>
                <c:pt idx="0">
                  <c:v>0.09498470529407496</c:v>
                </c:pt>
                <c:pt idx="1">
                  <c:v>0.09498470529407496</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1282.7107993065642</c:v>
                </c:pt>
                <c:pt idx="1">
                  <c:v>1282.7107993065642</c:v>
                </c:pt>
              </c:numCache>
            </c:numRef>
          </c:xVal>
          <c:yVal>
            <c:numRef>
              <c:f>Sheet1!$B$122:$B$123</c:f>
              <c:numCache>
                <c:formatCode>General</c:formatCode>
                <c:ptCount val="2"/>
                <c:pt idx="0">
                  <c:v>0.0949847052940749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57</c:f>
              <c:numCache>
                <c:formatCode>General</c:formatCode>
                <c:ptCount val="32"/>
                <c:pt idx="0">
                  <c:v>1247.0568</c:v>
                </c:pt>
                <c:pt idx="1">
                  <c:v>1592.1105</c:v>
                </c:pt>
                <c:pt idx="2">
                  <c:v>1038.7516</c:v>
                </c:pt>
                <c:pt idx="3">
                  <c:v>975.8006</c:v>
                </c:pt>
                <c:pt idx="4">
                  <c:v>2398.3333</c:v>
                </c:pt>
                <c:pt idx="5">
                  <c:v>737.4167</c:v>
                </c:pt>
                <c:pt idx="6">
                  <c:v>825.5</c:v>
                </c:pt>
                <c:pt idx="7">
                  <c:v>1034.2051</c:v>
                </c:pt>
                <c:pt idx="8">
                  <c:v>2360.0</c:v>
                </c:pt>
                <c:pt idx="9">
                  <c:v>1066.5357</c:v>
                </c:pt>
                <c:pt idx="10">
                  <c:v>768.5</c:v>
                </c:pt>
                <c:pt idx="11">
                  <c:v>1055.8983</c:v>
                </c:pt>
                <c:pt idx="12">
                  <c:v>838.0183</c:v>
                </c:pt>
                <c:pt idx="13">
                  <c:v>1452.0</c:v>
                </c:pt>
                <c:pt idx="14">
                  <c:v>792.7333</c:v>
                </c:pt>
                <c:pt idx="15">
                  <c:v>817.9655</c:v>
                </c:pt>
                <c:pt idx="16">
                  <c:v>774.6071</c:v>
                </c:pt>
                <c:pt idx="17">
                  <c:v>416.4273</c:v>
                </c:pt>
                <c:pt idx="18">
                  <c:v>1034.3514</c:v>
                </c:pt>
                <c:pt idx="19">
                  <c:v>723.1818</c:v>
                </c:pt>
                <c:pt idx="20">
                  <c:v>1033.2258</c:v>
                </c:pt>
                <c:pt idx="21">
                  <c:v>1345.6923</c:v>
                </c:pt>
                <c:pt idx="22">
                  <c:v>1133.7895</c:v>
                </c:pt>
                <c:pt idx="23">
                  <c:v>907.75</c:v>
                </c:pt>
                <c:pt idx="24">
                  <c:v>1001.5231</c:v>
                </c:pt>
                <c:pt idx="25">
                  <c:v>1051.7875</c:v>
                </c:pt>
                <c:pt idx="26">
                  <c:v>973.2308</c:v>
                </c:pt>
                <c:pt idx="27">
                  <c:v>1008.7917</c:v>
                </c:pt>
                <c:pt idx="28">
                  <c:v>1067.1515</c:v>
                </c:pt>
                <c:pt idx="29">
                  <c:v>-399.5090500812805</c:v>
                </c:pt>
                <c:pt idx="30">
                  <c:v>-399.5090500812805</c:v>
                </c:pt>
                <c:pt idx="31">
                  <c:v>1282.7107993065642</c:v>
                </c:pt>
              </c:numCache>
            </c:numRef>
          </c:xVal>
          <c:yVal>
            <c:numRef>
              <c:f>Sheet1!$B$126:$B$157</c:f>
              <c:numCache>
                <c:formatCode>General</c:formatCode>
                <c:ptCount val="32"/>
                <c:pt idx="0">
                  <c:v>0.09825235394774179</c:v>
                </c:pt>
                <c:pt idx="1">
                  <c:v>0.06662857316082249</c:v>
                </c:pt>
                <c:pt idx="2">
                  <c:v>0.11734328959507838</c:v>
                </c:pt>
                <c:pt idx="3">
                  <c:v>0.12311267744490395</c:v>
                </c:pt>
                <c:pt idx="4">
                  <c:v>-0.007260833307261377</c:v>
                </c:pt>
                <c:pt idx="5">
                  <c:v>0.14496029187921053</c:v>
                </c:pt>
                <c:pt idx="6">
                  <c:v>0.13688755719997525</c:v>
                </c:pt>
                <c:pt idx="7">
                  <c:v>0.1177599711705773</c:v>
                </c:pt>
                <c:pt idx="8">
                  <c:v>-0.0037476297796968094</c:v>
                </c:pt>
                <c:pt idx="9">
                  <c:v>0.1147969082991762</c:v>
                </c:pt>
                <c:pt idx="10">
                  <c:v>0.14211154264008036</c:v>
                </c:pt>
                <c:pt idx="11">
                  <c:v>0.11577181396094065</c:v>
                </c:pt>
                <c:pt idx="12">
                  <c:v>0.13574026918357407</c:v>
                </c:pt>
                <c:pt idx="13">
                  <c:v>0.07946954179250404</c:v>
                </c:pt>
                <c:pt idx="14">
                  <c:v>0.13989058814243652</c:v>
                </c:pt>
                <c:pt idx="15">
                  <c:v>0.1375780855911765</c:v>
                </c:pt>
                <c:pt idx="16">
                  <c:v>0.1415518338421634</c:v>
                </c:pt>
                <c:pt idx="17">
                  <c:v>0.17437860682707157</c:v>
                </c:pt>
                <c:pt idx="18">
                  <c:v>0.11774656294128102</c:v>
                </c:pt>
                <c:pt idx="19">
                  <c:v>0.14626490434133954</c:v>
                </c:pt>
                <c:pt idx="20">
                  <c:v>0.11784972290639299</c:v>
                </c:pt>
                <c:pt idx="21">
                  <c:v>0.08921252209024201</c:v>
                </c:pt>
                <c:pt idx="22">
                  <c:v>0.10863317370282984</c:v>
                </c:pt>
                <c:pt idx="23">
                  <c:v>0.12934943785877093</c:v>
                </c:pt>
                <c:pt idx="24">
                  <c:v>0.1207552394539723</c:v>
                </c:pt>
                <c:pt idx="25">
                  <c:v>0.11614856412492634</c:v>
                </c:pt>
                <c:pt idx="26">
                  <c:v>0.12334819670427205</c:v>
                </c:pt>
                <c:pt idx="27">
                  <c:v>0.12008908049660479</c:v>
                </c:pt>
                <c:pt idx="28">
                  <c:v>0.11474047092664959</c:v>
                </c:pt>
                <c:pt idx="29">
                  <c:v>0.24915824915824916</c:v>
                </c:pt>
                <c:pt idx="30">
                  <c:v>0.24915824915824916</c:v>
                </c:pt>
                <c:pt idx="31">
                  <c:v>0.0949847052940749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81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30769230769231"/>
          <c:min val="0.001826484018264840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3</c:f>
              <c:numCache>
                <c:formatCode>General</c:formatCode>
                <c:ptCount val="62"/>
                <c:pt idx="0">
                  <c:v>0.671397701098455</c:v>
                </c:pt>
                <c:pt idx="1">
                  <c:v>0.5975547811835777</c:v>
                </c:pt>
                <c:pt idx="2">
                  <c:v>1.5053488167698283</c:v>
                </c:pt>
                <c:pt idx="3">
                  <c:v>1.158833983398537</c:v>
                </c:pt>
                <c:pt idx="4">
                  <c:v>1.4936866602498309</c:v>
                </c:pt>
                <c:pt idx="5">
                  <c:v>1.017530034415044</c:v>
                </c:pt>
                <c:pt idx="6">
                  <c:v>1.1638871851077492</c:v>
                </c:pt>
                <c:pt idx="7">
                  <c:v>1.2916268541220943</c:v>
                </c:pt>
                <c:pt idx="8">
                  <c:v>0.7636136662932905</c:v>
                </c:pt>
                <c:pt idx="9">
                  <c:v>0.6863662955465587</c:v>
                </c:pt>
                <c:pt idx="10">
                  <c:v>0.7330447836812316</c:v>
                </c:pt>
                <c:pt idx="11">
                  <c:v>1.245938319761189</c:v>
                </c:pt>
                <c:pt idx="12">
                  <c:v>1.1532792219274979</c:v>
                </c:pt>
                <c:pt idx="13">
                  <c:v>1.3087466945453892</c:v>
                </c:pt>
                <c:pt idx="14">
                  <c:v>0.9976113144374167</c:v>
                </c:pt>
                <c:pt idx="15">
                  <c:v>0.15222478538775175</c:v>
                </c:pt>
                <c:pt idx="16">
                  <c:v>1.9185083370600093</c:v>
                </c:pt>
                <c:pt idx="17">
                  <c:v>3.9568221070811744</c:v>
                </c:pt>
                <c:pt idx="18">
                  <c:v>1.5463760559599407</c:v>
                </c:pt>
                <c:pt idx="19">
                  <c:v>1.2335440040265506</c:v>
                </c:pt>
                <c:pt idx="20">
                  <c:v>1.2725790258628686</c:v>
                </c:pt>
                <c:pt idx="21">
                  <c:v>1.979994269684633</c:v>
                </c:pt>
                <c:pt idx="22">
                  <c:v>0.5362499124220753</c:v>
                </c:pt>
                <c:pt idx="23">
                  <c:v>1.6984582850649554</c:v>
                </c:pt>
                <c:pt idx="24">
                  <c:v>0.9005644041711277</c:v>
                </c:pt>
                <c:pt idx="25">
                  <c:v>1.0034529785400468</c:v>
                </c:pt>
                <c:pt idx="26">
                  <c:v>1.8171214348723783</c:v>
                </c:pt>
                <c:pt idx="27">
                  <c:v>1.0759600611924596</c:v>
                </c:pt>
                <c:pt idx="28">
                  <c:v>1.2692392419773653</c:v>
                </c:pt>
                <c:pt idx="29">
                  <c:v>1.2467404399452608</c:v>
                </c:pt>
                <c:pt idx="30">
                  <c:v>0.9208446683158384</c:v>
                </c:pt>
                <c:pt idx="31">
                  <c:v>0.9410369197250787</c:v>
                </c:pt>
                <c:pt idx="32">
                  <c:v>1.117316262595192</c:v>
                </c:pt>
                <c:pt idx="33">
                  <c:v>7.233449028463287</c:v>
                </c:pt>
                <c:pt idx="34">
                  <c:v>1.0752264869623975</c:v>
                </c:pt>
                <c:pt idx="35">
                  <c:v>1.2603576678110293</c:v>
                </c:pt>
                <c:pt idx="36">
                  <c:v>1.6725820462440821</c:v>
                </c:pt>
                <c:pt idx="37">
                  <c:v>1.2331255084624027</c:v>
                </c:pt>
                <c:pt idx="38">
                  <c:v>1.796953714661407</c:v>
                </c:pt>
                <c:pt idx="39">
                  <c:v>0.7252057942386831</c:v>
                </c:pt>
                <c:pt idx="40">
                  <c:v>0.8070495214380883</c:v>
                </c:pt>
                <c:pt idx="41">
                  <c:v>0.921421952059358</c:v>
                </c:pt>
                <c:pt idx="42">
                  <c:v>1.106886282387479</c:v>
                </c:pt>
                <c:pt idx="43">
                  <c:v>0.4731753348427214</c:v>
                </c:pt>
                <c:pt idx="44">
                  <c:v>2.6940667304219996</c:v>
                </c:pt>
                <c:pt idx="45">
                  <c:v>1.8923323430891146</c:v>
                </c:pt>
                <c:pt idx="46">
                  <c:v>1.7369672753495689</c:v>
                </c:pt>
                <c:pt idx="47">
                  <c:v>1.5892112769211233</c:v>
                </c:pt>
                <c:pt idx="48">
                  <c:v>1.3732433662188723</c:v>
                </c:pt>
                <c:pt idx="49">
                  <c:v>1.55105750203878</c:v>
                </c:pt>
                <c:pt idx="50">
                  <c:v>1.4137656193360286</c:v>
                </c:pt>
                <c:pt idx="51">
                  <c:v>0.9807304190512662</c:v>
                </c:pt>
                <c:pt idx="52">
                  <c:v>0.9894544033263948</c:v>
                </c:pt>
                <c:pt idx="53">
                  <c:v>1.003105865345091</c:v>
                </c:pt>
                <c:pt idx="54">
                  <c:v>1.3406816382658568</c:v>
                </c:pt>
                <c:pt idx="55">
                  <c:v>0.76350608748594</c:v>
                </c:pt>
                <c:pt idx="56">
                  <c:v>0.6898558032640633</c:v>
                </c:pt>
                <c:pt idx="57">
                  <c:v>0.4682103631280035</c:v>
                </c:pt>
                <c:pt idx="58">
                  <c:v>0.562975447677297</c:v>
                </c:pt>
                <c:pt idx="59">
                  <c:v>0.7730056883121774</c:v>
                </c:pt>
                <c:pt idx="60">
                  <c:v>0.8078088652653804</c:v>
                </c:pt>
                <c:pt idx="61">
                  <c:v>1.5316670217067523</c:v>
                </c:pt>
              </c:numCache>
            </c:numRef>
          </c:xVal>
          <c:yVal>
            <c:numRef>
              <c:f>Sheet1!$B$2:$B$63</c:f>
              <c:numCache>
                <c:formatCode>General</c:formatCode>
                <c:ptCount val="62"/>
                <c:pt idx="0">
                  <c:v>0.01330671989354624</c:v>
                </c:pt>
                <c:pt idx="1">
                  <c:v>0.011824324324324325</c:v>
                </c:pt>
                <c:pt idx="2">
                  <c:v>0.23372781065088757</c:v>
                </c:pt>
                <c:pt idx="3">
                  <c:v>0.049429657794676805</c:v>
                </c:pt>
                <c:pt idx="4">
                  <c:v>0.05628517823639775</c:v>
                </c:pt>
                <c:pt idx="5">
                  <c:v>0.05263157894736842</c:v>
                </c:pt>
                <c:pt idx="6">
                  <c:v>0.0472972972972973</c:v>
                </c:pt>
                <c:pt idx="7">
                  <c:v>0.057803468208092484</c:v>
                </c:pt>
                <c:pt idx="8">
                  <c:v>0.04032258064516129</c:v>
                </c:pt>
                <c:pt idx="9">
                  <c:v>0.2944550669216061</c:v>
                </c:pt>
                <c:pt idx="10">
                  <c:v>0.1978021978021978</c:v>
                </c:pt>
                <c:pt idx="11">
                  <c:v>0.12</c:v>
                </c:pt>
                <c:pt idx="12">
                  <c:v>0.18754833720030936</c:v>
                </c:pt>
                <c:pt idx="13">
                  <c:v>0.017991004497751123</c:v>
                </c:pt>
                <c:pt idx="14">
                  <c:v>0.016203703703703703</c:v>
                </c:pt>
                <c:pt idx="15">
                  <c:v>0.09486166007905138</c:v>
                </c:pt>
                <c:pt idx="16">
                  <c:v>0.028985507246376812</c:v>
                </c:pt>
                <c:pt idx="17">
                  <c:v>0.0032310177705977385</c:v>
                </c:pt>
                <c:pt idx="18">
                  <c:v>0.04936854190585534</c:v>
                </c:pt>
                <c:pt idx="19">
                  <c:v>0.0863905325443787</c:v>
                </c:pt>
                <c:pt idx="20">
                  <c:v>0.024551927326295114</c:v>
                </c:pt>
                <c:pt idx="21">
                  <c:v>0.00949367088607595</c:v>
                </c:pt>
                <c:pt idx="22">
                  <c:v>0.15783602900167318</c:v>
                </c:pt>
                <c:pt idx="23">
                  <c:v>0.059961315280464215</c:v>
                </c:pt>
                <c:pt idx="24">
                  <c:v>0.00909090909090909</c:v>
                </c:pt>
                <c:pt idx="25">
                  <c:v>0.1600633914421553</c:v>
                </c:pt>
                <c:pt idx="26">
                  <c:v>0.04511970534069982</c:v>
                </c:pt>
                <c:pt idx="27">
                  <c:v>0.052489905787348586</c:v>
                </c:pt>
                <c:pt idx="28">
                  <c:v>0.006517690875232775</c:v>
                </c:pt>
                <c:pt idx="29">
                  <c:v>0.035246727089627394</c:v>
                </c:pt>
                <c:pt idx="30">
                  <c:v>0.18499353169469598</c:v>
                </c:pt>
                <c:pt idx="31">
                  <c:v>0.23780487804878048</c:v>
                </c:pt>
                <c:pt idx="32">
                  <c:v>0.026272577996715927</c:v>
                </c:pt>
                <c:pt idx="33">
                  <c:v>0.00228310502283105</c:v>
                </c:pt>
                <c:pt idx="34">
                  <c:v>0.07373271889400922</c:v>
                </c:pt>
                <c:pt idx="35">
                  <c:v>0.20151133501259447</c:v>
                </c:pt>
                <c:pt idx="36">
                  <c:v>0.009510869565217392</c:v>
                </c:pt>
                <c:pt idx="37">
                  <c:v>0.011892963330029732</c:v>
                </c:pt>
                <c:pt idx="38">
                  <c:v>0.08888888888888889</c:v>
                </c:pt>
                <c:pt idx="39">
                  <c:v>0.11895910780669144</c:v>
                </c:pt>
                <c:pt idx="40">
                  <c:v>0.0730050933786078</c:v>
                </c:pt>
                <c:pt idx="41">
                  <c:v>0.027700831024930747</c:v>
                </c:pt>
                <c:pt idx="42">
                  <c:v>0.008620689655172414</c:v>
                </c:pt>
                <c:pt idx="43">
                  <c:v>0.016361886429258902</c:v>
                </c:pt>
                <c:pt idx="44">
                  <c:v>0.022494887525562373</c:v>
                </c:pt>
                <c:pt idx="45">
                  <c:v>0.02666666666666667</c:v>
                </c:pt>
                <c:pt idx="46">
                  <c:v>0.04398148148148148</c:v>
                </c:pt>
                <c:pt idx="47">
                  <c:v>0.2540045766590389</c:v>
                </c:pt>
                <c:pt idx="48">
                  <c:v>0.002544529262086514</c:v>
                </c:pt>
                <c:pt idx="49">
                  <c:v>0.15236686390532544</c:v>
                </c:pt>
                <c:pt idx="50">
                  <c:v>0.3309608540925267</c:v>
                </c:pt>
                <c:pt idx="51">
                  <c:v>0.030211480362537766</c:v>
                </c:pt>
                <c:pt idx="52">
                  <c:v>0.1267123287671233</c:v>
                </c:pt>
                <c:pt idx="53">
                  <c:v>0.007782101167315175</c:v>
                </c:pt>
                <c:pt idx="54">
                  <c:v>0.04391891891891892</c:v>
                </c:pt>
                <c:pt idx="55">
                  <c:v>0.11757269279393173</c:v>
                </c:pt>
                <c:pt idx="56">
                  <c:v>0.08660508083140878</c:v>
                </c:pt>
                <c:pt idx="57">
                  <c:v>0.09256449165402124</c:v>
                </c:pt>
                <c:pt idx="58">
                  <c:v>0.08416389811738649</c:v>
                </c:pt>
                <c:pt idx="59">
                  <c:v>0.1959531416400426</c:v>
                </c:pt>
                <c:pt idx="60">
                  <c:v>0.05219206680584551</c:v>
                </c:pt>
                <c:pt idx="61">
                  <c:v>0.02278481012658228</c:v>
                </c:pt>
              </c:numCache>
            </c:numRef>
          </c:yVal>
          <c:smooth val="0"/>
          <c:extLst>
            <c:ext xmlns:c16="http://schemas.microsoft.com/office/drawing/2014/chart" uri="{C3380CC4-5D6E-409C-BE32-E72D297353CC}">
              <c16:uniqueId val="{00000000-096C-4121-9522-6AB7243CCAAE}"/>
            </c:ext>
          </c:extLst>
        </c:ser>
        <c:ser>
          <c:idx val="1"/>
          <c:order val="1"/>
          <c:tx>
            <c:strRef>
              <c:f>Sheet1!$B$6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6:$A$95</c:f>
              <c:numCache>
                <c:formatCode>General</c:formatCode>
                <c:ptCount val="30"/>
                <c:pt idx="0">
                  <c:v>0.9502077256065281</c:v>
                </c:pt>
                <c:pt idx="1">
                  <c:v>1.4614852837177605</c:v>
                </c:pt>
                <c:pt idx="2">
                  <c:v>0.8232873410661593</c:v>
                </c:pt>
                <c:pt idx="3">
                  <c:v>0.7742697881828317</c:v>
                </c:pt>
                <c:pt idx="4">
                  <c:v>1.6307292909332831</c:v>
                </c:pt>
                <c:pt idx="5">
                  <c:v>0.6626337739140092</c:v>
                </c:pt>
                <c:pt idx="6">
                  <c:v>0.7667952306544205</c:v>
                </c:pt>
                <c:pt idx="7">
                  <c:v>1.058179966036499</c:v>
                </c:pt>
                <c:pt idx="8">
                  <c:v>1.37851908615166</c:v>
                </c:pt>
                <c:pt idx="9">
                  <c:v>1.1031114562435207</c:v>
                </c:pt>
                <c:pt idx="10">
                  <c:v>0.5340637834079135</c:v>
                </c:pt>
                <c:pt idx="11">
                  <c:v>0.9053016432378729</c:v>
                </c:pt>
                <c:pt idx="12">
                  <c:v>0.4962058254712875</c:v>
                </c:pt>
                <c:pt idx="13">
                  <c:v>1.0887508937954995</c:v>
                </c:pt>
                <c:pt idx="14">
                  <c:v>0.5837710511797026</c:v>
                </c:pt>
                <c:pt idx="15">
                  <c:v>0.8187452729980034</c:v>
                </c:pt>
                <c:pt idx="16">
                  <c:v>0.5525320802349688</c:v>
                </c:pt>
                <c:pt idx="17">
                  <c:v>0.3933877591120827</c:v>
                </c:pt>
                <c:pt idx="18">
                  <c:v>0.7218019770515641</c:v>
                </c:pt>
                <c:pt idx="19">
                  <c:v>0.765700051902048</c:v>
                </c:pt>
                <c:pt idx="20">
                  <c:v>2.354404385930151</c:v>
                </c:pt>
                <c:pt idx="21">
                  <c:v>0.929755704959851</c:v>
                </c:pt>
                <c:pt idx="22">
                  <c:v>1.0955803010327025</c:v>
                </c:pt>
                <c:pt idx="23">
                  <c:v>1.361976058406226</c:v>
                </c:pt>
                <c:pt idx="24">
                  <c:v>0.8312084979497011</c:v>
                </c:pt>
                <c:pt idx="25">
                  <c:v>0.8633633757893148</c:v>
                </c:pt>
                <c:pt idx="26">
                  <c:v>0.629393441939201</c:v>
                </c:pt>
                <c:pt idx="27">
                  <c:v>0.9880907962945534</c:v>
                </c:pt>
                <c:pt idx="28">
                  <c:v>0.8357228565122964</c:v>
                </c:pt>
                <c:pt idx="29">
                  <c:v>0.8166097493187977</c:v>
                </c:pt>
              </c:numCache>
            </c:numRef>
          </c:xVal>
          <c:yVal>
            <c:numRef>
              <c:f>Sheet1!$B$66:$B$95</c:f>
              <c:numCache>
                <c:formatCode>General</c:formatCode>
                <c:ptCount val="30"/>
                <c:pt idx="0">
                  <c:v>0.08333333333333333</c:v>
                </c:pt>
                <c:pt idx="1">
                  <c:v>0.21608040201005024</c:v>
                </c:pt>
                <c:pt idx="2">
                  <c:v>0.20379746835443038</c:v>
                </c:pt>
                <c:pt idx="3">
                  <c:v>0.24662965900079303</c:v>
                </c:pt>
                <c:pt idx="4">
                  <c:v>0.006711409395973154</c:v>
                </c:pt>
                <c:pt idx="5">
                  <c:v>0.012987012987012988</c:v>
                </c:pt>
                <c:pt idx="6">
                  <c:v>0.013015184381778741</c:v>
                </c:pt>
                <c:pt idx="7">
                  <c:v>0.21666666666666667</c:v>
                </c:pt>
                <c:pt idx="8">
                  <c:v>0.020761245674740483</c:v>
                </c:pt>
                <c:pt idx="9">
                  <c:v>0.0380952380952381</c:v>
                </c:pt>
                <c:pt idx="10">
                  <c:v>0.05384615384615385</c:v>
                </c:pt>
                <c:pt idx="11">
                  <c:v>0.0898021308980213</c:v>
                </c:pt>
                <c:pt idx="12">
                  <c:v>0.1332518337408313</c:v>
                </c:pt>
                <c:pt idx="13">
                  <c:v>0.01090909090909091</c:v>
                </c:pt>
                <c:pt idx="14">
                  <c:v>0.03783102143757881</c:v>
                </c:pt>
                <c:pt idx="15">
                  <c:v>0.04588607594936709</c:v>
                </c:pt>
                <c:pt idx="16">
                  <c:v>0.0681265206812652</c:v>
                </c:pt>
                <c:pt idx="17">
                  <c:v>0.6246612466124661</c:v>
                </c:pt>
                <c:pt idx="18">
                  <c:v>0.24915824915824916</c:v>
                </c:pt>
                <c:pt idx="19">
                  <c:v>0.026128266033254157</c:v>
                </c:pt>
                <c:pt idx="20">
                  <c:v>0.7531380753138075</c:v>
                </c:pt>
                <c:pt idx="21">
                  <c:v>0.12180746561886051</c:v>
                </c:pt>
                <c:pt idx="22">
                  <c:v>0.021207177814029365</c:v>
                </c:pt>
                <c:pt idx="23">
                  <c:v>0.10401459854014598</c:v>
                </c:pt>
                <c:pt idx="24">
                  <c:v>0.04664723032069971</c:v>
                </c:pt>
                <c:pt idx="25">
                  <c:v>0.22491349480968859</c:v>
                </c:pt>
                <c:pt idx="26">
                  <c:v>0.16913319238900634</c:v>
                </c:pt>
                <c:pt idx="27">
                  <c:v>0.01870503597122302</c:v>
                </c:pt>
                <c:pt idx="28">
                  <c:v>0.04660194174757282</c:v>
                </c:pt>
                <c:pt idx="29">
                  <c:v>0.1286549707602339</c:v>
                </c:pt>
              </c:numCache>
            </c:numRef>
          </c:yVal>
          <c:smooth val="0"/>
          <c:extLst>
            <c:ext xmlns:c16="http://schemas.microsoft.com/office/drawing/2014/chart" uri="{C3380CC4-5D6E-409C-BE32-E72D297353CC}">
              <c16:uniqueId val="{00000002-096C-4121-9522-6AB7243CCAAE}"/>
            </c:ext>
          </c:extLst>
        </c:ser>
        <c:ser>
          <c:idx val="2"/>
          <c:order val="2"/>
          <c:tx>
            <c:strRef>
              <c:f>Sheet1!$B$97</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98:$A$99</c:f>
              <c:numCache>
                <c:formatCode>General</c:formatCode>
                <c:ptCount val="2"/>
                <c:pt idx="0">
                  <c:v>0</c:v>
                </c:pt>
                <c:pt idx="1">
                  <c:v>1.8350727720402715</c:v>
                </c:pt>
              </c:numCache>
            </c:numRef>
          </c:xVal>
          <c:yVal>
            <c:numRef>
              <c:f>Sheet1!$B$98:$B$99</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5-096C-4121-9522-6AB7243CCAAE}"/>
            </c:ext>
          </c:extLst>
        </c:ser>
        <c:ser>
          <c:idx val="3"/>
          <c:order val="3"/>
          <c:tx>
            <c:strRef>
              <c:f>Sheet1!$B$101</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2:$A$103</c:f>
              <c:numCache>
                <c:formatCode>General</c:formatCode>
                <c:ptCount val="2"/>
                <c:pt idx="0">
                  <c:v>1.8350727720402715</c:v>
                </c:pt>
                <c:pt idx="1">
                  <c:v>1.8350727720402715</c:v>
                </c:pt>
              </c:numCache>
            </c:numRef>
          </c:xVal>
          <c:yVal>
            <c:numRef>
              <c:f>Sheet1!$B$102:$B$103</c:f>
              <c:numCache>
                <c:formatCode>General</c:formatCode>
                <c:ptCount val="2"/>
                <c:pt idx="0">
                  <c:v>0.2491582491582491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5</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06:$A$107</c:f>
              <c:numCache>
                <c:formatCode>General</c:formatCode>
                <c:ptCount val="2"/>
                <c:pt idx="0">
                  <c:v>0</c:v>
                </c:pt>
                <c:pt idx="1">
                  <c:v>1.8350727720402715</c:v>
                </c:pt>
              </c:numCache>
            </c:numRef>
          </c:xVal>
          <c:yVal>
            <c:numRef>
              <c:f>Sheet1!$B$106:$B$107</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D-096C-4121-9522-6AB7243CCAAE}"/>
            </c:ext>
          </c:extLst>
        </c:ser>
        <c:ser>
          <c:idx val="5"/>
          <c:order val="5"/>
          <c:tx>
            <c:strRef>
              <c:f>Sheet1!$B$109</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0:$A$111</c:f>
              <c:numCache>
                <c:formatCode>General</c:formatCode>
                <c:ptCount val="2"/>
                <c:pt idx="0">
                  <c:v>1.8350727720402715</c:v>
                </c:pt>
                <c:pt idx="1">
                  <c:v>1.8350727720402715</c:v>
                </c:pt>
              </c:numCache>
            </c:numRef>
          </c:xVal>
          <c:yVal>
            <c:numRef>
              <c:f>Sheet1!$B$110:$B$111</c:f>
              <c:numCache>
                <c:formatCode>General</c:formatCode>
                <c:ptCount val="2"/>
                <c:pt idx="0">
                  <c:v>0.2491582491582491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3</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4:$A$115</c:f>
              <c:numCache>
                <c:formatCode>General</c:formatCode>
                <c:ptCount val="2"/>
                <c:pt idx="0">
                  <c:v>0</c:v>
                </c:pt>
                <c:pt idx="1">
                  <c:v>0.6313062860289058</c:v>
                </c:pt>
              </c:numCache>
            </c:numRef>
          </c:xVal>
          <c:yVal>
            <c:numRef>
              <c:f>Sheet1!$B$114:$B$115</c:f>
              <c:numCache>
                <c:formatCode>General</c:formatCode>
                <c:ptCount val="2"/>
                <c:pt idx="0">
                  <c:v>0.09498470529407496</c:v>
                </c:pt>
                <c:pt idx="1">
                  <c:v>0.09498470529407496</c:v>
                </c:pt>
              </c:numCache>
            </c:numRef>
          </c:yVal>
          <c:smooth val="0"/>
          <c:extLst>
            <c:ext xmlns:c16="http://schemas.microsoft.com/office/drawing/2014/chart" uri="{C3380CC4-5D6E-409C-BE32-E72D297353CC}">
              <c16:uniqueId val="{00000015-096C-4121-9522-6AB7243CCAAE}"/>
            </c:ext>
          </c:extLst>
        </c:ser>
        <c:ser>
          <c:idx val="7"/>
          <c:order val="7"/>
          <c:tx>
            <c:strRef>
              <c:f>Sheet1!$B$117</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8:$A$119</c:f>
              <c:numCache>
                <c:formatCode>General</c:formatCode>
                <c:ptCount val="2"/>
                <c:pt idx="0">
                  <c:v>0.6313062860289058</c:v>
                </c:pt>
                <c:pt idx="1">
                  <c:v>0.6313062860289058</c:v>
                </c:pt>
              </c:numCache>
            </c:numRef>
          </c:xVal>
          <c:yVal>
            <c:numRef>
              <c:f>Sheet1!$B$118:$B$119</c:f>
              <c:numCache>
                <c:formatCode>General</c:formatCode>
                <c:ptCount val="2"/>
                <c:pt idx="0">
                  <c:v>0.0949847052940749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1</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2:$A$154</c:f>
              <c:numCache>
                <c:formatCode>General</c:formatCode>
                <c:ptCount val="33"/>
                <c:pt idx="0">
                  <c:v>0.9502077256065281</c:v>
                </c:pt>
                <c:pt idx="1">
                  <c:v>1.4614852837177605</c:v>
                </c:pt>
                <c:pt idx="2">
                  <c:v>0.8232873410661593</c:v>
                </c:pt>
                <c:pt idx="3">
                  <c:v>0.7742697881828317</c:v>
                </c:pt>
                <c:pt idx="4">
                  <c:v>1.6307292909332831</c:v>
                </c:pt>
                <c:pt idx="5">
                  <c:v>0.6626337739140092</c:v>
                </c:pt>
                <c:pt idx="6">
                  <c:v>0.7667952306544205</c:v>
                </c:pt>
                <c:pt idx="7">
                  <c:v>1.058179966036499</c:v>
                </c:pt>
                <c:pt idx="8">
                  <c:v>1.37851908615166</c:v>
                </c:pt>
                <c:pt idx="9">
                  <c:v>1.1031114562435207</c:v>
                </c:pt>
                <c:pt idx="10">
                  <c:v>0.5340637834079135</c:v>
                </c:pt>
                <c:pt idx="11">
                  <c:v>0.9053016432378729</c:v>
                </c:pt>
                <c:pt idx="12">
                  <c:v>0.4962058254712875</c:v>
                </c:pt>
                <c:pt idx="13">
                  <c:v>1.0887508937954995</c:v>
                </c:pt>
                <c:pt idx="14">
                  <c:v>0.5837710511797026</c:v>
                </c:pt>
                <c:pt idx="15">
                  <c:v>0.8187452729980034</c:v>
                </c:pt>
                <c:pt idx="16">
                  <c:v>0.5525320802349688</c:v>
                </c:pt>
                <c:pt idx="17">
                  <c:v>0.3933877591120827</c:v>
                </c:pt>
                <c:pt idx="18">
                  <c:v>0.7218019770515641</c:v>
                </c:pt>
                <c:pt idx="19">
                  <c:v>0.765700051902048</c:v>
                </c:pt>
                <c:pt idx="20">
                  <c:v>2.354404385930151</c:v>
                </c:pt>
                <c:pt idx="21">
                  <c:v>0.929755704959851</c:v>
                </c:pt>
                <c:pt idx="22">
                  <c:v>1.0955803010327025</c:v>
                </c:pt>
                <c:pt idx="23">
                  <c:v>1.361976058406226</c:v>
                </c:pt>
                <c:pt idx="24">
                  <c:v>0.8312084979497011</c:v>
                </c:pt>
                <c:pt idx="25">
                  <c:v>0.8633633757893148</c:v>
                </c:pt>
                <c:pt idx="26">
                  <c:v>0.629393441939201</c:v>
                </c:pt>
                <c:pt idx="27">
                  <c:v>0.9880907962945534</c:v>
                </c:pt>
                <c:pt idx="28">
                  <c:v>0.8357228565122964</c:v>
                </c:pt>
                <c:pt idx="29">
                  <c:v>0.8166097493187977</c:v>
                </c:pt>
                <c:pt idx="30">
                  <c:v>1.8350727720402715</c:v>
                </c:pt>
                <c:pt idx="31">
                  <c:v>1.8350727720402715</c:v>
                </c:pt>
                <c:pt idx="32">
                  <c:v>0.6313062860289058</c:v>
                </c:pt>
              </c:numCache>
            </c:numRef>
          </c:xVal>
          <c:yVal>
            <c:numRef>
              <c:f>Sheet1!$B$122:$B$154</c:f>
              <c:numCache>
                <c:formatCode>General</c:formatCode>
                <c:ptCount val="33"/>
                <c:pt idx="0">
                  <c:v>0.13582831213511526</c:v>
                </c:pt>
                <c:pt idx="1">
                  <c:v>0.2013106743276491</c:v>
                </c:pt>
                <c:pt idx="2">
                  <c:v>0.11957286251047132</c:v>
                </c:pt>
                <c:pt idx="3">
                  <c:v>0.1132948925491936</c:v>
                </c:pt>
                <c:pt idx="4">
                  <c:v>0.22298676240071796</c:v>
                </c:pt>
                <c:pt idx="5">
                  <c:v>0.09899700326360224</c:v>
                </c:pt>
                <c:pt idx="6">
                  <c:v>0.11233758144578336</c:v>
                </c:pt>
                <c:pt idx="7">
                  <c:v>0.14965696008260937</c:v>
                </c:pt>
                <c:pt idx="8">
                  <c:v>0.19068469923335646</c:v>
                </c:pt>
                <c:pt idx="9">
                  <c:v>0.15541160365909581</c:v>
                </c:pt>
                <c:pt idx="10">
                  <c:v>0.0825302787773709</c:v>
                </c:pt>
                <c:pt idx="11">
                  <c:v>0.13007692269182525</c:v>
                </c:pt>
                <c:pt idx="12">
                  <c:v>0.07768158461087177</c:v>
                </c:pt>
                <c:pt idx="13">
                  <c:v>0.15357236089048357</c:v>
                </c:pt>
                <c:pt idx="14">
                  <c:v>0.08889658463256632</c:v>
                </c:pt>
                <c:pt idx="15">
                  <c:v>0.11899113279903849</c:v>
                </c:pt>
                <c:pt idx="16">
                  <c:v>0.08489562355482612</c:v>
                </c:pt>
                <c:pt idx="17">
                  <c:v>0.06451306243645498</c:v>
                </c:pt>
                <c:pt idx="18">
                  <c:v>0.10657502746331073</c:v>
                </c:pt>
                <c:pt idx="19">
                  <c:v>0.11219731537974803</c:v>
                </c:pt>
                <c:pt idx="20">
                  <c:v>0.3156721422467694</c:v>
                </c:pt>
                <c:pt idx="21">
                  <c:v>0.13320890003241637</c:v>
                </c:pt>
                <c:pt idx="22">
                  <c:v>0.15444704375338666</c:v>
                </c:pt>
                <c:pt idx="23">
                  <c:v>0.1885659351346749</c:v>
                </c:pt>
                <c:pt idx="24">
                  <c:v>0.12058737225337524</c:v>
                </c:pt>
                <c:pt idx="25">
                  <c:v>0.1247056389825638</c:v>
                </c:pt>
                <c:pt idx="26">
                  <c:v>0.09473971595802308</c:v>
                </c:pt>
                <c:pt idx="27">
                  <c:v>0.1406802226412653</c:v>
                </c:pt>
                <c:pt idx="28">
                  <c:v>0.12116555304338464</c:v>
                </c:pt>
                <c:pt idx="29">
                  <c:v>0.11871762356161161</c:v>
                </c:pt>
                <c:pt idx="30">
                  <c:v>0.24915824915824916</c:v>
                </c:pt>
                <c:pt idx="31">
                  <c:v>0.24915824915824916</c:v>
                </c:pt>
                <c:pt idx="32">
                  <c:v>0.0949847052940749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3765690376569"/>
          <c:min val="0.001826484018264840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3</c:f>
              <c:numCache>
                <c:formatCode>General</c:formatCode>
                <c:ptCount val="62"/>
                <c:pt idx="0">
                  <c:v>629.85</c:v>
                </c:pt>
                <c:pt idx="1">
                  <c:v>599.8571</c:v>
                </c:pt>
                <c:pt idx="2">
                  <c:v>1419.8861</c:v>
                </c:pt>
                <c:pt idx="3">
                  <c:v>646.0</c:v>
                </c:pt>
                <c:pt idx="4">
                  <c:v>1810.5333</c:v>
                </c:pt>
                <c:pt idx="5">
                  <c:v>1285.6667</c:v>
                </c:pt>
                <c:pt idx="6">
                  <c:v>1517.2857</c:v>
                </c:pt>
                <c:pt idx="7">
                  <c:v>1697.7</c:v>
                </c:pt>
                <c:pt idx="8">
                  <c:v>714.0333</c:v>
                </c:pt>
                <c:pt idx="9">
                  <c:v>678.1299</c:v>
                </c:pt>
                <c:pt idx="10">
                  <c:v>925.4167</c:v>
                </c:pt>
                <c:pt idx="11">
                  <c:v>925.4167</c:v>
                </c:pt>
                <c:pt idx="12">
                  <c:v>1304.3588</c:v>
                </c:pt>
                <c:pt idx="13">
                  <c:v>1524.5</c:v>
                </c:pt>
                <c:pt idx="14">
                  <c:v>1269.0</c:v>
                </c:pt>
                <c:pt idx="15">
                  <c:v>146.375</c:v>
                </c:pt>
                <c:pt idx="16">
                  <c:v>1773.0714</c:v>
                </c:pt>
                <c:pt idx="17">
                  <c:v>3436.5</c:v>
                </c:pt>
                <c:pt idx="18">
                  <c:v>1546.7093</c:v>
                </c:pt>
                <c:pt idx="19">
                  <c:v>1180.3151</c:v>
                </c:pt>
                <c:pt idx="20">
                  <c:v>1639.58</c:v>
                </c:pt>
                <c:pt idx="21">
                  <c:v>2228.6667</c:v>
                </c:pt>
                <c:pt idx="22">
                  <c:v>955.9717</c:v>
                </c:pt>
                <c:pt idx="23">
                  <c:v>1505.4516</c:v>
                </c:pt>
                <c:pt idx="24">
                  <c:v>984.4545</c:v>
                </c:pt>
                <c:pt idx="25">
                  <c:v>873.5297</c:v>
                </c:pt>
                <c:pt idx="26">
                  <c:v>1894.9184</c:v>
                </c:pt>
                <c:pt idx="27">
                  <c:v>1117.3077</c:v>
                </c:pt>
                <c:pt idx="28">
                  <c:v>1129.8571</c:v>
                </c:pt>
                <c:pt idx="29">
                  <c:v>1160.4857</c:v>
                </c:pt>
                <c:pt idx="30">
                  <c:v>1310.4895</c:v>
                </c:pt>
                <c:pt idx="31">
                  <c:v>1116.6154</c:v>
                </c:pt>
                <c:pt idx="32">
                  <c:v>1335.625</c:v>
                </c:pt>
                <c:pt idx="33">
                  <c:v>7344.0</c:v>
                </c:pt>
                <c:pt idx="34">
                  <c:v>1130.75</c:v>
                </c:pt>
                <c:pt idx="35">
                  <c:v>1090.8625</c:v>
                </c:pt>
                <c:pt idx="36">
                  <c:v>2083.1429</c:v>
                </c:pt>
                <c:pt idx="37">
                  <c:v>1374.3333</c:v>
                </c:pt>
                <c:pt idx="38">
                  <c:v>1366.5833</c:v>
                </c:pt>
                <c:pt idx="39">
                  <c:v>1101.4063</c:v>
                </c:pt>
                <c:pt idx="40">
                  <c:v>1129.0233</c:v>
                </c:pt>
                <c:pt idx="41">
                  <c:v>1097.4</c:v>
                </c:pt>
                <c:pt idx="42">
                  <c:v>1214.0</c:v>
                </c:pt>
                <c:pt idx="43">
                  <c:v>1160.4706</c:v>
                </c:pt>
                <c:pt idx="44">
                  <c:v>2249.7273</c:v>
                </c:pt>
                <c:pt idx="45">
                  <c:v>1615.8571</c:v>
                </c:pt>
                <c:pt idx="46">
                  <c:v>1480.3684</c:v>
                </c:pt>
                <c:pt idx="47">
                  <c:v>1443.1216</c:v>
                </c:pt>
                <c:pt idx="48">
                  <c:v>2792.0</c:v>
                </c:pt>
                <c:pt idx="49">
                  <c:v>1790.6796</c:v>
                </c:pt>
                <c:pt idx="50">
                  <c:v>1830.7097</c:v>
                </c:pt>
                <c:pt idx="51">
                  <c:v>1145.8</c:v>
                </c:pt>
                <c:pt idx="52">
                  <c:v>1147.036</c:v>
                </c:pt>
                <c:pt idx="53">
                  <c:v>1141.8333</c:v>
                </c:pt>
                <c:pt idx="54">
                  <c:v>1423.6154</c:v>
                </c:pt>
                <c:pt idx="55">
                  <c:v>788.5484</c:v>
                </c:pt>
                <c:pt idx="56">
                  <c:v>711.4</c:v>
                </c:pt>
                <c:pt idx="57">
                  <c:v>597.5082</c:v>
                </c:pt>
                <c:pt idx="58">
                  <c:v>787.4605</c:v>
                </c:pt>
                <c:pt idx="59">
                  <c:v>796.3098</c:v>
                </c:pt>
                <c:pt idx="60">
                  <c:v>1397.76</c:v>
                </c:pt>
                <c:pt idx="61">
                  <c:v>1729.2222</c:v>
                </c:pt>
              </c:numCache>
            </c:numRef>
          </c:xVal>
          <c:yVal>
            <c:numRef>
              <c:f>Sheet1!$B$2:$B$63</c:f>
              <c:numCache>
                <c:formatCode>General</c:formatCode>
                <c:ptCount val="62"/>
                <c:pt idx="0">
                  <c:v>0.01330671989354624</c:v>
                </c:pt>
                <c:pt idx="1">
                  <c:v>0.011824324324324325</c:v>
                </c:pt>
                <c:pt idx="2">
                  <c:v>0.23372781065088757</c:v>
                </c:pt>
                <c:pt idx="3">
                  <c:v>0.049429657794676805</c:v>
                </c:pt>
                <c:pt idx="4">
                  <c:v>0.05628517823639775</c:v>
                </c:pt>
                <c:pt idx="5">
                  <c:v>0.05263157894736842</c:v>
                </c:pt>
                <c:pt idx="6">
                  <c:v>0.0472972972972973</c:v>
                </c:pt>
                <c:pt idx="7">
                  <c:v>0.057803468208092484</c:v>
                </c:pt>
                <c:pt idx="8">
                  <c:v>0.04032258064516129</c:v>
                </c:pt>
                <c:pt idx="9">
                  <c:v>0.2944550669216061</c:v>
                </c:pt>
                <c:pt idx="10">
                  <c:v>0.1978021978021978</c:v>
                </c:pt>
                <c:pt idx="11">
                  <c:v>0.12</c:v>
                </c:pt>
                <c:pt idx="12">
                  <c:v>0.18754833720030936</c:v>
                </c:pt>
                <c:pt idx="13">
                  <c:v>0.017991004497751123</c:v>
                </c:pt>
                <c:pt idx="14">
                  <c:v>0.016203703703703703</c:v>
                </c:pt>
                <c:pt idx="15">
                  <c:v>0.09486166007905138</c:v>
                </c:pt>
                <c:pt idx="16">
                  <c:v>0.028985507246376812</c:v>
                </c:pt>
                <c:pt idx="17">
                  <c:v>0.0032310177705977385</c:v>
                </c:pt>
                <c:pt idx="18">
                  <c:v>0.04936854190585534</c:v>
                </c:pt>
                <c:pt idx="19">
                  <c:v>0.0863905325443787</c:v>
                </c:pt>
                <c:pt idx="20">
                  <c:v>0.024551927326295114</c:v>
                </c:pt>
                <c:pt idx="21">
                  <c:v>0.00949367088607595</c:v>
                </c:pt>
                <c:pt idx="22">
                  <c:v>0.15783602900167318</c:v>
                </c:pt>
                <c:pt idx="23">
                  <c:v>0.059961315280464215</c:v>
                </c:pt>
                <c:pt idx="24">
                  <c:v>0.00909090909090909</c:v>
                </c:pt>
                <c:pt idx="25">
                  <c:v>0.1600633914421553</c:v>
                </c:pt>
                <c:pt idx="26">
                  <c:v>0.04511970534069982</c:v>
                </c:pt>
                <c:pt idx="27">
                  <c:v>0.052489905787348586</c:v>
                </c:pt>
                <c:pt idx="28">
                  <c:v>0.006517690875232775</c:v>
                </c:pt>
                <c:pt idx="29">
                  <c:v>0.035246727089627394</c:v>
                </c:pt>
                <c:pt idx="30">
                  <c:v>0.18499353169469598</c:v>
                </c:pt>
                <c:pt idx="31">
                  <c:v>0.23780487804878048</c:v>
                </c:pt>
                <c:pt idx="32">
                  <c:v>0.026272577996715927</c:v>
                </c:pt>
                <c:pt idx="33">
                  <c:v>0.00228310502283105</c:v>
                </c:pt>
                <c:pt idx="34">
                  <c:v>0.07373271889400922</c:v>
                </c:pt>
                <c:pt idx="35">
                  <c:v>0.20151133501259447</c:v>
                </c:pt>
                <c:pt idx="36">
                  <c:v>0.009510869565217392</c:v>
                </c:pt>
                <c:pt idx="37">
                  <c:v>0.011892963330029732</c:v>
                </c:pt>
                <c:pt idx="38">
                  <c:v>0.08888888888888889</c:v>
                </c:pt>
                <c:pt idx="39">
                  <c:v>0.11895910780669144</c:v>
                </c:pt>
                <c:pt idx="40">
                  <c:v>0.0730050933786078</c:v>
                </c:pt>
                <c:pt idx="41">
                  <c:v>0.027700831024930747</c:v>
                </c:pt>
                <c:pt idx="42">
                  <c:v>0.008620689655172414</c:v>
                </c:pt>
                <c:pt idx="43">
                  <c:v>0.016361886429258902</c:v>
                </c:pt>
                <c:pt idx="44">
                  <c:v>0.022494887525562373</c:v>
                </c:pt>
                <c:pt idx="45">
                  <c:v>0.02666666666666667</c:v>
                </c:pt>
                <c:pt idx="46">
                  <c:v>0.04398148148148148</c:v>
                </c:pt>
                <c:pt idx="47">
                  <c:v>0.2540045766590389</c:v>
                </c:pt>
                <c:pt idx="48">
                  <c:v>0.002544529262086514</c:v>
                </c:pt>
                <c:pt idx="49">
                  <c:v>0.15236686390532544</c:v>
                </c:pt>
                <c:pt idx="50">
                  <c:v>0.3309608540925267</c:v>
                </c:pt>
                <c:pt idx="51">
                  <c:v>0.030211480362537766</c:v>
                </c:pt>
                <c:pt idx="52">
                  <c:v>0.1267123287671233</c:v>
                </c:pt>
                <c:pt idx="53">
                  <c:v>0.007782101167315175</c:v>
                </c:pt>
                <c:pt idx="54">
                  <c:v>0.04391891891891892</c:v>
                </c:pt>
                <c:pt idx="55">
                  <c:v>0.11757269279393173</c:v>
                </c:pt>
                <c:pt idx="56">
                  <c:v>0.08660508083140878</c:v>
                </c:pt>
                <c:pt idx="57">
                  <c:v>0.09256449165402124</c:v>
                </c:pt>
                <c:pt idx="58">
                  <c:v>0.08416389811738649</c:v>
                </c:pt>
                <c:pt idx="59">
                  <c:v>0.1959531416400426</c:v>
                </c:pt>
                <c:pt idx="60">
                  <c:v>0.05219206680584551</c:v>
                </c:pt>
                <c:pt idx="61">
                  <c:v>0.02278481012658228</c:v>
                </c:pt>
              </c:numCache>
            </c:numRef>
          </c:yVal>
          <c:smooth val="0"/>
          <c:extLst>
            <c:ext xmlns:c16="http://schemas.microsoft.com/office/drawing/2014/chart" uri="{C3380CC4-5D6E-409C-BE32-E72D297353CC}">
              <c16:uniqueId val="{00000000-F32D-48B7-BC20-E66FC6253BAD}"/>
            </c:ext>
          </c:extLst>
        </c:ser>
        <c:ser>
          <c:idx val="1"/>
          <c:order val="1"/>
          <c:tx>
            <c:strRef>
              <c:f>Sheet1!$B$6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6:$A$95</c:f>
              <c:numCache>
                <c:formatCode>General</c:formatCode>
                <c:ptCount val="30"/>
                <c:pt idx="0">
                  <c:v>1247.0568</c:v>
                </c:pt>
                <c:pt idx="1">
                  <c:v>1592.1105</c:v>
                </c:pt>
                <c:pt idx="2">
                  <c:v>1038.7516</c:v>
                </c:pt>
                <c:pt idx="3">
                  <c:v>975.8006</c:v>
                </c:pt>
                <c:pt idx="4">
                  <c:v>2398.3333</c:v>
                </c:pt>
                <c:pt idx="5">
                  <c:v>737.4167</c:v>
                </c:pt>
                <c:pt idx="6">
                  <c:v>825.5</c:v>
                </c:pt>
                <c:pt idx="7">
                  <c:v>1034.2051</c:v>
                </c:pt>
                <c:pt idx="8">
                  <c:v>2360.0</c:v>
                </c:pt>
                <c:pt idx="9">
                  <c:v>1066.5357</c:v>
                </c:pt>
                <c:pt idx="10">
                  <c:v>768.5</c:v>
                </c:pt>
                <c:pt idx="11">
                  <c:v>1055.8983</c:v>
                </c:pt>
                <c:pt idx="12">
                  <c:v>838.0183</c:v>
                </c:pt>
                <c:pt idx="13">
                  <c:v>1452.0</c:v>
                </c:pt>
                <c:pt idx="14">
                  <c:v>792.7333</c:v>
                </c:pt>
                <c:pt idx="15">
                  <c:v>817.9655</c:v>
                </c:pt>
                <c:pt idx="16">
                  <c:v>774.6071</c:v>
                </c:pt>
                <c:pt idx="17">
                  <c:v>416.4273</c:v>
                </c:pt>
                <c:pt idx="18">
                  <c:v>1034.3514</c:v>
                </c:pt>
                <c:pt idx="19">
                  <c:v>723.1818</c:v>
                </c:pt>
                <c:pt idx="20">
                  <c:v>1057.5556</c:v>
                </c:pt>
                <c:pt idx="21">
                  <c:v>1033.2258</c:v>
                </c:pt>
                <c:pt idx="22">
                  <c:v>1345.6923</c:v>
                </c:pt>
                <c:pt idx="23">
                  <c:v>1133.7895</c:v>
                </c:pt>
                <c:pt idx="24">
                  <c:v>907.75</c:v>
                </c:pt>
                <c:pt idx="25">
                  <c:v>1001.5231</c:v>
                </c:pt>
                <c:pt idx="26">
                  <c:v>1051.7875</c:v>
                </c:pt>
                <c:pt idx="27">
                  <c:v>973.2308</c:v>
                </c:pt>
                <c:pt idx="28">
                  <c:v>1008.7917</c:v>
                </c:pt>
                <c:pt idx="29">
                  <c:v>1067.1515</c:v>
                </c:pt>
              </c:numCache>
            </c:numRef>
          </c:xVal>
          <c:yVal>
            <c:numRef>
              <c:f>Sheet1!$B$66:$B$95</c:f>
              <c:numCache>
                <c:formatCode>General</c:formatCode>
                <c:ptCount val="30"/>
                <c:pt idx="0">
                  <c:v>0.08333333333333333</c:v>
                </c:pt>
                <c:pt idx="1">
                  <c:v>0.21608040201005024</c:v>
                </c:pt>
                <c:pt idx="2">
                  <c:v>0.20379746835443038</c:v>
                </c:pt>
                <c:pt idx="3">
                  <c:v>0.24662965900079303</c:v>
                </c:pt>
                <c:pt idx="4">
                  <c:v>0.006711409395973154</c:v>
                </c:pt>
                <c:pt idx="5">
                  <c:v>0.012987012987012988</c:v>
                </c:pt>
                <c:pt idx="6">
                  <c:v>0.013015184381778741</c:v>
                </c:pt>
                <c:pt idx="7">
                  <c:v>0.21666666666666667</c:v>
                </c:pt>
                <c:pt idx="8">
                  <c:v>0.020761245674740483</c:v>
                </c:pt>
                <c:pt idx="9">
                  <c:v>0.0380952380952381</c:v>
                </c:pt>
                <c:pt idx="10">
                  <c:v>0.05384615384615385</c:v>
                </c:pt>
                <c:pt idx="11">
                  <c:v>0.0898021308980213</c:v>
                </c:pt>
                <c:pt idx="12">
                  <c:v>0.1332518337408313</c:v>
                </c:pt>
                <c:pt idx="13">
                  <c:v>0.01090909090909091</c:v>
                </c:pt>
                <c:pt idx="14">
                  <c:v>0.03783102143757881</c:v>
                </c:pt>
                <c:pt idx="15">
                  <c:v>0.04588607594936709</c:v>
                </c:pt>
                <c:pt idx="16">
                  <c:v>0.0681265206812652</c:v>
                </c:pt>
                <c:pt idx="17">
                  <c:v>0.6246612466124661</c:v>
                </c:pt>
                <c:pt idx="18">
                  <c:v>0.24915824915824916</c:v>
                </c:pt>
                <c:pt idx="19">
                  <c:v>0.026128266033254157</c:v>
                </c:pt>
                <c:pt idx="20">
                  <c:v>0.7531380753138075</c:v>
                </c:pt>
                <c:pt idx="21">
                  <c:v>0.12180746561886051</c:v>
                </c:pt>
                <c:pt idx="22">
                  <c:v>0.021207177814029365</c:v>
                </c:pt>
                <c:pt idx="23">
                  <c:v>0.10401459854014598</c:v>
                </c:pt>
                <c:pt idx="24">
                  <c:v>0.04664723032069971</c:v>
                </c:pt>
                <c:pt idx="25">
                  <c:v>0.22491349480968859</c:v>
                </c:pt>
                <c:pt idx="26">
                  <c:v>0.16913319238900634</c:v>
                </c:pt>
                <c:pt idx="27">
                  <c:v>0.01870503597122302</c:v>
                </c:pt>
                <c:pt idx="28">
                  <c:v>0.04660194174757282</c:v>
                </c:pt>
                <c:pt idx="29">
                  <c:v>0.1286549707602339</c:v>
                </c:pt>
              </c:numCache>
            </c:numRef>
          </c:yVal>
          <c:smooth val="0"/>
          <c:extLst>
            <c:ext xmlns:c16="http://schemas.microsoft.com/office/drawing/2014/chart" uri="{C3380CC4-5D6E-409C-BE32-E72D297353CC}">
              <c16:uniqueId val="{00000002-F32D-48B7-BC20-E66FC6253BAD}"/>
            </c:ext>
          </c:extLst>
        </c:ser>
        <c:ser>
          <c:idx val="2"/>
          <c:order val="2"/>
          <c:tx>
            <c:strRef>
              <c:f>Sheet1!$B$97</c:f>
              <c:strCache>
                <c:ptCount val="1"/>
                <c:pt idx="0">
                  <c:v>Custom Linep3yQ</c:v>
                </c:pt>
              </c:strCache>
            </c:strRef>
          </c:tx>
          <c:spPr>
            <a:ln w="19050" cap="rnd">
              <a:solidFill>
                <a:srgbClr val="C00000"/>
              </a:solidFill>
              <a:prstDash val="sysDot"/>
              <a:round/>
            </a:ln>
            <a:effectLst/>
          </c:spPr>
          <c:marker>
            <c:symbol val="none"/>
          </c:marker>
          <c:xVal>
            <c:numRef>
              <c:f>Sheet1!$A$98:$A$99</c:f>
              <c:numCache>
                <c:formatCode>General</c:formatCode>
                <c:ptCount val="2"/>
                <c:pt idx="0">
                  <c:v>0</c:v>
                </c:pt>
                <c:pt idx="1">
                  <c:v>-123.53985282128855</c:v>
                </c:pt>
              </c:numCache>
            </c:numRef>
          </c:xVal>
          <c:yVal>
            <c:numRef>
              <c:f>Sheet1!$B$98:$B$99</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3-F32D-48B7-BC20-E66FC6253BAD}"/>
            </c:ext>
          </c:extLst>
        </c:ser>
        <c:ser>
          <c:idx val="3"/>
          <c:order val="3"/>
          <c:tx>
            <c:strRef>
              <c:f>Sheet1!$B$101</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2:$A$103</c:f>
              <c:numCache>
                <c:formatCode>General</c:formatCode>
                <c:ptCount val="2"/>
                <c:pt idx="0">
                  <c:v>-123.53985282128855</c:v>
                </c:pt>
                <c:pt idx="1">
                  <c:v>-123.53985282128855</c:v>
                </c:pt>
              </c:numCache>
            </c:numRef>
          </c:xVal>
          <c:yVal>
            <c:numRef>
              <c:f>Sheet1!$B$102:$B$103</c:f>
              <c:numCache>
                <c:formatCode>General</c:formatCode>
                <c:ptCount val="2"/>
                <c:pt idx="0">
                  <c:v>0.2491582491582491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5</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06:$A$107</c:f>
              <c:numCache>
                <c:formatCode>General</c:formatCode>
                <c:ptCount val="2"/>
                <c:pt idx="0">
                  <c:v>0</c:v>
                </c:pt>
                <c:pt idx="1">
                  <c:v>-123.53985282128855</c:v>
                </c:pt>
              </c:numCache>
            </c:numRef>
          </c:xVal>
          <c:yVal>
            <c:numRef>
              <c:f>Sheet1!$B$106:$B$107</c:f>
              <c:numCache>
                <c:formatCode>General</c:formatCode>
                <c:ptCount val="2"/>
                <c:pt idx="0">
                  <c:v>0.24915824915824916</c:v>
                </c:pt>
                <c:pt idx="1">
                  <c:v>0.24915824915824916</c:v>
                </c:pt>
              </c:numCache>
            </c:numRef>
          </c:yVal>
          <c:smooth val="0"/>
          <c:extLst>
            <c:ext xmlns:c16="http://schemas.microsoft.com/office/drawing/2014/chart" uri="{C3380CC4-5D6E-409C-BE32-E72D297353CC}">
              <c16:uniqueId val="{0000000A-F32D-48B7-BC20-E66FC6253BAD}"/>
            </c:ext>
          </c:extLst>
        </c:ser>
        <c:ser>
          <c:idx val="5"/>
          <c:order val="5"/>
          <c:tx>
            <c:strRef>
              <c:f>Sheet1!$B$109</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0:$A$111</c:f>
              <c:numCache>
                <c:formatCode>General</c:formatCode>
                <c:ptCount val="2"/>
                <c:pt idx="0">
                  <c:v>-123.53985282128855</c:v>
                </c:pt>
                <c:pt idx="1">
                  <c:v>-123.53985282128855</c:v>
                </c:pt>
              </c:numCache>
            </c:numRef>
          </c:xVal>
          <c:yVal>
            <c:numRef>
              <c:f>Sheet1!$B$110:$B$111</c:f>
              <c:numCache>
                <c:formatCode>General</c:formatCode>
                <c:ptCount val="2"/>
                <c:pt idx="0">
                  <c:v>0.2491582491582491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3</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4:$A$115</c:f>
              <c:numCache>
                <c:formatCode>General</c:formatCode>
                <c:ptCount val="2"/>
                <c:pt idx="0">
                  <c:v>0</c:v>
                </c:pt>
                <c:pt idx="1">
                  <c:v>1499.4254339062584</c:v>
                </c:pt>
              </c:numCache>
            </c:numRef>
          </c:xVal>
          <c:yVal>
            <c:numRef>
              <c:f>Sheet1!$B$114:$B$115</c:f>
              <c:numCache>
                <c:formatCode>General</c:formatCode>
                <c:ptCount val="2"/>
                <c:pt idx="0">
                  <c:v>0.09498470529407496</c:v>
                </c:pt>
                <c:pt idx="1">
                  <c:v>0.09498470529407496</c:v>
                </c:pt>
              </c:numCache>
            </c:numRef>
          </c:yVal>
          <c:smooth val="0"/>
          <c:extLst>
            <c:ext xmlns:c16="http://schemas.microsoft.com/office/drawing/2014/chart" uri="{C3380CC4-5D6E-409C-BE32-E72D297353CC}">
              <c16:uniqueId val="{00000011-F32D-48B7-BC20-E66FC6253BAD}"/>
            </c:ext>
          </c:extLst>
        </c:ser>
        <c:ser>
          <c:idx val="7"/>
          <c:order val="7"/>
          <c:tx>
            <c:strRef>
              <c:f>Sheet1!$B$117</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8:$A$119</c:f>
              <c:numCache>
                <c:formatCode>General</c:formatCode>
                <c:ptCount val="2"/>
                <c:pt idx="0">
                  <c:v>1499.4254339062584</c:v>
                </c:pt>
                <c:pt idx="1">
                  <c:v>1499.4254339062584</c:v>
                </c:pt>
              </c:numCache>
            </c:numRef>
          </c:xVal>
          <c:yVal>
            <c:numRef>
              <c:f>Sheet1!$B$118:$B$119</c:f>
              <c:numCache>
                <c:formatCode>General</c:formatCode>
                <c:ptCount val="2"/>
                <c:pt idx="0">
                  <c:v>0.0949847052940749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1</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2:$A$154</c:f>
              <c:numCache>
                <c:formatCode>General</c:formatCode>
                <c:ptCount val="33"/>
                <c:pt idx="0">
                  <c:v>1247.0568</c:v>
                </c:pt>
                <c:pt idx="1">
                  <c:v>1592.1105</c:v>
                </c:pt>
                <c:pt idx="2">
                  <c:v>1038.7516</c:v>
                </c:pt>
                <c:pt idx="3">
                  <c:v>975.8006</c:v>
                </c:pt>
                <c:pt idx="4">
                  <c:v>2398.3333</c:v>
                </c:pt>
                <c:pt idx="5">
                  <c:v>737.4167</c:v>
                </c:pt>
                <c:pt idx="6">
                  <c:v>825.5</c:v>
                </c:pt>
                <c:pt idx="7">
                  <c:v>1034.2051</c:v>
                </c:pt>
                <c:pt idx="8">
                  <c:v>2360.0</c:v>
                </c:pt>
                <c:pt idx="9">
                  <c:v>1066.5357</c:v>
                </c:pt>
                <c:pt idx="10">
                  <c:v>768.5</c:v>
                </c:pt>
                <c:pt idx="11">
                  <c:v>1055.8983</c:v>
                </c:pt>
                <c:pt idx="12">
                  <c:v>838.0183</c:v>
                </c:pt>
                <c:pt idx="13">
                  <c:v>1452.0</c:v>
                </c:pt>
                <c:pt idx="14">
                  <c:v>792.7333</c:v>
                </c:pt>
                <c:pt idx="15">
                  <c:v>817.9655</c:v>
                </c:pt>
                <c:pt idx="16">
                  <c:v>774.6071</c:v>
                </c:pt>
                <c:pt idx="17">
                  <c:v>416.4273</c:v>
                </c:pt>
                <c:pt idx="18">
                  <c:v>1034.3514</c:v>
                </c:pt>
                <c:pt idx="19">
                  <c:v>723.1818</c:v>
                </c:pt>
                <c:pt idx="20">
                  <c:v>1057.5556</c:v>
                </c:pt>
                <c:pt idx="21">
                  <c:v>1033.2258</c:v>
                </c:pt>
                <c:pt idx="22">
                  <c:v>1345.6923</c:v>
                </c:pt>
                <c:pt idx="23">
                  <c:v>1133.7895</c:v>
                </c:pt>
                <c:pt idx="24">
                  <c:v>907.75</c:v>
                </c:pt>
                <c:pt idx="25">
                  <c:v>1001.5231</c:v>
                </c:pt>
                <c:pt idx="26">
                  <c:v>1051.7875</c:v>
                </c:pt>
                <c:pt idx="27">
                  <c:v>973.2308</c:v>
                </c:pt>
                <c:pt idx="28">
                  <c:v>1008.7917</c:v>
                </c:pt>
                <c:pt idx="29">
                  <c:v>1067.1515</c:v>
                </c:pt>
                <c:pt idx="30">
                  <c:v>-123.53985282128855</c:v>
                </c:pt>
                <c:pt idx="31">
                  <c:v>-123.53985282128855</c:v>
                </c:pt>
                <c:pt idx="32">
                  <c:v>1499.4254339062584</c:v>
                </c:pt>
              </c:numCache>
            </c:numRef>
          </c:xVal>
          <c:yVal>
            <c:numRef>
              <c:f>Sheet1!$B$122:$B$154</c:f>
              <c:numCache>
                <c:formatCode>General</c:formatCode>
                <c:ptCount val="33"/>
                <c:pt idx="0">
                  <c:v>0.11895845690027303</c:v>
                </c:pt>
                <c:pt idx="1">
                  <c:v>0.08618008992748874</c:v>
                </c:pt>
                <c:pt idx="2">
                  <c:v>0.13874640378488612</c:v>
                </c:pt>
                <c:pt idx="3">
                  <c:v>0.14472643234074206</c:v>
                </c:pt>
                <c:pt idx="4">
                  <c:v>0.009592976674607623</c:v>
                </c:pt>
                <c:pt idx="5">
                  <c:v>0.16737170452476302</c:v>
                </c:pt>
                <c:pt idx="6">
                  <c:v>0.15900423380477408</c:v>
                </c:pt>
                <c:pt idx="7">
                  <c:v>0.13917829843039137</c:v>
                </c:pt>
                <c:pt idx="8">
                  <c:v>0.013234447479522432</c:v>
                </c:pt>
                <c:pt idx="9">
                  <c:v>0.13610705395090805</c:v>
                </c:pt>
                <c:pt idx="10">
                  <c:v>0.16441894727531128</c:v>
                </c:pt>
                <c:pt idx="11">
                  <c:v>0.13711755347847807</c:v>
                </c:pt>
                <c:pt idx="12">
                  <c:v>0.15781505823217362</c:v>
                </c:pt>
                <c:pt idx="13">
                  <c:v>0.09948988311544846</c:v>
                </c:pt>
                <c:pt idx="14">
                  <c:v>0.1621169055920557</c:v>
                </c:pt>
                <c:pt idx="15">
                  <c:v>0.15971997343010325</c:v>
                </c:pt>
                <c:pt idx="16">
                  <c:v>0.16383880347468116</c:v>
                </c:pt>
                <c:pt idx="17">
                  <c:v>0.197864083964757</c:v>
                </c:pt>
                <c:pt idx="18">
                  <c:v>0.13916440066581698</c:v>
                </c:pt>
                <c:pt idx="19">
                  <c:v>0.16872394846830252</c:v>
                </c:pt>
                <c:pt idx="20">
                  <c:v>0.13696011830944788</c:v>
                </c:pt>
                <c:pt idx="21">
                  <c:v>0.13927132700761413</c:v>
                </c:pt>
                <c:pt idx="22">
                  <c:v>0.10958858022442791</c:v>
                </c:pt>
                <c:pt idx="23">
                  <c:v>0.12971828102450775</c:v>
                </c:pt>
                <c:pt idx="24">
                  <c:v>0.15119089726176205</c:v>
                </c:pt>
                <c:pt idx="25">
                  <c:v>0.14228292414344568</c:v>
                </c:pt>
                <c:pt idx="26">
                  <c:v>0.1375080588141743</c:v>
                </c:pt>
                <c:pt idx="27">
                  <c:v>0.14497055042278745</c:v>
                </c:pt>
                <c:pt idx="28">
                  <c:v>0.14159244368148172</c:v>
                </c:pt>
                <c:pt idx="29">
                  <c:v>0.1360485560464316</c:v>
                </c:pt>
                <c:pt idx="30">
                  <c:v>0.24915824915824916</c:v>
                </c:pt>
                <c:pt idx="31">
                  <c:v>0.24915824915824916</c:v>
                </c:pt>
                <c:pt idx="32">
                  <c:v>0.0949847052940749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81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3765690376569"/>
          <c:min val="0.001826484018264840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2</c:f>
              <c:numCache>
                <c:formatCode>General</c:formatCode>
                <c:ptCount val="61"/>
                <c:pt idx="0">
                  <c:v>0.8723950037258754</c:v>
                </c:pt>
                <c:pt idx="1">
                  <c:v>0.933632633875903</c:v>
                </c:pt>
                <c:pt idx="2">
                  <c:v>2.1125956509771537</c:v>
                </c:pt>
                <c:pt idx="3">
                  <c:v>1.1285191104055052</c:v>
                </c:pt>
                <c:pt idx="4">
                  <c:v>1.2091372588424436</c:v>
                </c:pt>
                <c:pt idx="5">
                  <c:v>2.621561625619216</c:v>
                </c:pt>
                <c:pt idx="6">
                  <c:v>1.0061490061490062</c:v>
                </c:pt>
                <c:pt idx="7">
                  <c:v>1.0779685955070264</c:v>
                </c:pt>
                <c:pt idx="8">
                  <c:v>1.0217555087439734</c:v>
                </c:pt>
                <c:pt idx="9">
                  <c:v>0.9916734398539507</c:v>
                </c:pt>
                <c:pt idx="10">
                  <c:v>1.596096412556054</c:v>
                </c:pt>
                <c:pt idx="11">
                  <c:v>3.657279334513398</c:v>
                </c:pt>
                <c:pt idx="12">
                  <c:v>2.032409635460608</c:v>
                </c:pt>
                <c:pt idx="13">
                  <c:v>2.1248784589034986</c:v>
                </c:pt>
                <c:pt idx="14">
                  <c:v>1.6759329426080791</c:v>
                </c:pt>
                <c:pt idx="15">
                  <c:v>0.311336807401893</c:v>
                </c:pt>
                <c:pt idx="16">
                  <c:v>2.363176082049155</c:v>
                </c:pt>
                <c:pt idx="17">
                  <c:v>6.096173185601288</c:v>
                </c:pt>
                <c:pt idx="18">
                  <c:v>3.0926795508353186</c:v>
                </c:pt>
                <c:pt idx="19">
                  <c:v>2.368373681090839</c:v>
                </c:pt>
                <c:pt idx="20">
                  <c:v>1.3388582791892722</c:v>
                </c:pt>
                <c:pt idx="21">
                  <c:v>2.509721923521123</c:v>
                </c:pt>
                <c:pt idx="22">
                  <c:v>4.010969455382225</c:v>
                </c:pt>
                <c:pt idx="23">
                  <c:v>3.6912655353400874</c:v>
                </c:pt>
                <c:pt idx="24">
                  <c:v>2.9447591968246045</c:v>
                </c:pt>
                <c:pt idx="25">
                  <c:v>1.3924291352353755</c:v>
                </c:pt>
                <c:pt idx="26">
                  <c:v>1.312848828681082</c:v>
                </c:pt>
                <c:pt idx="27">
                  <c:v>3.098803597710548</c:v>
                </c:pt>
                <c:pt idx="28">
                  <c:v>1.193479755153008</c:v>
                </c:pt>
                <c:pt idx="29">
                  <c:v>1.3553458542343901</c:v>
                </c:pt>
                <c:pt idx="30">
                  <c:v>1.841129289335259</c:v>
                </c:pt>
                <c:pt idx="31">
                  <c:v>1.5317083676268861</c:v>
                </c:pt>
                <c:pt idx="32">
                  <c:v>3.5535446849347796</c:v>
                </c:pt>
                <c:pt idx="33">
                  <c:v>11.12025180465606</c:v>
                </c:pt>
                <c:pt idx="34">
                  <c:v>1.6888269034195627</c:v>
                </c:pt>
                <c:pt idx="35">
                  <c:v>1.537508809020437</c:v>
                </c:pt>
                <c:pt idx="36">
                  <c:v>3.7920499110940886</c:v>
                </c:pt>
                <c:pt idx="37">
                  <c:v>1.467236045367808</c:v>
                </c:pt>
                <c:pt idx="38">
                  <c:v>1.1450604733549818</c:v>
                </c:pt>
                <c:pt idx="39">
                  <c:v>2.7800649571302642</c:v>
                </c:pt>
                <c:pt idx="40">
                  <c:v>2.301691955425116</c:v>
                </c:pt>
                <c:pt idx="41">
                  <c:v>1.610327528796097</c:v>
                </c:pt>
                <c:pt idx="42">
                  <c:v>1.4667295242021245</c:v>
                </c:pt>
                <c:pt idx="43">
                  <c:v>2.308594375560627</c:v>
                </c:pt>
                <c:pt idx="44">
                  <c:v>3.2956330206204187</c:v>
                </c:pt>
                <c:pt idx="45">
                  <c:v>2.56603739726804</c:v>
                </c:pt>
                <c:pt idx="46">
                  <c:v>1.991917786561265</c:v>
                </c:pt>
                <c:pt idx="47">
                  <c:v>2.155891107242885</c:v>
                </c:pt>
                <c:pt idx="48">
                  <c:v>5.847067764625366</c:v>
                </c:pt>
                <c:pt idx="49">
                  <c:v>2.6855475492955887</c:v>
                </c:pt>
                <c:pt idx="50">
                  <c:v>14.801591645759776</c:v>
                </c:pt>
                <c:pt idx="51">
                  <c:v>9.322971910856655</c:v>
                </c:pt>
                <c:pt idx="52">
                  <c:v>2.7630844008373705</c:v>
                </c:pt>
                <c:pt idx="53">
                  <c:v>2.4534978769958795</c:v>
                </c:pt>
                <c:pt idx="54">
                  <c:v>1.3876996642624069</c:v>
                </c:pt>
                <c:pt idx="55">
                  <c:v>1.1614527007611972</c:v>
                </c:pt>
                <c:pt idx="56">
                  <c:v>0.7873431742632051</c:v>
                </c:pt>
                <c:pt idx="57">
                  <c:v>0.9042429321401398</c:v>
                </c:pt>
                <c:pt idx="58">
                  <c:v>0.8186171164225134</c:v>
                </c:pt>
                <c:pt idx="59">
                  <c:v>1.4922463530304528</c:v>
                </c:pt>
                <c:pt idx="60">
                  <c:v>3.1581942417938134</c:v>
                </c:pt>
              </c:numCache>
            </c:numRef>
          </c:xVal>
          <c:yVal>
            <c:numRef>
              <c:f>Sheet1!$B$2:$B$62</c:f>
              <c:numCache>
                <c:formatCode>General</c:formatCode>
                <c:ptCount val="61"/>
                <c:pt idx="0">
                  <c:v>0.01330671989354624</c:v>
                </c:pt>
                <c:pt idx="1">
                  <c:v>0.011824324324324325</c:v>
                </c:pt>
                <c:pt idx="2">
                  <c:v>0.23372781065088757</c:v>
                </c:pt>
                <c:pt idx="3">
                  <c:v>0.049429657794676805</c:v>
                </c:pt>
                <c:pt idx="4">
                  <c:v>0.039473684210526314</c:v>
                </c:pt>
                <c:pt idx="5">
                  <c:v>0.05628517823639775</c:v>
                </c:pt>
                <c:pt idx="6">
                  <c:v>0.04195804195804196</c:v>
                </c:pt>
                <c:pt idx="7">
                  <c:v>0.06342494714587738</c:v>
                </c:pt>
                <c:pt idx="8">
                  <c:v>0.04032258064516129</c:v>
                </c:pt>
                <c:pt idx="9">
                  <c:v>0.2944550669216061</c:v>
                </c:pt>
                <c:pt idx="10">
                  <c:v>0.12</c:v>
                </c:pt>
                <c:pt idx="11">
                  <c:v>0.18754833720030936</c:v>
                </c:pt>
                <c:pt idx="12">
                  <c:v>0.09417040358744394</c:v>
                </c:pt>
                <c:pt idx="13">
                  <c:v>0.017991004497751123</c:v>
                </c:pt>
                <c:pt idx="14">
                  <c:v>0.016203703703703703</c:v>
                </c:pt>
                <c:pt idx="15">
                  <c:v>0.09486166007905138</c:v>
                </c:pt>
                <c:pt idx="16">
                  <c:v>0.028985507246376812</c:v>
                </c:pt>
                <c:pt idx="17">
                  <c:v>0.0032310177705977385</c:v>
                </c:pt>
                <c:pt idx="18">
                  <c:v>0.06790123456790123</c:v>
                </c:pt>
                <c:pt idx="19">
                  <c:v>0.04936854190585534</c:v>
                </c:pt>
                <c:pt idx="20">
                  <c:v>0.0863905325443787</c:v>
                </c:pt>
                <c:pt idx="21">
                  <c:v>0.024551927326295114</c:v>
                </c:pt>
                <c:pt idx="22">
                  <c:v>0.00949367088607595</c:v>
                </c:pt>
                <c:pt idx="23">
                  <c:v>0.15783602900167318</c:v>
                </c:pt>
                <c:pt idx="24">
                  <c:v>0.059961315280464215</c:v>
                </c:pt>
                <c:pt idx="25">
                  <c:v>0.00909090909090909</c:v>
                </c:pt>
                <c:pt idx="26">
                  <c:v>0.1600633914421553</c:v>
                </c:pt>
                <c:pt idx="27">
                  <c:v>0.04511970534069982</c:v>
                </c:pt>
                <c:pt idx="28">
                  <c:v>0.052489905787348586</c:v>
                </c:pt>
                <c:pt idx="29">
                  <c:v>0.006517690875232775</c:v>
                </c:pt>
                <c:pt idx="30">
                  <c:v>0.18499353169469598</c:v>
                </c:pt>
                <c:pt idx="31">
                  <c:v>0.23780487804878048</c:v>
                </c:pt>
                <c:pt idx="32">
                  <c:v>0.026272577996715927</c:v>
                </c:pt>
                <c:pt idx="33">
                  <c:v>0.00228310502283105</c:v>
                </c:pt>
                <c:pt idx="34">
                  <c:v>0.07373271889400922</c:v>
                </c:pt>
                <c:pt idx="35">
                  <c:v>0.20151133501259447</c:v>
                </c:pt>
                <c:pt idx="36">
                  <c:v>0.009510869565217392</c:v>
                </c:pt>
                <c:pt idx="37">
                  <c:v>0.011892963330029732</c:v>
                </c:pt>
                <c:pt idx="38">
                  <c:v>0.08888888888888889</c:v>
                </c:pt>
                <c:pt idx="39">
                  <c:v>0.0730050933786078</c:v>
                </c:pt>
                <c:pt idx="40">
                  <c:v>0.027700831024930747</c:v>
                </c:pt>
                <c:pt idx="41">
                  <c:v>0.07571801566579635</c:v>
                </c:pt>
                <c:pt idx="42">
                  <c:v>0.008620689655172414</c:v>
                </c:pt>
                <c:pt idx="43">
                  <c:v>0.016361886429258902</c:v>
                </c:pt>
                <c:pt idx="44">
                  <c:v>0.022494887525562373</c:v>
                </c:pt>
                <c:pt idx="45">
                  <c:v>0.02666666666666667</c:v>
                </c:pt>
                <c:pt idx="46">
                  <c:v>0.04398148148148148</c:v>
                </c:pt>
                <c:pt idx="47">
                  <c:v>0.2540045766590389</c:v>
                </c:pt>
                <c:pt idx="48">
                  <c:v>0.002544529262086514</c:v>
                </c:pt>
                <c:pt idx="49">
                  <c:v>0.15236686390532544</c:v>
                </c:pt>
                <c:pt idx="50">
                  <c:v>0.3309608540925267</c:v>
                </c:pt>
                <c:pt idx="51">
                  <c:v>0.1267123287671233</c:v>
                </c:pt>
                <c:pt idx="52">
                  <c:v>0.007782101167315175</c:v>
                </c:pt>
                <c:pt idx="53">
                  <c:v>0.04391891891891892</c:v>
                </c:pt>
                <c:pt idx="54">
                  <c:v>0.11757269279393173</c:v>
                </c:pt>
                <c:pt idx="55">
                  <c:v>0.08660508083140878</c:v>
                </c:pt>
                <c:pt idx="56">
                  <c:v>0.09256449165402124</c:v>
                </c:pt>
                <c:pt idx="57">
                  <c:v>0.08416389811738649</c:v>
                </c:pt>
                <c:pt idx="58">
                  <c:v>0.1959531416400426</c:v>
                </c:pt>
                <c:pt idx="59">
                  <c:v>0.05219206680584551</c:v>
                </c:pt>
                <c:pt idx="60">
                  <c:v>0.02278481012658228</c:v>
                </c:pt>
              </c:numCache>
            </c:numRef>
          </c:yVal>
          <c:smooth val="0"/>
          <c:extLst>
            <c:ext xmlns:c16="http://schemas.microsoft.com/office/drawing/2014/chart" uri="{C3380CC4-5D6E-409C-BE32-E72D297353CC}">
              <c16:uniqueId val="{00000000-096C-4121-9522-6AB7243CCAAE}"/>
            </c:ext>
          </c:extLst>
        </c:ser>
        <c:ser>
          <c:idx val="1"/>
          <c:order val="1"/>
          <c:tx>
            <c:strRef>
              <c:f>Sheet1!$B$6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5:$A$89</c:f>
              <c:numCache>
                <c:formatCode>General</c:formatCode>
                <c:ptCount val="25"/>
                <c:pt idx="0">
                  <c:v>1.991447227535079</c:v>
                </c:pt>
                <c:pt idx="1">
                  <c:v>1.7425018247390285</c:v>
                </c:pt>
                <c:pt idx="2">
                  <c:v>1.1448190885545821</c:v>
                </c:pt>
                <c:pt idx="3">
                  <c:v>1.1508439674489916</c:v>
                </c:pt>
                <c:pt idx="4">
                  <c:v>4.171988866269113</c:v>
                </c:pt>
                <c:pt idx="5">
                  <c:v>1.015918565815324</c:v>
                </c:pt>
                <c:pt idx="6">
                  <c:v>3.3713707765009744</c:v>
                </c:pt>
                <c:pt idx="7">
                  <c:v>1.3047715973760103</c:v>
                </c:pt>
                <c:pt idx="8">
                  <c:v>0.8393005399263512</c:v>
                </c:pt>
                <c:pt idx="9">
                  <c:v>1.3919928969885367</c:v>
                </c:pt>
                <c:pt idx="10">
                  <c:v>1.6708382879186274</c:v>
                </c:pt>
                <c:pt idx="11">
                  <c:v>3.033425972602648</c:v>
                </c:pt>
                <c:pt idx="12">
                  <c:v>1.0758304425647796</c:v>
                </c:pt>
                <c:pt idx="13">
                  <c:v>1.7608055702355339</c:v>
                </c:pt>
                <c:pt idx="14">
                  <c:v>1.691184763844347</c:v>
                </c:pt>
                <c:pt idx="15">
                  <c:v>0.7070073005093379</c:v>
                </c:pt>
                <c:pt idx="16">
                  <c:v>2.20947791796052</c:v>
                </c:pt>
                <c:pt idx="17">
                  <c:v>1.4799266722642035</c:v>
                </c:pt>
                <c:pt idx="18">
                  <c:v>1.3148054570444618</c:v>
                </c:pt>
                <c:pt idx="19">
                  <c:v>1.5621238633232297</c:v>
                </c:pt>
                <c:pt idx="20">
                  <c:v>1.3466166876923313</c:v>
                </c:pt>
                <c:pt idx="21">
                  <c:v>1.1591702546296296</c:v>
                </c:pt>
                <c:pt idx="22">
                  <c:v>1.6825002005382723</c:v>
                </c:pt>
                <c:pt idx="23">
                  <c:v>1.287662589800781</c:v>
                </c:pt>
                <c:pt idx="24">
                  <c:v>0.9219323169673406</c:v>
                </c:pt>
              </c:numCache>
            </c:numRef>
          </c:xVal>
          <c:yVal>
            <c:numRef>
              <c:f>Sheet1!$B$65:$B$89</c:f>
              <c:numCache>
                <c:formatCode>General</c:formatCode>
                <c:ptCount val="25"/>
                <c:pt idx="0">
                  <c:v>0.08333333333333333</c:v>
                </c:pt>
                <c:pt idx="1">
                  <c:v>0.21608040201005024</c:v>
                </c:pt>
                <c:pt idx="2">
                  <c:v>0.20379746835443038</c:v>
                </c:pt>
                <c:pt idx="3">
                  <c:v>0.24662965900079303</c:v>
                </c:pt>
                <c:pt idx="4">
                  <c:v>0.006711409395973154</c:v>
                </c:pt>
                <c:pt idx="5">
                  <c:v>0.21666666666666667</c:v>
                </c:pt>
                <c:pt idx="6">
                  <c:v>0.020761245674740483</c:v>
                </c:pt>
                <c:pt idx="7">
                  <c:v>0.0380952380952381</c:v>
                </c:pt>
                <c:pt idx="8">
                  <c:v>0.05384615384615385</c:v>
                </c:pt>
                <c:pt idx="9">
                  <c:v>0.0898021308980213</c:v>
                </c:pt>
                <c:pt idx="10">
                  <c:v>0.1332518337408313</c:v>
                </c:pt>
                <c:pt idx="11">
                  <c:v>0.01090909090909091</c:v>
                </c:pt>
                <c:pt idx="12">
                  <c:v>0.03783102143757881</c:v>
                </c:pt>
                <c:pt idx="13">
                  <c:v>0.04588607594936709</c:v>
                </c:pt>
                <c:pt idx="14">
                  <c:v>0.0681265206812652</c:v>
                </c:pt>
                <c:pt idx="15">
                  <c:v>0.6246612466124661</c:v>
                </c:pt>
                <c:pt idx="16">
                  <c:v>0.24915824915824916</c:v>
                </c:pt>
                <c:pt idx="17">
                  <c:v>0.7531380753138075</c:v>
                </c:pt>
                <c:pt idx="18">
                  <c:v>0.12180746561886051</c:v>
                </c:pt>
                <c:pt idx="19">
                  <c:v>0.10401459854014598</c:v>
                </c:pt>
                <c:pt idx="20">
                  <c:v>0.04664723032069971</c:v>
                </c:pt>
                <c:pt idx="21">
                  <c:v>0.22491349480968859</c:v>
                </c:pt>
                <c:pt idx="22">
                  <c:v>0.01870503597122302</c:v>
                </c:pt>
                <c:pt idx="23">
                  <c:v>0.04660194174757282</c:v>
                </c:pt>
                <c:pt idx="24">
                  <c:v>0.1286549707602339</c:v>
                </c:pt>
              </c:numCache>
            </c:numRef>
          </c:yVal>
          <c:smooth val="0"/>
          <c:extLst>
            <c:ext xmlns:c16="http://schemas.microsoft.com/office/drawing/2014/chart" uri="{C3380CC4-5D6E-409C-BE32-E72D297353CC}">
              <c16:uniqueId val="{00000002-096C-4121-9522-6AB7243CCAAE}"/>
            </c:ext>
          </c:extLst>
        </c:ser>
        <c:ser>
          <c:idx val="2"/>
          <c:order val="2"/>
          <c:tx>
            <c:strRef>
              <c:f>Sheet1!$B$9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92:$A$93</c:f>
              <c:numCache>
                <c:formatCode>General</c:formatCode>
                <c:ptCount val="2"/>
                <c:pt idx="0">
                  <c:v>0</c:v>
                </c:pt>
                <c:pt idx="1">
                  <c:v>0.307286294607384</c:v>
                </c:pt>
              </c:numCache>
            </c:numRef>
          </c:xVal>
          <c:yVal>
            <c:numRef>
              <c:f>Sheet1!$B$92:$B$93</c:f>
              <c:numCache>
                <c:formatCode>General</c:formatCode>
                <c:ptCount val="2"/>
                <c:pt idx="0">
                  <c:v>0.25010417292064047</c:v>
                </c:pt>
                <c:pt idx="1">
                  <c:v>0.25010417292064047</c:v>
                </c:pt>
              </c:numCache>
            </c:numRef>
          </c:yVal>
          <c:smooth val="0"/>
          <c:extLst>
            <c:ext xmlns:c16="http://schemas.microsoft.com/office/drawing/2014/chart" uri="{C3380CC4-5D6E-409C-BE32-E72D297353CC}">
              <c16:uniqueId val="{00000005-096C-4121-9522-6AB7243CCAAE}"/>
            </c:ext>
          </c:extLst>
        </c:ser>
        <c:ser>
          <c:idx val="3"/>
          <c:order val="3"/>
          <c:tx>
            <c:strRef>
              <c:f>Sheet1!$B$9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96:$A$97</c:f>
              <c:numCache>
                <c:formatCode>General</c:formatCode>
                <c:ptCount val="2"/>
                <c:pt idx="0">
                  <c:v>0.307286294607384</c:v>
                </c:pt>
                <c:pt idx="1">
                  <c:v>0.307286294607384</c:v>
                </c:pt>
              </c:numCache>
            </c:numRef>
          </c:xVal>
          <c:yVal>
            <c:numRef>
              <c:f>Sheet1!$B$96:$B$97</c:f>
              <c:numCache>
                <c:formatCode>General</c:formatCode>
                <c:ptCount val="2"/>
                <c:pt idx="0">
                  <c:v>0.250104172920640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9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00:$A$101</c:f>
              <c:numCache>
                <c:formatCode>General</c:formatCode>
                <c:ptCount val="2"/>
                <c:pt idx="0">
                  <c:v>0</c:v>
                </c:pt>
                <c:pt idx="1">
                  <c:v>0.307286294607384</c:v>
                </c:pt>
              </c:numCache>
            </c:numRef>
          </c:xVal>
          <c:yVal>
            <c:numRef>
              <c:f>Sheet1!$B$100:$B$101</c:f>
              <c:numCache>
                <c:formatCode>General</c:formatCode>
                <c:ptCount val="2"/>
                <c:pt idx="0">
                  <c:v>0.25010417292064047</c:v>
                </c:pt>
                <c:pt idx="1">
                  <c:v>0.25010417292064047</c:v>
                </c:pt>
              </c:numCache>
            </c:numRef>
          </c:yVal>
          <c:smooth val="0"/>
          <c:extLst>
            <c:ext xmlns:c16="http://schemas.microsoft.com/office/drawing/2014/chart" uri="{C3380CC4-5D6E-409C-BE32-E72D297353CC}">
              <c16:uniqueId val="{0000000D-096C-4121-9522-6AB7243CCAAE}"/>
            </c:ext>
          </c:extLst>
        </c:ser>
        <c:ser>
          <c:idx val="5"/>
          <c:order val="5"/>
          <c:tx>
            <c:strRef>
              <c:f>Sheet1!$B$10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4:$A$105</c:f>
              <c:numCache>
                <c:formatCode>General</c:formatCode>
                <c:ptCount val="2"/>
                <c:pt idx="0">
                  <c:v>0.307286294607384</c:v>
                </c:pt>
                <c:pt idx="1">
                  <c:v>0.307286294607384</c:v>
                </c:pt>
              </c:numCache>
            </c:numRef>
          </c:xVal>
          <c:yVal>
            <c:numRef>
              <c:f>Sheet1!$B$104:$B$105</c:f>
              <c:numCache>
                <c:formatCode>General</c:formatCode>
                <c:ptCount val="2"/>
                <c:pt idx="0">
                  <c:v>0.250104172920640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0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08:$A$109</c:f>
              <c:numCache>
                <c:formatCode>General</c:formatCode>
                <c:ptCount val="2"/>
                <c:pt idx="0">
                  <c:v>0</c:v>
                </c:pt>
                <c:pt idx="1">
                  <c:v>2.4086210874657303</c:v>
                </c:pt>
              </c:numCache>
            </c:numRef>
          </c:xVal>
          <c:yVal>
            <c:numRef>
              <c:f>Sheet1!$B$108:$B$109</c:f>
              <c:numCache>
                <c:formatCode>General</c:formatCode>
                <c:ptCount val="2"/>
                <c:pt idx="0">
                  <c:v>0.09492287869159399</c:v>
                </c:pt>
                <c:pt idx="1">
                  <c:v>0.09492287869159399</c:v>
                </c:pt>
              </c:numCache>
            </c:numRef>
          </c:yVal>
          <c:smooth val="0"/>
          <c:extLst>
            <c:ext xmlns:c16="http://schemas.microsoft.com/office/drawing/2014/chart" uri="{C3380CC4-5D6E-409C-BE32-E72D297353CC}">
              <c16:uniqueId val="{00000015-096C-4121-9522-6AB7243CCAAE}"/>
            </c:ext>
          </c:extLst>
        </c:ser>
        <c:ser>
          <c:idx val="7"/>
          <c:order val="7"/>
          <c:tx>
            <c:strRef>
              <c:f>Sheet1!$B$11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2:$A$113</c:f>
              <c:numCache>
                <c:formatCode>General</c:formatCode>
                <c:ptCount val="2"/>
                <c:pt idx="0">
                  <c:v>2.4086210874657303</c:v>
                </c:pt>
                <c:pt idx="1">
                  <c:v>2.4086210874657303</c:v>
                </c:pt>
              </c:numCache>
            </c:numRef>
          </c:xVal>
          <c:yVal>
            <c:numRef>
              <c:f>Sheet1!$B$112:$B$113</c:f>
              <c:numCache>
                <c:formatCode>General</c:formatCode>
                <c:ptCount val="2"/>
                <c:pt idx="0">
                  <c:v>0.0949228786915939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1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16:$A$143</c:f>
              <c:numCache>
                <c:formatCode>General</c:formatCode>
                <c:ptCount val="28"/>
                <c:pt idx="0">
                  <c:v>1.991447227535079</c:v>
                </c:pt>
                <c:pt idx="1">
                  <c:v>1.7425018247390285</c:v>
                </c:pt>
                <c:pt idx="2">
                  <c:v>1.1448190885545821</c:v>
                </c:pt>
                <c:pt idx="3">
                  <c:v>1.1508439674489916</c:v>
                </c:pt>
                <c:pt idx="4">
                  <c:v>4.171988866269113</c:v>
                </c:pt>
                <c:pt idx="5">
                  <c:v>1.015918565815324</c:v>
                </c:pt>
                <c:pt idx="6">
                  <c:v>3.3713707765009744</c:v>
                </c:pt>
                <c:pt idx="7">
                  <c:v>1.3047715973760103</c:v>
                </c:pt>
                <c:pt idx="8">
                  <c:v>0.8393005399263512</c:v>
                </c:pt>
                <c:pt idx="9">
                  <c:v>1.3919928969885367</c:v>
                </c:pt>
                <c:pt idx="10">
                  <c:v>1.6708382879186274</c:v>
                </c:pt>
                <c:pt idx="11">
                  <c:v>3.033425972602648</c:v>
                </c:pt>
                <c:pt idx="12">
                  <c:v>1.0758304425647796</c:v>
                </c:pt>
                <c:pt idx="13">
                  <c:v>1.7608055702355339</c:v>
                </c:pt>
                <c:pt idx="14">
                  <c:v>1.691184763844347</c:v>
                </c:pt>
                <c:pt idx="15">
                  <c:v>0.7070073005093379</c:v>
                </c:pt>
                <c:pt idx="16">
                  <c:v>2.20947791796052</c:v>
                </c:pt>
                <c:pt idx="17">
                  <c:v>1.4799266722642035</c:v>
                </c:pt>
                <c:pt idx="18">
                  <c:v>1.3148054570444618</c:v>
                </c:pt>
                <c:pt idx="19">
                  <c:v>1.5621238633232297</c:v>
                </c:pt>
                <c:pt idx="20">
                  <c:v>1.3466166876923313</c:v>
                </c:pt>
                <c:pt idx="21">
                  <c:v>1.1591702546296296</c:v>
                </c:pt>
                <c:pt idx="22">
                  <c:v>1.6825002005382723</c:v>
                </c:pt>
                <c:pt idx="23">
                  <c:v>1.287662589800781</c:v>
                </c:pt>
                <c:pt idx="24">
                  <c:v>0.9219323169673406</c:v>
                </c:pt>
                <c:pt idx="25">
                  <c:v>0.307286294607384</c:v>
                </c:pt>
                <c:pt idx="26">
                  <c:v>0.307286294607384</c:v>
                </c:pt>
                <c:pt idx="27">
                  <c:v>2.4086210874657303</c:v>
                </c:pt>
              </c:numCache>
            </c:numRef>
          </c:xVal>
          <c:yVal>
            <c:numRef>
              <c:f>Sheet1!$B$116:$B$143</c:f>
              <c:numCache>
                <c:formatCode>General</c:formatCode>
                <c:ptCount val="28"/>
                <c:pt idx="0">
                  <c:v>0.12573071555918136</c:v>
                </c:pt>
                <c:pt idx="1">
                  <c:v>0.14411506341729377</c:v>
                </c:pt>
                <c:pt idx="2">
                  <c:v>0.18825328492044502</c:v>
                </c:pt>
                <c:pt idx="3">
                  <c:v>0.18780835415187577</c:v>
                </c:pt>
                <c:pt idx="4">
                  <c:v>-0.035299918287980125</c:v>
                </c:pt>
                <c:pt idx="5">
                  <c:v>0.19777244865078503</c:v>
                </c:pt>
                <c:pt idx="6">
                  <c:v>0.023824858865881954</c:v>
                </c:pt>
                <c:pt idx="7">
                  <c:v>0.1764409657134097</c:v>
                </c:pt>
                <c:pt idx="8">
                  <c:v>0.21081549820898915</c:v>
                </c:pt>
                <c:pt idx="9">
                  <c:v>0.16999976738356143</c:v>
                </c:pt>
                <c:pt idx="10">
                  <c:v>0.14940733784715443</c:v>
                </c:pt>
                <c:pt idx="11">
                  <c:v>0.04878171591938757</c:v>
                </c:pt>
                <c:pt idx="12">
                  <c:v>0.19334802156507294</c:v>
                </c:pt>
                <c:pt idx="13">
                  <c:v>0.14276335167433865</c:v>
                </c:pt>
                <c:pt idx="14">
                  <c:v>0.14790477267863195</c:v>
                </c:pt>
                <c:pt idx="15">
                  <c:v>0.22058521038443932</c:v>
                </c:pt>
                <c:pt idx="16">
                  <c:v>0.10962938566312547</c:v>
                </c:pt>
                <c:pt idx="17">
                  <c:v>0.16350595349911964</c:v>
                </c:pt>
                <c:pt idx="18">
                  <c:v>0.1756999760649468</c:v>
                </c:pt>
                <c:pt idx="19">
                  <c:v>0.15743578013413137</c:v>
                </c:pt>
                <c:pt idx="20">
                  <c:v>0.17335075120095444</c:v>
                </c:pt>
                <c:pt idx="21">
                  <c:v>0.18719346687869806</c:v>
                </c:pt>
                <c:pt idx="22">
                  <c:v>0.14854611825489664</c:v>
                </c:pt>
                <c:pt idx="23">
                  <c:v>0.17770444735732577</c:v>
                </c:pt>
                <c:pt idx="24">
                  <c:v>0.20471323114081563</c:v>
                </c:pt>
                <c:pt idx="25">
                  <c:v>0.25010417292064047</c:v>
                </c:pt>
                <c:pt idx="26">
                  <c:v>0.25010417292064047</c:v>
                </c:pt>
                <c:pt idx="27">
                  <c:v>0.0949228786915939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8.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3765690376569"/>
          <c:min val="0.001826484018264840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02.5666</c:v>
                </c:pt>
                <c:pt idx="1">
                  <c:v>872.0111</c:v>
                </c:pt>
                <c:pt idx="2">
                  <c:v>900.1709</c:v>
                </c:pt>
                <c:pt idx="3">
                  <c:v>925.0432</c:v>
                </c:pt>
                <c:pt idx="4">
                  <c:v>912.1921</c:v>
                </c:pt>
                <c:pt idx="5">
                  <c:v>901.0272</c:v>
                </c:pt>
                <c:pt idx="6">
                  <c:v>865.8392</c:v>
                </c:pt>
                <c:pt idx="7">
                  <c:v>870.6566</c:v>
                </c:pt>
                <c:pt idx="8">
                  <c:v>877.8398</c:v>
                </c:pt>
                <c:pt idx="9">
                  <c:v>847.7171</c:v>
                </c:pt>
                <c:pt idx="10">
                  <c:v>833.988</c:v>
                </c:pt>
                <c:pt idx="11">
                  <c:v>871.5871</c:v>
                </c:pt>
                <c:pt idx="12">
                  <c:v>871.9647</c:v>
                </c:pt>
                <c:pt idx="13">
                  <c:v>878.4732</c:v>
                </c:pt>
                <c:pt idx="14">
                  <c:v>903.0785</c:v>
                </c:pt>
                <c:pt idx="15">
                  <c:v>917.3083</c:v>
                </c:pt>
                <c:pt idx="16">
                  <c:v>938.2692</c:v>
                </c:pt>
                <c:pt idx="17">
                  <c:v>922.7628</c:v>
                </c:pt>
                <c:pt idx="18">
                  <c:v>979.7761</c:v>
                </c:pt>
                <c:pt idx="19">
                  <c:v>988.3479</c:v>
                </c:pt>
                <c:pt idx="20">
                  <c:v>1012.9016</c:v>
                </c:pt>
                <c:pt idx="21">
                  <c:v>1022.9061</c:v>
                </c:pt>
                <c:pt idx="22">
                  <c:v>998.707</c:v>
                </c:pt>
                <c:pt idx="23">
                  <c:v>1006.9474</c:v>
                </c:pt>
                <c:pt idx="24">
                  <c:v>1019.6003</c:v>
                </c:pt>
                <c:pt idx="25">
                  <c:v>1003.4215</c:v>
                </c:pt>
                <c:pt idx="26">
                  <c:v>986.5536</c:v>
                </c:pt>
                <c:pt idx="27">
                  <c:v>999.7904</c:v>
                </c:pt>
                <c:pt idx="28">
                  <c:v>1006.4917</c:v>
                </c:pt>
                <c:pt idx="29">
                  <c:v>993.4089</c:v>
                </c:pt>
                <c:pt idx="30">
                  <c:v>995.3143</c:v>
                </c:pt>
                <c:pt idx="31">
                  <c:v>981.2178</c:v>
                </c:pt>
                <c:pt idx="32">
                  <c:v>970.219</c:v>
                </c:pt>
                <c:pt idx="33">
                  <c:v>928.2519</c:v>
                </c:pt>
                <c:pt idx="34">
                  <c:v>940.4915</c:v>
                </c:pt>
                <c:pt idx="35">
                  <c:v>981.2692</c:v>
                </c:pt>
                <c:pt idx="36">
                  <c:v>1026.2341</c:v>
                </c:pt>
                <c:pt idx="37">
                  <c:v>1027.2868</c:v>
                </c:pt>
                <c:pt idx="38">
                  <c:v>1059.2012</c:v>
                </c:pt>
                <c:pt idx="39">
                  <c:v>1112.4994</c:v>
                </c:pt>
                <c:pt idx="40">
                  <c:v>1110.5343</c:v>
                </c:pt>
                <c:pt idx="41">
                  <c:v>1130.2013</c:v>
                </c:pt>
                <c:pt idx="42">
                  <c:v>1150.4098</c:v>
                </c:pt>
                <c:pt idx="43">
                  <c:v>1140.076</c:v>
                </c:pt>
                <c:pt idx="44">
                  <c:v>1111.1514</c:v>
                </c:pt>
                <c:pt idx="45">
                  <c:v>1077.0212</c:v>
                </c:pt>
                <c:pt idx="46">
                  <c:v>1061.1769</c:v>
                </c:pt>
                <c:pt idx="47">
                  <c:v>1045.8912</c:v>
                </c:pt>
                <c:pt idx="48">
                  <c:v>1043.8683</c:v>
                </c:pt>
                <c:pt idx="49">
                  <c:v>1001.6732</c:v>
                </c:pt>
                <c:pt idx="50">
                  <c:v>1006.6643</c:v>
                </c:pt>
                <c:pt idx="51">
                  <c:v>1007.4755</c:v>
                </c:pt>
                <c:pt idx="52">
                  <c:v>1022.2327</c:v>
                </c:pt>
                <c:pt idx="53">
                  <c:v>1115.2755</c:v>
                </c:pt>
                <c:pt idx="54">
                  <c:v>1104.3599</c:v>
                </c:pt>
                <c:pt idx="55">
                  <c:v>1123.1172</c:v>
                </c:pt>
                <c:pt idx="56">
                  <c:v>1121.0377</c:v>
                </c:pt>
                <c:pt idx="57">
                  <c:v>1098.7739</c:v>
                </c:pt>
                <c:pt idx="58">
                  <c:v>1083.7183</c:v>
                </c:pt>
                <c:pt idx="59">
                  <c:v>1072.0835</c:v>
                </c:pt>
                <c:pt idx="60">
                  <c:v>1087.6664</c:v>
                </c:pt>
                <c:pt idx="61">
                  <c:v>1099.122</c:v>
                </c:pt>
                <c:pt idx="62">
                  <c:v>1035.1867</c:v>
                </c:pt>
                <c:pt idx="63">
                  <c:v>1056.0471</c:v>
                </c:pt>
                <c:pt idx="64">
                  <c:v>1061.5768</c:v>
                </c:pt>
                <c:pt idx="65">
                  <c:v>1054.6548</c:v>
                </c:pt>
                <c:pt idx="66">
                  <c:v>1084.64</c:v>
                </c:pt>
                <c:pt idx="67">
                  <c:v>1105.461</c:v>
                </c:pt>
                <c:pt idx="68">
                  <c:v>1118.696</c:v>
                </c:pt>
                <c:pt idx="69">
                  <c:v>1149.0121</c:v>
                </c:pt>
                <c:pt idx="70">
                  <c:v>1139.1925</c:v>
                </c:pt>
                <c:pt idx="71">
                  <c:v>1186.6311</c:v>
                </c:pt>
                <c:pt idx="72">
                  <c:v>1254.1648</c:v>
                </c:pt>
                <c:pt idx="73">
                  <c:v>1235.9873</c:v>
                </c:pt>
                <c:pt idx="74">
                  <c:v>1231.8107</c:v>
                </c:pt>
                <c:pt idx="75">
                  <c:v>1199.4123</c:v>
                </c:pt>
                <c:pt idx="76">
                  <c:v>1167.563</c:v>
                </c:pt>
                <c:pt idx="77">
                  <c:v>1171.0387</c:v>
                </c:pt>
                <c:pt idx="78">
                  <c:v>1200.0509</c:v>
                </c:pt>
                <c:pt idx="79">
                  <c:v>1187.2492</c:v>
                </c:pt>
                <c:pt idx="80">
                  <c:v>1206.8508</c:v>
                </c:pt>
                <c:pt idx="81">
                  <c:v>1203.4817</c:v>
                </c:pt>
                <c:pt idx="82">
                  <c:v>1233.5346</c:v>
                </c:pt>
                <c:pt idx="83">
                  <c:v>1180.8858</c:v>
                </c:pt>
                <c:pt idx="84">
                  <c:v>1203.088</c:v>
                </c:pt>
                <c:pt idx="85">
                  <c:v>1186.1807</c:v>
                </c:pt>
                <c:pt idx="86">
                  <c:v>1179.256</c:v>
                </c:pt>
                <c:pt idx="87">
                  <c:v>1185.655</c:v>
                </c:pt>
                <c:pt idx="88">
                  <c:v>1225.303</c:v>
                </c:pt>
                <c:pt idx="89">
                  <c:v>1217.4435</c:v>
                </c:pt>
                <c:pt idx="90">
                  <c:v>1275.8005</c:v>
                </c:pt>
                <c:pt idx="91">
                  <c:v>1262.028</c:v>
                </c:pt>
                <c:pt idx="92">
                  <c:v>1217.7472</c:v>
                </c:pt>
                <c:pt idx="93">
                  <c:v>1247.006</c:v>
                </c:pt>
                <c:pt idx="94">
                  <c:v>1227.8971</c:v>
                </c:pt>
                <c:pt idx="95">
                  <c:v>1181.5481</c:v>
                </c:pt>
                <c:pt idx="96">
                  <c:v>1151.501</c:v>
                </c:pt>
                <c:pt idx="97">
                  <c:v>1146.4279</c:v>
                </c:pt>
                <c:pt idx="98">
                  <c:v>1128.289</c:v>
                </c:pt>
                <c:pt idx="99">
                  <c:v>1098.9471</c:v>
                </c:pt>
                <c:pt idx="100">
                  <c:v>1084.0729</c:v>
                </c:pt>
                <c:pt idx="101">
                  <c:v>1119.4264</c:v>
                </c:pt>
                <c:pt idx="102">
                  <c:v>1135.817</c:v>
                </c:pt>
                <c:pt idx="103">
                  <c:v>1118.4844</c:v>
                </c:pt>
                <c:pt idx="104">
                  <c:v>1151.7239</c:v>
                </c:pt>
              </c:numCache>
            </c:numRef>
          </c:xVal>
          <c:yVal>
            <c:numRef>
              <c:f>Sheet1!$B$2:$B$106</c:f>
              <c:numCache>
                <c:formatCode>General</c:formatCode>
                <c:ptCount val="105"/>
                <c:pt idx="0">
                  <c:v>0.2222146569528608</c:v>
                </c:pt>
                <c:pt idx="1">
                  <c:v>0.21436831795331712</c:v>
                </c:pt>
                <c:pt idx="2">
                  <c:v>0.21788056610286502</c:v>
                </c:pt>
                <c:pt idx="3">
                  <c:v>0.22284236976901517</c:v>
                </c:pt>
                <c:pt idx="4">
                  <c:v>0.23230982175644757</c:v>
                </c:pt>
                <c:pt idx="5">
                  <c:v>0.23291621013782365</c:v>
                </c:pt>
                <c:pt idx="6">
                  <c:v>0.26065601535595323</c:v>
                </c:pt>
                <c:pt idx="7">
                  <c:v>0.26437738022850193</c:v>
                </c:pt>
                <c:pt idx="8">
                  <c:v>0.257263214202133</c:v>
                </c:pt>
                <c:pt idx="9">
                  <c:v>0.25305166789434913</c:v>
                </c:pt>
                <c:pt idx="10">
                  <c:v>0.24550973309251456</c:v>
                </c:pt>
                <c:pt idx="11">
                  <c:v>0.22982810920121335</c:v>
                </c:pt>
                <c:pt idx="12">
                  <c:v>0.22160040869403677</c:v>
                </c:pt>
                <c:pt idx="13">
                  <c:v>0.21053404833614928</c:v>
                </c:pt>
                <c:pt idx="14">
                  <c:v>0.1929620755584598</c:v>
                </c:pt>
                <c:pt idx="15">
                  <c:v>0.19070869326553608</c:v>
                </c:pt>
                <c:pt idx="16">
                  <c:v>0.18037248344153714</c:v>
                </c:pt>
                <c:pt idx="17">
                  <c:v>0.17803368978219664</c:v>
                </c:pt>
                <c:pt idx="18">
                  <c:v>0.16207250612115948</c:v>
                </c:pt>
                <c:pt idx="19">
                  <c:v>0.1645387436742653</c:v>
                </c:pt>
                <c:pt idx="20">
                  <c:v>0.17074384594770492</c:v>
                </c:pt>
                <c:pt idx="21">
                  <c:v>0.1679692794217303</c:v>
                </c:pt>
                <c:pt idx="22">
                  <c:v>0.18874264911789415</c:v>
                </c:pt>
                <c:pt idx="23">
                  <c:v>0.19065880039331368</c:v>
                </c:pt>
                <c:pt idx="24">
                  <c:v>0.19545118343195267</c:v>
                </c:pt>
                <c:pt idx="25">
                  <c:v>0.1965481171548117</c:v>
                </c:pt>
                <c:pt idx="26">
                  <c:v>0.2142291015898177</c:v>
                </c:pt>
                <c:pt idx="27">
                  <c:v>0.2190428532435629</c:v>
                </c:pt>
                <c:pt idx="28">
                  <c:v>0.21610719584569732</c:v>
                </c:pt>
                <c:pt idx="29">
                  <c:v>0.21404179201561102</c:v>
                </c:pt>
                <c:pt idx="30">
                  <c:v>0.21525529915422367</c:v>
                </c:pt>
                <c:pt idx="31">
                  <c:v>0.2158156532331743</c:v>
                </c:pt>
                <c:pt idx="32">
                  <c:v>0.22579515903180636</c:v>
                </c:pt>
                <c:pt idx="33">
                  <c:v>0.2243625609463672</c:v>
                </c:pt>
                <c:pt idx="34">
                  <c:v>0.22853110411464553</c:v>
                </c:pt>
                <c:pt idx="35">
                  <c:v>0.24465431218816822</c:v>
                </c:pt>
                <c:pt idx="36">
                  <c:v>0.21023367645953867</c:v>
                </c:pt>
                <c:pt idx="37">
                  <c:v>0.21509433962264152</c:v>
                </c:pt>
                <c:pt idx="38">
                  <c:v>0.2002953183357943</c:v>
                </c:pt>
                <c:pt idx="39">
                  <c:v>0.18644224973338897</c:v>
                </c:pt>
                <c:pt idx="40">
                  <c:v>0.1933965902954563</c:v>
                </c:pt>
                <c:pt idx="41">
                  <c:v>0.1845035313668467</c:v>
                </c:pt>
                <c:pt idx="42">
                  <c:v>0.1825368689733409</c:v>
                </c:pt>
                <c:pt idx="43">
                  <c:v>0.18491152406925856</c:v>
                </c:pt>
                <c:pt idx="44">
                  <c:v>0.179719027169339</c:v>
                </c:pt>
                <c:pt idx="45">
                  <c:v>0.19425275927214875</c:v>
                </c:pt>
                <c:pt idx="46">
                  <c:v>0.20227789562193046</c:v>
                </c:pt>
                <c:pt idx="47">
                  <c:v>0.19447760619247506</c:v>
                </c:pt>
                <c:pt idx="48">
                  <c:v>0.1946365151844604</c:v>
                </c:pt>
                <c:pt idx="49">
                  <c:v>0.2024177181681814</c:v>
                </c:pt>
                <c:pt idx="50">
                  <c:v>0.19343004525223934</c:v>
                </c:pt>
                <c:pt idx="51">
                  <c:v>0.1905886056027699</c:v>
                </c:pt>
                <c:pt idx="52">
                  <c:v>0.19163722255841645</c:v>
                </c:pt>
                <c:pt idx="53">
                  <c:v>0.1821459475050476</c:v>
                </c:pt>
                <c:pt idx="54">
                  <c:v>0.18893706477466823</c:v>
                </c:pt>
                <c:pt idx="55">
                  <c:v>0.18618821936357483</c:v>
                </c:pt>
                <c:pt idx="56">
                  <c:v>0.1827687615728134</c:v>
                </c:pt>
                <c:pt idx="57">
                  <c:v>0.17984808924756707</c:v>
                </c:pt>
                <c:pt idx="58">
                  <c:v>0.19077375079479927</c:v>
                </c:pt>
                <c:pt idx="59">
                  <c:v>0.18824739239018656</c:v>
                </c:pt>
                <c:pt idx="60">
                  <c:v>0.1917924831352393</c:v>
                </c:pt>
                <c:pt idx="61">
                  <c:v>0.18711292376081656</c:v>
                </c:pt>
                <c:pt idx="62">
                  <c:v>0.19957863689034025</c:v>
                </c:pt>
                <c:pt idx="63">
                  <c:v>0.2039075557604749</c:v>
                </c:pt>
                <c:pt idx="64">
                  <c:v>0.1943246991790681</c:v>
                </c:pt>
                <c:pt idx="65">
                  <c:v>0.19147112834115487</c:v>
                </c:pt>
                <c:pt idx="66">
                  <c:v>0.18685303480699092</c:v>
                </c:pt>
                <c:pt idx="67">
                  <c:v>0.1743600914933014</c:v>
                </c:pt>
                <c:pt idx="68">
                  <c:v>0.16798753104031278</c:v>
                </c:pt>
                <c:pt idx="69">
                  <c:v>0.1637571027589512</c:v>
                </c:pt>
                <c:pt idx="70">
                  <c:v>0.16157501697216564</c:v>
                </c:pt>
                <c:pt idx="71">
                  <c:v>0.15957227341493604</c:v>
                </c:pt>
                <c:pt idx="72">
                  <c:v>0.16045343380263072</c:v>
                </c:pt>
                <c:pt idx="73">
                  <c:v>0.16063700882811147</c:v>
                </c:pt>
                <c:pt idx="74">
                  <c:v>0.16004937942079275</c:v>
                </c:pt>
                <c:pt idx="75">
                  <c:v>0.1704176288700145</c:v>
                </c:pt>
                <c:pt idx="76">
                  <c:v>0.17403464829889376</c:v>
                </c:pt>
                <c:pt idx="77">
                  <c:v>0.16306754103838603</c:v>
                </c:pt>
                <c:pt idx="78">
                  <c:v>0.17122101414413549</c:v>
                </c:pt>
                <c:pt idx="79">
                  <c:v>0.16867216425445977</c:v>
                </c:pt>
                <c:pt idx="80">
                  <c:v>0.15128412624047022</c:v>
                </c:pt>
                <c:pt idx="81">
                  <c:v>0.15918572867213351</c:v>
                </c:pt>
                <c:pt idx="82">
                  <c:v>0.1604518736223365</c:v>
                </c:pt>
                <c:pt idx="83">
                  <c:v>0.15352127547249497</c:v>
                </c:pt>
                <c:pt idx="84">
                  <c:v>0.1606915980776667</c:v>
                </c:pt>
                <c:pt idx="85">
                  <c:v>0.16671613733056298</c:v>
                </c:pt>
                <c:pt idx="86">
                  <c:v>0.1759307231144993</c:v>
                </c:pt>
                <c:pt idx="87">
                  <c:v>0.19704711230134958</c:v>
                </c:pt>
                <c:pt idx="88">
                  <c:v>0.18048567053161235</c:v>
                </c:pt>
                <c:pt idx="89">
                  <c:v>0.17244673736505206</c:v>
                </c:pt>
                <c:pt idx="90">
                  <c:v>0.1624969158647915</c:v>
                </c:pt>
                <c:pt idx="91">
                  <c:v>0.1546732452057345</c:v>
                </c:pt>
                <c:pt idx="92">
                  <c:v>0.17381197362905376</c:v>
                </c:pt>
                <c:pt idx="93">
                  <c:v>0.16256891670391893</c:v>
                </c:pt>
                <c:pt idx="94">
                  <c:v>0.16598507525612377</c:v>
                </c:pt>
                <c:pt idx="95">
                  <c:v>0.17649211625850134</c:v>
                </c:pt>
                <c:pt idx="96">
                  <c:v>0.17222309294046526</c:v>
                </c:pt>
                <c:pt idx="97">
                  <c:v>0.17688563038294014</c:v>
                </c:pt>
                <c:pt idx="98">
                  <c:v>0.184845203101095</c:v>
                </c:pt>
                <c:pt idx="99">
                  <c:v>0.1852970193428802</c:v>
                </c:pt>
                <c:pt idx="100">
                  <c:v>0.18696157822191592</c:v>
                </c:pt>
                <c:pt idx="101">
                  <c:v>0.17836053875657837</c:v>
                </c:pt>
                <c:pt idx="102">
                  <c:v>0.16761097479366496</c:v>
                </c:pt>
                <c:pt idx="103">
                  <c:v>0.16980733033013978</c:v>
                </c:pt>
                <c:pt idx="104">
                  <c:v>0.1651442481502012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87.3113</c:v>
                </c:pt>
                <c:pt idx="1">
                  <c:v>1205.9892</c:v>
                </c:pt>
                <c:pt idx="2">
                  <c:v>1198.2105</c:v>
                </c:pt>
                <c:pt idx="3">
                  <c:v>1171.3652</c:v>
                </c:pt>
                <c:pt idx="4">
                  <c:v>1182.2029</c:v>
                </c:pt>
                <c:pt idx="5">
                  <c:v>1187.2975</c:v>
                </c:pt>
                <c:pt idx="6">
                  <c:v>1118.0794</c:v>
                </c:pt>
                <c:pt idx="7">
                  <c:v>1139.9863</c:v>
                </c:pt>
                <c:pt idx="8">
                  <c:v>1185.7356</c:v>
                </c:pt>
                <c:pt idx="9">
                  <c:v>1126.6432</c:v>
                </c:pt>
                <c:pt idx="10">
                  <c:v>1147.6971</c:v>
                </c:pt>
                <c:pt idx="11">
                  <c:v>1070.2266</c:v>
                </c:pt>
                <c:pt idx="12">
                  <c:v>1103.7668</c:v>
                </c:pt>
                <c:pt idx="13">
                  <c:v>1128.5695</c:v>
                </c:pt>
                <c:pt idx="14">
                  <c:v>1134.3797</c:v>
                </c:pt>
                <c:pt idx="15">
                  <c:v>1149.4107</c:v>
                </c:pt>
                <c:pt idx="16">
                  <c:v>1191.8027</c:v>
                </c:pt>
                <c:pt idx="17">
                  <c:v>1155.8286</c:v>
                </c:pt>
                <c:pt idx="18">
                  <c:v>1166.5389</c:v>
                </c:pt>
                <c:pt idx="19">
                  <c:v>1241.8705</c:v>
                </c:pt>
                <c:pt idx="20">
                  <c:v>1234.2292</c:v>
                </c:pt>
                <c:pt idx="21">
                  <c:v>1089.6954</c:v>
                </c:pt>
                <c:pt idx="22">
                  <c:v>1203.3258</c:v>
                </c:pt>
                <c:pt idx="23">
                  <c:v>1198.4213</c:v>
                </c:pt>
                <c:pt idx="24">
                  <c:v>1176.2103</c:v>
                </c:pt>
                <c:pt idx="25">
                  <c:v>1176.0433</c:v>
                </c:pt>
                <c:pt idx="26">
                  <c:v>1192.2911</c:v>
                </c:pt>
                <c:pt idx="27">
                  <c:v>1191.1064</c:v>
                </c:pt>
                <c:pt idx="28">
                  <c:v>1237.1884</c:v>
                </c:pt>
                <c:pt idx="29">
                  <c:v>1238.2347</c:v>
                </c:pt>
                <c:pt idx="30">
                  <c:v>1235.1392</c:v>
                </c:pt>
                <c:pt idx="31">
                  <c:v>1220.5075</c:v>
                </c:pt>
                <c:pt idx="32">
                  <c:v>1240.6515</c:v>
                </c:pt>
                <c:pt idx="33">
                  <c:v>1237.6143</c:v>
                </c:pt>
                <c:pt idx="34">
                  <c:v>1245.0728</c:v>
                </c:pt>
                <c:pt idx="35">
                  <c:v>1266.4226</c:v>
                </c:pt>
                <c:pt idx="36">
                  <c:v>1274.9988</c:v>
                </c:pt>
                <c:pt idx="37">
                  <c:v>1267.3615</c:v>
                </c:pt>
                <c:pt idx="38">
                  <c:v>1270.0503</c:v>
                </c:pt>
                <c:pt idx="39">
                  <c:v>1238.4698</c:v>
                </c:pt>
                <c:pt idx="40">
                  <c:v>1266.1894</c:v>
                </c:pt>
                <c:pt idx="41">
                  <c:v>1289.9675</c:v>
                </c:pt>
                <c:pt idx="42">
                  <c:v>1282.2537</c:v>
                </c:pt>
                <c:pt idx="43">
                  <c:v>1291.4705</c:v>
                </c:pt>
                <c:pt idx="44">
                  <c:v>1219.8948</c:v>
                </c:pt>
                <c:pt idx="45">
                  <c:v>1184.8793</c:v>
                </c:pt>
                <c:pt idx="46">
                  <c:v>1182.9872</c:v>
                </c:pt>
                <c:pt idx="47">
                  <c:v>1162.7617</c:v>
                </c:pt>
                <c:pt idx="48">
                  <c:v>1147.8243</c:v>
                </c:pt>
                <c:pt idx="49">
                  <c:v>1156.9224</c:v>
                </c:pt>
                <c:pt idx="50">
                  <c:v>1116.4614</c:v>
                </c:pt>
                <c:pt idx="51">
                  <c:v>1094.5253</c:v>
                </c:pt>
              </c:numCache>
            </c:numRef>
          </c:xVal>
          <c:yVal>
            <c:numRef>
              <c:f>Sheet1!$B$109:$B$160</c:f>
              <c:numCache>
                <c:formatCode>General</c:formatCode>
                <c:ptCount val="52"/>
                <c:pt idx="0">
                  <c:v>0.17802485284499672</c:v>
                </c:pt>
                <c:pt idx="1">
                  <c:v>0.17281702961977452</c:v>
                </c:pt>
                <c:pt idx="2">
                  <c:v>0.19121979964643487</c:v>
                </c:pt>
                <c:pt idx="3">
                  <c:v>0.20584655418450432</c:v>
                </c:pt>
                <c:pt idx="4">
                  <c:v>0.1907154821727686</c:v>
                </c:pt>
                <c:pt idx="5">
                  <c:v>0.1865470261731862</c:v>
                </c:pt>
                <c:pt idx="6">
                  <c:v>0.1957534188576993</c:v>
                </c:pt>
                <c:pt idx="7">
                  <c:v>0.19280505867608522</c:v>
                </c:pt>
                <c:pt idx="8">
                  <c:v>0.18257041154062326</c:v>
                </c:pt>
                <c:pt idx="9">
                  <c:v>0.19004784140716763</c:v>
                </c:pt>
                <c:pt idx="10">
                  <c:v>0.19452803622208112</c:v>
                </c:pt>
                <c:pt idx="11">
                  <c:v>0.19565534334451087</c:v>
                </c:pt>
                <c:pt idx="12">
                  <c:v>0.19433398432904303</c:v>
                </c:pt>
                <c:pt idx="13">
                  <c:v>0.19587603827658231</c:v>
                </c:pt>
                <c:pt idx="14">
                  <c:v>0.19433897134967207</c:v>
                </c:pt>
                <c:pt idx="15">
                  <c:v>0.18689389213406682</c:v>
                </c:pt>
                <c:pt idx="16">
                  <c:v>0.1760687035086039</c:v>
                </c:pt>
                <c:pt idx="17">
                  <c:v>0.17739695871575167</c:v>
                </c:pt>
                <c:pt idx="18">
                  <c:v>0.17960259529602596</c:v>
                </c:pt>
                <c:pt idx="19">
                  <c:v>0.1812227074235808</c:v>
                </c:pt>
                <c:pt idx="20">
                  <c:v>0.16823110535685387</c:v>
                </c:pt>
                <c:pt idx="21">
                  <c:v>0.18844209005538165</c:v>
                </c:pt>
                <c:pt idx="22">
                  <c:v>0.16644015144160762</c:v>
                </c:pt>
                <c:pt idx="23">
                  <c:v>0.17566196611545096</c:v>
                </c:pt>
                <c:pt idx="24">
                  <c:v>0.18963132541613012</c:v>
                </c:pt>
                <c:pt idx="25">
                  <c:v>0.17986905892348443</c:v>
                </c:pt>
                <c:pt idx="26">
                  <c:v>0.17374981951196034</c:v>
                </c:pt>
                <c:pt idx="27">
                  <c:v>0.17513859275053306</c:v>
                </c:pt>
                <c:pt idx="28">
                  <c:v>0.16510977099838398</c:v>
                </c:pt>
                <c:pt idx="29">
                  <c:v>0.16586046511627908</c:v>
                </c:pt>
                <c:pt idx="30">
                  <c:v>0.17418667699457785</c:v>
                </c:pt>
                <c:pt idx="31">
                  <c:v>0.1685892228540482</c:v>
                </c:pt>
                <c:pt idx="32">
                  <c:v>0.16543958423559982</c:v>
                </c:pt>
                <c:pt idx="33">
                  <c:v>0.18127976309576213</c:v>
                </c:pt>
                <c:pt idx="34">
                  <c:v>0.20100297758971947</c:v>
                </c:pt>
                <c:pt idx="35">
                  <c:v>0.19222462203023757</c:v>
                </c:pt>
                <c:pt idx="36">
                  <c:v>0.17836587596148673</c:v>
                </c:pt>
                <c:pt idx="37">
                  <c:v>0.16997222357584912</c:v>
                </c:pt>
                <c:pt idx="38">
                  <c:v>0.1698518359458879</c:v>
                </c:pt>
                <c:pt idx="39">
                  <c:v>0.18550688671051</c:v>
                </c:pt>
                <c:pt idx="40">
                  <c:v>0.17479890572046874</c:v>
                </c:pt>
                <c:pt idx="41">
                  <c:v>0.17807064592751512</c:v>
                </c:pt>
                <c:pt idx="42">
                  <c:v>0.17420122365737595</c:v>
                </c:pt>
                <c:pt idx="43">
                  <c:v>0.17370469237448943</c:v>
                </c:pt>
                <c:pt idx="44">
                  <c:v>0.17378871696197118</c:v>
                </c:pt>
                <c:pt idx="45">
                  <c:v>0.19017245932275692</c:v>
                </c:pt>
                <c:pt idx="46">
                  <c:v>0.19968408262454435</c:v>
                </c:pt>
                <c:pt idx="47">
                  <c:v>0.19999542344568774</c:v>
                </c:pt>
                <c:pt idx="48">
                  <c:v>0.19529320987654322</c:v>
                </c:pt>
                <c:pt idx="49">
                  <c:v>0.20265524023602136</c:v>
                </c:pt>
                <c:pt idx="50">
                  <c:v>0.21063819791886876</c:v>
                </c:pt>
                <c:pt idx="51">
                  <c:v>0.19908222402436854</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03.3028371059421</c:v>
                </c:pt>
              </c:numCache>
            </c:numRef>
          </c:xVal>
          <c:yVal>
            <c:numRef>
              <c:f>Sheet1!$B$163:$B$164</c:f>
              <c:numCache>
                <c:formatCode>General</c:formatCode>
                <c:ptCount val="2"/>
                <c:pt idx="0">
                  <c:v>0.23609206138432418</c:v>
                </c:pt>
                <c:pt idx="1">
                  <c:v>0.23609206138432418</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03.3028371059421</c:v>
                </c:pt>
                <c:pt idx="1">
                  <c:v>803.3028371059421</c:v>
                </c:pt>
              </c:numCache>
            </c:numRef>
          </c:xVal>
          <c:yVal>
            <c:numRef>
              <c:f>Sheet1!$B$167:$B$168</c:f>
              <c:numCache>
                <c:formatCode>General</c:formatCode>
                <c:ptCount val="2"/>
                <c:pt idx="0">
                  <c:v>0.2360920613843241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58.8722094838085</c:v>
                </c:pt>
              </c:numCache>
            </c:numRef>
          </c:xVal>
          <c:yVal>
            <c:numRef>
              <c:f>Sheet1!$B$171:$B$172</c:f>
              <c:numCache>
                <c:formatCode>General</c:formatCode>
                <c:ptCount val="2"/>
                <c:pt idx="0">
                  <c:v>0.20191721801395046</c:v>
                </c:pt>
                <c:pt idx="1">
                  <c:v>0.2019172180139504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58.8722094838085</c:v>
                </c:pt>
                <c:pt idx="1">
                  <c:v>1058.8722094838085</c:v>
                </c:pt>
              </c:numCache>
            </c:numRef>
          </c:xVal>
          <c:yVal>
            <c:numRef>
              <c:f>Sheet1!$B$175:$B$176</c:f>
              <c:numCache>
                <c:formatCode>General</c:formatCode>
                <c:ptCount val="2"/>
                <c:pt idx="0">
                  <c:v>0.2019172180139504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55.1304080043649</c:v>
                </c:pt>
              </c:numCache>
            </c:numRef>
          </c:xVal>
          <c:yVal>
            <c:numRef>
              <c:f>Sheet1!$B$179:$B$180</c:f>
              <c:numCache>
                <c:formatCode>General</c:formatCode>
                <c:ptCount val="2"/>
                <c:pt idx="0">
                  <c:v>0.1890455314462401</c:v>
                </c:pt>
                <c:pt idx="1">
                  <c:v>0.1890455314462401</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55.1304080043649</c:v>
                </c:pt>
                <c:pt idx="1">
                  <c:v>1155.1304080043649</c:v>
                </c:pt>
              </c:numCache>
            </c:numRef>
          </c:xVal>
          <c:yVal>
            <c:numRef>
              <c:f>Sheet1!$B$183:$B$184</c:f>
              <c:numCache>
                <c:formatCode>General</c:formatCode>
                <c:ptCount val="2"/>
                <c:pt idx="0">
                  <c:v>0.189045531446240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87.3113</c:v>
                </c:pt>
                <c:pt idx="1">
                  <c:v>1205.9892</c:v>
                </c:pt>
                <c:pt idx="2">
                  <c:v>1198.2105</c:v>
                </c:pt>
                <c:pt idx="3">
                  <c:v>1171.3652</c:v>
                </c:pt>
                <c:pt idx="4">
                  <c:v>1182.2029</c:v>
                </c:pt>
                <c:pt idx="5">
                  <c:v>1187.2975</c:v>
                </c:pt>
                <c:pt idx="6">
                  <c:v>1118.0794</c:v>
                </c:pt>
                <c:pt idx="7">
                  <c:v>1139.9863</c:v>
                </c:pt>
                <c:pt idx="8">
                  <c:v>1185.7356</c:v>
                </c:pt>
                <c:pt idx="9">
                  <c:v>1126.6432</c:v>
                </c:pt>
                <c:pt idx="10">
                  <c:v>1147.6971</c:v>
                </c:pt>
                <c:pt idx="11">
                  <c:v>1070.2266</c:v>
                </c:pt>
                <c:pt idx="12">
                  <c:v>1103.7668</c:v>
                </c:pt>
                <c:pt idx="13">
                  <c:v>1128.5695</c:v>
                </c:pt>
                <c:pt idx="14">
                  <c:v>1134.3797</c:v>
                </c:pt>
                <c:pt idx="15">
                  <c:v>1149.4107</c:v>
                </c:pt>
                <c:pt idx="16">
                  <c:v>1191.8027</c:v>
                </c:pt>
                <c:pt idx="17">
                  <c:v>1155.8286</c:v>
                </c:pt>
                <c:pt idx="18">
                  <c:v>1166.5389</c:v>
                </c:pt>
                <c:pt idx="19">
                  <c:v>1241.8705</c:v>
                </c:pt>
                <c:pt idx="20">
                  <c:v>1234.2292</c:v>
                </c:pt>
                <c:pt idx="21">
                  <c:v>1089.6954</c:v>
                </c:pt>
                <c:pt idx="22">
                  <c:v>1203.3258</c:v>
                </c:pt>
                <c:pt idx="23">
                  <c:v>1198.4213</c:v>
                </c:pt>
                <c:pt idx="24">
                  <c:v>1176.2103</c:v>
                </c:pt>
                <c:pt idx="25">
                  <c:v>1176.0433</c:v>
                </c:pt>
                <c:pt idx="26">
                  <c:v>1192.2911</c:v>
                </c:pt>
                <c:pt idx="27">
                  <c:v>1191.1064</c:v>
                </c:pt>
                <c:pt idx="28">
                  <c:v>1237.1884</c:v>
                </c:pt>
                <c:pt idx="29">
                  <c:v>1238.2347</c:v>
                </c:pt>
                <c:pt idx="30">
                  <c:v>1235.1392</c:v>
                </c:pt>
                <c:pt idx="31">
                  <c:v>1220.5075</c:v>
                </c:pt>
                <c:pt idx="32">
                  <c:v>1240.6515</c:v>
                </c:pt>
                <c:pt idx="33">
                  <c:v>1237.6143</c:v>
                </c:pt>
                <c:pt idx="34">
                  <c:v>1245.0728</c:v>
                </c:pt>
                <c:pt idx="35">
                  <c:v>1266.4226</c:v>
                </c:pt>
                <c:pt idx="36">
                  <c:v>1274.9988</c:v>
                </c:pt>
                <c:pt idx="37">
                  <c:v>1267.3615</c:v>
                </c:pt>
                <c:pt idx="38">
                  <c:v>1270.0503</c:v>
                </c:pt>
                <c:pt idx="39">
                  <c:v>1238.4698</c:v>
                </c:pt>
                <c:pt idx="40">
                  <c:v>1266.1894</c:v>
                </c:pt>
                <c:pt idx="41">
                  <c:v>1289.9675</c:v>
                </c:pt>
                <c:pt idx="42">
                  <c:v>1282.2537</c:v>
                </c:pt>
                <c:pt idx="43">
                  <c:v>1291.4705</c:v>
                </c:pt>
                <c:pt idx="44">
                  <c:v>1219.8948</c:v>
                </c:pt>
                <c:pt idx="45">
                  <c:v>1184.8793</c:v>
                </c:pt>
                <c:pt idx="46">
                  <c:v>1182.9872</c:v>
                </c:pt>
                <c:pt idx="47">
                  <c:v>1162.7617</c:v>
                </c:pt>
                <c:pt idx="48">
                  <c:v>1147.8243</c:v>
                </c:pt>
                <c:pt idx="49">
                  <c:v>1156.9224</c:v>
                </c:pt>
                <c:pt idx="50">
                  <c:v>1116.4614</c:v>
                </c:pt>
                <c:pt idx="51">
                  <c:v>1094.5253</c:v>
                </c:pt>
                <c:pt idx="52">
                  <c:v>1058.8722094838085</c:v>
                </c:pt>
                <c:pt idx="53">
                  <c:v>803.3028371059421</c:v>
                </c:pt>
                <c:pt idx="54">
                  <c:v>1155.1304080043649</c:v>
                </c:pt>
              </c:numCache>
            </c:numRef>
          </c:xVal>
          <c:yVal>
            <c:numRef>
              <c:f>Sheet1!$B$187:$B$241</c:f>
              <c:numCache>
                <c:formatCode>General</c:formatCode>
                <c:ptCount val="55"/>
                <c:pt idx="0">
                  <c:v>0.18474228910840748</c:v>
                </c:pt>
                <c:pt idx="1">
                  <c:v>0.18224467250807505</c:v>
                </c:pt>
                <c:pt idx="2">
                  <c:v>0.1832848435256416</c:v>
                </c:pt>
                <c:pt idx="3">
                  <c:v>0.1868746082701206</c:v>
                </c:pt>
                <c:pt idx="4">
                  <c:v>0.18542538649307805</c:v>
                </c:pt>
                <c:pt idx="5">
                  <c:v>0.18474413445017956</c:v>
                </c:pt>
                <c:pt idx="6">
                  <c:v>0.1940000077337645</c:v>
                </c:pt>
                <c:pt idx="7">
                  <c:v>0.1910706079028508</c:v>
                </c:pt>
                <c:pt idx="8">
                  <c:v>0.1849529923714694</c:v>
                </c:pt>
                <c:pt idx="9">
                  <c:v>0.19285485281581724</c:v>
                </c:pt>
                <c:pt idx="10">
                  <c:v>0.19003951650168452</c:v>
                </c:pt>
                <c:pt idx="11">
                  <c:v>0.20039890416496867</c:v>
                </c:pt>
                <c:pt idx="12">
                  <c:v>0.1959138945922399</c:v>
                </c:pt>
                <c:pt idx="13">
                  <c:v>0.19259726717411124</c:v>
                </c:pt>
                <c:pt idx="14">
                  <c:v>0.19182032479990155</c:v>
                </c:pt>
                <c:pt idx="15">
                  <c:v>0.18981037319294375</c:v>
                </c:pt>
                <c:pt idx="16">
                  <c:v>0.18414169722180712</c:v>
                </c:pt>
                <c:pt idx="17">
                  <c:v>0.18895216892055372</c:v>
                </c:pt>
                <c:pt idx="18">
                  <c:v>0.18751998312479828</c:v>
                </c:pt>
                <c:pt idx="19">
                  <c:v>0.17744661006414353</c:v>
                </c:pt>
                <c:pt idx="20">
                  <c:v>0.1784684078962403</c:v>
                </c:pt>
                <c:pt idx="21">
                  <c:v>0.19779552808582956</c:v>
                </c:pt>
                <c:pt idx="22">
                  <c:v>0.18260082347008497</c:v>
                </c:pt>
                <c:pt idx="23">
                  <c:v>0.18325665526147109</c:v>
                </c:pt>
                <c:pt idx="24">
                  <c:v>0.1862267194715795</c:v>
                </c:pt>
                <c:pt idx="25">
                  <c:v>0.18624905078142992</c:v>
                </c:pt>
                <c:pt idx="26">
                  <c:v>0.18407638816952596</c:v>
                </c:pt>
                <c:pt idx="27">
                  <c:v>0.18423480674904583</c:v>
                </c:pt>
                <c:pt idx="28">
                  <c:v>0.17807270243450724</c:v>
                </c:pt>
                <c:pt idx="29">
                  <c:v>0.17793279076087543</c:v>
                </c:pt>
                <c:pt idx="30">
                  <c:v>0.17834672231561813</c:v>
                </c:pt>
                <c:pt idx="31">
                  <c:v>0.18030327935956228</c:v>
                </c:pt>
                <c:pt idx="32">
                  <c:v>0.17760961525400992</c:v>
                </c:pt>
                <c:pt idx="33">
                  <c:v>0.17801575090836771</c:v>
                </c:pt>
                <c:pt idx="34">
                  <c:v>0.17701839716873</c:v>
                </c:pt>
                <c:pt idx="35">
                  <c:v>0.17416349298283232</c:v>
                </c:pt>
                <c:pt idx="36">
                  <c:v>0.17301667993169859</c:v>
                </c:pt>
                <c:pt idx="37">
                  <c:v>0.1740379428821223</c:v>
                </c:pt>
                <c:pt idx="38">
                  <c:v>0.17367839542148839</c:v>
                </c:pt>
                <c:pt idx="39">
                  <c:v>0.17790135309054106</c:v>
                </c:pt>
                <c:pt idx="40">
                  <c:v>0.174194676584372</c:v>
                </c:pt>
                <c:pt idx="41">
                  <c:v>0.1710150591067988</c:v>
                </c:pt>
                <c:pt idx="42">
                  <c:v>0.17204655166921984</c:v>
                </c:pt>
                <c:pt idx="43">
                  <c:v>0.17081407731814482</c:v>
                </c:pt>
                <c:pt idx="44">
                  <c:v>0.18038520985983392</c:v>
                </c:pt>
                <c:pt idx="45">
                  <c:v>0.18506749716563065</c:v>
                </c:pt>
                <c:pt idx="46">
                  <c:v>0.18532050956903193</c:v>
                </c:pt>
                <c:pt idx="47">
                  <c:v>0.188025071888673</c:v>
                </c:pt>
                <c:pt idx="48">
                  <c:v>0.19002250726448108</c:v>
                </c:pt>
                <c:pt idx="49">
                  <c:v>0.18880590552705429</c:v>
                </c:pt>
                <c:pt idx="50">
                  <c:v>0.19421636737051906</c:v>
                </c:pt>
                <c:pt idx="51">
                  <c:v>0.19714967183764612</c:v>
                </c:pt>
                <c:pt idx="52">
                  <c:v>0.20191721801395046</c:v>
                </c:pt>
                <c:pt idx="53">
                  <c:v>0.23609206138432418</c:v>
                </c:pt>
                <c:pt idx="54">
                  <c:v>0.189045531446240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50.0"/>
          <c:min val="64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72528562742023"/>
          <c:min val="0.1210273009923761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2</c:f>
              <c:numCache>
                <c:formatCode>General</c:formatCode>
                <c:ptCount val="61"/>
                <c:pt idx="0">
                  <c:v>629.85</c:v>
                </c:pt>
                <c:pt idx="1">
                  <c:v>599.8571</c:v>
                </c:pt>
                <c:pt idx="2">
                  <c:v>1419.8861</c:v>
                </c:pt>
                <c:pt idx="3">
                  <c:v>646.0</c:v>
                </c:pt>
                <c:pt idx="4">
                  <c:v>601.6667</c:v>
                </c:pt>
                <c:pt idx="5">
                  <c:v>1810.5333</c:v>
                </c:pt>
                <c:pt idx="6">
                  <c:v>703.6</c:v>
                </c:pt>
                <c:pt idx="7">
                  <c:v>718.1333</c:v>
                </c:pt>
                <c:pt idx="8">
                  <c:v>714.0333</c:v>
                </c:pt>
                <c:pt idx="9">
                  <c:v>678.1299</c:v>
                </c:pt>
                <c:pt idx="10">
                  <c:v>925.4167</c:v>
                </c:pt>
                <c:pt idx="11">
                  <c:v>1304.3588</c:v>
                </c:pt>
                <c:pt idx="12">
                  <c:v>1108.1429</c:v>
                </c:pt>
                <c:pt idx="13">
                  <c:v>1524.5</c:v>
                </c:pt>
                <c:pt idx="14">
                  <c:v>1269.0</c:v>
                </c:pt>
                <c:pt idx="15">
                  <c:v>146.375</c:v>
                </c:pt>
                <c:pt idx="16">
                  <c:v>1773.0714</c:v>
                </c:pt>
                <c:pt idx="17">
                  <c:v>3436.5</c:v>
                </c:pt>
                <c:pt idx="18">
                  <c:v>1666.8182</c:v>
                </c:pt>
                <c:pt idx="19">
                  <c:v>1546.7093</c:v>
                </c:pt>
                <c:pt idx="20">
                  <c:v>1180.3151</c:v>
                </c:pt>
                <c:pt idx="21">
                  <c:v>1639.58</c:v>
                </c:pt>
                <c:pt idx="22">
                  <c:v>2228.6667</c:v>
                </c:pt>
                <c:pt idx="23">
                  <c:v>955.9717</c:v>
                </c:pt>
                <c:pt idx="24">
                  <c:v>1505.4516</c:v>
                </c:pt>
                <c:pt idx="25">
                  <c:v>984.4545</c:v>
                </c:pt>
                <c:pt idx="26">
                  <c:v>873.5297</c:v>
                </c:pt>
                <c:pt idx="27">
                  <c:v>1894.9184</c:v>
                </c:pt>
                <c:pt idx="28">
                  <c:v>1117.3077</c:v>
                </c:pt>
                <c:pt idx="29">
                  <c:v>1129.8571</c:v>
                </c:pt>
                <c:pt idx="30">
                  <c:v>1310.4895</c:v>
                </c:pt>
                <c:pt idx="31">
                  <c:v>1116.6154</c:v>
                </c:pt>
                <c:pt idx="32">
                  <c:v>1335.625</c:v>
                </c:pt>
                <c:pt idx="33">
                  <c:v>7344.0</c:v>
                </c:pt>
                <c:pt idx="34">
                  <c:v>1130.75</c:v>
                </c:pt>
                <c:pt idx="35">
                  <c:v>1090.8625</c:v>
                </c:pt>
                <c:pt idx="36">
                  <c:v>2083.1429</c:v>
                </c:pt>
                <c:pt idx="37">
                  <c:v>1374.3333</c:v>
                </c:pt>
                <c:pt idx="38">
                  <c:v>1366.5833</c:v>
                </c:pt>
                <c:pt idx="39">
                  <c:v>1129.0233</c:v>
                </c:pt>
                <c:pt idx="40">
                  <c:v>1097.4</c:v>
                </c:pt>
                <c:pt idx="41">
                  <c:v>1128.2069</c:v>
                </c:pt>
                <c:pt idx="42">
                  <c:v>1214.0</c:v>
                </c:pt>
                <c:pt idx="43">
                  <c:v>1160.4706</c:v>
                </c:pt>
                <c:pt idx="44">
                  <c:v>2249.7273</c:v>
                </c:pt>
                <c:pt idx="45">
                  <c:v>1615.8571</c:v>
                </c:pt>
                <c:pt idx="46">
                  <c:v>1480.3684</c:v>
                </c:pt>
                <c:pt idx="47">
                  <c:v>1443.1216</c:v>
                </c:pt>
                <c:pt idx="48">
                  <c:v>2792.0</c:v>
                </c:pt>
                <c:pt idx="49">
                  <c:v>1790.6796</c:v>
                </c:pt>
                <c:pt idx="50">
                  <c:v>1830.7097</c:v>
                </c:pt>
                <c:pt idx="51">
                  <c:v>1147.036</c:v>
                </c:pt>
                <c:pt idx="52">
                  <c:v>1141.8333</c:v>
                </c:pt>
                <c:pt idx="53">
                  <c:v>1423.6154</c:v>
                </c:pt>
                <c:pt idx="54">
                  <c:v>788.5484</c:v>
                </c:pt>
                <c:pt idx="55">
                  <c:v>711.4</c:v>
                </c:pt>
                <c:pt idx="56">
                  <c:v>597.5082</c:v>
                </c:pt>
                <c:pt idx="57">
                  <c:v>787.4605</c:v>
                </c:pt>
                <c:pt idx="58">
                  <c:v>796.3098</c:v>
                </c:pt>
                <c:pt idx="59">
                  <c:v>1397.76</c:v>
                </c:pt>
                <c:pt idx="60">
                  <c:v>1729.2222</c:v>
                </c:pt>
              </c:numCache>
            </c:numRef>
          </c:xVal>
          <c:yVal>
            <c:numRef>
              <c:f>Sheet1!$B$2:$B$62</c:f>
              <c:numCache>
                <c:formatCode>General</c:formatCode>
                <c:ptCount val="61"/>
                <c:pt idx="0">
                  <c:v>0.01330671989354624</c:v>
                </c:pt>
                <c:pt idx="1">
                  <c:v>0.011824324324324325</c:v>
                </c:pt>
                <c:pt idx="2">
                  <c:v>0.23372781065088757</c:v>
                </c:pt>
                <c:pt idx="3">
                  <c:v>0.049429657794676805</c:v>
                </c:pt>
                <c:pt idx="4">
                  <c:v>0.039473684210526314</c:v>
                </c:pt>
                <c:pt idx="5">
                  <c:v>0.05628517823639775</c:v>
                </c:pt>
                <c:pt idx="6">
                  <c:v>0.04195804195804196</c:v>
                </c:pt>
                <c:pt idx="7">
                  <c:v>0.06342494714587738</c:v>
                </c:pt>
                <c:pt idx="8">
                  <c:v>0.04032258064516129</c:v>
                </c:pt>
                <c:pt idx="9">
                  <c:v>0.2944550669216061</c:v>
                </c:pt>
                <c:pt idx="10">
                  <c:v>0.12</c:v>
                </c:pt>
                <c:pt idx="11">
                  <c:v>0.18754833720030936</c:v>
                </c:pt>
                <c:pt idx="12">
                  <c:v>0.09417040358744394</c:v>
                </c:pt>
                <c:pt idx="13">
                  <c:v>0.017991004497751123</c:v>
                </c:pt>
                <c:pt idx="14">
                  <c:v>0.016203703703703703</c:v>
                </c:pt>
                <c:pt idx="15">
                  <c:v>0.09486166007905138</c:v>
                </c:pt>
                <c:pt idx="16">
                  <c:v>0.028985507246376812</c:v>
                </c:pt>
                <c:pt idx="17">
                  <c:v>0.0032310177705977385</c:v>
                </c:pt>
                <c:pt idx="18">
                  <c:v>0.06790123456790123</c:v>
                </c:pt>
                <c:pt idx="19">
                  <c:v>0.04936854190585534</c:v>
                </c:pt>
                <c:pt idx="20">
                  <c:v>0.0863905325443787</c:v>
                </c:pt>
                <c:pt idx="21">
                  <c:v>0.024551927326295114</c:v>
                </c:pt>
                <c:pt idx="22">
                  <c:v>0.00949367088607595</c:v>
                </c:pt>
                <c:pt idx="23">
                  <c:v>0.15783602900167318</c:v>
                </c:pt>
                <c:pt idx="24">
                  <c:v>0.059961315280464215</c:v>
                </c:pt>
                <c:pt idx="25">
                  <c:v>0.00909090909090909</c:v>
                </c:pt>
                <c:pt idx="26">
                  <c:v>0.1600633914421553</c:v>
                </c:pt>
                <c:pt idx="27">
                  <c:v>0.04511970534069982</c:v>
                </c:pt>
                <c:pt idx="28">
                  <c:v>0.052489905787348586</c:v>
                </c:pt>
                <c:pt idx="29">
                  <c:v>0.006517690875232775</c:v>
                </c:pt>
                <c:pt idx="30">
                  <c:v>0.18499353169469598</c:v>
                </c:pt>
                <c:pt idx="31">
                  <c:v>0.23780487804878048</c:v>
                </c:pt>
                <c:pt idx="32">
                  <c:v>0.026272577996715927</c:v>
                </c:pt>
                <c:pt idx="33">
                  <c:v>0.00228310502283105</c:v>
                </c:pt>
                <c:pt idx="34">
                  <c:v>0.07373271889400922</c:v>
                </c:pt>
                <c:pt idx="35">
                  <c:v>0.20151133501259447</c:v>
                </c:pt>
                <c:pt idx="36">
                  <c:v>0.009510869565217392</c:v>
                </c:pt>
                <c:pt idx="37">
                  <c:v>0.011892963330029732</c:v>
                </c:pt>
                <c:pt idx="38">
                  <c:v>0.08888888888888889</c:v>
                </c:pt>
                <c:pt idx="39">
                  <c:v>0.0730050933786078</c:v>
                </c:pt>
                <c:pt idx="40">
                  <c:v>0.027700831024930747</c:v>
                </c:pt>
                <c:pt idx="41">
                  <c:v>0.07571801566579635</c:v>
                </c:pt>
                <c:pt idx="42">
                  <c:v>0.008620689655172414</c:v>
                </c:pt>
                <c:pt idx="43">
                  <c:v>0.016361886429258902</c:v>
                </c:pt>
                <c:pt idx="44">
                  <c:v>0.022494887525562373</c:v>
                </c:pt>
                <c:pt idx="45">
                  <c:v>0.02666666666666667</c:v>
                </c:pt>
                <c:pt idx="46">
                  <c:v>0.04398148148148148</c:v>
                </c:pt>
                <c:pt idx="47">
                  <c:v>0.2540045766590389</c:v>
                </c:pt>
                <c:pt idx="48">
                  <c:v>0.002544529262086514</c:v>
                </c:pt>
                <c:pt idx="49">
                  <c:v>0.15236686390532544</c:v>
                </c:pt>
                <c:pt idx="50">
                  <c:v>0.3309608540925267</c:v>
                </c:pt>
                <c:pt idx="51">
                  <c:v>0.1267123287671233</c:v>
                </c:pt>
                <c:pt idx="52">
                  <c:v>0.007782101167315175</c:v>
                </c:pt>
                <c:pt idx="53">
                  <c:v>0.04391891891891892</c:v>
                </c:pt>
                <c:pt idx="54">
                  <c:v>0.11757269279393173</c:v>
                </c:pt>
                <c:pt idx="55">
                  <c:v>0.08660508083140878</c:v>
                </c:pt>
                <c:pt idx="56">
                  <c:v>0.09256449165402124</c:v>
                </c:pt>
                <c:pt idx="57">
                  <c:v>0.08416389811738649</c:v>
                </c:pt>
                <c:pt idx="58">
                  <c:v>0.1959531416400426</c:v>
                </c:pt>
                <c:pt idx="59">
                  <c:v>0.05219206680584551</c:v>
                </c:pt>
                <c:pt idx="60">
                  <c:v>0.02278481012658228</c:v>
                </c:pt>
              </c:numCache>
            </c:numRef>
          </c:yVal>
          <c:smooth val="0"/>
          <c:extLst>
            <c:ext xmlns:c16="http://schemas.microsoft.com/office/drawing/2014/chart" uri="{C3380CC4-5D6E-409C-BE32-E72D297353CC}">
              <c16:uniqueId val="{00000000-F32D-48B7-BC20-E66FC6253BAD}"/>
            </c:ext>
          </c:extLst>
        </c:ser>
        <c:ser>
          <c:idx val="1"/>
          <c:order val="1"/>
          <c:tx>
            <c:strRef>
              <c:f>Sheet1!$B$6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5:$A$89</c:f>
              <c:numCache>
                <c:formatCode>General</c:formatCode>
                <c:ptCount val="25"/>
                <c:pt idx="0">
                  <c:v>1247.0568</c:v>
                </c:pt>
                <c:pt idx="1">
                  <c:v>1592.1105</c:v>
                </c:pt>
                <c:pt idx="2">
                  <c:v>1038.7516</c:v>
                </c:pt>
                <c:pt idx="3">
                  <c:v>975.8006</c:v>
                </c:pt>
                <c:pt idx="4">
                  <c:v>2398.3333</c:v>
                </c:pt>
                <c:pt idx="5">
                  <c:v>1034.2051</c:v>
                </c:pt>
                <c:pt idx="6">
                  <c:v>2360.0</c:v>
                </c:pt>
                <c:pt idx="7">
                  <c:v>1066.5357</c:v>
                </c:pt>
                <c:pt idx="8">
                  <c:v>768.5</c:v>
                </c:pt>
                <c:pt idx="9">
                  <c:v>1055.8983</c:v>
                </c:pt>
                <c:pt idx="10">
                  <c:v>838.0183</c:v>
                </c:pt>
                <c:pt idx="11">
                  <c:v>1452.0</c:v>
                </c:pt>
                <c:pt idx="12">
                  <c:v>792.7333</c:v>
                </c:pt>
                <c:pt idx="13">
                  <c:v>817.9655</c:v>
                </c:pt>
                <c:pt idx="14">
                  <c:v>774.6071</c:v>
                </c:pt>
                <c:pt idx="15">
                  <c:v>416.4273</c:v>
                </c:pt>
                <c:pt idx="16">
                  <c:v>1034.3514</c:v>
                </c:pt>
                <c:pt idx="17">
                  <c:v>1057.5556</c:v>
                </c:pt>
                <c:pt idx="18">
                  <c:v>1033.2258</c:v>
                </c:pt>
                <c:pt idx="19">
                  <c:v>1133.7895</c:v>
                </c:pt>
                <c:pt idx="20">
                  <c:v>907.75</c:v>
                </c:pt>
                <c:pt idx="21">
                  <c:v>1001.5231</c:v>
                </c:pt>
                <c:pt idx="22">
                  <c:v>973.2308</c:v>
                </c:pt>
                <c:pt idx="23">
                  <c:v>1008.7917</c:v>
                </c:pt>
                <c:pt idx="24">
                  <c:v>1067.1515</c:v>
                </c:pt>
              </c:numCache>
            </c:numRef>
          </c:xVal>
          <c:yVal>
            <c:numRef>
              <c:f>Sheet1!$B$65:$B$89</c:f>
              <c:numCache>
                <c:formatCode>General</c:formatCode>
                <c:ptCount val="25"/>
                <c:pt idx="0">
                  <c:v>0.08333333333333333</c:v>
                </c:pt>
                <c:pt idx="1">
                  <c:v>0.21608040201005024</c:v>
                </c:pt>
                <c:pt idx="2">
                  <c:v>0.20379746835443038</c:v>
                </c:pt>
                <c:pt idx="3">
                  <c:v>0.24662965900079303</c:v>
                </c:pt>
                <c:pt idx="4">
                  <c:v>0.006711409395973154</c:v>
                </c:pt>
                <c:pt idx="5">
                  <c:v>0.21666666666666667</c:v>
                </c:pt>
                <c:pt idx="6">
                  <c:v>0.020761245674740483</c:v>
                </c:pt>
                <c:pt idx="7">
                  <c:v>0.0380952380952381</c:v>
                </c:pt>
                <c:pt idx="8">
                  <c:v>0.05384615384615385</c:v>
                </c:pt>
                <c:pt idx="9">
                  <c:v>0.0898021308980213</c:v>
                </c:pt>
                <c:pt idx="10">
                  <c:v>0.1332518337408313</c:v>
                </c:pt>
                <c:pt idx="11">
                  <c:v>0.01090909090909091</c:v>
                </c:pt>
                <c:pt idx="12">
                  <c:v>0.03783102143757881</c:v>
                </c:pt>
                <c:pt idx="13">
                  <c:v>0.04588607594936709</c:v>
                </c:pt>
                <c:pt idx="14">
                  <c:v>0.0681265206812652</c:v>
                </c:pt>
                <c:pt idx="15">
                  <c:v>0.6246612466124661</c:v>
                </c:pt>
                <c:pt idx="16">
                  <c:v>0.24915824915824916</c:v>
                </c:pt>
                <c:pt idx="17">
                  <c:v>0.7531380753138075</c:v>
                </c:pt>
                <c:pt idx="18">
                  <c:v>0.12180746561886051</c:v>
                </c:pt>
                <c:pt idx="19">
                  <c:v>0.10401459854014598</c:v>
                </c:pt>
                <c:pt idx="20">
                  <c:v>0.04664723032069971</c:v>
                </c:pt>
                <c:pt idx="21">
                  <c:v>0.22491349480968859</c:v>
                </c:pt>
                <c:pt idx="22">
                  <c:v>0.01870503597122302</c:v>
                </c:pt>
                <c:pt idx="23">
                  <c:v>0.04660194174757282</c:v>
                </c:pt>
                <c:pt idx="24">
                  <c:v>0.1286549707602339</c:v>
                </c:pt>
              </c:numCache>
            </c:numRef>
          </c:yVal>
          <c:smooth val="0"/>
          <c:extLst>
            <c:ext xmlns:c16="http://schemas.microsoft.com/office/drawing/2014/chart" uri="{C3380CC4-5D6E-409C-BE32-E72D297353CC}">
              <c16:uniqueId val="{00000002-F32D-48B7-BC20-E66FC6253BAD}"/>
            </c:ext>
          </c:extLst>
        </c:ser>
        <c:ser>
          <c:idx val="2"/>
          <c:order val="2"/>
          <c:tx>
            <c:strRef>
              <c:f>Sheet1!$B$91</c:f>
              <c:strCache>
                <c:ptCount val="1"/>
                <c:pt idx="0">
                  <c:v>Custom Linep3yQ</c:v>
                </c:pt>
              </c:strCache>
            </c:strRef>
          </c:tx>
          <c:spPr>
            <a:ln w="19050" cap="rnd">
              <a:solidFill>
                <a:srgbClr val="C00000"/>
              </a:solidFill>
              <a:prstDash val="sysDot"/>
              <a:round/>
            </a:ln>
            <a:effectLst/>
          </c:spPr>
          <c:marker>
            <c:symbol val="none"/>
          </c:marker>
          <c:xVal>
            <c:numRef>
              <c:f>Sheet1!$A$92:$A$93</c:f>
              <c:numCache>
                <c:formatCode>General</c:formatCode>
                <c:ptCount val="2"/>
                <c:pt idx="0">
                  <c:v>0</c:v>
                </c:pt>
                <c:pt idx="1">
                  <c:v>315.86564958234936</c:v>
                </c:pt>
              </c:numCache>
            </c:numRef>
          </c:xVal>
          <c:yVal>
            <c:numRef>
              <c:f>Sheet1!$B$92:$B$93</c:f>
              <c:numCache>
                <c:formatCode>General</c:formatCode>
                <c:ptCount val="2"/>
                <c:pt idx="0">
                  <c:v>0.25010417292064047</c:v>
                </c:pt>
                <c:pt idx="1">
                  <c:v>0.25010417292064047</c:v>
                </c:pt>
              </c:numCache>
            </c:numRef>
          </c:yVal>
          <c:smooth val="0"/>
          <c:extLst>
            <c:ext xmlns:c16="http://schemas.microsoft.com/office/drawing/2014/chart" uri="{C3380CC4-5D6E-409C-BE32-E72D297353CC}">
              <c16:uniqueId val="{00000003-F32D-48B7-BC20-E66FC6253BAD}"/>
            </c:ext>
          </c:extLst>
        </c:ser>
        <c:ser>
          <c:idx val="3"/>
          <c:order val="3"/>
          <c:tx>
            <c:strRef>
              <c:f>Sheet1!$B$9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96:$A$97</c:f>
              <c:numCache>
                <c:formatCode>General</c:formatCode>
                <c:ptCount val="2"/>
                <c:pt idx="0">
                  <c:v>315.86564958234936</c:v>
                </c:pt>
                <c:pt idx="1">
                  <c:v>315.86564958234936</c:v>
                </c:pt>
              </c:numCache>
            </c:numRef>
          </c:xVal>
          <c:yVal>
            <c:numRef>
              <c:f>Sheet1!$B$96:$B$97</c:f>
              <c:numCache>
                <c:formatCode>General</c:formatCode>
                <c:ptCount val="2"/>
                <c:pt idx="0">
                  <c:v>0.250104172920640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9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00:$A$101</c:f>
              <c:numCache>
                <c:formatCode>General</c:formatCode>
                <c:ptCount val="2"/>
                <c:pt idx="0">
                  <c:v>0</c:v>
                </c:pt>
                <c:pt idx="1">
                  <c:v>315.86564958234936</c:v>
                </c:pt>
              </c:numCache>
            </c:numRef>
          </c:xVal>
          <c:yVal>
            <c:numRef>
              <c:f>Sheet1!$B$100:$B$101</c:f>
              <c:numCache>
                <c:formatCode>General</c:formatCode>
                <c:ptCount val="2"/>
                <c:pt idx="0">
                  <c:v>0.25010417292064047</c:v>
                </c:pt>
                <c:pt idx="1">
                  <c:v>0.25010417292064047</c:v>
                </c:pt>
              </c:numCache>
            </c:numRef>
          </c:yVal>
          <c:smooth val="0"/>
          <c:extLst>
            <c:ext xmlns:c16="http://schemas.microsoft.com/office/drawing/2014/chart" uri="{C3380CC4-5D6E-409C-BE32-E72D297353CC}">
              <c16:uniqueId val="{0000000A-F32D-48B7-BC20-E66FC6253BAD}"/>
            </c:ext>
          </c:extLst>
        </c:ser>
        <c:ser>
          <c:idx val="5"/>
          <c:order val="5"/>
          <c:tx>
            <c:strRef>
              <c:f>Sheet1!$B$10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4:$A$105</c:f>
              <c:numCache>
                <c:formatCode>General</c:formatCode>
                <c:ptCount val="2"/>
                <c:pt idx="0">
                  <c:v>315.86564958234936</c:v>
                </c:pt>
                <c:pt idx="1">
                  <c:v>315.86564958234936</c:v>
                </c:pt>
              </c:numCache>
            </c:numRef>
          </c:xVal>
          <c:yVal>
            <c:numRef>
              <c:f>Sheet1!$B$104:$B$105</c:f>
              <c:numCache>
                <c:formatCode>General</c:formatCode>
                <c:ptCount val="2"/>
                <c:pt idx="0">
                  <c:v>0.250104172920640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0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08:$A$109</c:f>
              <c:numCache>
                <c:formatCode>General</c:formatCode>
                <c:ptCount val="2"/>
                <c:pt idx="0">
                  <c:v>0</c:v>
                </c:pt>
                <c:pt idx="1">
                  <c:v>1573.0120941834489</c:v>
                </c:pt>
              </c:numCache>
            </c:numRef>
          </c:xVal>
          <c:yVal>
            <c:numRef>
              <c:f>Sheet1!$B$108:$B$109</c:f>
              <c:numCache>
                <c:formatCode>General</c:formatCode>
                <c:ptCount val="2"/>
                <c:pt idx="0">
                  <c:v>0.09492287869159399</c:v>
                </c:pt>
                <c:pt idx="1">
                  <c:v>0.09492287869159399</c:v>
                </c:pt>
              </c:numCache>
            </c:numRef>
          </c:yVal>
          <c:smooth val="0"/>
          <c:extLst>
            <c:ext xmlns:c16="http://schemas.microsoft.com/office/drawing/2014/chart" uri="{C3380CC4-5D6E-409C-BE32-E72D297353CC}">
              <c16:uniqueId val="{00000011-F32D-48B7-BC20-E66FC6253BAD}"/>
            </c:ext>
          </c:extLst>
        </c:ser>
        <c:ser>
          <c:idx val="7"/>
          <c:order val="7"/>
          <c:tx>
            <c:strRef>
              <c:f>Sheet1!$B$11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2:$A$113</c:f>
              <c:numCache>
                <c:formatCode>General</c:formatCode>
                <c:ptCount val="2"/>
                <c:pt idx="0">
                  <c:v>1573.0120941834489</c:v>
                </c:pt>
                <c:pt idx="1">
                  <c:v>1573.0120941834489</c:v>
                </c:pt>
              </c:numCache>
            </c:numRef>
          </c:xVal>
          <c:yVal>
            <c:numRef>
              <c:f>Sheet1!$B$112:$B$113</c:f>
              <c:numCache>
                <c:formatCode>General</c:formatCode>
                <c:ptCount val="2"/>
                <c:pt idx="0">
                  <c:v>0.0949228786915939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1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16:$A$143</c:f>
              <c:numCache>
                <c:formatCode>General</c:formatCode>
                <c:ptCount val="28"/>
                <c:pt idx="0">
                  <c:v>1247.0568</c:v>
                </c:pt>
                <c:pt idx="1">
                  <c:v>1592.1105</c:v>
                </c:pt>
                <c:pt idx="2">
                  <c:v>1038.7516</c:v>
                </c:pt>
                <c:pt idx="3">
                  <c:v>975.8006</c:v>
                </c:pt>
                <c:pt idx="4">
                  <c:v>2398.3333</c:v>
                </c:pt>
                <c:pt idx="5">
                  <c:v>1034.2051</c:v>
                </c:pt>
                <c:pt idx="6">
                  <c:v>2360.0</c:v>
                </c:pt>
                <c:pt idx="7">
                  <c:v>1066.5357</c:v>
                </c:pt>
                <c:pt idx="8">
                  <c:v>768.5</c:v>
                </c:pt>
                <c:pt idx="9">
                  <c:v>1055.8983</c:v>
                </c:pt>
                <c:pt idx="10">
                  <c:v>838.0183</c:v>
                </c:pt>
                <c:pt idx="11">
                  <c:v>1452.0</c:v>
                </c:pt>
                <c:pt idx="12">
                  <c:v>792.7333</c:v>
                </c:pt>
                <c:pt idx="13">
                  <c:v>817.9655</c:v>
                </c:pt>
                <c:pt idx="14">
                  <c:v>774.6071</c:v>
                </c:pt>
                <c:pt idx="15">
                  <c:v>416.4273</c:v>
                </c:pt>
                <c:pt idx="16">
                  <c:v>1034.3514</c:v>
                </c:pt>
                <c:pt idx="17">
                  <c:v>1057.5556</c:v>
                </c:pt>
                <c:pt idx="18">
                  <c:v>1033.2258</c:v>
                </c:pt>
                <c:pt idx="19">
                  <c:v>1133.7895</c:v>
                </c:pt>
                <c:pt idx="20">
                  <c:v>907.75</c:v>
                </c:pt>
                <c:pt idx="21">
                  <c:v>1001.5231</c:v>
                </c:pt>
                <c:pt idx="22">
                  <c:v>973.2308</c:v>
                </c:pt>
                <c:pt idx="23">
                  <c:v>1008.7917</c:v>
                </c:pt>
                <c:pt idx="24">
                  <c:v>1067.1515</c:v>
                </c:pt>
                <c:pt idx="25">
                  <c:v>315.86564958234936</c:v>
                </c:pt>
                <c:pt idx="26">
                  <c:v>315.86564958234936</c:v>
                </c:pt>
                <c:pt idx="27">
                  <c:v>1573.0120941834489</c:v>
                </c:pt>
              </c:numCache>
            </c:numRef>
          </c:xVal>
          <c:yVal>
            <c:numRef>
              <c:f>Sheet1!$B$116:$B$143</c:f>
              <c:numCache>
                <c:formatCode>General</c:formatCode>
                <c:ptCount val="28"/>
                <c:pt idx="0">
                  <c:v>0.13515857647320542</c:v>
                </c:pt>
                <c:pt idx="1">
                  <c:v>0.09256538458655011</c:v>
                </c:pt>
                <c:pt idx="2">
                  <c:v>0.16087162738263813</c:v>
                </c:pt>
                <c:pt idx="3">
                  <c:v>0.168642255613713</c:v>
                </c:pt>
                <c:pt idx="4">
                  <c:v>-0.0069542044623328025</c:v>
                </c:pt>
                <c:pt idx="5">
                  <c:v>0.16143284422196685</c:v>
                </c:pt>
                <c:pt idx="6">
                  <c:v>-0.0022223682219194574</c:v>
                </c:pt>
                <c:pt idx="7">
                  <c:v>0.15744197714936134</c:v>
                </c:pt>
                <c:pt idx="8">
                  <c:v>0.19423129938869288</c:v>
                </c:pt>
                <c:pt idx="9">
                  <c:v>0.15875505050395833</c:v>
                </c:pt>
                <c:pt idx="10">
                  <c:v>0.18565000815334584</c:v>
                </c:pt>
                <c:pt idx="11">
                  <c:v>0.10986052853613021</c:v>
                </c:pt>
                <c:pt idx="12">
                  <c:v>0.19123995747018316</c:v>
                </c:pt>
                <c:pt idx="13">
                  <c:v>0.1881253120213082</c:v>
                </c:pt>
                <c:pt idx="14">
                  <c:v>0.19347744315654414</c:v>
                </c:pt>
                <c:pt idx="15">
                  <c:v>0.23769091181757812</c:v>
                </c:pt>
                <c:pt idx="16">
                  <c:v>0.16141478505038567</c:v>
                </c:pt>
                <c:pt idx="17">
                  <c:v>0.15855047452951218</c:v>
                </c:pt>
                <c:pt idx="18">
                  <c:v>0.1615537283417853</c:v>
                </c:pt>
                <c:pt idx="19">
                  <c:v>0.14914021423968454</c:v>
                </c:pt>
                <c:pt idx="20">
                  <c:v>0.17704237496847436</c:v>
                </c:pt>
                <c:pt idx="21">
                  <c:v>0.16546708786937497</c:v>
                </c:pt>
                <c:pt idx="22">
                  <c:v>0.16895946996182845</c:v>
                </c:pt>
                <c:pt idx="23">
                  <c:v>0.16456985687446796</c:v>
                </c:pt>
                <c:pt idx="24">
                  <c:v>0.15736596322004018</c:v>
                </c:pt>
                <c:pt idx="25">
                  <c:v>0.25010417292064047</c:v>
                </c:pt>
                <c:pt idx="26">
                  <c:v>0.25010417292064047</c:v>
                </c:pt>
                <c:pt idx="27">
                  <c:v>0.0949228786915939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813.0"/>
          <c:min val="117.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3765690376569"/>
          <c:min val="0.001826484018264840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80</c:f>
              <c:numCache>
                <c:formatCode>General</c:formatCode>
                <c:ptCount val="79"/>
                <c:pt idx="0">
                  <c:v>0.7705597880138664</c:v>
                </c:pt>
                <c:pt idx="1">
                  <c:v>0.8303684617366657</c:v>
                </c:pt>
                <c:pt idx="2">
                  <c:v>0.9852524249912523</c:v>
                </c:pt>
                <c:pt idx="3">
                  <c:v>0.8495720367285745</c:v>
                </c:pt>
                <c:pt idx="4">
                  <c:v>1.214204811307873</c:v>
                </c:pt>
                <c:pt idx="5">
                  <c:v>1.0851541749092302</c:v>
                </c:pt>
                <c:pt idx="6">
                  <c:v>1.1995890980944797</c:v>
                </c:pt>
                <c:pt idx="7">
                  <c:v>1.3909746411117003</c:v>
                </c:pt>
                <c:pt idx="8">
                  <c:v>0.4229317137858102</c:v>
                </c:pt>
                <c:pt idx="9">
                  <c:v>0.8909035998114994</c:v>
                </c:pt>
                <c:pt idx="10">
                  <c:v>8.09429504950495</c:v>
                </c:pt>
                <c:pt idx="11">
                  <c:v>1.0809688167298113</c:v>
                </c:pt>
                <c:pt idx="12">
                  <c:v>0.7534747364432899</c:v>
                </c:pt>
                <c:pt idx="13">
                  <c:v>0.6873623032839985</c:v>
                </c:pt>
                <c:pt idx="14">
                  <c:v>0.21764560077102318</c:v>
                </c:pt>
                <c:pt idx="15">
                  <c:v>0.855585302755018</c:v>
                </c:pt>
                <c:pt idx="16">
                  <c:v>0.1482735792076284</c:v>
                </c:pt>
                <c:pt idx="17">
                  <c:v>0.6292167924638049</c:v>
                </c:pt>
                <c:pt idx="18">
                  <c:v>0.8667487198470615</c:v>
                </c:pt>
                <c:pt idx="19">
                  <c:v>0.9009202687009348</c:v>
                </c:pt>
                <c:pt idx="20">
                  <c:v>1.1223118530407825</c:v>
                </c:pt>
                <c:pt idx="21">
                  <c:v>0.8752027754950811</c:v>
                </c:pt>
                <c:pt idx="22">
                  <c:v>0.7567473278947764</c:v>
                </c:pt>
                <c:pt idx="23">
                  <c:v>0.8904061732760482</c:v>
                </c:pt>
                <c:pt idx="24">
                  <c:v>1.3605759701548445</c:v>
                </c:pt>
                <c:pt idx="25">
                  <c:v>0.5059148128032042</c:v>
                </c:pt>
                <c:pt idx="26">
                  <c:v>0.7011202321636979</c:v>
                </c:pt>
                <c:pt idx="27">
                  <c:v>1.0665647087440218</c:v>
                </c:pt>
                <c:pt idx="28">
                  <c:v>0.887536171180392</c:v>
                </c:pt>
                <c:pt idx="29">
                  <c:v>0.6650514596777145</c:v>
                </c:pt>
                <c:pt idx="30">
                  <c:v>0.524977966471972</c:v>
                </c:pt>
                <c:pt idx="31">
                  <c:v>0.4928838709777674</c:v>
                </c:pt>
                <c:pt idx="32">
                  <c:v>0.7470894615390606</c:v>
                </c:pt>
                <c:pt idx="33">
                  <c:v>0.142021653073878</c:v>
                </c:pt>
                <c:pt idx="34">
                  <c:v>0.6554789403460216</c:v>
                </c:pt>
                <c:pt idx="35">
                  <c:v>0.3443638151281468</c:v>
                </c:pt>
                <c:pt idx="36">
                  <c:v>0.8164409211655439</c:v>
                </c:pt>
                <c:pt idx="37">
                  <c:v>0.3169307657941011</c:v>
                </c:pt>
                <c:pt idx="38">
                  <c:v>0.8993863850246802</c:v>
                </c:pt>
                <c:pt idx="39">
                  <c:v>0.12382189766241224</c:v>
                </c:pt>
                <c:pt idx="40">
                  <c:v>0.6085877889080407</c:v>
                </c:pt>
                <c:pt idx="41">
                  <c:v>0.5367381734134408</c:v>
                </c:pt>
                <c:pt idx="42">
                  <c:v>0.4010877485764079</c:v>
                </c:pt>
                <c:pt idx="43">
                  <c:v>0.3063945740921631</c:v>
                </c:pt>
                <c:pt idx="44">
                  <c:v>0.2789817758685388</c:v>
                </c:pt>
                <c:pt idx="45">
                  <c:v>1.1149433475723571</c:v>
                </c:pt>
                <c:pt idx="46">
                  <c:v>0.2469654672014674</c:v>
                </c:pt>
                <c:pt idx="47">
                  <c:v>0.7417826535417978</c:v>
                </c:pt>
                <c:pt idx="48">
                  <c:v>0.3592595695477451</c:v>
                </c:pt>
                <c:pt idx="49">
                  <c:v>0.7655467319628825</c:v>
                </c:pt>
                <c:pt idx="50">
                  <c:v>0.25446734180534836</c:v>
                </c:pt>
                <c:pt idx="51">
                  <c:v>0.38179034490110253</c:v>
                </c:pt>
                <c:pt idx="52">
                  <c:v>0.34080825331639764</c:v>
                </c:pt>
                <c:pt idx="53">
                  <c:v>0.13347991301584428</c:v>
                </c:pt>
                <c:pt idx="54">
                  <c:v>1.2877224959192421</c:v>
                </c:pt>
                <c:pt idx="55">
                  <c:v>0.4443015427900182</c:v>
                </c:pt>
                <c:pt idx="56">
                  <c:v>0.41231917753983627</c:v>
                </c:pt>
                <c:pt idx="57">
                  <c:v>0.3668167497277961</c:v>
                </c:pt>
                <c:pt idx="58">
                  <c:v>0.21748154344460027</c:v>
                </c:pt>
                <c:pt idx="59">
                  <c:v>0.8329783263674096</c:v>
                </c:pt>
                <c:pt idx="60">
                  <c:v>0.17524624069782427</c:v>
                </c:pt>
                <c:pt idx="61">
                  <c:v>0.19860299179170782</c:v>
                </c:pt>
                <c:pt idx="62">
                  <c:v>0.23690063982941795</c:v>
                </c:pt>
                <c:pt idx="63">
                  <c:v>0.7630401716749586</c:v>
                </c:pt>
                <c:pt idx="64">
                  <c:v>0.43582583516640105</c:v>
                </c:pt>
                <c:pt idx="65">
                  <c:v>0.7639308571350858</c:v>
                </c:pt>
                <c:pt idx="66">
                  <c:v>0.7651596781035047</c:v>
                </c:pt>
                <c:pt idx="67">
                  <c:v>0.9297887897709928</c:v>
                </c:pt>
                <c:pt idx="68">
                  <c:v>1.1607713109454678</c:v>
                </c:pt>
                <c:pt idx="69">
                  <c:v>0.8250940524497646</c:v>
                </c:pt>
                <c:pt idx="70">
                  <c:v>0.4294214688026289</c:v>
                </c:pt>
                <c:pt idx="71">
                  <c:v>0.8142761875527589</c:v>
                </c:pt>
                <c:pt idx="72">
                  <c:v>1.6169992324622269</c:v>
                </c:pt>
                <c:pt idx="73">
                  <c:v>0.6969700491099882</c:v>
                </c:pt>
                <c:pt idx="74">
                  <c:v>0.7405613914822414</c:v>
                </c:pt>
                <c:pt idx="75">
                  <c:v>0.39371725053467715</c:v>
                </c:pt>
                <c:pt idx="76">
                  <c:v>2.7291159407327736</c:v>
                </c:pt>
                <c:pt idx="77">
                  <c:v>1.4151149496751678</c:v>
                </c:pt>
                <c:pt idx="78">
                  <c:v>1.1768239155108453</c:v>
                </c:pt>
              </c:numCache>
            </c:numRef>
          </c:xVal>
          <c:yVal>
            <c:numRef>
              <c:f>Sheet1!$B$2:$B$80</c:f>
              <c:numCache>
                <c:formatCode>General</c:formatCode>
                <c:ptCount val="79"/>
                <c:pt idx="0">
                  <c:v>0.2413793103448276</c:v>
                </c:pt>
                <c:pt idx="1">
                  <c:v>0.1430472388556221</c:v>
                </c:pt>
                <c:pt idx="2">
                  <c:v>0.16554054054054054</c:v>
                </c:pt>
                <c:pt idx="3">
                  <c:v>0.13806706114398423</c:v>
                </c:pt>
                <c:pt idx="4">
                  <c:v>0.020361990950226245</c:v>
                </c:pt>
                <c:pt idx="5">
                  <c:v>0.21818181818181817</c:v>
                </c:pt>
                <c:pt idx="6">
                  <c:v>0.20408163265306123</c:v>
                </c:pt>
                <c:pt idx="7">
                  <c:v>0.17342657342657342</c:v>
                </c:pt>
                <c:pt idx="8">
                  <c:v>0.6501650165016502</c:v>
                </c:pt>
                <c:pt idx="9">
                  <c:v>0.649325626204239</c:v>
                </c:pt>
                <c:pt idx="10">
                  <c:v>0.08879492600422834</c:v>
                </c:pt>
                <c:pt idx="11">
                  <c:v>0.2970430107526882</c:v>
                </c:pt>
                <c:pt idx="12">
                  <c:v>0.11469534050179211</c:v>
                </c:pt>
                <c:pt idx="13">
                  <c:v>0.2711864406779661</c:v>
                </c:pt>
                <c:pt idx="14">
                  <c:v>0.2066115702479339</c:v>
                </c:pt>
                <c:pt idx="15">
                  <c:v>0.2389937106918239</c:v>
                </c:pt>
                <c:pt idx="16">
                  <c:v>0.17901234567901234</c:v>
                </c:pt>
                <c:pt idx="17">
                  <c:v>0.16</c:v>
                </c:pt>
                <c:pt idx="18">
                  <c:v>0.29156999226604796</c:v>
                </c:pt>
                <c:pt idx="19">
                  <c:v>0.5154894671623296</c:v>
                </c:pt>
                <c:pt idx="20">
                  <c:v>0.010494752623688156</c:v>
                </c:pt>
                <c:pt idx="21">
                  <c:v>0.06712962962962964</c:v>
                </c:pt>
                <c:pt idx="22">
                  <c:v>0.16901408450704225</c:v>
                </c:pt>
                <c:pt idx="23">
                  <c:v>0.1746031746031746</c:v>
                </c:pt>
                <c:pt idx="24">
                  <c:v>0.34189723320158105</c:v>
                </c:pt>
                <c:pt idx="25">
                  <c:v>0.08902691511387163</c:v>
                </c:pt>
                <c:pt idx="26">
                  <c:v>0.31179321486268174</c:v>
                </c:pt>
                <c:pt idx="27">
                  <c:v>0.3148148148148148</c:v>
                </c:pt>
                <c:pt idx="28">
                  <c:v>0.15097588978185994</c:v>
                </c:pt>
                <c:pt idx="29">
                  <c:v>0.38224852071005916</c:v>
                </c:pt>
                <c:pt idx="30">
                  <c:v>0.25951387183893937</c:v>
                </c:pt>
                <c:pt idx="31">
                  <c:v>0.24287974683544303</c:v>
                </c:pt>
                <c:pt idx="32">
                  <c:v>0.24372559955382042</c:v>
                </c:pt>
                <c:pt idx="33">
                  <c:v>0.35880077369439073</c:v>
                </c:pt>
                <c:pt idx="34">
                  <c:v>0.10413223140495868</c:v>
                </c:pt>
                <c:pt idx="35">
                  <c:v>0.089540412044374</c:v>
                </c:pt>
                <c:pt idx="36">
                  <c:v>0.1151012891344383</c:v>
                </c:pt>
                <c:pt idx="37">
                  <c:v>0.423956931359354</c:v>
                </c:pt>
                <c:pt idx="38">
                  <c:v>0.24022346368715083</c:v>
                </c:pt>
                <c:pt idx="39">
                  <c:v>0.343042071197411</c:v>
                </c:pt>
                <c:pt idx="40">
                  <c:v>0.2799597180261833</c:v>
                </c:pt>
                <c:pt idx="41">
                  <c:v>0.2147477360931436</c:v>
                </c:pt>
                <c:pt idx="42">
                  <c:v>0.2780487804878049</c:v>
                </c:pt>
                <c:pt idx="43">
                  <c:v>0.4039408866995074</c:v>
                </c:pt>
                <c:pt idx="44">
                  <c:v>0.2831050228310502</c:v>
                </c:pt>
                <c:pt idx="45">
                  <c:v>0.2695852534562212</c:v>
                </c:pt>
                <c:pt idx="46">
                  <c:v>0.3589420654911839</c:v>
                </c:pt>
                <c:pt idx="47">
                  <c:v>0.4157608695652174</c:v>
                </c:pt>
                <c:pt idx="48">
                  <c:v>0.2259663032705649</c:v>
                </c:pt>
                <c:pt idx="49">
                  <c:v>0.37530864197530867</c:v>
                </c:pt>
                <c:pt idx="50">
                  <c:v>0.022304832713754646</c:v>
                </c:pt>
                <c:pt idx="51">
                  <c:v>0.030560271646859084</c:v>
                </c:pt>
                <c:pt idx="52">
                  <c:v>0.13434903047091412</c:v>
                </c:pt>
                <c:pt idx="53">
                  <c:v>0.04699738903394256</c:v>
                </c:pt>
                <c:pt idx="54">
                  <c:v>0.16522988505747127</c:v>
                </c:pt>
                <c:pt idx="55">
                  <c:v>0.2858517805582291</c:v>
                </c:pt>
                <c:pt idx="56">
                  <c:v>0.24726477024070023</c:v>
                </c:pt>
                <c:pt idx="57">
                  <c:v>0.32666666666666666</c:v>
                </c:pt>
                <c:pt idx="58">
                  <c:v>0.2152777777777778</c:v>
                </c:pt>
                <c:pt idx="59">
                  <c:v>0.10755148741418764</c:v>
                </c:pt>
                <c:pt idx="60">
                  <c:v>0.30025445292620867</c:v>
                </c:pt>
                <c:pt idx="61">
                  <c:v>0.5105708245243129</c:v>
                </c:pt>
                <c:pt idx="62">
                  <c:v>0.14053254437869822</c:v>
                </c:pt>
                <c:pt idx="63">
                  <c:v>0.2050561797752809</c:v>
                </c:pt>
                <c:pt idx="64">
                  <c:v>0.24172185430463577</c:v>
                </c:pt>
                <c:pt idx="65">
                  <c:v>0.42153846153846153</c:v>
                </c:pt>
                <c:pt idx="66">
                  <c:v>0.05714285714285714</c:v>
                </c:pt>
                <c:pt idx="67">
                  <c:v>0.3397129186602871</c:v>
                </c:pt>
                <c:pt idx="68">
                  <c:v>0.00906344410876133</c:v>
                </c:pt>
                <c:pt idx="69">
                  <c:v>0.1324200913242009</c:v>
                </c:pt>
                <c:pt idx="70">
                  <c:v>0.028534370946822308</c:v>
                </c:pt>
                <c:pt idx="71">
                  <c:v>0.02027027027027027</c:v>
                </c:pt>
                <c:pt idx="72">
                  <c:v>0.011378002528445006</c:v>
                </c:pt>
                <c:pt idx="73">
                  <c:v>0.10739030023094688</c:v>
                </c:pt>
                <c:pt idx="74">
                  <c:v>0.11001517450682853</c:v>
                </c:pt>
                <c:pt idx="75">
                  <c:v>0.03986710963455149</c:v>
                </c:pt>
                <c:pt idx="76">
                  <c:v>0.003194888178913738</c:v>
                </c:pt>
                <c:pt idx="77">
                  <c:v>0.04801670146137787</c:v>
                </c:pt>
                <c:pt idx="78">
                  <c:v>0.005063291139240506</c:v>
                </c:pt>
              </c:numCache>
            </c:numRef>
          </c:yVal>
          <c:smooth val="0"/>
          <c:extLst>
            <c:ext xmlns:c16="http://schemas.microsoft.com/office/drawing/2014/chart" uri="{C3380CC4-5D6E-409C-BE32-E72D297353CC}">
              <c16:uniqueId val="{00000000-096C-4121-9522-6AB7243CCAAE}"/>
            </c:ext>
          </c:extLst>
        </c:ser>
        <c:ser>
          <c:idx val="1"/>
          <c:order val="1"/>
          <c:tx>
            <c:strRef>
              <c:f>Sheet1!$B$82</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3:$A$107</c:f>
              <c:numCache>
                <c:formatCode>General</c:formatCode>
                <c:ptCount val="25"/>
                <c:pt idx="0">
                  <c:v>0.47322097270332947</c:v>
                </c:pt>
                <c:pt idx="1">
                  <c:v>0.8080974232407288</c:v>
                </c:pt>
                <c:pt idx="2">
                  <c:v>1.2319707325385878</c:v>
                </c:pt>
                <c:pt idx="3">
                  <c:v>3.527026991590204</c:v>
                </c:pt>
                <c:pt idx="4">
                  <c:v>0.6897504786242097</c:v>
                </c:pt>
                <c:pt idx="5">
                  <c:v>0.24258765151515152</c:v>
                </c:pt>
                <c:pt idx="6">
                  <c:v>3.4515444015444015</c:v>
                </c:pt>
                <c:pt idx="7">
                  <c:v>0.30336299611479156</c:v>
                </c:pt>
                <c:pt idx="8">
                  <c:v>0.6824593981772719</c:v>
                </c:pt>
                <c:pt idx="9">
                  <c:v>0.689866034658576</c:v>
                </c:pt>
                <c:pt idx="10">
                  <c:v>0.7284695905938384</c:v>
                </c:pt>
                <c:pt idx="11">
                  <c:v>1.0726376344602746</c:v>
                </c:pt>
                <c:pt idx="12">
                  <c:v>0.3862119634028405</c:v>
                </c:pt>
                <c:pt idx="13">
                  <c:v>0.5606816121582886</c:v>
                </c:pt>
                <c:pt idx="14">
                  <c:v>0.9151355261650005</c:v>
                </c:pt>
                <c:pt idx="15">
                  <c:v>1.0175032596674898</c:v>
                </c:pt>
                <c:pt idx="16">
                  <c:v>1.0125103248440206</c:v>
                </c:pt>
                <c:pt idx="17">
                  <c:v>1.5818695277471153</c:v>
                </c:pt>
                <c:pt idx="18">
                  <c:v>0.7481354709768558</c:v>
                </c:pt>
                <c:pt idx="19">
                  <c:v>1.1325863184514415</c:v>
                </c:pt>
                <c:pt idx="20">
                  <c:v>1.699157103448276</c:v>
                </c:pt>
                <c:pt idx="21">
                  <c:v>1.0344315867059768</c:v>
                </c:pt>
                <c:pt idx="22">
                  <c:v>2.9285555560626566</c:v>
                </c:pt>
                <c:pt idx="23">
                  <c:v>0.22494478811791102</c:v>
                </c:pt>
                <c:pt idx="24">
                  <c:v>0.8291888095479683</c:v>
                </c:pt>
              </c:numCache>
            </c:numRef>
          </c:xVal>
          <c:yVal>
            <c:numRef>
              <c:f>Sheet1!$B$83:$B$107</c:f>
              <c:numCache>
                <c:formatCode>General</c:formatCode>
                <c:ptCount val="25"/>
                <c:pt idx="0">
                  <c:v>0.1543560606060606</c:v>
                </c:pt>
                <c:pt idx="1">
                  <c:v>0.02135678391959799</c:v>
                </c:pt>
                <c:pt idx="2">
                  <c:v>0.012688342585249802</c:v>
                </c:pt>
                <c:pt idx="3">
                  <c:v>0.0010822510822510823</c:v>
                </c:pt>
                <c:pt idx="4">
                  <c:v>0.25813449023861174</c:v>
                </c:pt>
                <c:pt idx="5">
                  <c:v>0.18888888888888888</c:v>
                </c:pt>
                <c:pt idx="6">
                  <c:v>0.02531645569620253</c:v>
                </c:pt>
                <c:pt idx="7">
                  <c:v>0.28117359413202936</c:v>
                </c:pt>
                <c:pt idx="8">
                  <c:v>0.582312925170068</c:v>
                </c:pt>
                <c:pt idx="9">
                  <c:v>0.121765601217656</c:v>
                </c:pt>
                <c:pt idx="10">
                  <c:v>0.2982885085574572</c:v>
                </c:pt>
                <c:pt idx="11">
                  <c:v>0.544766708701135</c:v>
                </c:pt>
                <c:pt idx="12">
                  <c:v>0.00949367088607595</c:v>
                </c:pt>
                <c:pt idx="13">
                  <c:v>0.04572564612326044</c:v>
                </c:pt>
                <c:pt idx="14">
                  <c:v>0.10948905109489052</c:v>
                </c:pt>
                <c:pt idx="15">
                  <c:v>0.04200542005420054</c:v>
                </c:pt>
                <c:pt idx="16">
                  <c:v>0.2049469964664311</c:v>
                </c:pt>
                <c:pt idx="17">
                  <c:v>0.006430868167202572</c:v>
                </c:pt>
                <c:pt idx="18">
                  <c:v>0.2948960302457467</c:v>
                </c:pt>
                <c:pt idx="19">
                  <c:v>0.0412573673870334</c:v>
                </c:pt>
                <c:pt idx="20">
                  <c:v>0.004746835443037975</c:v>
                </c:pt>
                <c:pt idx="21">
                  <c:v>0.025547445255474453</c:v>
                </c:pt>
                <c:pt idx="22">
                  <c:v>0.03206997084548105</c:v>
                </c:pt>
                <c:pt idx="23">
                  <c:v>0.05190311418685121</c:v>
                </c:pt>
                <c:pt idx="24">
                  <c:v>0.1553398058252427</c:v>
                </c:pt>
              </c:numCache>
            </c:numRef>
          </c:yVal>
          <c:smooth val="0"/>
          <c:extLst>
            <c:ext xmlns:c16="http://schemas.microsoft.com/office/drawing/2014/chart" uri="{C3380CC4-5D6E-409C-BE32-E72D297353CC}">
              <c16:uniqueId val="{00000002-096C-4121-9522-6AB7243CCAAE}"/>
            </c:ext>
          </c:extLst>
        </c:ser>
        <c:ser>
          <c:idx val="2"/>
          <c:order val="2"/>
          <c:tx>
            <c:strRef>
              <c:f>Sheet1!$B$10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0:$A$111</c:f>
              <c:numCache>
                <c:formatCode>General</c:formatCode>
                <c:ptCount val="2"/>
                <c:pt idx="0">
                  <c:v>0</c:v>
                </c:pt>
                <c:pt idx="1">
                  <c:v>-1.879292891829592</c:v>
                </c:pt>
              </c:numCache>
            </c:numRef>
          </c:xVal>
          <c:yVal>
            <c:numRef>
              <c:f>Sheet1!$B$110:$B$111</c:f>
              <c:numCache>
                <c:formatCode>General</c:formatCode>
                <c:ptCount val="2"/>
                <c:pt idx="0">
                  <c:v>0.32585980053203695</c:v>
                </c:pt>
                <c:pt idx="1">
                  <c:v>0.32585980053203695</c:v>
                </c:pt>
              </c:numCache>
            </c:numRef>
          </c:yVal>
          <c:smooth val="0"/>
          <c:extLst>
            <c:ext xmlns:c16="http://schemas.microsoft.com/office/drawing/2014/chart" uri="{C3380CC4-5D6E-409C-BE32-E72D297353CC}">
              <c16:uniqueId val="{00000005-096C-4121-9522-6AB7243CCAAE}"/>
            </c:ext>
          </c:extLst>
        </c:ser>
        <c:ser>
          <c:idx val="3"/>
          <c:order val="3"/>
          <c:tx>
            <c:strRef>
              <c:f>Sheet1!$B$1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1.879292891829592</c:v>
                </c:pt>
                <c:pt idx="1">
                  <c:v>-1.879292891829592</c:v>
                </c:pt>
              </c:numCache>
            </c:numRef>
          </c:xVal>
          <c:yVal>
            <c:numRef>
              <c:f>Sheet1!$B$114:$B$115</c:f>
              <c:numCache>
                <c:formatCode>General</c:formatCode>
                <c:ptCount val="2"/>
                <c:pt idx="0">
                  <c:v>0.3258598005320369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8:$A$119</c:f>
              <c:numCache>
                <c:formatCode>General</c:formatCode>
                <c:ptCount val="2"/>
                <c:pt idx="0">
                  <c:v>0</c:v>
                </c:pt>
                <c:pt idx="1">
                  <c:v>-0.26539317156056075</c:v>
                </c:pt>
              </c:numCache>
            </c:numRef>
          </c:xVal>
          <c:yVal>
            <c:numRef>
              <c:f>Sheet1!$B$118:$B$119</c:f>
              <c:numCache>
                <c:formatCode>General</c:formatCode>
                <c:ptCount val="2"/>
                <c:pt idx="0">
                  <c:v>0.22611345843741923</c:v>
                </c:pt>
                <c:pt idx="1">
                  <c:v>0.22611345843741923</c:v>
                </c:pt>
              </c:numCache>
            </c:numRef>
          </c:yVal>
          <c:smooth val="0"/>
          <c:extLst>
            <c:ext xmlns:c16="http://schemas.microsoft.com/office/drawing/2014/chart" uri="{C3380CC4-5D6E-409C-BE32-E72D297353CC}">
              <c16:uniqueId val="{0000000D-096C-4121-9522-6AB7243CCAAE}"/>
            </c:ext>
          </c:extLst>
        </c:ser>
        <c:ser>
          <c:idx val="5"/>
          <c:order val="5"/>
          <c:tx>
            <c:strRef>
              <c:f>Sheet1!$B$1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26539317156056075</c:v>
                </c:pt>
                <c:pt idx="1">
                  <c:v>-0.26539317156056075</c:v>
                </c:pt>
              </c:numCache>
            </c:numRef>
          </c:xVal>
          <c:yVal>
            <c:numRef>
              <c:f>Sheet1!$B$122:$B$123</c:f>
              <c:numCache>
                <c:formatCode>General</c:formatCode>
                <c:ptCount val="2"/>
                <c:pt idx="0">
                  <c:v>0.2261134584374192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6:$A$127</c:f>
              <c:numCache>
                <c:formatCode>General</c:formatCode>
                <c:ptCount val="2"/>
                <c:pt idx="0">
                  <c:v>0</c:v>
                </c:pt>
                <c:pt idx="1">
                  <c:v>2.52068052030699</c:v>
                </c:pt>
              </c:numCache>
            </c:numRef>
          </c:xVal>
          <c:yVal>
            <c:numRef>
              <c:f>Sheet1!$B$126:$B$127</c:f>
              <c:numCache>
                <c:formatCode>General</c:formatCode>
                <c:ptCount val="2"/>
                <c:pt idx="0">
                  <c:v>0.05392143431121747</c:v>
                </c:pt>
                <c:pt idx="1">
                  <c:v>0.05392143431121747</c:v>
                </c:pt>
              </c:numCache>
            </c:numRef>
          </c:yVal>
          <c:smooth val="0"/>
          <c:extLst>
            <c:ext xmlns:c16="http://schemas.microsoft.com/office/drawing/2014/chart" uri="{C3380CC4-5D6E-409C-BE32-E72D297353CC}">
              <c16:uniqueId val="{00000015-096C-4121-9522-6AB7243CCAAE}"/>
            </c:ext>
          </c:extLst>
        </c:ser>
        <c:ser>
          <c:idx val="7"/>
          <c:order val="7"/>
          <c:tx>
            <c:strRef>
              <c:f>Sheet1!$B$1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0:$A$131</c:f>
              <c:numCache>
                <c:formatCode>General</c:formatCode>
                <c:ptCount val="2"/>
                <c:pt idx="0">
                  <c:v>2.52068052030699</c:v>
                </c:pt>
                <c:pt idx="1">
                  <c:v>2.52068052030699</c:v>
                </c:pt>
              </c:numCache>
            </c:numRef>
          </c:xVal>
          <c:yVal>
            <c:numRef>
              <c:f>Sheet1!$B$130:$B$131</c:f>
              <c:numCache>
                <c:formatCode>General</c:formatCode>
                <c:ptCount val="2"/>
                <c:pt idx="0">
                  <c:v>0.053921434311217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4:$A$161</c:f>
              <c:numCache>
                <c:formatCode>General</c:formatCode>
                <c:ptCount val="28"/>
                <c:pt idx="0">
                  <c:v>0.47322097270332947</c:v>
                </c:pt>
                <c:pt idx="1">
                  <c:v>0.8080974232407288</c:v>
                </c:pt>
                <c:pt idx="2">
                  <c:v>1.2319707325385878</c:v>
                </c:pt>
                <c:pt idx="3">
                  <c:v>3.527026991590204</c:v>
                </c:pt>
                <c:pt idx="4">
                  <c:v>0.6897504786242097</c:v>
                </c:pt>
                <c:pt idx="5">
                  <c:v>0.24258765151515152</c:v>
                </c:pt>
                <c:pt idx="6">
                  <c:v>3.4515444015444015</c:v>
                </c:pt>
                <c:pt idx="7">
                  <c:v>0.30336299611479156</c:v>
                </c:pt>
                <c:pt idx="8">
                  <c:v>0.6824593981772719</c:v>
                </c:pt>
                <c:pt idx="9">
                  <c:v>0.689866034658576</c:v>
                </c:pt>
                <c:pt idx="10">
                  <c:v>0.7284695905938384</c:v>
                </c:pt>
                <c:pt idx="11">
                  <c:v>1.0726376344602746</c:v>
                </c:pt>
                <c:pt idx="12">
                  <c:v>0.3862119634028405</c:v>
                </c:pt>
                <c:pt idx="13">
                  <c:v>0.5606816121582886</c:v>
                </c:pt>
                <c:pt idx="14">
                  <c:v>0.9151355261650005</c:v>
                </c:pt>
                <c:pt idx="15">
                  <c:v>1.0175032596674898</c:v>
                </c:pt>
                <c:pt idx="16">
                  <c:v>1.0125103248440206</c:v>
                </c:pt>
                <c:pt idx="17">
                  <c:v>1.5818695277471153</c:v>
                </c:pt>
                <c:pt idx="18">
                  <c:v>0.7481354709768558</c:v>
                </c:pt>
                <c:pt idx="19">
                  <c:v>1.1325863184514415</c:v>
                </c:pt>
                <c:pt idx="20">
                  <c:v>1.699157103448276</c:v>
                </c:pt>
                <c:pt idx="21">
                  <c:v>1.0344315867059768</c:v>
                </c:pt>
                <c:pt idx="22">
                  <c:v>2.9285555560626566</c:v>
                </c:pt>
                <c:pt idx="23">
                  <c:v>0.22494478811791102</c:v>
                </c:pt>
                <c:pt idx="24">
                  <c:v>0.8291888095479683</c:v>
                </c:pt>
                <c:pt idx="25">
                  <c:v>-0.26539317156056075</c:v>
                </c:pt>
                <c:pt idx="26">
                  <c:v>-1.879292891829592</c:v>
                </c:pt>
                <c:pt idx="27">
                  <c:v>2.52068052030699</c:v>
                </c:pt>
              </c:numCache>
            </c:numRef>
          </c:xVal>
          <c:yVal>
            <c:numRef>
              <c:f>Sheet1!$B$134:$B$161</c:f>
              <c:numCache>
                <c:formatCode>General</c:formatCode>
                <c:ptCount val="28"/>
                <c:pt idx="0">
                  <c:v>0.18046374539490867</c:v>
                </c:pt>
                <c:pt idx="1">
                  <c:v>0.15976685786513908</c:v>
                </c:pt>
                <c:pt idx="2">
                  <c:v>0.1335695597412172</c:v>
                </c:pt>
                <c:pt idx="3">
                  <c:v>-0.0082753540825459</c:v>
                </c:pt>
                <c:pt idx="4">
                  <c:v>0.16708123723785767</c:v>
                </c:pt>
                <c:pt idx="5">
                  <c:v>0.19471793347409058</c:v>
                </c:pt>
                <c:pt idx="6">
                  <c:v>-0.0036101867525451803</c:v>
                </c:pt>
                <c:pt idx="7">
                  <c:v>0.190961740795438</c:v>
                </c:pt>
                <c:pt idx="8">
                  <c:v>0.16753185916644836</c:v>
                </c:pt>
                <c:pt idx="9">
                  <c:v>0.16707409534943035</c:v>
                </c:pt>
                <c:pt idx="10">
                  <c:v>0.16468822003882214</c:v>
                </c:pt>
                <c:pt idx="11">
                  <c:v>0.14341706978680133</c:v>
                </c:pt>
                <c:pt idx="12">
                  <c:v>0.18584129785247624</c:v>
                </c:pt>
                <c:pt idx="13">
                  <c:v>0.1750582801399583</c:v>
                </c:pt>
                <c:pt idx="14">
                  <c:v>0.15315141633717133</c:v>
                </c:pt>
                <c:pt idx="15">
                  <c:v>0.1468246248784753</c:v>
                </c:pt>
                <c:pt idx="16">
                  <c:v>0.14713321095647208</c:v>
                </c:pt>
                <c:pt idx="17">
                  <c:v>0.11194422299504904</c:v>
                </c:pt>
                <c:pt idx="18">
                  <c:v>0.1634727791984524</c:v>
                </c:pt>
                <c:pt idx="19">
                  <c:v>0.13971196849308012</c:v>
                </c:pt>
                <c:pt idx="20">
                  <c:v>0.10469531743889332</c:v>
                </c:pt>
                <c:pt idx="21">
                  <c:v>0.14577837728411486</c:v>
                </c:pt>
                <c:pt idx="22">
                  <c:v>0.028712902246067068</c:v>
                </c:pt>
                <c:pt idx="23">
                  <c:v>0.1958083426648527</c:v>
                </c:pt>
                <c:pt idx="24">
                  <c:v>0.1584633142760114</c:v>
                </c:pt>
                <c:pt idx="25">
                  <c:v>0.22611345843741923</c:v>
                </c:pt>
                <c:pt idx="26">
                  <c:v>0.32585980053203695</c:v>
                </c:pt>
                <c:pt idx="27">
                  <c:v>0.0539214343112174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801980198019801"/>
          <c:min val="0.000865800865800865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80</c:f>
              <c:numCache>
                <c:formatCode>General</c:formatCode>
                <c:ptCount val="79"/>
                <c:pt idx="0">
                  <c:v>889.3714</c:v>
                </c:pt>
                <c:pt idx="1">
                  <c:v>1031.2512</c:v>
                </c:pt>
                <c:pt idx="2">
                  <c:v>1029.7347</c:v>
                </c:pt>
                <c:pt idx="3">
                  <c:v>887.9286</c:v>
                </c:pt>
                <c:pt idx="4">
                  <c:v>1437.8889</c:v>
                </c:pt>
                <c:pt idx="5">
                  <c:v>1368.9667</c:v>
                </c:pt>
                <c:pt idx="6">
                  <c:v>1350.4</c:v>
                </c:pt>
                <c:pt idx="7">
                  <c:v>1613.6452</c:v>
                </c:pt>
                <c:pt idx="8">
                  <c:v>1931.6701</c:v>
                </c:pt>
                <c:pt idx="9">
                  <c:v>1323.9199</c:v>
                </c:pt>
                <c:pt idx="10">
                  <c:v>1635.0476</c:v>
                </c:pt>
                <c:pt idx="11">
                  <c:v>1071.4751</c:v>
                </c:pt>
                <c:pt idx="12">
                  <c:v>832.875</c:v>
                </c:pt>
                <c:pt idx="13">
                  <c:v>1091.9375</c:v>
                </c:pt>
                <c:pt idx="14">
                  <c:v>994.06</c:v>
                </c:pt>
                <c:pt idx="15">
                  <c:v>1396.1974</c:v>
                </c:pt>
                <c:pt idx="16">
                  <c:v>695.9138</c:v>
                </c:pt>
                <c:pt idx="17">
                  <c:v>1327.3125</c:v>
                </c:pt>
                <c:pt idx="18">
                  <c:v>850.4125</c:v>
                </c:pt>
                <c:pt idx="19">
                  <c:v>1204.9423</c:v>
                </c:pt>
                <c:pt idx="20">
                  <c:v>1184.7143</c:v>
                </c:pt>
                <c:pt idx="21">
                  <c:v>1767.8276</c:v>
                </c:pt>
                <c:pt idx="22">
                  <c:v>1331.2083</c:v>
                </c:pt>
                <c:pt idx="23">
                  <c:v>1173.697</c:v>
                </c:pt>
                <c:pt idx="24">
                  <c:v>1768.9538</c:v>
                </c:pt>
                <c:pt idx="25">
                  <c:v>821.5581</c:v>
                </c:pt>
                <c:pt idx="26">
                  <c:v>1782.5855</c:v>
                </c:pt>
                <c:pt idx="27">
                  <c:v>1305.7908</c:v>
                </c:pt>
                <c:pt idx="28">
                  <c:v>1126.4373</c:v>
                </c:pt>
                <c:pt idx="29">
                  <c:v>1028.9752</c:v>
                </c:pt>
                <c:pt idx="30">
                  <c:v>708.1779</c:v>
                </c:pt>
                <c:pt idx="31">
                  <c:v>634.3583</c:v>
                </c:pt>
                <c:pt idx="32">
                  <c:v>940.119</c:v>
                </c:pt>
                <c:pt idx="33">
                  <c:v>558.3315</c:v>
                </c:pt>
                <c:pt idx="34">
                  <c:v>1007.3968</c:v>
                </c:pt>
                <c:pt idx="35">
                  <c:v>492.7965</c:v>
                </c:pt>
                <c:pt idx="36">
                  <c:v>1871.432</c:v>
                </c:pt>
                <c:pt idx="37">
                  <c:v>791.4635</c:v>
                </c:pt>
                <c:pt idx="38">
                  <c:v>1201.3023</c:v>
                </c:pt>
                <c:pt idx="39">
                  <c:v>504.3491</c:v>
                </c:pt>
                <c:pt idx="40">
                  <c:v>986.6763</c:v>
                </c:pt>
                <c:pt idx="41">
                  <c:v>1145.3012</c:v>
                </c:pt>
                <c:pt idx="42">
                  <c:v>786.7193</c:v>
                </c:pt>
                <c:pt idx="43">
                  <c:v>514.5122</c:v>
                </c:pt>
                <c:pt idx="44">
                  <c:v>531.871</c:v>
                </c:pt>
                <c:pt idx="45">
                  <c:v>1616.7265</c:v>
                </c:pt>
                <c:pt idx="46">
                  <c:v>613.6877</c:v>
                </c:pt>
                <c:pt idx="47">
                  <c:v>1147.415</c:v>
                </c:pt>
                <c:pt idx="48">
                  <c:v>545.0351</c:v>
                </c:pt>
                <c:pt idx="49">
                  <c:v>960.1974</c:v>
                </c:pt>
                <c:pt idx="50">
                  <c:v>565.5</c:v>
                </c:pt>
                <c:pt idx="51">
                  <c:v>518.6111</c:v>
                </c:pt>
                <c:pt idx="52">
                  <c:v>497.134</c:v>
                </c:pt>
                <c:pt idx="53">
                  <c:v>472.6111</c:v>
                </c:pt>
                <c:pt idx="54">
                  <c:v>1929.1739</c:v>
                </c:pt>
                <c:pt idx="55">
                  <c:v>1167.8283</c:v>
                </c:pt>
                <c:pt idx="56">
                  <c:v>1918.1947</c:v>
                </c:pt>
                <c:pt idx="57">
                  <c:v>787.7959</c:v>
                </c:pt>
                <c:pt idx="58">
                  <c:v>850.2688</c:v>
                </c:pt>
                <c:pt idx="59">
                  <c:v>1630.1809</c:v>
                </c:pt>
                <c:pt idx="60">
                  <c:v>823.5212</c:v>
                </c:pt>
                <c:pt idx="61">
                  <c:v>916.5197</c:v>
                </c:pt>
                <c:pt idx="62">
                  <c:v>500.1158</c:v>
                </c:pt>
                <c:pt idx="63">
                  <c:v>1219.3356</c:v>
                </c:pt>
                <c:pt idx="64">
                  <c:v>1167.7466</c:v>
                </c:pt>
                <c:pt idx="65">
                  <c:v>1162.7664</c:v>
                </c:pt>
                <c:pt idx="66">
                  <c:v>1095.5</c:v>
                </c:pt>
                <c:pt idx="67">
                  <c:v>1166.1901</c:v>
                </c:pt>
                <c:pt idx="68">
                  <c:v>1692.3333</c:v>
                </c:pt>
                <c:pt idx="69">
                  <c:v>1121.1293</c:v>
                </c:pt>
                <c:pt idx="70">
                  <c:v>738.4545</c:v>
                </c:pt>
                <c:pt idx="71">
                  <c:v>1061.0833</c:v>
                </c:pt>
                <c:pt idx="72">
                  <c:v>2225.5556</c:v>
                </c:pt>
                <c:pt idx="73">
                  <c:v>923.6452</c:v>
                </c:pt>
                <c:pt idx="74">
                  <c:v>1018.5103</c:v>
                </c:pt>
                <c:pt idx="75">
                  <c:v>504.7778</c:v>
                </c:pt>
                <c:pt idx="76">
                  <c:v>3820.3333</c:v>
                </c:pt>
                <c:pt idx="77">
                  <c:v>1922.1304</c:v>
                </c:pt>
                <c:pt idx="78">
                  <c:v>1730.0</c:v>
                </c:pt>
              </c:numCache>
            </c:numRef>
          </c:xVal>
          <c:yVal>
            <c:numRef>
              <c:f>Sheet1!$B$2:$B$80</c:f>
              <c:numCache>
                <c:formatCode>General</c:formatCode>
                <c:ptCount val="79"/>
                <c:pt idx="0">
                  <c:v>0.2413793103448276</c:v>
                </c:pt>
                <c:pt idx="1">
                  <c:v>0.1430472388556221</c:v>
                </c:pt>
                <c:pt idx="2">
                  <c:v>0.16554054054054054</c:v>
                </c:pt>
                <c:pt idx="3">
                  <c:v>0.13806706114398423</c:v>
                </c:pt>
                <c:pt idx="4">
                  <c:v>0.020361990950226245</c:v>
                </c:pt>
                <c:pt idx="5">
                  <c:v>0.21818181818181817</c:v>
                </c:pt>
                <c:pt idx="6">
                  <c:v>0.20408163265306123</c:v>
                </c:pt>
                <c:pt idx="7">
                  <c:v>0.17342657342657342</c:v>
                </c:pt>
                <c:pt idx="8">
                  <c:v>0.6501650165016502</c:v>
                </c:pt>
                <c:pt idx="9">
                  <c:v>0.649325626204239</c:v>
                </c:pt>
                <c:pt idx="10">
                  <c:v>0.08879492600422834</c:v>
                </c:pt>
                <c:pt idx="11">
                  <c:v>0.2970430107526882</c:v>
                </c:pt>
                <c:pt idx="12">
                  <c:v>0.11469534050179211</c:v>
                </c:pt>
                <c:pt idx="13">
                  <c:v>0.2711864406779661</c:v>
                </c:pt>
                <c:pt idx="14">
                  <c:v>0.2066115702479339</c:v>
                </c:pt>
                <c:pt idx="15">
                  <c:v>0.2389937106918239</c:v>
                </c:pt>
                <c:pt idx="16">
                  <c:v>0.17901234567901234</c:v>
                </c:pt>
                <c:pt idx="17">
                  <c:v>0.16</c:v>
                </c:pt>
                <c:pt idx="18">
                  <c:v>0.29156999226604796</c:v>
                </c:pt>
                <c:pt idx="19">
                  <c:v>0.5154894671623296</c:v>
                </c:pt>
                <c:pt idx="20">
                  <c:v>0.010494752623688156</c:v>
                </c:pt>
                <c:pt idx="21">
                  <c:v>0.06712962962962964</c:v>
                </c:pt>
                <c:pt idx="22">
                  <c:v>0.16901408450704225</c:v>
                </c:pt>
                <c:pt idx="23">
                  <c:v>0.1746031746031746</c:v>
                </c:pt>
                <c:pt idx="24">
                  <c:v>0.34189723320158105</c:v>
                </c:pt>
                <c:pt idx="25">
                  <c:v>0.08902691511387163</c:v>
                </c:pt>
                <c:pt idx="26">
                  <c:v>0.31179321486268174</c:v>
                </c:pt>
                <c:pt idx="27">
                  <c:v>0.3148148148148148</c:v>
                </c:pt>
                <c:pt idx="28">
                  <c:v>0.15097588978185994</c:v>
                </c:pt>
                <c:pt idx="29">
                  <c:v>0.38224852071005916</c:v>
                </c:pt>
                <c:pt idx="30">
                  <c:v>0.25951387183893937</c:v>
                </c:pt>
                <c:pt idx="31">
                  <c:v>0.24287974683544303</c:v>
                </c:pt>
                <c:pt idx="32">
                  <c:v>0.24372559955382042</c:v>
                </c:pt>
                <c:pt idx="33">
                  <c:v>0.35880077369439073</c:v>
                </c:pt>
                <c:pt idx="34">
                  <c:v>0.10413223140495868</c:v>
                </c:pt>
                <c:pt idx="35">
                  <c:v>0.089540412044374</c:v>
                </c:pt>
                <c:pt idx="36">
                  <c:v>0.1151012891344383</c:v>
                </c:pt>
                <c:pt idx="37">
                  <c:v>0.423956931359354</c:v>
                </c:pt>
                <c:pt idx="38">
                  <c:v>0.24022346368715083</c:v>
                </c:pt>
                <c:pt idx="39">
                  <c:v>0.343042071197411</c:v>
                </c:pt>
                <c:pt idx="40">
                  <c:v>0.2799597180261833</c:v>
                </c:pt>
                <c:pt idx="41">
                  <c:v>0.2147477360931436</c:v>
                </c:pt>
                <c:pt idx="42">
                  <c:v>0.2780487804878049</c:v>
                </c:pt>
                <c:pt idx="43">
                  <c:v>0.4039408866995074</c:v>
                </c:pt>
                <c:pt idx="44">
                  <c:v>0.2831050228310502</c:v>
                </c:pt>
                <c:pt idx="45">
                  <c:v>0.2695852534562212</c:v>
                </c:pt>
                <c:pt idx="46">
                  <c:v>0.3589420654911839</c:v>
                </c:pt>
                <c:pt idx="47">
                  <c:v>0.4157608695652174</c:v>
                </c:pt>
                <c:pt idx="48">
                  <c:v>0.2259663032705649</c:v>
                </c:pt>
                <c:pt idx="49">
                  <c:v>0.37530864197530867</c:v>
                </c:pt>
                <c:pt idx="50">
                  <c:v>0.022304832713754646</c:v>
                </c:pt>
                <c:pt idx="51">
                  <c:v>0.030560271646859084</c:v>
                </c:pt>
                <c:pt idx="52">
                  <c:v>0.13434903047091412</c:v>
                </c:pt>
                <c:pt idx="53">
                  <c:v>0.04699738903394256</c:v>
                </c:pt>
                <c:pt idx="54">
                  <c:v>0.16522988505747127</c:v>
                </c:pt>
                <c:pt idx="55">
                  <c:v>0.2858517805582291</c:v>
                </c:pt>
                <c:pt idx="56">
                  <c:v>0.24726477024070023</c:v>
                </c:pt>
                <c:pt idx="57">
                  <c:v>0.32666666666666666</c:v>
                </c:pt>
                <c:pt idx="58">
                  <c:v>0.2152777777777778</c:v>
                </c:pt>
                <c:pt idx="59">
                  <c:v>0.10755148741418764</c:v>
                </c:pt>
                <c:pt idx="60">
                  <c:v>0.30025445292620867</c:v>
                </c:pt>
                <c:pt idx="61">
                  <c:v>0.5105708245243129</c:v>
                </c:pt>
                <c:pt idx="62">
                  <c:v>0.14053254437869822</c:v>
                </c:pt>
                <c:pt idx="63">
                  <c:v>0.2050561797752809</c:v>
                </c:pt>
                <c:pt idx="64">
                  <c:v>0.24172185430463577</c:v>
                </c:pt>
                <c:pt idx="65">
                  <c:v>0.42153846153846153</c:v>
                </c:pt>
                <c:pt idx="66">
                  <c:v>0.05714285714285714</c:v>
                </c:pt>
                <c:pt idx="67">
                  <c:v>0.3397129186602871</c:v>
                </c:pt>
                <c:pt idx="68">
                  <c:v>0.00906344410876133</c:v>
                </c:pt>
                <c:pt idx="69">
                  <c:v>0.1324200913242009</c:v>
                </c:pt>
                <c:pt idx="70">
                  <c:v>0.028534370946822308</c:v>
                </c:pt>
                <c:pt idx="71">
                  <c:v>0.02027027027027027</c:v>
                </c:pt>
                <c:pt idx="72">
                  <c:v>0.011378002528445006</c:v>
                </c:pt>
                <c:pt idx="73">
                  <c:v>0.10739030023094688</c:v>
                </c:pt>
                <c:pt idx="74">
                  <c:v>0.11001517450682853</c:v>
                </c:pt>
                <c:pt idx="75">
                  <c:v>0.03986710963455149</c:v>
                </c:pt>
                <c:pt idx="76">
                  <c:v>0.003194888178913738</c:v>
                </c:pt>
                <c:pt idx="77">
                  <c:v>0.04801670146137787</c:v>
                </c:pt>
                <c:pt idx="78">
                  <c:v>0.005063291139240506</c:v>
                </c:pt>
              </c:numCache>
            </c:numRef>
          </c:yVal>
          <c:smooth val="0"/>
          <c:extLst>
            <c:ext xmlns:c16="http://schemas.microsoft.com/office/drawing/2014/chart" uri="{C3380CC4-5D6E-409C-BE32-E72D297353CC}">
              <c16:uniqueId val="{00000000-F32D-48B7-BC20-E66FC6253BAD}"/>
            </c:ext>
          </c:extLst>
        </c:ser>
        <c:ser>
          <c:idx val="1"/>
          <c:order val="1"/>
          <c:tx>
            <c:strRef>
              <c:f>Sheet1!$B$82</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3:$A$107</c:f>
              <c:numCache>
                <c:formatCode>General</c:formatCode>
                <c:ptCount val="25"/>
                <c:pt idx="0">
                  <c:v>1165.7669</c:v>
                </c:pt>
                <c:pt idx="1">
                  <c:v>1143.5882</c:v>
                </c:pt>
                <c:pt idx="2">
                  <c:v>2284.5</c:v>
                </c:pt>
                <c:pt idx="3">
                  <c:v>5111.0</c:v>
                </c:pt>
                <c:pt idx="4">
                  <c:v>1100.5042</c:v>
                </c:pt>
                <c:pt idx="5">
                  <c:v>960.6471</c:v>
                </c:pt>
                <c:pt idx="6">
                  <c:v>4469.75</c:v>
                </c:pt>
                <c:pt idx="7">
                  <c:v>1082.3739</c:v>
                </c:pt>
                <c:pt idx="8">
                  <c:v>1037.4556</c:v>
                </c:pt>
                <c:pt idx="9">
                  <c:v>1203.175</c:v>
                </c:pt>
                <c:pt idx="10">
                  <c:v>1018.5574</c:v>
                </c:pt>
                <c:pt idx="11">
                  <c:v>1017.831</c:v>
                </c:pt>
                <c:pt idx="12">
                  <c:v>643.1667</c:v>
                </c:pt>
                <c:pt idx="13">
                  <c:v>708.5652</c:v>
                </c:pt>
                <c:pt idx="14">
                  <c:v>1224.1778</c:v>
                </c:pt>
                <c:pt idx="15">
                  <c:v>1495.7419</c:v>
                </c:pt>
                <c:pt idx="16">
                  <c:v>1634.1379</c:v>
                </c:pt>
                <c:pt idx="17">
                  <c:v>2379.0</c:v>
                </c:pt>
                <c:pt idx="18">
                  <c:v>1219.2372</c:v>
                </c:pt>
                <c:pt idx="19">
                  <c:v>1608.8571</c:v>
                </c:pt>
                <c:pt idx="20">
                  <c:v>3695.6667</c:v>
                </c:pt>
                <c:pt idx="21">
                  <c:v>1543.7857</c:v>
                </c:pt>
                <c:pt idx="22">
                  <c:v>3721.7273</c:v>
                </c:pt>
                <c:pt idx="23">
                  <c:v>694.1333</c:v>
                </c:pt>
                <c:pt idx="24">
                  <c:v>1046.025</c:v>
                </c:pt>
              </c:numCache>
            </c:numRef>
          </c:xVal>
          <c:yVal>
            <c:numRef>
              <c:f>Sheet1!$B$83:$B$107</c:f>
              <c:numCache>
                <c:formatCode>General</c:formatCode>
                <c:ptCount val="25"/>
                <c:pt idx="0">
                  <c:v>0.1543560606060606</c:v>
                </c:pt>
                <c:pt idx="1">
                  <c:v>0.02135678391959799</c:v>
                </c:pt>
                <c:pt idx="2">
                  <c:v>0.012688342585249802</c:v>
                </c:pt>
                <c:pt idx="3">
                  <c:v>0.0010822510822510823</c:v>
                </c:pt>
                <c:pt idx="4">
                  <c:v>0.25813449023861174</c:v>
                </c:pt>
                <c:pt idx="5">
                  <c:v>0.18888888888888888</c:v>
                </c:pt>
                <c:pt idx="6">
                  <c:v>0.02531645569620253</c:v>
                </c:pt>
                <c:pt idx="7">
                  <c:v>0.28117359413202936</c:v>
                </c:pt>
                <c:pt idx="8">
                  <c:v>0.582312925170068</c:v>
                </c:pt>
                <c:pt idx="9">
                  <c:v>0.121765601217656</c:v>
                </c:pt>
                <c:pt idx="10">
                  <c:v>0.2982885085574572</c:v>
                </c:pt>
                <c:pt idx="11">
                  <c:v>0.544766708701135</c:v>
                </c:pt>
                <c:pt idx="12">
                  <c:v>0.00949367088607595</c:v>
                </c:pt>
                <c:pt idx="13">
                  <c:v>0.04572564612326044</c:v>
                </c:pt>
                <c:pt idx="14">
                  <c:v>0.10948905109489052</c:v>
                </c:pt>
                <c:pt idx="15">
                  <c:v>0.04200542005420054</c:v>
                </c:pt>
                <c:pt idx="16">
                  <c:v>0.2049469964664311</c:v>
                </c:pt>
                <c:pt idx="17">
                  <c:v>0.006430868167202572</c:v>
                </c:pt>
                <c:pt idx="18">
                  <c:v>0.2948960302457467</c:v>
                </c:pt>
                <c:pt idx="19">
                  <c:v>0.0412573673870334</c:v>
                </c:pt>
                <c:pt idx="20">
                  <c:v>0.004746835443037975</c:v>
                </c:pt>
                <c:pt idx="21">
                  <c:v>0.025547445255474453</c:v>
                </c:pt>
                <c:pt idx="22">
                  <c:v>0.03206997084548105</c:v>
                </c:pt>
                <c:pt idx="23">
                  <c:v>0.05190311418685121</c:v>
                </c:pt>
                <c:pt idx="24">
                  <c:v>0.1553398058252427</c:v>
                </c:pt>
              </c:numCache>
            </c:numRef>
          </c:yVal>
          <c:smooth val="0"/>
          <c:extLst>
            <c:ext xmlns:c16="http://schemas.microsoft.com/office/drawing/2014/chart" uri="{C3380CC4-5D6E-409C-BE32-E72D297353CC}">
              <c16:uniqueId val="{00000002-F32D-48B7-BC20-E66FC6253BAD}"/>
            </c:ext>
          </c:extLst>
        </c:ser>
        <c:ser>
          <c:idx val="2"/>
          <c:order val="2"/>
          <c:tx>
            <c:strRef>
              <c:f>Sheet1!$B$109</c:f>
              <c:strCache>
                <c:ptCount val="1"/>
                <c:pt idx="0">
                  <c:v>Custom Linep3yQ</c:v>
                </c:pt>
              </c:strCache>
            </c:strRef>
          </c:tx>
          <c:spPr>
            <a:ln w="19050" cap="rnd">
              <a:solidFill>
                <a:srgbClr val="C00000"/>
              </a:solidFill>
              <a:prstDash val="sysDot"/>
              <a:round/>
            </a:ln>
            <a:effectLst/>
          </c:spPr>
          <c:marker>
            <c:symbol val="none"/>
          </c:marker>
          <c:xVal>
            <c:numRef>
              <c:f>Sheet1!$A$110:$A$111</c:f>
              <c:numCache>
                <c:formatCode>General</c:formatCode>
                <c:ptCount val="2"/>
                <c:pt idx="0">
                  <c:v>0</c:v>
                </c:pt>
                <c:pt idx="1">
                  <c:v>-1656.263620388509</c:v>
                </c:pt>
              </c:numCache>
            </c:numRef>
          </c:xVal>
          <c:yVal>
            <c:numRef>
              <c:f>Sheet1!$B$110:$B$111</c:f>
              <c:numCache>
                <c:formatCode>General</c:formatCode>
                <c:ptCount val="2"/>
                <c:pt idx="0">
                  <c:v>0.32585980053203695</c:v>
                </c:pt>
                <c:pt idx="1">
                  <c:v>0.32585980053203695</c:v>
                </c:pt>
              </c:numCache>
            </c:numRef>
          </c:yVal>
          <c:smooth val="0"/>
          <c:extLst>
            <c:ext xmlns:c16="http://schemas.microsoft.com/office/drawing/2014/chart" uri="{C3380CC4-5D6E-409C-BE32-E72D297353CC}">
              <c16:uniqueId val="{00000003-F32D-48B7-BC20-E66FC6253BAD}"/>
            </c:ext>
          </c:extLst>
        </c:ser>
        <c:ser>
          <c:idx val="3"/>
          <c:order val="3"/>
          <c:tx>
            <c:strRef>
              <c:f>Sheet1!$B$1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1656.263620388509</c:v>
                </c:pt>
                <c:pt idx="1">
                  <c:v>-1656.263620388509</c:v>
                </c:pt>
              </c:numCache>
            </c:numRef>
          </c:xVal>
          <c:yVal>
            <c:numRef>
              <c:f>Sheet1!$B$114:$B$115</c:f>
              <c:numCache>
                <c:formatCode>General</c:formatCode>
                <c:ptCount val="2"/>
                <c:pt idx="0">
                  <c:v>0.3258598005320369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8:$A$119</c:f>
              <c:numCache>
                <c:formatCode>General</c:formatCode>
                <c:ptCount val="2"/>
                <c:pt idx="0">
                  <c:v>0</c:v>
                </c:pt>
                <c:pt idx="1">
                  <c:v>165.6706400048035</c:v>
                </c:pt>
              </c:numCache>
            </c:numRef>
          </c:xVal>
          <c:yVal>
            <c:numRef>
              <c:f>Sheet1!$B$118:$B$119</c:f>
              <c:numCache>
                <c:formatCode>General</c:formatCode>
                <c:ptCount val="2"/>
                <c:pt idx="0">
                  <c:v>0.22611345843741923</c:v>
                </c:pt>
                <c:pt idx="1">
                  <c:v>0.22611345843741923</c:v>
                </c:pt>
              </c:numCache>
            </c:numRef>
          </c:yVal>
          <c:smooth val="0"/>
          <c:extLst>
            <c:ext xmlns:c16="http://schemas.microsoft.com/office/drawing/2014/chart" uri="{C3380CC4-5D6E-409C-BE32-E72D297353CC}">
              <c16:uniqueId val="{0000000A-F32D-48B7-BC20-E66FC6253BAD}"/>
            </c:ext>
          </c:extLst>
        </c:ser>
        <c:ser>
          <c:idx val="5"/>
          <c:order val="5"/>
          <c:tx>
            <c:strRef>
              <c:f>Sheet1!$B$1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165.6706400048035</c:v>
                </c:pt>
                <c:pt idx="1">
                  <c:v>165.6706400048035</c:v>
                </c:pt>
              </c:numCache>
            </c:numRef>
          </c:xVal>
          <c:yVal>
            <c:numRef>
              <c:f>Sheet1!$B$122:$B$123</c:f>
              <c:numCache>
                <c:formatCode>General</c:formatCode>
                <c:ptCount val="2"/>
                <c:pt idx="0">
                  <c:v>0.2261134584374192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6:$A$127</c:f>
              <c:numCache>
                <c:formatCode>General</c:formatCode>
                <c:ptCount val="2"/>
                <c:pt idx="0">
                  <c:v>0</c:v>
                </c:pt>
                <c:pt idx="1">
                  <c:v>3310.874178640906</c:v>
                </c:pt>
              </c:numCache>
            </c:numRef>
          </c:xVal>
          <c:yVal>
            <c:numRef>
              <c:f>Sheet1!$B$126:$B$127</c:f>
              <c:numCache>
                <c:formatCode>General</c:formatCode>
                <c:ptCount val="2"/>
                <c:pt idx="0">
                  <c:v>0.05392143431121747</c:v>
                </c:pt>
                <c:pt idx="1">
                  <c:v>0.05392143431121747</c:v>
                </c:pt>
              </c:numCache>
            </c:numRef>
          </c:yVal>
          <c:smooth val="0"/>
          <c:extLst>
            <c:ext xmlns:c16="http://schemas.microsoft.com/office/drawing/2014/chart" uri="{C3380CC4-5D6E-409C-BE32-E72D297353CC}">
              <c16:uniqueId val="{00000011-F32D-48B7-BC20-E66FC6253BAD}"/>
            </c:ext>
          </c:extLst>
        </c:ser>
        <c:ser>
          <c:idx val="7"/>
          <c:order val="7"/>
          <c:tx>
            <c:strRef>
              <c:f>Sheet1!$B$1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0:$A$131</c:f>
              <c:numCache>
                <c:formatCode>General</c:formatCode>
                <c:ptCount val="2"/>
                <c:pt idx="0">
                  <c:v>3310.874178640906</c:v>
                </c:pt>
                <c:pt idx="1">
                  <c:v>3310.874178640906</c:v>
                </c:pt>
              </c:numCache>
            </c:numRef>
          </c:xVal>
          <c:yVal>
            <c:numRef>
              <c:f>Sheet1!$B$130:$B$131</c:f>
              <c:numCache>
                <c:formatCode>General</c:formatCode>
                <c:ptCount val="2"/>
                <c:pt idx="0">
                  <c:v>0.053921434311217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4:$A$161</c:f>
              <c:numCache>
                <c:formatCode>General</c:formatCode>
                <c:ptCount val="28"/>
                <c:pt idx="0">
                  <c:v>1165.7669</c:v>
                </c:pt>
                <c:pt idx="1">
                  <c:v>1143.5882</c:v>
                </c:pt>
                <c:pt idx="2">
                  <c:v>2284.5</c:v>
                </c:pt>
                <c:pt idx="3">
                  <c:v>5111.0</c:v>
                </c:pt>
                <c:pt idx="4">
                  <c:v>1100.5042</c:v>
                </c:pt>
                <c:pt idx="5">
                  <c:v>960.6471</c:v>
                </c:pt>
                <c:pt idx="6">
                  <c:v>4469.75</c:v>
                </c:pt>
                <c:pt idx="7">
                  <c:v>1082.3739</c:v>
                </c:pt>
                <c:pt idx="8">
                  <c:v>1037.4556</c:v>
                </c:pt>
                <c:pt idx="9">
                  <c:v>1203.175</c:v>
                </c:pt>
                <c:pt idx="10">
                  <c:v>1018.5574</c:v>
                </c:pt>
                <c:pt idx="11">
                  <c:v>1017.831</c:v>
                </c:pt>
                <c:pt idx="12">
                  <c:v>643.1667</c:v>
                </c:pt>
                <c:pt idx="13">
                  <c:v>708.5652</c:v>
                </c:pt>
                <c:pt idx="14">
                  <c:v>1224.1778</c:v>
                </c:pt>
                <c:pt idx="15">
                  <c:v>1495.7419</c:v>
                </c:pt>
                <c:pt idx="16">
                  <c:v>1634.1379</c:v>
                </c:pt>
                <c:pt idx="17">
                  <c:v>2379.0</c:v>
                </c:pt>
                <c:pt idx="18">
                  <c:v>1219.2372</c:v>
                </c:pt>
                <c:pt idx="19">
                  <c:v>1608.8571</c:v>
                </c:pt>
                <c:pt idx="20">
                  <c:v>3695.6667</c:v>
                </c:pt>
                <c:pt idx="21">
                  <c:v>1543.7857</c:v>
                </c:pt>
                <c:pt idx="22">
                  <c:v>3721.7273</c:v>
                </c:pt>
                <c:pt idx="23">
                  <c:v>694.1333</c:v>
                </c:pt>
                <c:pt idx="24">
                  <c:v>1046.025</c:v>
                </c:pt>
                <c:pt idx="25">
                  <c:v>165.6706400048035</c:v>
                </c:pt>
                <c:pt idx="26">
                  <c:v>-1656.263620388509</c:v>
                </c:pt>
                <c:pt idx="27">
                  <c:v>3310.874178640906</c:v>
                </c:pt>
              </c:numCache>
            </c:numRef>
          </c:xVal>
          <c:yVal>
            <c:numRef>
              <c:f>Sheet1!$B$134:$B$161</c:f>
              <c:numCache>
                <c:formatCode>General</c:formatCode>
                <c:ptCount val="28"/>
                <c:pt idx="0">
                  <c:v>0.1713606905436459</c:v>
                </c:pt>
                <c:pt idx="1">
                  <c:v>0.17257491887531817</c:v>
                </c:pt>
                <c:pt idx="2">
                  <c:v>0.1101128525008602</c:v>
                </c:pt>
                <c:pt idx="3">
                  <c:v>-0.04463095031317457</c:v>
                </c:pt>
                <c:pt idx="4">
                  <c:v>0.17493366007483696</c:v>
                </c:pt>
                <c:pt idx="5">
                  <c:v>0.18259048636337144</c:v>
                </c:pt>
                <c:pt idx="6">
                  <c:v>-0.00952411728487107</c:v>
                </c:pt>
                <c:pt idx="7">
                  <c:v>0.1759262486360113</c:v>
                </c:pt>
                <c:pt idx="8">
                  <c:v>0.17838541317092788</c:v>
                </c:pt>
                <c:pt idx="9">
                  <c:v>0.16931269066745708</c:v>
                </c:pt>
                <c:pt idx="10">
                  <c:v>0.17942004233573952</c:v>
                </c:pt>
                <c:pt idx="11">
                  <c:v>0.179459810918214</c:v>
                </c:pt>
                <c:pt idx="12">
                  <c:v>0.1999717438956272</c:v>
                </c:pt>
                <c:pt idx="13">
                  <c:v>0.19639133965422134</c:v>
                </c:pt>
                <c:pt idx="14">
                  <c:v>0.16816283991856532</c:v>
                </c:pt>
                <c:pt idx="15">
                  <c:v>0.1532953849241302</c:v>
                </c:pt>
                <c:pt idx="16">
                  <c:v>0.14571855020477725</c:v>
                </c:pt>
                <c:pt idx="17">
                  <c:v>0.10493921394932074</c:v>
                </c:pt>
                <c:pt idx="18">
                  <c:v>0.16843332540668948</c:v>
                </c:pt>
                <c:pt idx="19">
                  <c:v>0.14710261074968473</c:v>
                </c:pt>
                <c:pt idx="20">
                  <c:v>0.03285500655621765</c:v>
                </c:pt>
                <c:pt idx="21">
                  <c:v>0.15066510708452754</c:v>
                </c:pt>
                <c:pt idx="22">
                  <c:v>0.03142825391244783</c:v>
                </c:pt>
                <c:pt idx="23">
                  <c:v>0.19718145006916274</c:v>
                </c:pt>
                <c:pt idx="24">
                  <c:v>0.17791625996242455</c:v>
                </c:pt>
                <c:pt idx="25">
                  <c:v>0.22611345843741923</c:v>
                </c:pt>
                <c:pt idx="26">
                  <c:v>0.32585980053203695</c:v>
                </c:pt>
                <c:pt idx="27">
                  <c:v>0.0539214343112174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13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7801980198019801"/>
          <c:min val="0.000865800865800865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4</c:f>
              <c:numCache>
                <c:formatCode>General</c:formatCode>
                <c:ptCount val="73"/>
                <c:pt idx="0">
                  <c:v>1.0477574336445095</c:v>
                </c:pt>
                <c:pt idx="1">
                  <c:v>1.099277105556915</c:v>
                </c:pt>
                <c:pt idx="2">
                  <c:v>1.0257824627492733</c:v>
                </c:pt>
                <c:pt idx="3">
                  <c:v>0.9413728801106583</c:v>
                </c:pt>
                <c:pt idx="4">
                  <c:v>1.757017448344437</c:v>
                </c:pt>
                <c:pt idx="5">
                  <c:v>1.1934153081684247</c:v>
                </c:pt>
                <c:pt idx="6">
                  <c:v>0.8287269061315509</c:v>
                </c:pt>
                <c:pt idx="7">
                  <c:v>1.6641808243116656</c:v>
                </c:pt>
                <c:pt idx="8">
                  <c:v>1.0072512785219048</c:v>
                </c:pt>
                <c:pt idx="9">
                  <c:v>1.1458751706019457</c:v>
                </c:pt>
                <c:pt idx="10">
                  <c:v>0.6343757749990707</c:v>
                </c:pt>
                <c:pt idx="11">
                  <c:v>1.6956387624800613</c:v>
                </c:pt>
                <c:pt idx="12">
                  <c:v>1.086869171482843</c:v>
                </c:pt>
                <c:pt idx="13">
                  <c:v>1.4113067084904278</c:v>
                </c:pt>
                <c:pt idx="14">
                  <c:v>1.7870322699471743</c:v>
                </c:pt>
                <c:pt idx="15">
                  <c:v>0.7519120247568524</c:v>
                </c:pt>
                <c:pt idx="16">
                  <c:v>1.3243655023745746</c:v>
                </c:pt>
                <c:pt idx="17">
                  <c:v>1.0170488186983633</c:v>
                </c:pt>
                <c:pt idx="18">
                  <c:v>1.3897595080652039</c:v>
                </c:pt>
                <c:pt idx="19">
                  <c:v>1.3412049094830067</c:v>
                </c:pt>
                <c:pt idx="20">
                  <c:v>1.8396489329861516</c:v>
                </c:pt>
                <c:pt idx="21">
                  <c:v>0.8889467532041748</c:v>
                </c:pt>
                <c:pt idx="22">
                  <c:v>2.052487622337363</c:v>
                </c:pt>
                <c:pt idx="23">
                  <c:v>1.126194605062609</c:v>
                </c:pt>
                <c:pt idx="24">
                  <c:v>1.0753790985576823</c:v>
                </c:pt>
                <c:pt idx="25">
                  <c:v>0.5496604875148586</c:v>
                </c:pt>
                <c:pt idx="26">
                  <c:v>0.5635772271048359</c:v>
                </c:pt>
                <c:pt idx="27">
                  <c:v>0.5273573803663111</c:v>
                </c:pt>
                <c:pt idx="28">
                  <c:v>0.6299124873810251</c:v>
                </c:pt>
                <c:pt idx="29">
                  <c:v>0.9215516806067733</c:v>
                </c:pt>
                <c:pt idx="30">
                  <c:v>0.5660919322366602</c:v>
                </c:pt>
                <c:pt idx="31">
                  <c:v>1.7945992825369603</c:v>
                </c:pt>
                <c:pt idx="32">
                  <c:v>0.762174212073897</c:v>
                </c:pt>
                <c:pt idx="33">
                  <c:v>1.3494981096615366</c:v>
                </c:pt>
                <c:pt idx="34">
                  <c:v>0.3422459490249078</c:v>
                </c:pt>
                <c:pt idx="35">
                  <c:v>1.0600124106187283</c:v>
                </c:pt>
                <c:pt idx="36">
                  <c:v>0.8047714259715412</c:v>
                </c:pt>
                <c:pt idx="37">
                  <c:v>0.6630142363792136</c:v>
                </c:pt>
                <c:pt idx="38">
                  <c:v>0.43041486073084134</c:v>
                </c:pt>
                <c:pt idx="39">
                  <c:v>0.5238646198553645</c:v>
                </c:pt>
                <c:pt idx="40">
                  <c:v>1.5373399557585785</c:v>
                </c:pt>
                <c:pt idx="41">
                  <c:v>0.7090407804249523</c:v>
                </c:pt>
                <c:pt idx="42">
                  <c:v>0.9212741615523129</c:v>
                </c:pt>
                <c:pt idx="43">
                  <c:v>0.4890347085509436</c:v>
                </c:pt>
                <c:pt idx="44">
                  <c:v>1.2625869822485207</c:v>
                </c:pt>
                <c:pt idx="45">
                  <c:v>0.37234567901234567</c:v>
                </c:pt>
                <c:pt idx="46">
                  <c:v>0.3707140854112404</c:v>
                </c:pt>
                <c:pt idx="47">
                  <c:v>0.4174140520458145</c:v>
                </c:pt>
                <c:pt idx="48">
                  <c:v>1.7589589178335703</c:v>
                </c:pt>
                <c:pt idx="49">
                  <c:v>0.47617539547430676</c:v>
                </c:pt>
                <c:pt idx="50">
                  <c:v>2.011069509891927</c:v>
                </c:pt>
                <c:pt idx="51">
                  <c:v>0.9225887990485035</c:v>
                </c:pt>
                <c:pt idx="52">
                  <c:v>0.9976496937186361</c:v>
                </c:pt>
                <c:pt idx="53">
                  <c:v>1.7952069109778597</c:v>
                </c:pt>
                <c:pt idx="54">
                  <c:v>0.405048361332595</c:v>
                </c:pt>
                <c:pt idx="55">
                  <c:v>0.7545889797303561</c:v>
                </c:pt>
                <c:pt idx="56">
                  <c:v>0.43319215982475373</c:v>
                </c:pt>
                <c:pt idx="57">
                  <c:v>1.3751507710171837</c:v>
                </c:pt>
                <c:pt idx="58">
                  <c:v>1.2692372196325348</c:v>
                </c:pt>
                <c:pt idx="59">
                  <c:v>1.2719075116687868</c:v>
                </c:pt>
                <c:pt idx="60">
                  <c:v>0.8984045876286039</c:v>
                </c:pt>
                <c:pt idx="61">
                  <c:v>1.0479221321289884</c:v>
                </c:pt>
                <c:pt idx="62">
                  <c:v>1.4485274450021053</c:v>
                </c:pt>
                <c:pt idx="63">
                  <c:v>0.9671068062233781</c:v>
                </c:pt>
                <c:pt idx="64">
                  <c:v>0.6487357132082912</c:v>
                </c:pt>
                <c:pt idx="65">
                  <c:v>0.9992691122760696</c:v>
                </c:pt>
                <c:pt idx="66">
                  <c:v>2.154877555567196</c:v>
                </c:pt>
                <c:pt idx="67">
                  <c:v>0.8956733221492781</c:v>
                </c:pt>
                <c:pt idx="68">
                  <c:v>0.7981096785158962</c:v>
                </c:pt>
                <c:pt idx="69">
                  <c:v>0.36087842873713805</c:v>
                </c:pt>
                <c:pt idx="70">
                  <c:v>3.708530740358127</c:v>
                </c:pt>
                <c:pt idx="71">
                  <c:v>1.11085878642692</c:v>
                </c:pt>
                <c:pt idx="72">
                  <c:v>1.532355961861166</c:v>
                </c:pt>
              </c:numCache>
            </c:numRef>
          </c:xVal>
          <c:yVal>
            <c:numRef>
              <c:f>Sheet1!$B$2:$B$74</c:f>
              <c:numCache>
                <c:formatCode>General</c:formatCode>
                <c:ptCount val="73"/>
                <c:pt idx="0">
                  <c:v>0.2413793103448276</c:v>
                </c:pt>
                <c:pt idx="1">
                  <c:v>0.1430472388556221</c:v>
                </c:pt>
                <c:pt idx="2">
                  <c:v>0.16554054054054054</c:v>
                </c:pt>
                <c:pt idx="3">
                  <c:v>0.13806706114398423</c:v>
                </c:pt>
                <c:pt idx="4">
                  <c:v>0.1482889733840304</c:v>
                </c:pt>
                <c:pt idx="5">
                  <c:v>0.21818181818181817</c:v>
                </c:pt>
                <c:pt idx="6">
                  <c:v>0.7694235588972431</c:v>
                </c:pt>
                <c:pt idx="7">
                  <c:v>0.6501650165016502</c:v>
                </c:pt>
                <c:pt idx="8">
                  <c:v>0.649325626204239</c:v>
                </c:pt>
                <c:pt idx="9">
                  <c:v>0.2970430107526882</c:v>
                </c:pt>
                <c:pt idx="10">
                  <c:v>0.11469534050179211</c:v>
                </c:pt>
                <c:pt idx="11">
                  <c:v>0.5182926829268293</c:v>
                </c:pt>
                <c:pt idx="12">
                  <c:v>0.2066115702479339</c:v>
                </c:pt>
                <c:pt idx="13">
                  <c:v>0.2389937106918239</c:v>
                </c:pt>
                <c:pt idx="14">
                  <c:v>0.16</c:v>
                </c:pt>
                <c:pt idx="15">
                  <c:v>0.29156999226604796</c:v>
                </c:pt>
                <c:pt idx="16">
                  <c:v>0.5154894671623296</c:v>
                </c:pt>
                <c:pt idx="17">
                  <c:v>0.010494752623688156</c:v>
                </c:pt>
                <c:pt idx="18">
                  <c:v>0.06712962962962964</c:v>
                </c:pt>
                <c:pt idx="19">
                  <c:v>0.1746031746031746</c:v>
                </c:pt>
                <c:pt idx="20">
                  <c:v>0.34189723320158105</c:v>
                </c:pt>
                <c:pt idx="21">
                  <c:v>0.08902691511387163</c:v>
                </c:pt>
                <c:pt idx="22">
                  <c:v>0.31179321486268174</c:v>
                </c:pt>
                <c:pt idx="23">
                  <c:v>0.15097588978185994</c:v>
                </c:pt>
                <c:pt idx="24">
                  <c:v>0.38224852071005916</c:v>
                </c:pt>
                <c:pt idx="25">
                  <c:v>0.25951387183893937</c:v>
                </c:pt>
                <c:pt idx="26">
                  <c:v>0.24287974683544303</c:v>
                </c:pt>
                <c:pt idx="27">
                  <c:v>0.24372559955382042</c:v>
                </c:pt>
                <c:pt idx="28">
                  <c:v>0.35880077369439073</c:v>
                </c:pt>
                <c:pt idx="29">
                  <c:v>0.10413223140495868</c:v>
                </c:pt>
                <c:pt idx="30">
                  <c:v>0.089540412044374</c:v>
                </c:pt>
                <c:pt idx="31">
                  <c:v>0.1151012891344383</c:v>
                </c:pt>
                <c:pt idx="32">
                  <c:v>0.423956931359354</c:v>
                </c:pt>
                <c:pt idx="33">
                  <c:v>0.24022346368715083</c:v>
                </c:pt>
                <c:pt idx="34">
                  <c:v>0.343042071197411</c:v>
                </c:pt>
                <c:pt idx="35">
                  <c:v>0.2799597180261833</c:v>
                </c:pt>
                <c:pt idx="36">
                  <c:v>0.2147477360931436</c:v>
                </c:pt>
                <c:pt idx="37">
                  <c:v>0.2780487804878049</c:v>
                </c:pt>
                <c:pt idx="38">
                  <c:v>0.4039408866995074</c:v>
                </c:pt>
                <c:pt idx="39">
                  <c:v>0.2831050228310502</c:v>
                </c:pt>
                <c:pt idx="40">
                  <c:v>0.2695852534562212</c:v>
                </c:pt>
                <c:pt idx="41">
                  <c:v>0.3589420654911839</c:v>
                </c:pt>
                <c:pt idx="42">
                  <c:v>0.4157608695652174</c:v>
                </c:pt>
                <c:pt idx="43">
                  <c:v>0.2259663032705649</c:v>
                </c:pt>
                <c:pt idx="44">
                  <c:v>0.37530864197530867</c:v>
                </c:pt>
                <c:pt idx="45">
                  <c:v>0.022304832713754646</c:v>
                </c:pt>
                <c:pt idx="46">
                  <c:v>0.030560271646859084</c:v>
                </c:pt>
                <c:pt idx="47">
                  <c:v>0.13434903047091412</c:v>
                </c:pt>
                <c:pt idx="48">
                  <c:v>0.16522988505747127</c:v>
                </c:pt>
                <c:pt idx="49">
                  <c:v>0.2858517805582291</c:v>
                </c:pt>
                <c:pt idx="50">
                  <c:v>0.24726477024070023</c:v>
                </c:pt>
                <c:pt idx="51">
                  <c:v>0.32666666666666666</c:v>
                </c:pt>
                <c:pt idx="52">
                  <c:v>0.2152777777777778</c:v>
                </c:pt>
                <c:pt idx="53">
                  <c:v>0.10755148741418764</c:v>
                </c:pt>
                <c:pt idx="54">
                  <c:v>0.30025445292620867</c:v>
                </c:pt>
                <c:pt idx="55">
                  <c:v>0.5105708245243129</c:v>
                </c:pt>
                <c:pt idx="56">
                  <c:v>0.14053254437869822</c:v>
                </c:pt>
                <c:pt idx="57">
                  <c:v>0.2050561797752809</c:v>
                </c:pt>
                <c:pt idx="58">
                  <c:v>0.24172185430463577</c:v>
                </c:pt>
                <c:pt idx="59">
                  <c:v>0.42153846153846153</c:v>
                </c:pt>
                <c:pt idx="60">
                  <c:v>0.05714285714285714</c:v>
                </c:pt>
                <c:pt idx="61">
                  <c:v>0.3397129186602871</c:v>
                </c:pt>
                <c:pt idx="62">
                  <c:v>0.00906344410876133</c:v>
                </c:pt>
                <c:pt idx="63">
                  <c:v>0.1324200913242009</c:v>
                </c:pt>
                <c:pt idx="64">
                  <c:v>0.028534370946822308</c:v>
                </c:pt>
                <c:pt idx="65">
                  <c:v>0.02027027027027027</c:v>
                </c:pt>
                <c:pt idx="66">
                  <c:v>0.011378002528445006</c:v>
                </c:pt>
                <c:pt idx="67">
                  <c:v>0.10739030023094688</c:v>
                </c:pt>
                <c:pt idx="68">
                  <c:v>0.11001517450682853</c:v>
                </c:pt>
                <c:pt idx="69">
                  <c:v>0.03986710963455149</c:v>
                </c:pt>
                <c:pt idx="70">
                  <c:v>0.003194888178913738</c:v>
                </c:pt>
                <c:pt idx="71">
                  <c:v>0.04801670146137787</c:v>
                </c:pt>
                <c:pt idx="72">
                  <c:v>0.005063291139240506</c:v>
                </c:pt>
              </c:numCache>
            </c:numRef>
          </c:yVal>
          <c:smooth val="0"/>
          <c:extLst>
            <c:ext xmlns:c16="http://schemas.microsoft.com/office/drawing/2014/chart" uri="{C3380CC4-5D6E-409C-BE32-E72D297353CC}">
              <c16:uniqueId val="{00000000-096C-4121-9522-6AB7243CCAAE}"/>
            </c:ext>
          </c:extLst>
        </c:ser>
        <c:ser>
          <c:idx val="1"/>
          <c:order val="1"/>
          <c:tx>
            <c:strRef>
              <c:f>Sheet1!$B$7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7:$A$103</c:f>
              <c:numCache>
                <c:formatCode>General</c:formatCode>
                <c:ptCount val="27"/>
                <c:pt idx="0">
                  <c:v>0.8882680521339308</c:v>
                </c:pt>
                <c:pt idx="1">
                  <c:v>1.049762139583454</c:v>
                </c:pt>
                <c:pt idx="2">
                  <c:v>1.8126852259607944</c:v>
                </c:pt>
                <c:pt idx="3">
                  <c:v>4.592683103697681</c:v>
                </c:pt>
                <c:pt idx="4">
                  <c:v>1.0222427278923785</c:v>
                </c:pt>
                <c:pt idx="5">
                  <c:v>0.982916749928096</c:v>
                </c:pt>
                <c:pt idx="6">
                  <c:v>5.277242513718351</c:v>
                </c:pt>
                <c:pt idx="7">
                  <c:v>0.7578124513184428</c:v>
                </c:pt>
                <c:pt idx="8">
                  <c:v>1.073034083813599</c:v>
                </c:pt>
                <c:pt idx="9">
                  <c:v>1.0315731208230259</c:v>
                </c:pt>
                <c:pt idx="10">
                  <c:v>0.6031062990592072</c:v>
                </c:pt>
                <c:pt idx="11">
                  <c:v>0.7495336360832678</c:v>
                </c:pt>
                <c:pt idx="12">
                  <c:v>0.6437798359157262</c:v>
                </c:pt>
                <c:pt idx="13">
                  <c:v>0.5351835510666545</c:v>
                </c:pt>
                <c:pt idx="14">
                  <c:v>0.8732136671758722</c:v>
                </c:pt>
                <c:pt idx="15">
                  <c:v>1.4129874632403996</c:v>
                </c:pt>
                <c:pt idx="16">
                  <c:v>1.3880456038979554</c:v>
                </c:pt>
                <c:pt idx="17">
                  <c:v>1.730780605333787</c:v>
                </c:pt>
                <c:pt idx="18">
                  <c:v>0.9253264879072199</c:v>
                </c:pt>
                <c:pt idx="19">
                  <c:v>7.158571429207505</c:v>
                </c:pt>
                <c:pt idx="20">
                  <c:v>1.447741691303258</c:v>
                </c:pt>
                <c:pt idx="21">
                  <c:v>1.697802803547962</c:v>
                </c:pt>
                <c:pt idx="22">
                  <c:v>3.0609131935020297</c:v>
                </c:pt>
                <c:pt idx="23">
                  <c:v>1.8544881238624065</c:v>
                </c:pt>
                <c:pt idx="24">
                  <c:v>3.407911163658933</c:v>
                </c:pt>
                <c:pt idx="25">
                  <c:v>0.5983778797870735</c:v>
                </c:pt>
                <c:pt idx="26">
                  <c:v>0.8665683916543672</c:v>
                </c:pt>
              </c:numCache>
            </c:numRef>
          </c:xVal>
          <c:yVal>
            <c:numRef>
              <c:f>Sheet1!$B$77:$B$103</c:f>
              <c:numCache>
                <c:formatCode>General</c:formatCode>
                <c:ptCount val="27"/>
                <c:pt idx="0">
                  <c:v>0.1543560606060606</c:v>
                </c:pt>
                <c:pt idx="1">
                  <c:v>0.02135678391959799</c:v>
                </c:pt>
                <c:pt idx="2">
                  <c:v>0.012688342585249802</c:v>
                </c:pt>
                <c:pt idx="3">
                  <c:v>0.0010822510822510823</c:v>
                </c:pt>
                <c:pt idx="4">
                  <c:v>0.25813449023861174</c:v>
                </c:pt>
                <c:pt idx="5">
                  <c:v>0.18888888888888888</c:v>
                </c:pt>
                <c:pt idx="6">
                  <c:v>0.02531645569620253</c:v>
                </c:pt>
                <c:pt idx="7">
                  <c:v>0.28117359413202936</c:v>
                </c:pt>
                <c:pt idx="8">
                  <c:v>0.582312925170068</c:v>
                </c:pt>
                <c:pt idx="9">
                  <c:v>0.121765601217656</c:v>
                </c:pt>
                <c:pt idx="10">
                  <c:v>0.2982885085574572</c:v>
                </c:pt>
                <c:pt idx="11">
                  <c:v>0.544766708701135</c:v>
                </c:pt>
                <c:pt idx="12">
                  <c:v>0.00949367088607595</c:v>
                </c:pt>
                <c:pt idx="13">
                  <c:v>0.04572564612326044</c:v>
                </c:pt>
                <c:pt idx="14">
                  <c:v>0.10948905109489052</c:v>
                </c:pt>
                <c:pt idx="15">
                  <c:v>0.04200542005420054</c:v>
                </c:pt>
                <c:pt idx="16">
                  <c:v>0.2049469964664311</c:v>
                </c:pt>
                <c:pt idx="17">
                  <c:v>0.006430868167202572</c:v>
                </c:pt>
                <c:pt idx="18">
                  <c:v>0.2948960302457467</c:v>
                </c:pt>
                <c:pt idx="19">
                  <c:v>0.008368200836820083</c:v>
                </c:pt>
                <c:pt idx="20">
                  <c:v>0.0412573673870334</c:v>
                </c:pt>
                <c:pt idx="21">
                  <c:v>0.006289308176100629</c:v>
                </c:pt>
                <c:pt idx="22">
                  <c:v>0.004746835443037975</c:v>
                </c:pt>
                <c:pt idx="23">
                  <c:v>0.025547445255474453</c:v>
                </c:pt>
                <c:pt idx="24">
                  <c:v>0.03206997084548105</c:v>
                </c:pt>
                <c:pt idx="25">
                  <c:v>0.05190311418685121</c:v>
                </c:pt>
                <c:pt idx="26">
                  <c:v>0.1553398058252427</c:v>
                </c:pt>
              </c:numCache>
            </c:numRef>
          </c:yVal>
          <c:smooth val="0"/>
          <c:extLst>
            <c:ext xmlns:c16="http://schemas.microsoft.com/office/drawing/2014/chart" uri="{C3380CC4-5D6E-409C-BE32-E72D297353CC}">
              <c16:uniqueId val="{00000002-096C-4121-9522-6AB7243CCAAE}"/>
            </c:ext>
          </c:extLst>
        </c:ser>
        <c:ser>
          <c:idx val="2"/>
          <c:order val="2"/>
          <c:tx>
            <c:strRef>
              <c:f>Sheet1!$B$10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6:$A$107</c:f>
              <c:numCache>
                <c:formatCode>General</c:formatCode>
                <c:ptCount val="2"/>
                <c:pt idx="0">
                  <c:v>0</c:v>
                </c:pt>
                <c:pt idx="1">
                  <c:v>-8.050149974611656</c:v>
                </c:pt>
              </c:numCache>
            </c:numRef>
          </c:xVal>
          <c:yVal>
            <c:numRef>
              <c:f>Sheet1!$B$106:$B$107</c:f>
              <c:numCache>
                <c:formatCode>General</c:formatCode>
                <c:ptCount val="2"/>
                <c:pt idx="0">
                  <c:v>0.5168278061075278</c:v>
                </c:pt>
                <c:pt idx="1">
                  <c:v>0.5168278061075278</c:v>
                </c:pt>
              </c:numCache>
            </c:numRef>
          </c:yVal>
          <c:smooth val="0"/>
          <c:extLst>
            <c:ext xmlns:c16="http://schemas.microsoft.com/office/drawing/2014/chart" uri="{C3380CC4-5D6E-409C-BE32-E72D297353CC}">
              <c16:uniqueId val="{00000005-096C-4121-9522-6AB7243CCAAE}"/>
            </c:ext>
          </c:extLst>
        </c:ser>
        <c:ser>
          <c:idx val="3"/>
          <c:order val="3"/>
          <c:tx>
            <c:strRef>
              <c:f>Sheet1!$B$10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0:$A$111</c:f>
              <c:numCache>
                <c:formatCode>General</c:formatCode>
                <c:ptCount val="2"/>
                <c:pt idx="0">
                  <c:v>-8.050149974611656</c:v>
                </c:pt>
                <c:pt idx="1">
                  <c:v>-8.050149974611656</c:v>
                </c:pt>
              </c:numCache>
            </c:numRef>
          </c:xVal>
          <c:yVal>
            <c:numRef>
              <c:f>Sheet1!$B$110:$B$111</c:f>
              <c:numCache>
                <c:formatCode>General</c:formatCode>
                <c:ptCount val="2"/>
                <c:pt idx="0">
                  <c:v>0.516827806107527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4:$A$115</c:f>
              <c:numCache>
                <c:formatCode>General</c:formatCode>
                <c:ptCount val="2"/>
                <c:pt idx="0">
                  <c:v>0</c:v>
                </c:pt>
                <c:pt idx="1">
                  <c:v>-0.666464058656156</c:v>
                </c:pt>
              </c:numCache>
            </c:numRef>
          </c:xVal>
          <c:yVal>
            <c:numRef>
              <c:f>Sheet1!$B$114:$B$115</c:f>
              <c:numCache>
                <c:formatCode>General</c:formatCode>
                <c:ptCount val="2"/>
                <c:pt idx="0">
                  <c:v>0.22611345843741923</c:v>
                </c:pt>
                <c:pt idx="1">
                  <c:v>0.22611345843741923</c:v>
                </c:pt>
              </c:numCache>
            </c:numRef>
          </c:yVal>
          <c:smooth val="0"/>
          <c:extLst>
            <c:ext xmlns:c16="http://schemas.microsoft.com/office/drawing/2014/chart" uri="{C3380CC4-5D6E-409C-BE32-E72D297353CC}">
              <c16:uniqueId val="{0000000D-096C-4121-9522-6AB7243CCAAE}"/>
            </c:ext>
          </c:extLst>
        </c:ser>
        <c:ser>
          <c:idx val="5"/>
          <c:order val="5"/>
          <c:tx>
            <c:strRef>
              <c:f>Sheet1!$B$11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8:$A$119</c:f>
              <c:numCache>
                <c:formatCode>General</c:formatCode>
                <c:ptCount val="2"/>
                <c:pt idx="0">
                  <c:v>-0.666464058656156</c:v>
                </c:pt>
                <c:pt idx="1">
                  <c:v>-0.666464058656156</c:v>
                </c:pt>
              </c:numCache>
            </c:numRef>
          </c:xVal>
          <c:yVal>
            <c:numRef>
              <c:f>Sheet1!$B$118:$B$119</c:f>
              <c:numCache>
                <c:formatCode>General</c:formatCode>
                <c:ptCount val="2"/>
                <c:pt idx="0">
                  <c:v>0.2261134584374192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2:$A$123</c:f>
              <c:numCache>
                <c:formatCode>General</c:formatCode>
                <c:ptCount val="2"/>
                <c:pt idx="0">
                  <c:v>0</c:v>
                </c:pt>
                <c:pt idx="1">
                  <c:v>3.908571919174508</c:v>
                </c:pt>
              </c:numCache>
            </c:numRef>
          </c:xVal>
          <c:yVal>
            <c:numRef>
              <c:f>Sheet1!$B$122:$B$123</c:f>
              <c:numCache>
                <c:formatCode>General</c:formatCode>
                <c:ptCount val="2"/>
                <c:pt idx="0">
                  <c:v>0.045982746622031334</c:v>
                </c:pt>
                <c:pt idx="1">
                  <c:v>0.045982746622031334</c:v>
                </c:pt>
              </c:numCache>
            </c:numRef>
          </c:yVal>
          <c:smooth val="0"/>
          <c:extLst>
            <c:ext xmlns:c16="http://schemas.microsoft.com/office/drawing/2014/chart" uri="{C3380CC4-5D6E-409C-BE32-E72D297353CC}">
              <c16:uniqueId val="{00000015-096C-4121-9522-6AB7243CCAAE}"/>
            </c:ext>
          </c:extLst>
        </c:ser>
        <c:ser>
          <c:idx val="7"/>
          <c:order val="7"/>
          <c:tx>
            <c:strRef>
              <c:f>Sheet1!$B$12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3.908571919174508</c:v>
                </c:pt>
                <c:pt idx="1">
                  <c:v>3.908571919174508</c:v>
                </c:pt>
              </c:numCache>
            </c:numRef>
          </c:xVal>
          <c:yVal>
            <c:numRef>
              <c:f>Sheet1!$B$126:$B$127</c:f>
              <c:numCache>
                <c:formatCode>General</c:formatCode>
                <c:ptCount val="2"/>
                <c:pt idx="0">
                  <c:v>0.04598274662203133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0:$A$159</c:f>
              <c:numCache>
                <c:formatCode>General</c:formatCode>
                <c:ptCount val="30"/>
                <c:pt idx="0">
                  <c:v>0.8882680521339308</c:v>
                </c:pt>
                <c:pt idx="1">
                  <c:v>1.049762139583454</c:v>
                </c:pt>
                <c:pt idx="2">
                  <c:v>1.8126852259607944</c:v>
                </c:pt>
                <c:pt idx="3">
                  <c:v>4.592683103697681</c:v>
                </c:pt>
                <c:pt idx="4">
                  <c:v>1.0222427278923785</c:v>
                </c:pt>
                <c:pt idx="5">
                  <c:v>0.982916749928096</c:v>
                </c:pt>
                <c:pt idx="6">
                  <c:v>5.277242513718351</c:v>
                </c:pt>
                <c:pt idx="7">
                  <c:v>0.7578124513184428</c:v>
                </c:pt>
                <c:pt idx="8">
                  <c:v>1.073034083813599</c:v>
                </c:pt>
                <c:pt idx="9">
                  <c:v>1.0315731208230259</c:v>
                </c:pt>
                <c:pt idx="10">
                  <c:v>0.6031062990592072</c:v>
                </c:pt>
                <c:pt idx="11">
                  <c:v>0.7495336360832678</c:v>
                </c:pt>
                <c:pt idx="12">
                  <c:v>0.6437798359157262</c:v>
                </c:pt>
                <c:pt idx="13">
                  <c:v>0.5351835510666545</c:v>
                </c:pt>
                <c:pt idx="14">
                  <c:v>0.8732136671758722</c:v>
                </c:pt>
                <c:pt idx="15">
                  <c:v>1.4129874632403996</c:v>
                </c:pt>
                <c:pt idx="16">
                  <c:v>1.3880456038979554</c:v>
                </c:pt>
                <c:pt idx="17">
                  <c:v>1.730780605333787</c:v>
                </c:pt>
                <c:pt idx="18">
                  <c:v>0.9253264879072199</c:v>
                </c:pt>
                <c:pt idx="19">
                  <c:v>7.158571429207505</c:v>
                </c:pt>
                <c:pt idx="20">
                  <c:v>1.447741691303258</c:v>
                </c:pt>
                <c:pt idx="21">
                  <c:v>1.697802803547962</c:v>
                </c:pt>
                <c:pt idx="22">
                  <c:v>3.0609131935020297</c:v>
                </c:pt>
                <c:pt idx="23">
                  <c:v>1.8544881238624065</c:v>
                </c:pt>
                <c:pt idx="24">
                  <c:v>3.407911163658933</c:v>
                </c:pt>
                <c:pt idx="25">
                  <c:v>0.5983778797870735</c:v>
                </c:pt>
                <c:pt idx="26">
                  <c:v>0.8665683916543672</c:v>
                </c:pt>
                <c:pt idx="27">
                  <c:v>-0.666464058656156</c:v>
                </c:pt>
                <c:pt idx="28">
                  <c:v>-8.050149974611656</c:v>
                </c:pt>
                <c:pt idx="29">
                  <c:v>3.908571919174508</c:v>
                </c:pt>
              </c:numCache>
            </c:numRef>
          </c:xVal>
          <c:yVal>
            <c:numRef>
              <c:f>Sheet1!$B$130:$B$159</c:f>
              <c:numCache>
                <c:formatCode>General</c:formatCode>
                <c:ptCount val="30"/>
                <c:pt idx="0">
                  <c:v>0.16489973177910955</c:v>
                </c:pt>
                <c:pt idx="1">
                  <c:v>0.15854130201654126</c:v>
                </c:pt>
                <c:pt idx="2">
                  <c:v>0.128503094825282</c:v>
                </c:pt>
                <c:pt idx="3">
                  <c:v>0.019047562893168335</c:v>
                </c:pt>
                <c:pt idx="4">
                  <c:v>0.15962481070164775</c:v>
                </c:pt>
                <c:pt idx="5">
                  <c:v>0.161173173695484</c:v>
                </c:pt>
                <c:pt idx="6">
                  <c:v>-0.007905268604654098</c:v>
                </c:pt>
                <c:pt idx="7">
                  <c:v>0.17003609799547764</c:v>
                </c:pt>
                <c:pt idx="8">
                  <c:v>0.1576250268441017</c:v>
                </c:pt>
                <c:pt idx="9">
                  <c:v>0.15925744958618135</c:v>
                </c:pt>
                <c:pt idx="10">
                  <c:v>0.17612726961985678</c:v>
                </c:pt>
                <c:pt idx="11">
                  <c:v>0.17036205584335606</c:v>
                </c:pt>
                <c:pt idx="12">
                  <c:v>0.1745258498317903</c:v>
                </c:pt>
                <c:pt idx="13">
                  <c:v>0.17880155961531102</c:v>
                </c:pt>
                <c:pt idx="14">
                  <c:v>0.16549246090552044</c:v>
                </c:pt>
                <c:pt idx="15">
                  <c:v>0.14424020440403154</c:v>
                </c:pt>
                <c:pt idx="16">
                  <c:v>0.1452222283485698</c:v>
                </c:pt>
                <c:pt idx="17">
                  <c:v>0.13172788643041988</c:v>
                </c:pt>
                <c:pt idx="18">
                  <c:v>0.16344064764360672</c:v>
                </c:pt>
                <c:pt idx="19">
                  <c:v>-0.08197793564991343</c:v>
                </c:pt>
                <c:pt idx="20">
                  <c:v>0.14287184274088993</c:v>
                </c:pt>
                <c:pt idx="21">
                  <c:v>0.1330263057081201</c:v>
                </c:pt>
                <c:pt idx="22">
                  <c:v>0.07935720976763233</c:v>
                </c:pt>
                <c:pt idx="23">
                  <c:v>0.1268572092428622</c:v>
                </c:pt>
                <c:pt idx="24">
                  <c:v>0.06569502401308541</c:v>
                </c:pt>
                <c:pt idx="25">
                  <c:v>0.1763134394190405</c:v>
                </c:pt>
                <c:pt idx="26">
                  <c:v>0.16575410217253964</c:v>
                </c:pt>
                <c:pt idx="27">
                  <c:v>0.22611345843741923</c:v>
                </c:pt>
                <c:pt idx="28">
                  <c:v>0.5168278061075278</c:v>
                </c:pt>
                <c:pt idx="29">
                  <c:v>0.04598274662203133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33082706766917"/>
          <c:min val="0.000865800865800865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4</c:f>
              <c:numCache>
                <c:formatCode>General</c:formatCode>
                <c:ptCount val="73"/>
                <c:pt idx="0">
                  <c:v>889.3714</c:v>
                </c:pt>
                <c:pt idx="1">
                  <c:v>1031.2512</c:v>
                </c:pt>
                <c:pt idx="2">
                  <c:v>1029.7347</c:v>
                </c:pt>
                <c:pt idx="3">
                  <c:v>887.9286</c:v>
                </c:pt>
                <c:pt idx="4">
                  <c:v>979.4615</c:v>
                </c:pt>
                <c:pt idx="5">
                  <c:v>1368.9667</c:v>
                </c:pt>
                <c:pt idx="6">
                  <c:v>1047.1107</c:v>
                </c:pt>
                <c:pt idx="7">
                  <c:v>1931.6701</c:v>
                </c:pt>
                <c:pt idx="8">
                  <c:v>1323.9199</c:v>
                </c:pt>
                <c:pt idx="9">
                  <c:v>1071.4751</c:v>
                </c:pt>
                <c:pt idx="10">
                  <c:v>832.875</c:v>
                </c:pt>
                <c:pt idx="11">
                  <c:v>1764.0059</c:v>
                </c:pt>
                <c:pt idx="12">
                  <c:v>994.06</c:v>
                </c:pt>
                <c:pt idx="13">
                  <c:v>1396.1974</c:v>
                </c:pt>
                <c:pt idx="14">
                  <c:v>1327.3125</c:v>
                </c:pt>
                <c:pt idx="15">
                  <c:v>850.4125</c:v>
                </c:pt>
                <c:pt idx="16">
                  <c:v>1204.9423</c:v>
                </c:pt>
                <c:pt idx="17">
                  <c:v>1184.7143</c:v>
                </c:pt>
                <c:pt idx="18">
                  <c:v>1767.8276</c:v>
                </c:pt>
                <c:pt idx="19">
                  <c:v>1173.697</c:v>
                </c:pt>
                <c:pt idx="20">
                  <c:v>1768.9538</c:v>
                </c:pt>
                <c:pt idx="21">
                  <c:v>821.5581</c:v>
                </c:pt>
                <c:pt idx="22">
                  <c:v>1782.5855</c:v>
                </c:pt>
                <c:pt idx="23">
                  <c:v>1126.4373</c:v>
                </c:pt>
                <c:pt idx="24">
                  <c:v>1028.9752</c:v>
                </c:pt>
                <c:pt idx="25">
                  <c:v>708.1779</c:v>
                </c:pt>
                <c:pt idx="26">
                  <c:v>634.3583</c:v>
                </c:pt>
                <c:pt idx="27">
                  <c:v>940.119</c:v>
                </c:pt>
                <c:pt idx="28">
                  <c:v>558.3315</c:v>
                </c:pt>
                <c:pt idx="29">
                  <c:v>1007.3968</c:v>
                </c:pt>
                <c:pt idx="30">
                  <c:v>492.7965</c:v>
                </c:pt>
                <c:pt idx="31">
                  <c:v>1871.432</c:v>
                </c:pt>
                <c:pt idx="32">
                  <c:v>791.4635</c:v>
                </c:pt>
                <c:pt idx="33">
                  <c:v>1201.3023</c:v>
                </c:pt>
                <c:pt idx="34">
                  <c:v>504.3491</c:v>
                </c:pt>
                <c:pt idx="35">
                  <c:v>986.6763</c:v>
                </c:pt>
                <c:pt idx="36">
                  <c:v>1145.3012</c:v>
                </c:pt>
                <c:pt idx="37">
                  <c:v>786.7193</c:v>
                </c:pt>
                <c:pt idx="38">
                  <c:v>514.5122</c:v>
                </c:pt>
                <c:pt idx="39">
                  <c:v>531.871</c:v>
                </c:pt>
                <c:pt idx="40">
                  <c:v>1616.7265</c:v>
                </c:pt>
                <c:pt idx="41">
                  <c:v>613.6877</c:v>
                </c:pt>
                <c:pt idx="42">
                  <c:v>1147.415</c:v>
                </c:pt>
                <c:pt idx="43">
                  <c:v>545.0351</c:v>
                </c:pt>
                <c:pt idx="44">
                  <c:v>960.1974</c:v>
                </c:pt>
                <c:pt idx="45">
                  <c:v>565.5</c:v>
                </c:pt>
                <c:pt idx="46">
                  <c:v>518.6111</c:v>
                </c:pt>
                <c:pt idx="47">
                  <c:v>497.134</c:v>
                </c:pt>
                <c:pt idx="48">
                  <c:v>1929.1739</c:v>
                </c:pt>
                <c:pt idx="49">
                  <c:v>1167.8283</c:v>
                </c:pt>
                <c:pt idx="50">
                  <c:v>1918.1947</c:v>
                </c:pt>
                <c:pt idx="51">
                  <c:v>787.7959</c:v>
                </c:pt>
                <c:pt idx="52">
                  <c:v>850.2688</c:v>
                </c:pt>
                <c:pt idx="53">
                  <c:v>1630.1809</c:v>
                </c:pt>
                <c:pt idx="54">
                  <c:v>823.5212</c:v>
                </c:pt>
                <c:pt idx="55">
                  <c:v>916.5197</c:v>
                </c:pt>
                <c:pt idx="56">
                  <c:v>500.1158</c:v>
                </c:pt>
                <c:pt idx="57">
                  <c:v>1219.3356</c:v>
                </c:pt>
                <c:pt idx="58">
                  <c:v>1167.7466</c:v>
                </c:pt>
                <c:pt idx="59">
                  <c:v>1162.7664</c:v>
                </c:pt>
                <c:pt idx="60">
                  <c:v>1095.5</c:v>
                </c:pt>
                <c:pt idx="61">
                  <c:v>1166.1901</c:v>
                </c:pt>
                <c:pt idx="62">
                  <c:v>1692.3333</c:v>
                </c:pt>
                <c:pt idx="63">
                  <c:v>1121.1293</c:v>
                </c:pt>
                <c:pt idx="64">
                  <c:v>738.4545</c:v>
                </c:pt>
                <c:pt idx="65">
                  <c:v>1061.0833</c:v>
                </c:pt>
                <c:pt idx="66">
                  <c:v>2225.5556</c:v>
                </c:pt>
                <c:pt idx="67">
                  <c:v>923.6452</c:v>
                </c:pt>
                <c:pt idx="68">
                  <c:v>1018.5103</c:v>
                </c:pt>
                <c:pt idx="69">
                  <c:v>504.7778</c:v>
                </c:pt>
                <c:pt idx="70">
                  <c:v>3820.3333</c:v>
                </c:pt>
                <c:pt idx="71">
                  <c:v>1922.1304</c:v>
                </c:pt>
                <c:pt idx="72">
                  <c:v>1730.0</c:v>
                </c:pt>
              </c:numCache>
            </c:numRef>
          </c:xVal>
          <c:yVal>
            <c:numRef>
              <c:f>Sheet1!$B$2:$B$74</c:f>
              <c:numCache>
                <c:formatCode>General</c:formatCode>
                <c:ptCount val="73"/>
                <c:pt idx="0">
                  <c:v>0.2413793103448276</c:v>
                </c:pt>
                <c:pt idx="1">
                  <c:v>0.1430472388556221</c:v>
                </c:pt>
                <c:pt idx="2">
                  <c:v>0.16554054054054054</c:v>
                </c:pt>
                <c:pt idx="3">
                  <c:v>0.13806706114398423</c:v>
                </c:pt>
                <c:pt idx="4">
                  <c:v>0.1482889733840304</c:v>
                </c:pt>
                <c:pt idx="5">
                  <c:v>0.21818181818181817</c:v>
                </c:pt>
                <c:pt idx="6">
                  <c:v>0.7694235588972431</c:v>
                </c:pt>
                <c:pt idx="7">
                  <c:v>0.6501650165016502</c:v>
                </c:pt>
                <c:pt idx="8">
                  <c:v>0.649325626204239</c:v>
                </c:pt>
                <c:pt idx="9">
                  <c:v>0.2970430107526882</c:v>
                </c:pt>
                <c:pt idx="10">
                  <c:v>0.11469534050179211</c:v>
                </c:pt>
                <c:pt idx="11">
                  <c:v>0.5182926829268293</c:v>
                </c:pt>
                <c:pt idx="12">
                  <c:v>0.2066115702479339</c:v>
                </c:pt>
                <c:pt idx="13">
                  <c:v>0.2389937106918239</c:v>
                </c:pt>
                <c:pt idx="14">
                  <c:v>0.16</c:v>
                </c:pt>
                <c:pt idx="15">
                  <c:v>0.29156999226604796</c:v>
                </c:pt>
                <c:pt idx="16">
                  <c:v>0.5154894671623296</c:v>
                </c:pt>
                <c:pt idx="17">
                  <c:v>0.010494752623688156</c:v>
                </c:pt>
                <c:pt idx="18">
                  <c:v>0.06712962962962964</c:v>
                </c:pt>
                <c:pt idx="19">
                  <c:v>0.1746031746031746</c:v>
                </c:pt>
                <c:pt idx="20">
                  <c:v>0.34189723320158105</c:v>
                </c:pt>
                <c:pt idx="21">
                  <c:v>0.08902691511387163</c:v>
                </c:pt>
                <c:pt idx="22">
                  <c:v>0.31179321486268174</c:v>
                </c:pt>
                <c:pt idx="23">
                  <c:v>0.15097588978185994</c:v>
                </c:pt>
                <c:pt idx="24">
                  <c:v>0.38224852071005916</c:v>
                </c:pt>
                <c:pt idx="25">
                  <c:v>0.25951387183893937</c:v>
                </c:pt>
                <c:pt idx="26">
                  <c:v>0.24287974683544303</c:v>
                </c:pt>
                <c:pt idx="27">
                  <c:v>0.24372559955382042</c:v>
                </c:pt>
                <c:pt idx="28">
                  <c:v>0.35880077369439073</c:v>
                </c:pt>
                <c:pt idx="29">
                  <c:v>0.10413223140495868</c:v>
                </c:pt>
                <c:pt idx="30">
                  <c:v>0.089540412044374</c:v>
                </c:pt>
                <c:pt idx="31">
                  <c:v>0.1151012891344383</c:v>
                </c:pt>
                <c:pt idx="32">
                  <c:v>0.423956931359354</c:v>
                </c:pt>
                <c:pt idx="33">
                  <c:v>0.24022346368715083</c:v>
                </c:pt>
                <c:pt idx="34">
                  <c:v>0.343042071197411</c:v>
                </c:pt>
                <c:pt idx="35">
                  <c:v>0.2799597180261833</c:v>
                </c:pt>
                <c:pt idx="36">
                  <c:v>0.2147477360931436</c:v>
                </c:pt>
                <c:pt idx="37">
                  <c:v>0.2780487804878049</c:v>
                </c:pt>
                <c:pt idx="38">
                  <c:v>0.4039408866995074</c:v>
                </c:pt>
                <c:pt idx="39">
                  <c:v>0.2831050228310502</c:v>
                </c:pt>
                <c:pt idx="40">
                  <c:v>0.2695852534562212</c:v>
                </c:pt>
                <c:pt idx="41">
                  <c:v>0.3589420654911839</c:v>
                </c:pt>
                <c:pt idx="42">
                  <c:v>0.4157608695652174</c:v>
                </c:pt>
                <c:pt idx="43">
                  <c:v>0.2259663032705649</c:v>
                </c:pt>
                <c:pt idx="44">
                  <c:v>0.37530864197530867</c:v>
                </c:pt>
                <c:pt idx="45">
                  <c:v>0.022304832713754646</c:v>
                </c:pt>
                <c:pt idx="46">
                  <c:v>0.030560271646859084</c:v>
                </c:pt>
                <c:pt idx="47">
                  <c:v>0.13434903047091412</c:v>
                </c:pt>
                <c:pt idx="48">
                  <c:v>0.16522988505747127</c:v>
                </c:pt>
                <c:pt idx="49">
                  <c:v>0.2858517805582291</c:v>
                </c:pt>
                <c:pt idx="50">
                  <c:v>0.24726477024070023</c:v>
                </c:pt>
                <c:pt idx="51">
                  <c:v>0.32666666666666666</c:v>
                </c:pt>
                <c:pt idx="52">
                  <c:v>0.2152777777777778</c:v>
                </c:pt>
                <c:pt idx="53">
                  <c:v>0.10755148741418764</c:v>
                </c:pt>
                <c:pt idx="54">
                  <c:v>0.30025445292620867</c:v>
                </c:pt>
                <c:pt idx="55">
                  <c:v>0.5105708245243129</c:v>
                </c:pt>
                <c:pt idx="56">
                  <c:v>0.14053254437869822</c:v>
                </c:pt>
                <c:pt idx="57">
                  <c:v>0.2050561797752809</c:v>
                </c:pt>
                <c:pt idx="58">
                  <c:v>0.24172185430463577</c:v>
                </c:pt>
                <c:pt idx="59">
                  <c:v>0.42153846153846153</c:v>
                </c:pt>
                <c:pt idx="60">
                  <c:v>0.05714285714285714</c:v>
                </c:pt>
                <c:pt idx="61">
                  <c:v>0.3397129186602871</c:v>
                </c:pt>
                <c:pt idx="62">
                  <c:v>0.00906344410876133</c:v>
                </c:pt>
                <c:pt idx="63">
                  <c:v>0.1324200913242009</c:v>
                </c:pt>
                <c:pt idx="64">
                  <c:v>0.028534370946822308</c:v>
                </c:pt>
                <c:pt idx="65">
                  <c:v>0.02027027027027027</c:v>
                </c:pt>
                <c:pt idx="66">
                  <c:v>0.011378002528445006</c:v>
                </c:pt>
                <c:pt idx="67">
                  <c:v>0.10739030023094688</c:v>
                </c:pt>
                <c:pt idx="68">
                  <c:v>0.11001517450682853</c:v>
                </c:pt>
                <c:pt idx="69">
                  <c:v>0.03986710963455149</c:v>
                </c:pt>
                <c:pt idx="70">
                  <c:v>0.003194888178913738</c:v>
                </c:pt>
                <c:pt idx="71">
                  <c:v>0.04801670146137787</c:v>
                </c:pt>
                <c:pt idx="72">
                  <c:v>0.005063291139240506</c:v>
                </c:pt>
              </c:numCache>
            </c:numRef>
          </c:yVal>
          <c:smooth val="0"/>
          <c:extLst>
            <c:ext xmlns:c16="http://schemas.microsoft.com/office/drawing/2014/chart" uri="{C3380CC4-5D6E-409C-BE32-E72D297353CC}">
              <c16:uniqueId val="{00000000-F32D-48B7-BC20-E66FC6253BAD}"/>
            </c:ext>
          </c:extLst>
        </c:ser>
        <c:ser>
          <c:idx val="1"/>
          <c:order val="1"/>
          <c:tx>
            <c:strRef>
              <c:f>Sheet1!$B$7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7:$A$103</c:f>
              <c:numCache>
                <c:formatCode>General</c:formatCode>
                <c:ptCount val="27"/>
                <c:pt idx="0">
                  <c:v>1165.7669</c:v>
                </c:pt>
                <c:pt idx="1">
                  <c:v>1143.5882</c:v>
                </c:pt>
                <c:pt idx="2">
                  <c:v>2284.5</c:v>
                </c:pt>
                <c:pt idx="3">
                  <c:v>5111.0</c:v>
                </c:pt>
                <c:pt idx="4">
                  <c:v>1100.5042</c:v>
                </c:pt>
                <c:pt idx="5">
                  <c:v>960.6471</c:v>
                </c:pt>
                <c:pt idx="6">
                  <c:v>4469.75</c:v>
                </c:pt>
                <c:pt idx="7">
                  <c:v>1082.3739</c:v>
                </c:pt>
                <c:pt idx="8">
                  <c:v>1037.4556</c:v>
                </c:pt>
                <c:pt idx="9">
                  <c:v>1203.175</c:v>
                </c:pt>
                <c:pt idx="10">
                  <c:v>1018.5574</c:v>
                </c:pt>
                <c:pt idx="11">
                  <c:v>1017.831</c:v>
                </c:pt>
                <c:pt idx="12">
                  <c:v>643.1667</c:v>
                </c:pt>
                <c:pt idx="13">
                  <c:v>708.5652</c:v>
                </c:pt>
                <c:pt idx="14">
                  <c:v>1224.1778</c:v>
                </c:pt>
                <c:pt idx="15">
                  <c:v>1495.7419</c:v>
                </c:pt>
                <c:pt idx="16">
                  <c:v>1634.1379</c:v>
                </c:pt>
                <c:pt idx="17">
                  <c:v>2379.0</c:v>
                </c:pt>
                <c:pt idx="18">
                  <c:v>1219.2372</c:v>
                </c:pt>
                <c:pt idx="19">
                  <c:v>3215.5</c:v>
                </c:pt>
                <c:pt idx="20">
                  <c:v>1608.8571</c:v>
                </c:pt>
                <c:pt idx="21">
                  <c:v>1828.0</c:v>
                </c:pt>
                <c:pt idx="22">
                  <c:v>3695.6667</c:v>
                </c:pt>
                <c:pt idx="23">
                  <c:v>1543.7857</c:v>
                </c:pt>
                <c:pt idx="24">
                  <c:v>3721.7273</c:v>
                </c:pt>
                <c:pt idx="25">
                  <c:v>694.1333</c:v>
                </c:pt>
                <c:pt idx="26">
                  <c:v>1046.025</c:v>
                </c:pt>
              </c:numCache>
            </c:numRef>
          </c:xVal>
          <c:yVal>
            <c:numRef>
              <c:f>Sheet1!$B$77:$B$103</c:f>
              <c:numCache>
                <c:formatCode>General</c:formatCode>
                <c:ptCount val="27"/>
                <c:pt idx="0">
                  <c:v>0.1543560606060606</c:v>
                </c:pt>
                <c:pt idx="1">
                  <c:v>0.02135678391959799</c:v>
                </c:pt>
                <c:pt idx="2">
                  <c:v>0.012688342585249802</c:v>
                </c:pt>
                <c:pt idx="3">
                  <c:v>0.0010822510822510823</c:v>
                </c:pt>
                <c:pt idx="4">
                  <c:v>0.25813449023861174</c:v>
                </c:pt>
                <c:pt idx="5">
                  <c:v>0.18888888888888888</c:v>
                </c:pt>
                <c:pt idx="6">
                  <c:v>0.02531645569620253</c:v>
                </c:pt>
                <c:pt idx="7">
                  <c:v>0.28117359413202936</c:v>
                </c:pt>
                <c:pt idx="8">
                  <c:v>0.582312925170068</c:v>
                </c:pt>
                <c:pt idx="9">
                  <c:v>0.121765601217656</c:v>
                </c:pt>
                <c:pt idx="10">
                  <c:v>0.2982885085574572</c:v>
                </c:pt>
                <c:pt idx="11">
                  <c:v>0.544766708701135</c:v>
                </c:pt>
                <c:pt idx="12">
                  <c:v>0.00949367088607595</c:v>
                </c:pt>
                <c:pt idx="13">
                  <c:v>0.04572564612326044</c:v>
                </c:pt>
                <c:pt idx="14">
                  <c:v>0.10948905109489052</c:v>
                </c:pt>
                <c:pt idx="15">
                  <c:v>0.04200542005420054</c:v>
                </c:pt>
                <c:pt idx="16">
                  <c:v>0.2049469964664311</c:v>
                </c:pt>
                <c:pt idx="17">
                  <c:v>0.006430868167202572</c:v>
                </c:pt>
                <c:pt idx="18">
                  <c:v>0.2948960302457467</c:v>
                </c:pt>
                <c:pt idx="19">
                  <c:v>0.008368200836820083</c:v>
                </c:pt>
                <c:pt idx="20">
                  <c:v>0.0412573673870334</c:v>
                </c:pt>
                <c:pt idx="21">
                  <c:v>0.006289308176100629</c:v>
                </c:pt>
                <c:pt idx="22">
                  <c:v>0.004746835443037975</c:v>
                </c:pt>
                <c:pt idx="23">
                  <c:v>0.025547445255474453</c:v>
                </c:pt>
                <c:pt idx="24">
                  <c:v>0.03206997084548105</c:v>
                </c:pt>
                <c:pt idx="25">
                  <c:v>0.05190311418685121</c:v>
                </c:pt>
                <c:pt idx="26">
                  <c:v>0.1553398058252427</c:v>
                </c:pt>
              </c:numCache>
            </c:numRef>
          </c:yVal>
          <c:smooth val="0"/>
          <c:extLst>
            <c:ext xmlns:c16="http://schemas.microsoft.com/office/drawing/2014/chart" uri="{C3380CC4-5D6E-409C-BE32-E72D297353CC}">
              <c16:uniqueId val="{00000002-F32D-48B7-BC20-E66FC6253BAD}"/>
            </c:ext>
          </c:extLst>
        </c:ser>
        <c:ser>
          <c:idx val="2"/>
          <c:order val="2"/>
          <c:tx>
            <c:strRef>
              <c:f>Sheet1!$B$105</c:f>
              <c:strCache>
                <c:ptCount val="1"/>
                <c:pt idx="0">
                  <c:v>Custom Linep3yQ</c:v>
                </c:pt>
              </c:strCache>
            </c:strRef>
          </c:tx>
          <c:spPr>
            <a:ln w="19050" cap="rnd">
              <a:solidFill>
                <a:srgbClr val="C00000"/>
              </a:solidFill>
              <a:prstDash val="sysDot"/>
              <a:round/>
            </a:ln>
            <a:effectLst/>
          </c:spPr>
          <c:marker>
            <c:symbol val="none"/>
          </c:marker>
          <c:xVal>
            <c:numRef>
              <c:f>Sheet1!$A$106:$A$107</c:f>
              <c:numCache>
                <c:formatCode>General</c:formatCode>
                <c:ptCount val="2"/>
                <c:pt idx="0">
                  <c:v>0</c:v>
                </c:pt>
                <c:pt idx="1">
                  <c:v>-5010.804607090216</c:v>
                </c:pt>
              </c:numCache>
            </c:numRef>
          </c:xVal>
          <c:yVal>
            <c:numRef>
              <c:f>Sheet1!$B$106:$B$107</c:f>
              <c:numCache>
                <c:formatCode>General</c:formatCode>
                <c:ptCount val="2"/>
                <c:pt idx="0">
                  <c:v>0.5168278061075278</c:v>
                </c:pt>
                <c:pt idx="1">
                  <c:v>0.5168278061075278</c:v>
                </c:pt>
              </c:numCache>
            </c:numRef>
          </c:yVal>
          <c:smooth val="0"/>
          <c:extLst>
            <c:ext xmlns:c16="http://schemas.microsoft.com/office/drawing/2014/chart" uri="{C3380CC4-5D6E-409C-BE32-E72D297353CC}">
              <c16:uniqueId val="{00000003-F32D-48B7-BC20-E66FC6253BAD}"/>
            </c:ext>
          </c:extLst>
        </c:ser>
        <c:ser>
          <c:idx val="3"/>
          <c:order val="3"/>
          <c:tx>
            <c:strRef>
              <c:f>Sheet1!$B$10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0:$A$111</c:f>
              <c:numCache>
                <c:formatCode>General</c:formatCode>
                <c:ptCount val="2"/>
                <c:pt idx="0">
                  <c:v>-5010.804607090216</c:v>
                </c:pt>
                <c:pt idx="1">
                  <c:v>-5010.804607090216</c:v>
                </c:pt>
              </c:numCache>
            </c:numRef>
          </c:xVal>
          <c:yVal>
            <c:numRef>
              <c:f>Sheet1!$B$110:$B$111</c:f>
              <c:numCache>
                <c:formatCode>General</c:formatCode>
                <c:ptCount val="2"/>
                <c:pt idx="0">
                  <c:v>0.516827806107527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4:$A$115</c:f>
              <c:numCache>
                <c:formatCode>General</c:formatCode>
                <c:ptCount val="2"/>
                <c:pt idx="0">
                  <c:v>0</c:v>
                </c:pt>
                <c:pt idx="1">
                  <c:v>107.22046565376607</c:v>
                </c:pt>
              </c:numCache>
            </c:numRef>
          </c:xVal>
          <c:yVal>
            <c:numRef>
              <c:f>Sheet1!$B$114:$B$115</c:f>
              <c:numCache>
                <c:formatCode>General</c:formatCode>
                <c:ptCount val="2"/>
                <c:pt idx="0">
                  <c:v>0.22611345843741923</c:v>
                </c:pt>
                <c:pt idx="1">
                  <c:v>0.22611345843741923</c:v>
                </c:pt>
              </c:numCache>
            </c:numRef>
          </c:yVal>
          <c:smooth val="0"/>
          <c:extLst>
            <c:ext xmlns:c16="http://schemas.microsoft.com/office/drawing/2014/chart" uri="{C3380CC4-5D6E-409C-BE32-E72D297353CC}">
              <c16:uniqueId val="{0000000A-F32D-48B7-BC20-E66FC6253BAD}"/>
            </c:ext>
          </c:extLst>
        </c:ser>
        <c:ser>
          <c:idx val="5"/>
          <c:order val="5"/>
          <c:tx>
            <c:strRef>
              <c:f>Sheet1!$B$11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8:$A$119</c:f>
              <c:numCache>
                <c:formatCode>General</c:formatCode>
                <c:ptCount val="2"/>
                <c:pt idx="0">
                  <c:v>107.22046565376607</c:v>
                </c:pt>
                <c:pt idx="1">
                  <c:v>107.22046565376607</c:v>
                </c:pt>
              </c:numCache>
            </c:numRef>
          </c:xVal>
          <c:yVal>
            <c:numRef>
              <c:f>Sheet1!$B$118:$B$119</c:f>
              <c:numCache>
                <c:formatCode>General</c:formatCode>
                <c:ptCount val="2"/>
                <c:pt idx="0">
                  <c:v>0.2261134584374192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2:$A$123</c:f>
              <c:numCache>
                <c:formatCode>General</c:formatCode>
                <c:ptCount val="2"/>
                <c:pt idx="0">
                  <c:v>0</c:v>
                </c:pt>
                <c:pt idx="1">
                  <c:v>3278.421016403769</c:v>
                </c:pt>
              </c:numCache>
            </c:numRef>
          </c:xVal>
          <c:yVal>
            <c:numRef>
              <c:f>Sheet1!$B$122:$B$123</c:f>
              <c:numCache>
                <c:formatCode>General</c:formatCode>
                <c:ptCount val="2"/>
                <c:pt idx="0">
                  <c:v>0.045982746622031334</c:v>
                </c:pt>
                <c:pt idx="1">
                  <c:v>0.045982746622031334</c:v>
                </c:pt>
              </c:numCache>
            </c:numRef>
          </c:yVal>
          <c:smooth val="0"/>
          <c:extLst>
            <c:ext xmlns:c16="http://schemas.microsoft.com/office/drawing/2014/chart" uri="{C3380CC4-5D6E-409C-BE32-E72D297353CC}">
              <c16:uniqueId val="{00000011-F32D-48B7-BC20-E66FC6253BAD}"/>
            </c:ext>
          </c:extLst>
        </c:ser>
        <c:ser>
          <c:idx val="7"/>
          <c:order val="7"/>
          <c:tx>
            <c:strRef>
              <c:f>Sheet1!$B$12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3278.421016403769</c:v>
                </c:pt>
                <c:pt idx="1">
                  <c:v>3278.421016403769</c:v>
                </c:pt>
              </c:numCache>
            </c:numRef>
          </c:xVal>
          <c:yVal>
            <c:numRef>
              <c:f>Sheet1!$B$126:$B$127</c:f>
              <c:numCache>
                <c:formatCode>General</c:formatCode>
                <c:ptCount val="2"/>
                <c:pt idx="0">
                  <c:v>0.04598274662203133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0:$A$159</c:f>
              <c:numCache>
                <c:formatCode>General</c:formatCode>
                <c:ptCount val="30"/>
                <c:pt idx="0">
                  <c:v>1165.7669</c:v>
                </c:pt>
                <c:pt idx="1">
                  <c:v>1143.5882</c:v>
                </c:pt>
                <c:pt idx="2">
                  <c:v>2284.5</c:v>
                </c:pt>
                <c:pt idx="3">
                  <c:v>5111.0</c:v>
                </c:pt>
                <c:pt idx="4">
                  <c:v>1100.5042</c:v>
                </c:pt>
                <c:pt idx="5">
                  <c:v>960.6471</c:v>
                </c:pt>
                <c:pt idx="6">
                  <c:v>4469.75</c:v>
                </c:pt>
                <c:pt idx="7">
                  <c:v>1082.3739</c:v>
                </c:pt>
                <c:pt idx="8">
                  <c:v>1037.4556</c:v>
                </c:pt>
                <c:pt idx="9">
                  <c:v>1203.175</c:v>
                </c:pt>
                <c:pt idx="10">
                  <c:v>1018.5574</c:v>
                </c:pt>
                <c:pt idx="11">
                  <c:v>1017.831</c:v>
                </c:pt>
                <c:pt idx="12">
                  <c:v>643.1667</c:v>
                </c:pt>
                <c:pt idx="13">
                  <c:v>708.5652</c:v>
                </c:pt>
                <c:pt idx="14">
                  <c:v>1224.1778</c:v>
                </c:pt>
                <c:pt idx="15">
                  <c:v>1495.7419</c:v>
                </c:pt>
                <c:pt idx="16">
                  <c:v>1634.1379</c:v>
                </c:pt>
                <c:pt idx="17">
                  <c:v>2379.0</c:v>
                </c:pt>
                <c:pt idx="18">
                  <c:v>1219.2372</c:v>
                </c:pt>
                <c:pt idx="19">
                  <c:v>3215.5</c:v>
                </c:pt>
                <c:pt idx="20">
                  <c:v>1608.8571</c:v>
                </c:pt>
                <c:pt idx="21">
                  <c:v>1828.0</c:v>
                </c:pt>
                <c:pt idx="22">
                  <c:v>3695.6667</c:v>
                </c:pt>
                <c:pt idx="23">
                  <c:v>1543.7857</c:v>
                </c:pt>
                <c:pt idx="24">
                  <c:v>3721.7273</c:v>
                </c:pt>
                <c:pt idx="25">
                  <c:v>694.1333</c:v>
                </c:pt>
                <c:pt idx="26">
                  <c:v>1046.025</c:v>
                </c:pt>
                <c:pt idx="27">
                  <c:v>107.22046565376607</c:v>
                </c:pt>
                <c:pt idx="28">
                  <c:v>-5010.804607090216</c:v>
                </c:pt>
                <c:pt idx="29">
                  <c:v>3278.421016403769</c:v>
                </c:pt>
              </c:numCache>
            </c:numRef>
          </c:xVal>
          <c:yVal>
            <c:numRef>
              <c:f>Sheet1!$B$130:$B$159</c:f>
              <c:numCache>
                <c:formatCode>General</c:formatCode>
                <c:ptCount val="30"/>
                <c:pt idx="0">
                  <c:v>0.16598584441334496</c:v>
                </c:pt>
                <c:pt idx="1">
                  <c:v>0.16724564017655996</c:v>
                </c:pt>
                <c:pt idx="2">
                  <c:v>0.10243950402601892</c:v>
                </c:pt>
                <c:pt idx="3">
                  <c:v>-0.05811150774325574</c:v>
                </c:pt>
                <c:pt idx="4">
                  <c:v>0.16969289996466097</c:v>
                </c:pt>
                <c:pt idx="5">
                  <c:v>0.17763707081487026</c:v>
                </c:pt>
                <c:pt idx="6">
                  <c:v>-0.021687189223161152</c:v>
                </c:pt>
                <c:pt idx="7">
                  <c:v>0.1707227382836705</c:v>
                </c:pt>
                <c:pt idx="8">
                  <c:v>0.17327419008340722</c:v>
                </c:pt>
                <c:pt idx="9">
                  <c:v>0.16386098741586885</c:v>
                </c:pt>
                <c:pt idx="10">
                  <c:v>0.174347646701351</c:v>
                </c:pt>
                <c:pt idx="11">
                  <c:v>0.1743889077149541</c:v>
                </c:pt>
                <c:pt idx="12">
                  <c:v>0.19567061032908006</c:v>
                </c:pt>
                <c:pt idx="13">
                  <c:v>0.19195584105853597</c:v>
                </c:pt>
                <c:pt idx="14">
                  <c:v>0.16266798519050615</c:v>
                </c:pt>
                <c:pt idx="15">
                  <c:v>0.1472425859280924</c:v>
                </c:pt>
                <c:pt idx="16">
                  <c:v>0.13938140856215553</c:v>
                </c:pt>
                <c:pt idx="17">
                  <c:v>0.09707170971779444</c:v>
                </c:pt>
                <c:pt idx="18">
                  <c:v>0.162948621429228</c:v>
                </c:pt>
                <c:pt idx="19">
                  <c:v>0.04955678973017788</c:v>
                </c:pt>
                <c:pt idx="20">
                  <c:v>0.14081740998382075</c:v>
                </c:pt>
                <c:pt idx="21">
                  <c:v>0.12836964266839423</c:v>
                </c:pt>
                <c:pt idx="22">
                  <c:v>0.022282333865004056</c:v>
                </c:pt>
                <c:pt idx="23">
                  <c:v>0.14451359930179108</c:v>
                </c:pt>
                <c:pt idx="24">
                  <c:v>0.0208020381999362</c:v>
                </c:pt>
                <c:pt idx="25">
                  <c:v>0.19277560265300014</c:v>
                </c:pt>
                <c:pt idx="26">
                  <c:v>0.17278743054324955</c:v>
                </c:pt>
                <c:pt idx="27">
                  <c:v>0.22611345843741923</c:v>
                </c:pt>
                <c:pt idx="28">
                  <c:v>0.5168278061075278</c:v>
                </c:pt>
                <c:pt idx="29">
                  <c:v>0.04598274662203133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613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233082706766917"/>
          <c:min val="0.000865800865800865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2</c:f>
              <c:numCache>
                <c:formatCode>General</c:formatCode>
                <c:ptCount val="71"/>
                <c:pt idx="0">
                  <c:v>1.4283692854906935</c:v>
                </c:pt>
                <c:pt idx="1">
                  <c:v>1.6027049111436922</c:v>
                </c:pt>
                <c:pt idx="2">
                  <c:v>1.3211158970696542</c:v>
                </c:pt>
                <c:pt idx="3">
                  <c:v>1.7110542115424794</c:v>
                </c:pt>
                <c:pt idx="4">
                  <c:v>2.2329086596807564</c:v>
                </c:pt>
                <c:pt idx="5">
                  <c:v>1.7929200160771703</c:v>
                </c:pt>
                <c:pt idx="6">
                  <c:v>1.9821952832740348</c:v>
                </c:pt>
                <c:pt idx="7">
                  <c:v>2.3075149435149434</c:v>
                </c:pt>
                <c:pt idx="8">
                  <c:v>2.454321453912713</c:v>
                </c:pt>
                <c:pt idx="9">
                  <c:v>1.5332416371995534</c:v>
                </c:pt>
                <c:pt idx="10">
                  <c:v>1.3576759489345942</c:v>
                </c:pt>
                <c:pt idx="11">
                  <c:v>1.8350348710192421</c:v>
                </c:pt>
                <c:pt idx="12">
                  <c:v>4.045668889713004</c:v>
                </c:pt>
                <c:pt idx="13">
                  <c:v>1.535913563878482</c:v>
                </c:pt>
                <c:pt idx="14">
                  <c:v>1.880137699268439</c:v>
                </c:pt>
                <c:pt idx="15">
                  <c:v>0.9150060514899288</c:v>
                </c:pt>
                <c:pt idx="16">
                  <c:v>2.2892592273197656</c:v>
                </c:pt>
                <c:pt idx="17">
                  <c:v>2.384463586293798</c:v>
                </c:pt>
                <c:pt idx="18">
                  <c:v>1.7494505663627413</c:v>
                </c:pt>
                <c:pt idx="19">
                  <c:v>1.6512783837487288</c:v>
                </c:pt>
                <c:pt idx="20">
                  <c:v>2.3347206553914726</c:v>
                </c:pt>
                <c:pt idx="21">
                  <c:v>2.4921749075119823</c:v>
                </c:pt>
                <c:pt idx="22">
                  <c:v>3.762530681697331</c:v>
                </c:pt>
                <c:pt idx="23">
                  <c:v>1.094984923863612</c:v>
                </c:pt>
                <c:pt idx="24">
                  <c:v>3.162214440896745</c:v>
                </c:pt>
                <c:pt idx="25">
                  <c:v>2.4228152205374833</c:v>
                </c:pt>
                <c:pt idx="26">
                  <c:v>1.7248389563048634</c:v>
                </c:pt>
                <c:pt idx="27">
                  <c:v>1.1671899864709325</c:v>
                </c:pt>
                <c:pt idx="28">
                  <c:v>1.08401517546149</c:v>
                </c:pt>
                <c:pt idx="29">
                  <c:v>1.1416654473583663</c:v>
                </c:pt>
                <c:pt idx="30">
                  <c:v>3.6300539689808677</c:v>
                </c:pt>
                <c:pt idx="31">
                  <c:v>1.0921319685746633</c:v>
                </c:pt>
                <c:pt idx="32">
                  <c:v>1.4248791133189846</c:v>
                </c:pt>
                <c:pt idx="33">
                  <c:v>0.7406357308779962</c:v>
                </c:pt>
                <c:pt idx="34">
                  <c:v>3.0603957481602615</c:v>
                </c:pt>
                <c:pt idx="35">
                  <c:v>0.845421242682336</c:v>
                </c:pt>
                <c:pt idx="36">
                  <c:v>1.4410495734259117</c:v>
                </c:pt>
                <c:pt idx="37">
                  <c:v>0.7492522320135319</c:v>
                </c:pt>
                <c:pt idx="38">
                  <c:v>1.6090533990778406</c:v>
                </c:pt>
                <c:pt idx="39">
                  <c:v>1.0791759945130315</c:v>
                </c:pt>
                <c:pt idx="40">
                  <c:v>1.3689037668837438</c:v>
                </c:pt>
                <c:pt idx="41">
                  <c:v>0.8053566785939846</c:v>
                </c:pt>
                <c:pt idx="42">
                  <c:v>2.414655059625335</c:v>
                </c:pt>
                <c:pt idx="43">
                  <c:v>0.8649579985905567</c:v>
                </c:pt>
                <c:pt idx="44">
                  <c:v>2.088697299036962</c:v>
                </c:pt>
                <c:pt idx="45">
                  <c:v>0.5818786059470784</c:v>
                </c:pt>
                <c:pt idx="46">
                  <c:v>0.8045496307164174</c:v>
                </c:pt>
                <c:pt idx="47">
                  <c:v>1.2770086724417282</c:v>
                </c:pt>
                <c:pt idx="48">
                  <c:v>1.0426912051834423</c:v>
                </c:pt>
                <c:pt idx="49">
                  <c:v>0.6745736661818016</c:v>
                </c:pt>
                <c:pt idx="50">
                  <c:v>2.3307877400742645</c:v>
                </c:pt>
                <c:pt idx="51">
                  <c:v>2.3232314933273863</c:v>
                </c:pt>
                <c:pt idx="52">
                  <c:v>2.8812909937702536</c:v>
                </c:pt>
                <c:pt idx="53">
                  <c:v>1.2510473486884657</c:v>
                </c:pt>
                <c:pt idx="54">
                  <c:v>1.1440838281052899</c:v>
                </c:pt>
                <c:pt idx="55">
                  <c:v>2.43534051843393</c:v>
                </c:pt>
                <c:pt idx="56">
                  <c:v>1.7246361969934094</c:v>
                </c:pt>
                <c:pt idx="57">
                  <c:v>2.2866248172174033</c:v>
                </c:pt>
                <c:pt idx="58">
                  <c:v>0.7500419176350714</c:v>
                </c:pt>
                <c:pt idx="59">
                  <c:v>1.7038267421025473</c:v>
                </c:pt>
                <c:pt idx="60">
                  <c:v>1.7689458400301756</c:v>
                </c:pt>
                <c:pt idx="61">
                  <c:v>9.112405340667934</c:v>
                </c:pt>
                <c:pt idx="62">
                  <c:v>1.7869614677362802</c:v>
                </c:pt>
                <c:pt idx="63">
                  <c:v>1.8287000996658103</c:v>
                </c:pt>
                <c:pt idx="64">
                  <c:v>3.9165671491024767</c:v>
                </c:pt>
                <c:pt idx="65">
                  <c:v>1.507970497729992</c:v>
                </c:pt>
                <c:pt idx="66">
                  <c:v>1.342102305243291</c:v>
                </c:pt>
                <c:pt idx="67">
                  <c:v>0.5796376554141434</c:v>
                </c:pt>
                <c:pt idx="68">
                  <c:v>3.9273536879979436</c:v>
                </c:pt>
                <c:pt idx="69">
                  <c:v>2.0520633581222567</c:v>
                </c:pt>
                <c:pt idx="70">
                  <c:v>3.1596147899924585</c:v>
                </c:pt>
              </c:numCache>
            </c:numRef>
          </c:xVal>
          <c:yVal>
            <c:numRef>
              <c:f>Sheet1!$B$2:$B$72</c:f>
              <c:numCache>
                <c:formatCode>General</c:formatCode>
                <c:ptCount val="71"/>
                <c:pt idx="0">
                  <c:v>0.1430472388556221</c:v>
                </c:pt>
                <c:pt idx="1">
                  <c:v>0.16554054054054054</c:v>
                </c:pt>
                <c:pt idx="2">
                  <c:v>0.13806706114398423</c:v>
                </c:pt>
                <c:pt idx="3">
                  <c:v>0.1482889733840304</c:v>
                </c:pt>
                <c:pt idx="4">
                  <c:v>0.020361990950226245</c:v>
                </c:pt>
                <c:pt idx="5">
                  <c:v>0.7960526315789473</c:v>
                </c:pt>
                <c:pt idx="6">
                  <c:v>0.21818181818181817</c:v>
                </c:pt>
                <c:pt idx="7">
                  <c:v>0.17342657342657342</c:v>
                </c:pt>
                <c:pt idx="8">
                  <c:v>0.08879492600422834</c:v>
                </c:pt>
                <c:pt idx="9">
                  <c:v>0.2970430107526882</c:v>
                </c:pt>
                <c:pt idx="10">
                  <c:v>0.11469534050179211</c:v>
                </c:pt>
                <c:pt idx="11">
                  <c:v>0.2711864406779661</c:v>
                </c:pt>
                <c:pt idx="12">
                  <c:v>0.5182926829268293</c:v>
                </c:pt>
                <c:pt idx="13">
                  <c:v>0.2066115702479339</c:v>
                </c:pt>
                <c:pt idx="14">
                  <c:v>0.2389937106918239</c:v>
                </c:pt>
                <c:pt idx="15">
                  <c:v>0.17901234567901234</c:v>
                </c:pt>
                <c:pt idx="16">
                  <c:v>0.16</c:v>
                </c:pt>
                <c:pt idx="17">
                  <c:v>0.29156999226604796</c:v>
                </c:pt>
                <c:pt idx="18">
                  <c:v>0.5154894671623296</c:v>
                </c:pt>
                <c:pt idx="19">
                  <c:v>0.010494752623688156</c:v>
                </c:pt>
                <c:pt idx="20">
                  <c:v>0.06712962962962964</c:v>
                </c:pt>
                <c:pt idx="21">
                  <c:v>0.1746031746031746</c:v>
                </c:pt>
                <c:pt idx="22">
                  <c:v>0.34189723320158105</c:v>
                </c:pt>
                <c:pt idx="23">
                  <c:v>0.08902691511387163</c:v>
                </c:pt>
                <c:pt idx="24">
                  <c:v>0.31179321486268174</c:v>
                </c:pt>
                <c:pt idx="25">
                  <c:v>0.3148148148148148</c:v>
                </c:pt>
                <c:pt idx="26">
                  <c:v>0.15097588978185994</c:v>
                </c:pt>
                <c:pt idx="27">
                  <c:v>0.38224852071005916</c:v>
                </c:pt>
                <c:pt idx="28">
                  <c:v>0.25951387183893937</c:v>
                </c:pt>
                <c:pt idx="29">
                  <c:v>0.24287974683544303</c:v>
                </c:pt>
                <c:pt idx="30">
                  <c:v>0.24372559955382042</c:v>
                </c:pt>
                <c:pt idx="31">
                  <c:v>0.35880077369439073</c:v>
                </c:pt>
                <c:pt idx="32">
                  <c:v>0.10413223140495868</c:v>
                </c:pt>
                <c:pt idx="33">
                  <c:v>0.089540412044374</c:v>
                </c:pt>
                <c:pt idx="34">
                  <c:v>0.1151012891344383</c:v>
                </c:pt>
                <c:pt idx="35">
                  <c:v>0.423956931359354</c:v>
                </c:pt>
                <c:pt idx="36">
                  <c:v>0.24022346368715083</c:v>
                </c:pt>
                <c:pt idx="37">
                  <c:v>0.343042071197411</c:v>
                </c:pt>
                <c:pt idx="38">
                  <c:v>0.2147477360931436</c:v>
                </c:pt>
                <c:pt idx="39">
                  <c:v>0.2780487804878049</c:v>
                </c:pt>
                <c:pt idx="40">
                  <c:v>0.4039408866995074</c:v>
                </c:pt>
                <c:pt idx="41">
                  <c:v>0.2831050228310502</c:v>
                </c:pt>
                <c:pt idx="42">
                  <c:v>0.2695852534562212</c:v>
                </c:pt>
                <c:pt idx="43">
                  <c:v>0.3589420654911839</c:v>
                </c:pt>
                <c:pt idx="44">
                  <c:v>0.4157608695652174</c:v>
                </c:pt>
                <c:pt idx="45">
                  <c:v>0.2259663032705649</c:v>
                </c:pt>
                <c:pt idx="46">
                  <c:v>0.37530864197530867</c:v>
                </c:pt>
                <c:pt idx="47">
                  <c:v>0.030560271646859084</c:v>
                </c:pt>
                <c:pt idx="48">
                  <c:v>0.13434903047091412</c:v>
                </c:pt>
                <c:pt idx="49">
                  <c:v>0.04699738903394256</c:v>
                </c:pt>
                <c:pt idx="50">
                  <c:v>0.16522988505747127</c:v>
                </c:pt>
                <c:pt idx="51">
                  <c:v>0.2858517805582291</c:v>
                </c:pt>
                <c:pt idx="52">
                  <c:v>0.24726477024070023</c:v>
                </c:pt>
                <c:pt idx="53">
                  <c:v>0.32666666666666666</c:v>
                </c:pt>
                <c:pt idx="54">
                  <c:v>0.2152777777777778</c:v>
                </c:pt>
                <c:pt idx="55">
                  <c:v>0.10755148741418764</c:v>
                </c:pt>
                <c:pt idx="56">
                  <c:v>0.30025445292620867</c:v>
                </c:pt>
                <c:pt idx="57">
                  <c:v>0.5105708245243129</c:v>
                </c:pt>
                <c:pt idx="58">
                  <c:v>0.14053254437869822</c:v>
                </c:pt>
                <c:pt idx="59">
                  <c:v>0.2050561797752809</c:v>
                </c:pt>
                <c:pt idx="60">
                  <c:v>0.24172185430463577</c:v>
                </c:pt>
                <c:pt idx="61">
                  <c:v>0.1324200913242009</c:v>
                </c:pt>
                <c:pt idx="62">
                  <c:v>0.028534370946822308</c:v>
                </c:pt>
                <c:pt idx="63">
                  <c:v>0.02027027027027027</c:v>
                </c:pt>
                <c:pt idx="64">
                  <c:v>0.011378002528445006</c:v>
                </c:pt>
                <c:pt idx="65">
                  <c:v>0.10739030023094688</c:v>
                </c:pt>
                <c:pt idx="66">
                  <c:v>0.11001517450682853</c:v>
                </c:pt>
                <c:pt idx="67">
                  <c:v>0.03986710963455149</c:v>
                </c:pt>
                <c:pt idx="68">
                  <c:v>0.003194888178913738</c:v>
                </c:pt>
                <c:pt idx="69">
                  <c:v>0.04801670146137787</c:v>
                </c:pt>
                <c:pt idx="70">
                  <c:v>0.005063291139240506</c:v>
                </c:pt>
              </c:numCache>
            </c:numRef>
          </c:yVal>
          <c:smooth val="0"/>
          <c:extLst>
            <c:ext xmlns:c16="http://schemas.microsoft.com/office/drawing/2014/chart" uri="{C3380CC4-5D6E-409C-BE32-E72D297353CC}">
              <c16:uniqueId val="{00000000-096C-4121-9522-6AB7243CCAAE}"/>
            </c:ext>
          </c:extLst>
        </c:ser>
        <c:ser>
          <c:idx val="1"/>
          <c:order val="1"/>
          <c:tx>
            <c:strRef>
              <c:f>Sheet1!$B$74</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75:$A$96</c:f>
              <c:numCache>
                <c:formatCode>General</c:formatCode>
                <c:ptCount val="22"/>
                <c:pt idx="0">
                  <c:v>1.8616339375697752</c:v>
                </c:pt>
                <c:pt idx="1">
                  <c:v>1.2516119485739343</c:v>
                </c:pt>
                <c:pt idx="2">
                  <c:v>2.694303573534615</c:v>
                </c:pt>
                <c:pt idx="3">
                  <c:v>0.9436611984282908</c:v>
                </c:pt>
                <c:pt idx="4">
                  <c:v>5.406559091492443</c:v>
                </c:pt>
                <c:pt idx="5">
                  <c:v>1.1643436962134253</c:v>
                </c:pt>
                <c:pt idx="6">
                  <c:v>1.2691957713358188</c:v>
                </c:pt>
                <c:pt idx="7">
                  <c:v>1.5861480730049309</c:v>
                </c:pt>
                <c:pt idx="8">
                  <c:v>2.0307965856626864</c:v>
                </c:pt>
                <c:pt idx="9">
                  <c:v>1.3813139616894512</c:v>
                </c:pt>
                <c:pt idx="10">
                  <c:v>1.3845223398175186</c:v>
                </c:pt>
                <c:pt idx="11">
                  <c:v>2.672723815204498</c:v>
                </c:pt>
                <c:pt idx="12">
                  <c:v>2.539459932088285</c:v>
                </c:pt>
                <c:pt idx="13">
                  <c:v>3.493347274189869</c:v>
                </c:pt>
                <c:pt idx="14">
                  <c:v>4.964129521421607</c:v>
                </c:pt>
                <c:pt idx="15">
                  <c:v>2.011112907216495</c:v>
                </c:pt>
                <c:pt idx="16">
                  <c:v>4.499720123145815</c:v>
                </c:pt>
                <c:pt idx="17">
                  <c:v>2.047310563368363</c:v>
                </c:pt>
                <c:pt idx="18">
                  <c:v>2.1270125378892257</c:v>
                </c:pt>
                <c:pt idx="19">
                  <c:v>5.521057658187964</c:v>
                </c:pt>
                <c:pt idx="20">
                  <c:v>0.8033950231481481</c:v>
                </c:pt>
                <c:pt idx="21">
                  <c:v>1.335188682159421</c:v>
                </c:pt>
              </c:numCache>
            </c:numRef>
          </c:xVal>
          <c:yVal>
            <c:numRef>
              <c:f>Sheet1!$B$75:$B$96</c:f>
              <c:numCache>
                <c:formatCode>General</c:formatCode>
                <c:ptCount val="22"/>
                <c:pt idx="0">
                  <c:v>0.1543560606060606</c:v>
                </c:pt>
                <c:pt idx="1">
                  <c:v>0.02135678391959799</c:v>
                </c:pt>
                <c:pt idx="2">
                  <c:v>0.012688342585249802</c:v>
                </c:pt>
                <c:pt idx="3">
                  <c:v>0.18888888888888888</c:v>
                </c:pt>
                <c:pt idx="4">
                  <c:v>0.02531645569620253</c:v>
                </c:pt>
                <c:pt idx="5">
                  <c:v>0.28117359413202936</c:v>
                </c:pt>
                <c:pt idx="6">
                  <c:v>0.582312925170068</c:v>
                </c:pt>
                <c:pt idx="7">
                  <c:v>0.121765601217656</c:v>
                </c:pt>
                <c:pt idx="8">
                  <c:v>0.2982885085574572</c:v>
                </c:pt>
                <c:pt idx="9">
                  <c:v>0.544766708701135</c:v>
                </c:pt>
                <c:pt idx="10">
                  <c:v>0.00949367088607595</c:v>
                </c:pt>
                <c:pt idx="11">
                  <c:v>0.10948905109489052</c:v>
                </c:pt>
                <c:pt idx="12">
                  <c:v>0.04200542005420054</c:v>
                </c:pt>
                <c:pt idx="13">
                  <c:v>0.2049469964664311</c:v>
                </c:pt>
                <c:pt idx="14">
                  <c:v>0.006430868167202572</c:v>
                </c:pt>
                <c:pt idx="15">
                  <c:v>0.2948960302457467</c:v>
                </c:pt>
                <c:pt idx="16">
                  <c:v>0.008368200836820083</c:v>
                </c:pt>
                <c:pt idx="17">
                  <c:v>0.0412573673870334</c:v>
                </c:pt>
                <c:pt idx="18">
                  <c:v>0.025547445255474453</c:v>
                </c:pt>
                <c:pt idx="19">
                  <c:v>0.03206997084548105</c:v>
                </c:pt>
                <c:pt idx="20">
                  <c:v>0.05190311418685121</c:v>
                </c:pt>
                <c:pt idx="21">
                  <c:v>0.1553398058252427</c:v>
                </c:pt>
              </c:numCache>
            </c:numRef>
          </c:yVal>
          <c:smooth val="0"/>
          <c:extLst>
            <c:ext xmlns:c16="http://schemas.microsoft.com/office/drawing/2014/chart" uri="{C3380CC4-5D6E-409C-BE32-E72D297353CC}">
              <c16:uniqueId val="{00000002-096C-4121-9522-6AB7243CCAAE}"/>
            </c:ext>
          </c:extLst>
        </c:ser>
        <c:ser>
          <c:idx val="2"/>
          <c:order val="2"/>
          <c:tx>
            <c:strRef>
              <c:f>Sheet1!$B$9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99:$A$100</c:f>
              <c:numCache>
                <c:formatCode>General</c:formatCode>
                <c:ptCount val="2"/>
                <c:pt idx="0">
                  <c:v>0</c:v>
                </c:pt>
                <c:pt idx="1">
                  <c:v>0.031086605372945424</c:v>
                </c:pt>
              </c:numCache>
            </c:numRef>
          </c:xVal>
          <c:yVal>
            <c:numRef>
              <c:f>Sheet1!$B$99:$B$100</c:f>
              <c:numCache>
                <c:formatCode>General</c:formatCode>
                <c:ptCount val="2"/>
                <c:pt idx="0">
                  <c:v>0.2580748338566698</c:v>
                </c:pt>
                <c:pt idx="1">
                  <c:v>0.2580748338566698</c:v>
                </c:pt>
              </c:numCache>
            </c:numRef>
          </c:yVal>
          <c:smooth val="0"/>
          <c:extLst>
            <c:ext xmlns:c16="http://schemas.microsoft.com/office/drawing/2014/chart" uri="{C3380CC4-5D6E-409C-BE32-E72D297353CC}">
              <c16:uniqueId val="{00000005-096C-4121-9522-6AB7243CCAAE}"/>
            </c:ext>
          </c:extLst>
        </c:ser>
        <c:ser>
          <c:idx val="3"/>
          <c:order val="3"/>
          <c:tx>
            <c:strRef>
              <c:f>Sheet1!$B$10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3:$A$104</c:f>
              <c:numCache>
                <c:formatCode>General</c:formatCode>
                <c:ptCount val="2"/>
                <c:pt idx="0">
                  <c:v>0.031086605372945424</c:v>
                </c:pt>
                <c:pt idx="1">
                  <c:v>0.031086605372945424</c:v>
                </c:pt>
              </c:numCache>
            </c:numRef>
          </c:xVal>
          <c:yVal>
            <c:numRef>
              <c:f>Sheet1!$B$103:$B$104</c:f>
              <c:numCache>
                <c:formatCode>General</c:formatCode>
                <c:ptCount val="2"/>
                <c:pt idx="0">
                  <c:v>0.258074833856669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6</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07:$A$108</c:f>
              <c:numCache>
                <c:formatCode>General</c:formatCode>
                <c:ptCount val="2"/>
                <c:pt idx="0">
                  <c:v>0</c:v>
                </c:pt>
                <c:pt idx="1">
                  <c:v>0.2308194263011044</c:v>
                </c:pt>
              </c:numCache>
            </c:numRef>
          </c:xVal>
          <c:yVal>
            <c:numRef>
              <c:f>Sheet1!$B$107:$B$108</c:f>
              <c:numCache>
                <c:formatCode>General</c:formatCode>
                <c:ptCount val="2"/>
                <c:pt idx="0">
                  <c:v>0.2486619349766891</c:v>
                </c:pt>
                <c:pt idx="1">
                  <c:v>0.2486619349766891</c:v>
                </c:pt>
              </c:numCache>
            </c:numRef>
          </c:yVal>
          <c:smooth val="0"/>
          <c:extLst>
            <c:ext xmlns:c16="http://schemas.microsoft.com/office/drawing/2014/chart" uri="{C3380CC4-5D6E-409C-BE32-E72D297353CC}">
              <c16:uniqueId val="{0000000D-096C-4121-9522-6AB7243CCAAE}"/>
            </c:ext>
          </c:extLst>
        </c:ser>
        <c:ser>
          <c:idx val="5"/>
          <c:order val="5"/>
          <c:tx>
            <c:strRef>
              <c:f>Sheet1!$B$110</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1:$A$112</c:f>
              <c:numCache>
                <c:formatCode>General</c:formatCode>
                <c:ptCount val="2"/>
                <c:pt idx="0">
                  <c:v>0.2308194263011044</c:v>
                </c:pt>
                <c:pt idx="1">
                  <c:v>0.2308194263011044</c:v>
                </c:pt>
              </c:numCache>
            </c:numRef>
          </c:xVal>
          <c:yVal>
            <c:numRef>
              <c:f>Sheet1!$B$111:$B$112</c:f>
              <c:numCache>
                <c:formatCode>General</c:formatCode>
                <c:ptCount val="2"/>
                <c:pt idx="0">
                  <c:v>0.248661934976689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4</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5:$A$116</c:f>
              <c:numCache>
                <c:formatCode>General</c:formatCode>
                <c:ptCount val="2"/>
                <c:pt idx="0">
                  <c:v>0</c:v>
                </c:pt>
                <c:pt idx="1">
                  <c:v>4.10216922767742</c:v>
                </c:pt>
              </c:numCache>
            </c:numRef>
          </c:xVal>
          <c:yVal>
            <c:numRef>
              <c:f>Sheet1!$B$115:$B$116</c:f>
              <c:numCache>
                <c:formatCode>General</c:formatCode>
                <c:ptCount val="2"/>
                <c:pt idx="0">
                  <c:v>0.06621508402826234</c:v>
                </c:pt>
                <c:pt idx="1">
                  <c:v>0.06621508402826234</c:v>
                </c:pt>
              </c:numCache>
            </c:numRef>
          </c:yVal>
          <c:smooth val="0"/>
          <c:extLst>
            <c:ext xmlns:c16="http://schemas.microsoft.com/office/drawing/2014/chart" uri="{C3380CC4-5D6E-409C-BE32-E72D297353CC}">
              <c16:uniqueId val="{00000015-096C-4121-9522-6AB7243CCAAE}"/>
            </c:ext>
          </c:extLst>
        </c:ser>
        <c:ser>
          <c:idx val="7"/>
          <c:order val="7"/>
          <c:tx>
            <c:strRef>
              <c:f>Sheet1!$B$118</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9:$A$120</c:f>
              <c:numCache>
                <c:formatCode>General</c:formatCode>
                <c:ptCount val="2"/>
                <c:pt idx="0">
                  <c:v>4.10216922767742</c:v>
                </c:pt>
                <c:pt idx="1">
                  <c:v>4.10216922767742</c:v>
                </c:pt>
              </c:numCache>
            </c:numRef>
          </c:xVal>
          <c:yVal>
            <c:numRef>
              <c:f>Sheet1!$B$119:$B$120</c:f>
              <c:numCache>
                <c:formatCode>General</c:formatCode>
                <c:ptCount val="2"/>
                <c:pt idx="0">
                  <c:v>0.0662150840282623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2</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3:$A$147</c:f>
              <c:numCache>
                <c:formatCode>General</c:formatCode>
                <c:ptCount val="25"/>
                <c:pt idx="0">
                  <c:v>1.8616339375697752</c:v>
                </c:pt>
                <c:pt idx="1">
                  <c:v>1.2516119485739343</c:v>
                </c:pt>
                <c:pt idx="2">
                  <c:v>2.694303573534615</c:v>
                </c:pt>
                <c:pt idx="3">
                  <c:v>0.9436611984282908</c:v>
                </c:pt>
                <c:pt idx="4">
                  <c:v>5.406559091492443</c:v>
                </c:pt>
                <c:pt idx="5">
                  <c:v>1.1643436962134253</c:v>
                </c:pt>
                <c:pt idx="6">
                  <c:v>1.2691957713358188</c:v>
                </c:pt>
                <c:pt idx="7">
                  <c:v>1.5861480730049309</c:v>
                </c:pt>
                <c:pt idx="8">
                  <c:v>2.0307965856626864</c:v>
                </c:pt>
                <c:pt idx="9">
                  <c:v>1.3813139616894512</c:v>
                </c:pt>
                <c:pt idx="10">
                  <c:v>1.3845223398175186</c:v>
                </c:pt>
                <c:pt idx="11">
                  <c:v>2.672723815204498</c:v>
                </c:pt>
                <c:pt idx="12">
                  <c:v>2.539459932088285</c:v>
                </c:pt>
                <c:pt idx="13">
                  <c:v>3.493347274189869</c:v>
                </c:pt>
                <c:pt idx="14">
                  <c:v>4.964129521421607</c:v>
                </c:pt>
                <c:pt idx="15">
                  <c:v>2.011112907216495</c:v>
                </c:pt>
                <c:pt idx="16">
                  <c:v>4.499720123145815</c:v>
                </c:pt>
                <c:pt idx="17">
                  <c:v>2.047310563368363</c:v>
                </c:pt>
                <c:pt idx="18">
                  <c:v>2.1270125378892257</c:v>
                </c:pt>
                <c:pt idx="19">
                  <c:v>5.521057658187964</c:v>
                </c:pt>
                <c:pt idx="20">
                  <c:v>0.8033950231481481</c:v>
                </c:pt>
                <c:pt idx="21">
                  <c:v>1.335188682159421</c:v>
                </c:pt>
                <c:pt idx="22">
                  <c:v>0.2308194263011044</c:v>
                </c:pt>
                <c:pt idx="23">
                  <c:v>0.031086605372945424</c:v>
                </c:pt>
                <c:pt idx="24">
                  <c:v>4.10216922767742</c:v>
                </c:pt>
              </c:numCache>
            </c:numRef>
          </c:xVal>
          <c:yVal>
            <c:numRef>
              <c:f>Sheet1!$B$123:$B$147</c:f>
              <c:numCache>
                <c:formatCode>General</c:formatCode>
                <c:ptCount val="25"/>
                <c:pt idx="0">
                  <c:v>0.17180580279349336</c:v>
                </c:pt>
                <c:pt idx="1">
                  <c:v>0.20055458464266124</c:v>
                </c:pt>
                <c:pt idx="2">
                  <c:v>0.13256420470588345</c:v>
                </c:pt>
                <c:pt idx="3">
                  <c:v>0.2150675187596723</c:v>
                </c:pt>
                <c:pt idx="4">
                  <c:v>0.004742513665983938</c:v>
                </c:pt>
                <c:pt idx="5">
                  <c:v>0.20466731499456253</c:v>
                </c:pt>
                <c:pt idx="6">
                  <c:v>0.19972590388397582</c:v>
                </c:pt>
                <c:pt idx="7">
                  <c:v>0.18478874958192154</c:v>
                </c:pt>
                <c:pt idx="8">
                  <c:v>0.16383359825861094</c:v>
                </c:pt>
                <c:pt idx="9">
                  <c:v>0.1944420592784627</c:v>
                </c:pt>
                <c:pt idx="10">
                  <c:v>0.19429085659305578</c:v>
                </c:pt>
                <c:pt idx="11">
                  <c:v>0.13358120372523277</c:v>
                </c:pt>
                <c:pt idx="12">
                  <c:v>0.13986159094600742</c:v>
                </c:pt>
                <c:pt idx="13">
                  <c:v>0.0949073112619222</c:v>
                </c:pt>
                <c:pt idx="14">
                  <c:v>0.02559309187960679</c:v>
                </c:pt>
                <c:pt idx="15">
                  <c:v>0.1647612398647278</c:v>
                </c:pt>
                <c:pt idx="16">
                  <c:v>0.04747952338629971</c:v>
                </c:pt>
                <c:pt idx="17">
                  <c:v>0.16305533657118548</c:v>
                </c:pt>
                <c:pt idx="18">
                  <c:v>0.15929918561305367</c:v>
                </c:pt>
                <c:pt idx="19">
                  <c:v>-0.0006535120107140635</c:v>
                </c:pt>
                <c:pt idx="20">
                  <c:v>0.2216779061664998</c:v>
                </c:pt>
                <c:pt idx="21">
                  <c:v>0.19661582616369178</c:v>
                </c:pt>
                <c:pt idx="22">
                  <c:v>0.2486619349766891</c:v>
                </c:pt>
                <c:pt idx="23">
                  <c:v>0.2580748338566698</c:v>
                </c:pt>
                <c:pt idx="24">
                  <c:v>0.0662150840282623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552631578947368"/>
          <c:min val="0.002555910543130990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2</c:f>
              <c:numCache>
                <c:formatCode>General</c:formatCode>
                <c:ptCount val="71"/>
                <c:pt idx="0">
                  <c:v>1031.2512</c:v>
                </c:pt>
                <c:pt idx="1">
                  <c:v>1029.7347</c:v>
                </c:pt>
                <c:pt idx="2">
                  <c:v>887.9286</c:v>
                </c:pt>
                <c:pt idx="3">
                  <c:v>979.4615</c:v>
                </c:pt>
                <c:pt idx="4">
                  <c:v>1437.8889</c:v>
                </c:pt>
                <c:pt idx="5">
                  <c:v>892.157</c:v>
                </c:pt>
                <c:pt idx="6">
                  <c:v>1368.9667</c:v>
                </c:pt>
                <c:pt idx="7">
                  <c:v>1613.6452</c:v>
                </c:pt>
                <c:pt idx="8">
                  <c:v>1635.0476</c:v>
                </c:pt>
                <c:pt idx="9">
                  <c:v>1071.4751</c:v>
                </c:pt>
                <c:pt idx="10">
                  <c:v>832.875</c:v>
                </c:pt>
                <c:pt idx="11">
                  <c:v>1091.9375</c:v>
                </c:pt>
                <c:pt idx="12">
                  <c:v>1764.0059</c:v>
                </c:pt>
                <c:pt idx="13">
                  <c:v>994.06</c:v>
                </c:pt>
                <c:pt idx="14">
                  <c:v>1396.1974</c:v>
                </c:pt>
                <c:pt idx="15">
                  <c:v>695.9138</c:v>
                </c:pt>
                <c:pt idx="16">
                  <c:v>1327.3125</c:v>
                </c:pt>
                <c:pt idx="17">
                  <c:v>850.4125</c:v>
                </c:pt>
                <c:pt idx="18">
                  <c:v>1204.9423</c:v>
                </c:pt>
                <c:pt idx="19">
                  <c:v>1184.7143</c:v>
                </c:pt>
                <c:pt idx="20">
                  <c:v>1767.8276</c:v>
                </c:pt>
                <c:pt idx="21">
                  <c:v>1173.697</c:v>
                </c:pt>
                <c:pt idx="22">
                  <c:v>1768.9538</c:v>
                </c:pt>
                <c:pt idx="23">
                  <c:v>821.5581</c:v>
                </c:pt>
                <c:pt idx="24">
                  <c:v>1782.5855</c:v>
                </c:pt>
                <c:pt idx="25">
                  <c:v>1305.7908</c:v>
                </c:pt>
                <c:pt idx="26">
                  <c:v>1126.4373</c:v>
                </c:pt>
                <c:pt idx="27">
                  <c:v>1028.9752</c:v>
                </c:pt>
                <c:pt idx="28">
                  <c:v>708.1779</c:v>
                </c:pt>
                <c:pt idx="29">
                  <c:v>634.3583</c:v>
                </c:pt>
                <c:pt idx="30">
                  <c:v>940.119</c:v>
                </c:pt>
                <c:pt idx="31">
                  <c:v>558.3315</c:v>
                </c:pt>
                <c:pt idx="32">
                  <c:v>1007.3968</c:v>
                </c:pt>
                <c:pt idx="33">
                  <c:v>492.7965</c:v>
                </c:pt>
                <c:pt idx="34">
                  <c:v>1871.432</c:v>
                </c:pt>
                <c:pt idx="35">
                  <c:v>791.4635</c:v>
                </c:pt>
                <c:pt idx="36">
                  <c:v>1201.3023</c:v>
                </c:pt>
                <c:pt idx="37">
                  <c:v>504.3491</c:v>
                </c:pt>
                <c:pt idx="38">
                  <c:v>1145.3012</c:v>
                </c:pt>
                <c:pt idx="39">
                  <c:v>786.7193</c:v>
                </c:pt>
                <c:pt idx="40">
                  <c:v>514.5122</c:v>
                </c:pt>
                <c:pt idx="41">
                  <c:v>531.871</c:v>
                </c:pt>
                <c:pt idx="42">
                  <c:v>1616.7265</c:v>
                </c:pt>
                <c:pt idx="43">
                  <c:v>613.6877</c:v>
                </c:pt>
                <c:pt idx="44">
                  <c:v>1147.415</c:v>
                </c:pt>
                <c:pt idx="45">
                  <c:v>545.0351</c:v>
                </c:pt>
                <c:pt idx="46">
                  <c:v>960.1974</c:v>
                </c:pt>
                <c:pt idx="47">
                  <c:v>518.6111</c:v>
                </c:pt>
                <c:pt idx="48">
                  <c:v>497.134</c:v>
                </c:pt>
                <c:pt idx="49">
                  <c:v>472.6111</c:v>
                </c:pt>
                <c:pt idx="50">
                  <c:v>1929.1739</c:v>
                </c:pt>
                <c:pt idx="51">
                  <c:v>1167.8283</c:v>
                </c:pt>
                <c:pt idx="52">
                  <c:v>1918.1947</c:v>
                </c:pt>
                <c:pt idx="53">
                  <c:v>787.7959</c:v>
                </c:pt>
                <c:pt idx="54">
                  <c:v>850.2688</c:v>
                </c:pt>
                <c:pt idx="55">
                  <c:v>1630.1809</c:v>
                </c:pt>
                <c:pt idx="56">
                  <c:v>823.5212</c:v>
                </c:pt>
                <c:pt idx="57">
                  <c:v>916.5197</c:v>
                </c:pt>
                <c:pt idx="58">
                  <c:v>500.1158</c:v>
                </c:pt>
                <c:pt idx="59">
                  <c:v>1219.3356</c:v>
                </c:pt>
                <c:pt idx="60">
                  <c:v>1167.7466</c:v>
                </c:pt>
                <c:pt idx="61">
                  <c:v>1121.1293</c:v>
                </c:pt>
                <c:pt idx="62">
                  <c:v>738.4545</c:v>
                </c:pt>
                <c:pt idx="63">
                  <c:v>1061.0833</c:v>
                </c:pt>
                <c:pt idx="64">
                  <c:v>2225.5556</c:v>
                </c:pt>
                <c:pt idx="65">
                  <c:v>923.6452</c:v>
                </c:pt>
                <c:pt idx="66">
                  <c:v>1018.5103</c:v>
                </c:pt>
                <c:pt idx="67">
                  <c:v>504.7778</c:v>
                </c:pt>
                <c:pt idx="68">
                  <c:v>3820.3333</c:v>
                </c:pt>
                <c:pt idx="69">
                  <c:v>1922.1304</c:v>
                </c:pt>
                <c:pt idx="70">
                  <c:v>1730.0</c:v>
                </c:pt>
              </c:numCache>
            </c:numRef>
          </c:xVal>
          <c:yVal>
            <c:numRef>
              <c:f>Sheet1!$B$2:$B$72</c:f>
              <c:numCache>
                <c:formatCode>General</c:formatCode>
                <c:ptCount val="71"/>
                <c:pt idx="0">
                  <c:v>0.1430472388556221</c:v>
                </c:pt>
                <c:pt idx="1">
                  <c:v>0.16554054054054054</c:v>
                </c:pt>
                <c:pt idx="2">
                  <c:v>0.13806706114398423</c:v>
                </c:pt>
                <c:pt idx="3">
                  <c:v>0.1482889733840304</c:v>
                </c:pt>
                <c:pt idx="4">
                  <c:v>0.020361990950226245</c:v>
                </c:pt>
                <c:pt idx="5">
                  <c:v>0.7960526315789473</c:v>
                </c:pt>
                <c:pt idx="6">
                  <c:v>0.21818181818181817</c:v>
                </c:pt>
                <c:pt idx="7">
                  <c:v>0.17342657342657342</c:v>
                </c:pt>
                <c:pt idx="8">
                  <c:v>0.08879492600422834</c:v>
                </c:pt>
                <c:pt idx="9">
                  <c:v>0.2970430107526882</c:v>
                </c:pt>
                <c:pt idx="10">
                  <c:v>0.11469534050179211</c:v>
                </c:pt>
                <c:pt idx="11">
                  <c:v>0.2711864406779661</c:v>
                </c:pt>
                <c:pt idx="12">
                  <c:v>0.5182926829268293</c:v>
                </c:pt>
                <c:pt idx="13">
                  <c:v>0.2066115702479339</c:v>
                </c:pt>
                <c:pt idx="14">
                  <c:v>0.2389937106918239</c:v>
                </c:pt>
                <c:pt idx="15">
                  <c:v>0.17901234567901234</c:v>
                </c:pt>
                <c:pt idx="16">
                  <c:v>0.16</c:v>
                </c:pt>
                <c:pt idx="17">
                  <c:v>0.29156999226604796</c:v>
                </c:pt>
                <c:pt idx="18">
                  <c:v>0.5154894671623296</c:v>
                </c:pt>
                <c:pt idx="19">
                  <c:v>0.010494752623688156</c:v>
                </c:pt>
                <c:pt idx="20">
                  <c:v>0.06712962962962964</c:v>
                </c:pt>
                <c:pt idx="21">
                  <c:v>0.1746031746031746</c:v>
                </c:pt>
                <c:pt idx="22">
                  <c:v>0.34189723320158105</c:v>
                </c:pt>
                <c:pt idx="23">
                  <c:v>0.08902691511387163</c:v>
                </c:pt>
                <c:pt idx="24">
                  <c:v>0.31179321486268174</c:v>
                </c:pt>
                <c:pt idx="25">
                  <c:v>0.3148148148148148</c:v>
                </c:pt>
                <c:pt idx="26">
                  <c:v>0.15097588978185994</c:v>
                </c:pt>
                <c:pt idx="27">
                  <c:v>0.38224852071005916</c:v>
                </c:pt>
                <c:pt idx="28">
                  <c:v>0.25951387183893937</c:v>
                </c:pt>
                <c:pt idx="29">
                  <c:v>0.24287974683544303</c:v>
                </c:pt>
                <c:pt idx="30">
                  <c:v>0.24372559955382042</c:v>
                </c:pt>
                <c:pt idx="31">
                  <c:v>0.35880077369439073</c:v>
                </c:pt>
                <c:pt idx="32">
                  <c:v>0.10413223140495868</c:v>
                </c:pt>
                <c:pt idx="33">
                  <c:v>0.089540412044374</c:v>
                </c:pt>
                <c:pt idx="34">
                  <c:v>0.1151012891344383</c:v>
                </c:pt>
                <c:pt idx="35">
                  <c:v>0.423956931359354</c:v>
                </c:pt>
                <c:pt idx="36">
                  <c:v>0.24022346368715083</c:v>
                </c:pt>
                <c:pt idx="37">
                  <c:v>0.343042071197411</c:v>
                </c:pt>
                <c:pt idx="38">
                  <c:v>0.2147477360931436</c:v>
                </c:pt>
                <c:pt idx="39">
                  <c:v>0.2780487804878049</c:v>
                </c:pt>
                <c:pt idx="40">
                  <c:v>0.4039408866995074</c:v>
                </c:pt>
                <c:pt idx="41">
                  <c:v>0.2831050228310502</c:v>
                </c:pt>
                <c:pt idx="42">
                  <c:v>0.2695852534562212</c:v>
                </c:pt>
                <c:pt idx="43">
                  <c:v>0.3589420654911839</c:v>
                </c:pt>
                <c:pt idx="44">
                  <c:v>0.4157608695652174</c:v>
                </c:pt>
                <c:pt idx="45">
                  <c:v>0.2259663032705649</c:v>
                </c:pt>
                <c:pt idx="46">
                  <c:v>0.37530864197530867</c:v>
                </c:pt>
                <c:pt idx="47">
                  <c:v>0.030560271646859084</c:v>
                </c:pt>
                <c:pt idx="48">
                  <c:v>0.13434903047091412</c:v>
                </c:pt>
                <c:pt idx="49">
                  <c:v>0.04699738903394256</c:v>
                </c:pt>
                <c:pt idx="50">
                  <c:v>0.16522988505747127</c:v>
                </c:pt>
                <c:pt idx="51">
                  <c:v>0.2858517805582291</c:v>
                </c:pt>
                <c:pt idx="52">
                  <c:v>0.24726477024070023</c:v>
                </c:pt>
                <c:pt idx="53">
                  <c:v>0.32666666666666666</c:v>
                </c:pt>
                <c:pt idx="54">
                  <c:v>0.2152777777777778</c:v>
                </c:pt>
                <c:pt idx="55">
                  <c:v>0.10755148741418764</c:v>
                </c:pt>
                <c:pt idx="56">
                  <c:v>0.30025445292620867</c:v>
                </c:pt>
                <c:pt idx="57">
                  <c:v>0.5105708245243129</c:v>
                </c:pt>
                <c:pt idx="58">
                  <c:v>0.14053254437869822</c:v>
                </c:pt>
                <c:pt idx="59">
                  <c:v>0.2050561797752809</c:v>
                </c:pt>
                <c:pt idx="60">
                  <c:v>0.24172185430463577</c:v>
                </c:pt>
                <c:pt idx="61">
                  <c:v>0.1324200913242009</c:v>
                </c:pt>
                <c:pt idx="62">
                  <c:v>0.028534370946822308</c:v>
                </c:pt>
                <c:pt idx="63">
                  <c:v>0.02027027027027027</c:v>
                </c:pt>
                <c:pt idx="64">
                  <c:v>0.011378002528445006</c:v>
                </c:pt>
                <c:pt idx="65">
                  <c:v>0.10739030023094688</c:v>
                </c:pt>
                <c:pt idx="66">
                  <c:v>0.11001517450682853</c:v>
                </c:pt>
                <c:pt idx="67">
                  <c:v>0.03986710963455149</c:v>
                </c:pt>
                <c:pt idx="68">
                  <c:v>0.003194888178913738</c:v>
                </c:pt>
                <c:pt idx="69">
                  <c:v>0.04801670146137787</c:v>
                </c:pt>
                <c:pt idx="70">
                  <c:v>0.005063291139240506</c:v>
                </c:pt>
              </c:numCache>
            </c:numRef>
          </c:yVal>
          <c:smooth val="0"/>
          <c:extLst>
            <c:ext xmlns:c16="http://schemas.microsoft.com/office/drawing/2014/chart" uri="{C3380CC4-5D6E-409C-BE32-E72D297353CC}">
              <c16:uniqueId val="{00000000-F32D-48B7-BC20-E66FC6253BAD}"/>
            </c:ext>
          </c:extLst>
        </c:ser>
        <c:ser>
          <c:idx val="1"/>
          <c:order val="1"/>
          <c:tx>
            <c:strRef>
              <c:f>Sheet1!$B$74</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75:$A$96</c:f>
              <c:numCache>
                <c:formatCode>General</c:formatCode>
                <c:ptCount val="22"/>
                <c:pt idx="0">
                  <c:v>1165.7669</c:v>
                </c:pt>
                <c:pt idx="1">
                  <c:v>1143.5882</c:v>
                </c:pt>
                <c:pt idx="2">
                  <c:v>2284.5</c:v>
                </c:pt>
                <c:pt idx="3">
                  <c:v>960.6471</c:v>
                </c:pt>
                <c:pt idx="4">
                  <c:v>4469.75</c:v>
                </c:pt>
                <c:pt idx="5">
                  <c:v>1082.3739</c:v>
                </c:pt>
                <c:pt idx="6">
                  <c:v>1037.4556</c:v>
                </c:pt>
                <c:pt idx="7">
                  <c:v>1203.175</c:v>
                </c:pt>
                <c:pt idx="8">
                  <c:v>1018.5574</c:v>
                </c:pt>
                <c:pt idx="9">
                  <c:v>1017.831</c:v>
                </c:pt>
                <c:pt idx="10">
                  <c:v>643.1667</c:v>
                </c:pt>
                <c:pt idx="11">
                  <c:v>1224.1778</c:v>
                </c:pt>
                <c:pt idx="12">
                  <c:v>1495.7419</c:v>
                </c:pt>
                <c:pt idx="13">
                  <c:v>1634.1379</c:v>
                </c:pt>
                <c:pt idx="14">
                  <c:v>2379.0</c:v>
                </c:pt>
                <c:pt idx="15">
                  <c:v>1219.2372</c:v>
                </c:pt>
                <c:pt idx="16">
                  <c:v>3215.5</c:v>
                </c:pt>
                <c:pt idx="17">
                  <c:v>1608.8571</c:v>
                </c:pt>
                <c:pt idx="18">
                  <c:v>1543.7857</c:v>
                </c:pt>
                <c:pt idx="19">
                  <c:v>3721.7273</c:v>
                </c:pt>
                <c:pt idx="20">
                  <c:v>694.1333</c:v>
                </c:pt>
                <c:pt idx="21">
                  <c:v>1046.025</c:v>
                </c:pt>
              </c:numCache>
            </c:numRef>
          </c:xVal>
          <c:yVal>
            <c:numRef>
              <c:f>Sheet1!$B$75:$B$96</c:f>
              <c:numCache>
                <c:formatCode>General</c:formatCode>
                <c:ptCount val="22"/>
                <c:pt idx="0">
                  <c:v>0.1543560606060606</c:v>
                </c:pt>
                <c:pt idx="1">
                  <c:v>0.02135678391959799</c:v>
                </c:pt>
                <c:pt idx="2">
                  <c:v>0.012688342585249802</c:v>
                </c:pt>
                <c:pt idx="3">
                  <c:v>0.18888888888888888</c:v>
                </c:pt>
                <c:pt idx="4">
                  <c:v>0.02531645569620253</c:v>
                </c:pt>
                <c:pt idx="5">
                  <c:v>0.28117359413202936</c:v>
                </c:pt>
                <c:pt idx="6">
                  <c:v>0.582312925170068</c:v>
                </c:pt>
                <c:pt idx="7">
                  <c:v>0.121765601217656</c:v>
                </c:pt>
                <c:pt idx="8">
                  <c:v>0.2982885085574572</c:v>
                </c:pt>
                <c:pt idx="9">
                  <c:v>0.544766708701135</c:v>
                </c:pt>
                <c:pt idx="10">
                  <c:v>0.00949367088607595</c:v>
                </c:pt>
                <c:pt idx="11">
                  <c:v>0.10948905109489052</c:v>
                </c:pt>
                <c:pt idx="12">
                  <c:v>0.04200542005420054</c:v>
                </c:pt>
                <c:pt idx="13">
                  <c:v>0.2049469964664311</c:v>
                </c:pt>
                <c:pt idx="14">
                  <c:v>0.006430868167202572</c:v>
                </c:pt>
                <c:pt idx="15">
                  <c:v>0.2948960302457467</c:v>
                </c:pt>
                <c:pt idx="16">
                  <c:v>0.008368200836820083</c:v>
                </c:pt>
                <c:pt idx="17">
                  <c:v>0.0412573673870334</c:v>
                </c:pt>
                <c:pt idx="18">
                  <c:v>0.025547445255474453</c:v>
                </c:pt>
                <c:pt idx="19">
                  <c:v>0.03206997084548105</c:v>
                </c:pt>
                <c:pt idx="20">
                  <c:v>0.05190311418685121</c:v>
                </c:pt>
                <c:pt idx="21">
                  <c:v>0.1553398058252427</c:v>
                </c:pt>
              </c:numCache>
            </c:numRef>
          </c:yVal>
          <c:smooth val="0"/>
          <c:extLst>
            <c:ext xmlns:c16="http://schemas.microsoft.com/office/drawing/2014/chart" uri="{C3380CC4-5D6E-409C-BE32-E72D297353CC}">
              <c16:uniqueId val="{00000002-F32D-48B7-BC20-E66FC6253BAD}"/>
            </c:ext>
          </c:extLst>
        </c:ser>
        <c:ser>
          <c:idx val="2"/>
          <c:order val="2"/>
          <c:tx>
            <c:strRef>
              <c:f>Sheet1!$B$98</c:f>
              <c:strCache>
                <c:ptCount val="1"/>
                <c:pt idx="0">
                  <c:v>Custom Linep3yQ</c:v>
                </c:pt>
              </c:strCache>
            </c:strRef>
          </c:tx>
          <c:spPr>
            <a:ln w="19050" cap="rnd">
              <a:solidFill>
                <a:srgbClr val="C00000"/>
              </a:solidFill>
              <a:prstDash val="sysDot"/>
              <a:round/>
            </a:ln>
            <a:effectLst/>
          </c:spPr>
          <c:marker>
            <c:symbol val="none"/>
          </c:marker>
          <c:xVal>
            <c:numRef>
              <c:f>Sheet1!$A$99:$A$100</c:f>
              <c:numCache>
                <c:formatCode>General</c:formatCode>
                <c:ptCount val="2"/>
                <c:pt idx="0">
                  <c:v>0</c:v>
                </c:pt>
                <c:pt idx="1">
                  <c:v>-21.90293608047156</c:v>
                </c:pt>
              </c:numCache>
            </c:numRef>
          </c:xVal>
          <c:yVal>
            <c:numRef>
              <c:f>Sheet1!$B$99:$B$100</c:f>
              <c:numCache>
                <c:formatCode>General</c:formatCode>
                <c:ptCount val="2"/>
                <c:pt idx="0">
                  <c:v>0.2580748338566698</c:v>
                </c:pt>
                <c:pt idx="1">
                  <c:v>0.2580748338566698</c:v>
                </c:pt>
              </c:numCache>
            </c:numRef>
          </c:yVal>
          <c:smooth val="0"/>
          <c:extLst>
            <c:ext xmlns:c16="http://schemas.microsoft.com/office/drawing/2014/chart" uri="{C3380CC4-5D6E-409C-BE32-E72D297353CC}">
              <c16:uniqueId val="{00000003-F32D-48B7-BC20-E66FC6253BAD}"/>
            </c:ext>
          </c:extLst>
        </c:ser>
        <c:ser>
          <c:idx val="3"/>
          <c:order val="3"/>
          <c:tx>
            <c:strRef>
              <c:f>Sheet1!$B$10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3:$A$104</c:f>
              <c:numCache>
                <c:formatCode>General</c:formatCode>
                <c:ptCount val="2"/>
                <c:pt idx="0">
                  <c:v>-21.90293608047156</c:v>
                </c:pt>
                <c:pt idx="1">
                  <c:v>-21.90293608047156</c:v>
                </c:pt>
              </c:numCache>
            </c:numRef>
          </c:xVal>
          <c:yVal>
            <c:numRef>
              <c:f>Sheet1!$B$103:$B$104</c:f>
              <c:numCache>
                <c:formatCode>General</c:formatCode>
                <c:ptCount val="2"/>
                <c:pt idx="0">
                  <c:v>0.258074833856669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6</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07:$A$108</c:f>
              <c:numCache>
                <c:formatCode>General</c:formatCode>
                <c:ptCount val="2"/>
                <c:pt idx="0">
                  <c:v>0</c:v>
                </c:pt>
                <c:pt idx="1">
                  <c:v>116.67947881950818</c:v>
                </c:pt>
              </c:numCache>
            </c:numRef>
          </c:xVal>
          <c:yVal>
            <c:numRef>
              <c:f>Sheet1!$B$107:$B$108</c:f>
              <c:numCache>
                <c:formatCode>General</c:formatCode>
                <c:ptCount val="2"/>
                <c:pt idx="0">
                  <c:v>0.2486619349766891</c:v>
                </c:pt>
                <c:pt idx="1">
                  <c:v>0.2486619349766891</c:v>
                </c:pt>
              </c:numCache>
            </c:numRef>
          </c:yVal>
          <c:smooth val="0"/>
          <c:extLst>
            <c:ext xmlns:c16="http://schemas.microsoft.com/office/drawing/2014/chart" uri="{C3380CC4-5D6E-409C-BE32-E72D297353CC}">
              <c16:uniqueId val="{0000000A-F32D-48B7-BC20-E66FC6253BAD}"/>
            </c:ext>
          </c:extLst>
        </c:ser>
        <c:ser>
          <c:idx val="5"/>
          <c:order val="5"/>
          <c:tx>
            <c:strRef>
              <c:f>Sheet1!$B$110</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1:$A$112</c:f>
              <c:numCache>
                <c:formatCode>General</c:formatCode>
                <c:ptCount val="2"/>
                <c:pt idx="0">
                  <c:v>116.67947881950818</c:v>
                </c:pt>
                <c:pt idx="1">
                  <c:v>116.67947881950818</c:v>
                </c:pt>
              </c:numCache>
            </c:numRef>
          </c:xVal>
          <c:yVal>
            <c:numRef>
              <c:f>Sheet1!$B$111:$B$112</c:f>
              <c:numCache>
                <c:formatCode>General</c:formatCode>
                <c:ptCount val="2"/>
                <c:pt idx="0">
                  <c:v>0.248661934976689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4</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5:$A$116</c:f>
              <c:numCache>
                <c:formatCode>General</c:formatCode>
                <c:ptCount val="2"/>
                <c:pt idx="0">
                  <c:v>0</c:v>
                </c:pt>
                <c:pt idx="1">
                  <c:v>2802.7728404621516</c:v>
                </c:pt>
              </c:numCache>
            </c:numRef>
          </c:xVal>
          <c:yVal>
            <c:numRef>
              <c:f>Sheet1!$B$115:$B$116</c:f>
              <c:numCache>
                <c:formatCode>General</c:formatCode>
                <c:ptCount val="2"/>
                <c:pt idx="0">
                  <c:v>0.06621508402826234</c:v>
                </c:pt>
                <c:pt idx="1">
                  <c:v>0.06621508402826234</c:v>
                </c:pt>
              </c:numCache>
            </c:numRef>
          </c:yVal>
          <c:smooth val="0"/>
          <c:extLst>
            <c:ext xmlns:c16="http://schemas.microsoft.com/office/drawing/2014/chart" uri="{C3380CC4-5D6E-409C-BE32-E72D297353CC}">
              <c16:uniqueId val="{00000011-F32D-48B7-BC20-E66FC6253BAD}"/>
            </c:ext>
          </c:extLst>
        </c:ser>
        <c:ser>
          <c:idx val="7"/>
          <c:order val="7"/>
          <c:tx>
            <c:strRef>
              <c:f>Sheet1!$B$118</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9:$A$120</c:f>
              <c:numCache>
                <c:formatCode>General</c:formatCode>
                <c:ptCount val="2"/>
                <c:pt idx="0">
                  <c:v>2802.7728404621516</c:v>
                </c:pt>
                <c:pt idx="1">
                  <c:v>2802.7728404621516</c:v>
                </c:pt>
              </c:numCache>
            </c:numRef>
          </c:xVal>
          <c:yVal>
            <c:numRef>
              <c:f>Sheet1!$B$119:$B$120</c:f>
              <c:numCache>
                <c:formatCode>General</c:formatCode>
                <c:ptCount val="2"/>
                <c:pt idx="0">
                  <c:v>0.0662150840282623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2</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3:$A$147</c:f>
              <c:numCache>
                <c:formatCode>General</c:formatCode>
                <c:ptCount val="25"/>
                <c:pt idx="0">
                  <c:v>1165.7669</c:v>
                </c:pt>
                <c:pt idx="1">
                  <c:v>1143.5882</c:v>
                </c:pt>
                <c:pt idx="2">
                  <c:v>2284.5</c:v>
                </c:pt>
                <c:pt idx="3">
                  <c:v>960.6471</c:v>
                </c:pt>
                <c:pt idx="4">
                  <c:v>4469.75</c:v>
                </c:pt>
                <c:pt idx="5">
                  <c:v>1082.3739</c:v>
                </c:pt>
                <c:pt idx="6">
                  <c:v>1037.4556</c:v>
                </c:pt>
                <c:pt idx="7">
                  <c:v>1203.175</c:v>
                </c:pt>
                <c:pt idx="8">
                  <c:v>1018.5574</c:v>
                </c:pt>
                <c:pt idx="9">
                  <c:v>1017.831</c:v>
                </c:pt>
                <c:pt idx="10">
                  <c:v>643.1667</c:v>
                </c:pt>
                <c:pt idx="11">
                  <c:v>1224.1778</c:v>
                </c:pt>
                <c:pt idx="12">
                  <c:v>1495.7419</c:v>
                </c:pt>
                <c:pt idx="13">
                  <c:v>1634.1379</c:v>
                </c:pt>
                <c:pt idx="14">
                  <c:v>2379.0</c:v>
                </c:pt>
                <c:pt idx="15">
                  <c:v>1219.2372</c:v>
                </c:pt>
                <c:pt idx="16">
                  <c:v>3215.5</c:v>
                </c:pt>
                <c:pt idx="17">
                  <c:v>1608.8571</c:v>
                </c:pt>
                <c:pt idx="18">
                  <c:v>1543.7857</c:v>
                </c:pt>
                <c:pt idx="19">
                  <c:v>3721.7273</c:v>
                </c:pt>
                <c:pt idx="20">
                  <c:v>694.1333</c:v>
                </c:pt>
                <c:pt idx="21">
                  <c:v>1046.025</c:v>
                </c:pt>
                <c:pt idx="22">
                  <c:v>116.67947881950818</c:v>
                </c:pt>
                <c:pt idx="23">
                  <c:v>-21.90293608047156</c:v>
                </c:pt>
                <c:pt idx="24">
                  <c:v>2802.7728404621516</c:v>
                </c:pt>
              </c:numCache>
            </c:numRef>
          </c:xVal>
          <c:yVal>
            <c:numRef>
              <c:f>Sheet1!$B$123:$B$147</c:f>
              <c:numCache>
                <c:formatCode>General</c:formatCode>
                <c:ptCount val="25"/>
                <c:pt idx="0">
                  <c:v>0.17740503114109907</c:v>
                </c:pt>
                <c:pt idx="1">
                  <c:v>0.17891146946186365</c:v>
                </c:pt>
                <c:pt idx="2">
                  <c:v>0.10141760119489973</c:v>
                </c:pt>
                <c:pt idx="3">
                  <c:v>0.19133733227090244</c:v>
                </c:pt>
                <c:pt idx="4">
                  <c:v>-0.04701059073929087</c:v>
                </c:pt>
                <c:pt idx="5">
                  <c:v>0.18306931312712718</c:v>
                </c:pt>
                <c:pt idx="6">
                  <c:v>0.18612028763977223</c:v>
                </c:pt>
                <c:pt idx="7">
                  <c:v>0.17486417007408459</c:v>
                </c:pt>
                <c:pt idx="8">
                  <c:v>0.1874039053754138</c:v>
                </c:pt>
                <c:pt idx="9">
                  <c:v>0.1874532444618437</c:v>
                </c:pt>
                <c:pt idx="10">
                  <c:v>0.21290147447272995</c:v>
                </c:pt>
                <c:pt idx="11">
                  <c:v>0.17343760211638848</c:v>
                </c:pt>
                <c:pt idx="12">
                  <c:v>0.1549922213328462</c:v>
                </c:pt>
                <c:pt idx="13">
                  <c:v>0.1455919842657261</c:v>
                </c:pt>
                <c:pt idx="14">
                  <c:v>0.09499890121193166</c:v>
                </c:pt>
                <c:pt idx="15">
                  <c:v>0.1737731812606832</c:v>
                </c:pt>
                <c:pt idx="16">
                  <c:v>0.03818151988121413</c:v>
                </c:pt>
                <c:pt idx="17">
                  <c:v>0.1473091257528099</c:v>
                </c:pt>
                <c:pt idx="18">
                  <c:v>0.15172895426150523</c:v>
                </c:pt>
                <c:pt idx="19">
                  <c:v>0.00379716896176463</c:v>
                </c:pt>
                <c:pt idx="20">
                  <c:v>0.20943968278434963</c:v>
                </c:pt>
                <c:pt idx="21">
                  <c:v>0.1855382304161315</c:v>
                </c:pt>
                <c:pt idx="22">
                  <c:v>0.2486619349766891</c:v>
                </c:pt>
                <c:pt idx="23">
                  <c:v>0.2580748338566698</c:v>
                </c:pt>
                <c:pt idx="24">
                  <c:v>0.0662150840282623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36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552631578947368"/>
          <c:min val="0.002555910543130990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c:f>
              <c:numCache>
                <c:formatCode>General</c:formatCode>
                <c:ptCount val="6"/>
                <c:pt idx="0">
                  <c:v>1.090065208488093</c:v>
                </c:pt>
                <c:pt idx="1">
                  <c:v>1.173144798046696</c:v>
                </c:pt>
                <c:pt idx="2">
                  <c:v>1.3293770860450165</c:v>
                </c:pt>
                <c:pt idx="3">
                  <c:v>1.4913036915067515</c:v>
                </c:pt>
                <c:pt idx="4">
                  <c:v>1.312644350583748</c:v>
                </c:pt>
                <c:pt idx="5">
                  <c:v>0.8393814668077446</c:v>
                </c:pt>
              </c:numCache>
            </c:numRef>
          </c:xVal>
          <c:yVal>
            <c:numRef>
              <c:f>Sheet1!$B$2:$B$7</c:f>
              <c:numCache>
                <c:formatCode>General</c:formatCode>
                <c:ptCount val="6"/>
                <c:pt idx="0">
                  <c:v>0.00646830530401035</c:v>
                </c:pt>
                <c:pt idx="1">
                  <c:v>0.0049261083743842365</c:v>
                </c:pt>
                <c:pt idx="2">
                  <c:v>0.006912442396313364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096C-4121-9522-6AB7243CCAAE}"/>
            </c:ext>
          </c:extLst>
        </c:ser>
        <c:ser>
          <c:idx val="1"/>
          <c:order val="1"/>
          <c:tx>
            <c:strRef>
              <c:f>Sheet1!$B$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A$11</c:f>
              <c:numCache>
                <c:formatCode>General</c:formatCode>
                <c:ptCount val="2"/>
                <c:pt idx="0">
                  <c:v>0.8507482758215444</c:v>
                </c:pt>
                <c:pt idx="1">
                  <c:v>0.6765779675557466</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096C-4121-9522-6AB7243CCAAE}"/>
            </c:ext>
          </c:extLst>
        </c:ser>
        <c:ser>
          <c:idx val="2"/>
          <c:order val="2"/>
          <c:tx>
            <c:strRef>
              <c:f>Sheet1!$B$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A$15</c:f>
              <c:numCache>
                <c:formatCode>General</c:formatCode>
                <c:ptCount val="2"/>
                <c:pt idx="0">
                  <c:v>0</c:v>
                </c:pt>
                <c:pt idx="1">
                  <c:v>0.6765779675557465</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5-096C-4121-9522-6AB7243CCAAE}"/>
            </c:ext>
          </c:extLst>
        </c:ser>
        <c:ser>
          <c:idx val="3"/>
          <c:order val="3"/>
          <c:tx>
            <c:strRef>
              <c:f>Sheet1!$B$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A$19</c:f>
              <c:numCache>
                <c:formatCode>General</c:formatCode>
                <c:ptCount val="2"/>
                <c:pt idx="0">
                  <c:v>0.6765779675557465</c:v>
                </c:pt>
                <c:pt idx="1">
                  <c:v>0.6765779675557465</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2:$A$23</c:f>
              <c:numCache>
                <c:formatCode>General</c:formatCode>
                <c:ptCount val="2"/>
                <c:pt idx="0">
                  <c:v>0</c:v>
                </c:pt>
                <c:pt idx="1">
                  <c:v>0.6765779675557465</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D-096C-4121-9522-6AB7243CCAAE}"/>
            </c:ext>
          </c:extLst>
        </c:ser>
        <c:ser>
          <c:idx val="5"/>
          <c:order val="5"/>
          <c:tx>
            <c:strRef>
              <c:f>Sheet1!$B$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6:$A$27</c:f>
              <c:numCache>
                <c:formatCode>General</c:formatCode>
                <c:ptCount val="2"/>
                <c:pt idx="0">
                  <c:v>0.6765779675557465</c:v>
                </c:pt>
                <c:pt idx="1">
                  <c:v>0.6765779675557465</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9</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0:$A$34</c:f>
              <c:numCache>
                <c:formatCode>General</c:formatCode>
                <c:ptCount val="5"/>
                <c:pt idx="0">
                  <c:v>0.8507482758215444</c:v>
                </c:pt>
                <c:pt idx="1">
                  <c:v>0.6765779675557466</c:v>
                </c:pt>
                <c:pt idx="2">
                  <c:v>0.6765779675557465</c:v>
                </c:pt>
                <c:pt idx="3">
                  <c:v>0.6765779675557465</c:v>
                </c:pt>
                <c:pt idx="4">
                  <c:v>0</c:v>
                </c:pt>
              </c:numCache>
            </c:numRef>
          </c:xVal>
          <c:yVal>
            <c:numRef>
              <c:f>Sheet1!$B$30:$B$34</c:f>
              <c:numCache>
                <c:formatCode>General</c:formatCode>
                <c:ptCount val="5"/>
                <c:pt idx="0">
                  <c:v>0.005454545454545462</c:v>
                </c:pt>
                <c:pt idx="1">
                  <c:v>0.0101010101010101</c:v>
                </c:pt>
                <c:pt idx="2">
                  <c:v>0.010101010101010104</c:v>
                </c:pt>
                <c:pt idx="3">
                  <c:v>0.010101010101010104</c:v>
                </c:pt>
                <c:pt idx="4">
                  <c:v>0.02815055963747383</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c:f>
              <c:numCache>
                <c:formatCode>General</c:formatCode>
                <c:ptCount val="6"/>
                <c:pt idx="0">
                  <c:v>2326.0</c:v>
                </c:pt>
                <c:pt idx="1">
                  <c:v>1970.0</c:v>
                </c:pt>
                <c:pt idx="2">
                  <c:v>1927.6667</c:v>
                </c:pt>
                <c:pt idx="3">
                  <c:v>2306.8</c:v>
                </c:pt>
                <c:pt idx="4">
                  <c:v>1859.6667</c:v>
                </c:pt>
                <c:pt idx="5">
                  <c:v>1772.0</c:v>
                </c:pt>
              </c:numCache>
            </c:numRef>
          </c:xVal>
          <c:yVal>
            <c:numRef>
              <c:f>Sheet1!$B$2:$B$7</c:f>
              <c:numCache>
                <c:formatCode>General</c:formatCode>
                <c:ptCount val="6"/>
                <c:pt idx="0">
                  <c:v>0.00646830530401035</c:v>
                </c:pt>
                <c:pt idx="1">
                  <c:v>0.0049261083743842365</c:v>
                </c:pt>
                <c:pt idx="2">
                  <c:v>0.006912442396313364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F32D-48B7-BC20-E66FC6253BAD}"/>
            </c:ext>
          </c:extLst>
        </c:ser>
        <c:ser>
          <c:idx val="1"/>
          <c:order val="1"/>
          <c:tx>
            <c:strRef>
              <c:f>Sheet1!$B$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A$11</c:f>
              <c:numCache>
                <c:formatCode>General</c:formatCode>
                <c:ptCount val="2"/>
                <c:pt idx="0">
                  <c:v>1715.6667</c:v>
                </c:pt>
                <c:pt idx="1">
                  <c:v>876.6667</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F32D-48B7-BC20-E66FC6253BAD}"/>
            </c:ext>
          </c:extLst>
        </c:ser>
        <c:ser>
          <c:idx val="2"/>
          <c:order val="2"/>
          <c:tx>
            <c:strRef>
              <c:f>Sheet1!$B$13</c:f>
              <c:strCache>
                <c:ptCount val="1"/>
                <c:pt idx="0">
                  <c:v>Custom Linep3yQ</c:v>
                </c:pt>
              </c:strCache>
            </c:strRef>
          </c:tx>
          <c:spPr>
            <a:ln w="19050" cap="rnd">
              <a:solidFill>
                <a:srgbClr val="C00000"/>
              </a:solidFill>
              <a:prstDash val="sysDot"/>
              <a:round/>
            </a:ln>
            <a:effectLst/>
          </c:spPr>
          <c:marker>
            <c:symbol val="none"/>
          </c:marker>
          <c:xVal>
            <c:numRef>
              <c:f>Sheet1!$A$14:$A$15</c:f>
              <c:numCache>
                <c:formatCode>General</c:formatCode>
                <c:ptCount val="2"/>
                <c:pt idx="0">
                  <c:v>0</c:v>
                </c:pt>
                <c:pt idx="1">
                  <c:v>876.6666999999995</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3-F32D-48B7-BC20-E66FC6253BAD}"/>
            </c:ext>
          </c:extLst>
        </c:ser>
        <c:ser>
          <c:idx val="3"/>
          <c:order val="3"/>
          <c:tx>
            <c:strRef>
              <c:f>Sheet1!$B$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A$19</c:f>
              <c:numCache>
                <c:formatCode>General</c:formatCode>
                <c:ptCount val="2"/>
                <c:pt idx="0">
                  <c:v>876.6666999999995</c:v>
                </c:pt>
                <c:pt idx="1">
                  <c:v>876.6666999999995</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2:$A$23</c:f>
              <c:numCache>
                <c:formatCode>General</c:formatCode>
                <c:ptCount val="2"/>
                <c:pt idx="0">
                  <c:v>0</c:v>
                </c:pt>
                <c:pt idx="1">
                  <c:v>876.6666999999995</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A-F32D-48B7-BC20-E66FC6253BAD}"/>
            </c:ext>
          </c:extLst>
        </c:ser>
        <c:ser>
          <c:idx val="5"/>
          <c:order val="5"/>
          <c:tx>
            <c:strRef>
              <c:f>Sheet1!$B$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6:$A$27</c:f>
              <c:numCache>
                <c:formatCode>General</c:formatCode>
                <c:ptCount val="2"/>
                <c:pt idx="0">
                  <c:v>876.6666999999995</c:v>
                </c:pt>
                <c:pt idx="1">
                  <c:v>876.6666999999995</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9</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0:$A$34</c:f>
              <c:numCache>
                <c:formatCode>General</c:formatCode>
                <c:ptCount val="5"/>
                <c:pt idx="0">
                  <c:v>1715.6667</c:v>
                </c:pt>
                <c:pt idx="1">
                  <c:v>876.6667</c:v>
                </c:pt>
                <c:pt idx="2">
                  <c:v>876.6666999999995</c:v>
                </c:pt>
                <c:pt idx="3">
                  <c:v>876.6666999999995</c:v>
                </c:pt>
                <c:pt idx="4">
                  <c:v>0</c:v>
                </c:pt>
              </c:numCache>
            </c:numRef>
          </c:xVal>
          <c:yVal>
            <c:numRef>
              <c:f>Sheet1!$B$30:$B$34</c:f>
              <c:numCache>
                <c:formatCode>General</c:formatCode>
                <c:ptCount val="5"/>
                <c:pt idx="0">
                  <c:v>0.0054545454545454515</c:v>
                </c:pt>
                <c:pt idx="1">
                  <c:v>0.0101010101010101</c:v>
                </c:pt>
                <c:pt idx="2">
                  <c:v>0.010101010101010102</c:v>
                </c:pt>
                <c:pt idx="3">
                  <c:v>0.010101010101010102</c:v>
                </c:pt>
                <c:pt idx="4">
                  <c:v>0.014956076642467583</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9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c:f>
              <c:numCache>
                <c:formatCode>General</c:formatCode>
                <c:ptCount val="6"/>
                <c:pt idx="0">
                  <c:v>1.6344157648746063</c:v>
                </c:pt>
                <c:pt idx="1">
                  <c:v>1.6480022740758282</c:v>
                </c:pt>
                <c:pt idx="2">
                  <c:v>1.8330119777805862</c:v>
                </c:pt>
                <c:pt idx="3">
                  <c:v>1.8521591890195577</c:v>
                </c:pt>
                <c:pt idx="4">
                  <c:v>2.2269659910086297</c:v>
                </c:pt>
                <c:pt idx="5">
                  <c:v>1.5348775367814087</c:v>
                </c:pt>
              </c:numCache>
            </c:numRef>
          </c:xVal>
          <c:yVal>
            <c:numRef>
              <c:f>Sheet1!$B$2:$B$7</c:f>
              <c:numCache>
                <c:formatCode>General</c:formatCode>
                <c:ptCount val="6"/>
                <c:pt idx="0">
                  <c:v>0.00646830530401035</c:v>
                </c:pt>
                <c:pt idx="1">
                  <c:v>0.0049261083743842365</c:v>
                </c:pt>
                <c:pt idx="2">
                  <c:v>0.006912442396313364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096C-4121-9522-6AB7243CCAAE}"/>
            </c:ext>
          </c:extLst>
        </c:ser>
        <c:ser>
          <c:idx val="1"/>
          <c:order val="1"/>
          <c:tx>
            <c:strRef>
              <c:f>Sheet1!$B$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A$11</c:f>
              <c:numCache>
                <c:formatCode>General</c:formatCode>
                <c:ptCount val="2"/>
                <c:pt idx="0">
                  <c:v>1.2864556839395145</c:v>
                </c:pt>
                <c:pt idx="1">
                  <c:v>0.6117647805912676</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096C-4121-9522-6AB7243CCAAE}"/>
            </c:ext>
          </c:extLst>
        </c:ser>
        <c:ser>
          <c:idx val="2"/>
          <c:order val="2"/>
          <c:tx>
            <c:strRef>
              <c:f>Sheet1!$B$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A$15</c:f>
              <c:numCache>
                <c:formatCode>General</c:formatCode>
                <c:ptCount val="2"/>
                <c:pt idx="0">
                  <c:v>0</c:v>
                </c:pt>
                <c:pt idx="1">
                  <c:v>0.6117647805912674</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5-096C-4121-9522-6AB7243CCAAE}"/>
            </c:ext>
          </c:extLst>
        </c:ser>
        <c:ser>
          <c:idx val="3"/>
          <c:order val="3"/>
          <c:tx>
            <c:strRef>
              <c:f>Sheet1!$B$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A$19</c:f>
              <c:numCache>
                <c:formatCode>General</c:formatCode>
                <c:ptCount val="2"/>
                <c:pt idx="0">
                  <c:v>0.6117647805912674</c:v>
                </c:pt>
                <c:pt idx="1">
                  <c:v>0.6117647805912674</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2:$A$23</c:f>
              <c:numCache>
                <c:formatCode>General</c:formatCode>
                <c:ptCount val="2"/>
                <c:pt idx="0">
                  <c:v>0</c:v>
                </c:pt>
                <c:pt idx="1">
                  <c:v>0.6117647805912674</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D-096C-4121-9522-6AB7243CCAAE}"/>
            </c:ext>
          </c:extLst>
        </c:ser>
        <c:ser>
          <c:idx val="5"/>
          <c:order val="5"/>
          <c:tx>
            <c:strRef>
              <c:f>Sheet1!$B$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6:$A$27</c:f>
              <c:numCache>
                <c:formatCode>General</c:formatCode>
                <c:ptCount val="2"/>
                <c:pt idx="0">
                  <c:v>0.6117647805912674</c:v>
                </c:pt>
                <c:pt idx="1">
                  <c:v>0.6117647805912674</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9</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0:$A$34</c:f>
              <c:numCache>
                <c:formatCode>General</c:formatCode>
                <c:ptCount val="5"/>
                <c:pt idx="0">
                  <c:v>1.2864556839395145</c:v>
                </c:pt>
                <c:pt idx="1">
                  <c:v>0.6117647805912676</c:v>
                </c:pt>
                <c:pt idx="2">
                  <c:v>0.6117647805912674</c:v>
                </c:pt>
                <c:pt idx="3">
                  <c:v>0.6117647805912674</c:v>
                </c:pt>
                <c:pt idx="4">
                  <c:v>0</c:v>
                </c:pt>
              </c:numCache>
            </c:numRef>
          </c:xVal>
          <c:yVal>
            <c:numRef>
              <c:f>Sheet1!$B$30:$B$34</c:f>
              <c:numCache>
                <c:formatCode>General</c:formatCode>
                <c:ptCount val="5"/>
                <c:pt idx="0">
                  <c:v>0.0054545454545454515</c:v>
                </c:pt>
                <c:pt idx="1">
                  <c:v>0.0101010101010101</c:v>
                </c:pt>
                <c:pt idx="2">
                  <c:v>0.010101010101010102</c:v>
                </c:pt>
                <c:pt idx="3">
                  <c:v>0.010101010101010102</c:v>
                </c:pt>
                <c:pt idx="4">
                  <c:v>0.014314114814387756</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Others Marca Unif.</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337452777475052</c:v>
                </c:pt>
                <c:pt idx="1">
                  <c:v>0.6920754628422863</c:v>
                </c:pt>
                <c:pt idx="2">
                  <c:v>0.680899018201256</c:v>
                </c:pt>
                <c:pt idx="3">
                  <c:v>0.6838140943331468</c:v>
                </c:pt>
                <c:pt idx="4">
                  <c:v>0.6746441175417874</c:v>
                </c:pt>
                <c:pt idx="5">
                  <c:v>0.6768571598878343</c:v>
                </c:pt>
                <c:pt idx="6">
                  <c:v>0.6423953637828793</c:v>
                </c:pt>
                <c:pt idx="7">
                  <c:v>0.6445624984400019</c:v>
                </c:pt>
                <c:pt idx="8">
                  <c:v>0.6594245812676313</c:v>
                </c:pt>
                <c:pt idx="9">
                  <c:v>0.667014930899588</c:v>
                </c:pt>
                <c:pt idx="10">
                  <c:v>0.6681492145122929</c:v>
                </c:pt>
                <c:pt idx="11">
                  <c:v>0.6781603287317141</c:v>
                </c:pt>
                <c:pt idx="12">
                  <c:v>0.6838893013479894</c:v>
                </c:pt>
                <c:pt idx="13">
                  <c:v>0.666615797721821</c:v>
                </c:pt>
                <c:pt idx="14">
                  <c:v>0.6950813939190427</c:v>
                </c:pt>
                <c:pt idx="15">
                  <c:v>0.6920313949669364</c:v>
                </c:pt>
                <c:pt idx="16">
                  <c:v>0.7124158143362671</c:v>
                </c:pt>
                <c:pt idx="17">
                  <c:v>0.6837630576333494</c:v>
                </c:pt>
                <c:pt idx="18">
                  <c:v>0.7183941413702594</c:v>
                </c:pt>
                <c:pt idx="19">
                  <c:v>0.7167682741593782</c:v>
                </c:pt>
                <c:pt idx="20">
                  <c:v>0.7402181453808193</c:v>
                </c:pt>
                <c:pt idx="21">
                  <c:v>0.6800644878190706</c:v>
                </c:pt>
                <c:pt idx="22">
                  <c:v>0.634507168313067</c:v>
                </c:pt>
                <c:pt idx="23">
                  <c:v>0.6176717148596023</c:v>
                </c:pt>
                <c:pt idx="24">
                  <c:v>0.6122191580036526</c:v>
                </c:pt>
                <c:pt idx="25">
                  <c:v>0.5833282064150513</c:v>
                </c:pt>
                <c:pt idx="26">
                  <c:v>0.6112092940360129</c:v>
                </c:pt>
                <c:pt idx="27">
                  <c:v>0.6394889160352503</c:v>
                </c:pt>
                <c:pt idx="28">
                  <c:v>0.6040366840302542</c:v>
                </c:pt>
                <c:pt idx="29">
                  <c:v>0.5798120479736526</c:v>
                </c:pt>
                <c:pt idx="30">
                  <c:v>0.5848306709211524</c:v>
                </c:pt>
                <c:pt idx="31">
                  <c:v>0.5855075703588987</c:v>
                </c:pt>
                <c:pt idx="32">
                  <c:v>0.5700803667640852</c:v>
                </c:pt>
                <c:pt idx="33">
                  <c:v>0.5484201828192041</c:v>
                </c:pt>
                <c:pt idx="34">
                  <c:v>0.6074430646553566</c:v>
                </c:pt>
                <c:pt idx="35">
                  <c:v>0.6849543604389047</c:v>
                </c:pt>
                <c:pt idx="36">
                  <c:v>0.6930627732514696</c:v>
                </c:pt>
                <c:pt idx="37">
                  <c:v>0.6675880901994088</c:v>
                </c:pt>
                <c:pt idx="38">
                  <c:v>0.6991610746350508</c:v>
                </c:pt>
                <c:pt idx="39">
                  <c:v>0.7123232559743736</c:v>
                </c:pt>
                <c:pt idx="40">
                  <c:v>0.7196784900178393</c:v>
                </c:pt>
                <c:pt idx="41">
                  <c:v>0.7005494108848422</c:v>
                </c:pt>
                <c:pt idx="42">
                  <c:v>0.7164156901398718</c:v>
                </c:pt>
                <c:pt idx="43">
                  <c:v>0.7303395764044793</c:v>
                </c:pt>
                <c:pt idx="44">
                  <c:v>0.6731406152107633</c:v>
                </c:pt>
                <c:pt idx="45">
                  <c:v>0.6673158019732444</c:v>
                </c:pt>
                <c:pt idx="46">
                  <c:v>0.6715203445533515</c:v>
                </c:pt>
                <c:pt idx="47">
                  <c:v>0.6629611888687666</c:v>
                </c:pt>
                <c:pt idx="48">
                  <c:v>0.6723186354955005</c:v>
                </c:pt>
                <c:pt idx="49">
                  <c:v>0.669151272329884</c:v>
                </c:pt>
                <c:pt idx="50">
                  <c:v>0.6303242698064788</c:v>
                </c:pt>
                <c:pt idx="51">
                  <c:v>0.6383331261604916</c:v>
                </c:pt>
                <c:pt idx="52">
                  <c:v>0.6472813824090454</c:v>
                </c:pt>
                <c:pt idx="53">
                  <c:v>0.6355956283759585</c:v>
                </c:pt>
                <c:pt idx="54">
                  <c:v>0.6212343877065015</c:v>
                </c:pt>
                <c:pt idx="55">
                  <c:v>0.6348136072760987</c:v>
                </c:pt>
                <c:pt idx="56">
                  <c:v>0.6118999736476097</c:v>
                </c:pt>
                <c:pt idx="57">
                  <c:v>0.6257072151681337</c:v>
                </c:pt>
                <c:pt idx="58">
                  <c:v>0.5996533455024163</c:v>
                </c:pt>
                <c:pt idx="59">
                  <c:v>0.6378304016874503</c:v>
                </c:pt>
                <c:pt idx="60">
                  <c:v>0.6492391908376834</c:v>
                </c:pt>
                <c:pt idx="61">
                  <c:v>0.6410356241256309</c:v>
                </c:pt>
                <c:pt idx="62">
                  <c:v>0.6243299662766097</c:v>
                </c:pt>
                <c:pt idx="63">
                  <c:v>0.6418346524282112</c:v>
                </c:pt>
                <c:pt idx="64">
                  <c:v>0.6835130986650679</c:v>
                </c:pt>
                <c:pt idx="65">
                  <c:v>0.6736947083567681</c:v>
                </c:pt>
                <c:pt idx="66">
                  <c:v>0.6754137085138958</c:v>
                </c:pt>
                <c:pt idx="67">
                  <c:v>0.6705862080497984</c:v>
                </c:pt>
                <c:pt idx="68">
                  <c:v>0.6691018498657206</c:v>
                </c:pt>
                <c:pt idx="69">
                  <c:v>0.6628238300607215</c:v>
                </c:pt>
                <c:pt idx="70">
                  <c:v>0.6522495186250528</c:v>
                </c:pt>
                <c:pt idx="71">
                  <c:v>0.619080970557902</c:v>
                </c:pt>
                <c:pt idx="72">
                  <c:v>0.620873582945166</c:v>
                </c:pt>
                <c:pt idx="73">
                  <c:v>0.640339671810404</c:v>
                </c:pt>
                <c:pt idx="74">
                  <c:v>0.6079719491157779</c:v>
                </c:pt>
                <c:pt idx="75">
                  <c:v>0.6167417331527034</c:v>
                </c:pt>
                <c:pt idx="76">
                  <c:v>0.6121626610034668</c:v>
                </c:pt>
                <c:pt idx="77">
                  <c:v>0.5890264729416604</c:v>
                </c:pt>
                <c:pt idx="78">
                  <c:v>0.6168544527541557</c:v>
                </c:pt>
                <c:pt idx="79">
                  <c:v>0.4682017470756716</c:v>
                </c:pt>
                <c:pt idx="80">
                  <c:v>0.47208218615603187</c:v>
                </c:pt>
                <c:pt idx="81">
                  <c:v>0.5809463195674632</c:v>
                </c:pt>
                <c:pt idx="82">
                  <c:v>0.5843239771105152</c:v>
                </c:pt>
                <c:pt idx="83">
                  <c:v>0.5989558507581478</c:v>
                </c:pt>
                <c:pt idx="84">
                  <c:v>0.595407529581683</c:v>
                </c:pt>
                <c:pt idx="85">
                  <c:v>0.6074664226008101</c:v>
                </c:pt>
                <c:pt idx="86">
                  <c:v>0.6729244547388128</c:v>
                </c:pt>
                <c:pt idx="87">
                  <c:v>0.7011298816491299</c:v>
                </c:pt>
                <c:pt idx="88">
                  <c:v>0.6635760354849278</c:v>
                </c:pt>
                <c:pt idx="89">
                  <c:v>0.613297910993095</c:v>
                </c:pt>
                <c:pt idx="90">
                  <c:v>0.6227954194437402</c:v>
                </c:pt>
                <c:pt idx="91">
                  <c:v>0.664078623928387</c:v>
                </c:pt>
                <c:pt idx="92">
                  <c:v>0.6743760463783095</c:v>
                </c:pt>
                <c:pt idx="93">
                  <c:v>0.6834118768647748</c:v>
                </c:pt>
                <c:pt idx="94">
                  <c:v>0.6928776586151921</c:v>
                </c:pt>
                <c:pt idx="95">
                  <c:v>0.728411429918918</c:v>
                </c:pt>
                <c:pt idx="96">
                  <c:v>0.7139593807684184</c:v>
                </c:pt>
                <c:pt idx="97">
                  <c:v>0.7661779251117533</c:v>
                </c:pt>
                <c:pt idx="98">
                  <c:v>0.7770895467099411</c:v>
                </c:pt>
                <c:pt idx="99">
                  <c:v>0.7582069008294557</c:v>
                </c:pt>
                <c:pt idx="100">
                  <c:v>0.7511341122117456</c:v>
                </c:pt>
                <c:pt idx="101">
                  <c:v>0.7175850129498588</c:v>
                </c:pt>
                <c:pt idx="102">
                  <c:v>0.7007526345449182</c:v>
                </c:pt>
                <c:pt idx="103">
                  <c:v>0.6510461942442087</c:v>
                </c:pt>
                <c:pt idx="104">
                  <c:v>0.6853006472207714</c:v>
                </c:pt>
              </c:numCache>
            </c:numRef>
          </c:xVal>
          <c:yVal>
            <c:numRef>
              <c:f>Sheet1!$B$2:$B$106</c:f>
              <c:numCache>
                <c:formatCode>General</c:formatCode>
                <c:ptCount val="105"/>
                <c:pt idx="0">
                  <c:v>0.22194230725584985</c:v>
                </c:pt>
                <c:pt idx="1">
                  <c:v>0.22026857992494867</c:v>
                </c:pt>
                <c:pt idx="2">
                  <c:v>0.20593717638936831</c:v>
                </c:pt>
                <c:pt idx="3">
                  <c:v>0.2040204890306369</c:v>
                </c:pt>
                <c:pt idx="4">
                  <c:v>0.19666111126804328</c:v>
                </c:pt>
                <c:pt idx="5">
                  <c:v>0.18637910155123696</c:v>
                </c:pt>
                <c:pt idx="6">
                  <c:v>0.20510359622875854</c:v>
                </c:pt>
                <c:pt idx="7">
                  <c:v>0.19365059045668384</c:v>
                </c:pt>
                <c:pt idx="8">
                  <c:v>0.2037377553408445</c:v>
                </c:pt>
                <c:pt idx="9">
                  <c:v>0.20627696516889404</c:v>
                </c:pt>
                <c:pt idx="10">
                  <c:v>0.21713827011840256</c:v>
                </c:pt>
                <c:pt idx="11">
                  <c:v>0.21172901921132456</c:v>
                </c:pt>
                <c:pt idx="12">
                  <c:v>0.2256641278097715</c:v>
                </c:pt>
                <c:pt idx="13">
                  <c:v>0.23085775851514484</c:v>
                </c:pt>
                <c:pt idx="14">
                  <c:v>0.22159297175633486</c:v>
                </c:pt>
                <c:pt idx="15">
                  <c:v>0.21491924999277728</c:v>
                </c:pt>
                <c:pt idx="16">
                  <c:v>0.2051609941635517</c:v>
                </c:pt>
                <c:pt idx="17">
                  <c:v>0.19201745288079825</c:v>
                </c:pt>
                <c:pt idx="18">
                  <c:v>0.18351630992812573</c:v>
                </c:pt>
                <c:pt idx="19">
                  <c:v>0.15794605134871628</c:v>
                </c:pt>
                <c:pt idx="20">
                  <c:v>0.17411278281842196</c:v>
                </c:pt>
                <c:pt idx="21">
                  <c:v>0.16995708154506436</c:v>
                </c:pt>
                <c:pt idx="22">
                  <c:v>0.16563987678521422</c:v>
                </c:pt>
                <c:pt idx="23">
                  <c:v>0.16956735496558506</c:v>
                </c:pt>
                <c:pt idx="24">
                  <c:v>0.18010355029585798</c:v>
                </c:pt>
                <c:pt idx="25">
                  <c:v>0.17641213389121338</c:v>
                </c:pt>
                <c:pt idx="26">
                  <c:v>0.17198937013380577</c:v>
                </c:pt>
                <c:pt idx="27">
                  <c:v>0.1726867436993904</c:v>
                </c:pt>
                <c:pt idx="28">
                  <c:v>0.163946587537092</c:v>
                </c:pt>
                <c:pt idx="29">
                  <c:v>0.17798194975201237</c:v>
                </c:pt>
                <c:pt idx="30">
                  <c:v>0.16221154850161845</c:v>
                </c:pt>
                <c:pt idx="31">
                  <c:v>0.15749670084255404</c:v>
                </c:pt>
                <c:pt idx="32">
                  <c:v>0.16348269653930786</c:v>
                </c:pt>
                <c:pt idx="33">
                  <c:v>0.18088082487411078</c:v>
                </c:pt>
                <c:pt idx="34">
                  <c:v>0.18054500054282924</c:v>
                </c:pt>
                <c:pt idx="35">
                  <c:v>0.19449394155381325</c:v>
                </c:pt>
                <c:pt idx="36">
                  <c:v>0.16721767225185966</c:v>
                </c:pt>
                <c:pt idx="37">
                  <c:v>0.13747257569109259</c:v>
                </c:pt>
                <c:pt idx="38">
                  <c:v>0.13328411361070094</c:v>
                </c:pt>
                <c:pt idx="39">
                  <c:v>0.13529929985626188</c:v>
                </c:pt>
                <c:pt idx="40">
                  <c:v>0.14140245313584818</c:v>
                </c:pt>
                <c:pt idx="41">
                  <c:v>0.1320315745741587</c:v>
                </c:pt>
                <c:pt idx="42">
                  <c:v>0.13478445830969937</c:v>
                </c:pt>
                <c:pt idx="43">
                  <c:v>0.14850637407242975</c:v>
                </c:pt>
                <c:pt idx="44">
                  <c:v>0.160577483329377</c:v>
                </c:pt>
                <c:pt idx="45">
                  <c:v>0.17985482748334494</c:v>
                </c:pt>
                <c:pt idx="46">
                  <c:v>0.1890920904278698</c:v>
                </c:pt>
                <c:pt idx="47">
                  <c:v>0.1872183925751916</c:v>
                </c:pt>
                <c:pt idx="48">
                  <c:v>0.20402986156410813</c:v>
                </c:pt>
                <c:pt idx="49">
                  <c:v>0.2373207055109464</c:v>
                </c:pt>
                <c:pt idx="50">
                  <c:v>0.19963127804987058</c:v>
                </c:pt>
                <c:pt idx="51">
                  <c:v>0.18215747110931246</c:v>
                </c:pt>
                <c:pt idx="52">
                  <c:v>0.19546332988463117</c:v>
                </c:pt>
                <c:pt idx="53">
                  <c:v>0.18087203153542927</c:v>
                </c:pt>
                <c:pt idx="54">
                  <c:v>0.1730390224674813</c:v>
                </c:pt>
                <c:pt idx="55">
                  <c:v>0.1718077183480027</c:v>
                </c:pt>
                <c:pt idx="56">
                  <c:v>0.18865047380459646</c:v>
                </c:pt>
                <c:pt idx="57">
                  <c:v>0.1838357464989319</c:v>
                </c:pt>
                <c:pt idx="58">
                  <c:v>0.19846960029818675</c:v>
                </c:pt>
                <c:pt idx="59">
                  <c:v>0.20095489936829733</c:v>
                </c:pt>
                <c:pt idx="60">
                  <c:v>0.20754898811435915</c:v>
                </c:pt>
                <c:pt idx="61">
                  <c:v>0.20793681621026736</c:v>
                </c:pt>
                <c:pt idx="62">
                  <c:v>0.215126935636785</c:v>
                </c:pt>
                <c:pt idx="63">
                  <c:v>0.22940080302768331</c:v>
                </c:pt>
                <c:pt idx="64">
                  <c:v>0.21880271394834502</c:v>
                </c:pt>
                <c:pt idx="65">
                  <c:v>0.21689451132421955</c:v>
                </c:pt>
                <c:pt idx="66">
                  <c:v>0.2178862817026121</c:v>
                </c:pt>
                <c:pt idx="67">
                  <c:v>0.21287441455179174</c:v>
                </c:pt>
                <c:pt idx="68">
                  <c:v>0.19509166798753105</c:v>
                </c:pt>
                <c:pt idx="69">
                  <c:v>0.1761484219894571</c:v>
                </c:pt>
                <c:pt idx="70">
                  <c:v>0.1632560695697152</c:v>
                </c:pt>
                <c:pt idx="71">
                  <c:v>0.1733943061477101</c:v>
                </c:pt>
                <c:pt idx="72">
                  <c:v>0.1759865159627206</c:v>
                </c:pt>
                <c:pt idx="73">
                  <c:v>0.17940107322139517</c:v>
                </c:pt>
                <c:pt idx="74">
                  <c:v>0.1715601227812625</c:v>
                </c:pt>
                <c:pt idx="75">
                  <c:v>0.16595561470116246</c:v>
                </c:pt>
                <c:pt idx="76">
                  <c:v>0.1590899603423085</c:v>
                </c:pt>
                <c:pt idx="77">
                  <c:v>0.16565724071676205</c:v>
                </c:pt>
                <c:pt idx="78">
                  <c:v>0.15544116232079283</c:v>
                </c:pt>
                <c:pt idx="79">
                  <c:v>0.18983507236620667</c:v>
                </c:pt>
                <c:pt idx="80">
                  <c:v>0.18471825886962817</c:v>
                </c:pt>
                <c:pt idx="81">
                  <c:v>0.16555171917709682</c:v>
                </c:pt>
                <c:pt idx="82">
                  <c:v>0.15227773695811903</c:v>
                </c:pt>
                <c:pt idx="83">
                  <c:v>0.14037588427832332</c:v>
                </c:pt>
                <c:pt idx="84">
                  <c:v>0.13738054466110589</c:v>
                </c:pt>
                <c:pt idx="85">
                  <c:v>0.1408924507766894</c:v>
                </c:pt>
                <c:pt idx="86">
                  <c:v>0.14388276219376805</c:v>
                </c:pt>
                <c:pt idx="87">
                  <c:v>0.16424116424116425</c:v>
                </c:pt>
                <c:pt idx="88">
                  <c:v>0.15143294683876612</c:v>
                </c:pt>
                <c:pt idx="89">
                  <c:v>0.13790962071271615</c:v>
                </c:pt>
                <c:pt idx="90">
                  <c:v>0.13506044905008635</c:v>
                </c:pt>
                <c:pt idx="91">
                  <c:v>0.13018990876931671</c:v>
                </c:pt>
                <c:pt idx="92">
                  <c:v>0.14122937388056858</c:v>
                </c:pt>
                <c:pt idx="93">
                  <c:v>0.13123975562509313</c:v>
                </c:pt>
                <c:pt idx="94">
                  <c:v>0.13373245077785742</c:v>
                </c:pt>
                <c:pt idx="95">
                  <c:v>0.14385922108024032</c:v>
                </c:pt>
                <c:pt idx="96">
                  <c:v>0.13698139399502945</c:v>
                </c:pt>
                <c:pt idx="97">
                  <c:v>0.14533199314137055</c:v>
                </c:pt>
                <c:pt idx="98">
                  <c:v>0.16315129011740842</c:v>
                </c:pt>
                <c:pt idx="99">
                  <c:v>0.17124577715327813</c:v>
                </c:pt>
                <c:pt idx="100">
                  <c:v>0.19575939007580978</c:v>
                </c:pt>
                <c:pt idx="101">
                  <c:v>0.17001159575417002</c:v>
                </c:pt>
                <c:pt idx="102">
                  <c:v>0.14514833816640643</c:v>
                </c:pt>
                <c:pt idx="103">
                  <c:v>0.16519679377366073</c:v>
                </c:pt>
                <c:pt idx="104">
                  <c:v>0.1671687835916222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6826752827512055</c:v>
                </c:pt>
                <c:pt idx="1">
                  <c:v>0.6629643321174343</c:v>
                </c:pt>
                <c:pt idx="2">
                  <c:v>0.6653424385794694</c:v>
                </c:pt>
                <c:pt idx="3">
                  <c:v>0.6549740933420698</c:v>
                </c:pt>
                <c:pt idx="4">
                  <c:v>0.637580972044913</c:v>
                </c:pt>
                <c:pt idx="5">
                  <c:v>0.679385804775694</c:v>
                </c:pt>
                <c:pt idx="6">
                  <c:v>0.6760175146816054</c:v>
                </c:pt>
                <c:pt idx="7">
                  <c:v>0.6671758969049413</c:v>
                </c:pt>
                <c:pt idx="8">
                  <c:v>0.6895610448250038</c:v>
                </c:pt>
                <c:pt idx="9">
                  <c:v>0.668355023607692</c:v>
                </c:pt>
                <c:pt idx="10">
                  <c:v>0.6813095237746091</c:v>
                </c:pt>
                <c:pt idx="11">
                  <c:v>0.6937479945899623</c:v>
                </c:pt>
                <c:pt idx="12">
                  <c:v>0.6926283991333518</c:v>
                </c:pt>
                <c:pt idx="13">
                  <c:v>0.6564865109379366</c:v>
                </c:pt>
                <c:pt idx="14">
                  <c:v>0.6707642688793339</c:v>
                </c:pt>
                <c:pt idx="15">
                  <c:v>0.6721276393462459</c:v>
                </c:pt>
                <c:pt idx="16">
                  <c:v>0.6628031411477289</c:v>
                </c:pt>
                <c:pt idx="17">
                  <c:v>0.6589611559538705</c:v>
                </c:pt>
                <c:pt idx="18">
                  <c:v>0.6522503767289989</c:v>
                </c:pt>
                <c:pt idx="19">
                  <c:v>0.6521514670512393</c:v>
                </c:pt>
                <c:pt idx="20">
                  <c:v>0.6097280450474076</c:v>
                </c:pt>
                <c:pt idx="21">
                  <c:v>0.6258748746802739</c:v>
                </c:pt>
                <c:pt idx="22">
                  <c:v>0.6087786822272447</c:v>
                </c:pt>
                <c:pt idx="23">
                  <c:v>0.59518730443519</c:v>
                </c:pt>
                <c:pt idx="24">
                  <c:v>0.5928443973746966</c:v>
                </c:pt>
                <c:pt idx="25">
                  <c:v>0.6237096297656005</c:v>
                </c:pt>
                <c:pt idx="26">
                  <c:v>0.6367991994134403</c:v>
                </c:pt>
                <c:pt idx="27">
                  <c:v>0.6786653313780975</c:v>
                </c:pt>
                <c:pt idx="28">
                  <c:v>0.677612116147845</c:v>
                </c:pt>
                <c:pt idx="29">
                  <c:v>0.6407776806557979</c:v>
                </c:pt>
                <c:pt idx="30">
                  <c:v>0.6474748477545301</c:v>
                </c:pt>
                <c:pt idx="31">
                  <c:v>0.6029610126444153</c:v>
                </c:pt>
                <c:pt idx="32">
                  <c:v>0.608808108213052</c:v>
                </c:pt>
                <c:pt idx="33">
                  <c:v>0.6621782624533034</c:v>
                </c:pt>
                <c:pt idx="34">
                  <c:v>0.7112365604023362</c:v>
                </c:pt>
                <c:pt idx="35">
                  <c:v>0.6772196064059669</c:v>
                </c:pt>
                <c:pt idx="36">
                  <c:v>0.609328192272288</c:v>
                </c:pt>
                <c:pt idx="37">
                  <c:v>0.6463155445639555</c:v>
                </c:pt>
                <c:pt idx="38">
                  <c:v>0.6201130628534612</c:v>
                </c:pt>
                <c:pt idx="39">
                  <c:v>0.664477166559435</c:v>
                </c:pt>
                <c:pt idx="40">
                  <c:v>0.6434743182801755</c:v>
                </c:pt>
                <c:pt idx="41">
                  <c:v>0.6745558267607952</c:v>
                </c:pt>
                <c:pt idx="42">
                  <c:v>0.6404070795654134</c:v>
                </c:pt>
                <c:pt idx="43">
                  <c:v>0.6915438637246077</c:v>
                </c:pt>
                <c:pt idx="44">
                  <c:v>0.716384543682253</c:v>
                </c:pt>
                <c:pt idx="45">
                  <c:v>0.7255422663856566</c:v>
                </c:pt>
                <c:pt idx="46">
                  <c:v>0.698948888913663</c:v>
                </c:pt>
                <c:pt idx="47">
                  <c:v>0.6969813238383673</c:v>
                </c:pt>
                <c:pt idx="48">
                  <c:v>0.7269506655699116</c:v>
                </c:pt>
                <c:pt idx="49">
                  <c:v>0.7479259115828715</c:v>
                </c:pt>
                <c:pt idx="50">
                  <c:v>0.7046322698442076</c:v>
                </c:pt>
                <c:pt idx="51">
                  <c:v>0.6697942988486832</c:v>
                </c:pt>
              </c:numCache>
            </c:numRef>
          </c:xVal>
          <c:yVal>
            <c:numRef>
              <c:f>Sheet1!$B$109:$B$160</c:f>
              <c:numCache>
                <c:formatCode>General</c:formatCode>
                <c:ptCount val="52"/>
                <c:pt idx="0">
                  <c:v>0.16762589928057553</c:v>
                </c:pt>
                <c:pt idx="1">
                  <c:v>0.1615433092920664</c:v>
                </c:pt>
                <c:pt idx="2">
                  <c:v>0.16950079973061705</c:v>
                </c:pt>
                <c:pt idx="3">
                  <c:v>0.1768236380424746</c:v>
                </c:pt>
                <c:pt idx="4">
                  <c:v>0.165415823707281</c:v>
                </c:pt>
                <c:pt idx="5">
                  <c:v>0.16068098549834361</c:v>
                </c:pt>
                <c:pt idx="6">
                  <c:v>0.16907997798382657</c:v>
                </c:pt>
                <c:pt idx="7">
                  <c:v>0.16591660020508145</c:v>
                </c:pt>
                <c:pt idx="8">
                  <c:v>0.1669268719165678</c:v>
                </c:pt>
                <c:pt idx="9">
                  <c:v>0.1827140688114132</c:v>
                </c:pt>
                <c:pt idx="10">
                  <c:v>0.17981281576985728</c:v>
                </c:pt>
                <c:pt idx="11">
                  <c:v>0.2001124695394997</c:v>
                </c:pt>
                <c:pt idx="12">
                  <c:v>0.19026330031294855</c:v>
                </c:pt>
                <c:pt idx="13">
                  <c:v>0.18480108806528392</c:v>
                </c:pt>
                <c:pt idx="14">
                  <c:v>0.18698388253100023</c:v>
                </c:pt>
                <c:pt idx="15">
                  <c:v>0.17095786309760108</c:v>
                </c:pt>
                <c:pt idx="16">
                  <c:v>0.16961976822143474</c:v>
                </c:pt>
                <c:pt idx="17">
                  <c:v>0.14999830663460562</c:v>
                </c:pt>
                <c:pt idx="18">
                  <c:v>0.1481346309813463</c:v>
                </c:pt>
                <c:pt idx="19">
                  <c:v>0.15853748797276293</c:v>
                </c:pt>
                <c:pt idx="20">
                  <c:v>0.15641689593785402</c:v>
                </c:pt>
                <c:pt idx="21">
                  <c:v>0.1529496749337828</c:v>
                </c:pt>
                <c:pt idx="22">
                  <c:v>0.1511989127269197</c:v>
                </c:pt>
                <c:pt idx="23">
                  <c:v>0.15308917520543777</c:v>
                </c:pt>
                <c:pt idx="24">
                  <c:v>0.1520007631039252</c:v>
                </c:pt>
                <c:pt idx="25">
                  <c:v>0.1582287970413314</c:v>
                </c:pt>
                <c:pt idx="26">
                  <c:v>0.14265774654666216</c:v>
                </c:pt>
                <c:pt idx="27">
                  <c:v>0.1304051172707889</c:v>
                </c:pt>
                <c:pt idx="28">
                  <c:v>0.13956879902250602</c:v>
                </c:pt>
                <c:pt idx="29">
                  <c:v>0.12897674418604652</c:v>
                </c:pt>
                <c:pt idx="30">
                  <c:v>0.1453814872192099</c:v>
                </c:pt>
                <c:pt idx="31">
                  <c:v>0.13441646357974546</c:v>
                </c:pt>
                <c:pt idx="32">
                  <c:v>0.13719262788123768</c:v>
                </c:pt>
                <c:pt idx="33">
                  <c:v>0.15654888150786345</c:v>
                </c:pt>
                <c:pt idx="34">
                  <c:v>0.1764300266415922</c:v>
                </c:pt>
                <c:pt idx="35">
                  <c:v>0.16952813266464106</c:v>
                </c:pt>
                <c:pt idx="36">
                  <c:v>0.14872787908127588</c:v>
                </c:pt>
                <c:pt idx="37">
                  <c:v>0.13693289800691974</c:v>
                </c:pt>
                <c:pt idx="38">
                  <c:v>0.13522654069143225</c:v>
                </c:pt>
                <c:pt idx="39">
                  <c:v>0.15436158332299293</c:v>
                </c:pt>
                <c:pt idx="40">
                  <c:v>0.13784655587766934</c:v>
                </c:pt>
                <c:pt idx="41">
                  <c:v>0.1416366561949276</c:v>
                </c:pt>
                <c:pt idx="42">
                  <c:v>0.1381288239292998</c:v>
                </c:pt>
                <c:pt idx="43">
                  <c:v>0.13578618981764384</c:v>
                </c:pt>
                <c:pt idx="44">
                  <c:v>0.14003581068441165</c:v>
                </c:pt>
                <c:pt idx="45">
                  <c:v>0.15592435353145503</c:v>
                </c:pt>
                <c:pt idx="46">
                  <c:v>0.14998784933171325</c:v>
                </c:pt>
                <c:pt idx="47">
                  <c:v>0.15445870803871764</c:v>
                </c:pt>
                <c:pt idx="48">
                  <c:v>0.1474729938271605</c:v>
                </c:pt>
                <c:pt idx="49">
                  <c:v>0.15903343635852768</c:v>
                </c:pt>
                <c:pt idx="50">
                  <c:v>0.19861179620886477</c:v>
                </c:pt>
                <c:pt idx="51">
                  <c:v>0.1820915006823980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9377838920553965</c:v>
                </c:pt>
              </c:numCache>
            </c:numRef>
          </c:xVal>
          <c:yVal>
            <c:numRef>
              <c:f>Sheet1!$B$163:$B$164</c:f>
              <c:numCache>
                <c:formatCode>General</c:formatCode>
                <c:ptCount val="2"/>
                <c:pt idx="0">
                  <c:v>0.20418896749404122</c:v>
                </c:pt>
                <c:pt idx="1">
                  <c:v>0.204188967494041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9377838920553965</c:v>
                </c:pt>
                <c:pt idx="1">
                  <c:v>0.9377838920553965</c:v>
                </c:pt>
              </c:numCache>
            </c:numRef>
          </c:xVal>
          <c:yVal>
            <c:numRef>
              <c:f>Sheet1!$B$167:$B$168</c:f>
              <c:numCache>
                <c:formatCode>General</c:formatCode>
                <c:ptCount val="2"/>
                <c:pt idx="0">
                  <c:v>0.204188967494041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439586287016796</c:v>
                </c:pt>
              </c:numCache>
            </c:numRef>
          </c:xVal>
          <c:yVal>
            <c:numRef>
              <c:f>Sheet1!$B$171:$B$172</c:f>
              <c:numCache>
                <c:formatCode>General</c:formatCode>
                <c:ptCount val="2"/>
                <c:pt idx="0">
                  <c:v>0.17180243176923776</c:v>
                </c:pt>
                <c:pt idx="1">
                  <c:v>0.1718024317692377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439586287016796</c:v>
                </c:pt>
                <c:pt idx="1">
                  <c:v>0.7439586287016796</c:v>
                </c:pt>
              </c:numCache>
            </c:numRef>
          </c:xVal>
          <c:yVal>
            <c:numRef>
              <c:f>Sheet1!$B$175:$B$176</c:f>
              <c:numCache>
                <c:formatCode>General</c:formatCode>
                <c:ptCount val="2"/>
                <c:pt idx="0">
                  <c:v>0.171802431769237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343662153952735</c:v>
                </c:pt>
              </c:numCache>
            </c:numRef>
          </c:xVal>
          <c:yVal>
            <c:numRef>
              <c:f>Sheet1!$B$179:$B$180</c:f>
              <c:numCache>
                <c:formatCode>General</c:formatCode>
                <c:ptCount val="2"/>
                <c:pt idx="0">
                  <c:v>0.15349048136967555</c:v>
                </c:pt>
                <c:pt idx="1">
                  <c:v>0.1534904813696755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343662153952735</c:v>
                </c:pt>
                <c:pt idx="1">
                  <c:v>0.6343662153952735</c:v>
                </c:pt>
              </c:numCache>
            </c:numRef>
          </c:xVal>
          <c:yVal>
            <c:numRef>
              <c:f>Sheet1!$B$183:$B$184</c:f>
              <c:numCache>
                <c:formatCode>General</c:formatCode>
                <c:ptCount val="2"/>
                <c:pt idx="0">
                  <c:v>0.153490481369675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6826752827512055</c:v>
                </c:pt>
                <c:pt idx="1">
                  <c:v>0.6629643321174343</c:v>
                </c:pt>
                <c:pt idx="2">
                  <c:v>0.6653424385794694</c:v>
                </c:pt>
                <c:pt idx="3">
                  <c:v>0.6549740933420698</c:v>
                </c:pt>
                <c:pt idx="4">
                  <c:v>0.637580972044913</c:v>
                </c:pt>
                <c:pt idx="5">
                  <c:v>0.679385804775694</c:v>
                </c:pt>
                <c:pt idx="6">
                  <c:v>0.6760175146816054</c:v>
                </c:pt>
                <c:pt idx="7">
                  <c:v>0.6671758969049413</c:v>
                </c:pt>
                <c:pt idx="8">
                  <c:v>0.6895610448250038</c:v>
                </c:pt>
                <c:pt idx="9">
                  <c:v>0.668355023607692</c:v>
                </c:pt>
                <c:pt idx="10">
                  <c:v>0.6813095237746091</c:v>
                </c:pt>
                <c:pt idx="11">
                  <c:v>0.6937479945899623</c:v>
                </c:pt>
                <c:pt idx="12">
                  <c:v>0.6926283991333518</c:v>
                </c:pt>
                <c:pt idx="13">
                  <c:v>0.6564865109379366</c:v>
                </c:pt>
                <c:pt idx="14">
                  <c:v>0.6707642688793339</c:v>
                </c:pt>
                <c:pt idx="15">
                  <c:v>0.6721276393462459</c:v>
                </c:pt>
                <c:pt idx="16">
                  <c:v>0.6628031411477289</c:v>
                </c:pt>
                <c:pt idx="17">
                  <c:v>0.6589611559538705</c:v>
                </c:pt>
                <c:pt idx="18">
                  <c:v>0.6522503767289989</c:v>
                </c:pt>
                <c:pt idx="19">
                  <c:v>0.6521514670512393</c:v>
                </c:pt>
                <c:pt idx="20">
                  <c:v>0.6097280450474076</c:v>
                </c:pt>
                <c:pt idx="21">
                  <c:v>0.6258748746802739</c:v>
                </c:pt>
                <c:pt idx="22">
                  <c:v>0.6087786822272447</c:v>
                </c:pt>
                <c:pt idx="23">
                  <c:v>0.59518730443519</c:v>
                </c:pt>
                <c:pt idx="24">
                  <c:v>0.5928443973746966</c:v>
                </c:pt>
                <c:pt idx="25">
                  <c:v>0.6237096297656005</c:v>
                </c:pt>
                <c:pt idx="26">
                  <c:v>0.6367991994134403</c:v>
                </c:pt>
                <c:pt idx="27">
                  <c:v>0.6786653313780975</c:v>
                </c:pt>
                <c:pt idx="28">
                  <c:v>0.677612116147845</c:v>
                </c:pt>
                <c:pt idx="29">
                  <c:v>0.6407776806557979</c:v>
                </c:pt>
                <c:pt idx="30">
                  <c:v>0.6474748477545301</c:v>
                </c:pt>
                <c:pt idx="31">
                  <c:v>0.6029610126444153</c:v>
                </c:pt>
                <c:pt idx="32">
                  <c:v>0.608808108213052</c:v>
                </c:pt>
                <c:pt idx="33">
                  <c:v>0.6621782624533034</c:v>
                </c:pt>
                <c:pt idx="34">
                  <c:v>0.7112365604023362</c:v>
                </c:pt>
                <c:pt idx="35">
                  <c:v>0.6772196064059669</c:v>
                </c:pt>
                <c:pt idx="36">
                  <c:v>0.609328192272288</c:v>
                </c:pt>
                <c:pt idx="37">
                  <c:v>0.6463155445639555</c:v>
                </c:pt>
                <c:pt idx="38">
                  <c:v>0.6201130628534612</c:v>
                </c:pt>
                <c:pt idx="39">
                  <c:v>0.664477166559435</c:v>
                </c:pt>
                <c:pt idx="40">
                  <c:v>0.6434743182801755</c:v>
                </c:pt>
                <c:pt idx="41">
                  <c:v>0.6745558267607952</c:v>
                </c:pt>
                <c:pt idx="42">
                  <c:v>0.6404070795654134</c:v>
                </c:pt>
                <c:pt idx="43">
                  <c:v>0.6915438637246077</c:v>
                </c:pt>
                <c:pt idx="44">
                  <c:v>0.716384543682253</c:v>
                </c:pt>
                <c:pt idx="45">
                  <c:v>0.7255422663856566</c:v>
                </c:pt>
                <c:pt idx="46">
                  <c:v>0.698948888913663</c:v>
                </c:pt>
                <c:pt idx="47">
                  <c:v>0.6969813238383673</c:v>
                </c:pt>
                <c:pt idx="48">
                  <c:v>0.7269506655699116</c:v>
                </c:pt>
                <c:pt idx="49">
                  <c:v>0.7479259115828715</c:v>
                </c:pt>
                <c:pt idx="50">
                  <c:v>0.7046322698442076</c:v>
                </c:pt>
                <c:pt idx="51">
                  <c:v>0.6697942988486832</c:v>
                </c:pt>
                <c:pt idx="52">
                  <c:v>0.7439586287016796</c:v>
                </c:pt>
                <c:pt idx="53">
                  <c:v>0.9377838920553965</c:v>
                </c:pt>
                <c:pt idx="54">
                  <c:v>0.6343662153952735</c:v>
                </c:pt>
              </c:numCache>
            </c:numRef>
          </c:xVal>
          <c:yVal>
            <c:numRef>
              <c:f>Sheet1!$B$187:$B$241</c:f>
              <c:numCache>
                <c:formatCode>General</c:formatCode>
                <c:ptCount val="55"/>
                <c:pt idx="0">
                  <c:v>0.16156251134494048</c:v>
                </c:pt>
                <c:pt idx="1">
                  <c:v>0.15826898089475616</c:v>
                </c:pt>
                <c:pt idx="2">
                  <c:v>0.15866634204653507</c:v>
                </c:pt>
                <c:pt idx="3">
                  <c:v>0.15693388066545422</c:v>
                </c:pt>
                <c:pt idx="4">
                  <c:v>0.15402763957742732</c:v>
                </c:pt>
                <c:pt idx="5">
                  <c:v>0.16101286784580882</c:v>
                </c:pt>
                <c:pt idx="6">
                  <c:v>0.16045005551899347</c:v>
                </c:pt>
                <c:pt idx="7">
                  <c:v>0.15897269717553325</c:v>
                </c:pt>
                <c:pt idx="8">
                  <c:v>0.16271306300955296</c:v>
                </c:pt>
                <c:pt idx="9">
                  <c:v>0.15916971911386033</c:v>
                </c:pt>
                <c:pt idx="10">
                  <c:v>0.1613343047576171</c:v>
                </c:pt>
                <c:pt idx="11">
                  <c:v>0.1634126663316097</c:v>
                </c:pt>
                <c:pt idx="12">
                  <c:v>0.1632255915528866</c:v>
                </c:pt>
                <c:pt idx="13">
                  <c:v>0.15718659264763776</c:v>
                </c:pt>
                <c:pt idx="14">
                  <c:v>0.15957228329311002</c:v>
                </c:pt>
                <c:pt idx="15">
                  <c:v>0.15980009078099258</c:v>
                </c:pt>
                <c:pt idx="16">
                  <c:v>0.15824204726903288</c:v>
                </c:pt>
                <c:pt idx="17">
                  <c:v>0.1576000845620973</c:v>
                </c:pt>
                <c:pt idx="18">
                  <c:v>0.15647877102769517</c:v>
                </c:pt>
                <c:pt idx="19">
                  <c:v>0.15646224407059545</c:v>
                </c:pt>
                <c:pt idx="20">
                  <c:v>0.14937365485099433</c:v>
                </c:pt>
                <c:pt idx="21">
                  <c:v>0.1520716513128529</c:v>
                </c:pt>
                <c:pt idx="22">
                  <c:v>0.1492150244828008</c:v>
                </c:pt>
                <c:pt idx="23">
                  <c:v>0.14694402206136523</c:v>
                </c:pt>
                <c:pt idx="24">
                  <c:v>0.1465525424270717</c:v>
                </c:pt>
                <c:pt idx="25">
                  <c:v>0.15170985749625407</c:v>
                </c:pt>
                <c:pt idx="26">
                  <c:v>0.15389701208945297</c:v>
                </c:pt>
                <c:pt idx="27">
                  <c:v>0.1608924829329946</c:v>
                </c:pt>
                <c:pt idx="28">
                  <c:v>0.16071649971960805</c:v>
                </c:pt>
                <c:pt idx="29">
                  <c:v>0.15456178211301244</c:v>
                </c:pt>
                <c:pt idx="30">
                  <c:v>0.1556808211781226</c:v>
                </c:pt>
                <c:pt idx="31">
                  <c:v>0.1482429418939818</c:v>
                </c:pt>
                <c:pt idx="32">
                  <c:v>0.1492199413121351</c:v>
                </c:pt>
                <c:pt idx="33">
                  <c:v>0.15813763540955433</c:v>
                </c:pt>
                <c:pt idx="34">
                  <c:v>0.16633485537785594</c:v>
                </c:pt>
                <c:pt idx="35">
                  <c:v>0.1606509147150647</c:v>
                </c:pt>
                <c:pt idx="36">
                  <c:v>0.14930684288870413</c:v>
                </c:pt>
                <c:pt idx="37">
                  <c:v>0.15548711157831202</c:v>
                </c:pt>
                <c:pt idx="38">
                  <c:v>0.15110890207500913</c:v>
                </c:pt>
                <c:pt idx="39">
                  <c:v>0.15852176252834618</c:v>
                </c:pt>
                <c:pt idx="40">
                  <c:v>0.1550123670844843</c:v>
                </c:pt>
                <c:pt idx="41">
                  <c:v>0.16020582002952868</c:v>
                </c:pt>
                <c:pt idx="42">
                  <c:v>0.15449985785584539</c:v>
                </c:pt>
                <c:pt idx="43">
                  <c:v>0.16304437500684738</c:v>
                </c:pt>
                <c:pt idx="44">
                  <c:v>0.16719503914090572</c:v>
                </c:pt>
                <c:pt idx="45">
                  <c:v>0.16872521590094125</c:v>
                </c:pt>
                <c:pt idx="46">
                  <c:v>0.16428169107534538</c:v>
                </c:pt>
                <c:pt idx="47">
                  <c:v>0.16395292786099774</c:v>
                </c:pt>
                <c:pt idx="48">
                  <c:v>0.16896054730050405</c:v>
                </c:pt>
                <c:pt idx="49">
                  <c:v>0.1724653306428879</c:v>
                </c:pt>
                <c:pt idx="50">
                  <c:v>0.16523133518447702</c:v>
                </c:pt>
                <c:pt idx="51">
                  <c:v>0.1594102096371474</c:v>
                </c:pt>
                <c:pt idx="52">
                  <c:v>0.17180243176923776</c:v>
                </c:pt>
                <c:pt idx="53">
                  <c:v>0.20418896749404122</c:v>
                </c:pt>
                <c:pt idx="54">
                  <c:v>0.1534904813696755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478484661313563"/>
          <c:min val="0.1031813953488372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c:f>
              <c:numCache>
                <c:formatCode>General</c:formatCode>
                <c:ptCount val="6"/>
                <c:pt idx="0">
                  <c:v>2326.0</c:v>
                </c:pt>
                <c:pt idx="1">
                  <c:v>1970.0</c:v>
                </c:pt>
                <c:pt idx="2">
                  <c:v>1927.6667</c:v>
                </c:pt>
                <c:pt idx="3">
                  <c:v>2306.8</c:v>
                </c:pt>
                <c:pt idx="4">
                  <c:v>1859.6667</c:v>
                </c:pt>
                <c:pt idx="5">
                  <c:v>1772.0</c:v>
                </c:pt>
              </c:numCache>
            </c:numRef>
          </c:xVal>
          <c:yVal>
            <c:numRef>
              <c:f>Sheet1!$B$2:$B$7</c:f>
              <c:numCache>
                <c:formatCode>General</c:formatCode>
                <c:ptCount val="6"/>
                <c:pt idx="0">
                  <c:v>0.00646830530401035</c:v>
                </c:pt>
                <c:pt idx="1">
                  <c:v>0.0049261083743842365</c:v>
                </c:pt>
                <c:pt idx="2">
                  <c:v>0.006912442396313364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F32D-48B7-BC20-E66FC6253BAD}"/>
            </c:ext>
          </c:extLst>
        </c:ser>
        <c:ser>
          <c:idx val="1"/>
          <c:order val="1"/>
          <c:tx>
            <c:strRef>
              <c:f>Sheet1!$B$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A$11</c:f>
              <c:numCache>
                <c:formatCode>General</c:formatCode>
                <c:ptCount val="2"/>
                <c:pt idx="0">
                  <c:v>1715.6667</c:v>
                </c:pt>
                <c:pt idx="1">
                  <c:v>876.6667</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F32D-48B7-BC20-E66FC6253BAD}"/>
            </c:ext>
          </c:extLst>
        </c:ser>
        <c:ser>
          <c:idx val="2"/>
          <c:order val="2"/>
          <c:tx>
            <c:strRef>
              <c:f>Sheet1!$B$13</c:f>
              <c:strCache>
                <c:ptCount val="1"/>
                <c:pt idx="0">
                  <c:v>Custom Linep3yQ</c:v>
                </c:pt>
              </c:strCache>
            </c:strRef>
          </c:tx>
          <c:spPr>
            <a:ln w="19050" cap="rnd">
              <a:solidFill>
                <a:srgbClr val="C00000"/>
              </a:solidFill>
              <a:prstDash val="sysDot"/>
              <a:round/>
            </a:ln>
            <a:effectLst/>
          </c:spPr>
          <c:marker>
            <c:symbol val="none"/>
          </c:marker>
          <c:xVal>
            <c:numRef>
              <c:f>Sheet1!$A$14:$A$15</c:f>
              <c:numCache>
                <c:formatCode>General</c:formatCode>
                <c:ptCount val="2"/>
                <c:pt idx="0">
                  <c:v>0</c:v>
                </c:pt>
                <c:pt idx="1">
                  <c:v>876.6666999999995</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3-F32D-48B7-BC20-E66FC6253BAD}"/>
            </c:ext>
          </c:extLst>
        </c:ser>
        <c:ser>
          <c:idx val="3"/>
          <c:order val="3"/>
          <c:tx>
            <c:strRef>
              <c:f>Sheet1!$B$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A$19</c:f>
              <c:numCache>
                <c:formatCode>General</c:formatCode>
                <c:ptCount val="2"/>
                <c:pt idx="0">
                  <c:v>876.6666999999995</c:v>
                </c:pt>
                <c:pt idx="1">
                  <c:v>876.6666999999995</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2:$A$23</c:f>
              <c:numCache>
                <c:formatCode>General</c:formatCode>
                <c:ptCount val="2"/>
                <c:pt idx="0">
                  <c:v>0</c:v>
                </c:pt>
                <c:pt idx="1">
                  <c:v>876.6666999999995</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A-F32D-48B7-BC20-E66FC6253BAD}"/>
            </c:ext>
          </c:extLst>
        </c:ser>
        <c:ser>
          <c:idx val="5"/>
          <c:order val="5"/>
          <c:tx>
            <c:strRef>
              <c:f>Sheet1!$B$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6:$A$27</c:f>
              <c:numCache>
                <c:formatCode>General</c:formatCode>
                <c:ptCount val="2"/>
                <c:pt idx="0">
                  <c:v>876.6666999999995</c:v>
                </c:pt>
                <c:pt idx="1">
                  <c:v>876.6666999999995</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9</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0:$A$34</c:f>
              <c:numCache>
                <c:formatCode>General</c:formatCode>
                <c:ptCount val="5"/>
                <c:pt idx="0">
                  <c:v>1715.6667</c:v>
                </c:pt>
                <c:pt idx="1">
                  <c:v>876.6667</c:v>
                </c:pt>
                <c:pt idx="2">
                  <c:v>876.6666999999995</c:v>
                </c:pt>
                <c:pt idx="3">
                  <c:v>876.6666999999995</c:v>
                </c:pt>
                <c:pt idx="4">
                  <c:v>0</c:v>
                </c:pt>
              </c:numCache>
            </c:numRef>
          </c:xVal>
          <c:yVal>
            <c:numRef>
              <c:f>Sheet1!$B$30:$B$34</c:f>
              <c:numCache>
                <c:formatCode>General</c:formatCode>
                <c:ptCount val="5"/>
                <c:pt idx="0">
                  <c:v>0.0054545454545454515</c:v>
                </c:pt>
                <c:pt idx="1">
                  <c:v>0.0101010101010101</c:v>
                </c:pt>
                <c:pt idx="2">
                  <c:v>0.010101010101010102</c:v>
                </c:pt>
                <c:pt idx="3">
                  <c:v>0.010101010101010102</c:v>
                </c:pt>
                <c:pt idx="4">
                  <c:v>0.014956076642467583</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9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c:f>
              <c:numCache>
                <c:formatCode>General</c:formatCode>
                <c:ptCount val="6"/>
                <c:pt idx="0">
                  <c:v>3.2678374965948316</c:v>
                </c:pt>
                <c:pt idx="1">
                  <c:v>5.241353695327294</c:v>
                </c:pt>
                <c:pt idx="2">
                  <c:v>2.879058486655766</c:v>
                </c:pt>
                <c:pt idx="3">
                  <c:v>4.199184191786289</c:v>
                </c:pt>
                <c:pt idx="4">
                  <c:v>2.724231947520131</c:v>
                </c:pt>
                <c:pt idx="5">
                  <c:v>2.657533071439348</c:v>
                </c:pt>
              </c:numCache>
            </c:numRef>
          </c:xVal>
          <c:yVal>
            <c:numRef>
              <c:f>Sheet1!$B$2:$B$7</c:f>
              <c:numCache>
                <c:formatCode>General</c:formatCode>
                <c:ptCount val="6"/>
                <c:pt idx="0">
                  <c:v>0.00646830530401035</c:v>
                </c:pt>
                <c:pt idx="1">
                  <c:v>0.0049261083743842365</c:v>
                </c:pt>
                <c:pt idx="2">
                  <c:v>0.006912442396313364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096C-4121-9522-6AB7243CCAAE}"/>
            </c:ext>
          </c:extLst>
        </c:ser>
        <c:ser>
          <c:idx val="1"/>
          <c:order val="1"/>
          <c:tx>
            <c:strRef>
              <c:f>Sheet1!$B$9</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A$11</c:f>
              <c:numCache>
                <c:formatCode>General</c:formatCode>
                <c:ptCount val="2"/>
                <c:pt idx="0">
                  <c:v>3.5842616584776006</c:v>
                </c:pt>
                <c:pt idx="1">
                  <c:v>1.872647646690786</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096C-4121-9522-6AB7243CCAAE}"/>
            </c:ext>
          </c:extLst>
        </c:ser>
        <c:ser>
          <c:idx val="2"/>
          <c:order val="2"/>
          <c:tx>
            <c:strRef>
              <c:f>Sheet1!$B$1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4:$A$15</c:f>
              <c:numCache>
                <c:formatCode>General</c:formatCode>
                <c:ptCount val="2"/>
                <c:pt idx="0">
                  <c:v>0</c:v>
                </c:pt>
                <c:pt idx="1">
                  <c:v>1.8726476466907864</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5-096C-4121-9522-6AB7243CCAAE}"/>
            </c:ext>
          </c:extLst>
        </c:ser>
        <c:ser>
          <c:idx val="3"/>
          <c:order val="3"/>
          <c:tx>
            <c:strRef>
              <c:f>Sheet1!$B$1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A$19</c:f>
              <c:numCache>
                <c:formatCode>General</c:formatCode>
                <c:ptCount val="2"/>
                <c:pt idx="0">
                  <c:v>1.8726476466907864</c:v>
                </c:pt>
                <c:pt idx="1">
                  <c:v>1.8726476466907864</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1</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2:$A$23</c:f>
              <c:numCache>
                <c:formatCode>General</c:formatCode>
                <c:ptCount val="2"/>
                <c:pt idx="0">
                  <c:v>0</c:v>
                </c:pt>
                <c:pt idx="1">
                  <c:v>1.8726476466907864</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D-096C-4121-9522-6AB7243CCAAE}"/>
            </c:ext>
          </c:extLst>
        </c:ser>
        <c:ser>
          <c:idx val="5"/>
          <c:order val="5"/>
          <c:tx>
            <c:strRef>
              <c:f>Sheet1!$B$25</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6:$A$27</c:f>
              <c:numCache>
                <c:formatCode>General</c:formatCode>
                <c:ptCount val="2"/>
                <c:pt idx="0">
                  <c:v>1.8726476466907864</c:v>
                </c:pt>
                <c:pt idx="1">
                  <c:v>1.8726476466907864</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9</c:f>
              <c:strCache>
                <c:ptCount val="1"/>
                <c:pt idx="0">
                  <c:v>Y_Hat</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30:$A$34</c:f>
              <c:numCache>
                <c:formatCode>General</c:formatCode>
                <c:ptCount val="5"/>
                <c:pt idx="0">
                  <c:v>3.5842616584776006</c:v>
                </c:pt>
                <c:pt idx="1">
                  <c:v>1.872647646690786</c:v>
                </c:pt>
                <c:pt idx="2">
                  <c:v>1.8726476466907864</c:v>
                </c:pt>
                <c:pt idx="3">
                  <c:v>1.8726476466907864</c:v>
                </c:pt>
                <c:pt idx="4">
                  <c:v>0</c:v>
                </c:pt>
              </c:numCache>
            </c:numRef>
          </c:xVal>
          <c:yVal>
            <c:numRef>
              <c:f>Sheet1!$B$30:$B$34</c:f>
              <c:numCache>
                <c:formatCode>General</c:formatCode>
                <c:ptCount val="5"/>
                <c:pt idx="0">
                  <c:v>0.005454545454545453</c:v>
                </c:pt>
                <c:pt idx="1">
                  <c:v>0.010101010101010104</c:v>
                </c:pt>
                <c:pt idx="2">
                  <c:v>0.010101010101010102</c:v>
                </c:pt>
                <c:pt idx="3">
                  <c:v>0.010101010101010102</c:v>
                </c:pt>
                <c:pt idx="4">
                  <c:v>0.015184627684013224</c:v>
                </c:pt>
              </c:numCache>
            </c:numRef>
          </c:yVal>
          <c:smooth val="0"/>
          <c:extLst>
            <c:ext xmlns:c16="http://schemas.microsoft.com/office/drawing/2014/chart" uri="{C3380CC4-5D6E-409C-BE32-E72D297353CC}">
              <c16:uniqueId val="{00000015-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c:f>
              <c:numCache>
                <c:formatCode>General</c:formatCode>
                <c:ptCount val="6"/>
                <c:pt idx="0">
                  <c:v>2326.0</c:v>
                </c:pt>
                <c:pt idx="1">
                  <c:v>1970.0</c:v>
                </c:pt>
                <c:pt idx="2">
                  <c:v>1927.6667</c:v>
                </c:pt>
                <c:pt idx="3">
                  <c:v>2306.8</c:v>
                </c:pt>
                <c:pt idx="4">
                  <c:v>1859.6667</c:v>
                </c:pt>
                <c:pt idx="5">
                  <c:v>1772.0</c:v>
                </c:pt>
              </c:numCache>
            </c:numRef>
          </c:xVal>
          <c:yVal>
            <c:numRef>
              <c:f>Sheet1!$B$2:$B$7</c:f>
              <c:numCache>
                <c:formatCode>General</c:formatCode>
                <c:ptCount val="6"/>
                <c:pt idx="0">
                  <c:v>0.00646830530401035</c:v>
                </c:pt>
                <c:pt idx="1">
                  <c:v>0.0049261083743842365</c:v>
                </c:pt>
                <c:pt idx="2">
                  <c:v>0.0069124423963133645</c:v>
                </c:pt>
                <c:pt idx="3">
                  <c:v>0.006793478260869565</c:v>
                </c:pt>
                <c:pt idx="4">
                  <c:v>0.006134969325153374</c:v>
                </c:pt>
                <c:pt idx="5">
                  <c:v>0.004437869822485207</c:v>
                </c:pt>
              </c:numCache>
            </c:numRef>
          </c:yVal>
          <c:smooth val="0"/>
          <c:extLst>
            <c:ext xmlns:c16="http://schemas.microsoft.com/office/drawing/2014/chart" uri="{C3380CC4-5D6E-409C-BE32-E72D297353CC}">
              <c16:uniqueId val="{00000000-F32D-48B7-BC20-E66FC6253BAD}"/>
            </c:ext>
          </c:extLst>
        </c:ser>
        <c:ser>
          <c:idx val="1"/>
          <c:order val="1"/>
          <c:tx>
            <c:strRef>
              <c:f>Sheet1!$B$9</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A$11</c:f>
              <c:numCache>
                <c:formatCode>General</c:formatCode>
                <c:ptCount val="2"/>
                <c:pt idx="0">
                  <c:v>1715.6667</c:v>
                </c:pt>
                <c:pt idx="1">
                  <c:v>876.6667</c:v>
                </c:pt>
              </c:numCache>
            </c:numRef>
          </c:xVal>
          <c:yVal>
            <c:numRef>
              <c:f>Sheet1!$B$10:$B$11</c:f>
              <c:numCache>
                <c:formatCode>General</c:formatCode>
                <c:ptCount val="2"/>
                <c:pt idx="0">
                  <c:v>0.005454545454545455</c:v>
                </c:pt>
                <c:pt idx="1">
                  <c:v>0.010101010101010102</c:v>
                </c:pt>
              </c:numCache>
            </c:numRef>
          </c:yVal>
          <c:smooth val="0"/>
          <c:extLst>
            <c:ext xmlns:c16="http://schemas.microsoft.com/office/drawing/2014/chart" uri="{C3380CC4-5D6E-409C-BE32-E72D297353CC}">
              <c16:uniqueId val="{00000002-F32D-48B7-BC20-E66FC6253BAD}"/>
            </c:ext>
          </c:extLst>
        </c:ser>
        <c:ser>
          <c:idx val="2"/>
          <c:order val="2"/>
          <c:tx>
            <c:strRef>
              <c:f>Sheet1!$B$13</c:f>
              <c:strCache>
                <c:ptCount val="1"/>
                <c:pt idx="0">
                  <c:v>Custom Linep3yQ</c:v>
                </c:pt>
              </c:strCache>
            </c:strRef>
          </c:tx>
          <c:spPr>
            <a:ln w="19050" cap="rnd">
              <a:solidFill>
                <a:srgbClr val="C00000"/>
              </a:solidFill>
              <a:prstDash val="sysDot"/>
              <a:round/>
            </a:ln>
            <a:effectLst/>
          </c:spPr>
          <c:marker>
            <c:symbol val="none"/>
          </c:marker>
          <c:xVal>
            <c:numRef>
              <c:f>Sheet1!$A$14:$A$15</c:f>
              <c:numCache>
                <c:formatCode>General</c:formatCode>
                <c:ptCount val="2"/>
                <c:pt idx="0">
                  <c:v>0</c:v>
                </c:pt>
                <c:pt idx="1">
                  <c:v>876.6666999999995</c:v>
                </c:pt>
              </c:numCache>
            </c:numRef>
          </c:xVal>
          <c:yVal>
            <c:numRef>
              <c:f>Sheet1!$B$14:$B$15</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3-F32D-48B7-BC20-E66FC6253BAD}"/>
            </c:ext>
          </c:extLst>
        </c:ser>
        <c:ser>
          <c:idx val="3"/>
          <c:order val="3"/>
          <c:tx>
            <c:strRef>
              <c:f>Sheet1!$B$1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A$19</c:f>
              <c:numCache>
                <c:formatCode>General</c:formatCode>
                <c:ptCount val="2"/>
                <c:pt idx="0">
                  <c:v>876.6666999999995</c:v>
                </c:pt>
                <c:pt idx="1">
                  <c:v>876.6666999999995</c:v>
                </c:pt>
              </c:numCache>
            </c:numRef>
          </c:xVal>
          <c:yVal>
            <c:numRef>
              <c:f>Sheet1!$B$18:$B$19</c:f>
              <c:numCache>
                <c:formatCode>General</c:formatCode>
                <c:ptCount val="2"/>
                <c:pt idx="0">
                  <c:v>0.010101010101010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1</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2:$A$23</c:f>
              <c:numCache>
                <c:formatCode>General</c:formatCode>
                <c:ptCount val="2"/>
                <c:pt idx="0">
                  <c:v>0</c:v>
                </c:pt>
                <c:pt idx="1">
                  <c:v>876.6666999999995</c:v>
                </c:pt>
              </c:numCache>
            </c:numRef>
          </c:xVal>
          <c:yVal>
            <c:numRef>
              <c:f>Sheet1!$B$22:$B$23</c:f>
              <c:numCache>
                <c:formatCode>General</c:formatCode>
                <c:ptCount val="2"/>
                <c:pt idx="0">
                  <c:v>0.010101010101010102</c:v>
                </c:pt>
                <c:pt idx="1">
                  <c:v>0.010101010101010102</c:v>
                </c:pt>
              </c:numCache>
            </c:numRef>
          </c:yVal>
          <c:smooth val="0"/>
          <c:extLst>
            <c:ext xmlns:c16="http://schemas.microsoft.com/office/drawing/2014/chart" uri="{C3380CC4-5D6E-409C-BE32-E72D297353CC}">
              <c16:uniqueId val="{0000000A-F32D-48B7-BC20-E66FC6253BAD}"/>
            </c:ext>
          </c:extLst>
        </c:ser>
        <c:ser>
          <c:idx val="5"/>
          <c:order val="5"/>
          <c:tx>
            <c:strRef>
              <c:f>Sheet1!$B$25</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6:$A$27</c:f>
              <c:numCache>
                <c:formatCode>General</c:formatCode>
                <c:ptCount val="2"/>
                <c:pt idx="0">
                  <c:v>876.6666999999995</c:v>
                </c:pt>
                <c:pt idx="1">
                  <c:v>876.6666999999995</c:v>
                </c:pt>
              </c:numCache>
            </c:numRef>
          </c:xVal>
          <c:yVal>
            <c:numRef>
              <c:f>Sheet1!$B$26:$B$27</c:f>
              <c:numCache>
                <c:formatCode>General</c:formatCode>
                <c:ptCount val="2"/>
                <c:pt idx="0">
                  <c:v>0.0101010101010101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9</c:f>
              <c:strCache>
                <c:ptCount val="1"/>
                <c:pt idx="0">
                  <c:v>Y_Hat</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30:$A$34</c:f>
              <c:numCache>
                <c:formatCode>General</c:formatCode>
                <c:ptCount val="5"/>
                <c:pt idx="0">
                  <c:v>1715.6667</c:v>
                </c:pt>
                <c:pt idx="1">
                  <c:v>876.6667</c:v>
                </c:pt>
                <c:pt idx="2">
                  <c:v>876.6666999999995</c:v>
                </c:pt>
                <c:pt idx="3">
                  <c:v>876.6666999999995</c:v>
                </c:pt>
                <c:pt idx="4">
                  <c:v>0</c:v>
                </c:pt>
              </c:numCache>
            </c:numRef>
          </c:xVal>
          <c:yVal>
            <c:numRef>
              <c:f>Sheet1!$B$30:$B$34</c:f>
              <c:numCache>
                <c:formatCode>General</c:formatCode>
                <c:ptCount val="5"/>
                <c:pt idx="0">
                  <c:v>0.0054545454545454515</c:v>
                </c:pt>
                <c:pt idx="1">
                  <c:v>0.0101010101010101</c:v>
                </c:pt>
                <c:pt idx="2">
                  <c:v>0.010101010101010102</c:v>
                </c:pt>
                <c:pt idx="3">
                  <c:v>0.010101010101010102</c:v>
                </c:pt>
                <c:pt idx="4">
                  <c:v>0.014956076642467583</c:v>
                </c:pt>
              </c:numCache>
            </c:numRef>
          </c:yVal>
          <c:smooth val="0"/>
          <c:extLst>
            <c:ext xmlns:c16="http://schemas.microsoft.com/office/drawing/2014/chart" uri="{C3380CC4-5D6E-409C-BE32-E72D297353CC}">
              <c16:uniqueId val="{00000011-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79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121212121212121"/>
          <c:min val="0.00355029585798816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366041997526896</c:v>
                </c:pt>
                <c:pt idx="1">
                  <c:v>0.6547916872388293</c:v>
                </c:pt>
                <c:pt idx="2">
                  <c:v>0.6352694341223966</c:v>
                </c:pt>
                <c:pt idx="3">
                  <c:v>0.6310710261358297</c:v>
                </c:pt>
                <c:pt idx="4">
                  <c:v>0.629123264798992</c:v>
                </c:pt>
                <c:pt idx="5">
                  <c:v>0.6341657839858362</c:v>
                </c:pt>
                <c:pt idx="6">
                  <c:v>0.5967169042609138</c:v>
                </c:pt>
                <c:pt idx="7">
                  <c:v>0.5988392831052418</c:v>
                </c:pt>
                <c:pt idx="8">
                  <c:v>0.6085056811717509</c:v>
                </c:pt>
                <c:pt idx="9">
                  <c:v>0.6307743218343637</c:v>
                </c:pt>
                <c:pt idx="10">
                  <c:v>0.637687381801175</c:v>
                </c:pt>
                <c:pt idx="11">
                  <c:v>0.6811833511445348</c:v>
                </c:pt>
                <c:pt idx="12">
                  <c:v>0.7046374400562826</c:v>
                </c:pt>
                <c:pt idx="13">
                  <c:v>0.7036303907361009</c:v>
                </c:pt>
                <c:pt idx="14">
                  <c:v>0.6899621376543255</c:v>
                </c:pt>
                <c:pt idx="15">
                  <c:v>0.7014974847966808</c:v>
                </c:pt>
                <c:pt idx="16">
                  <c:v>0.7137494115032778</c:v>
                </c:pt>
                <c:pt idx="17">
                  <c:v>0.6822486727668887</c:v>
                </c:pt>
                <c:pt idx="18">
                  <c:v>0.718733132008359</c:v>
                </c:pt>
                <c:pt idx="19">
                  <c:v>0.7255660564318701</c:v>
                </c:pt>
                <c:pt idx="20">
                  <c:v>0.7606794717659696</c:v>
                </c:pt>
                <c:pt idx="21">
                  <c:v>0.6882891403021115</c:v>
                </c:pt>
                <c:pt idx="22">
                  <c:v>0.6439981181180925</c:v>
                </c:pt>
                <c:pt idx="23">
                  <c:v>0.6292062607653184</c:v>
                </c:pt>
                <c:pt idx="24">
                  <c:v>0.6124177607228818</c:v>
                </c:pt>
                <c:pt idx="25">
                  <c:v>0.5880121013585954</c:v>
                </c:pt>
                <c:pt idx="26">
                  <c:v>0.5831720569516884</c:v>
                </c:pt>
                <c:pt idx="27">
                  <c:v>0.6075276064625843</c:v>
                </c:pt>
                <c:pt idx="28">
                  <c:v>0.6008316758605136</c:v>
                </c:pt>
                <c:pt idx="29">
                  <c:v>0.5947862262135402</c:v>
                </c:pt>
                <c:pt idx="30">
                  <c:v>0.5887082462610533</c:v>
                </c:pt>
                <c:pt idx="31">
                  <c:v>0.5884284300930915</c:v>
                </c:pt>
                <c:pt idx="32">
                  <c:v>0.5650871994390554</c:v>
                </c:pt>
                <c:pt idx="33">
                  <c:v>0.5546673789287286</c:v>
                </c:pt>
                <c:pt idx="34">
                  <c:v>0.5955474464130586</c:v>
                </c:pt>
                <c:pt idx="35">
                  <c:v>0.6498879117860765</c:v>
                </c:pt>
                <c:pt idx="36">
                  <c:v>0.6877942244897408</c:v>
                </c:pt>
                <c:pt idx="37">
                  <c:v>0.6665737720921288</c:v>
                </c:pt>
                <c:pt idx="38">
                  <c:v>0.7128622004657453</c:v>
                </c:pt>
                <c:pt idx="39">
                  <c:v>0.7302432599547172</c:v>
                </c:pt>
                <c:pt idx="40">
                  <c:v>0.7154683841508046</c:v>
                </c:pt>
                <c:pt idx="41">
                  <c:v>0.7003172501658852</c:v>
                </c:pt>
                <c:pt idx="42">
                  <c:v>0.7196045007730993</c:v>
                </c:pt>
                <c:pt idx="43">
                  <c:v>0.7301198846085891</c:v>
                </c:pt>
                <c:pt idx="44">
                  <c:v>0.7232817406566191</c:v>
                </c:pt>
                <c:pt idx="45">
                  <c:v>0.7247371276957766</c:v>
                </c:pt>
                <c:pt idx="46">
                  <c:v>0.7231375235698904</c:v>
                </c:pt>
                <c:pt idx="47">
                  <c:v>0.7255401731106245</c:v>
                </c:pt>
                <c:pt idx="48">
                  <c:v>0.7369715837461913</c:v>
                </c:pt>
                <c:pt idx="49">
                  <c:v>0.7354458087337162</c:v>
                </c:pt>
                <c:pt idx="50">
                  <c:v>0.6973304263795862</c:v>
                </c:pt>
                <c:pt idx="51">
                  <c:v>0.6977296641013805</c:v>
                </c:pt>
                <c:pt idx="52">
                  <c:v>0.709822768518707</c:v>
                </c:pt>
                <c:pt idx="53">
                  <c:v>0.6715665093640583</c:v>
                </c:pt>
                <c:pt idx="54">
                  <c:v>0.6447849556708948</c:v>
                </c:pt>
                <c:pt idx="55">
                  <c:v>0.6555603491308455</c:v>
                </c:pt>
                <c:pt idx="56">
                  <c:v>0.6543015350303135</c:v>
                </c:pt>
                <c:pt idx="57">
                  <c:v>0.6518527659487893</c:v>
                </c:pt>
                <c:pt idx="58">
                  <c:v>0.630810610870597</c:v>
                </c:pt>
                <c:pt idx="59">
                  <c:v>0.6468550310184692</c:v>
                </c:pt>
                <c:pt idx="60">
                  <c:v>0.6465549610495556</c:v>
                </c:pt>
                <c:pt idx="61">
                  <c:v>0.6861254291260951</c:v>
                </c:pt>
                <c:pt idx="62">
                  <c:v>0.6869609595032468</c:v>
                </c:pt>
                <c:pt idx="63">
                  <c:v>0.7064393235631973</c:v>
                </c:pt>
                <c:pt idx="64">
                  <c:v>0.7532992558804141</c:v>
                </c:pt>
                <c:pt idx="65">
                  <c:v>0.7556100514084397</c:v>
                </c:pt>
                <c:pt idx="66">
                  <c:v>0.7460671717960721</c:v>
                </c:pt>
                <c:pt idx="67">
                  <c:v>0.7669683920672584</c:v>
                </c:pt>
                <c:pt idx="68">
                  <c:v>0.7731383817024039</c:v>
                </c:pt>
                <c:pt idx="69">
                  <c:v>0.7766738198016417</c:v>
                </c:pt>
                <c:pt idx="70">
                  <c:v>0.7509618553968482</c:v>
                </c:pt>
                <c:pt idx="71">
                  <c:v>0.7322732883213426</c:v>
                </c:pt>
                <c:pt idx="72">
                  <c:v>0.8015503744000646</c:v>
                </c:pt>
                <c:pt idx="73">
                  <c:v>0.7580681884831707</c:v>
                </c:pt>
                <c:pt idx="74">
                  <c:v>0.7414571374183244</c:v>
                </c:pt>
                <c:pt idx="75">
                  <c:v>0.7163127070487361</c:v>
                </c:pt>
                <c:pt idx="76">
                  <c:v>0.700423329021844</c:v>
                </c:pt>
                <c:pt idx="77">
                  <c:v>0.7104803960471494</c:v>
                </c:pt>
                <c:pt idx="78">
                  <c:v>0.7302603656856513</c:v>
                </c:pt>
                <c:pt idx="79">
                  <c:v>0.7119645439460478</c:v>
                </c:pt>
                <c:pt idx="80">
                  <c:v>0.7458189985401865</c:v>
                </c:pt>
                <c:pt idx="81">
                  <c:v>0.7438830620870202</c:v>
                </c:pt>
                <c:pt idx="82">
                  <c:v>0.7286170498687293</c:v>
                </c:pt>
                <c:pt idx="83">
                  <c:v>0.6898870704939888</c:v>
                </c:pt>
                <c:pt idx="84">
                  <c:v>0.7073938459330655</c:v>
                </c:pt>
                <c:pt idx="85">
                  <c:v>0.6947336245649236</c:v>
                </c:pt>
                <c:pt idx="86">
                  <c:v>0.7129209874049923</c:v>
                </c:pt>
                <c:pt idx="87">
                  <c:v>0.7303697704255698</c:v>
                </c:pt>
                <c:pt idx="88">
                  <c:v>0.7133325020335601</c:v>
                </c:pt>
                <c:pt idx="89">
                  <c:v>0.6903532297678922</c:v>
                </c:pt>
                <c:pt idx="90">
                  <c:v>0.7159515935017098</c:v>
                </c:pt>
                <c:pt idx="91">
                  <c:v>0.7448111464539147</c:v>
                </c:pt>
                <c:pt idx="92">
                  <c:v>0.7423619025519089</c:v>
                </c:pt>
                <c:pt idx="93">
                  <c:v>0.7586345428785405</c:v>
                </c:pt>
                <c:pt idx="94">
                  <c:v>0.7453174219950748</c:v>
                </c:pt>
                <c:pt idx="95">
                  <c:v>0.7470876180306589</c:v>
                </c:pt>
                <c:pt idx="96">
                  <c:v>0.7628887192095373</c:v>
                </c:pt>
                <c:pt idx="97">
                  <c:v>0.7955225408261565</c:v>
                </c:pt>
                <c:pt idx="98">
                  <c:v>0.8065030638008451</c:v>
                </c:pt>
                <c:pt idx="99">
                  <c:v>0.8000546395784044</c:v>
                </c:pt>
                <c:pt idx="100">
                  <c:v>0.7921583471491086</c:v>
                </c:pt>
                <c:pt idx="101">
                  <c:v>0.7283285194952587</c:v>
                </c:pt>
                <c:pt idx="102">
                  <c:v>0.7264835470713237</c:v>
                </c:pt>
                <c:pt idx="103">
                  <c:v>0.7463575256005598</c:v>
                </c:pt>
                <c:pt idx="104">
                  <c:v>0.7408167509329773</c:v>
                </c:pt>
              </c:numCache>
            </c:numRef>
          </c:xVal>
          <c:yVal>
            <c:numRef>
              <c:f>Sheet1!$B$2:$B$106</c:f>
              <c:numCache>
                <c:formatCode>General</c:formatCode>
                <c:ptCount val="105"/>
                <c:pt idx="0">
                  <c:v>0.2517147485609899</c:v>
                </c:pt>
                <c:pt idx="1">
                  <c:v>0.24949245136761286</c:v>
                </c:pt>
                <c:pt idx="2">
                  <c:v>0.251412919108214</c:v>
                </c:pt>
                <c:pt idx="3">
                  <c:v>0.25002788829807016</c:v>
                </c:pt>
                <c:pt idx="4">
                  <c:v>0.254451136413593</c:v>
                </c:pt>
                <c:pt idx="5">
                  <c:v>0.26060360725048354</c:v>
                </c:pt>
                <c:pt idx="6">
                  <c:v>0.28730684801790557</c:v>
                </c:pt>
                <c:pt idx="7">
                  <c:v>0.29261378018528833</c:v>
                </c:pt>
                <c:pt idx="8">
                  <c:v>0.2881803959648271</c:v>
                </c:pt>
                <c:pt idx="9">
                  <c:v>0.2713295379729677</c:v>
                </c:pt>
                <c:pt idx="10">
                  <c:v>0.2682604426316187</c:v>
                </c:pt>
                <c:pt idx="11">
                  <c:v>0.2434226026859342</c:v>
                </c:pt>
                <c:pt idx="12">
                  <c:v>0.23166263647688137</c:v>
                </c:pt>
                <c:pt idx="13">
                  <c:v>0.21943166641935005</c:v>
                </c:pt>
                <c:pt idx="14">
                  <c:v>0.20819935691318328</c:v>
                </c:pt>
                <c:pt idx="15">
                  <c:v>0.20032310177705978</c:v>
                </c:pt>
                <c:pt idx="16">
                  <c:v>0.19135243841126193</c:v>
                </c:pt>
                <c:pt idx="17">
                  <c:v>0.1893611187277214</c:v>
                </c:pt>
                <c:pt idx="18">
                  <c:v>0.17375971309025703</c:v>
                </c:pt>
                <c:pt idx="19">
                  <c:v>0.17545871559633028</c:v>
                </c:pt>
                <c:pt idx="20">
                  <c:v>0.17418820606849234</c:v>
                </c:pt>
                <c:pt idx="21">
                  <c:v>0.18670115642118076</c:v>
                </c:pt>
                <c:pt idx="22">
                  <c:v>0.20886535113174695</c:v>
                </c:pt>
                <c:pt idx="23">
                  <c:v>0.21620595382746052</c:v>
                </c:pt>
                <c:pt idx="24">
                  <c:v>0.21956720941707197</c:v>
                </c:pt>
                <c:pt idx="25">
                  <c:v>0.2278839922229423</c:v>
                </c:pt>
                <c:pt idx="26">
                  <c:v>0.248124210682713</c:v>
                </c:pt>
                <c:pt idx="27">
                  <c:v>0.2370037132247929</c:v>
                </c:pt>
                <c:pt idx="28">
                  <c:v>0.2444784605291931</c:v>
                </c:pt>
                <c:pt idx="29">
                  <c:v>0.23986167871738448</c:v>
                </c:pt>
                <c:pt idx="30">
                  <c:v>0.24341403364792777</c:v>
                </c:pt>
                <c:pt idx="31">
                  <c:v>0.25345477386934673</c:v>
                </c:pt>
                <c:pt idx="32">
                  <c:v>0.25874818937256994</c:v>
                </c:pt>
                <c:pt idx="33">
                  <c:v>0.25585032437442073</c:v>
                </c:pt>
                <c:pt idx="34">
                  <c:v>0.250102396067991</c:v>
                </c:pt>
                <c:pt idx="35">
                  <c:v>0.2557345971563981</c:v>
                </c:pt>
                <c:pt idx="36">
                  <c:v>0.23196812562254643</c:v>
                </c:pt>
                <c:pt idx="37">
                  <c:v>0.22798857066914746</c:v>
                </c:pt>
                <c:pt idx="38">
                  <c:v>0.21615913890592003</c:v>
                </c:pt>
                <c:pt idx="39">
                  <c:v>0.2071938378913151</c:v>
                </c:pt>
                <c:pt idx="40">
                  <c:v>0.21045714285714287</c:v>
                </c:pt>
                <c:pt idx="41">
                  <c:v>0.2072407910532634</c:v>
                </c:pt>
                <c:pt idx="42">
                  <c:v>0.20224290924927868</c:v>
                </c:pt>
                <c:pt idx="43">
                  <c:v>0.1946233411397346</c:v>
                </c:pt>
                <c:pt idx="44">
                  <c:v>0.19609193962547755</c:v>
                </c:pt>
                <c:pt idx="45">
                  <c:v>0.21453432886094426</c:v>
                </c:pt>
                <c:pt idx="46">
                  <c:v>0.21987389386518008</c:v>
                </c:pt>
                <c:pt idx="47">
                  <c:v>0.21423830069697974</c:v>
                </c:pt>
                <c:pt idx="48">
                  <c:v>0.21207664255636371</c:v>
                </c:pt>
                <c:pt idx="49">
                  <c:v>0.2241240064043527</c:v>
                </c:pt>
                <c:pt idx="50">
                  <c:v>0.21729131175468483</c:v>
                </c:pt>
                <c:pt idx="51">
                  <c:v>0.2069052783803326</c:v>
                </c:pt>
                <c:pt idx="52">
                  <c:v>0.20980577491843766</c:v>
                </c:pt>
                <c:pt idx="53">
                  <c:v>0.20395344540920007</c:v>
                </c:pt>
                <c:pt idx="54">
                  <c:v>0.20795081967213114</c:v>
                </c:pt>
                <c:pt idx="55">
                  <c:v>0.2052563079894202</c:v>
                </c:pt>
                <c:pt idx="56">
                  <c:v>0.20678541875353862</c:v>
                </c:pt>
                <c:pt idx="57">
                  <c:v>0.20438625444676717</c:v>
                </c:pt>
                <c:pt idx="58">
                  <c:v>0.21921198969211989</c:v>
                </c:pt>
                <c:pt idx="59">
                  <c:v>0.21826577276561737</c:v>
                </c:pt>
                <c:pt idx="60">
                  <c:v>0.22469086656880552</c:v>
                </c:pt>
                <c:pt idx="61">
                  <c:v>0.2215318067904837</c:v>
                </c:pt>
                <c:pt idx="62">
                  <c:v>0.23122205423488917</c:v>
                </c:pt>
                <c:pt idx="63">
                  <c:v>0.23903751307726798</c:v>
                </c:pt>
                <c:pt idx="64">
                  <c:v>0.22433045579093133</c:v>
                </c:pt>
                <c:pt idx="65">
                  <c:v>0.2142171910974674</c:v>
                </c:pt>
                <c:pt idx="66">
                  <c:v>0.21597421203438397</c:v>
                </c:pt>
                <c:pt idx="67">
                  <c:v>0.20335110434120335</c:v>
                </c:pt>
                <c:pt idx="68">
                  <c:v>0.19194123819517314</c:v>
                </c:pt>
                <c:pt idx="69">
                  <c:v>0.186231725943705</c:v>
                </c:pt>
                <c:pt idx="70">
                  <c:v>0.18707821082919174</c:v>
                </c:pt>
                <c:pt idx="71">
                  <c:v>0.18971229293809938</c:v>
                </c:pt>
                <c:pt idx="72">
                  <c:v>0.1793250095414645</c:v>
                </c:pt>
                <c:pt idx="73">
                  <c:v>0.18501574475669894</c:v>
                </c:pt>
                <c:pt idx="74">
                  <c:v>0.18769759831382773</c:v>
                </c:pt>
                <c:pt idx="75">
                  <c:v>0.19967866323907454</c:v>
                </c:pt>
                <c:pt idx="76">
                  <c:v>0.20348151744226367</c:v>
                </c:pt>
                <c:pt idx="77">
                  <c:v>0.19437803376077664</c:v>
                </c:pt>
                <c:pt idx="78">
                  <c:v>0.19729144963538744</c:v>
                </c:pt>
                <c:pt idx="79">
                  <c:v>0.17318884206301424</c:v>
                </c:pt>
                <c:pt idx="80">
                  <c:v>0.16710411198600175</c:v>
                </c:pt>
                <c:pt idx="81">
                  <c:v>0.1803864168618267</c:v>
                </c:pt>
                <c:pt idx="82">
                  <c:v>0.17975474141214107</c:v>
                </c:pt>
                <c:pt idx="83">
                  <c:v>0.18402356610639403</c:v>
                </c:pt>
                <c:pt idx="84">
                  <c:v>0.18698972873321043</c:v>
                </c:pt>
                <c:pt idx="85">
                  <c:v>0.19571842145360355</c:v>
                </c:pt>
                <c:pt idx="86">
                  <c:v>0.207593915648767</c:v>
                </c:pt>
                <c:pt idx="87">
                  <c:v>0.2173268956435861</c:v>
                </c:pt>
                <c:pt idx="88">
                  <c:v>0.20523153057617533</c:v>
                </c:pt>
                <c:pt idx="89">
                  <c:v>0.20932949147262675</c:v>
                </c:pt>
                <c:pt idx="90">
                  <c:v>0.19498162058494486</c:v>
                </c:pt>
                <c:pt idx="91">
                  <c:v>0.1831610044313146</c:v>
                </c:pt>
                <c:pt idx="92">
                  <c:v>0.19462962962962962</c:v>
                </c:pt>
                <c:pt idx="93">
                  <c:v>0.18998903909389842</c:v>
                </c:pt>
                <c:pt idx="94">
                  <c:v>0.19740048740861088</c:v>
                </c:pt>
                <c:pt idx="95">
                  <c:v>0.19975149105367793</c:v>
                </c:pt>
                <c:pt idx="96">
                  <c:v>0.19698046782437967</c:v>
                </c:pt>
                <c:pt idx="97">
                  <c:v>0.202424676759533</c:v>
                </c:pt>
                <c:pt idx="98">
                  <c:v>0.2040774352777849</c:v>
                </c:pt>
                <c:pt idx="99">
                  <c:v>0.20725569996936677</c:v>
                </c:pt>
                <c:pt idx="100">
                  <c:v>0.208160385871081</c:v>
                </c:pt>
                <c:pt idx="101">
                  <c:v>0.21458165496604903</c:v>
                </c:pt>
                <c:pt idx="102">
                  <c:v>0.20686988726547556</c:v>
                </c:pt>
                <c:pt idx="103">
                  <c:v>0.201168762174606</c:v>
                </c:pt>
                <c:pt idx="104">
                  <c:v>0.1981691812171554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35307613488858</c:v>
                </c:pt>
                <c:pt idx="1">
                  <c:v>0.6993866541818944</c:v>
                </c:pt>
                <c:pt idx="2">
                  <c:v>0.7099739100660696</c:v>
                </c:pt>
                <c:pt idx="3">
                  <c:v>0.6767197794046058</c:v>
                </c:pt>
                <c:pt idx="4">
                  <c:v>0.6902452168759472</c:v>
                </c:pt>
                <c:pt idx="5">
                  <c:v>0.7001134172634427</c:v>
                </c:pt>
                <c:pt idx="6">
                  <c:v>0.7011354982093781</c:v>
                </c:pt>
                <c:pt idx="7">
                  <c:v>0.7003788366297174</c:v>
                </c:pt>
                <c:pt idx="8">
                  <c:v>0.7187960567612918</c:v>
                </c:pt>
                <c:pt idx="9">
                  <c:v>0.7029945367772403</c:v>
                </c:pt>
                <c:pt idx="10">
                  <c:v>0.7176598692692272</c:v>
                </c:pt>
                <c:pt idx="11">
                  <c:v>0.6965732258445303</c:v>
                </c:pt>
                <c:pt idx="12">
                  <c:v>0.7072674859677248</c:v>
                </c:pt>
                <c:pt idx="13">
                  <c:v>0.6881286909048565</c:v>
                </c:pt>
                <c:pt idx="14">
                  <c:v>0.6740098637462477</c:v>
                </c:pt>
                <c:pt idx="15">
                  <c:v>0.6797386205826358</c:v>
                </c:pt>
                <c:pt idx="16">
                  <c:v>0.6996931217794565</c:v>
                </c:pt>
                <c:pt idx="17">
                  <c:v>0.6711819790353073</c:v>
                </c:pt>
                <c:pt idx="18">
                  <c:v>0.6862858913710541</c:v>
                </c:pt>
                <c:pt idx="19">
                  <c:v>0.6981282822103899</c:v>
                </c:pt>
                <c:pt idx="20">
                  <c:v>0.6665302432708233</c:v>
                </c:pt>
                <c:pt idx="21">
                  <c:v>0.6312401094152585</c:v>
                </c:pt>
                <c:pt idx="22">
                  <c:v>0.6461890635672854</c:v>
                </c:pt>
                <c:pt idx="23">
                  <c:v>0.664077133671651</c:v>
                </c:pt>
                <c:pt idx="24">
                  <c:v>0.6679873400647711</c:v>
                </c:pt>
                <c:pt idx="25">
                  <c:v>0.6887767744830164</c:v>
                </c:pt>
                <c:pt idx="26">
                  <c:v>0.6666294929461316</c:v>
                </c:pt>
                <c:pt idx="27">
                  <c:v>0.6808691687508639</c:v>
                </c:pt>
                <c:pt idx="28">
                  <c:v>0.6964902771035233</c:v>
                </c:pt>
                <c:pt idx="29">
                  <c:v>0.6619908689458059</c:v>
                </c:pt>
                <c:pt idx="30">
                  <c:v>0.6587202245764061</c:v>
                </c:pt>
                <c:pt idx="31">
                  <c:v>0.6628735140535156</c:v>
                </c:pt>
                <c:pt idx="32">
                  <c:v>0.6693393447467232</c:v>
                </c:pt>
                <c:pt idx="33">
                  <c:v>0.6879778867782218</c:v>
                </c:pt>
                <c:pt idx="34">
                  <c:v>0.7175136301757877</c:v>
                </c:pt>
                <c:pt idx="35">
                  <c:v>0.6995213855514282</c:v>
                </c:pt>
                <c:pt idx="36">
                  <c:v>0.6503170723671522</c:v>
                </c:pt>
                <c:pt idx="37">
                  <c:v>0.6384377902986433</c:v>
                </c:pt>
                <c:pt idx="38">
                  <c:v>0.6514730440455658</c:v>
                </c:pt>
                <c:pt idx="39">
                  <c:v>0.6841721215403336</c:v>
                </c:pt>
                <c:pt idx="40">
                  <c:v>0.7088812496904486</c:v>
                </c:pt>
                <c:pt idx="41">
                  <c:v>0.7270144847685257</c:v>
                </c:pt>
                <c:pt idx="42">
                  <c:v>0.7007568119667644</c:v>
                </c:pt>
                <c:pt idx="43">
                  <c:v>0.7599223831275206</c:v>
                </c:pt>
                <c:pt idx="44">
                  <c:v>0.7943490352082431</c:v>
                </c:pt>
                <c:pt idx="45">
                  <c:v>0.7895429728721519</c:v>
                </c:pt>
                <c:pt idx="46">
                  <c:v>0.7544890436845139</c:v>
                </c:pt>
                <c:pt idx="47">
                  <c:v>0.7600248732442949</c:v>
                </c:pt>
                <c:pt idx="48">
                  <c:v>0.8099830749957465</c:v>
                </c:pt>
                <c:pt idx="49">
                  <c:v>0.8422071531041592</c:v>
                </c:pt>
                <c:pt idx="50">
                  <c:v>0.8217652424422001</c:v>
                </c:pt>
                <c:pt idx="51">
                  <c:v>0.7825337269041407</c:v>
                </c:pt>
              </c:numCache>
            </c:numRef>
          </c:xVal>
          <c:yVal>
            <c:numRef>
              <c:f>Sheet1!$B$109:$B$160</c:f>
              <c:numCache>
                <c:formatCode>General</c:formatCode>
                <c:ptCount val="52"/>
                <c:pt idx="0">
                  <c:v>0.197400060114217</c:v>
                </c:pt>
                <c:pt idx="1">
                  <c:v>0.20026240458015268</c:v>
                </c:pt>
                <c:pt idx="2">
                  <c:v>0.21562840378061207</c:v>
                </c:pt>
                <c:pt idx="3">
                  <c:v>0.23137071202075526</c:v>
                </c:pt>
                <c:pt idx="4">
                  <c:v>0.21376146788990827</c:v>
                </c:pt>
                <c:pt idx="5">
                  <c:v>0.2198332767530459</c:v>
                </c:pt>
                <c:pt idx="6">
                  <c:v>0.2318436670054756</c:v>
                </c:pt>
                <c:pt idx="7">
                  <c:v>0.2285893360791512</c:v>
                </c:pt>
                <c:pt idx="8">
                  <c:v>0.2144673214018645</c:v>
                </c:pt>
                <c:pt idx="9">
                  <c:v>0.22412922766279655</c:v>
                </c:pt>
                <c:pt idx="10">
                  <c:v>0.22589838357750366</c:v>
                </c:pt>
                <c:pt idx="11">
                  <c:v>0.230069351657441</c:v>
                </c:pt>
                <c:pt idx="12">
                  <c:v>0.23010873640794902</c:v>
                </c:pt>
                <c:pt idx="13">
                  <c:v>0.22671183159932254</c:v>
                </c:pt>
                <c:pt idx="14">
                  <c:v>0.23061955512315924</c:v>
                </c:pt>
                <c:pt idx="15">
                  <c:v>0.22314721783646715</c:v>
                </c:pt>
                <c:pt idx="16">
                  <c:v>0.21933212176283506</c:v>
                </c:pt>
                <c:pt idx="17">
                  <c:v>0.229491423412579</c:v>
                </c:pt>
                <c:pt idx="18">
                  <c:v>0.22677198087715653</c:v>
                </c:pt>
                <c:pt idx="19">
                  <c:v>0.2199635307624772</c:v>
                </c:pt>
                <c:pt idx="20">
                  <c:v>0.20846217663473868</c:v>
                </c:pt>
                <c:pt idx="21">
                  <c:v>0.22308107136437175</c:v>
                </c:pt>
                <c:pt idx="22">
                  <c:v>0.2155111425539441</c:v>
                </c:pt>
                <c:pt idx="23">
                  <c:v>0.2164165277005744</c:v>
                </c:pt>
                <c:pt idx="24">
                  <c:v>0.21474850809889173</c:v>
                </c:pt>
                <c:pt idx="25">
                  <c:v>0.21900752418487998</c:v>
                </c:pt>
                <c:pt idx="26">
                  <c:v>0.2130005803830528</c:v>
                </c:pt>
                <c:pt idx="27">
                  <c:v>0.2161798759991036</c:v>
                </c:pt>
                <c:pt idx="28">
                  <c:v>0.20585253767655606</c:v>
                </c:pt>
                <c:pt idx="29">
                  <c:v>0.20888852778680533</c:v>
                </c:pt>
                <c:pt idx="30">
                  <c:v>0.21288586087980485</c:v>
                </c:pt>
                <c:pt idx="31">
                  <c:v>0.20632922772633283</c:v>
                </c:pt>
                <c:pt idx="32">
                  <c:v>0.20135271709554536</c:v>
                </c:pt>
                <c:pt idx="33">
                  <c:v>0.2141041162227603</c:v>
                </c:pt>
                <c:pt idx="34">
                  <c:v>0.23213490925275704</c:v>
                </c:pt>
                <c:pt idx="35">
                  <c:v>0.22095332671300894</c:v>
                </c:pt>
                <c:pt idx="36">
                  <c:v>0.21491658488714427</c:v>
                </c:pt>
                <c:pt idx="37">
                  <c:v>0.21960922995314297</c:v>
                </c:pt>
                <c:pt idx="38">
                  <c:v>0.22049719956765254</c:v>
                </c:pt>
                <c:pt idx="39">
                  <c:v>0.218610991533936</c:v>
                </c:pt>
                <c:pt idx="40">
                  <c:v>0.20441525778957664</c:v>
                </c:pt>
                <c:pt idx="41">
                  <c:v>0.20590176921045683</c:v>
                </c:pt>
                <c:pt idx="42">
                  <c:v>0.20942212931163207</c:v>
                </c:pt>
                <c:pt idx="43">
                  <c:v>0.19421578311930635</c:v>
                </c:pt>
                <c:pt idx="44">
                  <c:v>0.19482154095118223</c:v>
                </c:pt>
                <c:pt idx="45">
                  <c:v>0.21432315554973136</c:v>
                </c:pt>
                <c:pt idx="46">
                  <c:v>0.23017595535229826</c:v>
                </c:pt>
                <c:pt idx="47">
                  <c:v>0.23071369264647484</c:v>
                </c:pt>
                <c:pt idx="48">
                  <c:v>0.219158374295648</c:v>
                </c:pt>
                <c:pt idx="49">
                  <c:v>0.2252389951089373</c:v>
                </c:pt>
                <c:pt idx="50">
                  <c:v>0.22199045364001954</c:v>
                </c:pt>
                <c:pt idx="51">
                  <c:v>0.2218321744413690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9.010138030400391</c:v>
                </c:pt>
              </c:numCache>
            </c:numRef>
          </c:xVal>
          <c:yVal>
            <c:numRef>
              <c:f>Sheet1!$B$163:$B$164</c:f>
              <c:numCache>
                <c:formatCode>General</c:formatCode>
                <c:ptCount val="2"/>
                <c:pt idx="0">
                  <c:v>0.26508930835188715</c:v>
                </c:pt>
                <c:pt idx="1">
                  <c:v>0.2650893083518871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9.010138030400391</c:v>
                </c:pt>
                <c:pt idx="1">
                  <c:v>-9.010138030400391</c:v>
                </c:pt>
              </c:numCache>
            </c:numRef>
          </c:xVal>
          <c:yVal>
            <c:numRef>
              <c:f>Sheet1!$B$167:$B$168</c:f>
              <c:numCache>
                <c:formatCode>General</c:formatCode>
                <c:ptCount val="2"/>
                <c:pt idx="0">
                  <c:v>0.2650893083518871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6999182030585579</c:v>
                </c:pt>
              </c:numCache>
            </c:numRef>
          </c:xVal>
          <c:yVal>
            <c:numRef>
              <c:f>Sheet1!$B$171:$B$172</c:f>
              <c:numCache>
                <c:formatCode>General</c:formatCode>
                <c:ptCount val="2"/>
                <c:pt idx="0">
                  <c:v>0.22444512374452288</c:v>
                </c:pt>
                <c:pt idx="1">
                  <c:v>0.2244451237445228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6999182030585579</c:v>
                </c:pt>
                <c:pt idx="1">
                  <c:v>-0.6999182030585579</c:v>
                </c:pt>
              </c:numCache>
            </c:numRef>
          </c:xVal>
          <c:yVal>
            <c:numRef>
              <c:f>Sheet1!$B$175:$B$176</c:f>
              <c:numCache>
                <c:formatCode>General</c:formatCode>
                <c:ptCount val="2"/>
                <c:pt idx="0">
                  <c:v>0.2244451237445228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2969956534452232</c:v>
                </c:pt>
              </c:numCache>
            </c:numRef>
          </c:xVal>
          <c:yVal>
            <c:numRef>
              <c:f>Sheet1!$B$179:$B$180</c:f>
              <c:numCache>
                <c:formatCode>General</c:formatCode>
                <c:ptCount val="2"/>
                <c:pt idx="0">
                  <c:v>0.21467848253465915</c:v>
                </c:pt>
                <c:pt idx="1">
                  <c:v>0.2146784825346591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2969956534452232</c:v>
                </c:pt>
                <c:pt idx="1">
                  <c:v>1.2969956534452232</c:v>
                </c:pt>
              </c:numCache>
            </c:numRef>
          </c:xVal>
          <c:yVal>
            <c:numRef>
              <c:f>Sheet1!$B$183:$B$184</c:f>
              <c:numCache>
                <c:formatCode>General</c:formatCode>
                <c:ptCount val="2"/>
                <c:pt idx="0">
                  <c:v>0.214678482534659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35307613488858</c:v>
                </c:pt>
                <c:pt idx="1">
                  <c:v>0.6993866541818944</c:v>
                </c:pt>
                <c:pt idx="2">
                  <c:v>0.7099739100660696</c:v>
                </c:pt>
                <c:pt idx="3">
                  <c:v>0.6767197794046058</c:v>
                </c:pt>
                <c:pt idx="4">
                  <c:v>0.6902452168759472</c:v>
                </c:pt>
                <c:pt idx="5">
                  <c:v>0.7001134172634427</c:v>
                </c:pt>
                <c:pt idx="6">
                  <c:v>0.7011354982093781</c:v>
                </c:pt>
                <c:pt idx="7">
                  <c:v>0.7003788366297174</c:v>
                </c:pt>
                <c:pt idx="8">
                  <c:v>0.7187960567612918</c:v>
                </c:pt>
                <c:pt idx="9">
                  <c:v>0.7029945367772403</c:v>
                </c:pt>
                <c:pt idx="10">
                  <c:v>0.7176598692692272</c:v>
                </c:pt>
                <c:pt idx="11">
                  <c:v>0.6965732258445303</c:v>
                </c:pt>
                <c:pt idx="12">
                  <c:v>0.7072674859677248</c:v>
                </c:pt>
                <c:pt idx="13">
                  <c:v>0.6881286909048565</c:v>
                </c:pt>
                <c:pt idx="14">
                  <c:v>0.6740098637462477</c:v>
                </c:pt>
                <c:pt idx="15">
                  <c:v>0.6797386205826358</c:v>
                </c:pt>
                <c:pt idx="16">
                  <c:v>0.6996931217794565</c:v>
                </c:pt>
                <c:pt idx="17">
                  <c:v>0.6711819790353073</c:v>
                </c:pt>
                <c:pt idx="18">
                  <c:v>0.6862858913710541</c:v>
                </c:pt>
                <c:pt idx="19">
                  <c:v>0.6981282822103899</c:v>
                </c:pt>
                <c:pt idx="20">
                  <c:v>0.6665302432708233</c:v>
                </c:pt>
                <c:pt idx="21">
                  <c:v>0.6312401094152585</c:v>
                </c:pt>
                <c:pt idx="22">
                  <c:v>0.6461890635672854</c:v>
                </c:pt>
                <c:pt idx="23">
                  <c:v>0.664077133671651</c:v>
                </c:pt>
                <c:pt idx="24">
                  <c:v>0.6679873400647711</c:v>
                </c:pt>
                <c:pt idx="25">
                  <c:v>0.6887767744830164</c:v>
                </c:pt>
                <c:pt idx="26">
                  <c:v>0.6666294929461316</c:v>
                </c:pt>
                <c:pt idx="27">
                  <c:v>0.6808691687508639</c:v>
                </c:pt>
                <c:pt idx="28">
                  <c:v>0.6964902771035233</c:v>
                </c:pt>
                <c:pt idx="29">
                  <c:v>0.6619908689458059</c:v>
                </c:pt>
                <c:pt idx="30">
                  <c:v>0.6587202245764061</c:v>
                </c:pt>
                <c:pt idx="31">
                  <c:v>0.6628735140535156</c:v>
                </c:pt>
                <c:pt idx="32">
                  <c:v>0.6693393447467232</c:v>
                </c:pt>
                <c:pt idx="33">
                  <c:v>0.6879778867782218</c:v>
                </c:pt>
                <c:pt idx="34">
                  <c:v>0.7175136301757877</c:v>
                </c:pt>
                <c:pt idx="35">
                  <c:v>0.6995213855514282</c:v>
                </c:pt>
                <c:pt idx="36">
                  <c:v>0.6503170723671522</c:v>
                </c:pt>
                <c:pt idx="37">
                  <c:v>0.6384377902986433</c:v>
                </c:pt>
                <c:pt idx="38">
                  <c:v>0.6514730440455658</c:v>
                </c:pt>
                <c:pt idx="39">
                  <c:v>0.6841721215403336</c:v>
                </c:pt>
                <c:pt idx="40">
                  <c:v>0.7088812496904486</c:v>
                </c:pt>
                <c:pt idx="41">
                  <c:v>0.7270144847685257</c:v>
                </c:pt>
                <c:pt idx="42">
                  <c:v>0.7007568119667644</c:v>
                </c:pt>
                <c:pt idx="43">
                  <c:v>0.7599223831275206</c:v>
                </c:pt>
                <c:pt idx="44">
                  <c:v>0.7943490352082431</c:v>
                </c:pt>
                <c:pt idx="45">
                  <c:v>0.7895429728721519</c:v>
                </c:pt>
                <c:pt idx="46">
                  <c:v>0.7544890436845139</c:v>
                </c:pt>
                <c:pt idx="47">
                  <c:v>0.7600248732442949</c:v>
                </c:pt>
                <c:pt idx="48">
                  <c:v>0.8099830749957465</c:v>
                </c:pt>
                <c:pt idx="49">
                  <c:v>0.8422071531041592</c:v>
                </c:pt>
                <c:pt idx="50">
                  <c:v>0.8217652424422001</c:v>
                </c:pt>
                <c:pt idx="51">
                  <c:v>0.7825337269041407</c:v>
                </c:pt>
                <c:pt idx="52">
                  <c:v>-0.6999182030585579</c:v>
                </c:pt>
                <c:pt idx="53">
                  <c:v>-9.010138030400391</c:v>
                </c:pt>
                <c:pt idx="54">
                  <c:v>1.2969956534452232</c:v>
                </c:pt>
              </c:numCache>
            </c:numRef>
          </c:xVal>
          <c:yVal>
            <c:numRef>
              <c:f>Sheet1!$B$187:$B$241</c:f>
              <c:numCache>
                <c:formatCode>General</c:formatCode>
                <c:ptCount val="55"/>
                <c:pt idx="0">
                  <c:v>0.21742562435064616</c:v>
                </c:pt>
                <c:pt idx="1">
                  <c:v>0.2176013090054061</c:v>
                </c:pt>
                <c:pt idx="2">
                  <c:v>0.2175495281390052</c:v>
                </c:pt>
                <c:pt idx="3">
                  <c:v>0.2177121696880428</c:v>
                </c:pt>
                <c:pt idx="4">
                  <c:v>0.21764601856461863</c:v>
                </c:pt>
                <c:pt idx="5">
                  <c:v>0.2175977545034235</c:v>
                </c:pt>
                <c:pt idx="6">
                  <c:v>0.21759275564087674</c:v>
                </c:pt>
                <c:pt idx="7">
                  <c:v>0.217596456372454</c:v>
                </c:pt>
                <c:pt idx="8">
                  <c:v>0.21750638018788432</c:v>
                </c:pt>
                <c:pt idx="9">
                  <c:v>0.21758366332944404</c:v>
                </c:pt>
                <c:pt idx="10">
                  <c:v>0.21751193713043646</c:v>
                </c:pt>
                <c:pt idx="11">
                  <c:v>0.21761506911080636</c:v>
                </c:pt>
                <c:pt idx="12">
                  <c:v>0.21756276490084356</c:v>
                </c:pt>
                <c:pt idx="13">
                  <c:v>0.21765637021284004</c:v>
                </c:pt>
                <c:pt idx="14">
                  <c:v>0.2177254235266388</c:v>
                </c:pt>
                <c:pt idx="15">
                  <c:v>0.21769740493564282</c:v>
                </c:pt>
                <c:pt idx="16">
                  <c:v>0.21759981011297364</c:v>
                </c:pt>
                <c:pt idx="17">
                  <c:v>0.21773925433624766</c:v>
                </c:pt>
                <c:pt idx="18">
                  <c:v>0.21766538310130779</c:v>
                </c:pt>
                <c:pt idx="19">
                  <c:v>0.2176074635360656</c:v>
                </c:pt>
                <c:pt idx="20">
                  <c:v>0.21776200535981677</c:v>
                </c:pt>
                <c:pt idx="21">
                  <c:v>0.21793460473083762</c:v>
                </c:pt>
                <c:pt idx="22">
                  <c:v>0.21786149137585237</c:v>
                </c:pt>
                <c:pt idx="23">
                  <c:v>0.21777400319398751</c:v>
                </c:pt>
                <c:pt idx="24">
                  <c:v>0.2177548788923689</c:v>
                </c:pt>
                <c:pt idx="25">
                  <c:v>0.21765320052188855</c:v>
                </c:pt>
                <c:pt idx="26">
                  <c:v>0.21776151994279902</c:v>
                </c:pt>
                <c:pt idx="27">
                  <c:v>0.21769187557427674</c:v>
                </c:pt>
                <c:pt idx="28">
                  <c:v>0.21761547480211327</c:v>
                </c:pt>
                <c:pt idx="29">
                  <c:v>0.2177842068384661</c:v>
                </c:pt>
                <c:pt idx="30">
                  <c:v>0.21780020312692738</c:v>
                </c:pt>
                <c:pt idx="31">
                  <c:v>0.21777988993813785</c:v>
                </c:pt>
                <c:pt idx="32">
                  <c:v>0.21774826641652292</c:v>
                </c:pt>
                <c:pt idx="33">
                  <c:v>0.2176571077758516</c:v>
                </c:pt>
                <c:pt idx="34">
                  <c:v>0.2175126523664752</c:v>
                </c:pt>
                <c:pt idx="35">
                  <c:v>0.21760065005212095</c:v>
                </c:pt>
                <c:pt idx="36">
                  <c:v>0.21784130183150713</c:v>
                </c:pt>
                <c:pt idx="37">
                  <c:v>0.21789940182686549</c:v>
                </c:pt>
                <c:pt idx="38">
                  <c:v>0.21783564812711972</c:v>
                </c:pt>
                <c:pt idx="39">
                  <c:v>0.21767572126961166</c:v>
                </c:pt>
                <c:pt idx="40">
                  <c:v>0.21755487219619532</c:v>
                </c:pt>
                <c:pt idx="41">
                  <c:v>0.21746618494491263</c:v>
                </c:pt>
                <c:pt idx="42">
                  <c:v>0.21759460774513786</c:v>
                </c:pt>
                <c:pt idx="43">
                  <c:v>0.21730523677221292</c:v>
                </c:pt>
                <c:pt idx="44">
                  <c:v>0.2171368605761972</c:v>
                </c:pt>
                <c:pt idx="45">
                  <c:v>0.21716036639058972</c:v>
                </c:pt>
                <c:pt idx="46">
                  <c:v>0.21733181051586162</c:v>
                </c:pt>
                <c:pt idx="47">
                  <c:v>0.21730473550662513</c:v>
                </c:pt>
                <c:pt idx="48">
                  <c:v>0.21706039655809847</c:v>
                </c:pt>
                <c:pt idx="49">
                  <c:v>0.2169027928596823</c:v>
                </c:pt>
                <c:pt idx="50">
                  <c:v>0.21700277153749517</c:v>
                </c:pt>
                <c:pt idx="51">
                  <c:v>0.21719464768434624</c:v>
                </c:pt>
                <c:pt idx="52">
                  <c:v>0.22444512374452288</c:v>
                </c:pt>
                <c:pt idx="53">
                  <c:v>0.26508930835188715</c:v>
                </c:pt>
                <c:pt idx="54">
                  <c:v>0.214678482534659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1136536222346"/>
          <c:min val="0.133683289588801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1.9058</c:v>
                </c:pt>
                <c:pt idx="1">
                  <c:v>855.4048</c:v>
                </c:pt>
                <c:pt idx="2">
                  <c:v>886.2466</c:v>
                </c:pt>
                <c:pt idx="3">
                  <c:v>899.1541</c:v>
                </c:pt>
                <c:pt idx="4">
                  <c:v>900.0859</c:v>
                </c:pt>
                <c:pt idx="5">
                  <c:v>894.1163</c:v>
                </c:pt>
                <c:pt idx="6">
                  <c:v>846.9098</c:v>
                </c:pt>
                <c:pt idx="7">
                  <c:v>862.7659</c:v>
                </c:pt>
                <c:pt idx="8">
                  <c:v>861.1043</c:v>
                </c:pt>
                <c:pt idx="9">
                  <c:v>843.2709</c:v>
                </c:pt>
                <c:pt idx="10">
                  <c:v>833.2302</c:v>
                </c:pt>
                <c:pt idx="11">
                  <c:v>889.2521</c:v>
                </c:pt>
                <c:pt idx="12">
                  <c:v>890.9984</c:v>
                </c:pt>
                <c:pt idx="13">
                  <c:v>893.6811</c:v>
                </c:pt>
                <c:pt idx="14">
                  <c:v>884.5583</c:v>
                </c:pt>
                <c:pt idx="15">
                  <c:v>903.0039</c:v>
                </c:pt>
                <c:pt idx="16">
                  <c:v>925.6963</c:v>
                </c:pt>
                <c:pt idx="17">
                  <c:v>906.9178</c:v>
                </c:pt>
                <c:pt idx="18">
                  <c:v>966.8314</c:v>
                </c:pt>
                <c:pt idx="19">
                  <c:v>987.056</c:v>
                </c:pt>
                <c:pt idx="20">
                  <c:v>1019.7402</c:v>
                </c:pt>
                <c:pt idx="21">
                  <c:v>1035.4882</c:v>
                </c:pt>
                <c:pt idx="22">
                  <c:v>1008.834</c:v>
                </c:pt>
                <c:pt idx="23">
                  <c:v>1000.987</c:v>
                </c:pt>
                <c:pt idx="24">
                  <c:v>1007.2607</c:v>
                </c:pt>
                <c:pt idx="25">
                  <c:v>983.3374</c:v>
                </c:pt>
                <c:pt idx="26">
                  <c:v>966.4006</c:v>
                </c:pt>
                <c:pt idx="27">
                  <c:v>988.7948</c:v>
                </c:pt>
                <c:pt idx="28">
                  <c:v>987.2651</c:v>
                </c:pt>
                <c:pt idx="29">
                  <c:v>964.9211</c:v>
                </c:pt>
                <c:pt idx="30">
                  <c:v>966.6746</c:v>
                </c:pt>
                <c:pt idx="31">
                  <c:v>953.9414</c:v>
                </c:pt>
                <c:pt idx="32">
                  <c:v>943.1541</c:v>
                </c:pt>
                <c:pt idx="33">
                  <c:v>891.0869</c:v>
                </c:pt>
                <c:pt idx="34">
                  <c:v>912.5349</c:v>
                </c:pt>
                <c:pt idx="35">
                  <c:v>944.06</c:v>
                </c:pt>
                <c:pt idx="36">
                  <c:v>1018.6315</c:v>
                </c:pt>
                <c:pt idx="37">
                  <c:v>1034.4815</c:v>
                </c:pt>
                <c:pt idx="38">
                  <c:v>1086.5919</c:v>
                </c:pt>
                <c:pt idx="39">
                  <c:v>1102.9389</c:v>
                </c:pt>
                <c:pt idx="40">
                  <c:v>1093.293</c:v>
                </c:pt>
                <c:pt idx="41">
                  <c:v>1119.911</c:v>
                </c:pt>
                <c:pt idx="42">
                  <c:v>1143.8659</c:v>
                </c:pt>
                <c:pt idx="43">
                  <c:v>1150.461</c:v>
                </c:pt>
                <c:pt idx="44">
                  <c:v>1088.7683</c:v>
                </c:pt>
                <c:pt idx="45">
                  <c:v>1053.1369</c:v>
                </c:pt>
                <c:pt idx="46">
                  <c:v>1044.7499</c:v>
                </c:pt>
                <c:pt idx="47">
                  <c:v>1026.7838</c:v>
                </c:pt>
                <c:pt idx="48">
                  <c:v>1034.7776</c:v>
                </c:pt>
                <c:pt idx="49">
                  <c:v>1000.8771</c:v>
                </c:pt>
                <c:pt idx="50">
                  <c:v>999.0031</c:v>
                </c:pt>
                <c:pt idx="51">
                  <c:v>1016.9488</c:v>
                </c:pt>
                <c:pt idx="52">
                  <c:v>1024.951</c:v>
                </c:pt>
                <c:pt idx="53">
                  <c:v>1085.3183</c:v>
                </c:pt>
                <c:pt idx="54">
                  <c:v>1079.9166</c:v>
                </c:pt>
                <c:pt idx="55">
                  <c:v>1093.3052</c:v>
                </c:pt>
                <c:pt idx="56">
                  <c:v>1103.5398</c:v>
                </c:pt>
                <c:pt idx="57">
                  <c:v>1076.5338</c:v>
                </c:pt>
                <c:pt idx="58">
                  <c:v>1051.5517</c:v>
                </c:pt>
                <c:pt idx="59">
                  <c:v>1046.739</c:v>
                </c:pt>
                <c:pt idx="60">
                  <c:v>1061.4004</c:v>
                </c:pt>
                <c:pt idx="61">
                  <c:v>1083.228</c:v>
                </c:pt>
                <c:pt idx="62">
                  <c:v>1030.826</c:v>
                </c:pt>
                <c:pt idx="63">
                  <c:v>1057.0364</c:v>
                </c:pt>
                <c:pt idx="64">
                  <c:v>1063.8642</c:v>
                </c:pt>
                <c:pt idx="65">
                  <c:v>1053.6825</c:v>
                </c:pt>
                <c:pt idx="66">
                  <c:v>1056.3771</c:v>
                </c:pt>
                <c:pt idx="67">
                  <c:v>1076.0802</c:v>
                </c:pt>
                <c:pt idx="68">
                  <c:v>1098.3827</c:v>
                </c:pt>
                <c:pt idx="69">
                  <c:v>1127.0407</c:v>
                </c:pt>
                <c:pt idx="70">
                  <c:v>1109.7676</c:v>
                </c:pt>
                <c:pt idx="71">
                  <c:v>1175.1428</c:v>
                </c:pt>
                <c:pt idx="72">
                  <c:v>1271.2621</c:v>
                </c:pt>
                <c:pt idx="73">
                  <c:v>1248.5424</c:v>
                </c:pt>
                <c:pt idx="74">
                  <c:v>1233.5635</c:v>
                </c:pt>
                <c:pt idx="75">
                  <c:v>1189.7679</c:v>
                </c:pt>
                <c:pt idx="76">
                  <c:v>1162.9076</c:v>
                </c:pt>
                <c:pt idx="77">
                  <c:v>1167.2162</c:v>
                </c:pt>
                <c:pt idx="78">
                  <c:v>1218.3745</c:v>
                </c:pt>
                <c:pt idx="79">
                  <c:v>1196.5709</c:v>
                </c:pt>
                <c:pt idx="80">
                  <c:v>1209.5562</c:v>
                </c:pt>
                <c:pt idx="81">
                  <c:v>1194.4479</c:v>
                </c:pt>
                <c:pt idx="82">
                  <c:v>1197.436</c:v>
                </c:pt>
                <c:pt idx="83">
                  <c:v>1157.3818</c:v>
                </c:pt>
                <c:pt idx="84">
                  <c:v>1179.0934</c:v>
                </c:pt>
                <c:pt idx="85">
                  <c:v>1161.1989</c:v>
                </c:pt>
                <c:pt idx="86">
                  <c:v>1150.8049</c:v>
                </c:pt>
                <c:pt idx="87">
                  <c:v>1151.7458</c:v>
                </c:pt>
                <c:pt idx="88">
                  <c:v>1202.4743</c:v>
                </c:pt>
                <c:pt idx="89">
                  <c:v>1193.372</c:v>
                </c:pt>
                <c:pt idx="90">
                  <c:v>1263.7689</c:v>
                </c:pt>
                <c:pt idx="91">
                  <c:v>1261.18</c:v>
                </c:pt>
                <c:pt idx="92">
                  <c:v>1201.6016</c:v>
                </c:pt>
                <c:pt idx="93">
                  <c:v>1244.2375</c:v>
                </c:pt>
                <c:pt idx="94">
                  <c:v>1221.2497</c:v>
                </c:pt>
                <c:pt idx="95">
                  <c:v>1173.0264</c:v>
                </c:pt>
                <c:pt idx="96">
                  <c:v>1141.2002</c:v>
                </c:pt>
                <c:pt idx="97">
                  <c:v>1128.5383</c:v>
                </c:pt>
                <c:pt idx="98">
                  <c:v>1117.49</c:v>
                </c:pt>
                <c:pt idx="99">
                  <c:v>1084.1234</c:v>
                </c:pt>
                <c:pt idx="100">
                  <c:v>1089.073</c:v>
                </c:pt>
                <c:pt idx="101">
                  <c:v>1089.4279</c:v>
                </c:pt>
                <c:pt idx="102">
                  <c:v>1110.0216</c:v>
                </c:pt>
                <c:pt idx="103">
                  <c:v>1102.4859</c:v>
                </c:pt>
                <c:pt idx="104">
                  <c:v>1145.2964</c:v>
                </c:pt>
              </c:numCache>
            </c:numRef>
          </c:xVal>
          <c:yVal>
            <c:numRef>
              <c:f>Sheet1!$B$2:$B$106</c:f>
              <c:numCache>
                <c:formatCode>General</c:formatCode>
                <c:ptCount val="105"/>
                <c:pt idx="0">
                  <c:v>0.2517147485609899</c:v>
                </c:pt>
                <c:pt idx="1">
                  <c:v>0.24949245136761286</c:v>
                </c:pt>
                <c:pt idx="2">
                  <c:v>0.251412919108214</c:v>
                </c:pt>
                <c:pt idx="3">
                  <c:v>0.25002788829807016</c:v>
                </c:pt>
                <c:pt idx="4">
                  <c:v>0.254451136413593</c:v>
                </c:pt>
                <c:pt idx="5">
                  <c:v>0.26060360725048354</c:v>
                </c:pt>
                <c:pt idx="6">
                  <c:v>0.28730684801790557</c:v>
                </c:pt>
                <c:pt idx="7">
                  <c:v>0.29261378018528833</c:v>
                </c:pt>
                <c:pt idx="8">
                  <c:v>0.2881803959648271</c:v>
                </c:pt>
                <c:pt idx="9">
                  <c:v>0.2713295379729677</c:v>
                </c:pt>
                <c:pt idx="10">
                  <c:v>0.2682604426316187</c:v>
                </c:pt>
                <c:pt idx="11">
                  <c:v>0.2434226026859342</c:v>
                </c:pt>
                <c:pt idx="12">
                  <c:v>0.23166263647688137</c:v>
                </c:pt>
                <c:pt idx="13">
                  <c:v>0.21943166641935005</c:v>
                </c:pt>
                <c:pt idx="14">
                  <c:v>0.20819935691318328</c:v>
                </c:pt>
                <c:pt idx="15">
                  <c:v>0.20032310177705978</c:v>
                </c:pt>
                <c:pt idx="16">
                  <c:v>0.19135243841126193</c:v>
                </c:pt>
                <c:pt idx="17">
                  <c:v>0.1893611187277214</c:v>
                </c:pt>
                <c:pt idx="18">
                  <c:v>0.17375971309025703</c:v>
                </c:pt>
                <c:pt idx="19">
                  <c:v>0.17545871559633028</c:v>
                </c:pt>
                <c:pt idx="20">
                  <c:v>0.17418820606849234</c:v>
                </c:pt>
                <c:pt idx="21">
                  <c:v>0.18670115642118076</c:v>
                </c:pt>
                <c:pt idx="22">
                  <c:v>0.20886535113174695</c:v>
                </c:pt>
                <c:pt idx="23">
                  <c:v>0.21620595382746052</c:v>
                </c:pt>
                <c:pt idx="24">
                  <c:v>0.21956720941707197</c:v>
                </c:pt>
                <c:pt idx="25">
                  <c:v>0.2278839922229423</c:v>
                </c:pt>
                <c:pt idx="26">
                  <c:v>0.248124210682713</c:v>
                </c:pt>
                <c:pt idx="27">
                  <c:v>0.2370037132247929</c:v>
                </c:pt>
                <c:pt idx="28">
                  <c:v>0.2444784605291931</c:v>
                </c:pt>
                <c:pt idx="29">
                  <c:v>0.23986167871738448</c:v>
                </c:pt>
                <c:pt idx="30">
                  <c:v>0.24341403364792777</c:v>
                </c:pt>
                <c:pt idx="31">
                  <c:v>0.25345477386934673</c:v>
                </c:pt>
                <c:pt idx="32">
                  <c:v>0.25874818937256994</c:v>
                </c:pt>
                <c:pt idx="33">
                  <c:v>0.25585032437442073</c:v>
                </c:pt>
                <c:pt idx="34">
                  <c:v>0.250102396067991</c:v>
                </c:pt>
                <c:pt idx="35">
                  <c:v>0.2557345971563981</c:v>
                </c:pt>
                <c:pt idx="36">
                  <c:v>0.23196812562254643</c:v>
                </c:pt>
                <c:pt idx="37">
                  <c:v>0.22798857066914746</c:v>
                </c:pt>
                <c:pt idx="38">
                  <c:v>0.21615913890592003</c:v>
                </c:pt>
                <c:pt idx="39">
                  <c:v>0.2071938378913151</c:v>
                </c:pt>
                <c:pt idx="40">
                  <c:v>0.21045714285714287</c:v>
                </c:pt>
                <c:pt idx="41">
                  <c:v>0.2072407910532634</c:v>
                </c:pt>
                <c:pt idx="42">
                  <c:v>0.20224290924927868</c:v>
                </c:pt>
                <c:pt idx="43">
                  <c:v>0.1946233411397346</c:v>
                </c:pt>
                <c:pt idx="44">
                  <c:v>0.19609193962547755</c:v>
                </c:pt>
                <c:pt idx="45">
                  <c:v>0.21453432886094426</c:v>
                </c:pt>
                <c:pt idx="46">
                  <c:v>0.21987389386518008</c:v>
                </c:pt>
                <c:pt idx="47">
                  <c:v>0.21423830069697974</c:v>
                </c:pt>
                <c:pt idx="48">
                  <c:v>0.21207664255636371</c:v>
                </c:pt>
                <c:pt idx="49">
                  <c:v>0.2241240064043527</c:v>
                </c:pt>
                <c:pt idx="50">
                  <c:v>0.21729131175468483</c:v>
                </c:pt>
                <c:pt idx="51">
                  <c:v>0.2069052783803326</c:v>
                </c:pt>
                <c:pt idx="52">
                  <c:v>0.20980577491843766</c:v>
                </c:pt>
                <c:pt idx="53">
                  <c:v>0.20395344540920007</c:v>
                </c:pt>
                <c:pt idx="54">
                  <c:v>0.20795081967213114</c:v>
                </c:pt>
                <c:pt idx="55">
                  <c:v>0.2052563079894202</c:v>
                </c:pt>
                <c:pt idx="56">
                  <c:v>0.20678541875353862</c:v>
                </c:pt>
                <c:pt idx="57">
                  <c:v>0.20438625444676717</c:v>
                </c:pt>
                <c:pt idx="58">
                  <c:v>0.21921198969211989</c:v>
                </c:pt>
                <c:pt idx="59">
                  <c:v>0.21826577276561737</c:v>
                </c:pt>
                <c:pt idx="60">
                  <c:v>0.22469086656880552</c:v>
                </c:pt>
                <c:pt idx="61">
                  <c:v>0.2215318067904837</c:v>
                </c:pt>
                <c:pt idx="62">
                  <c:v>0.23122205423488917</c:v>
                </c:pt>
                <c:pt idx="63">
                  <c:v>0.23903751307726798</c:v>
                </c:pt>
                <c:pt idx="64">
                  <c:v>0.22433045579093133</c:v>
                </c:pt>
                <c:pt idx="65">
                  <c:v>0.2142171910974674</c:v>
                </c:pt>
                <c:pt idx="66">
                  <c:v>0.21597421203438397</c:v>
                </c:pt>
                <c:pt idx="67">
                  <c:v>0.20335110434120335</c:v>
                </c:pt>
                <c:pt idx="68">
                  <c:v>0.19194123819517314</c:v>
                </c:pt>
                <c:pt idx="69">
                  <c:v>0.186231725943705</c:v>
                </c:pt>
                <c:pt idx="70">
                  <c:v>0.18707821082919174</c:v>
                </c:pt>
                <c:pt idx="71">
                  <c:v>0.18971229293809938</c:v>
                </c:pt>
                <c:pt idx="72">
                  <c:v>0.1793250095414645</c:v>
                </c:pt>
                <c:pt idx="73">
                  <c:v>0.18501574475669894</c:v>
                </c:pt>
                <c:pt idx="74">
                  <c:v>0.18769759831382773</c:v>
                </c:pt>
                <c:pt idx="75">
                  <c:v>0.19967866323907454</c:v>
                </c:pt>
                <c:pt idx="76">
                  <c:v>0.20348151744226367</c:v>
                </c:pt>
                <c:pt idx="77">
                  <c:v>0.19437803376077664</c:v>
                </c:pt>
                <c:pt idx="78">
                  <c:v>0.19729144963538744</c:v>
                </c:pt>
                <c:pt idx="79">
                  <c:v>0.17318884206301424</c:v>
                </c:pt>
                <c:pt idx="80">
                  <c:v>0.16710411198600175</c:v>
                </c:pt>
                <c:pt idx="81">
                  <c:v>0.1803864168618267</c:v>
                </c:pt>
                <c:pt idx="82">
                  <c:v>0.17975474141214107</c:v>
                </c:pt>
                <c:pt idx="83">
                  <c:v>0.18402356610639403</c:v>
                </c:pt>
                <c:pt idx="84">
                  <c:v>0.18698972873321043</c:v>
                </c:pt>
                <c:pt idx="85">
                  <c:v>0.19571842145360355</c:v>
                </c:pt>
                <c:pt idx="86">
                  <c:v>0.207593915648767</c:v>
                </c:pt>
                <c:pt idx="87">
                  <c:v>0.2173268956435861</c:v>
                </c:pt>
                <c:pt idx="88">
                  <c:v>0.20523153057617533</c:v>
                </c:pt>
                <c:pt idx="89">
                  <c:v>0.20932949147262675</c:v>
                </c:pt>
                <c:pt idx="90">
                  <c:v>0.19498162058494486</c:v>
                </c:pt>
                <c:pt idx="91">
                  <c:v>0.1831610044313146</c:v>
                </c:pt>
                <c:pt idx="92">
                  <c:v>0.19462962962962962</c:v>
                </c:pt>
                <c:pt idx="93">
                  <c:v>0.18998903909389842</c:v>
                </c:pt>
                <c:pt idx="94">
                  <c:v>0.19740048740861088</c:v>
                </c:pt>
                <c:pt idx="95">
                  <c:v>0.19975149105367793</c:v>
                </c:pt>
                <c:pt idx="96">
                  <c:v>0.19698046782437967</c:v>
                </c:pt>
                <c:pt idx="97">
                  <c:v>0.202424676759533</c:v>
                </c:pt>
                <c:pt idx="98">
                  <c:v>0.2040774352777849</c:v>
                </c:pt>
                <c:pt idx="99">
                  <c:v>0.20725569996936677</c:v>
                </c:pt>
                <c:pt idx="100">
                  <c:v>0.208160385871081</c:v>
                </c:pt>
                <c:pt idx="101">
                  <c:v>0.21458165496604903</c:v>
                </c:pt>
                <c:pt idx="102">
                  <c:v>0.20686988726547556</c:v>
                </c:pt>
                <c:pt idx="103">
                  <c:v>0.201168762174606</c:v>
                </c:pt>
                <c:pt idx="104">
                  <c:v>0.1981691812171554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7.9764</c:v>
                </c:pt>
                <c:pt idx="1">
                  <c:v>1181.183</c:v>
                </c:pt>
                <c:pt idx="2">
                  <c:v>1188.5358</c:v>
                </c:pt>
                <c:pt idx="3">
                  <c:v>1167.6881</c:v>
                </c:pt>
                <c:pt idx="4">
                  <c:v>1194.4699</c:v>
                </c:pt>
                <c:pt idx="5">
                  <c:v>1189.2709</c:v>
                </c:pt>
                <c:pt idx="6">
                  <c:v>1098.8734</c:v>
                </c:pt>
                <c:pt idx="7">
                  <c:v>1135.7131</c:v>
                </c:pt>
                <c:pt idx="8">
                  <c:v>1184.2592</c:v>
                </c:pt>
                <c:pt idx="9">
                  <c:v>1143.1849</c:v>
                </c:pt>
                <c:pt idx="10">
                  <c:v>1162.0828</c:v>
                </c:pt>
                <c:pt idx="11">
                  <c:v>1029.1262</c:v>
                </c:pt>
                <c:pt idx="12">
                  <c:v>1065.5931</c:v>
                </c:pt>
                <c:pt idx="13">
                  <c:v>1131.6266</c:v>
                </c:pt>
                <c:pt idx="14">
                  <c:v>1111.3659</c:v>
                </c:pt>
                <c:pt idx="15">
                  <c:v>1139.3358</c:v>
                </c:pt>
                <c:pt idx="16">
                  <c:v>1174.9249</c:v>
                </c:pt>
                <c:pt idx="17">
                  <c:v>1123.6132</c:v>
                </c:pt>
                <c:pt idx="18">
                  <c:v>1126.9817</c:v>
                </c:pt>
                <c:pt idx="19">
                  <c:v>1231.8824</c:v>
                </c:pt>
                <c:pt idx="20">
                  <c:v>1239.5141</c:v>
                </c:pt>
                <c:pt idx="21">
                  <c:v>1157.2583</c:v>
                </c:pt>
                <c:pt idx="22">
                  <c:v>1193.3061</c:v>
                </c:pt>
                <c:pt idx="23">
                  <c:v>1216.2924</c:v>
                </c:pt>
                <c:pt idx="24">
                  <c:v>1225.705</c:v>
                </c:pt>
                <c:pt idx="25">
                  <c:v>1180.2106</c:v>
                </c:pt>
                <c:pt idx="26">
                  <c:v>1182.9681</c:v>
                </c:pt>
                <c:pt idx="27">
                  <c:v>1178.6949</c:v>
                </c:pt>
                <c:pt idx="28">
                  <c:v>1216.045</c:v>
                </c:pt>
                <c:pt idx="29">
                  <c:v>1228.6814</c:v>
                </c:pt>
                <c:pt idx="30">
                  <c:v>1214.2375</c:v>
                </c:pt>
                <c:pt idx="31">
                  <c:v>1200.732</c:v>
                </c:pt>
                <c:pt idx="32">
                  <c:v>1219.9822</c:v>
                </c:pt>
                <c:pt idx="33">
                  <c:v>1218.2559</c:v>
                </c:pt>
                <c:pt idx="34">
                  <c:v>1230.6016</c:v>
                </c:pt>
                <c:pt idx="35">
                  <c:v>1260.6205</c:v>
                </c:pt>
                <c:pt idx="36">
                  <c:v>1294.8406</c:v>
                </c:pt>
                <c:pt idx="37">
                  <c:v>1262.0229</c:v>
                </c:pt>
                <c:pt idx="38">
                  <c:v>1284.5709</c:v>
                </c:pt>
                <c:pt idx="39">
                  <c:v>1229.5002</c:v>
                </c:pt>
                <c:pt idx="40">
                  <c:v>1263.8093</c:v>
                </c:pt>
                <c:pt idx="41">
                  <c:v>1296.2898</c:v>
                </c:pt>
                <c:pt idx="42">
                  <c:v>1286.5462</c:v>
                </c:pt>
                <c:pt idx="43">
                  <c:v>1308.1139</c:v>
                </c:pt>
                <c:pt idx="44">
                  <c:v>1226.2374</c:v>
                </c:pt>
                <c:pt idx="45">
                  <c:v>1174.8825</c:v>
                </c:pt>
                <c:pt idx="46">
                  <c:v>1167.5306</c:v>
                </c:pt>
                <c:pt idx="47">
                  <c:v>1142.6692</c:v>
                </c:pt>
                <c:pt idx="48">
                  <c:v>1143.4996</c:v>
                </c:pt>
                <c:pt idx="49">
                  <c:v>1165.05</c:v>
                </c:pt>
                <c:pt idx="50">
                  <c:v>1122.2617</c:v>
                </c:pt>
                <c:pt idx="51">
                  <c:v>1080.1198</c:v>
                </c:pt>
              </c:numCache>
            </c:numRef>
          </c:xVal>
          <c:yVal>
            <c:numRef>
              <c:f>Sheet1!$B$109:$B$160</c:f>
              <c:numCache>
                <c:formatCode>General</c:formatCode>
                <c:ptCount val="52"/>
                <c:pt idx="0">
                  <c:v>0.197400060114217</c:v>
                </c:pt>
                <c:pt idx="1">
                  <c:v>0.20026240458015268</c:v>
                </c:pt>
                <c:pt idx="2">
                  <c:v>0.21562840378061207</c:v>
                </c:pt>
                <c:pt idx="3">
                  <c:v>0.23137071202075526</c:v>
                </c:pt>
                <c:pt idx="4">
                  <c:v>0.21376146788990827</c:v>
                </c:pt>
                <c:pt idx="5">
                  <c:v>0.2198332767530459</c:v>
                </c:pt>
                <c:pt idx="6">
                  <c:v>0.2318436670054756</c:v>
                </c:pt>
                <c:pt idx="7">
                  <c:v>0.2285893360791512</c:v>
                </c:pt>
                <c:pt idx="8">
                  <c:v>0.2144673214018645</c:v>
                </c:pt>
                <c:pt idx="9">
                  <c:v>0.22412922766279655</c:v>
                </c:pt>
                <c:pt idx="10">
                  <c:v>0.22589838357750366</c:v>
                </c:pt>
                <c:pt idx="11">
                  <c:v>0.230069351657441</c:v>
                </c:pt>
                <c:pt idx="12">
                  <c:v>0.23010873640794902</c:v>
                </c:pt>
                <c:pt idx="13">
                  <c:v>0.22671183159932254</c:v>
                </c:pt>
                <c:pt idx="14">
                  <c:v>0.23061955512315924</c:v>
                </c:pt>
                <c:pt idx="15">
                  <c:v>0.22314721783646715</c:v>
                </c:pt>
                <c:pt idx="16">
                  <c:v>0.21933212176283506</c:v>
                </c:pt>
                <c:pt idx="17">
                  <c:v>0.229491423412579</c:v>
                </c:pt>
                <c:pt idx="18">
                  <c:v>0.22677198087715653</c:v>
                </c:pt>
                <c:pt idx="19">
                  <c:v>0.2199635307624772</c:v>
                </c:pt>
                <c:pt idx="20">
                  <c:v>0.20846217663473868</c:v>
                </c:pt>
                <c:pt idx="21">
                  <c:v>0.22308107136437175</c:v>
                </c:pt>
                <c:pt idx="22">
                  <c:v>0.2155111425539441</c:v>
                </c:pt>
                <c:pt idx="23">
                  <c:v>0.2164165277005744</c:v>
                </c:pt>
                <c:pt idx="24">
                  <c:v>0.21474850809889173</c:v>
                </c:pt>
                <c:pt idx="25">
                  <c:v>0.21900752418487998</c:v>
                </c:pt>
                <c:pt idx="26">
                  <c:v>0.2130005803830528</c:v>
                </c:pt>
                <c:pt idx="27">
                  <c:v>0.2161798759991036</c:v>
                </c:pt>
                <c:pt idx="28">
                  <c:v>0.20585253767655606</c:v>
                </c:pt>
                <c:pt idx="29">
                  <c:v>0.20888852778680533</c:v>
                </c:pt>
                <c:pt idx="30">
                  <c:v>0.21288586087980485</c:v>
                </c:pt>
                <c:pt idx="31">
                  <c:v>0.20632922772633283</c:v>
                </c:pt>
                <c:pt idx="32">
                  <c:v>0.20135271709554536</c:v>
                </c:pt>
                <c:pt idx="33">
                  <c:v>0.2141041162227603</c:v>
                </c:pt>
                <c:pt idx="34">
                  <c:v>0.23213490925275704</c:v>
                </c:pt>
                <c:pt idx="35">
                  <c:v>0.22095332671300894</c:v>
                </c:pt>
                <c:pt idx="36">
                  <c:v>0.21491658488714427</c:v>
                </c:pt>
                <c:pt idx="37">
                  <c:v>0.21960922995314297</c:v>
                </c:pt>
                <c:pt idx="38">
                  <c:v>0.22049719956765254</c:v>
                </c:pt>
                <c:pt idx="39">
                  <c:v>0.218610991533936</c:v>
                </c:pt>
                <c:pt idx="40">
                  <c:v>0.20441525778957664</c:v>
                </c:pt>
                <c:pt idx="41">
                  <c:v>0.20590176921045683</c:v>
                </c:pt>
                <c:pt idx="42">
                  <c:v>0.20942212931163207</c:v>
                </c:pt>
                <c:pt idx="43">
                  <c:v>0.19421578311930635</c:v>
                </c:pt>
                <c:pt idx="44">
                  <c:v>0.19482154095118223</c:v>
                </c:pt>
                <c:pt idx="45">
                  <c:v>0.21432315554973136</c:v>
                </c:pt>
                <c:pt idx="46">
                  <c:v>0.23017595535229826</c:v>
                </c:pt>
                <c:pt idx="47">
                  <c:v>0.23071369264647484</c:v>
                </c:pt>
                <c:pt idx="48">
                  <c:v>0.219158374295648</c:v>
                </c:pt>
                <c:pt idx="49">
                  <c:v>0.2252389951089373</c:v>
                </c:pt>
                <c:pt idx="50">
                  <c:v>0.22199045364001954</c:v>
                </c:pt>
                <c:pt idx="51">
                  <c:v>0.2218321744413690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15.3406019614757</c:v>
                </c:pt>
              </c:numCache>
            </c:numRef>
          </c:xVal>
          <c:yVal>
            <c:numRef>
              <c:f>Sheet1!$B$163:$B$164</c:f>
              <c:numCache>
                <c:formatCode>General</c:formatCode>
                <c:ptCount val="2"/>
                <c:pt idx="0">
                  <c:v>0.26508930835188715</c:v>
                </c:pt>
                <c:pt idx="1">
                  <c:v>0.2650893083518871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15.3406019614757</c:v>
                </c:pt>
                <c:pt idx="1">
                  <c:v>715.3406019614757</c:v>
                </c:pt>
              </c:numCache>
            </c:numRef>
          </c:xVal>
          <c:yVal>
            <c:numRef>
              <c:f>Sheet1!$B$167:$B$168</c:f>
              <c:numCache>
                <c:formatCode>General</c:formatCode>
                <c:ptCount val="2"/>
                <c:pt idx="0">
                  <c:v>0.2650893083518871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19.5796287579622</c:v>
                </c:pt>
              </c:numCache>
            </c:numRef>
          </c:xVal>
          <c:yVal>
            <c:numRef>
              <c:f>Sheet1!$B$171:$B$172</c:f>
              <c:numCache>
                <c:formatCode>General</c:formatCode>
                <c:ptCount val="2"/>
                <c:pt idx="0">
                  <c:v>0.22444512374452288</c:v>
                </c:pt>
                <c:pt idx="1">
                  <c:v>0.2244451237445228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19.5796287579622</c:v>
                </c:pt>
                <c:pt idx="1">
                  <c:v>1119.5796287579622</c:v>
                </c:pt>
              </c:numCache>
            </c:numRef>
          </c:xVal>
          <c:yVal>
            <c:numRef>
              <c:f>Sheet1!$B$175:$B$176</c:f>
              <c:numCache>
                <c:formatCode>General</c:formatCode>
                <c:ptCount val="2"/>
                <c:pt idx="0">
                  <c:v>0.2244451237445228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16.7167118581713</c:v>
                </c:pt>
              </c:numCache>
            </c:numRef>
          </c:xVal>
          <c:yVal>
            <c:numRef>
              <c:f>Sheet1!$B$179:$B$180</c:f>
              <c:numCache>
                <c:formatCode>General</c:formatCode>
                <c:ptCount val="2"/>
                <c:pt idx="0">
                  <c:v>0.21467848253465915</c:v>
                </c:pt>
                <c:pt idx="1">
                  <c:v>0.2146784825346591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16.7167118581713</c:v>
                </c:pt>
                <c:pt idx="1">
                  <c:v>1216.7167118581713</c:v>
                </c:pt>
              </c:numCache>
            </c:numRef>
          </c:xVal>
          <c:yVal>
            <c:numRef>
              <c:f>Sheet1!$B$183:$B$184</c:f>
              <c:numCache>
                <c:formatCode>General</c:formatCode>
                <c:ptCount val="2"/>
                <c:pt idx="0">
                  <c:v>0.214678482534659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7.9764</c:v>
                </c:pt>
                <c:pt idx="1">
                  <c:v>1181.183</c:v>
                </c:pt>
                <c:pt idx="2">
                  <c:v>1188.5358</c:v>
                </c:pt>
                <c:pt idx="3">
                  <c:v>1167.6881</c:v>
                </c:pt>
                <c:pt idx="4">
                  <c:v>1194.4699</c:v>
                </c:pt>
                <c:pt idx="5">
                  <c:v>1189.2709</c:v>
                </c:pt>
                <c:pt idx="6">
                  <c:v>1098.8734</c:v>
                </c:pt>
                <c:pt idx="7">
                  <c:v>1135.7131</c:v>
                </c:pt>
                <c:pt idx="8">
                  <c:v>1184.2592</c:v>
                </c:pt>
                <c:pt idx="9">
                  <c:v>1143.1849</c:v>
                </c:pt>
                <c:pt idx="10">
                  <c:v>1162.0828</c:v>
                </c:pt>
                <c:pt idx="11">
                  <c:v>1029.1262</c:v>
                </c:pt>
                <c:pt idx="12">
                  <c:v>1065.5931</c:v>
                </c:pt>
                <c:pt idx="13">
                  <c:v>1131.6266</c:v>
                </c:pt>
                <c:pt idx="14">
                  <c:v>1111.3659</c:v>
                </c:pt>
                <c:pt idx="15">
                  <c:v>1139.3358</c:v>
                </c:pt>
                <c:pt idx="16">
                  <c:v>1174.9249</c:v>
                </c:pt>
                <c:pt idx="17">
                  <c:v>1123.6132</c:v>
                </c:pt>
                <c:pt idx="18">
                  <c:v>1126.9817</c:v>
                </c:pt>
                <c:pt idx="19">
                  <c:v>1231.8824</c:v>
                </c:pt>
                <c:pt idx="20">
                  <c:v>1239.5141</c:v>
                </c:pt>
                <c:pt idx="21">
                  <c:v>1157.2583</c:v>
                </c:pt>
                <c:pt idx="22">
                  <c:v>1193.3061</c:v>
                </c:pt>
                <c:pt idx="23">
                  <c:v>1216.2924</c:v>
                </c:pt>
                <c:pt idx="24">
                  <c:v>1225.705</c:v>
                </c:pt>
                <c:pt idx="25">
                  <c:v>1180.2106</c:v>
                </c:pt>
                <c:pt idx="26">
                  <c:v>1182.9681</c:v>
                </c:pt>
                <c:pt idx="27">
                  <c:v>1178.6949</c:v>
                </c:pt>
                <c:pt idx="28">
                  <c:v>1216.045</c:v>
                </c:pt>
                <c:pt idx="29">
                  <c:v>1228.6814</c:v>
                </c:pt>
                <c:pt idx="30">
                  <c:v>1214.2375</c:v>
                </c:pt>
                <c:pt idx="31">
                  <c:v>1200.732</c:v>
                </c:pt>
                <c:pt idx="32">
                  <c:v>1219.9822</c:v>
                </c:pt>
                <c:pt idx="33">
                  <c:v>1218.2559</c:v>
                </c:pt>
                <c:pt idx="34">
                  <c:v>1230.6016</c:v>
                </c:pt>
                <c:pt idx="35">
                  <c:v>1260.6205</c:v>
                </c:pt>
                <c:pt idx="36">
                  <c:v>1294.8406</c:v>
                </c:pt>
                <c:pt idx="37">
                  <c:v>1262.0229</c:v>
                </c:pt>
                <c:pt idx="38">
                  <c:v>1284.5709</c:v>
                </c:pt>
                <c:pt idx="39">
                  <c:v>1229.5002</c:v>
                </c:pt>
                <c:pt idx="40">
                  <c:v>1263.8093</c:v>
                </c:pt>
                <c:pt idx="41">
                  <c:v>1296.2898</c:v>
                </c:pt>
                <c:pt idx="42">
                  <c:v>1286.5462</c:v>
                </c:pt>
                <c:pt idx="43">
                  <c:v>1308.1139</c:v>
                </c:pt>
                <c:pt idx="44">
                  <c:v>1226.2374</c:v>
                </c:pt>
                <c:pt idx="45">
                  <c:v>1174.8825</c:v>
                </c:pt>
                <c:pt idx="46">
                  <c:v>1167.5306</c:v>
                </c:pt>
                <c:pt idx="47">
                  <c:v>1142.6692</c:v>
                </c:pt>
                <c:pt idx="48">
                  <c:v>1143.4996</c:v>
                </c:pt>
                <c:pt idx="49">
                  <c:v>1165.05</c:v>
                </c:pt>
                <c:pt idx="50">
                  <c:v>1122.2617</c:v>
                </c:pt>
                <c:pt idx="51">
                  <c:v>1080.1198</c:v>
                </c:pt>
                <c:pt idx="52">
                  <c:v>1119.5796287579622</c:v>
                </c:pt>
                <c:pt idx="53">
                  <c:v>715.3406019614757</c:v>
                </c:pt>
                <c:pt idx="54">
                  <c:v>1216.7167118581713</c:v>
                </c:pt>
              </c:numCache>
            </c:numRef>
          </c:xVal>
          <c:yVal>
            <c:numRef>
              <c:f>Sheet1!$B$187:$B$241</c:f>
              <c:numCache>
                <c:formatCode>General</c:formatCode>
                <c:ptCount val="55"/>
                <c:pt idx="0">
                  <c:v>0.21857362447428955</c:v>
                </c:pt>
                <c:pt idx="1">
                  <c:v>0.21825121710210976</c:v>
                </c:pt>
                <c:pt idx="2">
                  <c:v>0.2175119303416271</c:v>
                </c:pt>
                <c:pt idx="3">
                  <c:v>0.21960806087645926</c:v>
                </c:pt>
                <c:pt idx="4">
                  <c:v>0.216915286673177</c:v>
                </c:pt>
                <c:pt idx="5">
                  <c:v>0.21743801976366622</c:v>
                </c:pt>
                <c:pt idx="6">
                  <c:v>0.22652703006324315</c:v>
                </c:pt>
                <c:pt idx="7">
                  <c:v>0.22282298500963743</c:v>
                </c:pt>
                <c:pt idx="8">
                  <c:v>0.21794192078878738</c:v>
                </c:pt>
                <c:pt idx="9">
                  <c:v>0.22207173340249808</c:v>
                </c:pt>
                <c:pt idx="10">
                  <c:v>0.22017164537196213</c:v>
                </c:pt>
                <c:pt idx="11">
                  <c:v>0.23353975739714786</c:v>
                </c:pt>
                <c:pt idx="12">
                  <c:v>0.22987319549340446</c:v>
                </c:pt>
                <c:pt idx="13">
                  <c:v>0.22323386186562594</c:v>
                </c:pt>
                <c:pt idx="14">
                  <c:v>0.22527097252661366</c:v>
                </c:pt>
                <c:pt idx="15">
                  <c:v>0.22245874089213108</c:v>
                </c:pt>
                <c:pt idx="16">
                  <c:v>0.21888043732784368</c:v>
                </c:pt>
                <c:pt idx="17">
                  <c:v>0.22403956860679275</c:v>
                </c:pt>
                <c:pt idx="18">
                  <c:v>0.22370088301046404</c:v>
                </c:pt>
                <c:pt idx="19">
                  <c:v>0.21315364948373128</c:v>
                </c:pt>
                <c:pt idx="20">
                  <c:v>0.2123863207423028</c:v>
                </c:pt>
                <c:pt idx="21">
                  <c:v>0.2206567243862082</c:v>
                </c:pt>
                <c:pt idx="22">
                  <c:v>0.217032300862581</c:v>
                </c:pt>
                <c:pt idx="23">
                  <c:v>0.21472114494068972</c:v>
                </c:pt>
                <c:pt idx="24">
                  <c:v>0.2137747557336232</c:v>
                </c:pt>
                <c:pt idx="25">
                  <c:v>0.21834898699193311</c:v>
                </c:pt>
                <c:pt idx="26">
                  <c:v>0.21807173434776617</c:v>
                </c:pt>
                <c:pt idx="27">
                  <c:v>0.2185013829421648</c:v>
                </c:pt>
                <c:pt idx="28">
                  <c:v>0.2147460197563441</c:v>
                </c:pt>
                <c:pt idx="29">
                  <c:v>0.2134754938043037</c:v>
                </c:pt>
                <c:pt idx="30">
                  <c:v>0.2149277547171172</c:v>
                </c:pt>
                <c:pt idx="31">
                  <c:v>0.21628566426772353</c:v>
                </c:pt>
                <c:pt idx="32">
                  <c:v>0.21435015425838794</c:v>
                </c:pt>
                <c:pt idx="33">
                  <c:v>0.2145237249708541</c:v>
                </c:pt>
                <c:pt idx="34">
                  <c:v>0.2132824274299322</c:v>
                </c:pt>
                <c:pt idx="35">
                  <c:v>0.21026417923410853</c:v>
                </c:pt>
                <c:pt idx="36">
                  <c:v>0.2068235216788382</c:v>
                </c:pt>
                <c:pt idx="37">
                  <c:v>0.2101231750244332</c:v>
                </c:pt>
                <c:pt idx="38">
                  <c:v>0.207856087945312</c:v>
                </c:pt>
                <c:pt idx="39">
                  <c:v>0.21339316761571114</c:v>
                </c:pt>
                <c:pt idx="40">
                  <c:v>0.20994356156168076</c:v>
                </c:pt>
                <c:pt idx="41">
                  <c:v>0.20667781196644405</c:v>
                </c:pt>
                <c:pt idx="42">
                  <c:v>0.20765748154530364</c:v>
                </c:pt>
                <c:pt idx="43">
                  <c:v>0.2054889586609519</c:v>
                </c:pt>
                <c:pt idx="44">
                  <c:v>0.21372122561295068</c:v>
                </c:pt>
                <c:pt idx="45">
                  <c:v>0.21888470043287095</c:v>
                </c:pt>
                <c:pt idx="46">
                  <c:v>0.21962389670291665</c:v>
                </c:pt>
                <c:pt idx="47">
                  <c:v>0.22212358442284147</c:v>
                </c:pt>
                <c:pt idx="48">
                  <c:v>0.22204009191306223</c:v>
                </c:pt>
                <c:pt idx="49">
                  <c:v>0.21987330845599756</c:v>
                </c:pt>
                <c:pt idx="50">
                  <c:v>0.2241754550795368</c:v>
                </c:pt>
                <c:pt idx="51">
                  <c:v>0.2284126094603962</c:v>
                </c:pt>
                <c:pt idx="52">
                  <c:v>0.2244451237445229</c:v>
                </c:pt>
                <c:pt idx="53">
                  <c:v>0.26508930835188715</c:v>
                </c:pt>
                <c:pt idx="54">
                  <c:v>0.214678482534659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0.0"/>
          <c:min val="57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1136536222346"/>
          <c:min val="0.133683289588801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6862223372576224</c:v>
                </c:pt>
                <c:pt idx="1">
                  <c:v>0.20228093770143885</c:v>
                </c:pt>
                <c:pt idx="2">
                  <c:v>0.1924895491620086</c:v>
                </c:pt>
                <c:pt idx="3">
                  <c:v>0.19424255298207999</c:v>
                </c:pt>
                <c:pt idx="4">
                  <c:v>0.1827949095095175</c:v>
                </c:pt>
                <c:pt idx="5">
                  <c:v>0.18485907517772024</c:v>
                </c:pt>
                <c:pt idx="6">
                  <c:v>0.1904099686705145</c:v>
                </c:pt>
                <c:pt idx="7">
                  <c:v>0.1792123414301199</c:v>
                </c:pt>
                <c:pt idx="8">
                  <c:v>0.1638381467564642</c:v>
                </c:pt>
                <c:pt idx="9">
                  <c:v>0.17202886333080586</c:v>
                </c:pt>
                <c:pt idx="10">
                  <c:v>0.17705564039577343</c:v>
                </c:pt>
                <c:pt idx="11">
                  <c:v>0.19095769098349197</c:v>
                </c:pt>
                <c:pt idx="12">
                  <c:v>0.19606413416778612</c:v>
                </c:pt>
                <c:pt idx="13">
                  <c:v>0.18844684840915404</c:v>
                </c:pt>
                <c:pt idx="14">
                  <c:v>0.1826536251144014</c:v>
                </c:pt>
                <c:pt idx="15">
                  <c:v>0.19998498015196403</c:v>
                </c:pt>
                <c:pt idx="16">
                  <c:v>0.18763772384254404</c:v>
                </c:pt>
                <c:pt idx="17">
                  <c:v>0.17577189120931616</c:v>
                </c:pt>
                <c:pt idx="18">
                  <c:v>0.179944554012006</c:v>
                </c:pt>
                <c:pt idx="19">
                  <c:v>0.1830255662011344</c:v>
                </c:pt>
                <c:pt idx="20">
                  <c:v>0.18856631601285223</c:v>
                </c:pt>
                <c:pt idx="21">
                  <c:v>0.1712249483098979</c:v>
                </c:pt>
                <c:pt idx="22">
                  <c:v>0.16116736451050967</c:v>
                </c:pt>
                <c:pt idx="23">
                  <c:v>0.15195512465521982</c:v>
                </c:pt>
                <c:pt idx="24">
                  <c:v>0.1718926570472536</c:v>
                </c:pt>
                <c:pt idx="25">
                  <c:v>0.16683613188759056</c:v>
                </c:pt>
                <c:pt idx="26">
                  <c:v>0.1579172931241033</c:v>
                </c:pt>
                <c:pt idx="27">
                  <c:v>0.16342638168865195</c:v>
                </c:pt>
                <c:pt idx="28">
                  <c:v>0.1546095750198973</c:v>
                </c:pt>
                <c:pt idx="29">
                  <c:v>0.16868469096046043</c:v>
                </c:pt>
                <c:pt idx="30">
                  <c:v>0.16295630291235533</c:v>
                </c:pt>
                <c:pt idx="31">
                  <c:v>0.15510981490164866</c:v>
                </c:pt>
                <c:pt idx="32">
                  <c:v>0.14964671375245972</c:v>
                </c:pt>
                <c:pt idx="33">
                  <c:v>0.1573607124866616</c:v>
                </c:pt>
                <c:pt idx="34">
                  <c:v>0.17408346747422027</c:v>
                </c:pt>
                <c:pt idx="35">
                  <c:v>0.17169995339479158</c:v>
                </c:pt>
                <c:pt idx="36">
                  <c:v>0.14851468114660926</c:v>
                </c:pt>
                <c:pt idx="37">
                  <c:v>0.1534092914454958</c:v>
                </c:pt>
                <c:pt idx="38">
                  <c:v>0.16762257187268573</c:v>
                </c:pt>
                <c:pt idx="39">
                  <c:v>0.17854741896136822</c:v>
                </c:pt>
                <c:pt idx="40">
                  <c:v>0.19636402549224768</c:v>
                </c:pt>
                <c:pt idx="41">
                  <c:v>0.19402939692343676</c:v>
                </c:pt>
                <c:pt idx="42">
                  <c:v>0.17890165902257257</c:v>
                </c:pt>
                <c:pt idx="43">
                  <c:v>0.19049598938948561</c:v>
                </c:pt>
                <c:pt idx="44">
                  <c:v>0.20720145355823286</c:v>
                </c:pt>
                <c:pt idx="45">
                  <c:v>0.2158300319866484</c:v>
                </c:pt>
                <c:pt idx="46">
                  <c:v>0.21996121650196682</c:v>
                </c:pt>
                <c:pt idx="47">
                  <c:v>0.1921959681074697</c:v>
                </c:pt>
                <c:pt idx="48">
                  <c:v>0.2435661931938346</c:v>
                </c:pt>
                <c:pt idx="49">
                  <c:v>0.24558921830566605</c:v>
                </c:pt>
                <c:pt idx="50">
                  <c:v>0.19996828140586195</c:v>
                </c:pt>
                <c:pt idx="51">
                  <c:v>0.18529086682848456</c:v>
                </c:pt>
                <c:pt idx="52">
                  <c:v>0.20874531955344694</c:v>
                </c:pt>
                <c:pt idx="53">
                  <c:v>0.21489735285100894</c:v>
                </c:pt>
                <c:pt idx="54">
                  <c:v>0.21070142712659085</c:v>
                </c:pt>
                <c:pt idx="55">
                  <c:v>0.18796527006997665</c:v>
                </c:pt>
                <c:pt idx="56">
                  <c:v>0.19608945799079258</c:v>
                </c:pt>
                <c:pt idx="57">
                  <c:v>0.19366813067260927</c:v>
                </c:pt>
                <c:pt idx="58">
                  <c:v>0.20238193851078698</c:v>
                </c:pt>
                <c:pt idx="59">
                  <c:v>0.22786250835296026</c:v>
                </c:pt>
                <c:pt idx="60">
                  <c:v>0.21788267143679138</c:v>
                </c:pt>
                <c:pt idx="61">
                  <c:v>0.21385849768328255</c:v>
                </c:pt>
                <c:pt idx="62">
                  <c:v>0.23903033672491386</c:v>
                </c:pt>
                <c:pt idx="63">
                  <c:v>0.2336246991992187</c:v>
                </c:pt>
                <c:pt idx="64">
                  <c:v>0.23642598814176766</c:v>
                </c:pt>
                <c:pt idx="65">
                  <c:v>0.20550803446000035</c:v>
                </c:pt>
                <c:pt idx="66">
                  <c:v>0.20511778412069664</c:v>
                </c:pt>
                <c:pt idx="67">
                  <c:v>0.23568725003353255</c:v>
                </c:pt>
                <c:pt idx="68">
                  <c:v>0.20797115396176238</c:v>
                </c:pt>
                <c:pt idx="69">
                  <c:v>0.18203128890182713</c:v>
                </c:pt>
                <c:pt idx="70">
                  <c:v>0.16988107900749386</c:v>
                </c:pt>
                <c:pt idx="71">
                  <c:v>0.18997522490616245</c:v>
                </c:pt>
                <c:pt idx="72">
                  <c:v>0.21847996552199836</c:v>
                </c:pt>
                <c:pt idx="73">
                  <c:v>0.20089471622360497</c:v>
                </c:pt>
                <c:pt idx="74">
                  <c:v>0.20606576261547419</c:v>
                </c:pt>
                <c:pt idx="75">
                  <c:v>0.19228897497465533</c:v>
                </c:pt>
                <c:pt idx="76">
                  <c:v>0.16940742459714467</c:v>
                </c:pt>
                <c:pt idx="77">
                  <c:v>0.1820518745811009</c:v>
                </c:pt>
                <c:pt idx="78">
                  <c:v>0.18143783589095697</c:v>
                </c:pt>
                <c:pt idx="79">
                  <c:v>0.17388660457555813</c:v>
                </c:pt>
                <c:pt idx="80">
                  <c:v>0.16889723066374351</c:v>
                </c:pt>
                <c:pt idx="81">
                  <c:v>0.19278518748640597</c:v>
                </c:pt>
                <c:pt idx="82">
                  <c:v>0.19381414164597383</c:v>
                </c:pt>
                <c:pt idx="83">
                  <c:v>0.16978115988027176</c:v>
                </c:pt>
                <c:pt idx="84">
                  <c:v>0.1595134022582278</c:v>
                </c:pt>
                <c:pt idx="85">
                  <c:v>0.1727503783083637</c:v>
                </c:pt>
                <c:pt idx="86">
                  <c:v>0.18383230220432173</c:v>
                </c:pt>
                <c:pt idx="87">
                  <c:v>0.19139092480498576</c:v>
                </c:pt>
                <c:pt idx="88">
                  <c:v>0.1604316802464369</c:v>
                </c:pt>
                <c:pt idx="89">
                  <c:v>0.15427688266975545</c:v>
                </c:pt>
                <c:pt idx="90">
                  <c:v>0.170823997628897</c:v>
                </c:pt>
                <c:pt idx="91">
                  <c:v>0.18274382349553098</c:v>
                </c:pt>
                <c:pt idx="92">
                  <c:v>0.18641871645144376</c:v>
                </c:pt>
                <c:pt idx="93">
                  <c:v>0.172541120460081</c:v>
                </c:pt>
                <c:pt idx="94">
                  <c:v>0.17338134262115232</c:v>
                </c:pt>
                <c:pt idx="95">
                  <c:v>0.16355454105376865</c:v>
                </c:pt>
                <c:pt idx="96">
                  <c:v>0.17946381969456243</c:v>
                </c:pt>
                <c:pt idx="97">
                  <c:v>0.1873547551878572</c:v>
                </c:pt>
                <c:pt idx="98">
                  <c:v>0.19200371179570883</c:v>
                </c:pt>
                <c:pt idx="99">
                  <c:v>0.20613888543884293</c:v>
                </c:pt>
                <c:pt idx="100">
                  <c:v>0.21621706293315338</c:v>
                </c:pt>
                <c:pt idx="101">
                  <c:v>0.2060289906797247</c:v>
                </c:pt>
                <c:pt idx="102">
                  <c:v>0.19304077882751852</c:v>
                </c:pt>
                <c:pt idx="103">
                  <c:v>0.18808069377398196</c:v>
                </c:pt>
                <c:pt idx="104">
                  <c:v>0.19601034098564468</c:v>
                </c:pt>
              </c:numCache>
            </c:numRef>
          </c:xVal>
          <c:yVal>
            <c:numRef>
              <c:f>Sheet1!$B$2:$B$106</c:f>
              <c:numCache>
                <c:formatCode>General</c:formatCode>
                <c:ptCount val="105"/>
                <c:pt idx="0">
                  <c:v>0.2517147485609899</c:v>
                </c:pt>
                <c:pt idx="1">
                  <c:v>0.24949245136761286</c:v>
                </c:pt>
                <c:pt idx="2">
                  <c:v>0.251412919108214</c:v>
                </c:pt>
                <c:pt idx="3">
                  <c:v>0.25002788829807016</c:v>
                </c:pt>
                <c:pt idx="4">
                  <c:v>0.254451136413593</c:v>
                </c:pt>
                <c:pt idx="5">
                  <c:v>0.26060360725048354</c:v>
                </c:pt>
                <c:pt idx="6">
                  <c:v>0.28730684801790557</c:v>
                </c:pt>
                <c:pt idx="7">
                  <c:v>0.29261378018528833</c:v>
                </c:pt>
                <c:pt idx="8">
                  <c:v>0.2881803959648271</c:v>
                </c:pt>
                <c:pt idx="9">
                  <c:v>0.2713295379729677</c:v>
                </c:pt>
                <c:pt idx="10">
                  <c:v>0.2682604426316187</c:v>
                </c:pt>
                <c:pt idx="11">
                  <c:v>0.2434226026859342</c:v>
                </c:pt>
                <c:pt idx="12">
                  <c:v>0.23166263647688137</c:v>
                </c:pt>
                <c:pt idx="13">
                  <c:v>0.21943166641935005</c:v>
                </c:pt>
                <c:pt idx="14">
                  <c:v>0.20819935691318328</c:v>
                </c:pt>
                <c:pt idx="15">
                  <c:v>0.20032310177705978</c:v>
                </c:pt>
                <c:pt idx="16">
                  <c:v>0.19135243841126193</c:v>
                </c:pt>
                <c:pt idx="17">
                  <c:v>0.1893611187277214</c:v>
                </c:pt>
                <c:pt idx="18">
                  <c:v>0.17375971309025703</c:v>
                </c:pt>
                <c:pt idx="19">
                  <c:v>0.17545871559633028</c:v>
                </c:pt>
                <c:pt idx="20">
                  <c:v>0.17418820606849234</c:v>
                </c:pt>
                <c:pt idx="21">
                  <c:v>0.18670115642118076</c:v>
                </c:pt>
                <c:pt idx="22">
                  <c:v>0.20886535113174695</c:v>
                </c:pt>
                <c:pt idx="23">
                  <c:v>0.21620595382746052</c:v>
                </c:pt>
                <c:pt idx="24">
                  <c:v>0.21956720941707197</c:v>
                </c:pt>
                <c:pt idx="25">
                  <c:v>0.2278839922229423</c:v>
                </c:pt>
                <c:pt idx="26">
                  <c:v>0.248124210682713</c:v>
                </c:pt>
                <c:pt idx="27">
                  <c:v>0.2370037132247929</c:v>
                </c:pt>
                <c:pt idx="28">
                  <c:v>0.2444784605291931</c:v>
                </c:pt>
                <c:pt idx="29">
                  <c:v>0.23986167871738448</c:v>
                </c:pt>
                <c:pt idx="30">
                  <c:v>0.24341403364792777</c:v>
                </c:pt>
                <c:pt idx="31">
                  <c:v>0.25345477386934673</c:v>
                </c:pt>
                <c:pt idx="32">
                  <c:v>0.25874818937256994</c:v>
                </c:pt>
                <c:pt idx="33">
                  <c:v>0.25585032437442073</c:v>
                </c:pt>
                <c:pt idx="34">
                  <c:v>0.250102396067991</c:v>
                </c:pt>
                <c:pt idx="35">
                  <c:v>0.2557345971563981</c:v>
                </c:pt>
                <c:pt idx="36">
                  <c:v>0.23196812562254643</c:v>
                </c:pt>
                <c:pt idx="37">
                  <c:v>0.22798857066914746</c:v>
                </c:pt>
                <c:pt idx="38">
                  <c:v>0.21615913890592003</c:v>
                </c:pt>
                <c:pt idx="39">
                  <c:v>0.2071938378913151</c:v>
                </c:pt>
                <c:pt idx="40">
                  <c:v>0.21045714285714287</c:v>
                </c:pt>
                <c:pt idx="41">
                  <c:v>0.2072407910532634</c:v>
                </c:pt>
                <c:pt idx="42">
                  <c:v>0.20224290924927868</c:v>
                </c:pt>
                <c:pt idx="43">
                  <c:v>0.1946233411397346</c:v>
                </c:pt>
                <c:pt idx="44">
                  <c:v>0.19609193962547755</c:v>
                </c:pt>
                <c:pt idx="45">
                  <c:v>0.21453432886094426</c:v>
                </c:pt>
                <c:pt idx="46">
                  <c:v>0.21987389386518008</c:v>
                </c:pt>
                <c:pt idx="47">
                  <c:v>0.21423830069697974</c:v>
                </c:pt>
                <c:pt idx="48">
                  <c:v>0.21207664255636371</c:v>
                </c:pt>
                <c:pt idx="49">
                  <c:v>0.2241240064043527</c:v>
                </c:pt>
                <c:pt idx="50">
                  <c:v>0.21729131175468483</c:v>
                </c:pt>
                <c:pt idx="51">
                  <c:v>0.2069052783803326</c:v>
                </c:pt>
                <c:pt idx="52">
                  <c:v>0.20980577491843766</c:v>
                </c:pt>
                <c:pt idx="53">
                  <c:v>0.20395344540920007</c:v>
                </c:pt>
                <c:pt idx="54">
                  <c:v>0.20795081967213114</c:v>
                </c:pt>
                <c:pt idx="55">
                  <c:v>0.2052563079894202</c:v>
                </c:pt>
                <c:pt idx="56">
                  <c:v>0.20678541875353862</c:v>
                </c:pt>
                <c:pt idx="57">
                  <c:v>0.20438625444676717</c:v>
                </c:pt>
                <c:pt idx="58">
                  <c:v>0.21921198969211989</c:v>
                </c:pt>
                <c:pt idx="59">
                  <c:v>0.21826577276561737</c:v>
                </c:pt>
                <c:pt idx="60">
                  <c:v>0.22469086656880552</c:v>
                </c:pt>
                <c:pt idx="61">
                  <c:v>0.2215318067904837</c:v>
                </c:pt>
                <c:pt idx="62">
                  <c:v>0.23122205423488917</c:v>
                </c:pt>
                <c:pt idx="63">
                  <c:v>0.23903751307726798</c:v>
                </c:pt>
                <c:pt idx="64">
                  <c:v>0.22433045579093133</c:v>
                </c:pt>
                <c:pt idx="65">
                  <c:v>0.2142171910974674</c:v>
                </c:pt>
                <c:pt idx="66">
                  <c:v>0.21597421203438397</c:v>
                </c:pt>
                <c:pt idx="67">
                  <c:v>0.20335110434120335</c:v>
                </c:pt>
                <c:pt idx="68">
                  <c:v>0.19194123819517314</c:v>
                </c:pt>
                <c:pt idx="69">
                  <c:v>0.186231725943705</c:v>
                </c:pt>
                <c:pt idx="70">
                  <c:v>0.18707821082919174</c:v>
                </c:pt>
                <c:pt idx="71">
                  <c:v>0.18971229293809938</c:v>
                </c:pt>
                <c:pt idx="72">
                  <c:v>0.1793250095414645</c:v>
                </c:pt>
                <c:pt idx="73">
                  <c:v>0.18501574475669894</c:v>
                </c:pt>
                <c:pt idx="74">
                  <c:v>0.18769759831382773</c:v>
                </c:pt>
                <c:pt idx="75">
                  <c:v>0.19967866323907454</c:v>
                </c:pt>
                <c:pt idx="76">
                  <c:v>0.20348151744226367</c:v>
                </c:pt>
                <c:pt idx="77">
                  <c:v>0.19437803376077664</c:v>
                </c:pt>
                <c:pt idx="78">
                  <c:v>0.19729144963538744</c:v>
                </c:pt>
                <c:pt idx="79">
                  <c:v>0.17318884206301424</c:v>
                </c:pt>
                <c:pt idx="80">
                  <c:v>0.16710411198600175</c:v>
                </c:pt>
                <c:pt idx="81">
                  <c:v>0.1803864168618267</c:v>
                </c:pt>
                <c:pt idx="82">
                  <c:v>0.17975474141214107</c:v>
                </c:pt>
                <c:pt idx="83">
                  <c:v>0.18402356610639403</c:v>
                </c:pt>
                <c:pt idx="84">
                  <c:v>0.18698972873321043</c:v>
                </c:pt>
                <c:pt idx="85">
                  <c:v>0.19571842145360355</c:v>
                </c:pt>
                <c:pt idx="86">
                  <c:v>0.207593915648767</c:v>
                </c:pt>
                <c:pt idx="87">
                  <c:v>0.2173268956435861</c:v>
                </c:pt>
                <c:pt idx="88">
                  <c:v>0.20523153057617533</c:v>
                </c:pt>
                <c:pt idx="89">
                  <c:v>0.20932949147262675</c:v>
                </c:pt>
                <c:pt idx="90">
                  <c:v>0.19498162058494486</c:v>
                </c:pt>
                <c:pt idx="91">
                  <c:v>0.1831610044313146</c:v>
                </c:pt>
                <c:pt idx="92">
                  <c:v>0.19462962962962962</c:v>
                </c:pt>
                <c:pt idx="93">
                  <c:v>0.18998903909389842</c:v>
                </c:pt>
                <c:pt idx="94">
                  <c:v>0.19740048740861088</c:v>
                </c:pt>
                <c:pt idx="95">
                  <c:v>0.19975149105367793</c:v>
                </c:pt>
                <c:pt idx="96">
                  <c:v>0.19698046782437967</c:v>
                </c:pt>
                <c:pt idx="97">
                  <c:v>0.202424676759533</c:v>
                </c:pt>
                <c:pt idx="98">
                  <c:v>0.2040774352777849</c:v>
                </c:pt>
                <c:pt idx="99">
                  <c:v>0.20725569996936677</c:v>
                </c:pt>
                <c:pt idx="100">
                  <c:v>0.208160385871081</c:v>
                </c:pt>
                <c:pt idx="101">
                  <c:v>0.21458165496604903</c:v>
                </c:pt>
                <c:pt idx="102">
                  <c:v>0.20686988726547556</c:v>
                </c:pt>
                <c:pt idx="103">
                  <c:v>0.201168762174606</c:v>
                </c:pt>
                <c:pt idx="104">
                  <c:v>0.1981691812171554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180318870434491</c:v>
                </c:pt>
                <c:pt idx="1">
                  <c:v>0.2276793446873175</c:v>
                </c:pt>
                <c:pt idx="2">
                  <c:v>0.2227376820589105</c:v>
                </c:pt>
                <c:pt idx="3">
                  <c:v>0.21546370163547604</c:v>
                </c:pt>
                <c:pt idx="4">
                  <c:v>0.20141626264924317</c:v>
                </c:pt>
                <c:pt idx="5">
                  <c:v>0.21900176358463813</c:v>
                </c:pt>
                <c:pt idx="6">
                  <c:v>0.20580871080936172</c:v>
                </c:pt>
                <c:pt idx="7">
                  <c:v>0.18799462027411773</c:v>
                </c:pt>
                <c:pt idx="8">
                  <c:v>0.2278211552129</c:v>
                </c:pt>
                <c:pt idx="9">
                  <c:v>0.21366029896240313</c:v>
                </c:pt>
                <c:pt idx="10">
                  <c:v>0.20823413424951734</c:v>
                </c:pt>
                <c:pt idx="11">
                  <c:v>0.1909343325067824</c:v>
                </c:pt>
                <c:pt idx="12">
                  <c:v>0.19175172870539267</c:v>
                </c:pt>
                <c:pt idx="13">
                  <c:v>0.20004786469303948</c:v>
                </c:pt>
                <c:pt idx="14">
                  <c:v>0.1956539271231369</c:v>
                </c:pt>
                <c:pt idx="15">
                  <c:v>0.19177418776303004</c:v>
                </c:pt>
                <c:pt idx="16">
                  <c:v>0.18053159859086618</c:v>
                </c:pt>
                <c:pt idx="17">
                  <c:v>0.16767888896998812</c:v>
                </c:pt>
                <c:pt idx="18">
                  <c:v>0.1568079063190146</c:v>
                </c:pt>
                <c:pt idx="19">
                  <c:v>0.1805104802051803</c:v>
                </c:pt>
                <c:pt idx="20">
                  <c:v>0.1655350315819085</c:v>
                </c:pt>
                <c:pt idx="21">
                  <c:v>0.15128629160197746</c:v>
                </c:pt>
                <c:pt idx="22">
                  <c:v>0.15359535436730704</c:v>
                </c:pt>
                <c:pt idx="23">
                  <c:v>0.17492547140321726</c:v>
                </c:pt>
                <c:pt idx="24">
                  <c:v>0.16383004067972734</c:v>
                </c:pt>
                <c:pt idx="25">
                  <c:v>0.15783794080817437</c:v>
                </c:pt>
                <c:pt idx="26">
                  <c:v>0.16008000643693243</c:v>
                </c:pt>
                <c:pt idx="27">
                  <c:v>0.16147351556434292</c:v>
                </c:pt>
                <c:pt idx="28">
                  <c:v>0.17928456223757844</c:v>
                </c:pt>
                <c:pt idx="29">
                  <c:v>0.16238154571280855</c:v>
                </c:pt>
                <c:pt idx="30">
                  <c:v>0.16005145478219424</c:v>
                </c:pt>
                <c:pt idx="31">
                  <c:v>0.15605006293626197</c:v>
                </c:pt>
                <c:pt idx="32">
                  <c:v>0.17014820306022702</c:v>
                </c:pt>
                <c:pt idx="33">
                  <c:v>0.17797194915629364</c:v>
                </c:pt>
                <c:pt idx="34">
                  <c:v>0.19701281193174383</c:v>
                </c:pt>
                <c:pt idx="35">
                  <c:v>0.16102091835406548</c:v>
                </c:pt>
                <c:pt idx="36">
                  <c:v>0.1398651100129142</c:v>
                </c:pt>
                <c:pt idx="37">
                  <c:v>0.14122673741572583</c:v>
                </c:pt>
                <c:pt idx="38">
                  <c:v>0.1464449695423816</c:v>
                </c:pt>
                <c:pt idx="39">
                  <c:v>0.15346359092811768</c:v>
                </c:pt>
                <c:pt idx="40">
                  <c:v>0.1675024342213517</c:v>
                </c:pt>
                <c:pt idx="41">
                  <c:v>0.17108600756474554</c:v>
                </c:pt>
                <c:pt idx="42">
                  <c:v>0.16738264140020692</c:v>
                </c:pt>
                <c:pt idx="43">
                  <c:v>0.1871008888735369</c:v>
                </c:pt>
                <c:pt idx="44">
                  <c:v>0.18264827572893833</c:v>
                </c:pt>
                <c:pt idx="45">
                  <c:v>0.18376828702740958</c:v>
                </c:pt>
                <c:pt idx="46">
                  <c:v>0.17336610478118267</c:v>
                </c:pt>
                <c:pt idx="47">
                  <c:v>0.16215640827909183</c:v>
                </c:pt>
                <c:pt idx="48">
                  <c:v>0.1674273743428199</c:v>
                </c:pt>
                <c:pt idx="49">
                  <c:v>0.20058619272461886</c:v>
                </c:pt>
                <c:pt idx="50">
                  <c:v>0.21392210156254052</c:v>
                </c:pt>
                <c:pt idx="51">
                  <c:v>0.17704736211232627</c:v>
                </c:pt>
              </c:numCache>
            </c:numRef>
          </c:xVal>
          <c:yVal>
            <c:numRef>
              <c:f>Sheet1!$B$109:$B$160</c:f>
              <c:numCache>
                <c:formatCode>General</c:formatCode>
                <c:ptCount val="52"/>
                <c:pt idx="0">
                  <c:v>0.197400060114217</c:v>
                </c:pt>
                <c:pt idx="1">
                  <c:v>0.20026240458015268</c:v>
                </c:pt>
                <c:pt idx="2">
                  <c:v>0.21562840378061207</c:v>
                </c:pt>
                <c:pt idx="3">
                  <c:v>0.23137071202075526</c:v>
                </c:pt>
                <c:pt idx="4">
                  <c:v>0.21376146788990827</c:v>
                </c:pt>
                <c:pt idx="5">
                  <c:v>0.2198332767530459</c:v>
                </c:pt>
                <c:pt idx="6">
                  <c:v>0.2318436670054756</c:v>
                </c:pt>
                <c:pt idx="7">
                  <c:v>0.2285893360791512</c:v>
                </c:pt>
                <c:pt idx="8">
                  <c:v>0.2144673214018645</c:v>
                </c:pt>
                <c:pt idx="9">
                  <c:v>0.22412922766279655</c:v>
                </c:pt>
                <c:pt idx="10">
                  <c:v>0.22589838357750366</c:v>
                </c:pt>
                <c:pt idx="11">
                  <c:v>0.230069351657441</c:v>
                </c:pt>
                <c:pt idx="12">
                  <c:v>0.23010873640794902</c:v>
                </c:pt>
                <c:pt idx="13">
                  <c:v>0.22671183159932254</c:v>
                </c:pt>
                <c:pt idx="14">
                  <c:v>0.23061955512315924</c:v>
                </c:pt>
                <c:pt idx="15">
                  <c:v>0.22314721783646715</c:v>
                </c:pt>
                <c:pt idx="16">
                  <c:v>0.21933212176283506</c:v>
                </c:pt>
                <c:pt idx="17">
                  <c:v>0.229491423412579</c:v>
                </c:pt>
                <c:pt idx="18">
                  <c:v>0.22677198087715653</c:v>
                </c:pt>
                <c:pt idx="19">
                  <c:v>0.2199635307624772</c:v>
                </c:pt>
                <c:pt idx="20">
                  <c:v>0.20846217663473868</c:v>
                </c:pt>
                <c:pt idx="21">
                  <c:v>0.22308107136437175</c:v>
                </c:pt>
                <c:pt idx="22">
                  <c:v>0.2155111425539441</c:v>
                </c:pt>
                <c:pt idx="23">
                  <c:v>0.2164165277005744</c:v>
                </c:pt>
                <c:pt idx="24">
                  <c:v>0.21474850809889173</c:v>
                </c:pt>
                <c:pt idx="25">
                  <c:v>0.21900752418487998</c:v>
                </c:pt>
                <c:pt idx="26">
                  <c:v>0.2130005803830528</c:v>
                </c:pt>
                <c:pt idx="27">
                  <c:v>0.2161798759991036</c:v>
                </c:pt>
                <c:pt idx="28">
                  <c:v>0.20585253767655606</c:v>
                </c:pt>
                <c:pt idx="29">
                  <c:v>0.20888852778680533</c:v>
                </c:pt>
                <c:pt idx="30">
                  <c:v>0.21288586087980485</c:v>
                </c:pt>
                <c:pt idx="31">
                  <c:v>0.20632922772633283</c:v>
                </c:pt>
                <c:pt idx="32">
                  <c:v>0.20135271709554536</c:v>
                </c:pt>
                <c:pt idx="33">
                  <c:v>0.2141041162227603</c:v>
                </c:pt>
                <c:pt idx="34">
                  <c:v>0.23213490925275704</c:v>
                </c:pt>
                <c:pt idx="35">
                  <c:v>0.22095332671300894</c:v>
                </c:pt>
                <c:pt idx="36">
                  <c:v>0.21491658488714427</c:v>
                </c:pt>
                <c:pt idx="37">
                  <c:v>0.21960922995314297</c:v>
                </c:pt>
                <c:pt idx="38">
                  <c:v>0.22049719956765254</c:v>
                </c:pt>
                <c:pt idx="39">
                  <c:v>0.218610991533936</c:v>
                </c:pt>
                <c:pt idx="40">
                  <c:v>0.20441525778957664</c:v>
                </c:pt>
                <c:pt idx="41">
                  <c:v>0.20590176921045683</c:v>
                </c:pt>
                <c:pt idx="42">
                  <c:v>0.20942212931163207</c:v>
                </c:pt>
                <c:pt idx="43">
                  <c:v>0.19421578311930635</c:v>
                </c:pt>
                <c:pt idx="44">
                  <c:v>0.19482154095118223</c:v>
                </c:pt>
                <c:pt idx="45">
                  <c:v>0.21432315554973136</c:v>
                </c:pt>
                <c:pt idx="46">
                  <c:v>0.23017595535229826</c:v>
                </c:pt>
                <c:pt idx="47">
                  <c:v>0.23071369264647484</c:v>
                </c:pt>
                <c:pt idx="48">
                  <c:v>0.219158374295648</c:v>
                </c:pt>
                <c:pt idx="49">
                  <c:v>0.2252389951089373</c:v>
                </c:pt>
                <c:pt idx="50">
                  <c:v>0.22199045364001954</c:v>
                </c:pt>
                <c:pt idx="51">
                  <c:v>0.2218321744413690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530635559183328</c:v>
                </c:pt>
              </c:numCache>
            </c:numRef>
          </c:xVal>
          <c:yVal>
            <c:numRef>
              <c:f>Sheet1!$B$163:$B$164</c:f>
              <c:numCache>
                <c:formatCode>General</c:formatCode>
                <c:ptCount val="2"/>
                <c:pt idx="0">
                  <c:v>0.26508930835188715</c:v>
                </c:pt>
                <c:pt idx="1">
                  <c:v>0.2650893083518871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530635559183328</c:v>
                </c:pt>
                <c:pt idx="1">
                  <c:v>1.530635559183328</c:v>
                </c:pt>
              </c:numCache>
            </c:numRef>
          </c:xVal>
          <c:yVal>
            <c:numRef>
              <c:f>Sheet1!$B$167:$B$168</c:f>
              <c:numCache>
                <c:formatCode>General</c:formatCode>
                <c:ptCount val="2"/>
                <c:pt idx="0">
                  <c:v>0.2650893083518871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375681767877934</c:v>
                </c:pt>
              </c:numCache>
            </c:numRef>
          </c:xVal>
          <c:yVal>
            <c:numRef>
              <c:f>Sheet1!$B$171:$B$172</c:f>
              <c:numCache>
                <c:formatCode>General</c:formatCode>
                <c:ptCount val="2"/>
                <c:pt idx="0">
                  <c:v>0.22444512374452288</c:v>
                </c:pt>
                <c:pt idx="1">
                  <c:v>0.2244451237445228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375681767877934</c:v>
                </c:pt>
                <c:pt idx="1">
                  <c:v>0.375681767877934</c:v>
                </c:pt>
              </c:numCache>
            </c:numRef>
          </c:xVal>
          <c:yVal>
            <c:numRef>
              <c:f>Sheet1!$B$175:$B$176</c:f>
              <c:numCache>
                <c:formatCode>General</c:formatCode>
                <c:ptCount val="2"/>
                <c:pt idx="0">
                  <c:v>0.2244451237445228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09815081473863045</c:v>
                </c:pt>
              </c:numCache>
            </c:numRef>
          </c:xVal>
          <c:yVal>
            <c:numRef>
              <c:f>Sheet1!$B$179:$B$180</c:f>
              <c:numCache>
                <c:formatCode>General</c:formatCode>
                <c:ptCount val="2"/>
                <c:pt idx="0">
                  <c:v>0.21467848253465915</c:v>
                </c:pt>
                <c:pt idx="1">
                  <c:v>0.2146784825346591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09815081473863045</c:v>
                </c:pt>
                <c:pt idx="1">
                  <c:v>0.09815081473863045</c:v>
                </c:pt>
              </c:numCache>
            </c:numRef>
          </c:xVal>
          <c:yVal>
            <c:numRef>
              <c:f>Sheet1!$B$183:$B$184</c:f>
              <c:numCache>
                <c:formatCode>General</c:formatCode>
                <c:ptCount val="2"/>
                <c:pt idx="0">
                  <c:v>0.214678482534659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180318870434491</c:v>
                </c:pt>
                <c:pt idx="1">
                  <c:v>0.2276793446873175</c:v>
                </c:pt>
                <c:pt idx="2">
                  <c:v>0.2227376820589105</c:v>
                </c:pt>
                <c:pt idx="3">
                  <c:v>0.21546370163547604</c:v>
                </c:pt>
                <c:pt idx="4">
                  <c:v>0.20141626264924317</c:v>
                </c:pt>
                <c:pt idx="5">
                  <c:v>0.21900176358463813</c:v>
                </c:pt>
                <c:pt idx="6">
                  <c:v>0.20580871080936172</c:v>
                </c:pt>
                <c:pt idx="7">
                  <c:v>0.18799462027411773</c:v>
                </c:pt>
                <c:pt idx="8">
                  <c:v>0.2278211552129</c:v>
                </c:pt>
                <c:pt idx="9">
                  <c:v>0.21366029896240313</c:v>
                </c:pt>
                <c:pt idx="10">
                  <c:v>0.20823413424951734</c:v>
                </c:pt>
                <c:pt idx="11">
                  <c:v>0.1909343325067824</c:v>
                </c:pt>
                <c:pt idx="12">
                  <c:v>0.19175172870539267</c:v>
                </c:pt>
                <c:pt idx="13">
                  <c:v>0.20004786469303948</c:v>
                </c:pt>
                <c:pt idx="14">
                  <c:v>0.1956539271231369</c:v>
                </c:pt>
                <c:pt idx="15">
                  <c:v>0.19177418776303004</c:v>
                </c:pt>
                <c:pt idx="16">
                  <c:v>0.18053159859086618</c:v>
                </c:pt>
                <c:pt idx="17">
                  <c:v>0.16767888896998812</c:v>
                </c:pt>
                <c:pt idx="18">
                  <c:v>0.1568079063190146</c:v>
                </c:pt>
                <c:pt idx="19">
                  <c:v>0.1805104802051803</c:v>
                </c:pt>
                <c:pt idx="20">
                  <c:v>0.1655350315819085</c:v>
                </c:pt>
                <c:pt idx="21">
                  <c:v>0.15128629160197746</c:v>
                </c:pt>
                <c:pt idx="22">
                  <c:v>0.15359535436730704</c:v>
                </c:pt>
                <c:pt idx="23">
                  <c:v>0.17492547140321726</c:v>
                </c:pt>
                <c:pt idx="24">
                  <c:v>0.16383004067972734</c:v>
                </c:pt>
                <c:pt idx="25">
                  <c:v>0.15783794080817437</c:v>
                </c:pt>
                <c:pt idx="26">
                  <c:v>0.16008000643693243</c:v>
                </c:pt>
                <c:pt idx="27">
                  <c:v>0.16147351556434292</c:v>
                </c:pt>
                <c:pt idx="28">
                  <c:v>0.17928456223757844</c:v>
                </c:pt>
                <c:pt idx="29">
                  <c:v>0.16238154571280855</c:v>
                </c:pt>
                <c:pt idx="30">
                  <c:v>0.16005145478219424</c:v>
                </c:pt>
                <c:pt idx="31">
                  <c:v>0.15605006293626197</c:v>
                </c:pt>
                <c:pt idx="32">
                  <c:v>0.17014820306022702</c:v>
                </c:pt>
                <c:pt idx="33">
                  <c:v>0.17797194915629364</c:v>
                </c:pt>
                <c:pt idx="34">
                  <c:v>0.19701281193174383</c:v>
                </c:pt>
                <c:pt idx="35">
                  <c:v>0.16102091835406548</c:v>
                </c:pt>
                <c:pt idx="36">
                  <c:v>0.1398651100129142</c:v>
                </c:pt>
                <c:pt idx="37">
                  <c:v>0.14122673741572583</c:v>
                </c:pt>
                <c:pt idx="38">
                  <c:v>0.1464449695423816</c:v>
                </c:pt>
                <c:pt idx="39">
                  <c:v>0.15346359092811768</c:v>
                </c:pt>
                <c:pt idx="40">
                  <c:v>0.1675024342213517</c:v>
                </c:pt>
                <c:pt idx="41">
                  <c:v>0.17108600756474554</c:v>
                </c:pt>
                <c:pt idx="42">
                  <c:v>0.16738264140020692</c:v>
                </c:pt>
                <c:pt idx="43">
                  <c:v>0.1871008888735369</c:v>
                </c:pt>
                <c:pt idx="44">
                  <c:v>0.18264827572893833</c:v>
                </c:pt>
                <c:pt idx="45">
                  <c:v>0.18376828702740958</c:v>
                </c:pt>
                <c:pt idx="46">
                  <c:v>0.17336610478118267</c:v>
                </c:pt>
                <c:pt idx="47">
                  <c:v>0.16215640827909183</c:v>
                </c:pt>
                <c:pt idx="48">
                  <c:v>0.1674273743428199</c:v>
                </c:pt>
                <c:pt idx="49">
                  <c:v>0.20058619272461886</c:v>
                </c:pt>
                <c:pt idx="50">
                  <c:v>0.21392210156254052</c:v>
                </c:pt>
                <c:pt idx="51">
                  <c:v>0.17704736211232627</c:v>
                </c:pt>
                <c:pt idx="52">
                  <c:v>0.375681767877934</c:v>
                </c:pt>
                <c:pt idx="53">
                  <c:v>1.530635559183328</c:v>
                </c:pt>
                <c:pt idx="54">
                  <c:v>0.09815081473863045</c:v>
                </c:pt>
              </c:numCache>
            </c:numRef>
          </c:xVal>
          <c:yVal>
            <c:numRef>
              <c:f>Sheet1!$B$187:$B$241</c:f>
              <c:numCache>
                <c:formatCode>General</c:formatCode>
                <c:ptCount val="55"/>
                <c:pt idx="0">
                  <c:v>0.2188972387051365</c:v>
                </c:pt>
                <c:pt idx="1">
                  <c:v>0.21923674410563043</c:v>
                </c:pt>
                <c:pt idx="2">
                  <c:v>0.21906284117579175</c:v>
                </c:pt>
                <c:pt idx="3">
                  <c:v>0.21880686123496115</c:v>
                </c:pt>
                <c:pt idx="4">
                  <c:v>0.218312515307258</c:v>
                </c:pt>
                <c:pt idx="5">
                  <c:v>0.2189313698032663</c:v>
                </c:pt>
                <c:pt idx="6">
                  <c:v>0.2184670907329089</c:v>
                </c:pt>
                <c:pt idx="7">
                  <c:v>0.21784019189957254</c:v>
                </c:pt>
                <c:pt idx="8">
                  <c:v>0.2192417345850976</c:v>
                </c:pt>
                <c:pt idx="9">
                  <c:v>0.21874339737024417</c:v>
                </c:pt>
                <c:pt idx="10">
                  <c:v>0.2185524442412439</c:v>
                </c:pt>
                <c:pt idx="11">
                  <c:v>0.21794364383641748</c:v>
                </c:pt>
                <c:pt idx="12">
                  <c:v>0.21797240897164954</c:v>
                </c:pt>
                <c:pt idx="13">
                  <c:v>0.21826435977102188</c:v>
                </c:pt>
                <c:pt idx="14">
                  <c:v>0.21810973193128594</c:v>
                </c:pt>
                <c:pt idx="15">
                  <c:v>0.2179731993323476</c:v>
                </c:pt>
                <c:pt idx="16">
                  <c:v>0.21757755937409287</c:v>
                </c:pt>
                <c:pt idx="17">
                  <c:v>0.21712525738030888</c:v>
                </c:pt>
                <c:pt idx="18">
                  <c:v>0.21674269469333746</c:v>
                </c:pt>
                <c:pt idx="19">
                  <c:v>0.21757681619322028</c:v>
                </c:pt>
                <c:pt idx="20">
                  <c:v>0.21704981251306923</c:v>
                </c:pt>
                <c:pt idx="21">
                  <c:v>0.21654838256623812</c:v>
                </c:pt>
                <c:pt idx="22">
                  <c:v>0.21662964120533743</c:v>
                </c:pt>
                <c:pt idx="23">
                  <c:v>0.21738027315358563</c:v>
                </c:pt>
                <c:pt idx="24">
                  <c:v>0.21698981187451225</c:v>
                </c:pt>
                <c:pt idx="25">
                  <c:v>0.21677894282053053</c:v>
                </c:pt>
                <c:pt idx="26">
                  <c:v>0.21685784375146222</c:v>
                </c:pt>
                <c:pt idx="27">
                  <c:v>0.21690688297939748</c:v>
                </c:pt>
                <c:pt idx="28">
                  <c:v>0.2175336746956437</c:v>
                </c:pt>
                <c:pt idx="29">
                  <c:v>0.21693883763010396</c:v>
                </c:pt>
                <c:pt idx="30">
                  <c:v>0.21685683898509428</c:v>
                </c:pt>
                <c:pt idx="31">
                  <c:v>0.21671602529185668</c:v>
                </c:pt>
                <c:pt idx="32">
                  <c:v>0.21721215545232941</c:v>
                </c:pt>
                <c:pt idx="33">
                  <c:v>0.21748748229487805</c:v>
                </c:pt>
                <c:pt idx="34">
                  <c:v>0.2181575526886504</c:v>
                </c:pt>
                <c:pt idx="35">
                  <c:v>0.21689095555034726</c:v>
                </c:pt>
                <c:pt idx="36">
                  <c:v>0.2161464577304268</c:v>
                </c:pt>
                <c:pt idx="37">
                  <c:v>0.21619437500291244</c:v>
                </c:pt>
                <c:pt idx="38">
                  <c:v>0.21637801073923063</c:v>
                </c:pt>
                <c:pt idx="39">
                  <c:v>0.21662500429467724</c:v>
                </c:pt>
                <c:pt idx="40">
                  <c:v>0.21711904772981688</c:v>
                </c:pt>
                <c:pt idx="41">
                  <c:v>0.2172451578977036</c:v>
                </c:pt>
                <c:pt idx="42">
                  <c:v>0.2171148320793087</c:v>
                </c:pt>
                <c:pt idx="43">
                  <c:v>0.21780874043864998</c:v>
                </c:pt>
                <c:pt idx="44">
                  <c:v>0.21765204773631278</c:v>
                </c:pt>
                <c:pt idx="45">
                  <c:v>0.21769146225343033</c:v>
                </c:pt>
                <c:pt idx="46">
                  <c:v>0.21732539720501204</c:v>
                </c:pt>
                <c:pt idx="47">
                  <c:v>0.2169309147785692</c:v>
                </c:pt>
                <c:pt idx="48">
                  <c:v>0.21711640628426068</c:v>
                </c:pt>
                <c:pt idx="49">
                  <c:v>0.21828330416867617</c:v>
                </c:pt>
                <c:pt idx="50">
                  <c:v>0.21875261051218176</c:v>
                </c:pt>
                <c:pt idx="51">
                  <c:v>0.21745494498751258</c:v>
                </c:pt>
                <c:pt idx="52">
                  <c:v>0.22444512374452288</c:v>
                </c:pt>
                <c:pt idx="53">
                  <c:v>0.26508930835188715</c:v>
                </c:pt>
                <c:pt idx="54">
                  <c:v>0.214678482534659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1136536222346"/>
          <c:min val="0.133683289588801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1.9058</c:v>
                </c:pt>
                <c:pt idx="1">
                  <c:v>855.4048</c:v>
                </c:pt>
                <c:pt idx="2">
                  <c:v>886.2466</c:v>
                </c:pt>
                <c:pt idx="3">
                  <c:v>899.1541</c:v>
                </c:pt>
                <c:pt idx="4">
                  <c:v>900.0859</c:v>
                </c:pt>
                <c:pt idx="5">
                  <c:v>894.1163</c:v>
                </c:pt>
                <c:pt idx="6">
                  <c:v>846.9098</c:v>
                </c:pt>
                <c:pt idx="7">
                  <c:v>862.7659</c:v>
                </c:pt>
                <c:pt idx="8">
                  <c:v>861.1043</c:v>
                </c:pt>
                <c:pt idx="9">
                  <c:v>843.2709</c:v>
                </c:pt>
                <c:pt idx="10">
                  <c:v>833.2302</c:v>
                </c:pt>
                <c:pt idx="11">
                  <c:v>889.2521</c:v>
                </c:pt>
                <c:pt idx="12">
                  <c:v>890.9984</c:v>
                </c:pt>
                <c:pt idx="13">
                  <c:v>893.6811</c:v>
                </c:pt>
                <c:pt idx="14">
                  <c:v>884.5583</c:v>
                </c:pt>
                <c:pt idx="15">
                  <c:v>903.0039</c:v>
                </c:pt>
                <c:pt idx="16">
                  <c:v>925.6963</c:v>
                </c:pt>
                <c:pt idx="17">
                  <c:v>906.9178</c:v>
                </c:pt>
                <c:pt idx="18">
                  <c:v>966.8314</c:v>
                </c:pt>
                <c:pt idx="19">
                  <c:v>987.056</c:v>
                </c:pt>
                <c:pt idx="20">
                  <c:v>1019.7402</c:v>
                </c:pt>
                <c:pt idx="21">
                  <c:v>1035.4882</c:v>
                </c:pt>
                <c:pt idx="22">
                  <c:v>1008.834</c:v>
                </c:pt>
                <c:pt idx="23">
                  <c:v>1000.987</c:v>
                </c:pt>
                <c:pt idx="24">
                  <c:v>1007.2607</c:v>
                </c:pt>
                <c:pt idx="25">
                  <c:v>983.3374</c:v>
                </c:pt>
                <c:pt idx="26">
                  <c:v>966.4006</c:v>
                </c:pt>
                <c:pt idx="27">
                  <c:v>988.7948</c:v>
                </c:pt>
                <c:pt idx="28">
                  <c:v>987.2651</c:v>
                </c:pt>
                <c:pt idx="29">
                  <c:v>964.9211</c:v>
                </c:pt>
                <c:pt idx="30">
                  <c:v>966.6746</c:v>
                </c:pt>
                <c:pt idx="31">
                  <c:v>953.9414</c:v>
                </c:pt>
                <c:pt idx="32">
                  <c:v>943.1541</c:v>
                </c:pt>
                <c:pt idx="33">
                  <c:v>891.0869</c:v>
                </c:pt>
                <c:pt idx="34">
                  <c:v>912.5349</c:v>
                </c:pt>
                <c:pt idx="35">
                  <c:v>944.06</c:v>
                </c:pt>
                <c:pt idx="36">
                  <c:v>1018.6315</c:v>
                </c:pt>
                <c:pt idx="37">
                  <c:v>1034.4815</c:v>
                </c:pt>
                <c:pt idx="38">
                  <c:v>1086.5919</c:v>
                </c:pt>
                <c:pt idx="39">
                  <c:v>1102.9389</c:v>
                </c:pt>
                <c:pt idx="40">
                  <c:v>1093.293</c:v>
                </c:pt>
                <c:pt idx="41">
                  <c:v>1119.911</c:v>
                </c:pt>
                <c:pt idx="42">
                  <c:v>1143.8659</c:v>
                </c:pt>
                <c:pt idx="43">
                  <c:v>1150.461</c:v>
                </c:pt>
                <c:pt idx="44">
                  <c:v>1088.7683</c:v>
                </c:pt>
                <c:pt idx="45">
                  <c:v>1053.1369</c:v>
                </c:pt>
                <c:pt idx="46">
                  <c:v>1044.7499</c:v>
                </c:pt>
                <c:pt idx="47">
                  <c:v>1026.7838</c:v>
                </c:pt>
                <c:pt idx="48">
                  <c:v>1034.7776</c:v>
                </c:pt>
                <c:pt idx="49">
                  <c:v>1000.8771</c:v>
                </c:pt>
                <c:pt idx="50">
                  <c:v>999.0031</c:v>
                </c:pt>
                <c:pt idx="51">
                  <c:v>1016.9488</c:v>
                </c:pt>
                <c:pt idx="52">
                  <c:v>1024.951</c:v>
                </c:pt>
                <c:pt idx="53">
                  <c:v>1085.3183</c:v>
                </c:pt>
                <c:pt idx="54">
                  <c:v>1079.9166</c:v>
                </c:pt>
                <c:pt idx="55">
                  <c:v>1093.3052</c:v>
                </c:pt>
                <c:pt idx="56">
                  <c:v>1103.5398</c:v>
                </c:pt>
                <c:pt idx="57">
                  <c:v>1076.5338</c:v>
                </c:pt>
                <c:pt idx="58">
                  <c:v>1051.5517</c:v>
                </c:pt>
                <c:pt idx="59">
                  <c:v>1046.739</c:v>
                </c:pt>
                <c:pt idx="60">
                  <c:v>1061.4004</c:v>
                </c:pt>
                <c:pt idx="61">
                  <c:v>1083.228</c:v>
                </c:pt>
                <c:pt idx="62">
                  <c:v>1030.826</c:v>
                </c:pt>
                <c:pt idx="63">
                  <c:v>1057.0364</c:v>
                </c:pt>
                <c:pt idx="64">
                  <c:v>1063.8642</c:v>
                </c:pt>
                <c:pt idx="65">
                  <c:v>1053.6825</c:v>
                </c:pt>
                <c:pt idx="66">
                  <c:v>1056.3771</c:v>
                </c:pt>
                <c:pt idx="67">
                  <c:v>1076.0802</c:v>
                </c:pt>
                <c:pt idx="68">
                  <c:v>1098.3827</c:v>
                </c:pt>
                <c:pt idx="69">
                  <c:v>1127.0407</c:v>
                </c:pt>
                <c:pt idx="70">
                  <c:v>1109.7676</c:v>
                </c:pt>
                <c:pt idx="71">
                  <c:v>1175.1428</c:v>
                </c:pt>
                <c:pt idx="72">
                  <c:v>1271.2621</c:v>
                </c:pt>
                <c:pt idx="73">
                  <c:v>1248.5424</c:v>
                </c:pt>
                <c:pt idx="74">
                  <c:v>1233.5635</c:v>
                </c:pt>
                <c:pt idx="75">
                  <c:v>1189.7679</c:v>
                </c:pt>
                <c:pt idx="76">
                  <c:v>1162.9076</c:v>
                </c:pt>
                <c:pt idx="77">
                  <c:v>1167.2162</c:v>
                </c:pt>
                <c:pt idx="78">
                  <c:v>1218.3745</c:v>
                </c:pt>
                <c:pt idx="79">
                  <c:v>1196.5709</c:v>
                </c:pt>
                <c:pt idx="80">
                  <c:v>1209.5562</c:v>
                </c:pt>
                <c:pt idx="81">
                  <c:v>1194.4479</c:v>
                </c:pt>
                <c:pt idx="82">
                  <c:v>1197.436</c:v>
                </c:pt>
                <c:pt idx="83">
                  <c:v>1157.3818</c:v>
                </c:pt>
                <c:pt idx="84">
                  <c:v>1179.0934</c:v>
                </c:pt>
                <c:pt idx="85">
                  <c:v>1161.1989</c:v>
                </c:pt>
                <c:pt idx="86">
                  <c:v>1150.8049</c:v>
                </c:pt>
                <c:pt idx="87">
                  <c:v>1151.7458</c:v>
                </c:pt>
                <c:pt idx="88">
                  <c:v>1202.4743</c:v>
                </c:pt>
                <c:pt idx="89">
                  <c:v>1193.372</c:v>
                </c:pt>
                <c:pt idx="90">
                  <c:v>1263.7689</c:v>
                </c:pt>
                <c:pt idx="91">
                  <c:v>1261.18</c:v>
                </c:pt>
                <c:pt idx="92">
                  <c:v>1201.6016</c:v>
                </c:pt>
                <c:pt idx="93">
                  <c:v>1244.2375</c:v>
                </c:pt>
                <c:pt idx="94">
                  <c:v>1221.2497</c:v>
                </c:pt>
                <c:pt idx="95">
                  <c:v>1173.0264</c:v>
                </c:pt>
                <c:pt idx="96">
                  <c:v>1141.2002</c:v>
                </c:pt>
                <c:pt idx="97">
                  <c:v>1128.5383</c:v>
                </c:pt>
                <c:pt idx="98">
                  <c:v>1117.49</c:v>
                </c:pt>
                <c:pt idx="99">
                  <c:v>1084.1234</c:v>
                </c:pt>
                <c:pt idx="100">
                  <c:v>1089.073</c:v>
                </c:pt>
                <c:pt idx="101">
                  <c:v>1089.4279</c:v>
                </c:pt>
                <c:pt idx="102">
                  <c:v>1110.0216</c:v>
                </c:pt>
                <c:pt idx="103">
                  <c:v>1102.4859</c:v>
                </c:pt>
                <c:pt idx="104">
                  <c:v>1145.2964</c:v>
                </c:pt>
              </c:numCache>
            </c:numRef>
          </c:xVal>
          <c:yVal>
            <c:numRef>
              <c:f>Sheet1!$B$2:$B$106</c:f>
              <c:numCache>
                <c:formatCode>General</c:formatCode>
                <c:ptCount val="105"/>
                <c:pt idx="0">
                  <c:v>0.2517147485609899</c:v>
                </c:pt>
                <c:pt idx="1">
                  <c:v>0.24949245136761286</c:v>
                </c:pt>
                <c:pt idx="2">
                  <c:v>0.251412919108214</c:v>
                </c:pt>
                <c:pt idx="3">
                  <c:v>0.25002788829807016</c:v>
                </c:pt>
                <c:pt idx="4">
                  <c:v>0.254451136413593</c:v>
                </c:pt>
                <c:pt idx="5">
                  <c:v>0.26060360725048354</c:v>
                </c:pt>
                <c:pt idx="6">
                  <c:v>0.28730684801790557</c:v>
                </c:pt>
                <c:pt idx="7">
                  <c:v>0.29261378018528833</c:v>
                </c:pt>
                <c:pt idx="8">
                  <c:v>0.2881803959648271</c:v>
                </c:pt>
                <c:pt idx="9">
                  <c:v>0.2713295379729677</c:v>
                </c:pt>
                <c:pt idx="10">
                  <c:v>0.2682604426316187</c:v>
                </c:pt>
                <c:pt idx="11">
                  <c:v>0.2434226026859342</c:v>
                </c:pt>
                <c:pt idx="12">
                  <c:v>0.23166263647688137</c:v>
                </c:pt>
                <c:pt idx="13">
                  <c:v>0.21943166641935005</c:v>
                </c:pt>
                <c:pt idx="14">
                  <c:v>0.20819935691318328</c:v>
                </c:pt>
                <c:pt idx="15">
                  <c:v>0.20032310177705978</c:v>
                </c:pt>
                <c:pt idx="16">
                  <c:v>0.19135243841126193</c:v>
                </c:pt>
                <c:pt idx="17">
                  <c:v>0.1893611187277214</c:v>
                </c:pt>
                <c:pt idx="18">
                  <c:v>0.17375971309025703</c:v>
                </c:pt>
                <c:pt idx="19">
                  <c:v>0.17545871559633028</c:v>
                </c:pt>
                <c:pt idx="20">
                  <c:v>0.17418820606849234</c:v>
                </c:pt>
                <c:pt idx="21">
                  <c:v>0.18670115642118076</c:v>
                </c:pt>
                <c:pt idx="22">
                  <c:v>0.20886535113174695</c:v>
                </c:pt>
                <c:pt idx="23">
                  <c:v>0.21620595382746052</c:v>
                </c:pt>
                <c:pt idx="24">
                  <c:v>0.21956720941707197</c:v>
                </c:pt>
                <c:pt idx="25">
                  <c:v>0.2278839922229423</c:v>
                </c:pt>
                <c:pt idx="26">
                  <c:v>0.248124210682713</c:v>
                </c:pt>
                <c:pt idx="27">
                  <c:v>0.2370037132247929</c:v>
                </c:pt>
                <c:pt idx="28">
                  <c:v>0.2444784605291931</c:v>
                </c:pt>
                <c:pt idx="29">
                  <c:v>0.23986167871738448</c:v>
                </c:pt>
                <c:pt idx="30">
                  <c:v>0.24341403364792777</c:v>
                </c:pt>
                <c:pt idx="31">
                  <c:v>0.25345477386934673</c:v>
                </c:pt>
                <c:pt idx="32">
                  <c:v>0.25874818937256994</c:v>
                </c:pt>
                <c:pt idx="33">
                  <c:v>0.25585032437442073</c:v>
                </c:pt>
                <c:pt idx="34">
                  <c:v>0.250102396067991</c:v>
                </c:pt>
                <c:pt idx="35">
                  <c:v>0.2557345971563981</c:v>
                </c:pt>
                <c:pt idx="36">
                  <c:v>0.23196812562254643</c:v>
                </c:pt>
                <c:pt idx="37">
                  <c:v>0.22798857066914746</c:v>
                </c:pt>
                <c:pt idx="38">
                  <c:v>0.21615913890592003</c:v>
                </c:pt>
                <c:pt idx="39">
                  <c:v>0.2071938378913151</c:v>
                </c:pt>
                <c:pt idx="40">
                  <c:v>0.21045714285714287</c:v>
                </c:pt>
                <c:pt idx="41">
                  <c:v>0.2072407910532634</c:v>
                </c:pt>
                <c:pt idx="42">
                  <c:v>0.20224290924927868</c:v>
                </c:pt>
                <c:pt idx="43">
                  <c:v>0.1946233411397346</c:v>
                </c:pt>
                <c:pt idx="44">
                  <c:v>0.19609193962547755</c:v>
                </c:pt>
                <c:pt idx="45">
                  <c:v>0.21453432886094426</c:v>
                </c:pt>
                <c:pt idx="46">
                  <c:v>0.21987389386518008</c:v>
                </c:pt>
                <c:pt idx="47">
                  <c:v>0.21423830069697974</c:v>
                </c:pt>
                <c:pt idx="48">
                  <c:v>0.21207664255636371</c:v>
                </c:pt>
                <c:pt idx="49">
                  <c:v>0.2241240064043527</c:v>
                </c:pt>
                <c:pt idx="50">
                  <c:v>0.21729131175468483</c:v>
                </c:pt>
                <c:pt idx="51">
                  <c:v>0.2069052783803326</c:v>
                </c:pt>
                <c:pt idx="52">
                  <c:v>0.20980577491843766</c:v>
                </c:pt>
                <c:pt idx="53">
                  <c:v>0.20395344540920007</c:v>
                </c:pt>
                <c:pt idx="54">
                  <c:v>0.20795081967213114</c:v>
                </c:pt>
                <c:pt idx="55">
                  <c:v>0.2052563079894202</c:v>
                </c:pt>
                <c:pt idx="56">
                  <c:v>0.20678541875353862</c:v>
                </c:pt>
                <c:pt idx="57">
                  <c:v>0.20438625444676717</c:v>
                </c:pt>
                <c:pt idx="58">
                  <c:v>0.21921198969211989</c:v>
                </c:pt>
                <c:pt idx="59">
                  <c:v>0.21826577276561737</c:v>
                </c:pt>
                <c:pt idx="60">
                  <c:v>0.22469086656880552</c:v>
                </c:pt>
                <c:pt idx="61">
                  <c:v>0.2215318067904837</c:v>
                </c:pt>
                <c:pt idx="62">
                  <c:v>0.23122205423488917</c:v>
                </c:pt>
                <c:pt idx="63">
                  <c:v>0.23903751307726798</c:v>
                </c:pt>
                <c:pt idx="64">
                  <c:v>0.22433045579093133</c:v>
                </c:pt>
                <c:pt idx="65">
                  <c:v>0.2142171910974674</c:v>
                </c:pt>
                <c:pt idx="66">
                  <c:v>0.21597421203438397</c:v>
                </c:pt>
                <c:pt idx="67">
                  <c:v>0.20335110434120335</c:v>
                </c:pt>
                <c:pt idx="68">
                  <c:v>0.19194123819517314</c:v>
                </c:pt>
                <c:pt idx="69">
                  <c:v>0.186231725943705</c:v>
                </c:pt>
                <c:pt idx="70">
                  <c:v>0.18707821082919174</c:v>
                </c:pt>
                <c:pt idx="71">
                  <c:v>0.18971229293809938</c:v>
                </c:pt>
                <c:pt idx="72">
                  <c:v>0.1793250095414645</c:v>
                </c:pt>
                <c:pt idx="73">
                  <c:v>0.18501574475669894</c:v>
                </c:pt>
                <c:pt idx="74">
                  <c:v>0.18769759831382773</c:v>
                </c:pt>
                <c:pt idx="75">
                  <c:v>0.19967866323907454</c:v>
                </c:pt>
                <c:pt idx="76">
                  <c:v>0.20348151744226367</c:v>
                </c:pt>
                <c:pt idx="77">
                  <c:v>0.19437803376077664</c:v>
                </c:pt>
                <c:pt idx="78">
                  <c:v>0.19729144963538744</c:v>
                </c:pt>
                <c:pt idx="79">
                  <c:v>0.17318884206301424</c:v>
                </c:pt>
                <c:pt idx="80">
                  <c:v>0.16710411198600175</c:v>
                </c:pt>
                <c:pt idx="81">
                  <c:v>0.1803864168618267</c:v>
                </c:pt>
                <c:pt idx="82">
                  <c:v>0.17975474141214107</c:v>
                </c:pt>
                <c:pt idx="83">
                  <c:v>0.18402356610639403</c:v>
                </c:pt>
                <c:pt idx="84">
                  <c:v>0.18698972873321043</c:v>
                </c:pt>
                <c:pt idx="85">
                  <c:v>0.19571842145360355</c:v>
                </c:pt>
                <c:pt idx="86">
                  <c:v>0.207593915648767</c:v>
                </c:pt>
                <c:pt idx="87">
                  <c:v>0.2173268956435861</c:v>
                </c:pt>
                <c:pt idx="88">
                  <c:v>0.20523153057617533</c:v>
                </c:pt>
                <c:pt idx="89">
                  <c:v>0.20932949147262675</c:v>
                </c:pt>
                <c:pt idx="90">
                  <c:v>0.19498162058494486</c:v>
                </c:pt>
                <c:pt idx="91">
                  <c:v>0.1831610044313146</c:v>
                </c:pt>
                <c:pt idx="92">
                  <c:v>0.19462962962962962</c:v>
                </c:pt>
                <c:pt idx="93">
                  <c:v>0.18998903909389842</c:v>
                </c:pt>
                <c:pt idx="94">
                  <c:v>0.19740048740861088</c:v>
                </c:pt>
                <c:pt idx="95">
                  <c:v>0.19975149105367793</c:v>
                </c:pt>
                <c:pt idx="96">
                  <c:v>0.19698046782437967</c:v>
                </c:pt>
                <c:pt idx="97">
                  <c:v>0.202424676759533</c:v>
                </c:pt>
                <c:pt idx="98">
                  <c:v>0.2040774352777849</c:v>
                </c:pt>
                <c:pt idx="99">
                  <c:v>0.20725569996936677</c:v>
                </c:pt>
                <c:pt idx="100">
                  <c:v>0.208160385871081</c:v>
                </c:pt>
                <c:pt idx="101">
                  <c:v>0.21458165496604903</c:v>
                </c:pt>
                <c:pt idx="102">
                  <c:v>0.20686988726547556</c:v>
                </c:pt>
                <c:pt idx="103">
                  <c:v>0.201168762174606</c:v>
                </c:pt>
                <c:pt idx="104">
                  <c:v>0.1981691812171554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7.9764</c:v>
                </c:pt>
                <c:pt idx="1">
                  <c:v>1181.183</c:v>
                </c:pt>
                <c:pt idx="2">
                  <c:v>1188.5358</c:v>
                </c:pt>
                <c:pt idx="3">
                  <c:v>1167.6881</c:v>
                </c:pt>
                <c:pt idx="4">
                  <c:v>1194.4699</c:v>
                </c:pt>
                <c:pt idx="5">
                  <c:v>1189.2709</c:v>
                </c:pt>
                <c:pt idx="6">
                  <c:v>1098.8734</c:v>
                </c:pt>
                <c:pt idx="7">
                  <c:v>1135.7131</c:v>
                </c:pt>
                <c:pt idx="8">
                  <c:v>1184.2592</c:v>
                </c:pt>
                <c:pt idx="9">
                  <c:v>1143.1849</c:v>
                </c:pt>
                <c:pt idx="10">
                  <c:v>1162.0828</c:v>
                </c:pt>
                <c:pt idx="11">
                  <c:v>1029.1262</c:v>
                </c:pt>
                <c:pt idx="12">
                  <c:v>1065.5931</c:v>
                </c:pt>
                <c:pt idx="13">
                  <c:v>1131.6266</c:v>
                </c:pt>
                <c:pt idx="14">
                  <c:v>1111.3659</c:v>
                </c:pt>
                <c:pt idx="15">
                  <c:v>1139.3358</c:v>
                </c:pt>
                <c:pt idx="16">
                  <c:v>1174.9249</c:v>
                </c:pt>
                <c:pt idx="17">
                  <c:v>1123.6132</c:v>
                </c:pt>
                <c:pt idx="18">
                  <c:v>1126.9817</c:v>
                </c:pt>
                <c:pt idx="19">
                  <c:v>1231.8824</c:v>
                </c:pt>
                <c:pt idx="20">
                  <c:v>1239.5141</c:v>
                </c:pt>
                <c:pt idx="21">
                  <c:v>1157.2583</c:v>
                </c:pt>
                <c:pt idx="22">
                  <c:v>1193.3061</c:v>
                </c:pt>
                <c:pt idx="23">
                  <c:v>1216.2924</c:v>
                </c:pt>
                <c:pt idx="24">
                  <c:v>1225.705</c:v>
                </c:pt>
                <c:pt idx="25">
                  <c:v>1180.2106</c:v>
                </c:pt>
                <c:pt idx="26">
                  <c:v>1182.9681</c:v>
                </c:pt>
                <c:pt idx="27">
                  <c:v>1178.6949</c:v>
                </c:pt>
                <c:pt idx="28">
                  <c:v>1216.045</c:v>
                </c:pt>
                <c:pt idx="29">
                  <c:v>1228.6814</c:v>
                </c:pt>
                <c:pt idx="30">
                  <c:v>1214.2375</c:v>
                </c:pt>
                <c:pt idx="31">
                  <c:v>1200.732</c:v>
                </c:pt>
                <c:pt idx="32">
                  <c:v>1219.9822</c:v>
                </c:pt>
                <c:pt idx="33">
                  <c:v>1218.2559</c:v>
                </c:pt>
                <c:pt idx="34">
                  <c:v>1230.6016</c:v>
                </c:pt>
                <c:pt idx="35">
                  <c:v>1260.6205</c:v>
                </c:pt>
                <c:pt idx="36">
                  <c:v>1294.8406</c:v>
                </c:pt>
                <c:pt idx="37">
                  <c:v>1262.0229</c:v>
                </c:pt>
                <c:pt idx="38">
                  <c:v>1284.5709</c:v>
                </c:pt>
                <c:pt idx="39">
                  <c:v>1229.5002</c:v>
                </c:pt>
                <c:pt idx="40">
                  <c:v>1263.8093</c:v>
                </c:pt>
                <c:pt idx="41">
                  <c:v>1296.2898</c:v>
                </c:pt>
                <c:pt idx="42">
                  <c:v>1286.5462</c:v>
                </c:pt>
                <c:pt idx="43">
                  <c:v>1308.1139</c:v>
                </c:pt>
                <c:pt idx="44">
                  <c:v>1226.2374</c:v>
                </c:pt>
                <c:pt idx="45">
                  <c:v>1174.8825</c:v>
                </c:pt>
                <c:pt idx="46">
                  <c:v>1167.5306</c:v>
                </c:pt>
                <c:pt idx="47">
                  <c:v>1142.6692</c:v>
                </c:pt>
                <c:pt idx="48">
                  <c:v>1143.4996</c:v>
                </c:pt>
                <c:pt idx="49">
                  <c:v>1165.05</c:v>
                </c:pt>
                <c:pt idx="50">
                  <c:v>1122.2617</c:v>
                </c:pt>
                <c:pt idx="51">
                  <c:v>1080.1198</c:v>
                </c:pt>
              </c:numCache>
            </c:numRef>
          </c:xVal>
          <c:yVal>
            <c:numRef>
              <c:f>Sheet1!$B$109:$B$160</c:f>
              <c:numCache>
                <c:formatCode>General</c:formatCode>
                <c:ptCount val="52"/>
                <c:pt idx="0">
                  <c:v>0.197400060114217</c:v>
                </c:pt>
                <c:pt idx="1">
                  <c:v>0.20026240458015268</c:v>
                </c:pt>
                <c:pt idx="2">
                  <c:v>0.21562840378061207</c:v>
                </c:pt>
                <c:pt idx="3">
                  <c:v>0.23137071202075526</c:v>
                </c:pt>
                <c:pt idx="4">
                  <c:v>0.21376146788990827</c:v>
                </c:pt>
                <c:pt idx="5">
                  <c:v>0.2198332767530459</c:v>
                </c:pt>
                <c:pt idx="6">
                  <c:v>0.2318436670054756</c:v>
                </c:pt>
                <c:pt idx="7">
                  <c:v>0.2285893360791512</c:v>
                </c:pt>
                <c:pt idx="8">
                  <c:v>0.2144673214018645</c:v>
                </c:pt>
                <c:pt idx="9">
                  <c:v>0.22412922766279655</c:v>
                </c:pt>
                <c:pt idx="10">
                  <c:v>0.22589838357750366</c:v>
                </c:pt>
                <c:pt idx="11">
                  <c:v>0.230069351657441</c:v>
                </c:pt>
                <c:pt idx="12">
                  <c:v>0.23010873640794902</c:v>
                </c:pt>
                <c:pt idx="13">
                  <c:v>0.22671183159932254</c:v>
                </c:pt>
                <c:pt idx="14">
                  <c:v>0.23061955512315924</c:v>
                </c:pt>
                <c:pt idx="15">
                  <c:v>0.22314721783646715</c:v>
                </c:pt>
                <c:pt idx="16">
                  <c:v>0.21933212176283506</c:v>
                </c:pt>
                <c:pt idx="17">
                  <c:v>0.229491423412579</c:v>
                </c:pt>
                <c:pt idx="18">
                  <c:v>0.22677198087715653</c:v>
                </c:pt>
                <c:pt idx="19">
                  <c:v>0.2199635307624772</c:v>
                </c:pt>
                <c:pt idx="20">
                  <c:v>0.20846217663473868</c:v>
                </c:pt>
                <c:pt idx="21">
                  <c:v>0.22308107136437175</c:v>
                </c:pt>
                <c:pt idx="22">
                  <c:v>0.2155111425539441</c:v>
                </c:pt>
                <c:pt idx="23">
                  <c:v>0.2164165277005744</c:v>
                </c:pt>
                <c:pt idx="24">
                  <c:v>0.21474850809889173</c:v>
                </c:pt>
                <c:pt idx="25">
                  <c:v>0.21900752418487998</c:v>
                </c:pt>
                <c:pt idx="26">
                  <c:v>0.2130005803830528</c:v>
                </c:pt>
                <c:pt idx="27">
                  <c:v>0.2161798759991036</c:v>
                </c:pt>
                <c:pt idx="28">
                  <c:v>0.20585253767655606</c:v>
                </c:pt>
                <c:pt idx="29">
                  <c:v>0.20888852778680533</c:v>
                </c:pt>
                <c:pt idx="30">
                  <c:v>0.21288586087980485</c:v>
                </c:pt>
                <c:pt idx="31">
                  <c:v>0.20632922772633283</c:v>
                </c:pt>
                <c:pt idx="32">
                  <c:v>0.20135271709554536</c:v>
                </c:pt>
                <c:pt idx="33">
                  <c:v>0.2141041162227603</c:v>
                </c:pt>
                <c:pt idx="34">
                  <c:v>0.23213490925275704</c:v>
                </c:pt>
                <c:pt idx="35">
                  <c:v>0.22095332671300894</c:v>
                </c:pt>
                <c:pt idx="36">
                  <c:v>0.21491658488714427</c:v>
                </c:pt>
                <c:pt idx="37">
                  <c:v>0.21960922995314297</c:v>
                </c:pt>
                <c:pt idx="38">
                  <c:v>0.22049719956765254</c:v>
                </c:pt>
                <c:pt idx="39">
                  <c:v>0.218610991533936</c:v>
                </c:pt>
                <c:pt idx="40">
                  <c:v>0.20441525778957664</c:v>
                </c:pt>
                <c:pt idx="41">
                  <c:v>0.20590176921045683</c:v>
                </c:pt>
                <c:pt idx="42">
                  <c:v>0.20942212931163207</c:v>
                </c:pt>
                <c:pt idx="43">
                  <c:v>0.19421578311930635</c:v>
                </c:pt>
                <c:pt idx="44">
                  <c:v>0.19482154095118223</c:v>
                </c:pt>
                <c:pt idx="45">
                  <c:v>0.21432315554973136</c:v>
                </c:pt>
                <c:pt idx="46">
                  <c:v>0.23017595535229826</c:v>
                </c:pt>
                <c:pt idx="47">
                  <c:v>0.23071369264647484</c:v>
                </c:pt>
                <c:pt idx="48">
                  <c:v>0.219158374295648</c:v>
                </c:pt>
                <c:pt idx="49">
                  <c:v>0.2252389951089373</c:v>
                </c:pt>
                <c:pt idx="50">
                  <c:v>0.22199045364001954</c:v>
                </c:pt>
                <c:pt idx="51">
                  <c:v>0.2218321744413690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15.3406019614757</c:v>
                </c:pt>
              </c:numCache>
            </c:numRef>
          </c:xVal>
          <c:yVal>
            <c:numRef>
              <c:f>Sheet1!$B$163:$B$164</c:f>
              <c:numCache>
                <c:formatCode>General</c:formatCode>
                <c:ptCount val="2"/>
                <c:pt idx="0">
                  <c:v>0.26508930835188715</c:v>
                </c:pt>
                <c:pt idx="1">
                  <c:v>0.2650893083518871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15.3406019614757</c:v>
                </c:pt>
                <c:pt idx="1">
                  <c:v>715.3406019614757</c:v>
                </c:pt>
              </c:numCache>
            </c:numRef>
          </c:xVal>
          <c:yVal>
            <c:numRef>
              <c:f>Sheet1!$B$167:$B$168</c:f>
              <c:numCache>
                <c:formatCode>General</c:formatCode>
                <c:ptCount val="2"/>
                <c:pt idx="0">
                  <c:v>0.2650893083518871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19.5796287579622</c:v>
                </c:pt>
              </c:numCache>
            </c:numRef>
          </c:xVal>
          <c:yVal>
            <c:numRef>
              <c:f>Sheet1!$B$171:$B$172</c:f>
              <c:numCache>
                <c:formatCode>General</c:formatCode>
                <c:ptCount val="2"/>
                <c:pt idx="0">
                  <c:v>0.22444512374452288</c:v>
                </c:pt>
                <c:pt idx="1">
                  <c:v>0.2244451237445228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19.5796287579622</c:v>
                </c:pt>
                <c:pt idx="1">
                  <c:v>1119.5796287579622</c:v>
                </c:pt>
              </c:numCache>
            </c:numRef>
          </c:xVal>
          <c:yVal>
            <c:numRef>
              <c:f>Sheet1!$B$175:$B$176</c:f>
              <c:numCache>
                <c:formatCode>General</c:formatCode>
                <c:ptCount val="2"/>
                <c:pt idx="0">
                  <c:v>0.2244451237445228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16.7167118581713</c:v>
                </c:pt>
              </c:numCache>
            </c:numRef>
          </c:xVal>
          <c:yVal>
            <c:numRef>
              <c:f>Sheet1!$B$179:$B$180</c:f>
              <c:numCache>
                <c:formatCode>General</c:formatCode>
                <c:ptCount val="2"/>
                <c:pt idx="0">
                  <c:v>0.21467848253465915</c:v>
                </c:pt>
                <c:pt idx="1">
                  <c:v>0.2146784825346591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16.7167118581713</c:v>
                </c:pt>
                <c:pt idx="1">
                  <c:v>1216.7167118581713</c:v>
                </c:pt>
              </c:numCache>
            </c:numRef>
          </c:xVal>
          <c:yVal>
            <c:numRef>
              <c:f>Sheet1!$B$183:$B$184</c:f>
              <c:numCache>
                <c:formatCode>General</c:formatCode>
                <c:ptCount val="2"/>
                <c:pt idx="0">
                  <c:v>0.214678482534659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7.9764</c:v>
                </c:pt>
                <c:pt idx="1">
                  <c:v>1181.183</c:v>
                </c:pt>
                <c:pt idx="2">
                  <c:v>1188.5358</c:v>
                </c:pt>
                <c:pt idx="3">
                  <c:v>1167.6881</c:v>
                </c:pt>
                <c:pt idx="4">
                  <c:v>1194.4699</c:v>
                </c:pt>
                <c:pt idx="5">
                  <c:v>1189.2709</c:v>
                </c:pt>
                <c:pt idx="6">
                  <c:v>1098.8734</c:v>
                </c:pt>
                <c:pt idx="7">
                  <c:v>1135.7131</c:v>
                </c:pt>
                <c:pt idx="8">
                  <c:v>1184.2592</c:v>
                </c:pt>
                <c:pt idx="9">
                  <c:v>1143.1849</c:v>
                </c:pt>
                <c:pt idx="10">
                  <c:v>1162.0828</c:v>
                </c:pt>
                <c:pt idx="11">
                  <c:v>1029.1262</c:v>
                </c:pt>
                <c:pt idx="12">
                  <c:v>1065.5931</c:v>
                </c:pt>
                <c:pt idx="13">
                  <c:v>1131.6266</c:v>
                </c:pt>
                <c:pt idx="14">
                  <c:v>1111.3659</c:v>
                </c:pt>
                <c:pt idx="15">
                  <c:v>1139.3358</c:v>
                </c:pt>
                <c:pt idx="16">
                  <c:v>1174.9249</c:v>
                </c:pt>
                <c:pt idx="17">
                  <c:v>1123.6132</c:v>
                </c:pt>
                <c:pt idx="18">
                  <c:v>1126.9817</c:v>
                </c:pt>
                <c:pt idx="19">
                  <c:v>1231.8824</c:v>
                </c:pt>
                <c:pt idx="20">
                  <c:v>1239.5141</c:v>
                </c:pt>
                <c:pt idx="21">
                  <c:v>1157.2583</c:v>
                </c:pt>
                <c:pt idx="22">
                  <c:v>1193.3061</c:v>
                </c:pt>
                <c:pt idx="23">
                  <c:v>1216.2924</c:v>
                </c:pt>
                <c:pt idx="24">
                  <c:v>1225.705</c:v>
                </c:pt>
                <c:pt idx="25">
                  <c:v>1180.2106</c:v>
                </c:pt>
                <c:pt idx="26">
                  <c:v>1182.9681</c:v>
                </c:pt>
                <c:pt idx="27">
                  <c:v>1178.6949</c:v>
                </c:pt>
                <c:pt idx="28">
                  <c:v>1216.045</c:v>
                </c:pt>
                <c:pt idx="29">
                  <c:v>1228.6814</c:v>
                </c:pt>
                <c:pt idx="30">
                  <c:v>1214.2375</c:v>
                </c:pt>
                <c:pt idx="31">
                  <c:v>1200.732</c:v>
                </c:pt>
                <c:pt idx="32">
                  <c:v>1219.9822</c:v>
                </c:pt>
                <c:pt idx="33">
                  <c:v>1218.2559</c:v>
                </c:pt>
                <c:pt idx="34">
                  <c:v>1230.6016</c:v>
                </c:pt>
                <c:pt idx="35">
                  <c:v>1260.6205</c:v>
                </c:pt>
                <c:pt idx="36">
                  <c:v>1294.8406</c:v>
                </c:pt>
                <c:pt idx="37">
                  <c:v>1262.0229</c:v>
                </c:pt>
                <c:pt idx="38">
                  <c:v>1284.5709</c:v>
                </c:pt>
                <c:pt idx="39">
                  <c:v>1229.5002</c:v>
                </c:pt>
                <c:pt idx="40">
                  <c:v>1263.8093</c:v>
                </c:pt>
                <c:pt idx="41">
                  <c:v>1296.2898</c:v>
                </c:pt>
                <c:pt idx="42">
                  <c:v>1286.5462</c:v>
                </c:pt>
                <c:pt idx="43">
                  <c:v>1308.1139</c:v>
                </c:pt>
                <c:pt idx="44">
                  <c:v>1226.2374</c:v>
                </c:pt>
                <c:pt idx="45">
                  <c:v>1174.8825</c:v>
                </c:pt>
                <c:pt idx="46">
                  <c:v>1167.5306</c:v>
                </c:pt>
                <c:pt idx="47">
                  <c:v>1142.6692</c:v>
                </c:pt>
                <c:pt idx="48">
                  <c:v>1143.4996</c:v>
                </c:pt>
                <c:pt idx="49">
                  <c:v>1165.05</c:v>
                </c:pt>
                <c:pt idx="50">
                  <c:v>1122.2617</c:v>
                </c:pt>
                <c:pt idx="51">
                  <c:v>1080.1198</c:v>
                </c:pt>
                <c:pt idx="52">
                  <c:v>1119.5796287579622</c:v>
                </c:pt>
                <c:pt idx="53">
                  <c:v>715.3406019614757</c:v>
                </c:pt>
                <c:pt idx="54">
                  <c:v>1216.7167118581713</c:v>
                </c:pt>
              </c:numCache>
            </c:numRef>
          </c:xVal>
          <c:yVal>
            <c:numRef>
              <c:f>Sheet1!$B$187:$B$241</c:f>
              <c:numCache>
                <c:formatCode>General</c:formatCode>
                <c:ptCount val="55"/>
                <c:pt idx="0">
                  <c:v>0.21857362447428955</c:v>
                </c:pt>
                <c:pt idx="1">
                  <c:v>0.21825121710210976</c:v>
                </c:pt>
                <c:pt idx="2">
                  <c:v>0.2175119303416271</c:v>
                </c:pt>
                <c:pt idx="3">
                  <c:v>0.21960806087645926</c:v>
                </c:pt>
                <c:pt idx="4">
                  <c:v>0.216915286673177</c:v>
                </c:pt>
                <c:pt idx="5">
                  <c:v>0.21743801976366622</c:v>
                </c:pt>
                <c:pt idx="6">
                  <c:v>0.22652703006324315</c:v>
                </c:pt>
                <c:pt idx="7">
                  <c:v>0.22282298500963743</c:v>
                </c:pt>
                <c:pt idx="8">
                  <c:v>0.21794192078878738</c:v>
                </c:pt>
                <c:pt idx="9">
                  <c:v>0.22207173340249808</c:v>
                </c:pt>
                <c:pt idx="10">
                  <c:v>0.22017164537196213</c:v>
                </c:pt>
                <c:pt idx="11">
                  <c:v>0.23353975739714786</c:v>
                </c:pt>
                <c:pt idx="12">
                  <c:v>0.22987319549340446</c:v>
                </c:pt>
                <c:pt idx="13">
                  <c:v>0.22323386186562594</c:v>
                </c:pt>
                <c:pt idx="14">
                  <c:v>0.22527097252661366</c:v>
                </c:pt>
                <c:pt idx="15">
                  <c:v>0.22245874089213108</c:v>
                </c:pt>
                <c:pt idx="16">
                  <c:v>0.21888043732784368</c:v>
                </c:pt>
                <c:pt idx="17">
                  <c:v>0.22403956860679275</c:v>
                </c:pt>
                <c:pt idx="18">
                  <c:v>0.22370088301046404</c:v>
                </c:pt>
                <c:pt idx="19">
                  <c:v>0.21315364948373128</c:v>
                </c:pt>
                <c:pt idx="20">
                  <c:v>0.2123863207423028</c:v>
                </c:pt>
                <c:pt idx="21">
                  <c:v>0.2206567243862082</c:v>
                </c:pt>
                <c:pt idx="22">
                  <c:v>0.217032300862581</c:v>
                </c:pt>
                <c:pt idx="23">
                  <c:v>0.21472114494068972</c:v>
                </c:pt>
                <c:pt idx="24">
                  <c:v>0.2137747557336232</c:v>
                </c:pt>
                <c:pt idx="25">
                  <c:v>0.21834898699193311</c:v>
                </c:pt>
                <c:pt idx="26">
                  <c:v>0.21807173434776617</c:v>
                </c:pt>
                <c:pt idx="27">
                  <c:v>0.2185013829421648</c:v>
                </c:pt>
                <c:pt idx="28">
                  <c:v>0.2147460197563441</c:v>
                </c:pt>
                <c:pt idx="29">
                  <c:v>0.2134754938043037</c:v>
                </c:pt>
                <c:pt idx="30">
                  <c:v>0.2149277547171172</c:v>
                </c:pt>
                <c:pt idx="31">
                  <c:v>0.21628566426772353</c:v>
                </c:pt>
                <c:pt idx="32">
                  <c:v>0.21435015425838794</c:v>
                </c:pt>
                <c:pt idx="33">
                  <c:v>0.2145237249708541</c:v>
                </c:pt>
                <c:pt idx="34">
                  <c:v>0.2132824274299322</c:v>
                </c:pt>
                <c:pt idx="35">
                  <c:v>0.21026417923410853</c:v>
                </c:pt>
                <c:pt idx="36">
                  <c:v>0.2068235216788382</c:v>
                </c:pt>
                <c:pt idx="37">
                  <c:v>0.2101231750244332</c:v>
                </c:pt>
                <c:pt idx="38">
                  <c:v>0.207856087945312</c:v>
                </c:pt>
                <c:pt idx="39">
                  <c:v>0.21339316761571114</c:v>
                </c:pt>
                <c:pt idx="40">
                  <c:v>0.20994356156168076</c:v>
                </c:pt>
                <c:pt idx="41">
                  <c:v>0.20667781196644405</c:v>
                </c:pt>
                <c:pt idx="42">
                  <c:v>0.20765748154530364</c:v>
                </c:pt>
                <c:pt idx="43">
                  <c:v>0.2054889586609519</c:v>
                </c:pt>
                <c:pt idx="44">
                  <c:v>0.21372122561295068</c:v>
                </c:pt>
                <c:pt idx="45">
                  <c:v>0.21888470043287095</c:v>
                </c:pt>
                <c:pt idx="46">
                  <c:v>0.21962389670291665</c:v>
                </c:pt>
                <c:pt idx="47">
                  <c:v>0.22212358442284147</c:v>
                </c:pt>
                <c:pt idx="48">
                  <c:v>0.22204009191306223</c:v>
                </c:pt>
                <c:pt idx="49">
                  <c:v>0.21987330845599756</c:v>
                </c:pt>
                <c:pt idx="50">
                  <c:v>0.2241754550795368</c:v>
                </c:pt>
                <c:pt idx="51">
                  <c:v>0.2284126094603962</c:v>
                </c:pt>
                <c:pt idx="52">
                  <c:v>0.2244451237445229</c:v>
                </c:pt>
                <c:pt idx="53">
                  <c:v>0.26508930835188715</c:v>
                </c:pt>
                <c:pt idx="54">
                  <c:v>0.214678482534659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0.0"/>
          <c:min val="57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1136536222346"/>
          <c:min val="0.133683289588801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1133325999744317</c:v>
                </c:pt>
                <c:pt idx="1">
                  <c:v>2.319048788673866</c:v>
                </c:pt>
                <c:pt idx="2">
                  <c:v>2.3886812326693603</c:v>
                </c:pt>
                <c:pt idx="3">
                  <c:v>2.4085751473894477</c:v>
                </c:pt>
                <c:pt idx="4">
                  <c:v>2.4265418392941487</c:v>
                </c:pt>
                <c:pt idx="5">
                  <c:v>1.9871794700832817</c:v>
                </c:pt>
                <c:pt idx="6">
                  <c:v>1.7251138553821748</c:v>
                </c:pt>
                <c:pt idx="7">
                  <c:v>1.7472182732070458</c:v>
                </c:pt>
                <c:pt idx="8">
                  <c:v>1.7692312275662558</c:v>
                </c:pt>
                <c:pt idx="9">
                  <c:v>1.8429032989828604</c:v>
                </c:pt>
                <c:pt idx="10">
                  <c:v>1.7606833705763958</c:v>
                </c:pt>
                <c:pt idx="11">
                  <c:v>1.8359924276975812</c:v>
                </c:pt>
                <c:pt idx="12">
                  <c:v>1.840415261221699</c:v>
                </c:pt>
                <c:pt idx="13">
                  <c:v>1.834989348541392</c:v>
                </c:pt>
                <c:pt idx="14">
                  <c:v>1.8754696050833009</c:v>
                </c:pt>
                <c:pt idx="15">
                  <c:v>1.9202124345445364</c:v>
                </c:pt>
                <c:pt idx="16">
                  <c:v>1.9270392984774516</c:v>
                </c:pt>
                <c:pt idx="17">
                  <c:v>2.2222903426974483</c:v>
                </c:pt>
                <c:pt idx="18">
                  <c:v>2.7021838962560545</c:v>
                </c:pt>
                <c:pt idx="19">
                  <c:v>2.6389232734480563</c:v>
                </c:pt>
                <c:pt idx="20">
                  <c:v>2.652788010089406</c:v>
                </c:pt>
                <c:pt idx="21">
                  <c:v>2.7019723187544327</c:v>
                </c:pt>
                <c:pt idx="22">
                  <c:v>2.7157542626725317</c:v>
                </c:pt>
                <c:pt idx="23">
                  <c:v>2.9227630133990425</c:v>
                </c:pt>
                <c:pt idx="24">
                  <c:v>2.8187416554519857</c:v>
                </c:pt>
                <c:pt idx="25">
                  <c:v>2.774222743585859</c:v>
                </c:pt>
                <c:pt idx="26">
                  <c:v>2.1544261570001417</c:v>
                </c:pt>
                <c:pt idx="27">
                  <c:v>2.086062778414791</c:v>
                </c:pt>
                <c:pt idx="28">
                  <c:v>2.019463670562755</c:v>
                </c:pt>
                <c:pt idx="29">
                  <c:v>1.9885321351430387</c:v>
                </c:pt>
                <c:pt idx="30">
                  <c:v>1.9698894676920062</c:v>
                </c:pt>
                <c:pt idx="31">
                  <c:v>1.8888174543789895</c:v>
                </c:pt>
                <c:pt idx="32">
                  <c:v>1.8362355261892405</c:v>
                </c:pt>
                <c:pt idx="33">
                  <c:v>1.7440779062928455</c:v>
                </c:pt>
                <c:pt idx="34">
                  <c:v>1.8276266496829063</c:v>
                </c:pt>
                <c:pt idx="35">
                  <c:v>1.9162688394908163</c:v>
                </c:pt>
                <c:pt idx="36">
                  <c:v>2.062094327472559</c:v>
                </c:pt>
                <c:pt idx="37">
                  <c:v>2.104413529434142</c:v>
                </c:pt>
                <c:pt idx="38">
                  <c:v>2.2232027493771365</c:v>
                </c:pt>
                <c:pt idx="39">
                  <c:v>2.252303173942574</c:v>
                </c:pt>
                <c:pt idx="40">
                  <c:v>2.2203842448990034</c:v>
                </c:pt>
                <c:pt idx="41">
                  <c:v>2.2712589493700204</c:v>
                </c:pt>
                <c:pt idx="42">
                  <c:v>2.3131201440773643</c:v>
                </c:pt>
                <c:pt idx="43">
                  <c:v>2.3238045029404546</c:v>
                </c:pt>
                <c:pt idx="44">
                  <c:v>2.2067142167162657</c:v>
                </c:pt>
                <c:pt idx="45">
                  <c:v>2.1494296179839583</c:v>
                </c:pt>
                <c:pt idx="46">
                  <c:v>2.178485713010779</c:v>
                </c:pt>
                <c:pt idx="47">
                  <c:v>2.1531476651043446</c:v>
                </c:pt>
                <c:pt idx="48">
                  <c:v>2.1446887957688943</c:v>
                </c:pt>
                <c:pt idx="49">
                  <c:v>2.081932761747308</c:v>
                </c:pt>
                <c:pt idx="50">
                  <c:v>2.0564335911929748</c:v>
                </c:pt>
                <c:pt idx="51">
                  <c:v>2.1025778861350233</c:v>
                </c:pt>
                <c:pt idx="52">
                  <c:v>2.115275869925572</c:v>
                </c:pt>
                <c:pt idx="53">
                  <c:v>2.228353633122225</c:v>
                </c:pt>
                <c:pt idx="54">
                  <c:v>2.3055588113414074</c:v>
                </c:pt>
                <c:pt idx="55">
                  <c:v>2.3492564734246058</c:v>
                </c:pt>
                <c:pt idx="56">
                  <c:v>2.3826473528414773</c:v>
                </c:pt>
                <c:pt idx="57">
                  <c:v>2.3127674288354907</c:v>
                </c:pt>
                <c:pt idx="58">
                  <c:v>2.2551578704464244</c:v>
                </c:pt>
                <c:pt idx="59">
                  <c:v>2.326770220051313</c:v>
                </c:pt>
                <c:pt idx="60">
                  <c:v>2.3666843041886105</c:v>
                </c:pt>
                <c:pt idx="61">
                  <c:v>2.3177127128990476</c:v>
                </c:pt>
                <c:pt idx="62">
                  <c:v>2.250881343682002</c:v>
                </c:pt>
                <c:pt idx="63">
                  <c:v>2.3315273625201685</c:v>
                </c:pt>
                <c:pt idx="64">
                  <c:v>2.2963716366218736</c:v>
                </c:pt>
                <c:pt idx="65">
                  <c:v>2.2677292909962308</c:v>
                </c:pt>
                <c:pt idx="66">
                  <c:v>2.274809832628595</c:v>
                </c:pt>
                <c:pt idx="67">
                  <c:v>2.3323897540292498</c:v>
                </c:pt>
                <c:pt idx="68">
                  <c:v>2.343305909708339</c:v>
                </c:pt>
                <c:pt idx="69">
                  <c:v>2.3844875959287877</c:v>
                </c:pt>
                <c:pt idx="70">
                  <c:v>2.355129921103603</c:v>
                </c:pt>
                <c:pt idx="71">
                  <c:v>2.4875580059787277</c:v>
                </c:pt>
                <c:pt idx="72">
                  <c:v>2.682471982282032</c:v>
                </c:pt>
                <c:pt idx="73">
                  <c:v>2.6127184951587354</c:v>
                </c:pt>
                <c:pt idx="74">
                  <c:v>2.5970752984640675</c:v>
                </c:pt>
                <c:pt idx="75">
                  <c:v>2.550566593493286</c:v>
                </c:pt>
                <c:pt idx="76">
                  <c:v>2.626482284855263</c:v>
                </c:pt>
                <c:pt idx="77">
                  <c:v>2.7433669002523104</c:v>
                </c:pt>
                <c:pt idx="78">
                  <c:v>2.8013677417040737</c:v>
                </c:pt>
                <c:pt idx="79">
                  <c:v>2.8473038474992087</c:v>
                </c:pt>
                <c:pt idx="80">
                  <c:v>2.76720206888789</c:v>
                </c:pt>
                <c:pt idx="81">
                  <c:v>2.690480352217147</c:v>
                </c:pt>
                <c:pt idx="82">
                  <c:v>2.6794319613908457</c:v>
                </c:pt>
                <c:pt idx="83">
                  <c:v>2.5860269675865672</c:v>
                </c:pt>
                <c:pt idx="84">
                  <c:v>2.6542898164835678</c:v>
                </c:pt>
                <c:pt idx="85">
                  <c:v>2.5287735371394913</c:v>
                </c:pt>
                <c:pt idx="86">
                  <c:v>2.5121665357615472</c:v>
                </c:pt>
                <c:pt idx="87">
                  <c:v>2.519053011960706</c:v>
                </c:pt>
                <c:pt idx="88">
                  <c:v>2.5929980010307525</c:v>
                </c:pt>
                <c:pt idx="89">
                  <c:v>2.564787440456592</c:v>
                </c:pt>
                <c:pt idx="90">
                  <c:v>2.718896451126752</c:v>
                </c:pt>
                <c:pt idx="91">
                  <c:v>2.7352215018018224</c:v>
                </c:pt>
                <c:pt idx="92">
                  <c:v>2.539591987699396</c:v>
                </c:pt>
                <c:pt idx="93">
                  <c:v>2.320901285392118</c:v>
                </c:pt>
                <c:pt idx="94">
                  <c:v>2.1690795480924794</c:v>
                </c:pt>
                <c:pt idx="95">
                  <c:v>2.1020366179798393</c:v>
                </c:pt>
                <c:pt idx="96">
                  <c:v>2.0198408800359506</c:v>
                </c:pt>
                <c:pt idx="97">
                  <c:v>2.0085141379646654</c:v>
                </c:pt>
                <c:pt idx="98">
                  <c:v>2.0661961552321637</c:v>
                </c:pt>
                <c:pt idx="99">
                  <c:v>2.2574809588371045</c:v>
                </c:pt>
                <c:pt idx="100">
                  <c:v>1.9802767473998109</c:v>
                </c:pt>
                <c:pt idx="101">
                  <c:v>1.8182141201889863</c:v>
                </c:pt>
                <c:pt idx="102">
                  <c:v>1.8151604153594905</c:v>
                </c:pt>
                <c:pt idx="103">
                  <c:v>1.7985252393822844</c:v>
                </c:pt>
                <c:pt idx="104">
                  <c:v>1.8602345952746677</c:v>
                </c:pt>
              </c:numCache>
            </c:numRef>
          </c:xVal>
          <c:yVal>
            <c:numRef>
              <c:f>Sheet1!$B$2:$B$106</c:f>
              <c:numCache>
                <c:formatCode>General</c:formatCode>
                <c:ptCount val="105"/>
                <c:pt idx="0">
                  <c:v>0.2517147485609899</c:v>
                </c:pt>
                <c:pt idx="1">
                  <c:v>0.24949245136761286</c:v>
                </c:pt>
                <c:pt idx="2">
                  <c:v>0.251412919108214</c:v>
                </c:pt>
                <c:pt idx="3">
                  <c:v>0.25002788829807016</c:v>
                </c:pt>
                <c:pt idx="4">
                  <c:v>0.254451136413593</c:v>
                </c:pt>
                <c:pt idx="5">
                  <c:v>0.26060360725048354</c:v>
                </c:pt>
                <c:pt idx="6">
                  <c:v>0.28730684801790557</c:v>
                </c:pt>
                <c:pt idx="7">
                  <c:v>0.29261378018528833</c:v>
                </c:pt>
                <c:pt idx="8">
                  <c:v>0.2881803959648271</c:v>
                </c:pt>
                <c:pt idx="9">
                  <c:v>0.2713295379729677</c:v>
                </c:pt>
                <c:pt idx="10">
                  <c:v>0.2682604426316187</c:v>
                </c:pt>
                <c:pt idx="11">
                  <c:v>0.2434226026859342</c:v>
                </c:pt>
                <c:pt idx="12">
                  <c:v>0.23166263647688137</c:v>
                </c:pt>
                <c:pt idx="13">
                  <c:v>0.21943166641935005</c:v>
                </c:pt>
                <c:pt idx="14">
                  <c:v>0.20819935691318328</c:v>
                </c:pt>
                <c:pt idx="15">
                  <c:v>0.20032310177705978</c:v>
                </c:pt>
                <c:pt idx="16">
                  <c:v>0.19135243841126193</c:v>
                </c:pt>
                <c:pt idx="17">
                  <c:v>0.1893611187277214</c:v>
                </c:pt>
                <c:pt idx="18">
                  <c:v>0.17375971309025703</c:v>
                </c:pt>
                <c:pt idx="19">
                  <c:v>0.17545871559633028</c:v>
                </c:pt>
                <c:pt idx="20">
                  <c:v>0.17418820606849234</c:v>
                </c:pt>
                <c:pt idx="21">
                  <c:v>0.18670115642118076</c:v>
                </c:pt>
                <c:pt idx="22">
                  <c:v>0.20886535113174695</c:v>
                </c:pt>
                <c:pt idx="23">
                  <c:v>0.21620595382746052</c:v>
                </c:pt>
                <c:pt idx="24">
                  <c:v>0.21956720941707197</c:v>
                </c:pt>
                <c:pt idx="25">
                  <c:v>0.2278839922229423</c:v>
                </c:pt>
                <c:pt idx="26">
                  <c:v>0.248124210682713</c:v>
                </c:pt>
                <c:pt idx="27">
                  <c:v>0.2370037132247929</c:v>
                </c:pt>
                <c:pt idx="28">
                  <c:v>0.2444784605291931</c:v>
                </c:pt>
                <c:pt idx="29">
                  <c:v>0.23986167871738448</c:v>
                </c:pt>
                <c:pt idx="30">
                  <c:v>0.24341403364792777</c:v>
                </c:pt>
                <c:pt idx="31">
                  <c:v>0.25345477386934673</c:v>
                </c:pt>
                <c:pt idx="32">
                  <c:v>0.25874818937256994</c:v>
                </c:pt>
                <c:pt idx="33">
                  <c:v>0.25585032437442073</c:v>
                </c:pt>
                <c:pt idx="34">
                  <c:v>0.250102396067991</c:v>
                </c:pt>
                <c:pt idx="35">
                  <c:v>0.2557345971563981</c:v>
                </c:pt>
                <c:pt idx="36">
                  <c:v>0.23196812562254643</c:v>
                </c:pt>
                <c:pt idx="37">
                  <c:v>0.22798857066914746</c:v>
                </c:pt>
                <c:pt idx="38">
                  <c:v>0.21615913890592003</c:v>
                </c:pt>
                <c:pt idx="39">
                  <c:v>0.2071938378913151</c:v>
                </c:pt>
                <c:pt idx="40">
                  <c:v>0.21045714285714287</c:v>
                </c:pt>
                <c:pt idx="41">
                  <c:v>0.2072407910532634</c:v>
                </c:pt>
                <c:pt idx="42">
                  <c:v>0.20224290924927868</c:v>
                </c:pt>
                <c:pt idx="43">
                  <c:v>0.1946233411397346</c:v>
                </c:pt>
                <c:pt idx="44">
                  <c:v>0.19609193962547755</c:v>
                </c:pt>
                <c:pt idx="45">
                  <c:v>0.21453432886094426</c:v>
                </c:pt>
                <c:pt idx="46">
                  <c:v>0.21987389386518008</c:v>
                </c:pt>
                <c:pt idx="47">
                  <c:v>0.21423830069697974</c:v>
                </c:pt>
                <c:pt idx="48">
                  <c:v>0.21207664255636371</c:v>
                </c:pt>
                <c:pt idx="49">
                  <c:v>0.2241240064043527</c:v>
                </c:pt>
                <c:pt idx="50">
                  <c:v>0.21729131175468483</c:v>
                </c:pt>
                <c:pt idx="51">
                  <c:v>0.2069052783803326</c:v>
                </c:pt>
                <c:pt idx="52">
                  <c:v>0.20980577491843766</c:v>
                </c:pt>
                <c:pt idx="53">
                  <c:v>0.20395344540920007</c:v>
                </c:pt>
                <c:pt idx="54">
                  <c:v>0.20795081967213114</c:v>
                </c:pt>
                <c:pt idx="55">
                  <c:v>0.2052563079894202</c:v>
                </c:pt>
                <c:pt idx="56">
                  <c:v>0.20678541875353862</c:v>
                </c:pt>
                <c:pt idx="57">
                  <c:v>0.20438625444676717</c:v>
                </c:pt>
                <c:pt idx="58">
                  <c:v>0.21921198969211989</c:v>
                </c:pt>
                <c:pt idx="59">
                  <c:v>0.21826577276561737</c:v>
                </c:pt>
                <c:pt idx="60">
                  <c:v>0.22469086656880552</c:v>
                </c:pt>
                <c:pt idx="61">
                  <c:v>0.2215318067904837</c:v>
                </c:pt>
                <c:pt idx="62">
                  <c:v>0.23122205423488917</c:v>
                </c:pt>
                <c:pt idx="63">
                  <c:v>0.23903751307726798</c:v>
                </c:pt>
                <c:pt idx="64">
                  <c:v>0.22433045579093133</c:v>
                </c:pt>
                <c:pt idx="65">
                  <c:v>0.2142171910974674</c:v>
                </c:pt>
                <c:pt idx="66">
                  <c:v>0.21597421203438397</c:v>
                </c:pt>
                <c:pt idx="67">
                  <c:v>0.20335110434120335</c:v>
                </c:pt>
                <c:pt idx="68">
                  <c:v>0.19194123819517314</c:v>
                </c:pt>
                <c:pt idx="69">
                  <c:v>0.186231725943705</c:v>
                </c:pt>
                <c:pt idx="70">
                  <c:v>0.18707821082919174</c:v>
                </c:pt>
                <c:pt idx="71">
                  <c:v>0.18971229293809938</c:v>
                </c:pt>
                <c:pt idx="72">
                  <c:v>0.1793250095414645</c:v>
                </c:pt>
                <c:pt idx="73">
                  <c:v>0.18501574475669894</c:v>
                </c:pt>
                <c:pt idx="74">
                  <c:v>0.18769759831382773</c:v>
                </c:pt>
                <c:pt idx="75">
                  <c:v>0.19967866323907454</c:v>
                </c:pt>
                <c:pt idx="76">
                  <c:v>0.20348151744226367</c:v>
                </c:pt>
                <c:pt idx="77">
                  <c:v>0.19437803376077664</c:v>
                </c:pt>
                <c:pt idx="78">
                  <c:v>0.19729144963538744</c:v>
                </c:pt>
                <c:pt idx="79">
                  <c:v>0.17318884206301424</c:v>
                </c:pt>
                <c:pt idx="80">
                  <c:v>0.16710411198600175</c:v>
                </c:pt>
                <c:pt idx="81">
                  <c:v>0.1803864168618267</c:v>
                </c:pt>
                <c:pt idx="82">
                  <c:v>0.17975474141214107</c:v>
                </c:pt>
                <c:pt idx="83">
                  <c:v>0.18402356610639403</c:v>
                </c:pt>
                <c:pt idx="84">
                  <c:v>0.18698972873321043</c:v>
                </c:pt>
                <c:pt idx="85">
                  <c:v>0.19571842145360355</c:v>
                </c:pt>
                <c:pt idx="86">
                  <c:v>0.207593915648767</c:v>
                </c:pt>
                <c:pt idx="87">
                  <c:v>0.2173268956435861</c:v>
                </c:pt>
                <c:pt idx="88">
                  <c:v>0.20523153057617533</c:v>
                </c:pt>
                <c:pt idx="89">
                  <c:v>0.20932949147262675</c:v>
                </c:pt>
                <c:pt idx="90">
                  <c:v>0.19498162058494486</c:v>
                </c:pt>
                <c:pt idx="91">
                  <c:v>0.1831610044313146</c:v>
                </c:pt>
                <c:pt idx="92">
                  <c:v>0.19462962962962962</c:v>
                </c:pt>
                <c:pt idx="93">
                  <c:v>0.18998903909389842</c:v>
                </c:pt>
                <c:pt idx="94">
                  <c:v>0.19740048740861088</c:v>
                </c:pt>
                <c:pt idx="95">
                  <c:v>0.19975149105367793</c:v>
                </c:pt>
                <c:pt idx="96">
                  <c:v>0.19698046782437967</c:v>
                </c:pt>
                <c:pt idx="97">
                  <c:v>0.202424676759533</c:v>
                </c:pt>
                <c:pt idx="98">
                  <c:v>0.2040774352777849</c:v>
                </c:pt>
                <c:pt idx="99">
                  <c:v>0.20725569996936677</c:v>
                </c:pt>
                <c:pt idx="100">
                  <c:v>0.208160385871081</c:v>
                </c:pt>
                <c:pt idx="101">
                  <c:v>0.21458165496604903</c:v>
                </c:pt>
                <c:pt idx="102">
                  <c:v>0.20686988726547556</c:v>
                </c:pt>
                <c:pt idx="103">
                  <c:v>0.201168762174606</c:v>
                </c:pt>
                <c:pt idx="104">
                  <c:v>0.1981691812171554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8505117835819243</c:v>
                </c:pt>
                <c:pt idx="1">
                  <c:v>1.840614972462059</c:v>
                </c:pt>
                <c:pt idx="2">
                  <c:v>1.811935454659377</c:v>
                </c:pt>
                <c:pt idx="3">
                  <c:v>1.7897931853508602</c:v>
                </c:pt>
                <c:pt idx="4">
                  <c:v>1.8146573621797948</c:v>
                </c:pt>
                <c:pt idx="5">
                  <c:v>1.763783520196431</c:v>
                </c:pt>
                <c:pt idx="6">
                  <c:v>1.7460763178873315</c:v>
                </c:pt>
                <c:pt idx="7">
                  <c:v>1.7035940965752858</c:v>
                </c:pt>
                <c:pt idx="8">
                  <c:v>1.782320630406086</c:v>
                </c:pt>
                <c:pt idx="9">
                  <c:v>1.7824706848148864</c:v>
                </c:pt>
                <c:pt idx="10">
                  <c:v>1.7585977498816587</c:v>
                </c:pt>
                <c:pt idx="11">
                  <c:v>1.8173926280477766</c:v>
                </c:pt>
                <c:pt idx="12">
                  <c:v>1.8189394196733162</c:v>
                </c:pt>
                <c:pt idx="13">
                  <c:v>1.7763853981287485</c:v>
                </c:pt>
                <c:pt idx="14">
                  <c:v>1.735761485247683</c:v>
                </c:pt>
                <c:pt idx="15">
                  <c:v>1.8539245159290445</c:v>
                </c:pt>
                <c:pt idx="16">
                  <c:v>1.807178355910151</c:v>
                </c:pt>
                <c:pt idx="17">
                  <c:v>1.8264538147988487</c:v>
                </c:pt>
                <c:pt idx="18">
                  <c:v>1.7678313470921054</c:v>
                </c:pt>
                <c:pt idx="19">
                  <c:v>1.9100260824075077</c:v>
                </c:pt>
                <c:pt idx="20">
                  <c:v>1.857479518130787</c:v>
                </c:pt>
                <c:pt idx="21">
                  <c:v>1.765034524117466</c:v>
                </c:pt>
                <c:pt idx="22">
                  <c:v>1.7878493090304133</c:v>
                </c:pt>
                <c:pt idx="23">
                  <c:v>1.8026212942139985</c:v>
                </c:pt>
                <c:pt idx="24">
                  <c:v>1.8150385929206527</c:v>
                </c:pt>
                <c:pt idx="25">
                  <c:v>1.8195994789473677</c:v>
                </c:pt>
                <c:pt idx="26">
                  <c:v>1.7697046518158064</c:v>
                </c:pt>
                <c:pt idx="27">
                  <c:v>1.7365468600807445</c:v>
                </c:pt>
                <c:pt idx="28">
                  <c:v>1.798276616762394</c:v>
                </c:pt>
                <c:pt idx="29">
                  <c:v>1.8380707967911438</c:v>
                </c:pt>
                <c:pt idx="30">
                  <c:v>1.8037286801680197</c:v>
                </c:pt>
                <c:pt idx="31">
                  <c:v>1.7441857424786444</c:v>
                </c:pt>
                <c:pt idx="32">
                  <c:v>1.7559691227035872</c:v>
                </c:pt>
                <c:pt idx="33">
                  <c:v>1.7330552966081503</c:v>
                </c:pt>
                <c:pt idx="34">
                  <c:v>1.7735579087666624</c:v>
                </c:pt>
                <c:pt idx="35">
                  <c:v>1.7413831186385331</c:v>
                </c:pt>
                <c:pt idx="36">
                  <c:v>1.8062033075584056</c:v>
                </c:pt>
                <c:pt idx="37">
                  <c:v>1.8166515113848865</c:v>
                </c:pt>
                <c:pt idx="38">
                  <c:v>1.8228649143627158</c:v>
                </c:pt>
                <c:pt idx="39">
                  <c:v>1.8340295285418655</c:v>
                </c:pt>
                <c:pt idx="40">
                  <c:v>1.8020432036607528</c:v>
                </c:pt>
                <c:pt idx="41">
                  <c:v>1.8368796125163862</c:v>
                </c:pt>
                <c:pt idx="42">
                  <c:v>1.8507416438742794</c:v>
                </c:pt>
                <c:pt idx="43">
                  <c:v>1.8993734791270789</c:v>
                </c:pt>
                <c:pt idx="44">
                  <c:v>1.8063483355940233</c:v>
                </c:pt>
                <c:pt idx="45">
                  <c:v>1.802205568006931</c:v>
                </c:pt>
                <c:pt idx="46">
                  <c:v>1.772279243169314</c:v>
                </c:pt>
                <c:pt idx="47">
                  <c:v>1.7934775426293965</c:v>
                </c:pt>
                <c:pt idx="48">
                  <c:v>1.7699454033178403</c:v>
                </c:pt>
                <c:pt idx="49">
                  <c:v>1.8346267553002689</c:v>
                </c:pt>
                <c:pt idx="50">
                  <c:v>1.8046230672563826</c:v>
                </c:pt>
                <c:pt idx="51">
                  <c:v>1.7955306883666837</c:v>
                </c:pt>
              </c:numCache>
            </c:numRef>
          </c:xVal>
          <c:yVal>
            <c:numRef>
              <c:f>Sheet1!$B$109:$B$160</c:f>
              <c:numCache>
                <c:formatCode>General</c:formatCode>
                <c:ptCount val="52"/>
                <c:pt idx="0">
                  <c:v>0.197400060114217</c:v>
                </c:pt>
                <c:pt idx="1">
                  <c:v>0.20026240458015268</c:v>
                </c:pt>
                <c:pt idx="2">
                  <c:v>0.21562840378061207</c:v>
                </c:pt>
                <c:pt idx="3">
                  <c:v>0.23137071202075526</c:v>
                </c:pt>
                <c:pt idx="4">
                  <c:v>0.21376146788990827</c:v>
                </c:pt>
                <c:pt idx="5">
                  <c:v>0.2198332767530459</c:v>
                </c:pt>
                <c:pt idx="6">
                  <c:v>0.2318436670054756</c:v>
                </c:pt>
                <c:pt idx="7">
                  <c:v>0.2285893360791512</c:v>
                </c:pt>
                <c:pt idx="8">
                  <c:v>0.2144673214018645</c:v>
                </c:pt>
                <c:pt idx="9">
                  <c:v>0.22412922766279655</c:v>
                </c:pt>
                <c:pt idx="10">
                  <c:v>0.22589838357750366</c:v>
                </c:pt>
                <c:pt idx="11">
                  <c:v>0.230069351657441</c:v>
                </c:pt>
                <c:pt idx="12">
                  <c:v>0.23010873640794902</c:v>
                </c:pt>
                <c:pt idx="13">
                  <c:v>0.22671183159932254</c:v>
                </c:pt>
                <c:pt idx="14">
                  <c:v>0.23061955512315924</c:v>
                </c:pt>
                <c:pt idx="15">
                  <c:v>0.22314721783646715</c:v>
                </c:pt>
                <c:pt idx="16">
                  <c:v>0.21933212176283506</c:v>
                </c:pt>
                <c:pt idx="17">
                  <c:v>0.229491423412579</c:v>
                </c:pt>
                <c:pt idx="18">
                  <c:v>0.22677198087715653</c:v>
                </c:pt>
                <c:pt idx="19">
                  <c:v>0.2199635307624772</c:v>
                </c:pt>
                <c:pt idx="20">
                  <c:v>0.20846217663473868</c:v>
                </c:pt>
                <c:pt idx="21">
                  <c:v>0.22308107136437175</c:v>
                </c:pt>
                <c:pt idx="22">
                  <c:v>0.2155111425539441</c:v>
                </c:pt>
                <c:pt idx="23">
                  <c:v>0.2164165277005744</c:v>
                </c:pt>
                <c:pt idx="24">
                  <c:v>0.21474850809889173</c:v>
                </c:pt>
                <c:pt idx="25">
                  <c:v>0.21900752418487998</c:v>
                </c:pt>
                <c:pt idx="26">
                  <c:v>0.2130005803830528</c:v>
                </c:pt>
                <c:pt idx="27">
                  <c:v>0.2161798759991036</c:v>
                </c:pt>
                <c:pt idx="28">
                  <c:v>0.20585253767655606</c:v>
                </c:pt>
                <c:pt idx="29">
                  <c:v>0.20888852778680533</c:v>
                </c:pt>
                <c:pt idx="30">
                  <c:v>0.21288586087980485</c:v>
                </c:pt>
                <c:pt idx="31">
                  <c:v>0.20632922772633283</c:v>
                </c:pt>
                <c:pt idx="32">
                  <c:v>0.20135271709554536</c:v>
                </c:pt>
                <c:pt idx="33">
                  <c:v>0.2141041162227603</c:v>
                </c:pt>
                <c:pt idx="34">
                  <c:v>0.23213490925275704</c:v>
                </c:pt>
                <c:pt idx="35">
                  <c:v>0.22095332671300894</c:v>
                </c:pt>
                <c:pt idx="36">
                  <c:v>0.21491658488714427</c:v>
                </c:pt>
                <c:pt idx="37">
                  <c:v>0.21960922995314297</c:v>
                </c:pt>
                <c:pt idx="38">
                  <c:v>0.22049719956765254</c:v>
                </c:pt>
                <c:pt idx="39">
                  <c:v>0.218610991533936</c:v>
                </c:pt>
                <c:pt idx="40">
                  <c:v>0.20441525778957664</c:v>
                </c:pt>
                <c:pt idx="41">
                  <c:v>0.20590176921045683</c:v>
                </c:pt>
                <c:pt idx="42">
                  <c:v>0.20942212931163207</c:v>
                </c:pt>
                <c:pt idx="43">
                  <c:v>0.19421578311930635</c:v>
                </c:pt>
                <c:pt idx="44">
                  <c:v>0.19482154095118223</c:v>
                </c:pt>
                <c:pt idx="45">
                  <c:v>0.21432315554973136</c:v>
                </c:pt>
                <c:pt idx="46">
                  <c:v>0.23017595535229826</c:v>
                </c:pt>
                <c:pt idx="47">
                  <c:v>0.23071369264647484</c:v>
                </c:pt>
                <c:pt idx="48">
                  <c:v>0.219158374295648</c:v>
                </c:pt>
                <c:pt idx="49">
                  <c:v>0.2252389951089373</c:v>
                </c:pt>
                <c:pt idx="50">
                  <c:v>0.22199045364001954</c:v>
                </c:pt>
                <c:pt idx="51">
                  <c:v>0.2218321744413690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250850939144115</c:v>
                </c:pt>
              </c:numCache>
            </c:numRef>
          </c:xVal>
          <c:yVal>
            <c:numRef>
              <c:f>Sheet1!$B$163:$B$164</c:f>
              <c:numCache>
                <c:formatCode>General</c:formatCode>
                <c:ptCount val="2"/>
                <c:pt idx="0">
                  <c:v>0.26508930835188715</c:v>
                </c:pt>
                <c:pt idx="1">
                  <c:v>0.26508930835188715</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250850939144115</c:v>
                </c:pt>
                <c:pt idx="1">
                  <c:v>1.250850939144115</c:v>
                </c:pt>
              </c:numCache>
            </c:numRef>
          </c:xVal>
          <c:yVal>
            <c:numRef>
              <c:f>Sheet1!$B$167:$B$168</c:f>
              <c:numCache>
                <c:formatCode>General</c:formatCode>
                <c:ptCount val="2"/>
                <c:pt idx="0">
                  <c:v>0.2650893083518871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7197934621333526</c:v>
                </c:pt>
              </c:numCache>
            </c:numRef>
          </c:xVal>
          <c:yVal>
            <c:numRef>
              <c:f>Sheet1!$B$171:$B$172</c:f>
              <c:numCache>
                <c:formatCode>General</c:formatCode>
                <c:ptCount val="2"/>
                <c:pt idx="0">
                  <c:v>0.22444512374452288</c:v>
                </c:pt>
                <c:pt idx="1">
                  <c:v>0.22444512374452288</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7197934621333526</c:v>
                </c:pt>
                <c:pt idx="1">
                  <c:v>1.7197934621333526</c:v>
                </c:pt>
              </c:numCache>
            </c:numRef>
          </c:xVal>
          <c:yVal>
            <c:numRef>
              <c:f>Sheet1!$B$175:$B$176</c:f>
              <c:numCache>
                <c:formatCode>General</c:formatCode>
                <c:ptCount val="2"/>
                <c:pt idx="0">
                  <c:v>0.2244451237445228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1.832478546465302</c:v>
                </c:pt>
              </c:numCache>
            </c:numRef>
          </c:xVal>
          <c:yVal>
            <c:numRef>
              <c:f>Sheet1!$B$179:$B$180</c:f>
              <c:numCache>
                <c:formatCode>General</c:formatCode>
                <c:ptCount val="2"/>
                <c:pt idx="0">
                  <c:v>0.21467848253465915</c:v>
                </c:pt>
                <c:pt idx="1">
                  <c:v>0.2146784825346591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1.832478546465302</c:v>
                </c:pt>
                <c:pt idx="1">
                  <c:v>1.832478546465302</c:v>
                </c:pt>
              </c:numCache>
            </c:numRef>
          </c:xVal>
          <c:yVal>
            <c:numRef>
              <c:f>Sheet1!$B$183:$B$184</c:f>
              <c:numCache>
                <c:formatCode>General</c:formatCode>
                <c:ptCount val="2"/>
                <c:pt idx="0">
                  <c:v>0.214678482534659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8505117835819243</c:v>
                </c:pt>
                <c:pt idx="1">
                  <c:v>1.840614972462059</c:v>
                </c:pt>
                <c:pt idx="2">
                  <c:v>1.811935454659377</c:v>
                </c:pt>
                <c:pt idx="3">
                  <c:v>1.7897931853508602</c:v>
                </c:pt>
                <c:pt idx="4">
                  <c:v>1.8146573621797948</c:v>
                </c:pt>
                <c:pt idx="5">
                  <c:v>1.763783520196431</c:v>
                </c:pt>
                <c:pt idx="6">
                  <c:v>1.7460763178873315</c:v>
                </c:pt>
                <c:pt idx="7">
                  <c:v>1.7035940965752858</c:v>
                </c:pt>
                <c:pt idx="8">
                  <c:v>1.782320630406086</c:v>
                </c:pt>
                <c:pt idx="9">
                  <c:v>1.7824706848148864</c:v>
                </c:pt>
                <c:pt idx="10">
                  <c:v>1.7585977498816587</c:v>
                </c:pt>
                <c:pt idx="11">
                  <c:v>1.8173926280477766</c:v>
                </c:pt>
                <c:pt idx="12">
                  <c:v>1.8189394196733162</c:v>
                </c:pt>
                <c:pt idx="13">
                  <c:v>1.7763853981287485</c:v>
                </c:pt>
                <c:pt idx="14">
                  <c:v>1.735761485247683</c:v>
                </c:pt>
                <c:pt idx="15">
                  <c:v>1.8539245159290445</c:v>
                </c:pt>
                <c:pt idx="16">
                  <c:v>1.807178355910151</c:v>
                </c:pt>
                <c:pt idx="17">
                  <c:v>1.8264538147988487</c:v>
                </c:pt>
                <c:pt idx="18">
                  <c:v>1.7678313470921054</c:v>
                </c:pt>
                <c:pt idx="19">
                  <c:v>1.9100260824075077</c:v>
                </c:pt>
                <c:pt idx="20">
                  <c:v>1.857479518130787</c:v>
                </c:pt>
                <c:pt idx="21">
                  <c:v>1.765034524117466</c:v>
                </c:pt>
                <c:pt idx="22">
                  <c:v>1.7878493090304133</c:v>
                </c:pt>
                <c:pt idx="23">
                  <c:v>1.8026212942139985</c:v>
                </c:pt>
                <c:pt idx="24">
                  <c:v>1.8150385929206527</c:v>
                </c:pt>
                <c:pt idx="25">
                  <c:v>1.8195994789473677</c:v>
                </c:pt>
                <c:pt idx="26">
                  <c:v>1.7697046518158064</c:v>
                </c:pt>
                <c:pt idx="27">
                  <c:v>1.7365468600807445</c:v>
                </c:pt>
                <c:pt idx="28">
                  <c:v>1.798276616762394</c:v>
                </c:pt>
                <c:pt idx="29">
                  <c:v>1.8380707967911438</c:v>
                </c:pt>
                <c:pt idx="30">
                  <c:v>1.8037286801680197</c:v>
                </c:pt>
                <c:pt idx="31">
                  <c:v>1.7441857424786444</c:v>
                </c:pt>
                <c:pt idx="32">
                  <c:v>1.7559691227035872</c:v>
                </c:pt>
                <c:pt idx="33">
                  <c:v>1.7330552966081503</c:v>
                </c:pt>
                <c:pt idx="34">
                  <c:v>1.7735579087666624</c:v>
                </c:pt>
                <c:pt idx="35">
                  <c:v>1.7413831186385331</c:v>
                </c:pt>
                <c:pt idx="36">
                  <c:v>1.8062033075584056</c:v>
                </c:pt>
                <c:pt idx="37">
                  <c:v>1.8166515113848865</c:v>
                </c:pt>
                <c:pt idx="38">
                  <c:v>1.8228649143627158</c:v>
                </c:pt>
                <c:pt idx="39">
                  <c:v>1.8340295285418655</c:v>
                </c:pt>
                <c:pt idx="40">
                  <c:v>1.8020432036607528</c:v>
                </c:pt>
                <c:pt idx="41">
                  <c:v>1.8368796125163862</c:v>
                </c:pt>
                <c:pt idx="42">
                  <c:v>1.8507416438742794</c:v>
                </c:pt>
                <c:pt idx="43">
                  <c:v>1.8993734791270789</c:v>
                </c:pt>
                <c:pt idx="44">
                  <c:v>1.8063483355940233</c:v>
                </c:pt>
                <c:pt idx="45">
                  <c:v>1.802205568006931</c:v>
                </c:pt>
                <c:pt idx="46">
                  <c:v>1.772279243169314</c:v>
                </c:pt>
                <c:pt idx="47">
                  <c:v>1.7934775426293965</c:v>
                </c:pt>
                <c:pt idx="48">
                  <c:v>1.7699454033178403</c:v>
                </c:pt>
                <c:pt idx="49">
                  <c:v>1.8346267553002689</c:v>
                </c:pt>
                <c:pt idx="50">
                  <c:v>1.8046230672563826</c:v>
                </c:pt>
                <c:pt idx="51">
                  <c:v>1.7955306883666837</c:v>
                </c:pt>
                <c:pt idx="52">
                  <c:v>1.7197934621333526</c:v>
                </c:pt>
                <c:pt idx="53">
                  <c:v>1.250850939144115</c:v>
                </c:pt>
                <c:pt idx="54">
                  <c:v>1.832478546465302</c:v>
                </c:pt>
              </c:numCache>
            </c:numRef>
          </c:xVal>
          <c:yVal>
            <c:numRef>
              <c:f>Sheet1!$B$187:$B$241</c:f>
              <c:numCache>
                <c:formatCode>General</c:formatCode>
                <c:ptCount val="55"/>
                <c:pt idx="0">
                  <c:v>0.21311550587439754</c:v>
                </c:pt>
                <c:pt idx="1">
                  <c:v>0.21397328225094775</c:v>
                </c:pt>
                <c:pt idx="2">
                  <c:v>0.21645899331121163</c:v>
                </c:pt>
                <c:pt idx="3">
                  <c:v>0.21837810799431745</c:v>
                </c:pt>
                <c:pt idx="4">
                  <c:v>0.2162230801527315</c:v>
                </c:pt>
                <c:pt idx="5">
                  <c:v>0.22063241759578775</c:v>
                </c:pt>
                <c:pt idx="6">
                  <c:v>0.22216713616842507</c:v>
                </c:pt>
                <c:pt idx="7">
                  <c:v>0.22584915509588607</c:v>
                </c:pt>
                <c:pt idx="8">
                  <c:v>0.21902576924868197</c:v>
                </c:pt>
                <c:pt idx="9">
                  <c:v>0.21901276373352085</c:v>
                </c:pt>
                <c:pt idx="10">
                  <c:v>0.22108187866121098</c:v>
                </c:pt>
                <c:pt idx="11">
                  <c:v>0.215986009199601</c:v>
                </c:pt>
                <c:pt idx="12">
                  <c:v>0.21585194568158858</c:v>
                </c:pt>
                <c:pt idx="13">
                  <c:v>0.21954018767853553</c:v>
                </c:pt>
                <c:pt idx="14">
                  <c:v>0.22306114330458227</c:v>
                </c:pt>
                <c:pt idx="15">
                  <c:v>0.21281971754910833</c:v>
                </c:pt>
                <c:pt idx="16">
                  <c:v>0.2168713005563011</c:v>
                </c:pt>
                <c:pt idx="17">
                  <c:v>0.21520065805523308</c:v>
                </c:pt>
                <c:pt idx="18">
                  <c:v>0.22028158435814976</c:v>
                </c:pt>
                <c:pt idx="19">
                  <c:v>0.2079572827880677</c:v>
                </c:pt>
                <c:pt idx="20">
                  <c:v>0.21251159841150877</c:v>
                </c:pt>
                <c:pt idx="21">
                  <c:v>0.2205239905885994</c:v>
                </c:pt>
                <c:pt idx="22">
                  <c:v>0.21854658763552914</c:v>
                </c:pt>
                <c:pt idx="23">
                  <c:v>0.21726627019067105</c:v>
                </c:pt>
                <c:pt idx="24">
                  <c:v>0.2161900381233786</c:v>
                </c:pt>
                <c:pt idx="25">
                  <c:v>0.2157947370266444</c:v>
                </c:pt>
                <c:pt idx="26">
                  <c:v>0.2201192212981086</c:v>
                </c:pt>
                <c:pt idx="27">
                  <c:v>0.22299307329997392</c:v>
                </c:pt>
                <c:pt idx="28">
                  <c:v>0.2176428320585879</c:v>
                </c:pt>
                <c:pt idx="29">
                  <c:v>0.21419379103522923</c:v>
                </c:pt>
                <c:pt idx="30">
                  <c:v>0.21717029083938522</c:v>
                </c:pt>
                <c:pt idx="31">
                  <c:v>0.22233099611321105</c:v>
                </c:pt>
                <c:pt idx="32">
                  <c:v>0.22130970702620642</c:v>
                </c:pt>
                <c:pt idx="33">
                  <c:v>0.22329569407627683</c:v>
                </c:pt>
                <c:pt idx="34">
                  <c:v>0.21978525182600384</c:v>
                </c:pt>
                <c:pt idx="35">
                  <c:v>0.2225739051162513</c:v>
                </c:pt>
                <c:pt idx="36">
                  <c:v>0.21695580994341496</c:v>
                </c:pt>
                <c:pt idx="37">
                  <c:v>0.21605024326024896</c:v>
                </c:pt>
                <c:pt idx="38">
                  <c:v>0.21551171522047757</c:v>
                </c:pt>
                <c:pt idx="39">
                  <c:v>0.21454405582189118</c:v>
                </c:pt>
                <c:pt idx="40">
                  <c:v>0.2173163744529506</c:v>
                </c:pt>
                <c:pt idx="41">
                  <c:v>0.21429703335425804</c:v>
                </c:pt>
                <c:pt idx="42">
                  <c:v>0.21309558342399396</c:v>
                </c:pt>
                <c:pt idx="43">
                  <c:v>0.2088805651799456</c:v>
                </c:pt>
                <c:pt idx="44">
                  <c:v>0.21694324007405164</c:v>
                </c:pt>
                <c:pt idx="45">
                  <c:v>0.21730230201094286</c:v>
                </c:pt>
                <c:pt idx="46">
                  <c:v>0.2198960763258987</c:v>
                </c:pt>
                <c:pt idx="47">
                  <c:v>0.2180587773939834</c:v>
                </c:pt>
                <c:pt idx="48">
                  <c:v>0.22009835488482027</c:v>
                </c:pt>
                <c:pt idx="49">
                  <c:v>0.2144922929865094</c:v>
                </c:pt>
                <c:pt idx="50">
                  <c:v>0.2170927725249911</c:v>
                </c:pt>
                <c:pt idx="51">
                  <c:v>0.21788082715428198</c:v>
                </c:pt>
                <c:pt idx="52">
                  <c:v>0.22444512374452288</c:v>
                </c:pt>
                <c:pt idx="53">
                  <c:v>0.26508930835188715</c:v>
                </c:pt>
                <c:pt idx="54">
                  <c:v>0.214678482534659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1136536222346"/>
          <c:min val="0.133683289588801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1.9058</c:v>
                </c:pt>
                <c:pt idx="1">
                  <c:v>855.4048</c:v>
                </c:pt>
                <c:pt idx="2">
                  <c:v>886.2466</c:v>
                </c:pt>
                <c:pt idx="3">
                  <c:v>899.1541</c:v>
                </c:pt>
                <c:pt idx="4">
                  <c:v>900.0859</c:v>
                </c:pt>
                <c:pt idx="5">
                  <c:v>894.1163</c:v>
                </c:pt>
                <c:pt idx="6">
                  <c:v>846.9098</c:v>
                </c:pt>
                <c:pt idx="7">
                  <c:v>862.7659</c:v>
                </c:pt>
                <c:pt idx="8">
                  <c:v>861.1043</c:v>
                </c:pt>
                <c:pt idx="9">
                  <c:v>843.2709</c:v>
                </c:pt>
                <c:pt idx="10">
                  <c:v>833.2302</c:v>
                </c:pt>
                <c:pt idx="11">
                  <c:v>889.2521</c:v>
                </c:pt>
                <c:pt idx="12">
                  <c:v>890.9984</c:v>
                </c:pt>
                <c:pt idx="13">
                  <c:v>893.6811</c:v>
                </c:pt>
                <c:pt idx="14">
                  <c:v>884.5583</c:v>
                </c:pt>
                <c:pt idx="15">
                  <c:v>903.0039</c:v>
                </c:pt>
                <c:pt idx="16">
                  <c:v>925.6963</c:v>
                </c:pt>
                <c:pt idx="17">
                  <c:v>906.9178</c:v>
                </c:pt>
                <c:pt idx="18">
                  <c:v>966.8314</c:v>
                </c:pt>
                <c:pt idx="19">
                  <c:v>987.056</c:v>
                </c:pt>
                <c:pt idx="20">
                  <c:v>1019.7402</c:v>
                </c:pt>
                <c:pt idx="21">
                  <c:v>1035.4882</c:v>
                </c:pt>
                <c:pt idx="22">
                  <c:v>1008.834</c:v>
                </c:pt>
                <c:pt idx="23">
                  <c:v>1000.987</c:v>
                </c:pt>
                <c:pt idx="24">
                  <c:v>1007.2607</c:v>
                </c:pt>
                <c:pt idx="25">
                  <c:v>983.3374</c:v>
                </c:pt>
                <c:pt idx="26">
                  <c:v>966.4006</c:v>
                </c:pt>
                <c:pt idx="27">
                  <c:v>988.7948</c:v>
                </c:pt>
                <c:pt idx="28">
                  <c:v>987.2651</c:v>
                </c:pt>
                <c:pt idx="29">
                  <c:v>964.9211</c:v>
                </c:pt>
                <c:pt idx="30">
                  <c:v>966.6746</c:v>
                </c:pt>
                <c:pt idx="31">
                  <c:v>953.9414</c:v>
                </c:pt>
                <c:pt idx="32">
                  <c:v>943.1541</c:v>
                </c:pt>
                <c:pt idx="33">
                  <c:v>891.0869</c:v>
                </c:pt>
                <c:pt idx="34">
                  <c:v>912.5349</c:v>
                </c:pt>
                <c:pt idx="35">
                  <c:v>944.06</c:v>
                </c:pt>
                <c:pt idx="36">
                  <c:v>1018.6315</c:v>
                </c:pt>
                <c:pt idx="37">
                  <c:v>1034.4815</c:v>
                </c:pt>
                <c:pt idx="38">
                  <c:v>1086.5919</c:v>
                </c:pt>
                <c:pt idx="39">
                  <c:v>1102.9389</c:v>
                </c:pt>
                <c:pt idx="40">
                  <c:v>1093.293</c:v>
                </c:pt>
                <c:pt idx="41">
                  <c:v>1119.911</c:v>
                </c:pt>
                <c:pt idx="42">
                  <c:v>1143.8659</c:v>
                </c:pt>
                <c:pt idx="43">
                  <c:v>1150.461</c:v>
                </c:pt>
                <c:pt idx="44">
                  <c:v>1088.7683</c:v>
                </c:pt>
                <c:pt idx="45">
                  <c:v>1053.1369</c:v>
                </c:pt>
                <c:pt idx="46">
                  <c:v>1044.7499</c:v>
                </c:pt>
                <c:pt idx="47">
                  <c:v>1026.7838</c:v>
                </c:pt>
                <c:pt idx="48">
                  <c:v>1034.7776</c:v>
                </c:pt>
                <c:pt idx="49">
                  <c:v>1000.8771</c:v>
                </c:pt>
                <c:pt idx="50">
                  <c:v>999.0031</c:v>
                </c:pt>
                <c:pt idx="51">
                  <c:v>1016.9488</c:v>
                </c:pt>
                <c:pt idx="52">
                  <c:v>1024.951</c:v>
                </c:pt>
                <c:pt idx="53">
                  <c:v>1085.3183</c:v>
                </c:pt>
                <c:pt idx="54">
                  <c:v>1079.9166</c:v>
                </c:pt>
                <c:pt idx="55">
                  <c:v>1093.3052</c:v>
                </c:pt>
                <c:pt idx="56">
                  <c:v>1103.5398</c:v>
                </c:pt>
                <c:pt idx="57">
                  <c:v>1076.5338</c:v>
                </c:pt>
                <c:pt idx="58">
                  <c:v>1051.5517</c:v>
                </c:pt>
                <c:pt idx="59">
                  <c:v>1046.739</c:v>
                </c:pt>
                <c:pt idx="60">
                  <c:v>1061.4004</c:v>
                </c:pt>
                <c:pt idx="61">
                  <c:v>1083.228</c:v>
                </c:pt>
                <c:pt idx="62">
                  <c:v>1030.826</c:v>
                </c:pt>
                <c:pt idx="63">
                  <c:v>1057.0364</c:v>
                </c:pt>
                <c:pt idx="64">
                  <c:v>1063.8642</c:v>
                </c:pt>
                <c:pt idx="65">
                  <c:v>1053.6825</c:v>
                </c:pt>
                <c:pt idx="66">
                  <c:v>1056.3771</c:v>
                </c:pt>
                <c:pt idx="67">
                  <c:v>1076.0802</c:v>
                </c:pt>
                <c:pt idx="68">
                  <c:v>1098.3827</c:v>
                </c:pt>
                <c:pt idx="69">
                  <c:v>1127.0407</c:v>
                </c:pt>
                <c:pt idx="70">
                  <c:v>1109.7676</c:v>
                </c:pt>
                <c:pt idx="71">
                  <c:v>1175.1428</c:v>
                </c:pt>
                <c:pt idx="72">
                  <c:v>1271.2621</c:v>
                </c:pt>
                <c:pt idx="73">
                  <c:v>1248.5424</c:v>
                </c:pt>
                <c:pt idx="74">
                  <c:v>1233.5635</c:v>
                </c:pt>
                <c:pt idx="75">
                  <c:v>1189.7679</c:v>
                </c:pt>
                <c:pt idx="76">
                  <c:v>1162.9076</c:v>
                </c:pt>
                <c:pt idx="77">
                  <c:v>1167.2162</c:v>
                </c:pt>
                <c:pt idx="78">
                  <c:v>1218.3745</c:v>
                </c:pt>
                <c:pt idx="79">
                  <c:v>1196.5709</c:v>
                </c:pt>
                <c:pt idx="80">
                  <c:v>1209.5562</c:v>
                </c:pt>
                <c:pt idx="81">
                  <c:v>1194.4479</c:v>
                </c:pt>
                <c:pt idx="82">
                  <c:v>1197.436</c:v>
                </c:pt>
                <c:pt idx="83">
                  <c:v>1157.3818</c:v>
                </c:pt>
                <c:pt idx="84">
                  <c:v>1179.0934</c:v>
                </c:pt>
                <c:pt idx="85">
                  <c:v>1161.1989</c:v>
                </c:pt>
                <c:pt idx="86">
                  <c:v>1150.8049</c:v>
                </c:pt>
                <c:pt idx="87">
                  <c:v>1151.7458</c:v>
                </c:pt>
                <c:pt idx="88">
                  <c:v>1202.4743</c:v>
                </c:pt>
                <c:pt idx="89">
                  <c:v>1193.372</c:v>
                </c:pt>
                <c:pt idx="90">
                  <c:v>1263.7689</c:v>
                </c:pt>
                <c:pt idx="91">
                  <c:v>1261.18</c:v>
                </c:pt>
                <c:pt idx="92">
                  <c:v>1201.6016</c:v>
                </c:pt>
                <c:pt idx="93">
                  <c:v>1244.2375</c:v>
                </c:pt>
                <c:pt idx="94">
                  <c:v>1221.2497</c:v>
                </c:pt>
                <c:pt idx="95">
                  <c:v>1173.0264</c:v>
                </c:pt>
                <c:pt idx="96">
                  <c:v>1141.2002</c:v>
                </c:pt>
                <c:pt idx="97">
                  <c:v>1128.5383</c:v>
                </c:pt>
                <c:pt idx="98">
                  <c:v>1117.49</c:v>
                </c:pt>
                <c:pt idx="99">
                  <c:v>1084.1234</c:v>
                </c:pt>
                <c:pt idx="100">
                  <c:v>1089.073</c:v>
                </c:pt>
                <c:pt idx="101">
                  <c:v>1089.4279</c:v>
                </c:pt>
                <c:pt idx="102">
                  <c:v>1110.0216</c:v>
                </c:pt>
                <c:pt idx="103">
                  <c:v>1102.4859</c:v>
                </c:pt>
                <c:pt idx="104">
                  <c:v>1145.2964</c:v>
                </c:pt>
              </c:numCache>
            </c:numRef>
          </c:xVal>
          <c:yVal>
            <c:numRef>
              <c:f>Sheet1!$B$2:$B$106</c:f>
              <c:numCache>
                <c:formatCode>General</c:formatCode>
                <c:ptCount val="105"/>
                <c:pt idx="0">
                  <c:v>0.2517147485609899</c:v>
                </c:pt>
                <c:pt idx="1">
                  <c:v>0.24949245136761286</c:v>
                </c:pt>
                <c:pt idx="2">
                  <c:v>0.251412919108214</c:v>
                </c:pt>
                <c:pt idx="3">
                  <c:v>0.25002788829807016</c:v>
                </c:pt>
                <c:pt idx="4">
                  <c:v>0.254451136413593</c:v>
                </c:pt>
                <c:pt idx="5">
                  <c:v>0.26060360725048354</c:v>
                </c:pt>
                <c:pt idx="6">
                  <c:v>0.28730684801790557</c:v>
                </c:pt>
                <c:pt idx="7">
                  <c:v>0.29261378018528833</c:v>
                </c:pt>
                <c:pt idx="8">
                  <c:v>0.2881803959648271</c:v>
                </c:pt>
                <c:pt idx="9">
                  <c:v>0.2713295379729677</c:v>
                </c:pt>
                <c:pt idx="10">
                  <c:v>0.2682604426316187</c:v>
                </c:pt>
                <c:pt idx="11">
                  <c:v>0.2434226026859342</c:v>
                </c:pt>
                <c:pt idx="12">
                  <c:v>0.23166263647688137</c:v>
                </c:pt>
                <c:pt idx="13">
                  <c:v>0.21943166641935005</c:v>
                </c:pt>
                <c:pt idx="14">
                  <c:v>0.20819935691318328</c:v>
                </c:pt>
                <c:pt idx="15">
                  <c:v>0.20032310177705978</c:v>
                </c:pt>
                <c:pt idx="16">
                  <c:v>0.19135243841126193</c:v>
                </c:pt>
                <c:pt idx="17">
                  <c:v>0.1893611187277214</c:v>
                </c:pt>
                <c:pt idx="18">
                  <c:v>0.17375971309025703</c:v>
                </c:pt>
                <c:pt idx="19">
                  <c:v>0.17545871559633028</c:v>
                </c:pt>
                <c:pt idx="20">
                  <c:v>0.17418820606849234</c:v>
                </c:pt>
                <c:pt idx="21">
                  <c:v>0.18670115642118076</c:v>
                </c:pt>
                <c:pt idx="22">
                  <c:v>0.20886535113174695</c:v>
                </c:pt>
                <c:pt idx="23">
                  <c:v>0.21620595382746052</c:v>
                </c:pt>
                <c:pt idx="24">
                  <c:v>0.21956720941707197</c:v>
                </c:pt>
                <c:pt idx="25">
                  <c:v>0.2278839922229423</c:v>
                </c:pt>
                <c:pt idx="26">
                  <c:v>0.248124210682713</c:v>
                </c:pt>
                <c:pt idx="27">
                  <c:v>0.2370037132247929</c:v>
                </c:pt>
                <c:pt idx="28">
                  <c:v>0.2444784605291931</c:v>
                </c:pt>
                <c:pt idx="29">
                  <c:v>0.23986167871738448</c:v>
                </c:pt>
                <c:pt idx="30">
                  <c:v>0.24341403364792777</c:v>
                </c:pt>
                <c:pt idx="31">
                  <c:v>0.25345477386934673</c:v>
                </c:pt>
                <c:pt idx="32">
                  <c:v>0.25874818937256994</c:v>
                </c:pt>
                <c:pt idx="33">
                  <c:v>0.25585032437442073</c:v>
                </c:pt>
                <c:pt idx="34">
                  <c:v>0.250102396067991</c:v>
                </c:pt>
                <c:pt idx="35">
                  <c:v>0.2557345971563981</c:v>
                </c:pt>
                <c:pt idx="36">
                  <c:v>0.23196812562254643</c:v>
                </c:pt>
                <c:pt idx="37">
                  <c:v>0.22798857066914746</c:v>
                </c:pt>
                <c:pt idx="38">
                  <c:v>0.21615913890592003</c:v>
                </c:pt>
                <c:pt idx="39">
                  <c:v>0.2071938378913151</c:v>
                </c:pt>
                <c:pt idx="40">
                  <c:v>0.21045714285714287</c:v>
                </c:pt>
                <c:pt idx="41">
                  <c:v>0.2072407910532634</c:v>
                </c:pt>
                <c:pt idx="42">
                  <c:v>0.20224290924927868</c:v>
                </c:pt>
                <c:pt idx="43">
                  <c:v>0.1946233411397346</c:v>
                </c:pt>
                <c:pt idx="44">
                  <c:v>0.19609193962547755</c:v>
                </c:pt>
                <c:pt idx="45">
                  <c:v>0.21453432886094426</c:v>
                </c:pt>
                <c:pt idx="46">
                  <c:v>0.21987389386518008</c:v>
                </c:pt>
                <c:pt idx="47">
                  <c:v>0.21423830069697974</c:v>
                </c:pt>
                <c:pt idx="48">
                  <c:v>0.21207664255636371</c:v>
                </c:pt>
                <c:pt idx="49">
                  <c:v>0.2241240064043527</c:v>
                </c:pt>
                <c:pt idx="50">
                  <c:v>0.21729131175468483</c:v>
                </c:pt>
                <c:pt idx="51">
                  <c:v>0.2069052783803326</c:v>
                </c:pt>
                <c:pt idx="52">
                  <c:v>0.20980577491843766</c:v>
                </c:pt>
                <c:pt idx="53">
                  <c:v>0.20395344540920007</c:v>
                </c:pt>
                <c:pt idx="54">
                  <c:v>0.20795081967213114</c:v>
                </c:pt>
                <c:pt idx="55">
                  <c:v>0.2052563079894202</c:v>
                </c:pt>
                <c:pt idx="56">
                  <c:v>0.20678541875353862</c:v>
                </c:pt>
                <c:pt idx="57">
                  <c:v>0.20438625444676717</c:v>
                </c:pt>
                <c:pt idx="58">
                  <c:v>0.21921198969211989</c:v>
                </c:pt>
                <c:pt idx="59">
                  <c:v>0.21826577276561737</c:v>
                </c:pt>
                <c:pt idx="60">
                  <c:v>0.22469086656880552</c:v>
                </c:pt>
                <c:pt idx="61">
                  <c:v>0.2215318067904837</c:v>
                </c:pt>
                <c:pt idx="62">
                  <c:v>0.23122205423488917</c:v>
                </c:pt>
                <c:pt idx="63">
                  <c:v>0.23903751307726798</c:v>
                </c:pt>
                <c:pt idx="64">
                  <c:v>0.22433045579093133</c:v>
                </c:pt>
                <c:pt idx="65">
                  <c:v>0.2142171910974674</c:v>
                </c:pt>
                <c:pt idx="66">
                  <c:v>0.21597421203438397</c:v>
                </c:pt>
                <c:pt idx="67">
                  <c:v>0.20335110434120335</c:v>
                </c:pt>
                <c:pt idx="68">
                  <c:v>0.19194123819517314</c:v>
                </c:pt>
                <c:pt idx="69">
                  <c:v>0.186231725943705</c:v>
                </c:pt>
                <c:pt idx="70">
                  <c:v>0.18707821082919174</c:v>
                </c:pt>
                <c:pt idx="71">
                  <c:v>0.18971229293809938</c:v>
                </c:pt>
                <c:pt idx="72">
                  <c:v>0.1793250095414645</c:v>
                </c:pt>
                <c:pt idx="73">
                  <c:v>0.18501574475669894</c:v>
                </c:pt>
                <c:pt idx="74">
                  <c:v>0.18769759831382773</c:v>
                </c:pt>
                <c:pt idx="75">
                  <c:v>0.19967866323907454</c:v>
                </c:pt>
                <c:pt idx="76">
                  <c:v>0.20348151744226367</c:v>
                </c:pt>
                <c:pt idx="77">
                  <c:v>0.19437803376077664</c:v>
                </c:pt>
                <c:pt idx="78">
                  <c:v>0.19729144963538744</c:v>
                </c:pt>
                <c:pt idx="79">
                  <c:v>0.17318884206301424</c:v>
                </c:pt>
                <c:pt idx="80">
                  <c:v>0.16710411198600175</c:v>
                </c:pt>
                <c:pt idx="81">
                  <c:v>0.1803864168618267</c:v>
                </c:pt>
                <c:pt idx="82">
                  <c:v>0.17975474141214107</c:v>
                </c:pt>
                <c:pt idx="83">
                  <c:v>0.18402356610639403</c:v>
                </c:pt>
                <c:pt idx="84">
                  <c:v>0.18698972873321043</c:v>
                </c:pt>
                <c:pt idx="85">
                  <c:v>0.19571842145360355</c:v>
                </c:pt>
                <c:pt idx="86">
                  <c:v>0.207593915648767</c:v>
                </c:pt>
                <c:pt idx="87">
                  <c:v>0.2173268956435861</c:v>
                </c:pt>
                <c:pt idx="88">
                  <c:v>0.20523153057617533</c:v>
                </c:pt>
                <c:pt idx="89">
                  <c:v>0.20932949147262675</c:v>
                </c:pt>
                <c:pt idx="90">
                  <c:v>0.19498162058494486</c:v>
                </c:pt>
                <c:pt idx="91">
                  <c:v>0.1831610044313146</c:v>
                </c:pt>
                <c:pt idx="92">
                  <c:v>0.19462962962962962</c:v>
                </c:pt>
                <c:pt idx="93">
                  <c:v>0.18998903909389842</c:v>
                </c:pt>
                <c:pt idx="94">
                  <c:v>0.19740048740861088</c:v>
                </c:pt>
                <c:pt idx="95">
                  <c:v>0.19975149105367793</c:v>
                </c:pt>
                <c:pt idx="96">
                  <c:v>0.19698046782437967</c:v>
                </c:pt>
                <c:pt idx="97">
                  <c:v>0.202424676759533</c:v>
                </c:pt>
                <c:pt idx="98">
                  <c:v>0.2040774352777849</c:v>
                </c:pt>
                <c:pt idx="99">
                  <c:v>0.20725569996936677</c:v>
                </c:pt>
                <c:pt idx="100">
                  <c:v>0.208160385871081</c:v>
                </c:pt>
                <c:pt idx="101">
                  <c:v>0.21458165496604903</c:v>
                </c:pt>
                <c:pt idx="102">
                  <c:v>0.20686988726547556</c:v>
                </c:pt>
                <c:pt idx="103">
                  <c:v>0.201168762174606</c:v>
                </c:pt>
                <c:pt idx="104">
                  <c:v>0.1981691812171554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77.9764</c:v>
                </c:pt>
                <c:pt idx="1">
                  <c:v>1181.183</c:v>
                </c:pt>
                <c:pt idx="2">
                  <c:v>1188.5358</c:v>
                </c:pt>
                <c:pt idx="3">
                  <c:v>1167.6881</c:v>
                </c:pt>
                <c:pt idx="4">
                  <c:v>1194.4699</c:v>
                </c:pt>
                <c:pt idx="5">
                  <c:v>1189.2709</c:v>
                </c:pt>
                <c:pt idx="6">
                  <c:v>1098.8734</c:v>
                </c:pt>
                <c:pt idx="7">
                  <c:v>1135.7131</c:v>
                </c:pt>
                <c:pt idx="8">
                  <c:v>1184.2592</c:v>
                </c:pt>
                <c:pt idx="9">
                  <c:v>1143.1849</c:v>
                </c:pt>
                <c:pt idx="10">
                  <c:v>1162.0828</c:v>
                </c:pt>
                <c:pt idx="11">
                  <c:v>1029.1262</c:v>
                </c:pt>
                <c:pt idx="12">
                  <c:v>1065.5931</c:v>
                </c:pt>
                <c:pt idx="13">
                  <c:v>1131.6266</c:v>
                </c:pt>
                <c:pt idx="14">
                  <c:v>1111.3659</c:v>
                </c:pt>
                <c:pt idx="15">
                  <c:v>1139.3358</c:v>
                </c:pt>
                <c:pt idx="16">
                  <c:v>1174.9249</c:v>
                </c:pt>
                <c:pt idx="17">
                  <c:v>1123.6132</c:v>
                </c:pt>
                <c:pt idx="18">
                  <c:v>1126.9817</c:v>
                </c:pt>
                <c:pt idx="19">
                  <c:v>1231.8824</c:v>
                </c:pt>
                <c:pt idx="20">
                  <c:v>1239.5141</c:v>
                </c:pt>
                <c:pt idx="21">
                  <c:v>1157.2583</c:v>
                </c:pt>
                <c:pt idx="22">
                  <c:v>1193.3061</c:v>
                </c:pt>
                <c:pt idx="23">
                  <c:v>1216.2924</c:v>
                </c:pt>
                <c:pt idx="24">
                  <c:v>1225.705</c:v>
                </c:pt>
                <c:pt idx="25">
                  <c:v>1180.2106</c:v>
                </c:pt>
                <c:pt idx="26">
                  <c:v>1182.9681</c:v>
                </c:pt>
                <c:pt idx="27">
                  <c:v>1178.6949</c:v>
                </c:pt>
                <c:pt idx="28">
                  <c:v>1216.045</c:v>
                </c:pt>
                <c:pt idx="29">
                  <c:v>1228.6814</c:v>
                </c:pt>
                <c:pt idx="30">
                  <c:v>1214.2375</c:v>
                </c:pt>
                <c:pt idx="31">
                  <c:v>1200.732</c:v>
                </c:pt>
                <c:pt idx="32">
                  <c:v>1219.9822</c:v>
                </c:pt>
                <c:pt idx="33">
                  <c:v>1218.2559</c:v>
                </c:pt>
                <c:pt idx="34">
                  <c:v>1230.6016</c:v>
                </c:pt>
                <c:pt idx="35">
                  <c:v>1260.6205</c:v>
                </c:pt>
                <c:pt idx="36">
                  <c:v>1294.8406</c:v>
                </c:pt>
                <c:pt idx="37">
                  <c:v>1262.0229</c:v>
                </c:pt>
                <c:pt idx="38">
                  <c:v>1284.5709</c:v>
                </c:pt>
                <c:pt idx="39">
                  <c:v>1229.5002</c:v>
                </c:pt>
                <c:pt idx="40">
                  <c:v>1263.8093</c:v>
                </c:pt>
                <c:pt idx="41">
                  <c:v>1296.2898</c:v>
                </c:pt>
                <c:pt idx="42">
                  <c:v>1286.5462</c:v>
                </c:pt>
                <c:pt idx="43">
                  <c:v>1308.1139</c:v>
                </c:pt>
                <c:pt idx="44">
                  <c:v>1226.2374</c:v>
                </c:pt>
                <c:pt idx="45">
                  <c:v>1174.8825</c:v>
                </c:pt>
                <c:pt idx="46">
                  <c:v>1167.5306</c:v>
                </c:pt>
                <c:pt idx="47">
                  <c:v>1142.6692</c:v>
                </c:pt>
                <c:pt idx="48">
                  <c:v>1143.4996</c:v>
                </c:pt>
                <c:pt idx="49">
                  <c:v>1165.05</c:v>
                </c:pt>
                <c:pt idx="50">
                  <c:v>1122.2617</c:v>
                </c:pt>
                <c:pt idx="51">
                  <c:v>1080.1198</c:v>
                </c:pt>
              </c:numCache>
            </c:numRef>
          </c:xVal>
          <c:yVal>
            <c:numRef>
              <c:f>Sheet1!$B$109:$B$160</c:f>
              <c:numCache>
                <c:formatCode>General</c:formatCode>
                <c:ptCount val="52"/>
                <c:pt idx="0">
                  <c:v>0.197400060114217</c:v>
                </c:pt>
                <c:pt idx="1">
                  <c:v>0.20026240458015268</c:v>
                </c:pt>
                <c:pt idx="2">
                  <c:v>0.21562840378061207</c:v>
                </c:pt>
                <c:pt idx="3">
                  <c:v>0.23137071202075526</c:v>
                </c:pt>
                <c:pt idx="4">
                  <c:v>0.21376146788990827</c:v>
                </c:pt>
                <c:pt idx="5">
                  <c:v>0.2198332767530459</c:v>
                </c:pt>
                <c:pt idx="6">
                  <c:v>0.2318436670054756</c:v>
                </c:pt>
                <c:pt idx="7">
                  <c:v>0.2285893360791512</c:v>
                </c:pt>
                <c:pt idx="8">
                  <c:v>0.2144673214018645</c:v>
                </c:pt>
                <c:pt idx="9">
                  <c:v>0.22412922766279655</c:v>
                </c:pt>
                <c:pt idx="10">
                  <c:v>0.22589838357750366</c:v>
                </c:pt>
                <c:pt idx="11">
                  <c:v>0.230069351657441</c:v>
                </c:pt>
                <c:pt idx="12">
                  <c:v>0.23010873640794902</c:v>
                </c:pt>
                <c:pt idx="13">
                  <c:v>0.22671183159932254</c:v>
                </c:pt>
                <c:pt idx="14">
                  <c:v>0.23061955512315924</c:v>
                </c:pt>
                <c:pt idx="15">
                  <c:v>0.22314721783646715</c:v>
                </c:pt>
                <c:pt idx="16">
                  <c:v>0.21933212176283506</c:v>
                </c:pt>
                <c:pt idx="17">
                  <c:v>0.229491423412579</c:v>
                </c:pt>
                <c:pt idx="18">
                  <c:v>0.22677198087715653</c:v>
                </c:pt>
                <c:pt idx="19">
                  <c:v>0.2199635307624772</c:v>
                </c:pt>
                <c:pt idx="20">
                  <c:v>0.20846217663473868</c:v>
                </c:pt>
                <c:pt idx="21">
                  <c:v>0.22308107136437175</c:v>
                </c:pt>
                <c:pt idx="22">
                  <c:v>0.2155111425539441</c:v>
                </c:pt>
                <c:pt idx="23">
                  <c:v>0.2164165277005744</c:v>
                </c:pt>
                <c:pt idx="24">
                  <c:v>0.21474850809889173</c:v>
                </c:pt>
                <c:pt idx="25">
                  <c:v>0.21900752418487998</c:v>
                </c:pt>
                <c:pt idx="26">
                  <c:v>0.2130005803830528</c:v>
                </c:pt>
                <c:pt idx="27">
                  <c:v>0.2161798759991036</c:v>
                </c:pt>
                <c:pt idx="28">
                  <c:v>0.20585253767655606</c:v>
                </c:pt>
                <c:pt idx="29">
                  <c:v>0.20888852778680533</c:v>
                </c:pt>
                <c:pt idx="30">
                  <c:v>0.21288586087980485</c:v>
                </c:pt>
                <c:pt idx="31">
                  <c:v>0.20632922772633283</c:v>
                </c:pt>
                <c:pt idx="32">
                  <c:v>0.20135271709554536</c:v>
                </c:pt>
                <c:pt idx="33">
                  <c:v>0.2141041162227603</c:v>
                </c:pt>
                <c:pt idx="34">
                  <c:v>0.23213490925275704</c:v>
                </c:pt>
                <c:pt idx="35">
                  <c:v>0.22095332671300894</c:v>
                </c:pt>
                <c:pt idx="36">
                  <c:v>0.21491658488714427</c:v>
                </c:pt>
                <c:pt idx="37">
                  <c:v>0.21960922995314297</c:v>
                </c:pt>
                <c:pt idx="38">
                  <c:v>0.22049719956765254</c:v>
                </c:pt>
                <c:pt idx="39">
                  <c:v>0.218610991533936</c:v>
                </c:pt>
                <c:pt idx="40">
                  <c:v>0.20441525778957664</c:v>
                </c:pt>
                <c:pt idx="41">
                  <c:v>0.20590176921045683</c:v>
                </c:pt>
                <c:pt idx="42">
                  <c:v>0.20942212931163207</c:v>
                </c:pt>
                <c:pt idx="43">
                  <c:v>0.19421578311930635</c:v>
                </c:pt>
                <c:pt idx="44">
                  <c:v>0.19482154095118223</c:v>
                </c:pt>
                <c:pt idx="45">
                  <c:v>0.21432315554973136</c:v>
                </c:pt>
                <c:pt idx="46">
                  <c:v>0.23017595535229826</c:v>
                </c:pt>
                <c:pt idx="47">
                  <c:v>0.23071369264647484</c:v>
                </c:pt>
                <c:pt idx="48">
                  <c:v>0.219158374295648</c:v>
                </c:pt>
                <c:pt idx="49">
                  <c:v>0.2252389951089373</c:v>
                </c:pt>
                <c:pt idx="50">
                  <c:v>0.22199045364001954</c:v>
                </c:pt>
                <c:pt idx="51">
                  <c:v>0.2218321744413690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715.3406019614757</c:v>
                </c:pt>
              </c:numCache>
            </c:numRef>
          </c:xVal>
          <c:yVal>
            <c:numRef>
              <c:f>Sheet1!$B$163:$B$164</c:f>
              <c:numCache>
                <c:formatCode>General</c:formatCode>
                <c:ptCount val="2"/>
                <c:pt idx="0">
                  <c:v>0.26508930835188715</c:v>
                </c:pt>
                <c:pt idx="1">
                  <c:v>0.26508930835188715</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715.3406019614757</c:v>
                </c:pt>
                <c:pt idx="1">
                  <c:v>715.3406019614757</c:v>
                </c:pt>
              </c:numCache>
            </c:numRef>
          </c:xVal>
          <c:yVal>
            <c:numRef>
              <c:f>Sheet1!$B$167:$B$168</c:f>
              <c:numCache>
                <c:formatCode>General</c:formatCode>
                <c:ptCount val="2"/>
                <c:pt idx="0">
                  <c:v>0.2650893083518871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119.5796287579622</c:v>
                </c:pt>
              </c:numCache>
            </c:numRef>
          </c:xVal>
          <c:yVal>
            <c:numRef>
              <c:f>Sheet1!$B$171:$B$172</c:f>
              <c:numCache>
                <c:formatCode>General</c:formatCode>
                <c:ptCount val="2"/>
                <c:pt idx="0">
                  <c:v>0.22444512374452288</c:v>
                </c:pt>
                <c:pt idx="1">
                  <c:v>0.22444512374452288</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119.5796287579622</c:v>
                </c:pt>
                <c:pt idx="1">
                  <c:v>1119.5796287579622</c:v>
                </c:pt>
              </c:numCache>
            </c:numRef>
          </c:xVal>
          <c:yVal>
            <c:numRef>
              <c:f>Sheet1!$B$175:$B$176</c:f>
              <c:numCache>
                <c:formatCode>General</c:formatCode>
                <c:ptCount val="2"/>
                <c:pt idx="0">
                  <c:v>0.2244451237445228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16.7167118581713</c:v>
                </c:pt>
              </c:numCache>
            </c:numRef>
          </c:xVal>
          <c:yVal>
            <c:numRef>
              <c:f>Sheet1!$B$179:$B$180</c:f>
              <c:numCache>
                <c:formatCode>General</c:formatCode>
                <c:ptCount val="2"/>
                <c:pt idx="0">
                  <c:v>0.21467848253465915</c:v>
                </c:pt>
                <c:pt idx="1">
                  <c:v>0.2146784825346591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16.7167118581713</c:v>
                </c:pt>
                <c:pt idx="1">
                  <c:v>1216.7167118581713</c:v>
                </c:pt>
              </c:numCache>
            </c:numRef>
          </c:xVal>
          <c:yVal>
            <c:numRef>
              <c:f>Sheet1!$B$183:$B$184</c:f>
              <c:numCache>
                <c:formatCode>General</c:formatCode>
                <c:ptCount val="2"/>
                <c:pt idx="0">
                  <c:v>0.214678482534659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77.9764</c:v>
                </c:pt>
                <c:pt idx="1">
                  <c:v>1181.183</c:v>
                </c:pt>
                <c:pt idx="2">
                  <c:v>1188.5358</c:v>
                </c:pt>
                <c:pt idx="3">
                  <c:v>1167.6881</c:v>
                </c:pt>
                <c:pt idx="4">
                  <c:v>1194.4699</c:v>
                </c:pt>
                <c:pt idx="5">
                  <c:v>1189.2709</c:v>
                </c:pt>
                <c:pt idx="6">
                  <c:v>1098.8734</c:v>
                </c:pt>
                <c:pt idx="7">
                  <c:v>1135.7131</c:v>
                </c:pt>
                <c:pt idx="8">
                  <c:v>1184.2592</c:v>
                </c:pt>
                <c:pt idx="9">
                  <c:v>1143.1849</c:v>
                </c:pt>
                <c:pt idx="10">
                  <c:v>1162.0828</c:v>
                </c:pt>
                <c:pt idx="11">
                  <c:v>1029.1262</c:v>
                </c:pt>
                <c:pt idx="12">
                  <c:v>1065.5931</c:v>
                </c:pt>
                <c:pt idx="13">
                  <c:v>1131.6266</c:v>
                </c:pt>
                <c:pt idx="14">
                  <c:v>1111.3659</c:v>
                </c:pt>
                <c:pt idx="15">
                  <c:v>1139.3358</c:v>
                </c:pt>
                <c:pt idx="16">
                  <c:v>1174.9249</c:v>
                </c:pt>
                <c:pt idx="17">
                  <c:v>1123.6132</c:v>
                </c:pt>
                <c:pt idx="18">
                  <c:v>1126.9817</c:v>
                </c:pt>
                <c:pt idx="19">
                  <c:v>1231.8824</c:v>
                </c:pt>
                <c:pt idx="20">
                  <c:v>1239.5141</c:v>
                </c:pt>
                <c:pt idx="21">
                  <c:v>1157.2583</c:v>
                </c:pt>
                <c:pt idx="22">
                  <c:v>1193.3061</c:v>
                </c:pt>
                <c:pt idx="23">
                  <c:v>1216.2924</c:v>
                </c:pt>
                <c:pt idx="24">
                  <c:v>1225.705</c:v>
                </c:pt>
                <c:pt idx="25">
                  <c:v>1180.2106</c:v>
                </c:pt>
                <c:pt idx="26">
                  <c:v>1182.9681</c:v>
                </c:pt>
                <c:pt idx="27">
                  <c:v>1178.6949</c:v>
                </c:pt>
                <c:pt idx="28">
                  <c:v>1216.045</c:v>
                </c:pt>
                <c:pt idx="29">
                  <c:v>1228.6814</c:v>
                </c:pt>
                <c:pt idx="30">
                  <c:v>1214.2375</c:v>
                </c:pt>
                <c:pt idx="31">
                  <c:v>1200.732</c:v>
                </c:pt>
                <c:pt idx="32">
                  <c:v>1219.9822</c:v>
                </c:pt>
                <c:pt idx="33">
                  <c:v>1218.2559</c:v>
                </c:pt>
                <c:pt idx="34">
                  <c:v>1230.6016</c:v>
                </c:pt>
                <c:pt idx="35">
                  <c:v>1260.6205</c:v>
                </c:pt>
                <c:pt idx="36">
                  <c:v>1294.8406</c:v>
                </c:pt>
                <c:pt idx="37">
                  <c:v>1262.0229</c:v>
                </c:pt>
                <c:pt idx="38">
                  <c:v>1284.5709</c:v>
                </c:pt>
                <c:pt idx="39">
                  <c:v>1229.5002</c:v>
                </c:pt>
                <c:pt idx="40">
                  <c:v>1263.8093</c:v>
                </c:pt>
                <c:pt idx="41">
                  <c:v>1296.2898</c:v>
                </c:pt>
                <c:pt idx="42">
                  <c:v>1286.5462</c:v>
                </c:pt>
                <c:pt idx="43">
                  <c:v>1308.1139</c:v>
                </c:pt>
                <c:pt idx="44">
                  <c:v>1226.2374</c:v>
                </c:pt>
                <c:pt idx="45">
                  <c:v>1174.8825</c:v>
                </c:pt>
                <c:pt idx="46">
                  <c:v>1167.5306</c:v>
                </c:pt>
                <c:pt idx="47">
                  <c:v>1142.6692</c:v>
                </c:pt>
                <c:pt idx="48">
                  <c:v>1143.4996</c:v>
                </c:pt>
                <c:pt idx="49">
                  <c:v>1165.05</c:v>
                </c:pt>
                <c:pt idx="50">
                  <c:v>1122.2617</c:v>
                </c:pt>
                <c:pt idx="51">
                  <c:v>1080.1198</c:v>
                </c:pt>
                <c:pt idx="52">
                  <c:v>1119.5796287579622</c:v>
                </c:pt>
                <c:pt idx="53">
                  <c:v>715.3406019614757</c:v>
                </c:pt>
                <c:pt idx="54">
                  <c:v>1216.7167118581713</c:v>
                </c:pt>
              </c:numCache>
            </c:numRef>
          </c:xVal>
          <c:yVal>
            <c:numRef>
              <c:f>Sheet1!$B$187:$B$241</c:f>
              <c:numCache>
                <c:formatCode>General</c:formatCode>
                <c:ptCount val="55"/>
                <c:pt idx="0">
                  <c:v>0.21857362447428955</c:v>
                </c:pt>
                <c:pt idx="1">
                  <c:v>0.21825121710210976</c:v>
                </c:pt>
                <c:pt idx="2">
                  <c:v>0.2175119303416271</c:v>
                </c:pt>
                <c:pt idx="3">
                  <c:v>0.21960806087645926</c:v>
                </c:pt>
                <c:pt idx="4">
                  <c:v>0.216915286673177</c:v>
                </c:pt>
                <c:pt idx="5">
                  <c:v>0.21743801976366622</c:v>
                </c:pt>
                <c:pt idx="6">
                  <c:v>0.22652703006324315</c:v>
                </c:pt>
                <c:pt idx="7">
                  <c:v>0.22282298500963743</c:v>
                </c:pt>
                <c:pt idx="8">
                  <c:v>0.21794192078878738</c:v>
                </c:pt>
                <c:pt idx="9">
                  <c:v>0.22207173340249808</c:v>
                </c:pt>
                <c:pt idx="10">
                  <c:v>0.22017164537196213</c:v>
                </c:pt>
                <c:pt idx="11">
                  <c:v>0.23353975739714786</c:v>
                </c:pt>
                <c:pt idx="12">
                  <c:v>0.22987319549340446</c:v>
                </c:pt>
                <c:pt idx="13">
                  <c:v>0.22323386186562594</c:v>
                </c:pt>
                <c:pt idx="14">
                  <c:v>0.22527097252661366</c:v>
                </c:pt>
                <c:pt idx="15">
                  <c:v>0.22245874089213108</c:v>
                </c:pt>
                <c:pt idx="16">
                  <c:v>0.21888043732784368</c:v>
                </c:pt>
                <c:pt idx="17">
                  <c:v>0.22403956860679275</c:v>
                </c:pt>
                <c:pt idx="18">
                  <c:v>0.22370088301046404</c:v>
                </c:pt>
                <c:pt idx="19">
                  <c:v>0.21315364948373128</c:v>
                </c:pt>
                <c:pt idx="20">
                  <c:v>0.2123863207423028</c:v>
                </c:pt>
                <c:pt idx="21">
                  <c:v>0.2206567243862082</c:v>
                </c:pt>
                <c:pt idx="22">
                  <c:v>0.217032300862581</c:v>
                </c:pt>
                <c:pt idx="23">
                  <c:v>0.21472114494068972</c:v>
                </c:pt>
                <c:pt idx="24">
                  <c:v>0.2137747557336232</c:v>
                </c:pt>
                <c:pt idx="25">
                  <c:v>0.21834898699193311</c:v>
                </c:pt>
                <c:pt idx="26">
                  <c:v>0.21807173434776617</c:v>
                </c:pt>
                <c:pt idx="27">
                  <c:v>0.2185013829421648</c:v>
                </c:pt>
                <c:pt idx="28">
                  <c:v>0.2147460197563441</c:v>
                </c:pt>
                <c:pt idx="29">
                  <c:v>0.2134754938043037</c:v>
                </c:pt>
                <c:pt idx="30">
                  <c:v>0.2149277547171172</c:v>
                </c:pt>
                <c:pt idx="31">
                  <c:v>0.21628566426772353</c:v>
                </c:pt>
                <c:pt idx="32">
                  <c:v>0.21435015425838794</c:v>
                </c:pt>
                <c:pt idx="33">
                  <c:v>0.2145237249708541</c:v>
                </c:pt>
                <c:pt idx="34">
                  <c:v>0.2132824274299322</c:v>
                </c:pt>
                <c:pt idx="35">
                  <c:v>0.21026417923410853</c:v>
                </c:pt>
                <c:pt idx="36">
                  <c:v>0.2068235216788382</c:v>
                </c:pt>
                <c:pt idx="37">
                  <c:v>0.2101231750244332</c:v>
                </c:pt>
                <c:pt idx="38">
                  <c:v>0.207856087945312</c:v>
                </c:pt>
                <c:pt idx="39">
                  <c:v>0.21339316761571114</c:v>
                </c:pt>
                <c:pt idx="40">
                  <c:v>0.20994356156168076</c:v>
                </c:pt>
                <c:pt idx="41">
                  <c:v>0.20667781196644405</c:v>
                </c:pt>
                <c:pt idx="42">
                  <c:v>0.20765748154530364</c:v>
                </c:pt>
                <c:pt idx="43">
                  <c:v>0.2054889586609519</c:v>
                </c:pt>
                <c:pt idx="44">
                  <c:v>0.21372122561295068</c:v>
                </c:pt>
                <c:pt idx="45">
                  <c:v>0.21888470043287095</c:v>
                </c:pt>
                <c:pt idx="46">
                  <c:v>0.21962389670291665</c:v>
                </c:pt>
                <c:pt idx="47">
                  <c:v>0.22212358442284147</c:v>
                </c:pt>
                <c:pt idx="48">
                  <c:v>0.22204009191306223</c:v>
                </c:pt>
                <c:pt idx="49">
                  <c:v>0.21987330845599756</c:v>
                </c:pt>
                <c:pt idx="50">
                  <c:v>0.2241754550795368</c:v>
                </c:pt>
                <c:pt idx="51">
                  <c:v>0.2284126094603962</c:v>
                </c:pt>
                <c:pt idx="52">
                  <c:v>0.2244451237445229</c:v>
                </c:pt>
                <c:pt idx="53">
                  <c:v>0.26508930835188715</c:v>
                </c:pt>
                <c:pt idx="54">
                  <c:v>0.214678482534659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70.0"/>
          <c:min val="57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1136536222346"/>
          <c:min val="0.133683289588801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358350998576919</c:v>
                </c:pt>
                <c:pt idx="1">
                  <c:v>0.6612617950254789</c:v>
                </c:pt>
                <c:pt idx="2">
                  <c:v>0.6563317162124966</c:v>
                </c:pt>
                <c:pt idx="3">
                  <c:v>0.6531955040912574</c:v>
                </c:pt>
                <c:pt idx="4">
                  <c:v>0.6485773245913117</c:v>
                </c:pt>
                <c:pt idx="5">
                  <c:v>0.6558631356028976</c:v>
                </c:pt>
                <c:pt idx="6">
                  <c:v>0.6248143427974587</c:v>
                </c:pt>
                <c:pt idx="7">
                  <c:v>0.6320738864171872</c:v>
                </c:pt>
                <c:pt idx="8">
                  <c:v>0.6437197594821049</c:v>
                </c:pt>
                <c:pt idx="9">
                  <c:v>0.6713434939401164</c:v>
                </c:pt>
                <c:pt idx="10">
                  <c:v>0.6881492636439451</c:v>
                </c:pt>
                <c:pt idx="11">
                  <c:v>0.7174668021089096</c:v>
                </c:pt>
                <c:pt idx="12">
                  <c:v>0.7355769314415802</c:v>
                </c:pt>
                <c:pt idx="13">
                  <c:v>0.7123532458305257</c:v>
                </c:pt>
                <c:pt idx="14">
                  <c:v>0.7107371702995907</c:v>
                </c:pt>
                <c:pt idx="15">
                  <c:v>0.7159842386703208</c:v>
                </c:pt>
                <c:pt idx="16">
                  <c:v>0.7081421730976848</c:v>
                </c:pt>
                <c:pt idx="17">
                  <c:v>0.7041084872205573</c:v>
                </c:pt>
                <c:pt idx="18">
                  <c:v>0.7231504318020012</c:v>
                </c:pt>
                <c:pt idx="19">
                  <c:v>0.7361773909095775</c:v>
                </c:pt>
                <c:pt idx="20">
                  <c:v>0.7511060449218087</c:v>
                </c:pt>
                <c:pt idx="21">
                  <c:v>0.6758801194705425</c:v>
                </c:pt>
                <c:pt idx="22">
                  <c:v>0.6416889826283404</c:v>
                </c:pt>
                <c:pt idx="23">
                  <c:v>0.6204056817623235</c:v>
                </c:pt>
                <c:pt idx="24">
                  <c:v>0.5913151845584689</c:v>
                </c:pt>
                <c:pt idx="25">
                  <c:v>0.5752344917781598</c:v>
                </c:pt>
                <c:pt idx="26">
                  <c:v>0.5866083889224171</c:v>
                </c:pt>
                <c:pt idx="27">
                  <c:v>0.6037054094940696</c:v>
                </c:pt>
                <c:pt idx="28">
                  <c:v>0.5989140342760633</c:v>
                </c:pt>
                <c:pt idx="29">
                  <c:v>0.5464875463770859</c:v>
                </c:pt>
                <c:pt idx="30">
                  <c:v>0.5604911637850447</c:v>
                </c:pt>
                <c:pt idx="31">
                  <c:v>0.5813101059661857</c:v>
                </c:pt>
                <c:pt idx="32">
                  <c:v>0.5491723783773647</c:v>
                </c:pt>
                <c:pt idx="33">
                  <c:v>0.5361851868081963</c:v>
                </c:pt>
                <c:pt idx="34">
                  <c:v>0.6179827696602598</c:v>
                </c:pt>
                <c:pt idx="35">
                  <c:v>0.6860535965120309</c:v>
                </c:pt>
                <c:pt idx="36">
                  <c:v>0.7106838432099133</c:v>
                </c:pt>
                <c:pt idx="37">
                  <c:v>0.6815552291537326</c:v>
                </c:pt>
                <c:pt idx="38">
                  <c:v>0.7239878147284491</c:v>
                </c:pt>
                <c:pt idx="39">
                  <c:v>0.7322189985128827</c:v>
                </c:pt>
                <c:pt idx="40">
                  <c:v>0.7364105454943102</c:v>
                </c:pt>
                <c:pt idx="41">
                  <c:v>0.7153791446833473</c:v>
                </c:pt>
                <c:pt idx="42">
                  <c:v>0.7476312862840514</c:v>
                </c:pt>
                <c:pt idx="43">
                  <c:v>0.7552945481518488</c:v>
                </c:pt>
                <c:pt idx="44">
                  <c:v>0.6908135628575243</c:v>
                </c:pt>
                <c:pt idx="45">
                  <c:v>0.6797813271287934</c:v>
                </c:pt>
                <c:pt idx="46">
                  <c:v>0.6822089394549548</c:v>
                </c:pt>
                <c:pt idx="47">
                  <c:v>0.6839136627489376</c:v>
                </c:pt>
                <c:pt idx="48">
                  <c:v>0.6942233153428513</c:v>
                </c:pt>
                <c:pt idx="49">
                  <c:v>0.7038888110407718</c:v>
                </c:pt>
                <c:pt idx="50">
                  <c:v>0.666275236791458</c:v>
                </c:pt>
                <c:pt idx="51">
                  <c:v>0.6730454627038202</c:v>
                </c:pt>
                <c:pt idx="52">
                  <c:v>0.6909792241217756</c:v>
                </c:pt>
                <c:pt idx="53">
                  <c:v>0.6411448057498935</c:v>
                </c:pt>
                <c:pt idx="54">
                  <c:v>0.6257122961090731</c:v>
                </c:pt>
                <c:pt idx="55">
                  <c:v>0.6307066173025017</c:v>
                </c:pt>
                <c:pt idx="56">
                  <c:v>0.6335999676507438</c:v>
                </c:pt>
                <c:pt idx="57">
                  <c:v>0.6319961315130551</c:v>
                </c:pt>
                <c:pt idx="58">
                  <c:v>0.6150117265616339</c:v>
                </c:pt>
                <c:pt idx="59">
                  <c:v>0.6388249219563598</c:v>
                </c:pt>
                <c:pt idx="60">
                  <c:v>0.646662111016381</c:v>
                </c:pt>
                <c:pt idx="61">
                  <c:v>0.6695101835876477</c:v>
                </c:pt>
                <c:pt idx="62">
                  <c:v>0.6854848437229893</c:v>
                </c:pt>
                <c:pt idx="63">
                  <c:v>0.7086589503247904</c:v>
                </c:pt>
                <c:pt idx="64">
                  <c:v>0.7460840078370117</c:v>
                </c:pt>
                <c:pt idx="65">
                  <c:v>0.7398879811186857</c:v>
                </c:pt>
                <c:pt idx="66">
                  <c:v>0.6945860084936547</c:v>
                </c:pt>
                <c:pt idx="67">
                  <c:v>0.6890517078493008</c:v>
                </c:pt>
                <c:pt idx="68">
                  <c:v>0.670754144175686</c:v>
                </c:pt>
                <c:pt idx="69">
                  <c:v>0.66039706101252</c:v>
                </c:pt>
                <c:pt idx="70">
                  <c:v>0.6260241526073747</c:v>
                </c:pt>
                <c:pt idx="71">
                  <c:v>0.6136911485834383</c:v>
                </c:pt>
                <c:pt idx="72">
                  <c:v>0.6263255956479303</c:v>
                </c:pt>
                <c:pt idx="73">
                  <c:v>0.6138035127267949</c:v>
                </c:pt>
                <c:pt idx="74">
                  <c:v>0.6012156506181366</c:v>
                </c:pt>
                <c:pt idx="75">
                  <c:v>0.6029729404942293</c:v>
                </c:pt>
                <c:pt idx="76">
                  <c:v>0.6102512659666897</c:v>
                </c:pt>
                <c:pt idx="77">
                  <c:v>0.6052010436222943</c:v>
                </c:pt>
                <c:pt idx="78">
                  <c:v>0.6294338967176616</c:v>
                </c:pt>
                <c:pt idx="79">
                  <c:v>0.41576973771269016</c:v>
                </c:pt>
                <c:pt idx="80">
                  <c:v>0.43601691348870764</c:v>
                </c:pt>
                <c:pt idx="81">
                  <c:v>0.5618970399760701</c:v>
                </c:pt>
                <c:pt idx="82">
                  <c:v>0.5446704457798709</c:v>
                </c:pt>
                <c:pt idx="83">
                  <c:v>0.5430419348137666</c:v>
                </c:pt>
                <c:pt idx="84">
                  <c:v>0.5531657656658826</c:v>
                </c:pt>
                <c:pt idx="85">
                  <c:v>0.5788115377104545</c:v>
                </c:pt>
                <c:pt idx="86">
                  <c:v>0.6665220346039025</c:v>
                </c:pt>
                <c:pt idx="87">
                  <c:v>0.7012686380518363</c:v>
                </c:pt>
                <c:pt idx="88">
                  <c:v>0.6474931447429741</c:v>
                </c:pt>
                <c:pt idx="89">
                  <c:v>0.5988835036011264</c:v>
                </c:pt>
                <c:pt idx="90">
                  <c:v>0.6192352454001754</c:v>
                </c:pt>
                <c:pt idx="91">
                  <c:v>0.6529528373874668</c:v>
                </c:pt>
                <c:pt idx="92">
                  <c:v>0.685047698356816</c:v>
                </c:pt>
                <c:pt idx="93">
                  <c:v>0.7069307243400149</c:v>
                </c:pt>
                <c:pt idx="94">
                  <c:v>0.7026142171385272</c:v>
                </c:pt>
                <c:pt idx="95">
                  <c:v>0.7294785923453712</c:v>
                </c:pt>
                <c:pt idx="96">
                  <c:v>0.7413611825548532</c:v>
                </c:pt>
                <c:pt idx="97">
                  <c:v>0.7919202183880223</c:v>
                </c:pt>
                <c:pt idx="98">
                  <c:v>0.808606918941639</c:v>
                </c:pt>
                <c:pt idx="99">
                  <c:v>0.7932001915484734</c:v>
                </c:pt>
                <c:pt idx="100">
                  <c:v>0.7888961682399545</c:v>
                </c:pt>
                <c:pt idx="101">
                  <c:v>0.7289459850665055</c:v>
                </c:pt>
                <c:pt idx="102">
                  <c:v>0.733381275951238</c:v>
                </c:pt>
                <c:pt idx="103">
                  <c:v>0.660951943302911</c:v>
                </c:pt>
                <c:pt idx="104">
                  <c:v>0.6915110464708247</c:v>
                </c:pt>
              </c:numCache>
            </c:numRef>
          </c:xVal>
          <c:yVal>
            <c:numRef>
              <c:f>Sheet1!$B$2:$B$106</c:f>
              <c:numCache>
                <c:formatCode>General</c:formatCode>
                <c:ptCount val="105"/>
                <c:pt idx="0">
                  <c:v>0.2146968600282632</c:v>
                </c:pt>
                <c:pt idx="1">
                  <c:v>0.21712007677826584</c:v>
                </c:pt>
                <c:pt idx="2">
                  <c:v>0.1972539093651399</c:v>
                </c:pt>
                <c:pt idx="3">
                  <c:v>0.19730041274681143</c:v>
                </c:pt>
                <c:pt idx="4">
                  <c:v>0.19716885743174925</c:v>
                </c:pt>
                <c:pt idx="5">
                  <c:v>0.19012279044663338</c:v>
                </c:pt>
                <c:pt idx="6">
                  <c:v>0.21017518185339817</c:v>
                </c:pt>
                <c:pt idx="7">
                  <c:v>0.2075634080899104</c:v>
                </c:pt>
                <c:pt idx="8">
                  <c:v>0.21384258510007012</c:v>
                </c:pt>
                <c:pt idx="9">
                  <c:v>0.2146702296580303</c:v>
                </c:pt>
                <c:pt idx="10">
                  <c:v>0.22441271999395726</c:v>
                </c:pt>
                <c:pt idx="11">
                  <c:v>0.21766276604099583</c:v>
                </c:pt>
                <c:pt idx="12">
                  <c:v>0.22001172418846632</c:v>
                </c:pt>
                <c:pt idx="13">
                  <c:v>0.23030123163674135</c:v>
                </c:pt>
                <c:pt idx="14">
                  <c:v>0.21616486407483193</c:v>
                </c:pt>
                <c:pt idx="15">
                  <c:v>0.21368379688250447</c:v>
                </c:pt>
                <c:pt idx="16">
                  <c:v>0.20372046254399195</c:v>
                </c:pt>
                <c:pt idx="17">
                  <c:v>0.19133534411845352</c:v>
                </c:pt>
                <c:pt idx="18">
                  <c:v>0.17340107591153617</c:v>
                </c:pt>
                <c:pt idx="19">
                  <c:v>0.16212729357798164</c:v>
                </c:pt>
                <c:pt idx="20">
                  <c:v>0.17247294020228307</c:v>
                </c:pt>
                <c:pt idx="21">
                  <c:v>0.17840839926962873</c:v>
                </c:pt>
                <c:pt idx="22">
                  <c:v>0.1777423099245502</c:v>
                </c:pt>
                <c:pt idx="23">
                  <c:v>0.18377885783718104</c:v>
                </c:pt>
                <c:pt idx="24">
                  <c:v>0.19052653838020722</c:v>
                </c:pt>
                <c:pt idx="25">
                  <c:v>0.19005184705119896</c:v>
                </c:pt>
                <c:pt idx="26">
                  <c:v>0.19381918133868212</c:v>
                </c:pt>
                <c:pt idx="27">
                  <c:v>0.18466152527849186</c:v>
                </c:pt>
                <c:pt idx="28">
                  <c:v>0.1814272177272396</c:v>
                </c:pt>
                <c:pt idx="29">
                  <c:v>0.20289217227287018</c:v>
                </c:pt>
                <c:pt idx="30">
                  <c:v>0.1858022158391465</c:v>
                </c:pt>
                <c:pt idx="31">
                  <c:v>0.1823178391959799</c:v>
                </c:pt>
                <c:pt idx="32">
                  <c:v>0.1905923610581688</c:v>
                </c:pt>
                <c:pt idx="33">
                  <c:v>0.20864226135310474</c:v>
                </c:pt>
                <c:pt idx="34">
                  <c:v>0.1999795207864018</c:v>
                </c:pt>
                <c:pt idx="35">
                  <c:v>0.1962085308056872</c:v>
                </c:pt>
                <c:pt idx="36">
                  <c:v>0.15714536825452627</c:v>
                </c:pt>
                <c:pt idx="37">
                  <c:v>0.14665426274171042</c:v>
                </c:pt>
                <c:pt idx="38">
                  <c:v>0.14210777300906055</c:v>
                </c:pt>
                <c:pt idx="39">
                  <c:v>0.14415942336230655</c:v>
                </c:pt>
                <c:pt idx="40">
                  <c:v>0.14485714285714285</c:v>
                </c:pt>
                <c:pt idx="41">
                  <c:v>0.13350603399254438</c:v>
                </c:pt>
                <c:pt idx="42">
                  <c:v>0.13931079536175078</c:v>
                </c:pt>
                <c:pt idx="43">
                  <c:v>0.14207650273224043</c:v>
                </c:pt>
                <c:pt idx="44">
                  <c:v>0.17000688920899354</c:v>
                </c:pt>
                <c:pt idx="45">
                  <c:v>0.19477348004266548</c:v>
                </c:pt>
                <c:pt idx="46">
                  <c:v>0.2011744648607691</c:v>
                </c:pt>
                <c:pt idx="47">
                  <c:v>0.20259431353025778</c:v>
                </c:pt>
                <c:pt idx="48">
                  <c:v>0.2187455926500514</c:v>
                </c:pt>
                <c:pt idx="49">
                  <c:v>0.25037901866047013</c:v>
                </c:pt>
                <c:pt idx="50">
                  <c:v>0.21465076660988075</c:v>
                </c:pt>
                <c:pt idx="51">
                  <c:v>0.19269703543022415</c:v>
                </c:pt>
                <c:pt idx="52">
                  <c:v>0.2046528645912736</c:v>
                </c:pt>
                <c:pt idx="53">
                  <c:v>0.19408830593016813</c:v>
                </c:pt>
                <c:pt idx="54">
                  <c:v>0.19114754098360656</c:v>
                </c:pt>
                <c:pt idx="55">
                  <c:v>0.18233343129434484</c:v>
                </c:pt>
                <c:pt idx="56">
                  <c:v>0.19250032664082575</c:v>
                </c:pt>
                <c:pt idx="57">
                  <c:v>0.18821285803352036</c:v>
                </c:pt>
                <c:pt idx="58">
                  <c:v>0.20670012206700122</c:v>
                </c:pt>
                <c:pt idx="59">
                  <c:v>0.21249389512942327</c:v>
                </c:pt>
                <c:pt idx="60">
                  <c:v>0.22528798547010673</c:v>
                </c:pt>
                <c:pt idx="61">
                  <c:v>0.22520512204332452</c:v>
                </c:pt>
                <c:pt idx="62">
                  <c:v>0.22494933573519477</c:v>
                </c:pt>
                <c:pt idx="63">
                  <c:v>0.2410700941563294</c:v>
                </c:pt>
                <c:pt idx="64">
                  <c:v>0.22874988951415692</c:v>
                </c:pt>
                <c:pt idx="65">
                  <c:v>0.21485674085443848</c:v>
                </c:pt>
                <c:pt idx="66">
                  <c:v>0.2205326908048971</c:v>
                </c:pt>
                <c:pt idx="67">
                  <c:v>0.2174063560202174</c:v>
                </c:pt>
                <c:pt idx="68">
                  <c:v>0.19819517313746066</c:v>
                </c:pt>
                <c:pt idx="69">
                  <c:v>0.1843770456033166</c:v>
                </c:pt>
                <c:pt idx="70">
                  <c:v>0.17122678524718807</c:v>
                </c:pt>
                <c:pt idx="71">
                  <c:v>0.18111014240046497</c:v>
                </c:pt>
                <c:pt idx="72">
                  <c:v>0.18635843192846627</c:v>
                </c:pt>
                <c:pt idx="73">
                  <c:v>0.18679817004337235</c:v>
                </c:pt>
                <c:pt idx="74">
                  <c:v>0.18381496477896722</c:v>
                </c:pt>
                <c:pt idx="75">
                  <c:v>0.18586118251928022</c:v>
                </c:pt>
                <c:pt idx="76">
                  <c:v>0.18114987169706637</c:v>
                </c:pt>
                <c:pt idx="77">
                  <c:v>0.1769905093095704</c:v>
                </c:pt>
                <c:pt idx="78">
                  <c:v>0.1633945027646446</c:v>
                </c:pt>
                <c:pt idx="79">
                  <c:v>0.22476419827413205</c:v>
                </c:pt>
                <c:pt idx="80">
                  <c:v>0.21057944679991925</c:v>
                </c:pt>
                <c:pt idx="81">
                  <c:v>0.17324355971896954</c:v>
                </c:pt>
                <c:pt idx="82">
                  <c:v>0.17274735318759996</c:v>
                </c:pt>
                <c:pt idx="83">
                  <c:v>0.1545659331138451</c:v>
                </c:pt>
                <c:pt idx="84">
                  <c:v>0.1574049688350452</c:v>
                </c:pt>
                <c:pt idx="85">
                  <c:v>0.16417796739296053</c:v>
                </c:pt>
                <c:pt idx="86">
                  <c:v>0.1571214565568103</c:v>
                </c:pt>
                <c:pt idx="87">
                  <c:v>0.17206188960825194</c:v>
                </c:pt>
                <c:pt idx="88">
                  <c:v>0.1534110993283846</c:v>
                </c:pt>
                <c:pt idx="89">
                  <c:v>0.1521688342029437</c:v>
                </c:pt>
                <c:pt idx="90">
                  <c:v>0.1496723669490171</c:v>
                </c:pt>
                <c:pt idx="91">
                  <c:v>0.14149109849957242</c:v>
                </c:pt>
                <c:pt idx="92">
                  <c:v>0.14851851851851852</c:v>
                </c:pt>
                <c:pt idx="93">
                  <c:v>0.14279624893435636</c:v>
                </c:pt>
                <c:pt idx="94">
                  <c:v>0.14696723531004605</c:v>
                </c:pt>
                <c:pt idx="95">
                  <c:v>0.15124254473161033</c:v>
                </c:pt>
                <c:pt idx="96">
                  <c:v>0.14782844182661387</c:v>
                </c:pt>
                <c:pt idx="97">
                  <c:v>0.15954492519931918</c:v>
                </c:pt>
                <c:pt idx="98">
                  <c:v>0.1734323983854796</c:v>
                </c:pt>
                <c:pt idx="99">
                  <c:v>0.18298980350969324</c:v>
                </c:pt>
                <c:pt idx="100">
                  <c:v>0.20112217610289895</c:v>
                </c:pt>
                <c:pt idx="101">
                  <c:v>0.1896363217861664</c:v>
                </c:pt>
                <c:pt idx="102">
                  <c:v>0.16128769687843392</c:v>
                </c:pt>
                <c:pt idx="103">
                  <c:v>0.18299982291482203</c:v>
                </c:pt>
                <c:pt idx="104">
                  <c:v>0.182912358026784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107823661212402</c:v>
                </c:pt>
                <c:pt idx="1">
                  <c:v>0.6725701307745156</c:v>
                </c:pt>
                <c:pt idx="2">
                  <c:v>0.6753940550122709</c:v>
                </c:pt>
                <c:pt idx="3">
                  <c:v>0.6648747734005906</c:v>
                </c:pt>
                <c:pt idx="4">
                  <c:v>0.6618919216911082</c:v>
                </c:pt>
                <c:pt idx="5">
                  <c:v>0.6835811998376153</c:v>
                </c:pt>
                <c:pt idx="6">
                  <c:v>0.6948027942479592</c:v>
                </c:pt>
                <c:pt idx="7">
                  <c:v>0.6974926825532075</c:v>
                </c:pt>
                <c:pt idx="8">
                  <c:v>0.7338352110400389</c:v>
                </c:pt>
                <c:pt idx="9">
                  <c:v>0.7255482178404191</c:v>
                </c:pt>
                <c:pt idx="10">
                  <c:v>0.7364441733752585</c:v>
                </c:pt>
                <c:pt idx="11">
                  <c:v>0.7208698205403392</c:v>
                </c:pt>
                <c:pt idx="12">
                  <c:v>0.725678396435816</c:v>
                </c:pt>
                <c:pt idx="13">
                  <c:v>0.6960956790170377</c:v>
                </c:pt>
                <c:pt idx="14">
                  <c:v>0.6987865206263111</c:v>
                </c:pt>
                <c:pt idx="15">
                  <c:v>0.7076467028581953</c:v>
                </c:pt>
                <c:pt idx="16">
                  <c:v>0.732990221595363</c:v>
                </c:pt>
                <c:pt idx="17">
                  <c:v>0.7176695062539675</c:v>
                </c:pt>
                <c:pt idx="18">
                  <c:v>0.7181043148353243</c:v>
                </c:pt>
                <c:pt idx="19">
                  <c:v>0.7296120563756135</c:v>
                </c:pt>
                <c:pt idx="20">
                  <c:v>0.6839190908706184</c:v>
                </c:pt>
                <c:pt idx="21">
                  <c:v>0.656196783390385</c:v>
                </c:pt>
                <c:pt idx="22">
                  <c:v>0.627632653277829</c:v>
                </c:pt>
                <c:pt idx="23">
                  <c:v>0.632046936782443</c:v>
                </c:pt>
                <c:pt idx="24">
                  <c:v>0.6343097324273914</c:v>
                </c:pt>
                <c:pt idx="25">
                  <c:v>0.6384137663542162</c:v>
                </c:pt>
                <c:pt idx="26">
                  <c:v>0.6684637596516663</c:v>
                </c:pt>
                <c:pt idx="27">
                  <c:v>0.6931371129254736</c:v>
                </c:pt>
                <c:pt idx="28">
                  <c:v>0.6787208673365708</c:v>
                </c:pt>
                <c:pt idx="29">
                  <c:v>0.6415280534393714</c:v>
                </c:pt>
                <c:pt idx="30">
                  <c:v>0.6321561527760575</c:v>
                </c:pt>
                <c:pt idx="31">
                  <c:v>0.5933816877114796</c:v>
                </c:pt>
                <c:pt idx="32">
                  <c:v>0.6127282110130753</c:v>
                </c:pt>
                <c:pt idx="33">
                  <c:v>0.6601939362574987</c:v>
                </c:pt>
                <c:pt idx="34">
                  <c:v>0.7032359087992734</c:v>
                </c:pt>
                <c:pt idx="35">
                  <c:v>0.654469578195353</c:v>
                </c:pt>
                <c:pt idx="36">
                  <c:v>0.6041524366136519</c:v>
                </c:pt>
                <c:pt idx="37">
                  <c:v>0.6400622865199139</c:v>
                </c:pt>
                <c:pt idx="38">
                  <c:v>0.6285495080014427</c:v>
                </c:pt>
                <c:pt idx="39">
                  <c:v>0.663345914419124</c:v>
                </c:pt>
                <c:pt idx="40">
                  <c:v>0.6877167735673937</c:v>
                </c:pt>
                <c:pt idx="41">
                  <c:v>0.7199849963399415</c:v>
                </c:pt>
                <c:pt idx="42">
                  <c:v>0.684628001095026</c:v>
                </c:pt>
                <c:pt idx="43">
                  <c:v>0.7340249380394768</c:v>
                </c:pt>
                <c:pt idx="44">
                  <c:v>0.7771102046315964</c:v>
                </c:pt>
                <c:pt idx="45">
                  <c:v>0.7707766499587145</c:v>
                </c:pt>
                <c:pt idx="46">
                  <c:v>0.733914618247597</c:v>
                </c:pt>
                <c:pt idx="47">
                  <c:v>0.7458992170674781</c:v>
                </c:pt>
                <c:pt idx="48">
                  <c:v>0.7812131177778845</c:v>
                </c:pt>
                <c:pt idx="49">
                  <c:v>0.8166789618814606</c:v>
                </c:pt>
                <c:pt idx="50">
                  <c:v>0.7563329083654718</c:v>
                </c:pt>
                <c:pt idx="51">
                  <c:v>0.7221158553235335</c:v>
                </c:pt>
              </c:numCache>
            </c:numRef>
          </c:xVal>
          <c:yVal>
            <c:numRef>
              <c:f>Sheet1!$B$109:$B$160</c:f>
              <c:numCache>
                <c:formatCode>General</c:formatCode>
                <c:ptCount val="52"/>
                <c:pt idx="0">
                  <c:v>0.17583408476104598</c:v>
                </c:pt>
                <c:pt idx="1">
                  <c:v>0.1831663486005089</c:v>
                </c:pt>
                <c:pt idx="2">
                  <c:v>0.19043603527634306</c:v>
                </c:pt>
                <c:pt idx="3">
                  <c:v>0.20528250216200633</c:v>
                </c:pt>
                <c:pt idx="4">
                  <c:v>0.19332110091743118</c:v>
                </c:pt>
                <c:pt idx="5">
                  <c:v>0.19093960997321865</c:v>
                </c:pt>
                <c:pt idx="6">
                  <c:v>0.1895799862290567</c:v>
                </c:pt>
                <c:pt idx="7">
                  <c:v>0.18574562385280027</c:v>
                </c:pt>
                <c:pt idx="8">
                  <c:v>0.18271100254249964</c:v>
                </c:pt>
                <c:pt idx="9">
                  <c:v>0.19039970630076636</c:v>
                </c:pt>
                <c:pt idx="10">
                  <c:v>0.19824553591307834</c:v>
                </c:pt>
                <c:pt idx="11">
                  <c:v>0.2084049118788573</c:v>
                </c:pt>
                <c:pt idx="12">
                  <c:v>0.20794900637420322</c:v>
                </c:pt>
                <c:pt idx="13">
                  <c:v>0.20005645616581982</c:v>
                </c:pt>
                <c:pt idx="14">
                  <c:v>0.2011674700393579</c:v>
                </c:pt>
                <c:pt idx="15">
                  <c:v>0.1886034161044926</c:v>
                </c:pt>
                <c:pt idx="16">
                  <c:v>0.1708314402544298</c:v>
                </c:pt>
                <c:pt idx="17">
                  <c:v>0.15750827565452905</c:v>
                </c:pt>
                <c:pt idx="18">
                  <c:v>0.15575417446130396</c:v>
                </c:pt>
                <c:pt idx="19">
                  <c:v>0.16161275072600798</c:v>
                </c:pt>
                <c:pt idx="20">
                  <c:v>0.15370691605701786</c:v>
                </c:pt>
                <c:pt idx="21">
                  <c:v>0.16223260830487146</c:v>
                </c:pt>
                <c:pt idx="22">
                  <c:v>0.16634241245136186</c:v>
                </c:pt>
                <c:pt idx="23">
                  <c:v>0.17083564943487123</c:v>
                </c:pt>
                <c:pt idx="24">
                  <c:v>0.16530264279624893</c:v>
                </c:pt>
                <c:pt idx="25">
                  <c:v>0.172339663203153</c:v>
                </c:pt>
                <c:pt idx="26">
                  <c:v>0.1497388276262333</c:v>
                </c:pt>
                <c:pt idx="27">
                  <c:v>0.14984686636288938</c:v>
                </c:pt>
                <c:pt idx="28">
                  <c:v>0.15955937014259647</c:v>
                </c:pt>
                <c:pt idx="29">
                  <c:v>0.16225219369515761</c:v>
                </c:pt>
                <c:pt idx="30">
                  <c:v>0.1687273950710741</c:v>
                </c:pt>
                <c:pt idx="31">
                  <c:v>0.17207587880967365</c:v>
                </c:pt>
                <c:pt idx="32">
                  <c:v>0.17484257171732878</c:v>
                </c:pt>
                <c:pt idx="33">
                  <c:v>0.19225181598062954</c:v>
                </c:pt>
                <c:pt idx="34">
                  <c:v>0.2116611443548786</c:v>
                </c:pt>
                <c:pt idx="35">
                  <c:v>0.2032646474677259</c:v>
                </c:pt>
                <c:pt idx="36">
                  <c:v>0.17360157016683023</c:v>
                </c:pt>
                <c:pt idx="37">
                  <c:v>0.15445141897268147</c:v>
                </c:pt>
                <c:pt idx="38">
                  <c:v>0.15996855654908126</c:v>
                </c:pt>
                <c:pt idx="39">
                  <c:v>0.17886353852776582</c:v>
                </c:pt>
                <c:pt idx="40">
                  <c:v>0.15928461645941036</c:v>
                </c:pt>
                <c:pt idx="41">
                  <c:v>0.1606812780565091</c:v>
                </c:pt>
                <c:pt idx="42">
                  <c:v>0.16119157831865014</c:v>
                </c:pt>
                <c:pt idx="43">
                  <c:v>0.15152014048951817</c:v>
                </c:pt>
                <c:pt idx="44">
                  <c:v>0.14690281398903174</c:v>
                </c:pt>
                <c:pt idx="45">
                  <c:v>0.1629537413183069</c:v>
                </c:pt>
                <c:pt idx="46">
                  <c:v>0.16084024494225255</c:v>
                </c:pt>
                <c:pt idx="47">
                  <c:v>0.16053572073210354</c:v>
                </c:pt>
                <c:pt idx="48">
                  <c:v>0.15270950725332694</c:v>
                </c:pt>
                <c:pt idx="49">
                  <c:v>0.16871387283236994</c:v>
                </c:pt>
                <c:pt idx="50">
                  <c:v>0.20077423234487166</c:v>
                </c:pt>
                <c:pt idx="51">
                  <c:v>0.1891581718760548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6.061935628689297</c:v>
                </c:pt>
              </c:numCache>
            </c:numRef>
          </c:xVal>
          <c:yVal>
            <c:numRef>
              <c:f>Sheet1!$B$163:$B$164</c:f>
              <c:numCache>
                <c:formatCode>General</c:formatCode>
                <c:ptCount val="2"/>
                <c:pt idx="0">
                  <c:v>0.2062181521145252</c:v>
                </c:pt>
                <c:pt idx="1">
                  <c:v>0.206218152114525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6.061935628689297</c:v>
                </c:pt>
                <c:pt idx="1">
                  <c:v>-6.061935628689297</c:v>
                </c:pt>
              </c:numCache>
            </c:numRef>
          </c:xVal>
          <c:yVal>
            <c:numRef>
              <c:f>Sheet1!$B$167:$B$168</c:f>
              <c:numCache>
                <c:formatCode>General</c:formatCode>
                <c:ptCount val="2"/>
                <c:pt idx="0">
                  <c:v>0.20621815211452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2.206242832285508</c:v>
                </c:pt>
              </c:numCache>
            </c:numRef>
          </c:xVal>
          <c:yVal>
            <c:numRef>
              <c:f>Sheet1!$B$171:$B$172</c:f>
              <c:numCache>
                <c:formatCode>General</c:formatCode>
                <c:ptCount val="2"/>
                <c:pt idx="0">
                  <c:v>0.18855736603499007</c:v>
                </c:pt>
                <c:pt idx="1">
                  <c:v>0.1885573660349900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206242832285508</c:v>
                </c:pt>
                <c:pt idx="1">
                  <c:v>-2.206242832285508</c:v>
                </c:pt>
              </c:numCache>
            </c:numRef>
          </c:xVal>
          <c:yVal>
            <c:numRef>
              <c:f>Sheet1!$B$175:$B$176</c:f>
              <c:numCache>
                <c:formatCode>General</c:formatCode>
                <c:ptCount val="2"/>
                <c:pt idx="0">
                  <c:v>0.1885573660349900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7834696541326895</c:v>
                </c:pt>
              </c:numCache>
            </c:numRef>
          </c:xVal>
          <c:yVal>
            <c:numRef>
              <c:f>Sheet1!$B$179:$B$180</c:f>
              <c:numCache>
                <c:formatCode>General</c:formatCode>
                <c:ptCount val="2"/>
                <c:pt idx="0">
                  <c:v>0.16570226593385937</c:v>
                </c:pt>
                <c:pt idx="1">
                  <c:v>0.1657022659338593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7834696541326895</c:v>
                </c:pt>
                <c:pt idx="1">
                  <c:v>2.7834696541326895</c:v>
                </c:pt>
              </c:numCache>
            </c:numRef>
          </c:xVal>
          <c:yVal>
            <c:numRef>
              <c:f>Sheet1!$B$183:$B$184</c:f>
              <c:numCache>
                <c:formatCode>General</c:formatCode>
                <c:ptCount val="2"/>
                <c:pt idx="0">
                  <c:v>0.1657022659338593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107823661212402</c:v>
                </c:pt>
                <c:pt idx="1">
                  <c:v>0.6725701307745156</c:v>
                </c:pt>
                <c:pt idx="2">
                  <c:v>0.6753940550122709</c:v>
                </c:pt>
                <c:pt idx="3">
                  <c:v>0.6648747734005906</c:v>
                </c:pt>
                <c:pt idx="4">
                  <c:v>0.6618919216911082</c:v>
                </c:pt>
                <c:pt idx="5">
                  <c:v>0.6835811998376153</c:v>
                </c:pt>
                <c:pt idx="6">
                  <c:v>0.6948027942479592</c:v>
                </c:pt>
                <c:pt idx="7">
                  <c:v>0.6974926825532075</c:v>
                </c:pt>
                <c:pt idx="8">
                  <c:v>0.7338352110400389</c:v>
                </c:pt>
                <c:pt idx="9">
                  <c:v>0.7255482178404191</c:v>
                </c:pt>
                <c:pt idx="10">
                  <c:v>0.7364441733752585</c:v>
                </c:pt>
                <c:pt idx="11">
                  <c:v>0.7208698205403392</c:v>
                </c:pt>
                <c:pt idx="12">
                  <c:v>0.725678396435816</c:v>
                </c:pt>
                <c:pt idx="13">
                  <c:v>0.6960956790170377</c:v>
                </c:pt>
                <c:pt idx="14">
                  <c:v>0.6987865206263111</c:v>
                </c:pt>
                <c:pt idx="15">
                  <c:v>0.7076467028581953</c:v>
                </c:pt>
                <c:pt idx="16">
                  <c:v>0.732990221595363</c:v>
                </c:pt>
                <c:pt idx="17">
                  <c:v>0.7176695062539675</c:v>
                </c:pt>
                <c:pt idx="18">
                  <c:v>0.7181043148353243</c:v>
                </c:pt>
                <c:pt idx="19">
                  <c:v>0.7296120563756135</c:v>
                </c:pt>
                <c:pt idx="20">
                  <c:v>0.6839190908706184</c:v>
                </c:pt>
                <c:pt idx="21">
                  <c:v>0.656196783390385</c:v>
                </c:pt>
                <c:pt idx="22">
                  <c:v>0.627632653277829</c:v>
                </c:pt>
                <c:pt idx="23">
                  <c:v>0.632046936782443</c:v>
                </c:pt>
                <c:pt idx="24">
                  <c:v>0.6343097324273914</c:v>
                </c:pt>
                <c:pt idx="25">
                  <c:v>0.6384137663542162</c:v>
                </c:pt>
                <c:pt idx="26">
                  <c:v>0.6684637596516663</c:v>
                </c:pt>
                <c:pt idx="27">
                  <c:v>0.6931371129254736</c:v>
                </c:pt>
                <c:pt idx="28">
                  <c:v>0.6787208673365708</c:v>
                </c:pt>
                <c:pt idx="29">
                  <c:v>0.6415280534393714</c:v>
                </c:pt>
                <c:pt idx="30">
                  <c:v>0.6321561527760575</c:v>
                </c:pt>
                <c:pt idx="31">
                  <c:v>0.5933816877114796</c:v>
                </c:pt>
                <c:pt idx="32">
                  <c:v>0.6127282110130753</c:v>
                </c:pt>
                <c:pt idx="33">
                  <c:v>0.6601939362574987</c:v>
                </c:pt>
                <c:pt idx="34">
                  <c:v>0.7032359087992734</c:v>
                </c:pt>
                <c:pt idx="35">
                  <c:v>0.654469578195353</c:v>
                </c:pt>
                <c:pt idx="36">
                  <c:v>0.6041524366136519</c:v>
                </c:pt>
                <c:pt idx="37">
                  <c:v>0.6400622865199139</c:v>
                </c:pt>
                <c:pt idx="38">
                  <c:v>0.6285495080014427</c:v>
                </c:pt>
                <c:pt idx="39">
                  <c:v>0.663345914419124</c:v>
                </c:pt>
                <c:pt idx="40">
                  <c:v>0.6877167735673937</c:v>
                </c:pt>
                <c:pt idx="41">
                  <c:v>0.7199849963399415</c:v>
                </c:pt>
                <c:pt idx="42">
                  <c:v>0.684628001095026</c:v>
                </c:pt>
                <c:pt idx="43">
                  <c:v>0.7340249380394768</c:v>
                </c:pt>
                <c:pt idx="44">
                  <c:v>0.7771102046315964</c:v>
                </c:pt>
                <c:pt idx="45">
                  <c:v>0.7707766499587145</c:v>
                </c:pt>
                <c:pt idx="46">
                  <c:v>0.733914618247597</c:v>
                </c:pt>
                <c:pt idx="47">
                  <c:v>0.7458992170674781</c:v>
                </c:pt>
                <c:pt idx="48">
                  <c:v>0.7812131177778845</c:v>
                </c:pt>
                <c:pt idx="49">
                  <c:v>0.8166789618814606</c:v>
                </c:pt>
                <c:pt idx="50">
                  <c:v>0.7563329083654718</c:v>
                </c:pt>
                <c:pt idx="51">
                  <c:v>0.7221158553235335</c:v>
                </c:pt>
                <c:pt idx="52">
                  <c:v>-2.206242832285508</c:v>
                </c:pt>
                <c:pt idx="53">
                  <c:v>-6.061935628689297</c:v>
                </c:pt>
                <c:pt idx="54">
                  <c:v>2.7834696541326895</c:v>
                </c:pt>
              </c:numCache>
            </c:numRef>
          </c:xVal>
          <c:yVal>
            <c:numRef>
              <c:f>Sheet1!$B$187:$B$241</c:f>
              <c:numCache>
                <c:formatCode>General</c:formatCode>
                <c:ptCount val="55"/>
                <c:pt idx="0">
                  <c:v>0.17519609460129984</c:v>
                </c:pt>
                <c:pt idx="1">
                  <c:v>0.17537112361676208</c:v>
                </c:pt>
                <c:pt idx="2">
                  <c:v>0.17535818878909262</c:v>
                </c:pt>
                <c:pt idx="3">
                  <c:v>0.17540637177255738</c:v>
                </c:pt>
                <c:pt idx="4">
                  <c:v>0.1754200345586583</c:v>
                </c:pt>
                <c:pt idx="5">
                  <c:v>0.17532068802827022</c:v>
                </c:pt>
                <c:pt idx="6">
                  <c:v>0.17526928814015227</c:v>
                </c:pt>
                <c:pt idx="7">
                  <c:v>0.17525696725660544</c:v>
                </c:pt>
                <c:pt idx="8">
                  <c:v>0.17509050232926632</c:v>
                </c:pt>
                <c:pt idx="9">
                  <c:v>0.1751284604400052</c:v>
                </c:pt>
                <c:pt idx="10">
                  <c:v>0.17507855212261736</c:v>
                </c:pt>
                <c:pt idx="11">
                  <c:v>0.17514988957823657</c:v>
                </c:pt>
                <c:pt idx="12">
                  <c:v>0.17512786416420034</c:v>
                </c:pt>
                <c:pt idx="13">
                  <c:v>0.1752633661534853</c:v>
                </c:pt>
                <c:pt idx="14">
                  <c:v>0.1752510409033825</c:v>
                </c:pt>
                <c:pt idx="15">
                  <c:v>0.17521045733220977</c:v>
                </c:pt>
                <c:pt idx="16">
                  <c:v>0.17509437275634904</c:v>
                </c:pt>
                <c:pt idx="17">
                  <c:v>0.17516454843955756</c:v>
                </c:pt>
                <c:pt idx="18">
                  <c:v>0.1751625568230709</c:v>
                </c:pt>
                <c:pt idx="19">
                  <c:v>0.17510984625396353</c:v>
                </c:pt>
                <c:pt idx="20">
                  <c:v>0.17531914033721516</c:v>
                </c:pt>
                <c:pt idx="21">
                  <c:v>0.17544612082240738</c:v>
                </c:pt>
                <c:pt idx="22">
                  <c:v>0.17557695722927474</c:v>
                </c:pt>
                <c:pt idx="23">
                  <c:v>0.17555673784957154</c:v>
                </c:pt>
                <c:pt idx="24">
                  <c:v>0.1755463732401648</c:v>
                </c:pt>
                <c:pt idx="25">
                  <c:v>0.17552757494137075</c:v>
                </c:pt>
                <c:pt idx="26">
                  <c:v>0.17538993262095232</c:v>
                </c:pt>
                <c:pt idx="27">
                  <c:v>0.17527691770066614</c:v>
                </c:pt>
                <c:pt idx="28">
                  <c:v>0.17534295051055523</c:v>
                </c:pt>
                <c:pt idx="29">
                  <c:v>0.17551331012285293</c:v>
                </c:pt>
                <c:pt idx="30">
                  <c:v>0.17555623759179648</c:v>
                </c:pt>
                <c:pt idx="31">
                  <c:v>0.17573384186916333</c:v>
                </c:pt>
                <c:pt idx="32">
                  <c:v>0.17564522619684347</c:v>
                </c:pt>
                <c:pt idx="33">
                  <c:v>0.17542781208635375</c:v>
                </c:pt>
                <c:pt idx="34">
                  <c:v>0.17523066072870136</c:v>
                </c:pt>
                <c:pt idx="35">
                  <c:v>0.17545403218959238</c:v>
                </c:pt>
                <c:pt idx="36">
                  <c:v>0.17568450705378202</c:v>
                </c:pt>
                <c:pt idx="37">
                  <c:v>0.17552002398657962</c:v>
                </c:pt>
                <c:pt idx="38">
                  <c:v>0.17557275762728497</c:v>
                </c:pt>
                <c:pt idx="39">
                  <c:v>0.17541337462595966</c:v>
                </c:pt>
                <c:pt idx="40">
                  <c:v>0.17530174526316564</c:v>
                </c:pt>
                <c:pt idx="41">
                  <c:v>0.17515394246619895</c:v>
                </c:pt>
                <c:pt idx="42">
                  <c:v>0.17531589321342084</c:v>
                </c:pt>
                <c:pt idx="43">
                  <c:v>0.1750896332953138</c:v>
                </c:pt>
                <c:pt idx="44">
                  <c:v>0.17489228363167542</c:v>
                </c:pt>
                <c:pt idx="45">
                  <c:v>0.17492129412605534</c:v>
                </c:pt>
                <c:pt idx="46">
                  <c:v>0.17509013860897532</c:v>
                </c:pt>
                <c:pt idx="47">
                  <c:v>0.17503524382166127</c:v>
                </c:pt>
                <c:pt idx="48">
                  <c:v>0.1748734904665542</c:v>
                </c:pt>
                <c:pt idx="49">
                  <c:v>0.17471104114319846</c:v>
                </c:pt>
                <c:pt idx="50">
                  <c:v>0.1749874528798607</c:v>
                </c:pt>
                <c:pt idx="51">
                  <c:v>0.17514418218532027</c:v>
                </c:pt>
                <c:pt idx="52">
                  <c:v>0.18855736603499007</c:v>
                </c:pt>
                <c:pt idx="53">
                  <c:v>0.2062181521145252</c:v>
                </c:pt>
                <c:pt idx="54">
                  <c:v>0.1657022659338593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045482239256416"/>
          <c:min val="0.106804827194035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5.339</c:v>
                </c:pt>
                <c:pt idx="1">
                  <c:v>908.2997</c:v>
                </c:pt>
                <c:pt idx="2">
                  <c:v>940.9637</c:v>
                </c:pt>
                <c:pt idx="3">
                  <c:v>955.9334</c:v>
                </c:pt>
                <c:pt idx="4">
                  <c:v>942.4441</c:v>
                </c:pt>
                <c:pt idx="5">
                  <c:v>940.2147</c:v>
                </c:pt>
                <c:pt idx="6">
                  <c:v>909.8198</c:v>
                </c:pt>
                <c:pt idx="7">
                  <c:v>924.4938</c:v>
                </c:pt>
                <c:pt idx="8">
                  <c:v>923.6388</c:v>
                </c:pt>
                <c:pt idx="9">
                  <c:v>897.1056</c:v>
                </c:pt>
                <c:pt idx="10">
                  <c:v>879.3296</c:v>
                </c:pt>
                <c:pt idx="11">
                  <c:v>894.5324</c:v>
                </c:pt>
                <c:pt idx="12">
                  <c:v>888.5455</c:v>
                </c:pt>
                <c:pt idx="13">
                  <c:v>871.4541</c:v>
                </c:pt>
                <c:pt idx="14">
                  <c:v>924.2327</c:v>
                </c:pt>
                <c:pt idx="15">
                  <c:v>926.4744</c:v>
                </c:pt>
                <c:pt idx="16">
                  <c:v>967.2882</c:v>
                </c:pt>
                <c:pt idx="17">
                  <c:v>949.7834</c:v>
                </c:pt>
                <c:pt idx="18">
                  <c:v>1007.0661</c:v>
                </c:pt>
                <c:pt idx="19">
                  <c:v>1009.8445</c:v>
                </c:pt>
                <c:pt idx="20">
                  <c:v>1021.2071</c:v>
                </c:pt>
                <c:pt idx="21">
                  <c:v>1026.5957</c:v>
                </c:pt>
                <c:pt idx="22">
                  <c:v>1010.5776</c:v>
                </c:pt>
                <c:pt idx="23">
                  <c:v>995.7251</c:v>
                </c:pt>
                <c:pt idx="24">
                  <c:v>1003.6206</c:v>
                </c:pt>
                <c:pt idx="25">
                  <c:v>975.6425</c:v>
                </c:pt>
                <c:pt idx="26">
                  <c:v>996.5869</c:v>
                </c:pt>
                <c:pt idx="27">
                  <c:v>1051.6926</c:v>
                </c:pt>
                <c:pt idx="28">
                  <c:v>1017.9765</c:v>
                </c:pt>
                <c:pt idx="29">
                  <c:v>955.151</c:v>
                </c:pt>
                <c:pt idx="30">
                  <c:v>975.1197</c:v>
                </c:pt>
                <c:pt idx="31">
                  <c:v>979.0429</c:v>
                </c:pt>
                <c:pt idx="32">
                  <c:v>964.5436</c:v>
                </c:pt>
                <c:pt idx="33">
                  <c:v>917.2174</c:v>
                </c:pt>
                <c:pt idx="34">
                  <c:v>975.4718</c:v>
                </c:pt>
                <c:pt idx="35">
                  <c:v>1007.2858</c:v>
                </c:pt>
                <c:pt idx="36">
                  <c:v>1086.5904</c:v>
                </c:pt>
                <c:pt idx="37">
                  <c:v>1090.6655</c:v>
                </c:pt>
                <c:pt idx="38">
                  <c:v>1115.782</c:v>
                </c:pt>
                <c:pt idx="39">
                  <c:v>1139.0051</c:v>
                </c:pt>
                <c:pt idx="40">
                  <c:v>1161.8093</c:v>
                </c:pt>
                <c:pt idx="41">
                  <c:v>1164.516</c:v>
                </c:pt>
                <c:pt idx="42">
                  <c:v>1188.0815</c:v>
                </c:pt>
                <c:pt idx="43">
                  <c:v>1207.3765</c:v>
                </c:pt>
                <c:pt idx="44">
                  <c:v>1068.4104</c:v>
                </c:pt>
                <c:pt idx="45">
                  <c:v>1044.4211</c:v>
                </c:pt>
                <c:pt idx="46">
                  <c:v>1022.3771</c:v>
                </c:pt>
                <c:pt idx="47">
                  <c:v>998.029</c:v>
                </c:pt>
                <c:pt idx="48">
                  <c:v>992.409</c:v>
                </c:pt>
                <c:pt idx="49">
                  <c:v>950.193</c:v>
                </c:pt>
                <c:pt idx="50">
                  <c:v>957.3793</c:v>
                </c:pt>
                <c:pt idx="51">
                  <c:v>985.9719</c:v>
                </c:pt>
                <c:pt idx="52">
                  <c:v>989.7834</c:v>
                </c:pt>
                <c:pt idx="53">
                  <c:v>1077.0405</c:v>
                </c:pt>
                <c:pt idx="54">
                  <c:v>1079.7286</c:v>
                </c:pt>
                <c:pt idx="55">
                  <c:v>1113.3342</c:v>
                </c:pt>
                <c:pt idx="56">
                  <c:v>1089.9423</c:v>
                </c:pt>
                <c:pt idx="57">
                  <c:v>1092.6085</c:v>
                </c:pt>
                <c:pt idx="58">
                  <c:v>1065.2985</c:v>
                </c:pt>
                <c:pt idx="59">
                  <c:v>1076.2585</c:v>
                </c:pt>
                <c:pt idx="60">
                  <c:v>1099.4991</c:v>
                </c:pt>
                <c:pt idx="61">
                  <c:v>1074.6468</c:v>
                </c:pt>
                <c:pt idx="62">
                  <c:v>1024.3388</c:v>
                </c:pt>
                <c:pt idx="63">
                  <c:v>1051.3767</c:v>
                </c:pt>
                <c:pt idx="64">
                  <c:v>1058.04</c:v>
                </c:pt>
                <c:pt idx="65">
                  <c:v>1027.6052</c:v>
                </c:pt>
                <c:pt idx="66">
                  <c:v>1040.2006</c:v>
                </c:pt>
                <c:pt idx="67">
                  <c:v>1026.6074</c:v>
                </c:pt>
                <c:pt idx="68">
                  <c:v>1024.3861</c:v>
                </c:pt>
                <c:pt idx="69">
                  <c:v>1042.0443</c:v>
                </c:pt>
                <c:pt idx="70">
                  <c:v>1039.7038</c:v>
                </c:pt>
                <c:pt idx="71">
                  <c:v>1056.9024</c:v>
                </c:pt>
                <c:pt idx="72">
                  <c:v>1076.037</c:v>
                </c:pt>
                <c:pt idx="73">
                  <c:v>1112.2362</c:v>
                </c:pt>
                <c:pt idx="74">
                  <c:v>1082.1863</c:v>
                </c:pt>
                <c:pt idx="75">
                  <c:v>1094.3358</c:v>
                </c:pt>
                <c:pt idx="76">
                  <c:v>1069.793</c:v>
                </c:pt>
                <c:pt idx="77">
                  <c:v>1033.0136</c:v>
                </c:pt>
                <c:pt idx="78">
                  <c:v>1099.6623</c:v>
                </c:pt>
                <c:pt idx="79">
                  <c:v>835.6999</c:v>
                </c:pt>
                <c:pt idx="80">
                  <c:v>829.1711</c:v>
                </c:pt>
                <c:pt idx="81">
                  <c:v>1000.7921</c:v>
                </c:pt>
                <c:pt idx="82">
                  <c:v>1004.7331</c:v>
                </c:pt>
                <c:pt idx="83">
                  <c:v>1035.0474</c:v>
                </c:pt>
                <c:pt idx="84">
                  <c:v>1034.8995</c:v>
                </c:pt>
                <c:pt idx="85">
                  <c:v>1059.6931</c:v>
                </c:pt>
                <c:pt idx="86">
                  <c:v>1143.2755</c:v>
                </c:pt>
                <c:pt idx="87">
                  <c:v>1164.9097</c:v>
                </c:pt>
                <c:pt idx="88">
                  <c:v>1166.1309</c:v>
                </c:pt>
                <c:pt idx="89">
                  <c:v>1119.1226</c:v>
                </c:pt>
                <c:pt idx="90">
                  <c:v>1152.0588</c:v>
                </c:pt>
                <c:pt idx="91">
                  <c:v>1172.9296</c:v>
                </c:pt>
                <c:pt idx="92">
                  <c:v>1168.2515</c:v>
                </c:pt>
                <c:pt idx="93">
                  <c:v>1196.6421</c:v>
                </c:pt>
                <c:pt idx="94">
                  <c:v>1182.9458</c:v>
                </c:pt>
                <c:pt idx="95">
                  <c:v>1191.1058</c:v>
                </c:pt>
                <c:pt idx="96">
                  <c:v>1134.5103</c:v>
                </c:pt>
                <c:pt idx="97">
                  <c:v>1151.7349</c:v>
                </c:pt>
                <c:pt idx="98">
                  <c:v>1135.9488</c:v>
                </c:pt>
                <c:pt idx="99">
                  <c:v>1087.9181</c:v>
                </c:pt>
                <c:pt idx="100">
                  <c:v>1075.9064</c:v>
                </c:pt>
                <c:pt idx="101">
                  <c:v>1118.8907</c:v>
                </c:pt>
                <c:pt idx="102">
                  <c:v>1146.2543</c:v>
                </c:pt>
                <c:pt idx="103">
                  <c:v>1027.8397</c:v>
                </c:pt>
                <c:pt idx="104">
                  <c:v>1112.0425</c:v>
                </c:pt>
              </c:numCache>
            </c:numRef>
          </c:xVal>
          <c:yVal>
            <c:numRef>
              <c:f>Sheet1!$B$2:$B$106</c:f>
              <c:numCache>
                <c:formatCode>General</c:formatCode>
                <c:ptCount val="105"/>
                <c:pt idx="0">
                  <c:v>0.22194230725584985</c:v>
                </c:pt>
                <c:pt idx="1">
                  <c:v>0.22026857992494867</c:v>
                </c:pt>
                <c:pt idx="2">
                  <c:v>0.20593717638936831</c:v>
                </c:pt>
                <c:pt idx="3">
                  <c:v>0.2040204890306369</c:v>
                </c:pt>
                <c:pt idx="4">
                  <c:v>0.19666111126804328</c:v>
                </c:pt>
                <c:pt idx="5">
                  <c:v>0.18637910155123696</c:v>
                </c:pt>
                <c:pt idx="6">
                  <c:v>0.20510359622875854</c:v>
                </c:pt>
                <c:pt idx="7">
                  <c:v>0.19365059045668384</c:v>
                </c:pt>
                <c:pt idx="8">
                  <c:v>0.2037377553408445</c:v>
                </c:pt>
                <c:pt idx="9">
                  <c:v>0.20627696516889404</c:v>
                </c:pt>
                <c:pt idx="10">
                  <c:v>0.21713827011840256</c:v>
                </c:pt>
                <c:pt idx="11">
                  <c:v>0.21172901921132456</c:v>
                </c:pt>
                <c:pt idx="12">
                  <c:v>0.2256641278097715</c:v>
                </c:pt>
                <c:pt idx="13">
                  <c:v>0.23085775851514484</c:v>
                </c:pt>
                <c:pt idx="14">
                  <c:v>0.22159297175633486</c:v>
                </c:pt>
                <c:pt idx="15">
                  <c:v>0.21491924999277728</c:v>
                </c:pt>
                <c:pt idx="16">
                  <c:v>0.2051609941635517</c:v>
                </c:pt>
                <c:pt idx="17">
                  <c:v>0.19201745288079825</c:v>
                </c:pt>
                <c:pt idx="18">
                  <c:v>0.18351630992812573</c:v>
                </c:pt>
                <c:pt idx="19">
                  <c:v>0.15794605134871628</c:v>
                </c:pt>
                <c:pt idx="20">
                  <c:v>0.17411278281842196</c:v>
                </c:pt>
                <c:pt idx="21">
                  <c:v>0.16995708154506436</c:v>
                </c:pt>
                <c:pt idx="22">
                  <c:v>0.16563987678521422</c:v>
                </c:pt>
                <c:pt idx="23">
                  <c:v>0.16956735496558506</c:v>
                </c:pt>
                <c:pt idx="24">
                  <c:v>0.18010355029585798</c:v>
                </c:pt>
                <c:pt idx="25">
                  <c:v>0.17641213389121338</c:v>
                </c:pt>
                <c:pt idx="26">
                  <c:v>0.17198937013380577</c:v>
                </c:pt>
                <c:pt idx="27">
                  <c:v>0.1726867436993904</c:v>
                </c:pt>
                <c:pt idx="28">
                  <c:v>0.163946587537092</c:v>
                </c:pt>
                <c:pt idx="29">
                  <c:v>0.17798194975201237</c:v>
                </c:pt>
                <c:pt idx="30">
                  <c:v>0.16221154850161845</c:v>
                </c:pt>
                <c:pt idx="31">
                  <c:v>0.15749670084255404</c:v>
                </c:pt>
                <c:pt idx="32">
                  <c:v>0.16348269653930786</c:v>
                </c:pt>
                <c:pt idx="33">
                  <c:v>0.18088082487411078</c:v>
                </c:pt>
                <c:pt idx="34">
                  <c:v>0.18054500054282924</c:v>
                </c:pt>
                <c:pt idx="35">
                  <c:v>0.19449394155381325</c:v>
                </c:pt>
                <c:pt idx="36">
                  <c:v>0.16721767225185966</c:v>
                </c:pt>
                <c:pt idx="37">
                  <c:v>0.13747257569109259</c:v>
                </c:pt>
                <c:pt idx="38">
                  <c:v>0.13328411361070094</c:v>
                </c:pt>
                <c:pt idx="39">
                  <c:v>0.13529929985626188</c:v>
                </c:pt>
                <c:pt idx="40">
                  <c:v>0.14140245313584818</c:v>
                </c:pt>
                <c:pt idx="41">
                  <c:v>0.1320315745741587</c:v>
                </c:pt>
                <c:pt idx="42">
                  <c:v>0.13478445830969937</c:v>
                </c:pt>
                <c:pt idx="43">
                  <c:v>0.14850637407242975</c:v>
                </c:pt>
                <c:pt idx="44">
                  <c:v>0.160577483329377</c:v>
                </c:pt>
                <c:pt idx="45">
                  <c:v>0.17985482748334494</c:v>
                </c:pt>
                <c:pt idx="46">
                  <c:v>0.1890920904278698</c:v>
                </c:pt>
                <c:pt idx="47">
                  <c:v>0.1872183925751916</c:v>
                </c:pt>
                <c:pt idx="48">
                  <c:v>0.20402986156410813</c:v>
                </c:pt>
                <c:pt idx="49">
                  <c:v>0.2373207055109464</c:v>
                </c:pt>
                <c:pt idx="50">
                  <c:v>0.19963127804987058</c:v>
                </c:pt>
                <c:pt idx="51">
                  <c:v>0.18215747110931246</c:v>
                </c:pt>
                <c:pt idx="52">
                  <c:v>0.19546332988463117</c:v>
                </c:pt>
                <c:pt idx="53">
                  <c:v>0.18087203153542927</c:v>
                </c:pt>
                <c:pt idx="54">
                  <c:v>0.1730390224674813</c:v>
                </c:pt>
                <c:pt idx="55">
                  <c:v>0.1718077183480027</c:v>
                </c:pt>
                <c:pt idx="56">
                  <c:v>0.18865047380459646</c:v>
                </c:pt>
                <c:pt idx="57">
                  <c:v>0.1838357464989319</c:v>
                </c:pt>
                <c:pt idx="58">
                  <c:v>0.19846960029818675</c:v>
                </c:pt>
                <c:pt idx="59">
                  <c:v>0.20095489936829733</c:v>
                </c:pt>
                <c:pt idx="60">
                  <c:v>0.20754898811435915</c:v>
                </c:pt>
                <c:pt idx="61">
                  <c:v>0.20793681621026736</c:v>
                </c:pt>
                <c:pt idx="62">
                  <c:v>0.215126935636785</c:v>
                </c:pt>
                <c:pt idx="63">
                  <c:v>0.22940080302768331</c:v>
                </c:pt>
                <c:pt idx="64">
                  <c:v>0.21880271394834502</c:v>
                </c:pt>
                <c:pt idx="65">
                  <c:v>0.21689451132421955</c:v>
                </c:pt>
                <c:pt idx="66">
                  <c:v>0.2178862817026121</c:v>
                </c:pt>
                <c:pt idx="67">
                  <c:v>0.21287441455179174</c:v>
                </c:pt>
                <c:pt idx="68">
                  <c:v>0.19509166798753105</c:v>
                </c:pt>
                <c:pt idx="69">
                  <c:v>0.1761484219894571</c:v>
                </c:pt>
                <c:pt idx="70">
                  <c:v>0.1632560695697152</c:v>
                </c:pt>
                <c:pt idx="71">
                  <c:v>0.1733943061477101</c:v>
                </c:pt>
                <c:pt idx="72">
                  <c:v>0.1759865159627206</c:v>
                </c:pt>
                <c:pt idx="73">
                  <c:v>0.17940107322139517</c:v>
                </c:pt>
                <c:pt idx="74">
                  <c:v>0.1715601227812625</c:v>
                </c:pt>
                <c:pt idx="75">
                  <c:v>0.16595561470116246</c:v>
                </c:pt>
                <c:pt idx="76">
                  <c:v>0.1590899603423085</c:v>
                </c:pt>
                <c:pt idx="77">
                  <c:v>0.16565724071676205</c:v>
                </c:pt>
                <c:pt idx="78">
                  <c:v>0.15544116232079283</c:v>
                </c:pt>
                <c:pt idx="79">
                  <c:v>0.18983507236620667</c:v>
                </c:pt>
                <c:pt idx="80">
                  <c:v>0.18471825886962817</c:v>
                </c:pt>
                <c:pt idx="81">
                  <c:v>0.16555171917709682</c:v>
                </c:pt>
                <c:pt idx="82">
                  <c:v>0.15227773695811903</c:v>
                </c:pt>
                <c:pt idx="83">
                  <c:v>0.14037588427832332</c:v>
                </c:pt>
                <c:pt idx="84">
                  <c:v>0.13738054466110589</c:v>
                </c:pt>
                <c:pt idx="85">
                  <c:v>0.1408924507766894</c:v>
                </c:pt>
                <c:pt idx="86">
                  <c:v>0.14388276219376805</c:v>
                </c:pt>
                <c:pt idx="87">
                  <c:v>0.16424116424116425</c:v>
                </c:pt>
                <c:pt idx="88">
                  <c:v>0.15143294683876612</c:v>
                </c:pt>
                <c:pt idx="89">
                  <c:v>0.13790962071271615</c:v>
                </c:pt>
                <c:pt idx="90">
                  <c:v>0.13506044905008635</c:v>
                </c:pt>
                <c:pt idx="91">
                  <c:v>0.13018990876931671</c:v>
                </c:pt>
                <c:pt idx="92">
                  <c:v>0.14122937388056858</c:v>
                </c:pt>
                <c:pt idx="93">
                  <c:v>0.13123975562509313</c:v>
                </c:pt>
                <c:pt idx="94">
                  <c:v>0.13373245077785742</c:v>
                </c:pt>
                <c:pt idx="95">
                  <c:v>0.14385922108024032</c:v>
                </c:pt>
                <c:pt idx="96">
                  <c:v>0.13698139399502945</c:v>
                </c:pt>
                <c:pt idx="97">
                  <c:v>0.14533199314137055</c:v>
                </c:pt>
                <c:pt idx="98">
                  <c:v>0.16315129011740842</c:v>
                </c:pt>
                <c:pt idx="99">
                  <c:v>0.17124577715327813</c:v>
                </c:pt>
                <c:pt idx="100">
                  <c:v>0.19575939007580978</c:v>
                </c:pt>
                <c:pt idx="101">
                  <c:v>0.17001159575417002</c:v>
                </c:pt>
                <c:pt idx="102">
                  <c:v>0.14514833816640643</c:v>
                </c:pt>
                <c:pt idx="103">
                  <c:v>0.16519679377366073</c:v>
                </c:pt>
                <c:pt idx="104">
                  <c:v>0.16716878359162227</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63.7059</c:v>
                </c:pt>
                <c:pt idx="1">
                  <c:v>1164.446</c:v>
                </c:pt>
                <c:pt idx="2">
                  <c:v>1157.818</c:v>
                </c:pt>
                <c:pt idx="3">
                  <c:v>1177.4242</c:v>
                </c:pt>
                <c:pt idx="4">
                  <c:v>1168.3079</c:v>
                </c:pt>
                <c:pt idx="5">
                  <c:v>1183.8174</c:v>
                </c:pt>
                <c:pt idx="6">
                  <c:v>1119.6582</c:v>
                </c:pt>
                <c:pt idx="7">
                  <c:v>1136.6996</c:v>
                </c:pt>
                <c:pt idx="8">
                  <c:v>1204.0604</c:v>
                </c:pt>
                <c:pt idx="9">
                  <c:v>1142.6138</c:v>
                </c:pt>
                <c:pt idx="10">
                  <c:v>1161.5193</c:v>
                </c:pt>
                <c:pt idx="11">
                  <c:v>1093.1648</c:v>
                </c:pt>
                <c:pt idx="12">
                  <c:v>1114.1858</c:v>
                </c:pt>
                <c:pt idx="13">
                  <c:v>1133.4451</c:v>
                </c:pt>
                <c:pt idx="14">
                  <c:v>1157.0852</c:v>
                </c:pt>
                <c:pt idx="15">
                  <c:v>1166.4876</c:v>
                </c:pt>
                <c:pt idx="16">
                  <c:v>1180.1941</c:v>
                </c:pt>
                <c:pt idx="17">
                  <c:v>1159.8544</c:v>
                </c:pt>
                <c:pt idx="18">
                  <c:v>1130.6592</c:v>
                </c:pt>
                <c:pt idx="19">
                  <c:v>1198.172</c:v>
                </c:pt>
                <c:pt idx="20">
                  <c:v>1161.5629</c:v>
                </c:pt>
                <c:pt idx="21">
                  <c:v>1185.0671</c:v>
                </c:pt>
                <c:pt idx="22">
                  <c:v>1170.6061</c:v>
                </c:pt>
                <c:pt idx="23">
                  <c:v>1128.4268</c:v>
                </c:pt>
                <c:pt idx="24">
                  <c:v>1133.2159</c:v>
                </c:pt>
                <c:pt idx="25">
                  <c:v>1100.9002</c:v>
                </c:pt>
                <c:pt idx="26">
                  <c:v>1163.4706</c:v>
                </c:pt>
                <c:pt idx="27">
                  <c:v>1205.6455</c:v>
                </c:pt>
                <c:pt idx="28">
                  <c:v>1221.575</c:v>
                </c:pt>
                <c:pt idx="29">
                  <c:v>1221.8864</c:v>
                </c:pt>
                <c:pt idx="30">
                  <c:v>1221.5524</c:v>
                </c:pt>
                <c:pt idx="31">
                  <c:v>1131.664</c:v>
                </c:pt>
                <c:pt idx="32">
                  <c:v>1155.5517</c:v>
                </c:pt>
                <c:pt idx="33">
                  <c:v>1201.6145</c:v>
                </c:pt>
                <c:pt idx="34">
                  <c:v>1253.8698</c:v>
                </c:pt>
                <c:pt idx="35">
                  <c:v>1239.0244</c:v>
                </c:pt>
                <c:pt idx="36">
                  <c:v>1201.2271</c:v>
                </c:pt>
                <c:pt idx="37">
                  <c:v>1258.9395</c:v>
                </c:pt>
                <c:pt idx="38">
                  <c:v>1219.6602</c:v>
                </c:pt>
                <c:pt idx="39">
                  <c:v>1230.2412</c:v>
                </c:pt>
                <c:pt idx="40">
                  <c:v>1244.8039</c:v>
                </c:pt>
                <c:pt idx="41">
                  <c:v>1276.2091</c:v>
                </c:pt>
                <c:pt idx="42">
                  <c:v>1265.5872</c:v>
                </c:pt>
                <c:pt idx="43">
                  <c:v>1274.7125</c:v>
                </c:pt>
                <c:pt idx="44">
                  <c:v>1199.8527</c:v>
                </c:pt>
                <c:pt idx="45">
                  <c:v>1172.4964</c:v>
                </c:pt>
                <c:pt idx="46">
                  <c:v>1159.8599</c:v>
                </c:pt>
                <c:pt idx="47">
                  <c:v>1144.4188</c:v>
                </c:pt>
                <c:pt idx="48">
                  <c:v>1111.6808</c:v>
                </c:pt>
                <c:pt idx="49">
                  <c:v>1124.798</c:v>
                </c:pt>
                <c:pt idx="50">
                  <c:v>1042.0603</c:v>
                </c:pt>
                <c:pt idx="51">
                  <c:v>1015.9456</c:v>
                </c:pt>
              </c:numCache>
            </c:numRef>
          </c:xVal>
          <c:yVal>
            <c:numRef>
              <c:f>Sheet1!$B$109:$B$160</c:f>
              <c:numCache>
                <c:formatCode>General</c:formatCode>
                <c:ptCount val="52"/>
                <c:pt idx="0">
                  <c:v>0.16762589928057553</c:v>
                </c:pt>
                <c:pt idx="1">
                  <c:v>0.1615433092920664</c:v>
                </c:pt>
                <c:pt idx="2">
                  <c:v>0.16950079973061705</c:v>
                </c:pt>
                <c:pt idx="3">
                  <c:v>0.1768236380424746</c:v>
                </c:pt>
                <c:pt idx="4">
                  <c:v>0.165415823707281</c:v>
                </c:pt>
                <c:pt idx="5">
                  <c:v>0.16068098549834361</c:v>
                </c:pt>
                <c:pt idx="6">
                  <c:v>0.16907997798382657</c:v>
                </c:pt>
                <c:pt idx="7">
                  <c:v>0.16591660020508145</c:v>
                </c:pt>
                <c:pt idx="8">
                  <c:v>0.1669268719165678</c:v>
                </c:pt>
                <c:pt idx="9">
                  <c:v>0.1827140688114132</c:v>
                </c:pt>
                <c:pt idx="10">
                  <c:v>0.17981281576985728</c:v>
                </c:pt>
                <c:pt idx="11">
                  <c:v>0.2001124695394997</c:v>
                </c:pt>
                <c:pt idx="12">
                  <c:v>0.19026330031294855</c:v>
                </c:pt>
                <c:pt idx="13">
                  <c:v>0.18480108806528392</c:v>
                </c:pt>
                <c:pt idx="14">
                  <c:v>0.18698388253100023</c:v>
                </c:pt>
                <c:pt idx="15">
                  <c:v>0.17095786309760108</c:v>
                </c:pt>
                <c:pt idx="16">
                  <c:v>0.16961976822143474</c:v>
                </c:pt>
                <c:pt idx="17">
                  <c:v>0.14999830663460562</c:v>
                </c:pt>
                <c:pt idx="18">
                  <c:v>0.1481346309813463</c:v>
                </c:pt>
                <c:pt idx="19">
                  <c:v>0.15853748797276293</c:v>
                </c:pt>
                <c:pt idx="20">
                  <c:v>0.15641689593785402</c:v>
                </c:pt>
                <c:pt idx="21">
                  <c:v>0.1529496749337828</c:v>
                </c:pt>
                <c:pt idx="22">
                  <c:v>0.1511989127269197</c:v>
                </c:pt>
                <c:pt idx="23">
                  <c:v>0.15308917520543777</c:v>
                </c:pt>
                <c:pt idx="24">
                  <c:v>0.1520007631039252</c:v>
                </c:pt>
                <c:pt idx="25">
                  <c:v>0.1582287970413314</c:v>
                </c:pt>
                <c:pt idx="26">
                  <c:v>0.14265774654666216</c:v>
                </c:pt>
                <c:pt idx="27">
                  <c:v>0.1304051172707889</c:v>
                </c:pt>
                <c:pt idx="28">
                  <c:v>0.13956879902250602</c:v>
                </c:pt>
                <c:pt idx="29">
                  <c:v>0.12897674418604652</c:v>
                </c:pt>
                <c:pt idx="30">
                  <c:v>0.1453814872192099</c:v>
                </c:pt>
                <c:pt idx="31">
                  <c:v>0.13441646357974546</c:v>
                </c:pt>
                <c:pt idx="32">
                  <c:v>0.13719262788123768</c:v>
                </c:pt>
                <c:pt idx="33">
                  <c:v>0.15654888150786345</c:v>
                </c:pt>
                <c:pt idx="34">
                  <c:v>0.1764300266415922</c:v>
                </c:pt>
                <c:pt idx="35">
                  <c:v>0.16952813266464106</c:v>
                </c:pt>
                <c:pt idx="36">
                  <c:v>0.14872787908127588</c:v>
                </c:pt>
                <c:pt idx="37">
                  <c:v>0.13693289800691974</c:v>
                </c:pt>
                <c:pt idx="38">
                  <c:v>0.13522654069143225</c:v>
                </c:pt>
                <c:pt idx="39">
                  <c:v>0.15436158332299293</c:v>
                </c:pt>
                <c:pt idx="40">
                  <c:v>0.13784655587766934</c:v>
                </c:pt>
                <c:pt idx="41">
                  <c:v>0.1416366561949276</c:v>
                </c:pt>
                <c:pt idx="42">
                  <c:v>0.1381288239292998</c:v>
                </c:pt>
                <c:pt idx="43">
                  <c:v>0.13578618981764384</c:v>
                </c:pt>
                <c:pt idx="44">
                  <c:v>0.14003581068441165</c:v>
                </c:pt>
                <c:pt idx="45">
                  <c:v>0.15592435353145503</c:v>
                </c:pt>
                <c:pt idx="46">
                  <c:v>0.14998784933171325</c:v>
                </c:pt>
                <c:pt idx="47">
                  <c:v>0.15445870803871764</c:v>
                </c:pt>
                <c:pt idx="48">
                  <c:v>0.1474729938271605</c:v>
                </c:pt>
                <c:pt idx="49">
                  <c:v>0.15903343635852768</c:v>
                </c:pt>
                <c:pt idx="50">
                  <c:v>0.19861179620886477</c:v>
                </c:pt>
                <c:pt idx="51">
                  <c:v>0.1820915006823980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17.853661181524</c:v>
                </c:pt>
              </c:numCache>
            </c:numRef>
          </c:xVal>
          <c:yVal>
            <c:numRef>
              <c:f>Sheet1!$B$163:$B$164</c:f>
              <c:numCache>
                <c:formatCode>General</c:formatCode>
                <c:ptCount val="2"/>
                <c:pt idx="0">
                  <c:v>0.20418896749404122</c:v>
                </c:pt>
                <c:pt idx="1">
                  <c:v>0.2041889674940412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17.853661181524</c:v>
                </c:pt>
                <c:pt idx="1">
                  <c:v>917.853661181524</c:v>
                </c:pt>
              </c:numCache>
            </c:numRef>
          </c:xVal>
          <c:yVal>
            <c:numRef>
              <c:f>Sheet1!$B$167:$B$168</c:f>
              <c:numCache>
                <c:formatCode>General</c:formatCode>
                <c:ptCount val="2"/>
                <c:pt idx="0">
                  <c:v>0.204188967494041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6.953172780567</c:v>
                </c:pt>
              </c:numCache>
            </c:numRef>
          </c:xVal>
          <c:yVal>
            <c:numRef>
              <c:f>Sheet1!$B$171:$B$172</c:f>
              <c:numCache>
                <c:formatCode>General</c:formatCode>
                <c:ptCount val="2"/>
                <c:pt idx="0">
                  <c:v>0.17180243176923776</c:v>
                </c:pt>
                <c:pt idx="1">
                  <c:v>0.17180243176923776</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6.953172780567</c:v>
                </c:pt>
                <c:pt idx="1">
                  <c:v>1096.953172780567</c:v>
                </c:pt>
              </c:numCache>
            </c:numRef>
          </c:xVal>
          <c:yVal>
            <c:numRef>
              <c:f>Sheet1!$B$175:$B$176</c:f>
              <c:numCache>
                <c:formatCode>General</c:formatCode>
                <c:ptCount val="2"/>
                <c:pt idx="0">
                  <c:v>0.1718024317692377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98.219371822527</c:v>
                </c:pt>
              </c:numCache>
            </c:numRef>
          </c:xVal>
          <c:yVal>
            <c:numRef>
              <c:f>Sheet1!$B$179:$B$180</c:f>
              <c:numCache>
                <c:formatCode>General</c:formatCode>
                <c:ptCount val="2"/>
                <c:pt idx="0">
                  <c:v>0.15349048136967555</c:v>
                </c:pt>
                <c:pt idx="1">
                  <c:v>0.15349048136967555</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98.219371822527</c:v>
                </c:pt>
                <c:pt idx="1">
                  <c:v>1198.219371822527</c:v>
                </c:pt>
              </c:numCache>
            </c:numRef>
          </c:xVal>
          <c:yVal>
            <c:numRef>
              <c:f>Sheet1!$B$183:$B$184</c:f>
              <c:numCache>
                <c:formatCode>General</c:formatCode>
                <c:ptCount val="2"/>
                <c:pt idx="0">
                  <c:v>0.153490481369675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63.7059</c:v>
                </c:pt>
                <c:pt idx="1">
                  <c:v>1164.446</c:v>
                </c:pt>
                <c:pt idx="2">
                  <c:v>1157.818</c:v>
                </c:pt>
                <c:pt idx="3">
                  <c:v>1177.4242</c:v>
                </c:pt>
                <c:pt idx="4">
                  <c:v>1168.3079</c:v>
                </c:pt>
                <c:pt idx="5">
                  <c:v>1183.8174</c:v>
                </c:pt>
                <c:pt idx="6">
                  <c:v>1119.6582</c:v>
                </c:pt>
                <c:pt idx="7">
                  <c:v>1136.6996</c:v>
                </c:pt>
                <c:pt idx="8">
                  <c:v>1204.0604</c:v>
                </c:pt>
                <c:pt idx="9">
                  <c:v>1142.6138</c:v>
                </c:pt>
                <c:pt idx="10">
                  <c:v>1161.5193</c:v>
                </c:pt>
                <c:pt idx="11">
                  <c:v>1093.1648</c:v>
                </c:pt>
                <c:pt idx="12">
                  <c:v>1114.1858</c:v>
                </c:pt>
                <c:pt idx="13">
                  <c:v>1133.4451</c:v>
                </c:pt>
                <c:pt idx="14">
                  <c:v>1157.0852</c:v>
                </c:pt>
                <c:pt idx="15">
                  <c:v>1166.4876</c:v>
                </c:pt>
                <c:pt idx="16">
                  <c:v>1180.1941</c:v>
                </c:pt>
                <c:pt idx="17">
                  <c:v>1159.8544</c:v>
                </c:pt>
                <c:pt idx="18">
                  <c:v>1130.6592</c:v>
                </c:pt>
                <c:pt idx="19">
                  <c:v>1198.172</c:v>
                </c:pt>
                <c:pt idx="20">
                  <c:v>1161.5629</c:v>
                </c:pt>
                <c:pt idx="21">
                  <c:v>1185.0671</c:v>
                </c:pt>
                <c:pt idx="22">
                  <c:v>1170.6061</c:v>
                </c:pt>
                <c:pt idx="23">
                  <c:v>1128.4268</c:v>
                </c:pt>
                <c:pt idx="24">
                  <c:v>1133.2159</c:v>
                </c:pt>
                <c:pt idx="25">
                  <c:v>1100.9002</c:v>
                </c:pt>
                <c:pt idx="26">
                  <c:v>1163.4706</c:v>
                </c:pt>
                <c:pt idx="27">
                  <c:v>1205.6455</c:v>
                </c:pt>
                <c:pt idx="28">
                  <c:v>1221.575</c:v>
                </c:pt>
                <c:pt idx="29">
                  <c:v>1221.8864</c:v>
                </c:pt>
                <c:pt idx="30">
                  <c:v>1221.5524</c:v>
                </c:pt>
                <c:pt idx="31">
                  <c:v>1131.664</c:v>
                </c:pt>
                <c:pt idx="32">
                  <c:v>1155.5517</c:v>
                </c:pt>
                <c:pt idx="33">
                  <c:v>1201.6145</c:v>
                </c:pt>
                <c:pt idx="34">
                  <c:v>1253.8698</c:v>
                </c:pt>
                <c:pt idx="35">
                  <c:v>1239.0244</c:v>
                </c:pt>
                <c:pt idx="36">
                  <c:v>1201.2271</c:v>
                </c:pt>
                <c:pt idx="37">
                  <c:v>1258.9395</c:v>
                </c:pt>
                <c:pt idx="38">
                  <c:v>1219.6602</c:v>
                </c:pt>
                <c:pt idx="39">
                  <c:v>1230.2412</c:v>
                </c:pt>
                <c:pt idx="40">
                  <c:v>1244.8039</c:v>
                </c:pt>
                <c:pt idx="41">
                  <c:v>1276.2091</c:v>
                </c:pt>
                <c:pt idx="42">
                  <c:v>1265.5872</c:v>
                </c:pt>
                <c:pt idx="43">
                  <c:v>1274.7125</c:v>
                </c:pt>
                <c:pt idx="44">
                  <c:v>1199.8527</c:v>
                </c:pt>
                <c:pt idx="45">
                  <c:v>1172.4964</c:v>
                </c:pt>
                <c:pt idx="46">
                  <c:v>1159.8599</c:v>
                </c:pt>
                <c:pt idx="47">
                  <c:v>1144.4188</c:v>
                </c:pt>
                <c:pt idx="48">
                  <c:v>1111.6808</c:v>
                </c:pt>
                <c:pt idx="49">
                  <c:v>1124.798</c:v>
                </c:pt>
                <c:pt idx="50">
                  <c:v>1042.0603</c:v>
                </c:pt>
                <c:pt idx="51">
                  <c:v>1015.9456</c:v>
                </c:pt>
                <c:pt idx="52">
                  <c:v>1096.953172780567</c:v>
                </c:pt>
                <c:pt idx="53">
                  <c:v>917.853661181524</c:v>
                </c:pt>
                <c:pt idx="54">
                  <c:v>1198.219371822527</c:v>
                </c:pt>
              </c:numCache>
            </c:numRef>
          </c:xVal>
          <c:yVal>
            <c:numRef>
              <c:f>Sheet1!$B$187:$B$241</c:f>
              <c:numCache>
                <c:formatCode>General</c:formatCode>
                <c:ptCount val="55"/>
                <c:pt idx="0">
                  <c:v>0.15973154689904265</c:v>
                </c:pt>
                <c:pt idx="1">
                  <c:v>0.1595977147357055</c:v>
                </c:pt>
                <c:pt idx="2">
                  <c:v>0.16079625490405927</c:v>
                </c:pt>
                <c:pt idx="3">
                  <c:v>0.1572508689280819</c:v>
                </c:pt>
                <c:pt idx="4">
                  <c:v>0.15889936798311563</c:v>
                </c:pt>
                <c:pt idx="5">
                  <c:v>0.15609478760576456</c:v>
                </c:pt>
                <c:pt idx="6">
                  <c:v>0.16769668536820329</c:v>
                </c:pt>
                <c:pt idx="7">
                  <c:v>0.16461509176153702</c:v>
                </c:pt>
                <c:pt idx="8">
                  <c:v>0.152434249188748</c:v>
                </c:pt>
                <c:pt idx="9">
                  <c:v>0.16354562793177269</c:v>
                </c:pt>
                <c:pt idx="10">
                  <c:v>0.16012694942350286</c:v>
                </c:pt>
                <c:pt idx="11">
                  <c:v>0.17248748260662577</c:v>
                </c:pt>
                <c:pt idx="12">
                  <c:v>0.16868625857539993</c:v>
                </c:pt>
                <c:pt idx="13">
                  <c:v>0.16520360247033417</c:v>
                </c:pt>
                <c:pt idx="14">
                  <c:v>0.16092876700957673</c:v>
                </c:pt>
                <c:pt idx="15">
                  <c:v>0.15922853253780098</c:v>
                </c:pt>
                <c:pt idx="16">
                  <c:v>0.1567499883589324</c:v>
                </c:pt>
                <c:pt idx="17">
                  <c:v>0.16042801302131401</c:v>
                </c:pt>
                <c:pt idx="18">
                  <c:v>0.16570737631689672</c:v>
                </c:pt>
                <c:pt idx="19">
                  <c:v>0.1534990476086838</c:v>
                </c:pt>
                <c:pt idx="20">
                  <c:v>0.16011906524255232</c:v>
                </c:pt>
                <c:pt idx="21">
                  <c:v>0.15586880455682192</c:v>
                </c:pt>
                <c:pt idx="22">
                  <c:v>0.15848378484869943</c:v>
                </c:pt>
                <c:pt idx="23">
                  <c:v>0.1661110608479518</c:v>
                </c:pt>
                <c:pt idx="24">
                  <c:v>0.16524504866927603</c:v>
                </c:pt>
                <c:pt idx="25">
                  <c:v>0.17108869147532163</c:v>
                </c:pt>
                <c:pt idx="26">
                  <c:v>0.1597740961599982</c:v>
                </c:pt>
                <c:pt idx="27">
                  <c:v>0.15214761581203443</c:v>
                </c:pt>
                <c:pt idx="28">
                  <c:v>0.1492670869025909</c:v>
                </c:pt>
                <c:pt idx="29">
                  <c:v>0.14921077649093953</c:v>
                </c:pt>
                <c:pt idx="30">
                  <c:v>0.14927117365693685</c:v>
                </c:pt>
                <c:pt idx="31">
                  <c:v>0.16552567849535751</c:v>
                </c:pt>
                <c:pt idx="32">
                  <c:v>0.16120606956663322</c:v>
                </c:pt>
                <c:pt idx="33">
                  <c:v>0.1528765408902834</c:v>
                </c:pt>
                <c:pt idx="34">
                  <c:v>0.14342722344016612</c:v>
                </c:pt>
                <c:pt idx="35">
                  <c:v>0.146111714721892</c:v>
                </c:pt>
                <c:pt idx="36">
                  <c:v>0.15294659436964672</c:v>
                </c:pt>
                <c:pt idx="37">
                  <c:v>0.14251047040885906</c:v>
                </c:pt>
                <c:pt idx="38">
                  <c:v>0.14961333987699704</c:v>
                </c:pt>
                <c:pt idx="39">
                  <c:v>0.14769997935778292</c:v>
                </c:pt>
                <c:pt idx="40">
                  <c:v>0.1450666086713487</c:v>
                </c:pt>
                <c:pt idx="41">
                  <c:v>0.1393876114330892</c:v>
                </c:pt>
                <c:pt idx="42">
                  <c:v>0.14130836789269047</c:v>
                </c:pt>
                <c:pt idx="43">
                  <c:v>0.13965824136911187</c:v>
                </c:pt>
                <c:pt idx="44">
                  <c:v>0.1531951268994273</c:v>
                </c:pt>
                <c:pt idx="45">
                  <c:v>0.15814196220533203</c:v>
                </c:pt>
                <c:pt idx="46">
                  <c:v>0.16042701845720328</c:v>
                </c:pt>
                <c:pt idx="47">
                  <c:v>0.1632192300736136</c:v>
                </c:pt>
                <c:pt idx="48">
                  <c:v>0.16913923732037972</c:v>
                </c:pt>
                <c:pt idx="49">
                  <c:v>0.16676725616523033</c:v>
                </c:pt>
                <c:pt idx="50">
                  <c:v>0.1817287010788098</c:v>
                </c:pt>
                <c:pt idx="51">
                  <c:v>0.18645101805746228</c:v>
                </c:pt>
                <c:pt idx="52">
                  <c:v>0.17180243176923776</c:v>
                </c:pt>
                <c:pt idx="53">
                  <c:v>0.20418896749404122</c:v>
                </c:pt>
                <c:pt idx="54">
                  <c:v>0.153490481369675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31.0"/>
          <c:min val="65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478484661313563"/>
          <c:min val="0.1031813953488372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1.0894</c:v>
                </c:pt>
                <c:pt idx="1">
                  <c:v>863.8572</c:v>
                </c:pt>
                <c:pt idx="2">
                  <c:v>915.63</c:v>
                </c:pt>
                <c:pt idx="3">
                  <c:v>930.6772</c:v>
                </c:pt>
                <c:pt idx="4">
                  <c:v>927.9188</c:v>
                </c:pt>
                <c:pt idx="5">
                  <c:v>924.7076</c:v>
                </c:pt>
                <c:pt idx="6">
                  <c:v>886.788</c:v>
                </c:pt>
                <c:pt idx="7">
                  <c:v>910.648</c:v>
                </c:pt>
                <c:pt idx="8">
                  <c:v>910.9362</c:v>
                </c:pt>
                <c:pt idx="9">
                  <c:v>897.5071</c:v>
                </c:pt>
                <c:pt idx="10">
                  <c:v>899.1659</c:v>
                </c:pt>
                <c:pt idx="11">
                  <c:v>936.6184</c:v>
                </c:pt>
                <c:pt idx="12">
                  <c:v>930.1207</c:v>
                </c:pt>
                <c:pt idx="13">
                  <c:v>904.76</c:v>
                </c:pt>
                <c:pt idx="14">
                  <c:v>911.1927</c:v>
                </c:pt>
                <c:pt idx="15">
                  <c:v>921.652</c:v>
                </c:pt>
                <c:pt idx="16">
                  <c:v>918.424</c:v>
                </c:pt>
                <c:pt idx="17">
                  <c:v>935.9762</c:v>
                </c:pt>
                <c:pt idx="18">
                  <c:v>972.7735</c:v>
                </c:pt>
                <c:pt idx="19">
                  <c:v>1001.4916</c:v>
                </c:pt>
                <c:pt idx="20">
                  <c:v>1006.9064</c:v>
                </c:pt>
                <c:pt idx="21">
                  <c:v>1016.8196</c:v>
                </c:pt>
                <c:pt idx="22">
                  <c:v>1005.2167</c:v>
                </c:pt>
                <c:pt idx="23">
                  <c:v>986.9864</c:v>
                </c:pt>
                <c:pt idx="24">
                  <c:v>972.5527</c:v>
                </c:pt>
                <c:pt idx="25">
                  <c:v>961.9693</c:v>
                </c:pt>
                <c:pt idx="26">
                  <c:v>972.0951</c:v>
                </c:pt>
                <c:pt idx="27">
                  <c:v>982.5739</c:v>
                </c:pt>
                <c:pt idx="28">
                  <c:v>984.1141</c:v>
                </c:pt>
                <c:pt idx="29">
                  <c:v>886.5662</c:v>
                </c:pt>
                <c:pt idx="30">
                  <c:v>920.3414</c:v>
                </c:pt>
                <c:pt idx="31">
                  <c:v>942.4014</c:v>
                </c:pt>
                <c:pt idx="32">
                  <c:v>916.5916</c:v>
                </c:pt>
                <c:pt idx="33">
                  <c:v>861.3948</c:v>
                </c:pt>
                <c:pt idx="34">
                  <c:v>946.9117</c:v>
                </c:pt>
                <c:pt idx="35">
                  <c:v>996.5961</c:v>
                </c:pt>
                <c:pt idx="36">
                  <c:v>1052.5313</c:v>
                </c:pt>
                <c:pt idx="37">
                  <c:v>1057.7318</c:v>
                </c:pt>
                <c:pt idx="38">
                  <c:v>1103.5503</c:v>
                </c:pt>
                <c:pt idx="39">
                  <c:v>1105.923</c:v>
                </c:pt>
                <c:pt idx="40">
                  <c:v>1125.2943</c:v>
                </c:pt>
                <c:pt idx="41">
                  <c:v>1143.9972</c:v>
                </c:pt>
                <c:pt idx="42">
                  <c:v>1188.4166</c:v>
                </c:pt>
                <c:pt idx="43">
                  <c:v>1190.1291</c:v>
                </c:pt>
                <c:pt idx="44">
                  <c:v>1039.8934</c:v>
                </c:pt>
                <c:pt idx="45">
                  <c:v>987.8103</c:v>
                </c:pt>
                <c:pt idx="46">
                  <c:v>985.6185</c:v>
                </c:pt>
                <c:pt idx="47">
                  <c:v>967.874</c:v>
                </c:pt>
                <c:pt idx="48">
                  <c:v>974.755</c:v>
                </c:pt>
                <c:pt idx="49">
                  <c:v>957.9308</c:v>
                </c:pt>
                <c:pt idx="50">
                  <c:v>954.5131</c:v>
                </c:pt>
                <c:pt idx="51">
                  <c:v>980.9713</c:v>
                </c:pt>
                <c:pt idx="52">
                  <c:v>997.7418</c:v>
                </c:pt>
                <c:pt idx="53">
                  <c:v>1036.1538</c:v>
                </c:pt>
                <c:pt idx="54">
                  <c:v>1047.9728</c:v>
                </c:pt>
                <c:pt idx="55">
                  <c:v>1051.8556</c:v>
                </c:pt>
                <c:pt idx="56">
                  <c:v>1068.6247</c:v>
                </c:pt>
                <c:pt idx="57">
                  <c:v>1043.7406</c:v>
                </c:pt>
                <c:pt idx="58">
                  <c:v>1025.2152</c:v>
                </c:pt>
                <c:pt idx="59">
                  <c:v>1033.7447</c:v>
                </c:pt>
                <c:pt idx="60">
                  <c:v>1061.5763</c:v>
                </c:pt>
                <c:pt idx="61">
                  <c:v>1056.9965</c:v>
                </c:pt>
                <c:pt idx="62">
                  <c:v>1028.611</c:v>
                </c:pt>
                <c:pt idx="63">
                  <c:v>1060.3576</c:v>
                </c:pt>
                <c:pt idx="64">
                  <c:v>1053.6743</c:v>
                </c:pt>
                <c:pt idx="65">
                  <c:v>1031.7584</c:v>
                </c:pt>
                <c:pt idx="66">
                  <c:v>983.4835</c:v>
                </c:pt>
                <c:pt idx="67">
                  <c:v>966.7607</c:v>
                </c:pt>
                <c:pt idx="68">
                  <c:v>952.9274</c:v>
                </c:pt>
                <c:pt idx="69">
                  <c:v>958.3101</c:v>
                </c:pt>
                <c:pt idx="70">
                  <c:v>925.1353</c:v>
                </c:pt>
                <c:pt idx="71">
                  <c:v>984.8437</c:v>
                </c:pt>
                <c:pt idx="72">
                  <c:v>993.3549</c:v>
                </c:pt>
                <c:pt idx="73">
                  <c:v>1010.9377</c:v>
                </c:pt>
                <c:pt idx="74">
                  <c:v>1000.2435</c:v>
                </c:pt>
                <c:pt idx="75">
                  <c:v>1001.5149</c:v>
                </c:pt>
                <c:pt idx="76">
                  <c:v>1013.1956</c:v>
                </c:pt>
                <c:pt idx="77">
                  <c:v>994.2575</c:v>
                </c:pt>
                <c:pt idx="78">
                  <c:v>1050.1545</c:v>
                </c:pt>
                <c:pt idx="79">
                  <c:v>698.7679</c:v>
                </c:pt>
                <c:pt idx="80">
                  <c:v>707.1246</c:v>
                </c:pt>
                <c:pt idx="81">
                  <c:v>902.2342</c:v>
                </c:pt>
                <c:pt idx="82">
                  <c:v>895.1314</c:v>
                </c:pt>
                <c:pt idx="83">
                  <c:v>911.0286</c:v>
                </c:pt>
                <c:pt idx="84">
                  <c:v>922.024</c:v>
                </c:pt>
                <c:pt idx="85">
                  <c:v>967.4432</c:v>
                </c:pt>
                <c:pt idx="86">
                  <c:v>1075.9072</c:v>
                </c:pt>
                <c:pt idx="87">
                  <c:v>1105.8552</c:v>
                </c:pt>
                <c:pt idx="88">
                  <c:v>1091.488</c:v>
                </c:pt>
                <c:pt idx="89">
                  <c:v>1035.2538</c:v>
                </c:pt>
                <c:pt idx="90">
                  <c:v>1093.0491</c:v>
                </c:pt>
                <c:pt idx="91">
                  <c:v>1105.6374</c:v>
                </c:pt>
                <c:pt idx="92">
                  <c:v>1108.8317</c:v>
                </c:pt>
                <c:pt idx="93">
                  <c:v>1159.438</c:v>
                </c:pt>
                <c:pt idx="94">
                  <c:v>1151.2778</c:v>
                </c:pt>
                <c:pt idx="95">
                  <c:v>1145.3779</c:v>
                </c:pt>
                <c:pt idx="96">
                  <c:v>1108.9973</c:v>
                </c:pt>
                <c:pt idx="97">
                  <c:v>1123.428</c:v>
                </c:pt>
                <c:pt idx="98">
                  <c:v>1120.4051</c:v>
                </c:pt>
                <c:pt idx="99">
                  <c:v>1074.8352</c:v>
                </c:pt>
                <c:pt idx="100">
                  <c:v>1084.5881</c:v>
                </c:pt>
                <c:pt idx="101">
                  <c:v>1090.3515</c:v>
                </c:pt>
                <c:pt idx="102">
                  <c:v>1120.5609</c:v>
                </c:pt>
                <c:pt idx="103">
                  <c:v>976.3286</c:v>
                </c:pt>
                <c:pt idx="104">
                  <c:v>1069.0702</c:v>
                </c:pt>
              </c:numCache>
            </c:numRef>
          </c:xVal>
          <c:yVal>
            <c:numRef>
              <c:f>Sheet1!$B$2:$B$106</c:f>
              <c:numCache>
                <c:formatCode>General</c:formatCode>
                <c:ptCount val="105"/>
                <c:pt idx="0">
                  <c:v>0.2146968600282632</c:v>
                </c:pt>
                <c:pt idx="1">
                  <c:v>0.21712007677826584</c:v>
                </c:pt>
                <c:pt idx="2">
                  <c:v>0.1972539093651399</c:v>
                </c:pt>
                <c:pt idx="3">
                  <c:v>0.19730041274681143</c:v>
                </c:pt>
                <c:pt idx="4">
                  <c:v>0.19716885743174925</c:v>
                </c:pt>
                <c:pt idx="5">
                  <c:v>0.19012279044663338</c:v>
                </c:pt>
                <c:pt idx="6">
                  <c:v>0.21017518185339817</c:v>
                </c:pt>
                <c:pt idx="7">
                  <c:v>0.2075634080899104</c:v>
                </c:pt>
                <c:pt idx="8">
                  <c:v>0.21384258510007012</c:v>
                </c:pt>
                <c:pt idx="9">
                  <c:v>0.2146702296580303</c:v>
                </c:pt>
                <c:pt idx="10">
                  <c:v>0.22441271999395726</c:v>
                </c:pt>
                <c:pt idx="11">
                  <c:v>0.21766276604099583</c:v>
                </c:pt>
                <c:pt idx="12">
                  <c:v>0.22001172418846632</c:v>
                </c:pt>
                <c:pt idx="13">
                  <c:v>0.23030123163674135</c:v>
                </c:pt>
                <c:pt idx="14">
                  <c:v>0.21616486407483193</c:v>
                </c:pt>
                <c:pt idx="15">
                  <c:v>0.21368379688250447</c:v>
                </c:pt>
                <c:pt idx="16">
                  <c:v>0.20372046254399195</c:v>
                </c:pt>
                <c:pt idx="17">
                  <c:v>0.19133534411845352</c:v>
                </c:pt>
                <c:pt idx="18">
                  <c:v>0.17340107591153617</c:v>
                </c:pt>
                <c:pt idx="19">
                  <c:v>0.16212729357798164</c:v>
                </c:pt>
                <c:pt idx="20">
                  <c:v>0.17247294020228307</c:v>
                </c:pt>
                <c:pt idx="21">
                  <c:v>0.17840839926962873</c:v>
                </c:pt>
                <c:pt idx="22">
                  <c:v>0.1777423099245502</c:v>
                </c:pt>
                <c:pt idx="23">
                  <c:v>0.18377885783718104</c:v>
                </c:pt>
                <c:pt idx="24">
                  <c:v>0.19052653838020722</c:v>
                </c:pt>
                <c:pt idx="25">
                  <c:v>0.19005184705119896</c:v>
                </c:pt>
                <c:pt idx="26">
                  <c:v>0.19381918133868212</c:v>
                </c:pt>
                <c:pt idx="27">
                  <c:v>0.18466152527849186</c:v>
                </c:pt>
                <c:pt idx="28">
                  <c:v>0.1814272177272396</c:v>
                </c:pt>
                <c:pt idx="29">
                  <c:v>0.20289217227287018</c:v>
                </c:pt>
                <c:pt idx="30">
                  <c:v>0.1858022158391465</c:v>
                </c:pt>
                <c:pt idx="31">
                  <c:v>0.1823178391959799</c:v>
                </c:pt>
                <c:pt idx="32">
                  <c:v>0.1905923610581688</c:v>
                </c:pt>
                <c:pt idx="33">
                  <c:v>0.20864226135310474</c:v>
                </c:pt>
                <c:pt idx="34">
                  <c:v>0.1999795207864018</c:v>
                </c:pt>
                <c:pt idx="35">
                  <c:v>0.1962085308056872</c:v>
                </c:pt>
                <c:pt idx="36">
                  <c:v>0.15714536825452627</c:v>
                </c:pt>
                <c:pt idx="37">
                  <c:v>0.14665426274171042</c:v>
                </c:pt>
                <c:pt idx="38">
                  <c:v>0.14210777300906055</c:v>
                </c:pt>
                <c:pt idx="39">
                  <c:v>0.14415942336230655</c:v>
                </c:pt>
                <c:pt idx="40">
                  <c:v>0.14485714285714285</c:v>
                </c:pt>
                <c:pt idx="41">
                  <c:v>0.13350603399254438</c:v>
                </c:pt>
                <c:pt idx="42">
                  <c:v>0.13931079536175078</c:v>
                </c:pt>
                <c:pt idx="43">
                  <c:v>0.14207650273224043</c:v>
                </c:pt>
                <c:pt idx="44">
                  <c:v>0.17000688920899354</c:v>
                </c:pt>
                <c:pt idx="45">
                  <c:v>0.19477348004266548</c:v>
                </c:pt>
                <c:pt idx="46">
                  <c:v>0.2011744648607691</c:v>
                </c:pt>
                <c:pt idx="47">
                  <c:v>0.20259431353025778</c:v>
                </c:pt>
                <c:pt idx="48">
                  <c:v>0.2187455926500514</c:v>
                </c:pt>
                <c:pt idx="49">
                  <c:v>0.25037901866047013</c:v>
                </c:pt>
                <c:pt idx="50">
                  <c:v>0.21465076660988075</c:v>
                </c:pt>
                <c:pt idx="51">
                  <c:v>0.19269703543022415</c:v>
                </c:pt>
                <c:pt idx="52">
                  <c:v>0.2046528645912736</c:v>
                </c:pt>
                <c:pt idx="53">
                  <c:v>0.19408830593016813</c:v>
                </c:pt>
                <c:pt idx="54">
                  <c:v>0.19114754098360656</c:v>
                </c:pt>
                <c:pt idx="55">
                  <c:v>0.18233343129434484</c:v>
                </c:pt>
                <c:pt idx="56">
                  <c:v>0.19250032664082575</c:v>
                </c:pt>
                <c:pt idx="57">
                  <c:v>0.18821285803352036</c:v>
                </c:pt>
                <c:pt idx="58">
                  <c:v>0.20670012206700122</c:v>
                </c:pt>
                <c:pt idx="59">
                  <c:v>0.21249389512942327</c:v>
                </c:pt>
                <c:pt idx="60">
                  <c:v>0.22528798547010673</c:v>
                </c:pt>
                <c:pt idx="61">
                  <c:v>0.22520512204332452</c:v>
                </c:pt>
                <c:pt idx="62">
                  <c:v>0.22494933573519477</c:v>
                </c:pt>
                <c:pt idx="63">
                  <c:v>0.2410700941563294</c:v>
                </c:pt>
                <c:pt idx="64">
                  <c:v>0.22874988951415692</c:v>
                </c:pt>
                <c:pt idx="65">
                  <c:v>0.21485674085443848</c:v>
                </c:pt>
                <c:pt idx="66">
                  <c:v>0.2205326908048971</c:v>
                </c:pt>
                <c:pt idx="67">
                  <c:v>0.2174063560202174</c:v>
                </c:pt>
                <c:pt idx="68">
                  <c:v>0.19819517313746066</c:v>
                </c:pt>
                <c:pt idx="69">
                  <c:v>0.1843770456033166</c:v>
                </c:pt>
                <c:pt idx="70">
                  <c:v>0.17122678524718807</c:v>
                </c:pt>
                <c:pt idx="71">
                  <c:v>0.18111014240046497</c:v>
                </c:pt>
                <c:pt idx="72">
                  <c:v>0.18635843192846627</c:v>
                </c:pt>
                <c:pt idx="73">
                  <c:v>0.18679817004337235</c:v>
                </c:pt>
                <c:pt idx="74">
                  <c:v>0.18381496477896722</c:v>
                </c:pt>
                <c:pt idx="75">
                  <c:v>0.18586118251928022</c:v>
                </c:pt>
                <c:pt idx="76">
                  <c:v>0.18114987169706637</c:v>
                </c:pt>
                <c:pt idx="77">
                  <c:v>0.1769905093095704</c:v>
                </c:pt>
                <c:pt idx="78">
                  <c:v>0.1633945027646446</c:v>
                </c:pt>
                <c:pt idx="79">
                  <c:v>0.22476419827413205</c:v>
                </c:pt>
                <c:pt idx="80">
                  <c:v>0.21057944679991925</c:v>
                </c:pt>
                <c:pt idx="81">
                  <c:v>0.17324355971896954</c:v>
                </c:pt>
                <c:pt idx="82">
                  <c:v>0.17274735318759996</c:v>
                </c:pt>
                <c:pt idx="83">
                  <c:v>0.1545659331138451</c:v>
                </c:pt>
                <c:pt idx="84">
                  <c:v>0.1574049688350452</c:v>
                </c:pt>
                <c:pt idx="85">
                  <c:v>0.16417796739296053</c:v>
                </c:pt>
                <c:pt idx="86">
                  <c:v>0.1571214565568103</c:v>
                </c:pt>
                <c:pt idx="87">
                  <c:v>0.17206188960825194</c:v>
                </c:pt>
                <c:pt idx="88">
                  <c:v>0.1534110993283846</c:v>
                </c:pt>
                <c:pt idx="89">
                  <c:v>0.1521688342029437</c:v>
                </c:pt>
                <c:pt idx="90">
                  <c:v>0.1496723669490171</c:v>
                </c:pt>
                <c:pt idx="91">
                  <c:v>0.14149109849957242</c:v>
                </c:pt>
                <c:pt idx="92">
                  <c:v>0.14851851851851852</c:v>
                </c:pt>
                <c:pt idx="93">
                  <c:v>0.14279624893435636</c:v>
                </c:pt>
                <c:pt idx="94">
                  <c:v>0.14696723531004605</c:v>
                </c:pt>
                <c:pt idx="95">
                  <c:v>0.15124254473161033</c:v>
                </c:pt>
                <c:pt idx="96">
                  <c:v>0.14782844182661387</c:v>
                </c:pt>
                <c:pt idx="97">
                  <c:v>0.15954492519931918</c:v>
                </c:pt>
                <c:pt idx="98">
                  <c:v>0.1734323983854796</c:v>
                </c:pt>
                <c:pt idx="99">
                  <c:v>0.18298980350969324</c:v>
                </c:pt>
                <c:pt idx="100">
                  <c:v>0.20112217610289895</c:v>
                </c:pt>
                <c:pt idx="101">
                  <c:v>0.1896363217861664</c:v>
                </c:pt>
                <c:pt idx="102">
                  <c:v>0.16128769687843392</c:v>
                </c:pt>
                <c:pt idx="103">
                  <c:v>0.18299982291482203</c:v>
                </c:pt>
                <c:pt idx="104">
                  <c:v>0.182912358026784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8.6865</c:v>
                </c:pt>
                <c:pt idx="1">
                  <c:v>1135.893</c:v>
                </c:pt>
                <c:pt idx="2">
                  <c:v>1130.6472</c:v>
                </c:pt>
                <c:pt idx="3">
                  <c:v>1147.2494</c:v>
                </c:pt>
                <c:pt idx="4">
                  <c:v>1145.4045</c:v>
                </c:pt>
                <c:pt idx="5">
                  <c:v>1161.1879</c:v>
                </c:pt>
                <c:pt idx="6">
                  <c:v>1088.9483</c:v>
                </c:pt>
                <c:pt idx="7">
                  <c:v>1131.033</c:v>
                </c:pt>
                <c:pt idx="8">
                  <c:v>1209.0371</c:v>
                </c:pt>
                <c:pt idx="9">
                  <c:v>1179.8609</c:v>
                </c:pt>
                <c:pt idx="10">
                  <c:v>1192.4996</c:v>
                </c:pt>
                <c:pt idx="11">
                  <c:v>1065.0223</c:v>
                </c:pt>
                <c:pt idx="12">
                  <c:v>1093.3316</c:v>
                </c:pt>
                <c:pt idx="13">
                  <c:v>1144.7283</c:v>
                </c:pt>
                <c:pt idx="14">
                  <c:v>1152.2198</c:v>
                </c:pt>
                <c:pt idx="15">
                  <c:v>1186.1136</c:v>
                </c:pt>
                <c:pt idx="16">
                  <c:v>1230.8374</c:v>
                </c:pt>
                <c:pt idx="17">
                  <c:v>1201.4371</c:v>
                </c:pt>
                <c:pt idx="18">
                  <c:v>1179.2322</c:v>
                </c:pt>
                <c:pt idx="19">
                  <c:v>1287.4371</c:v>
                </c:pt>
                <c:pt idx="20">
                  <c:v>1271.8513</c:v>
                </c:pt>
                <c:pt idx="21">
                  <c:v>1203.0116</c:v>
                </c:pt>
                <c:pt idx="22">
                  <c:v>1159.0383</c:v>
                </c:pt>
                <c:pt idx="23">
                  <c:v>1157.6274</c:v>
                </c:pt>
                <c:pt idx="24">
                  <c:v>1163.9092</c:v>
                </c:pt>
                <c:pt idx="25">
                  <c:v>1093.9142</c:v>
                </c:pt>
                <c:pt idx="26">
                  <c:v>1186.2231</c:v>
                </c:pt>
                <c:pt idx="27">
                  <c:v>1199.9327</c:v>
                </c:pt>
                <c:pt idx="28">
                  <c:v>1185.0203</c:v>
                </c:pt>
                <c:pt idx="29">
                  <c:v>1190.7016</c:v>
                </c:pt>
                <c:pt idx="30">
                  <c:v>1165.2712</c:v>
                </c:pt>
                <c:pt idx="31">
                  <c:v>1074.8542</c:v>
                </c:pt>
                <c:pt idx="32">
                  <c:v>1116.799</c:v>
                </c:pt>
                <c:pt idx="33">
                  <c:v>1169.0567</c:v>
                </c:pt>
                <c:pt idx="34">
                  <c:v>1206.114</c:v>
                </c:pt>
                <c:pt idx="35">
                  <c:v>1179.4318</c:v>
                </c:pt>
                <c:pt idx="36">
                  <c:v>1202.9226</c:v>
                </c:pt>
                <c:pt idx="37">
                  <c:v>1265.2341</c:v>
                </c:pt>
                <c:pt idx="38">
                  <c:v>1239.3704</c:v>
                </c:pt>
                <c:pt idx="39">
                  <c:v>1192.0742</c:v>
                </c:pt>
                <c:pt idx="40">
                  <c:v>1226.0768</c:v>
                </c:pt>
                <c:pt idx="41">
                  <c:v>1283.756</c:v>
                </c:pt>
                <c:pt idx="42">
                  <c:v>1256.9347</c:v>
                </c:pt>
                <c:pt idx="43">
                  <c:v>1263.5346</c:v>
                </c:pt>
                <c:pt idx="44">
                  <c:v>1199.6258</c:v>
                </c:pt>
                <c:pt idx="45">
                  <c:v>1146.9572</c:v>
                </c:pt>
                <c:pt idx="46">
                  <c:v>1135.6928</c:v>
                </c:pt>
                <c:pt idx="47">
                  <c:v>1121.4318</c:v>
                </c:pt>
                <c:pt idx="48">
                  <c:v>1102.8834</c:v>
                </c:pt>
                <c:pt idx="49">
                  <c:v>1129.7361</c:v>
                </c:pt>
                <c:pt idx="50">
                  <c:v>1032.9026</c:v>
                </c:pt>
                <c:pt idx="51">
                  <c:v>996.7259</c:v>
                </c:pt>
              </c:numCache>
            </c:numRef>
          </c:xVal>
          <c:yVal>
            <c:numRef>
              <c:f>Sheet1!$B$109:$B$160</c:f>
              <c:numCache>
                <c:formatCode>General</c:formatCode>
                <c:ptCount val="52"/>
                <c:pt idx="0">
                  <c:v>0.17583408476104598</c:v>
                </c:pt>
                <c:pt idx="1">
                  <c:v>0.1831663486005089</c:v>
                </c:pt>
                <c:pt idx="2">
                  <c:v>0.19043603527634306</c:v>
                </c:pt>
                <c:pt idx="3">
                  <c:v>0.20528250216200633</c:v>
                </c:pt>
                <c:pt idx="4">
                  <c:v>0.19332110091743118</c:v>
                </c:pt>
                <c:pt idx="5">
                  <c:v>0.19093960997321865</c:v>
                </c:pt>
                <c:pt idx="6">
                  <c:v>0.1895799862290567</c:v>
                </c:pt>
                <c:pt idx="7">
                  <c:v>0.18574562385280027</c:v>
                </c:pt>
                <c:pt idx="8">
                  <c:v>0.18271100254249964</c:v>
                </c:pt>
                <c:pt idx="9">
                  <c:v>0.19039970630076636</c:v>
                </c:pt>
                <c:pt idx="10">
                  <c:v>0.19824553591307834</c:v>
                </c:pt>
                <c:pt idx="11">
                  <c:v>0.2084049118788573</c:v>
                </c:pt>
                <c:pt idx="12">
                  <c:v>0.20794900637420322</c:v>
                </c:pt>
                <c:pt idx="13">
                  <c:v>0.20005645616581982</c:v>
                </c:pt>
                <c:pt idx="14">
                  <c:v>0.2011674700393579</c:v>
                </c:pt>
                <c:pt idx="15">
                  <c:v>0.1886034161044926</c:v>
                </c:pt>
                <c:pt idx="16">
                  <c:v>0.1708314402544298</c:v>
                </c:pt>
                <c:pt idx="17">
                  <c:v>0.15750827565452905</c:v>
                </c:pt>
                <c:pt idx="18">
                  <c:v>0.15575417446130396</c:v>
                </c:pt>
                <c:pt idx="19">
                  <c:v>0.16161275072600798</c:v>
                </c:pt>
                <c:pt idx="20">
                  <c:v>0.15370691605701786</c:v>
                </c:pt>
                <c:pt idx="21">
                  <c:v>0.16223260830487146</c:v>
                </c:pt>
                <c:pt idx="22">
                  <c:v>0.16634241245136186</c:v>
                </c:pt>
                <c:pt idx="23">
                  <c:v>0.17083564943487123</c:v>
                </c:pt>
                <c:pt idx="24">
                  <c:v>0.16530264279624893</c:v>
                </c:pt>
                <c:pt idx="25">
                  <c:v>0.172339663203153</c:v>
                </c:pt>
                <c:pt idx="26">
                  <c:v>0.1497388276262333</c:v>
                </c:pt>
                <c:pt idx="27">
                  <c:v>0.14984686636288938</c:v>
                </c:pt>
                <c:pt idx="28">
                  <c:v>0.15955937014259647</c:v>
                </c:pt>
                <c:pt idx="29">
                  <c:v>0.16225219369515761</c:v>
                </c:pt>
                <c:pt idx="30">
                  <c:v>0.1687273950710741</c:v>
                </c:pt>
                <c:pt idx="31">
                  <c:v>0.17207587880967365</c:v>
                </c:pt>
                <c:pt idx="32">
                  <c:v>0.17484257171732878</c:v>
                </c:pt>
                <c:pt idx="33">
                  <c:v>0.19225181598062954</c:v>
                </c:pt>
                <c:pt idx="34">
                  <c:v>0.2116611443548786</c:v>
                </c:pt>
                <c:pt idx="35">
                  <c:v>0.2032646474677259</c:v>
                </c:pt>
                <c:pt idx="36">
                  <c:v>0.17360157016683023</c:v>
                </c:pt>
                <c:pt idx="37">
                  <c:v>0.15445141897268147</c:v>
                </c:pt>
                <c:pt idx="38">
                  <c:v>0.15996855654908126</c:v>
                </c:pt>
                <c:pt idx="39">
                  <c:v>0.17886353852776582</c:v>
                </c:pt>
                <c:pt idx="40">
                  <c:v>0.15928461645941036</c:v>
                </c:pt>
                <c:pt idx="41">
                  <c:v>0.1606812780565091</c:v>
                </c:pt>
                <c:pt idx="42">
                  <c:v>0.16119157831865014</c:v>
                </c:pt>
                <c:pt idx="43">
                  <c:v>0.15152014048951817</c:v>
                </c:pt>
                <c:pt idx="44">
                  <c:v>0.14690281398903174</c:v>
                </c:pt>
                <c:pt idx="45">
                  <c:v>0.1629537413183069</c:v>
                </c:pt>
                <c:pt idx="46">
                  <c:v>0.16084024494225255</c:v>
                </c:pt>
                <c:pt idx="47">
                  <c:v>0.16053572073210354</c:v>
                </c:pt>
                <c:pt idx="48">
                  <c:v>0.15270950725332694</c:v>
                </c:pt>
                <c:pt idx="49">
                  <c:v>0.16871387283236994</c:v>
                </c:pt>
                <c:pt idx="50">
                  <c:v>0.20077423234487166</c:v>
                </c:pt>
                <c:pt idx="51">
                  <c:v>0.1891581718760548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45.0655599522637</c:v>
                </c:pt>
              </c:numCache>
            </c:numRef>
          </c:xVal>
          <c:yVal>
            <c:numRef>
              <c:f>Sheet1!$B$163:$B$164</c:f>
              <c:numCache>
                <c:formatCode>General</c:formatCode>
                <c:ptCount val="2"/>
                <c:pt idx="0">
                  <c:v>0.2062181521145252</c:v>
                </c:pt>
                <c:pt idx="1">
                  <c:v>0.206218152114525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45.0655599522637</c:v>
                </c:pt>
                <c:pt idx="1">
                  <c:v>945.0655599522637</c:v>
                </c:pt>
              </c:numCache>
            </c:numRef>
          </c:xVal>
          <c:yVal>
            <c:numRef>
              <c:f>Sheet1!$B$167:$B$168</c:f>
              <c:numCache>
                <c:formatCode>General</c:formatCode>
                <c:ptCount val="2"/>
                <c:pt idx="0">
                  <c:v>0.20621815211452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2.1534032940854</c:v>
                </c:pt>
              </c:numCache>
            </c:numRef>
          </c:xVal>
          <c:yVal>
            <c:numRef>
              <c:f>Sheet1!$B$171:$B$172</c:f>
              <c:numCache>
                <c:formatCode>General</c:formatCode>
                <c:ptCount val="2"/>
                <c:pt idx="0">
                  <c:v>0.18855736603499007</c:v>
                </c:pt>
                <c:pt idx="1">
                  <c:v>0.1885573660349900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2.1534032940854</c:v>
                </c:pt>
                <c:pt idx="1">
                  <c:v>1072.1534032940854</c:v>
                </c:pt>
              </c:numCache>
            </c:numRef>
          </c:xVal>
          <c:yVal>
            <c:numRef>
              <c:f>Sheet1!$B$175:$B$176</c:f>
              <c:numCache>
                <c:formatCode>General</c:formatCode>
                <c:ptCount val="2"/>
                <c:pt idx="0">
                  <c:v>0.1885573660349900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36.619773484704</c:v>
                </c:pt>
              </c:numCache>
            </c:numRef>
          </c:xVal>
          <c:yVal>
            <c:numRef>
              <c:f>Sheet1!$B$179:$B$180</c:f>
              <c:numCache>
                <c:formatCode>General</c:formatCode>
                <c:ptCount val="2"/>
                <c:pt idx="0">
                  <c:v>0.16570226593385937</c:v>
                </c:pt>
                <c:pt idx="1">
                  <c:v>0.1657022659338593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36.619773484704</c:v>
                </c:pt>
                <c:pt idx="1">
                  <c:v>1236.619773484704</c:v>
                </c:pt>
              </c:numCache>
            </c:numRef>
          </c:xVal>
          <c:yVal>
            <c:numRef>
              <c:f>Sheet1!$B$183:$B$184</c:f>
              <c:numCache>
                <c:formatCode>General</c:formatCode>
                <c:ptCount val="2"/>
                <c:pt idx="0">
                  <c:v>0.1657022659338593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8.6865</c:v>
                </c:pt>
                <c:pt idx="1">
                  <c:v>1135.893</c:v>
                </c:pt>
                <c:pt idx="2">
                  <c:v>1130.6472</c:v>
                </c:pt>
                <c:pt idx="3">
                  <c:v>1147.2494</c:v>
                </c:pt>
                <c:pt idx="4">
                  <c:v>1145.4045</c:v>
                </c:pt>
                <c:pt idx="5">
                  <c:v>1161.1879</c:v>
                </c:pt>
                <c:pt idx="6">
                  <c:v>1088.9483</c:v>
                </c:pt>
                <c:pt idx="7">
                  <c:v>1131.033</c:v>
                </c:pt>
                <c:pt idx="8">
                  <c:v>1209.0371</c:v>
                </c:pt>
                <c:pt idx="9">
                  <c:v>1179.8609</c:v>
                </c:pt>
                <c:pt idx="10">
                  <c:v>1192.4996</c:v>
                </c:pt>
                <c:pt idx="11">
                  <c:v>1065.0223</c:v>
                </c:pt>
                <c:pt idx="12">
                  <c:v>1093.3316</c:v>
                </c:pt>
                <c:pt idx="13">
                  <c:v>1144.7283</c:v>
                </c:pt>
                <c:pt idx="14">
                  <c:v>1152.2198</c:v>
                </c:pt>
                <c:pt idx="15">
                  <c:v>1186.1136</c:v>
                </c:pt>
                <c:pt idx="16">
                  <c:v>1230.8374</c:v>
                </c:pt>
                <c:pt idx="17">
                  <c:v>1201.4371</c:v>
                </c:pt>
                <c:pt idx="18">
                  <c:v>1179.2322</c:v>
                </c:pt>
                <c:pt idx="19">
                  <c:v>1287.4371</c:v>
                </c:pt>
                <c:pt idx="20">
                  <c:v>1271.8513</c:v>
                </c:pt>
                <c:pt idx="21">
                  <c:v>1203.0116</c:v>
                </c:pt>
                <c:pt idx="22">
                  <c:v>1159.0383</c:v>
                </c:pt>
                <c:pt idx="23">
                  <c:v>1157.6274</c:v>
                </c:pt>
                <c:pt idx="24">
                  <c:v>1163.9092</c:v>
                </c:pt>
                <c:pt idx="25">
                  <c:v>1093.9142</c:v>
                </c:pt>
                <c:pt idx="26">
                  <c:v>1186.2231</c:v>
                </c:pt>
                <c:pt idx="27">
                  <c:v>1199.9327</c:v>
                </c:pt>
                <c:pt idx="28">
                  <c:v>1185.0203</c:v>
                </c:pt>
                <c:pt idx="29">
                  <c:v>1190.7016</c:v>
                </c:pt>
                <c:pt idx="30">
                  <c:v>1165.2712</c:v>
                </c:pt>
                <c:pt idx="31">
                  <c:v>1074.8542</c:v>
                </c:pt>
                <c:pt idx="32">
                  <c:v>1116.799</c:v>
                </c:pt>
                <c:pt idx="33">
                  <c:v>1169.0567</c:v>
                </c:pt>
                <c:pt idx="34">
                  <c:v>1206.114</c:v>
                </c:pt>
                <c:pt idx="35">
                  <c:v>1179.4318</c:v>
                </c:pt>
                <c:pt idx="36">
                  <c:v>1202.9226</c:v>
                </c:pt>
                <c:pt idx="37">
                  <c:v>1265.2341</c:v>
                </c:pt>
                <c:pt idx="38">
                  <c:v>1239.3704</c:v>
                </c:pt>
                <c:pt idx="39">
                  <c:v>1192.0742</c:v>
                </c:pt>
                <c:pt idx="40">
                  <c:v>1226.0768</c:v>
                </c:pt>
                <c:pt idx="41">
                  <c:v>1283.756</c:v>
                </c:pt>
                <c:pt idx="42">
                  <c:v>1256.9347</c:v>
                </c:pt>
                <c:pt idx="43">
                  <c:v>1263.5346</c:v>
                </c:pt>
                <c:pt idx="44">
                  <c:v>1199.6258</c:v>
                </c:pt>
                <c:pt idx="45">
                  <c:v>1146.9572</c:v>
                </c:pt>
                <c:pt idx="46">
                  <c:v>1135.6928</c:v>
                </c:pt>
                <c:pt idx="47">
                  <c:v>1121.4318</c:v>
                </c:pt>
                <c:pt idx="48">
                  <c:v>1102.8834</c:v>
                </c:pt>
                <c:pt idx="49">
                  <c:v>1129.7361</c:v>
                </c:pt>
                <c:pt idx="50">
                  <c:v>1032.9026</c:v>
                </c:pt>
                <c:pt idx="51">
                  <c:v>996.7259</c:v>
                </c:pt>
                <c:pt idx="52">
                  <c:v>1072.1534032940854</c:v>
                </c:pt>
                <c:pt idx="53">
                  <c:v>945.0655599522637</c:v>
                </c:pt>
                <c:pt idx="54">
                  <c:v>1236.619773484704</c:v>
                </c:pt>
              </c:numCache>
            </c:numRef>
          </c:xVal>
          <c:yVal>
            <c:numRef>
              <c:f>Sheet1!$B$187:$B$241</c:f>
              <c:numCache>
                <c:formatCode>General</c:formatCode>
                <c:ptCount val="55"/>
                <c:pt idx="0">
                  <c:v>0.17931158172364745</c:v>
                </c:pt>
                <c:pt idx="1">
                  <c:v>0.17969978097713926</c:v>
                </c:pt>
                <c:pt idx="2">
                  <c:v>0.1804287645618779</c:v>
                </c:pt>
                <c:pt idx="3">
                  <c:v>0.17812163671282763</c:v>
                </c:pt>
                <c:pt idx="4">
                  <c:v>0.17837801358870628</c:v>
                </c:pt>
                <c:pt idx="5">
                  <c:v>0.17618467043582894</c:v>
                </c:pt>
                <c:pt idx="6">
                  <c:v>0.18622346005191923</c:v>
                </c:pt>
                <c:pt idx="7">
                  <c:v>0.18037515179223515</c:v>
                </c:pt>
                <c:pt idx="8">
                  <c:v>0.1695352973482395</c:v>
                </c:pt>
                <c:pt idx="9">
                  <c:v>0.17358977347486496</c:v>
                </c:pt>
                <c:pt idx="10">
                  <c:v>0.17183343414960733</c:v>
                </c:pt>
                <c:pt idx="11">
                  <c:v>0.18954834114697755</c:v>
                </c:pt>
                <c:pt idx="12">
                  <c:v>0.18561433394208185</c:v>
                </c:pt>
                <c:pt idx="13">
                  <c:v>0.1784719818490289</c:v>
                </c:pt>
                <c:pt idx="14">
                  <c:v>0.17743092414094438</c:v>
                </c:pt>
                <c:pt idx="15">
                  <c:v>0.17272086584203578</c:v>
                </c:pt>
                <c:pt idx="16">
                  <c:v>0.16650581455393204</c:v>
                </c:pt>
                <c:pt idx="17">
                  <c:v>0.17059143277925357</c:v>
                </c:pt>
                <c:pt idx="18">
                  <c:v>0.17367714088874373</c:v>
                </c:pt>
                <c:pt idx="19">
                  <c:v>0.15864042658619928</c:v>
                </c:pt>
                <c:pt idx="20">
                  <c:v>0.16080631021787029</c:v>
                </c:pt>
                <c:pt idx="21">
                  <c:v>0.17037263209028888</c:v>
                </c:pt>
                <c:pt idx="22">
                  <c:v>0.17648339000458</c:v>
                </c:pt>
                <c:pt idx="23">
                  <c:v>0.1766794559887402</c:v>
                </c:pt>
                <c:pt idx="24">
                  <c:v>0.17580650446893173</c:v>
                </c:pt>
                <c:pt idx="25">
                  <c:v>0.1855333728233833</c:v>
                </c:pt>
                <c:pt idx="26">
                  <c:v>0.17270564915391787</c:v>
                </c:pt>
                <c:pt idx="27">
                  <c:v>0.17080049200851904</c:v>
                </c:pt>
                <c:pt idx="28">
                  <c:v>0.17287279648239467</c:v>
                </c:pt>
                <c:pt idx="29">
                  <c:v>0.17208329355815513</c:v>
                </c:pt>
                <c:pt idx="30">
                  <c:v>0.17561723388247896</c:v>
                </c:pt>
                <c:pt idx="31">
                  <c:v>0.18818204931221602</c:v>
                </c:pt>
                <c:pt idx="32">
                  <c:v>0.1823531822823739</c:v>
                </c:pt>
                <c:pt idx="33">
                  <c:v>0.17509118116220213</c:v>
                </c:pt>
                <c:pt idx="34">
                  <c:v>0.16994150649013387</c:v>
                </c:pt>
                <c:pt idx="35">
                  <c:v>0.17364940343716076</c:v>
                </c:pt>
                <c:pt idx="36">
                  <c:v>0.1703849999920468</c:v>
                </c:pt>
                <c:pt idx="37">
                  <c:v>0.1617258706618317</c:v>
                </c:pt>
                <c:pt idx="38">
                  <c:v>0.16532002460224213</c:v>
                </c:pt>
                <c:pt idx="39">
                  <c:v>0.17189254994070646</c:v>
                </c:pt>
                <c:pt idx="40">
                  <c:v>0.16716737222931172</c:v>
                </c:pt>
                <c:pt idx="41">
                  <c:v>0.1591519713408185</c:v>
                </c:pt>
                <c:pt idx="42">
                  <c:v>0.16287919834553674</c:v>
                </c:pt>
                <c:pt idx="43">
                  <c:v>0.16196204199933278</c:v>
                </c:pt>
                <c:pt idx="44">
                  <c:v>0.17084314042480567</c:v>
                </c:pt>
                <c:pt idx="45">
                  <c:v>0.17816224234084635</c:v>
                </c:pt>
                <c:pt idx="46">
                  <c:v>0.1797276018078352</c:v>
                </c:pt>
                <c:pt idx="47">
                  <c:v>0.18170938435805783</c:v>
                </c:pt>
                <c:pt idx="48">
                  <c:v>0.18428696625656074</c:v>
                </c:pt>
                <c:pt idx="49">
                  <c:v>0.18055537574493014</c:v>
                </c:pt>
                <c:pt idx="50">
                  <c:v>0.19401186130533857</c:v>
                </c:pt>
                <c:pt idx="51">
                  <c:v>0.19903916323259746</c:v>
                </c:pt>
                <c:pt idx="52">
                  <c:v>0.18855736603499007</c:v>
                </c:pt>
                <c:pt idx="53">
                  <c:v>0.2062181521145252</c:v>
                </c:pt>
                <c:pt idx="54">
                  <c:v>0.1657022659338593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5.0"/>
          <c:min val="55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045482239256416"/>
          <c:min val="0.106804827194035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6844617263040557</c:v>
                </c:pt>
                <c:pt idx="1">
                  <c:v>0.20427970997607145</c:v>
                </c:pt>
                <c:pt idx="2">
                  <c:v>0.1988715171366637</c:v>
                </c:pt>
                <c:pt idx="3">
                  <c:v>0.20105242842157295</c:v>
                </c:pt>
                <c:pt idx="4">
                  <c:v>0.18844738383100998</c:v>
                </c:pt>
                <c:pt idx="5">
                  <c:v>0.1911838445913683</c:v>
                </c:pt>
                <c:pt idx="6">
                  <c:v>0.19937574851228337</c:v>
                </c:pt>
                <c:pt idx="7">
                  <c:v>0.18915833402624727</c:v>
                </c:pt>
                <c:pt idx="8">
                  <c:v>0.17331942114489013</c:v>
                </c:pt>
                <c:pt idx="9">
                  <c:v>0.18309315101982995</c:v>
                </c:pt>
                <c:pt idx="10">
                  <c:v>0.19106651948830225</c:v>
                </c:pt>
                <c:pt idx="11">
                  <c:v>0.20112911400113945</c:v>
                </c:pt>
                <c:pt idx="12">
                  <c:v>0.20467299348352944</c:v>
                </c:pt>
                <c:pt idx="13">
                  <c:v>0.19078301036764256</c:v>
                </c:pt>
                <c:pt idx="14">
                  <c:v>0.18815339795328265</c:v>
                </c:pt>
                <c:pt idx="15">
                  <c:v>0.20411490684261493</c:v>
                </c:pt>
                <c:pt idx="16">
                  <c:v>0.18616363582998513</c:v>
                </c:pt>
                <c:pt idx="17">
                  <c:v>0.18140376867772265</c:v>
                </c:pt>
                <c:pt idx="18">
                  <c:v>0.18105048471967103</c:v>
                </c:pt>
                <c:pt idx="19">
                  <c:v>0.1857022976768086</c:v>
                </c:pt>
                <c:pt idx="20">
                  <c:v>0.186193140584007</c:v>
                </c:pt>
                <c:pt idx="21">
                  <c:v>0.16813796955918095</c:v>
                </c:pt>
                <c:pt idx="22">
                  <c:v>0.16058947884483638</c:v>
                </c:pt>
                <c:pt idx="23">
                  <c:v>0.1498297594724074</c:v>
                </c:pt>
                <c:pt idx="24">
                  <c:v>0.1659696121584814</c:v>
                </c:pt>
                <c:pt idx="25">
                  <c:v>0.1632107524910709</c:v>
                </c:pt>
                <c:pt idx="26">
                  <c:v>0.15884781823521685</c:v>
                </c:pt>
                <c:pt idx="27">
                  <c:v>0.16239820154667817</c:v>
                </c:pt>
                <c:pt idx="28">
                  <c:v>0.15411611609899784</c:v>
                </c:pt>
                <c:pt idx="29">
                  <c:v>0.1549869159903227</c:v>
                </c:pt>
                <c:pt idx="30">
                  <c:v>0.15514572531561413</c:v>
                </c:pt>
                <c:pt idx="31">
                  <c:v>0.15323342368520176</c:v>
                </c:pt>
                <c:pt idx="32">
                  <c:v>0.14543214178161243</c:v>
                </c:pt>
                <c:pt idx="33">
                  <c:v>0.15211726203168893</c:v>
                </c:pt>
                <c:pt idx="34">
                  <c:v>0.18064149889270933</c:v>
                </c:pt>
                <c:pt idx="35">
                  <c:v>0.1812549032089391</c:v>
                </c:pt>
                <c:pt idx="36">
                  <c:v>0.15345721236416324</c:v>
                </c:pt>
                <c:pt idx="37">
                  <c:v>0.15685721395440022</c:v>
                </c:pt>
                <c:pt idx="38">
                  <c:v>0.17023865121475132</c:v>
                </c:pt>
                <c:pt idx="39">
                  <c:v>0.17903049499842033</c:v>
                </c:pt>
                <c:pt idx="40">
                  <c:v>0.20211171077788023</c:v>
                </c:pt>
                <c:pt idx="41">
                  <c:v>0.19820243465605772</c:v>
                </c:pt>
                <c:pt idx="42">
                  <c:v>0.18586942870660364</c:v>
                </c:pt>
                <c:pt idx="43">
                  <c:v>0.1970643250016455</c:v>
                </c:pt>
                <c:pt idx="44">
                  <c:v>0.1979001629874904</c:v>
                </c:pt>
                <c:pt idx="45">
                  <c:v>0.20244198892446058</c:v>
                </c:pt>
                <c:pt idx="46">
                  <c:v>0.20751171573870816</c:v>
                </c:pt>
                <c:pt idx="47">
                  <c:v>0.18116908392599215</c:v>
                </c:pt>
                <c:pt idx="48">
                  <c:v>0.2294380595856117</c:v>
                </c:pt>
                <c:pt idx="49">
                  <c:v>0.23505131285641492</c:v>
                </c:pt>
                <c:pt idx="50">
                  <c:v>0.1910628147063624</c:v>
                </c:pt>
                <c:pt idx="51">
                  <c:v>0.17873566743071567</c:v>
                </c:pt>
                <c:pt idx="52">
                  <c:v>0.20320379303286826</c:v>
                </c:pt>
                <c:pt idx="53">
                  <c:v>0.20516258572854965</c:v>
                </c:pt>
                <c:pt idx="54">
                  <c:v>0.20446890486714378</c:v>
                </c:pt>
                <c:pt idx="55">
                  <c:v>0.18083909408701004</c:v>
                </c:pt>
                <c:pt idx="56">
                  <c:v>0.18988534733280424</c:v>
                </c:pt>
                <c:pt idx="57">
                  <c:v>0.1877686431295586</c:v>
                </c:pt>
                <c:pt idx="58">
                  <c:v>0.19731320824903253</c:v>
                </c:pt>
                <c:pt idx="59">
                  <c:v>0.22503380531209632</c:v>
                </c:pt>
                <c:pt idx="60">
                  <c:v>0.2179187799231889</c:v>
                </c:pt>
                <c:pt idx="61">
                  <c:v>0.20867969028356703</c:v>
                </c:pt>
                <c:pt idx="62">
                  <c:v>0.23851671735962268</c:v>
                </c:pt>
                <c:pt idx="63">
                  <c:v>0.23435874615444224</c:v>
                </c:pt>
                <c:pt idx="64">
                  <c:v>0.23416145364895757</c:v>
                </c:pt>
                <c:pt idx="65">
                  <c:v>0.2012320037787425</c:v>
                </c:pt>
                <c:pt idx="66">
                  <c:v>0.19096396186481815</c:v>
                </c:pt>
                <c:pt idx="67">
                  <c:v>0.21174367005683495</c:v>
                </c:pt>
                <c:pt idx="68">
                  <c:v>0.1804302007121761</c:v>
                </c:pt>
                <c:pt idx="69">
                  <c:v>0.15477916872978842</c:v>
                </c:pt>
                <c:pt idx="70">
                  <c:v>0.14161792342101315</c:v>
                </c:pt>
                <c:pt idx="71">
                  <c:v>0.15921120684645063</c:v>
                </c:pt>
                <c:pt idx="72">
                  <c:v>0.17071864590559896</c:v>
                </c:pt>
                <c:pt idx="73">
                  <c:v>0.16266331232423012</c:v>
                </c:pt>
                <c:pt idx="74">
                  <c:v>0.1670898495526749</c:v>
                </c:pt>
                <c:pt idx="75">
                  <c:v>0.16186373286995256</c:v>
                </c:pt>
                <c:pt idx="76">
                  <c:v>0.14759801828551017</c:v>
                </c:pt>
                <c:pt idx="77">
                  <c:v>0.15507533367967213</c:v>
                </c:pt>
                <c:pt idx="78">
                  <c:v>0.15638685792516996</c:v>
                </c:pt>
                <c:pt idx="79">
                  <c:v>0.10154548929561395</c:v>
                </c:pt>
                <c:pt idx="80">
                  <c:v>0.09873984083931558</c:v>
                </c:pt>
                <c:pt idx="81">
                  <c:v>0.1456215791443457</c:v>
                </c:pt>
                <c:pt idx="82">
                  <c:v>0.14488383842757263</c:v>
                </c:pt>
                <c:pt idx="83">
                  <c:v>0.13364258224217812</c:v>
                </c:pt>
                <c:pt idx="84">
                  <c:v>0.12473582262757152</c:v>
                </c:pt>
                <c:pt idx="85">
                  <c:v>0.14392554005334826</c:v>
                </c:pt>
                <c:pt idx="86">
                  <c:v>0.1718679660941708</c:v>
                </c:pt>
                <c:pt idx="87">
                  <c:v>0.18376507162292452</c:v>
                </c:pt>
                <c:pt idx="88">
                  <c:v>0.14562411338755674</c:v>
                </c:pt>
                <c:pt idx="89">
                  <c:v>0.13383565982444573</c:v>
                </c:pt>
                <c:pt idx="90">
                  <c:v>0.14774775425053424</c:v>
                </c:pt>
                <c:pt idx="91">
                  <c:v>0.1602058436350543</c:v>
                </c:pt>
                <c:pt idx="92">
                  <c:v>0.1720262208993999</c:v>
                </c:pt>
                <c:pt idx="93">
                  <c:v>0.160781789348091</c:v>
                </c:pt>
                <c:pt idx="94">
                  <c:v>0.163447402029189</c:v>
                </c:pt>
                <c:pt idx="95">
                  <c:v>0.1596995231885909</c:v>
                </c:pt>
                <c:pt idx="96">
                  <c:v>0.1743996289949446</c:v>
                </c:pt>
                <c:pt idx="97">
                  <c:v>0.1865063666081905</c:v>
                </c:pt>
                <c:pt idx="98">
                  <c:v>0.19250457535623794</c:v>
                </c:pt>
                <c:pt idx="99">
                  <c:v>0.20437279571535477</c:v>
                </c:pt>
                <c:pt idx="100">
                  <c:v>0.21532666173364798</c:v>
                </c:pt>
                <c:pt idx="101">
                  <c:v>0.20620365884802827</c:v>
                </c:pt>
                <c:pt idx="102">
                  <c:v>0.1948736392694206</c:v>
                </c:pt>
                <c:pt idx="103">
                  <c:v>0.16655864754313915</c:v>
                </c:pt>
                <c:pt idx="104">
                  <c:v>0.18296470192309292</c:v>
                </c:pt>
              </c:numCache>
            </c:numRef>
          </c:xVal>
          <c:yVal>
            <c:numRef>
              <c:f>Sheet1!$B$2:$B$106</c:f>
              <c:numCache>
                <c:formatCode>General</c:formatCode>
                <c:ptCount val="105"/>
                <c:pt idx="0">
                  <c:v>0.2146968600282632</c:v>
                </c:pt>
                <c:pt idx="1">
                  <c:v>0.21712007677826584</c:v>
                </c:pt>
                <c:pt idx="2">
                  <c:v>0.1972539093651399</c:v>
                </c:pt>
                <c:pt idx="3">
                  <c:v>0.19730041274681143</c:v>
                </c:pt>
                <c:pt idx="4">
                  <c:v>0.19716885743174925</c:v>
                </c:pt>
                <c:pt idx="5">
                  <c:v>0.19012279044663338</c:v>
                </c:pt>
                <c:pt idx="6">
                  <c:v>0.21017518185339817</c:v>
                </c:pt>
                <c:pt idx="7">
                  <c:v>0.2075634080899104</c:v>
                </c:pt>
                <c:pt idx="8">
                  <c:v>0.21384258510007012</c:v>
                </c:pt>
                <c:pt idx="9">
                  <c:v>0.2146702296580303</c:v>
                </c:pt>
                <c:pt idx="10">
                  <c:v>0.22441271999395726</c:v>
                </c:pt>
                <c:pt idx="11">
                  <c:v>0.21766276604099583</c:v>
                </c:pt>
                <c:pt idx="12">
                  <c:v>0.22001172418846632</c:v>
                </c:pt>
                <c:pt idx="13">
                  <c:v>0.23030123163674135</c:v>
                </c:pt>
                <c:pt idx="14">
                  <c:v>0.21616486407483193</c:v>
                </c:pt>
                <c:pt idx="15">
                  <c:v>0.21368379688250447</c:v>
                </c:pt>
                <c:pt idx="16">
                  <c:v>0.20372046254399195</c:v>
                </c:pt>
                <c:pt idx="17">
                  <c:v>0.19133534411845352</c:v>
                </c:pt>
                <c:pt idx="18">
                  <c:v>0.17340107591153617</c:v>
                </c:pt>
                <c:pt idx="19">
                  <c:v>0.16212729357798164</c:v>
                </c:pt>
                <c:pt idx="20">
                  <c:v>0.17247294020228307</c:v>
                </c:pt>
                <c:pt idx="21">
                  <c:v>0.17840839926962873</c:v>
                </c:pt>
                <c:pt idx="22">
                  <c:v>0.1777423099245502</c:v>
                </c:pt>
                <c:pt idx="23">
                  <c:v>0.18377885783718104</c:v>
                </c:pt>
                <c:pt idx="24">
                  <c:v>0.19052653838020722</c:v>
                </c:pt>
                <c:pt idx="25">
                  <c:v>0.19005184705119896</c:v>
                </c:pt>
                <c:pt idx="26">
                  <c:v>0.19381918133868212</c:v>
                </c:pt>
                <c:pt idx="27">
                  <c:v>0.18466152527849186</c:v>
                </c:pt>
                <c:pt idx="28">
                  <c:v>0.1814272177272396</c:v>
                </c:pt>
                <c:pt idx="29">
                  <c:v>0.20289217227287018</c:v>
                </c:pt>
                <c:pt idx="30">
                  <c:v>0.1858022158391465</c:v>
                </c:pt>
                <c:pt idx="31">
                  <c:v>0.1823178391959799</c:v>
                </c:pt>
                <c:pt idx="32">
                  <c:v>0.1905923610581688</c:v>
                </c:pt>
                <c:pt idx="33">
                  <c:v>0.20864226135310474</c:v>
                </c:pt>
                <c:pt idx="34">
                  <c:v>0.1999795207864018</c:v>
                </c:pt>
                <c:pt idx="35">
                  <c:v>0.1962085308056872</c:v>
                </c:pt>
                <c:pt idx="36">
                  <c:v>0.15714536825452627</c:v>
                </c:pt>
                <c:pt idx="37">
                  <c:v>0.14665426274171042</c:v>
                </c:pt>
                <c:pt idx="38">
                  <c:v>0.14210777300906055</c:v>
                </c:pt>
                <c:pt idx="39">
                  <c:v>0.14415942336230655</c:v>
                </c:pt>
                <c:pt idx="40">
                  <c:v>0.14485714285714285</c:v>
                </c:pt>
                <c:pt idx="41">
                  <c:v>0.13350603399254438</c:v>
                </c:pt>
                <c:pt idx="42">
                  <c:v>0.13931079536175078</c:v>
                </c:pt>
                <c:pt idx="43">
                  <c:v>0.14207650273224043</c:v>
                </c:pt>
                <c:pt idx="44">
                  <c:v>0.17000688920899354</c:v>
                </c:pt>
                <c:pt idx="45">
                  <c:v>0.19477348004266548</c:v>
                </c:pt>
                <c:pt idx="46">
                  <c:v>0.2011744648607691</c:v>
                </c:pt>
                <c:pt idx="47">
                  <c:v>0.20259431353025778</c:v>
                </c:pt>
                <c:pt idx="48">
                  <c:v>0.2187455926500514</c:v>
                </c:pt>
                <c:pt idx="49">
                  <c:v>0.25037901866047013</c:v>
                </c:pt>
                <c:pt idx="50">
                  <c:v>0.21465076660988075</c:v>
                </c:pt>
                <c:pt idx="51">
                  <c:v>0.19269703543022415</c:v>
                </c:pt>
                <c:pt idx="52">
                  <c:v>0.2046528645912736</c:v>
                </c:pt>
                <c:pt idx="53">
                  <c:v>0.19408830593016813</c:v>
                </c:pt>
                <c:pt idx="54">
                  <c:v>0.19114754098360656</c:v>
                </c:pt>
                <c:pt idx="55">
                  <c:v>0.18233343129434484</c:v>
                </c:pt>
                <c:pt idx="56">
                  <c:v>0.19250032664082575</c:v>
                </c:pt>
                <c:pt idx="57">
                  <c:v>0.18821285803352036</c:v>
                </c:pt>
                <c:pt idx="58">
                  <c:v>0.20670012206700122</c:v>
                </c:pt>
                <c:pt idx="59">
                  <c:v>0.21249389512942327</c:v>
                </c:pt>
                <c:pt idx="60">
                  <c:v>0.22528798547010673</c:v>
                </c:pt>
                <c:pt idx="61">
                  <c:v>0.22520512204332452</c:v>
                </c:pt>
                <c:pt idx="62">
                  <c:v>0.22494933573519477</c:v>
                </c:pt>
                <c:pt idx="63">
                  <c:v>0.2410700941563294</c:v>
                </c:pt>
                <c:pt idx="64">
                  <c:v>0.22874988951415692</c:v>
                </c:pt>
                <c:pt idx="65">
                  <c:v>0.21485674085443848</c:v>
                </c:pt>
                <c:pt idx="66">
                  <c:v>0.2205326908048971</c:v>
                </c:pt>
                <c:pt idx="67">
                  <c:v>0.2174063560202174</c:v>
                </c:pt>
                <c:pt idx="68">
                  <c:v>0.19819517313746066</c:v>
                </c:pt>
                <c:pt idx="69">
                  <c:v>0.1843770456033166</c:v>
                </c:pt>
                <c:pt idx="70">
                  <c:v>0.17122678524718807</c:v>
                </c:pt>
                <c:pt idx="71">
                  <c:v>0.18111014240046497</c:v>
                </c:pt>
                <c:pt idx="72">
                  <c:v>0.18635843192846627</c:v>
                </c:pt>
                <c:pt idx="73">
                  <c:v>0.18679817004337235</c:v>
                </c:pt>
                <c:pt idx="74">
                  <c:v>0.18381496477896722</c:v>
                </c:pt>
                <c:pt idx="75">
                  <c:v>0.18586118251928022</c:v>
                </c:pt>
                <c:pt idx="76">
                  <c:v>0.18114987169706637</c:v>
                </c:pt>
                <c:pt idx="77">
                  <c:v>0.1769905093095704</c:v>
                </c:pt>
                <c:pt idx="78">
                  <c:v>0.1633945027646446</c:v>
                </c:pt>
                <c:pt idx="79">
                  <c:v>0.22476419827413205</c:v>
                </c:pt>
                <c:pt idx="80">
                  <c:v>0.21057944679991925</c:v>
                </c:pt>
                <c:pt idx="81">
                  <c:v>0.17324355971896954</c:v>
                </c:pt>
                <c:pt idx="82">
                  <c:v>0.17274735318759996</c:v>
                </c:pt>
                <c:pt idx="83">
                  <c:v>0.1545659331138451</c:v>
                </c:pt>
                <c:pt idx="84">
                  <c:v>0.1574049688350452</c:v>
                </c:pt>
                <c:pt idx="85">
                  <c:v>0.16417796739296053</c:v>
                </c:pt>
                <c:pt idx="86">
                  <c:v>0.1571214565568103</c:v>
                </c:pt>
                <c:pt idx="87">
                  <c:v>0.17206188960825194</c:v>
                </c:pt>
                <c:pt idx="88">
                  <c:v>0.1534110993283846</c:v>
                </c:pt>
                <c:pt idx="89">
                  <c:v>0.1521688342029437</c:v>
                </c:pt>
                <c:pt idx="90">
                  <c:v>0.1496723669490171</c:v>
                </c:pt>
                <c:pt idx="91">
                  <c:v>0.14149109849957242</c:v>
                </c:pt>
                <c:pt idx="92">
                  <c:v>0.14851851851851852</c:v>
                </c:pt>
                <c:pt idx="93">
                  <c:v>0.14279624893435636</c:v>
                </c:pt>
                <c:pt idx="94">
                  <c:v>0.14696723531004605</c:v>
                </c:pt>
                <c:pt idx="95">
                  <c:v>0.15124254473161033</c:v>
                </c:pt>
                <c:pt idx="96">
                  <c:v>0.14782844182661387</c:v>
                </c:pt>
                <c:pt idx="97">
                  <c:v>0.15954492519931918</c:v>
                </c:pt>
                <c:pt idx="98">
                  <c:v>0.1734323983854796</c:v>
                </c:pt>
                <c:pt idx="99">
                  <c:v>0.18298980350969324</c:v>
                </c:pt>
                <c:pt idx="100">
                  <c:v>0.20112217610289895</c:v>
                </c:pt>
                <c:pt idx="101">
                  <c:v>0.1896363217861664</c:v>
                </c:pt>
                <c:pt idx="102">
                  <c:v>0.16128769687843392</c:v>
                </c:pt>
                <c:pt idx="103">
                  <c:v>0.18299982291482203</c:v>
                </c:pt>
                <c:pt idx="104">
                  <c:v>0.182912358026784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1075971160873885</c:v>
                </c:pt>
                <c:pt idx="1">
                  <c:v>0.21894945480498038</c:v>
                </c:pt>
                <c:pt idx="2">
                  <c:v>0.21188906262175478</c:v>
                </c:pt>
                <c:pt idx="3">
                  <c:v>0.2116923195698225</c:v>
                </c:pt>
                <c:pt idx="4">
                  <c:v>0.19314265986244197</c:v>
                </c:pt>
                <c:pt idx="5">
                  <c:v>0.21383033752288264</c:v>
                </c:pt>
                <c:pt idx="6">
                  <c:v>0.20394983240202746</c:v>
                </c:pt>
                <c:pt idx="7">
                  <c:v>0.18721992319406738</c:v>
                </c:pt>
                <c:pt idx="8">
                  <c:v>0.2325877889040292</c:v>
                </c:pt>
                <c:pt idx="9">
                  <c:v>0.22051501260036763</c:v>
                </c:pt>
                <c:pt idx="10">
                  <c:v>0.21368453418198408</c:v>
                </c:pt>
                <c:pt idx="11">
                  <c:v>0.1975941550757703</c:v>
                </c:pt>
                <c:pt idx="12">
                  <c:v>0.1967432262354485</c:v>
                </c:pt>
                <c:pt idx="13">
                  <c:v>0.20236397064958803</c:v>
                </c:pt>
                <c:pt idx="14">
                  <c:v>0.20284618124331094</c:v>
                </c:pt>
                <c:pt idx="15">
                  <c:v>0.1996478757489087</c:v>
                </c:pt>
                <c:pt idx="16">
                  <c:v>0.18912276301866218</c:v>
                </c:pt>
                <c:pt idx="17">
                  <c:v>0.17929269440348736</c:v>
                </c:pt>
                <c:pt idx="18">
                  <c:v>0.16407802570881627</c:v>
                </c:pt>
                <c:pt idx="19">
                  <c:v>0.18865103451024606</c:v>
                </c:pt>
                <c:pt idx="20">
                  <c:v>0.16985361046961175</c:v>
                </c:pt>
                <c:pt idx="21">
                  <c:v>0.15726753804069624</c:v>
                </c:pt>
                <c:pt idx="22">
                  <c:v>0.1491846043641117</c:v>
                </c:pt>
                <c:pt idx="23">
                  <c:v>0.166488353174188</c:v>
                </c:pt>
                <c:pt idx="24">
                  <c:v>0.15557029757038515</c:v>
                </c:pt>
                <c:pt idx="25">
                  <c:v>0.1462969106944315</c:v>
                </c:pt>
                <c:pt idx="26">
                  <c:v>0.16052047513676654</c:v>
                </c:pt>
                <c:pt idx="27">
                  <c:v>0.1643829556822669</c:v>
                </c:pt>
                <c:pt idx="28">
                  <c:v>0.17471051295646448</c:v>
                </c:pt>
                <c:pt idx="29">
                  <c:v>0.15736216588833712</c:v>
                </c:pt>
                <c:pt idx="30">
                  <c:v>0.15359709346465844</c:v>
                </c:pt>
                <c:pt idx="31">
                  <c:v>0.13969067665166376</c:v>
                </c:pt>
                <c:pt idx="32">
                  <c:v>0.15575747173152074</c:v>
                </c:pt>
                <c:pt idx="33">
                  <c:v>0.17078456141540083</c:v>
                </c:pt>
                <c:pt idx="34">
                  <c:v>0.1930924765986354</c:v>
                </c:pt>
                <c:pt idx="35">
                  <c:v>0.15065056579040917</c:v>
                </c:pt>
                <c:pt idx="36">
                  <c:v>0.1299363811931915</c:v>
                </c:pt>
                <c:pt idx="37">
                  <c:v>0.14158608691658622</c:v>
                </c:pt>
                <c:pt idx="38">
                  <c:v>0.14129197577162092</c:v>
                </c:pt>
                <c:pt idx="39">
                  <c:v>0.14879215748379965</c:v>
                </c:pt>
                <c:pt idx="40">
                  <c:v>0.16250145377338604</c:v>
                </c:pt>
                <c:pt idx="41">
                  <c:v>0.1694317803991727</c:v>
                </c:pt>
                <c:pt idx="42">
                  <c:v>0.1635301166437526</c:v>
                </c:pt>
                <c:pt idx="43">
                  <c:v>0.18072466532346218</c:v>
                </c:pt>
                <c:pt idx="44">
                  <c:v>0.17868447324306713</c:v>
                </c:pt>
                <c:pt idx="45">
                  <c:v>0.1794003740269806</c:v>
                </c:pt>
                <c:pt idx="46">
                  <c:v>0.16863852387597783</c:v>
                </c:pt>
                <c:pt idx="47">
                  <c:v>0.15914260471705796</c:v>
                </c:pt>
                <c:pt idx="48">
                  <c:v>0.1614804866291881</c:v>
                </c:pt>
                <c:pt idx="49">
                  <c:v>0.19450621267976423</c:v>
                </c:pt>
                <c:pt idx="50">
                  <c:v>0.19688874252895927</c:v>
                </c:pt>
                <c:pt idx="51">
                  <c:v>0.16337788766027095</c:v>
                </c:pt>
              </c:numCache>
            </c:numRef>
          </c:xVal>
          <c:yVal>
            <c:numRef>
              <c:f>Sheet1!$B$109:$B$160</c:f>
              <c:numCache>
                <c:formatCode>General</c:formatCode>
                <c:ptCount val="52"/>
                <c:pt idx="0">
                  <c:v>0.17583408476104598</c:v>
                </c:pt>
                <c:pt idx="1">
                  <c:v>0.1831663486005089</c:v>
                </c:pt>
                <c:pt idx="2">
                  <c:v>0.19043603527634306</c:v>
                </c:pt>
                <c:pt idx="3">
                  <c:v>0.20528250216200633</c:v>
                </c:pt>
                <c:pt idx="4">
                  <c:v>0.19332110091743118</c:v>
                </c:pt>
                <c:pt idx="5">
                  <c:v>0.19093960997321865</c:v>
                </c:pt>
                <c:pt idx="6">
                  <c:v>0.1895799862290567</c:v>
                </c:pt>
                <c:pt idx="7">
                  <c:v>0.18574562385280027</c:v>
                </c:pt>
                <c:pt idx="8">
                  <c:v>0.18271100254249964</c:v>
                </c:pt>
                <c:pt idx="9">
                  <c:v>0.19039970630076636</c:v>
                </c:pt>
                <c:pt idx="10">
                  <c:v>0.19824553591307834</c:v>
                </c:pt>
                <c:pt idx="11">
                  <c:v>0.2084049118788573</c:v>
                </c:pt>
                <c:pt idx="12">
                  <c:v>0.20794900637420322</c:v>
                </c:pt>
                <c:pt idx="13">
                  <c:v>0.20005645616581982</c:v>
                </c:pt>
                <c:pt idx="14">
                  <c:v>0.2011674700393579</c:v>
                </c:pt>
                <c:pt idx="15">
                  <c:v>0.1886034161044926</c:v>
                </c:pt>
                <c:pt idx="16">
                  <c:v>0.1708314402544298</c:v>
                </c:pt>
                <c:pt idx="17">
                  <c:v>0.15750827565452905</c:v>
                </c:pt>
                <c:pt idx="18">
                  <c:v>0.15575417446130396</c:v>
                </c:pt>
                <c:pt idx="19">
                  <c:v>0.16161275072600798</c:v>
                </c:pt>
                <c:pt idx="20">
                  <c:v>0.15370691605701786</c:v>
                </c:pt>
                <c:pt idx="21">
                  <c:v>0.16223260830487146</c:v>
                </c:pt>
                <c:pt idx="22">
                  <c:v>0.16634241245136186</c:v>
                </c:pt>
                <c:pt idx="23">
                  <c:v>0.17083564943487123</c:v>
                </c:pt>
                <c:pt idx="24">
                  <c:v>0.16530264279624893</c:v>
                </c:pt>
                <c:pt idx="25">
                  <c:v>0.172339663203153</c:v>
                </c:pt>
                <c:pt idx="26">
                  <c:v>0.1497388276262333</c:v>
                </c:pt>
                <c:pt idx="27">
                  <c:v>0.14984686636288938</c:v>
                </c:pt>
                <c:pt idx="28">
                  <c:v>0.15955937014259647</c:v>
                </c:pt>
                <c:pt idx="29">
                  <c:v>0.16225219369515761</c:v>
                </c:pt>
                <c:pt idx="30">
                  <c:v>0.1687273950710741</c:v>
                </c:pt>
                <c:pt idx="31">
                  <c:v>0.17207587880967365</c:v>
                </c:pt>
                <c:pt idx="32">
                  <c:v>0.17484257171732878</c:v>
                </c:pt>
                <c:pt idx="33">
                  <c:v>0.19225181598062954</c:v>
                </c:pt>
                <c:pt idx="34">
                  <c:v>0.2116611443548786</c:v>
                </c:pt>
                <c:pt idx="35">
                  <c:v>0.2032646474677259</c:v>
                </c:pt>
                <c:pt idx="36">
                  <c:v>0.17360157016683023</c:v>
                </c:pt>
                <c:pt idx="37">
                  <c:v>0.15445141897268147</c:v>
                </c:pt>
                <c:pt idx="38">
                  <c:v>0.15996855654908126</c:v>
                </c:pt>
                <c:pt idx="39">
                  <c:v>0.17886353852776582</c:v>
                </c:pt>
                <c:pt idx="40">
                  <c:v>0.15928461645941036</c:v>
                </c:pt>
                <c:pt idx="41">
                  <c:v>0.1606812780565091</c:v>
                </c:pt>
                <c:pt idx="42">
                  <c:v>0.16119157831865014</c:v>
                </c:pt>
                <c:pt idx="43">
                  <c:v>0.15152014048951817</c:v>
                </c:pt>
                <c:pt idx="44">
                  <c:v>0.14690281398903174</c:v>
                </c:pt>
                <c:pt idx="45">
                  <c:v>0.1629537413183069</c:v>
                </c:pt>
                <c:pt idx="46">
                  <c:v>0.16084024494225255</c:v>
                </c:pt>
                <c:pt idx="47">
                  <c:v>0.16053572073210354</c:v>
                </c:pt>
                <c:pt idx="48">
                  <c:v>0.15270950725332694</c:v>
                </c:pt>
                <c:pt idx="49">
                  <c:v>0.16871387283236994</c:v>
                </c:pt>
                <c:pt idx="50">
                  <c:v>0.20077423234487166</c:v>
                </c:pt>
                <c:pt idx="51">
                  <c:v>0.1891581718760548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54464894692559</c:v>
                </c:pt>
              </c:numCache>
            </c:numRef>
          </c:xVal>
          <c:yVal>
            <c:numRef>
              <c:f>Sheet1!$B$163:$B$164</c:f>
              <c:numCache>
                <c:formatCode>General</c:formatCode>
                <c:ptCount val="2"/>
                <c:pt idx="0">
                  <c:v>0.2062181521145252</c:v>
                </c:pt>
                <c:pt idx="1">
                  <c:v>0.206218152114525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54464894692559</c:v>
                </c:pt>
                <c:pt idx="1">
                  <c:v>0.254464894692559</c:v>
                </c:pt>
              </c:numCache>
            </c:numRef>
          </c:xVal>
          <c:yVal>
            <c:numRef>
              <c:f>Sheet1!$B$167:$B$168</c:f>
              <c:numCache>
                <c:formatCode>General</c:formatCode>
                <c:ptCount val="2"/>
                <c:pt idx="0">
                  <c:v>0.20621815211452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1067705941695372</c:v>
                </c:pt>
              </c:numCache>
            </c:numRef>
          </c:xVal>
          <c:yVal>
            <c:numRef>
              <c:f>Sheet1!$B$171:$B$172</c:f>
              <c:numCache>
                <c:formatCode>General</c:formatCode>
                <c:ptCount val="2"/>
                <c:pt idx="0">
                  <c:v>0.18855736603499007</c:v>
                </c:pt>
                <c:pt idx="1">
                  <c:v>0.1885573660349900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1067705941695372</c:v>
                </c:pt>
                <c:pt idx="1">
                  <c:v>0.21067705941695372</c:v>
                </c:pt>
              </c:numCache>
            </c:numRef>
          </c:xVal>
          <c:yVal>
            <c:numRef>
              <c:f>Sheet1!$B$175:$B$176</c:f>
              <c:numCache>
                <c:formatCode>General</c:formatCode>
                <c:ptCount val="2"/>
                <c:pt idx="0">
                  <c:v>0.1885573660349900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5401053540557608</c:v>
                </c:pt>
              </c:numCache>
            </c:numRef>
          </c:xVal>
          <c:yVal>
            <c:numRef>
              <c:f>Sheet1!$B$179:$B$180</c:f>
              <c:numCache>
                <c:formatCode>General</c:formatCode>
                <c:ptCount val="2"/>
                <c:pt idx="0">
                  <c:v>0.16570226593385937</c:v>
                </c:pt>
                <c:pt idx="1">
                  <c:v>0.1657022659338593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5401053540557608</c:v>
                </c:pt>
                <c:pt idx="1">
                  <c:v>0.15401053540557608</c:v>
                </c:pt>
              </c:numCache>
            </c:numRef>
          </c:xVal>
          <c:yVal>
            <c:numRef>
              <c:f>Sheet1!$B$183:$B$184</c:f>
              <c:numCache>
                <c:formatCode>General</c:formatCode>
                <c:ptCount val="2"/>
                <c:pt idx="0">
                  <c:v>0.1657022659338593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1075971160873885</c:v>
                </c:pt>
                <c:pt idx="1">
                  <c:v>0.21894945480498038</c:v>
                </c:pt>
                <c:pt idx="2">
                  <c:v>0.21188906262175478</c:v>
                </c:pt>
                <c:pt idx="3">
                  <c:v>0.2116923195698225</c:v>
                </c:pt>
                <c:pt idx="4">
                  <c:v>0.19314265986244197</c:v>
                </c:pt>
                <c:pt idx="5">
                  <c:v>0.21383033752288264</c:v>
                </c:pt>
                <c:pt idx="6">
                  <c:v>0.20394983240202746</c:v>
                </c:pt>
                <c:pt idx="7">
                  <c:v>0.18721992319406738</c:v>
                </c:pt>
                <c:pt idx="8">
                  <c:v>0.2325877889040292</c:v>
                </c:pt>
                <c:pt idx="9">
                  <c:v>0.22051501260036763</c:v>
                </c:pt>
                <c:pt idx="10">
                  <c:v>0.21368453418198408</c:v>
                </c:pt>
                <c:pt idx="11">
                  <c:v>0.1975941550757703</c:v>
                </c:pt>
                <c:pt idx="12">
                  <c:v>0.1967432262354485</c:v>
                </c:pt>
                <c:pt idx="13">
                  <c:v>0.20236397064958803</c:v>
                </c:pt>
                <c:pt idx="14">
                  <c:v>0.20284618124331094</c:v>
                </c:pt>
                <c:pt idx="15">
                  <c:v>0.1996478757489087</c:v>
                </c:pt>
                <c:pt idx="16">
                  <c:v>0.18912276301866218</c:v>
                </c:pt>
                <c:pt idx="17">
                  <c:v>0.17929269440348736</c:v>
                </c:pt>
                <c:pt idx="18">
                  <c:v>0.16407802570881627</c:v>
                </c:pt>
                <c:pt idx="19">
                  <c:v>0.18865103451024606</c:v>
                </c:pt>
                <c:pt idx="20">
                  <c:v>0.16985361046961175</c:v>
                </c:pt>
                <c:pt idx="21">
                  <c:v>0.15726753804069624</c:v>
                </c:pt>
                <c:pt idx="22">
                  <c:v>0.1491846043641117</c:v>
                </c:pt>
                <c:pt idx="23">
                  <c:v>0.166488353174188</c:v>
                </c:pt>
                <c:pt idx="24">
                  <c:v>0.15557029757038515</c:v>
                </c:pt>
                <c:pt idx="25">
                  <c:v>0.1462969106944315</c:v>
                </c:pt>
                <c:pt idx="26">
                  <c:v>0.16052047513676654</c:v>
                </c:pt>
                <c:pt idx="27">
                  <c:v>0.1643829556822669</c:v>
                </c:pt>
                <c:pt idx="28">
                  <c:v>0.17471051295646448</c:v>
                </c:pt>
                <c:pt idx="29">
                  <c:v>0.15736216588833712</c:v>
                </c:pt>
                <c:pt idx="30">
                  <c:v>0.15359709346465844</c:v>
                </c:pt>
                <c:pt idx="31">
                  <c:v>0.13969067665166376</c:v>
                </c:pt>
                <c:pt idx="32">
                  <c:v>0.15575747173152074</c:v>
                </c:pt>
                <c:pt idx="33">
                  <c:v>0.17078456141540083</c:v>
                </c:pt>
                <c:pt idx="34">
                  <c:v>0.1930924765986354</c:v>
                </c:pt>
                <c:pt idx="35">
                  <c:v>0.15065056579040917</c:v>
                </c:pt>
                <c:pt idx="36">
                  <c:v>0.1299363811931915</c:v>
                </c:pt>
                <c:pt idx="37">
                  <c:v>0.14158608691658622</c:v>
                </c:pt>
                <c:pt idx="38">
                  <c:v>0.14129197577162092</c:v>
                </c:pt>
                <c:pt idx="39">
                  <c:v>0.14879215748379965</c:v>
                </c:pt>
                <c:pt idx="40">
                  <c:v>0.16250145377338604</c:v>
                </c:pt>
                <c:pt idx="41">
                  <c:v>0.1694317803991727</c:v>
                </c:pt>
                <c:pt idx="42">
                  <c:v>0.1635301166437526</c:v>
                </c:pt>
                <c:pt idx="43">
                  <c:v>0.18072466532346218</c:v>
                </c:pt>
                <c:pt idx="44">
                  <c:v>0.17868447324306713</c:v>
                </c:pt>
                <c:pt idx="45">
                  <c:v>0.1794003740269806</c:v>
                </c:pt>
                <c:pt idx="46">
                  <c:v>0.16863852387597783</c:v>
                </c:pt>
                <c:pt idx="47">
                  <c:v>0.15914260471705796</c:v>
                </c:pt>
                <c:pt idx="48">
                  <c:v>0.1614804866291881</c:v>
                </c:pt>
                <c:pt idx="49">
                  <c:v>0.19450621267976423</c:v>
                </c:pt>
                <c:pt idx="50">
                  <c:v>0.19688874252895927</c:v>
                </c:pt>
                <c:pt idx="51">
                  <c:v>0.16337788766027095</c:v>
                </c:pt>
                <c:pt idx="52">
                  <c:v>0.21067705941695372</c:v>
                </c:pt>
                <c:pt idx="53">
                  <c:v>0.254464894692559</c:v>
                </c:pt>
                <c:pt idx="54">
                  <c:v>0.15401053540557608</c:v>
                </c:pt>
              </c:numCache>
            </c:numRef>
          </c:xVal>
          <c:yVal>
            <c:numRef>
              <c:f>Sheet1!$B$187:$B$241</c:f>
              <c:numCache>
                <c:formatCode>General</c:formatCode>
                <c:ptCount val="55"/>
                <c:pt idx="0">
                  <c:v>0.18859070183861987</c:v>
                </c:pt>
                <c:pt idx="1">
                  <c:v>0.19189384075208266</c:v>
                </c:pt>
                <c:pt idx="2">
                  <c:v>0.18904619881681128</c:v>
                </c:pt>
                <c:pt idx="3">
                  <c:v>0.18896684716741047</c:v>
                </c:pt>
                <c:pt idx="4">
                  <c:v>0.18148528134260405</c:v>
                </c:pt>
                <c:pt idx="5">
                  <c:v>0.18982916606181438</c:v>
                </c:pt>
                <c:pt idx="6">
                  <c:v>0.1858440983780874</c:v>
                </c:pt>
                <c:pt idx="7">
                  <c:v>0.179096485809616</c:v>
                </c:pt>
                <c:pt idx="8">
                  <c:v>0.1973945397359102</c:v>
                </c:pt>
                <c:pt idx="9">
                  <c:v>0.1925252714027521</c:v>
                </c:pt>
                <c:pt idx="10">
                  <c:v>0.18977035973816114</c:v>
                </c:pt>
                <c:pt idx="11">
                  <c:v>0.18328068648656343</c:v>
                </c:pt>
                <c:pt idx="12">
                  <c:v>0.18293748449625624</c:v>
                </c:pt>
                <c:pt idx="13">
                  <c:v>0.1852044786073162</c:v>
                </c:pt>
                <c:pt idx="14">
                  <c:v>0.18539896682733037</c:v>
                </c:pt>
                <c:pt idx="15">
                  <c:v>0.18410900607000769</c:v>
                </c:pt>
                <c:pt idx="16">
                  <c:v>0.17986395117697823</c:v>
                </c:pt>
                <c:pt idx="17">
                  <c:v>0.1758992258630399</c:v>
                </c:pt>
                <c:pt idx="18">
                  <c:v>0.16976274966145696</c:v>
                </c:pt>
                <c:pt idx="19">
                  <c:v>0.17967369065776512</c:v>
                </c:pt>
                <c:pt idx="20">
                  <c:v>0.17209219495836703</c:v>
                </c:pt>
                <c:pt idx="21">
                  <c:v>0.16701590079242898</c:v>
                </c:pt>
                <c:pt idx="22">
                  <c:v>0.16375584096853635</c:v>
                </c:pt>
                <c:pt idx="23">
                  <c:v>0.17073489814698106</c:v>
                </c:pt>
                <c:pt idx="24">
                  <c:v>0.16633135905422636</c:v>
                </c:pt>
                <c:pt idx="25">
                  <c:v>0.16259115813271088</c:v>
                </c:pt>
                <c:pt idx="26">
                  <c:v>0.16832789591213035</c:v>
                </c:pt>
                <c:pt idx="27">
                  <c:v>0.1698857359428398</c:v>
                </c:pt>
                <c:pt idx="28">
                  <c:v>0.1740511115225128</c:v>
                </c:pt>
                <c:pt idx="29">
                  <c:v>0.16705406669315995</c:v>
                </c:pt>
                <c:pt idx="30">
                  <c:v>0.1655355139209111</c:v>
                </c:pt>
                <c:pt idx="31">
                  <c:v>0.15992669012495664</c:v>
                </c:pt>
                <c:pt idx="32">
                  <c:v>0.16640685131819932</c:v>
                </c:pt>
                <c:pt idx="33">
                  <c:v>0.17246767196929114</c:v>
                </c:pt>
                <c:pt idx="34">
                  <c:v>0.18146504111192624</c:v>
                </c:pt>
                <c:pt idx="35">
                  <c:v>0.16434710178304646</c:v>
                </c:pt>
                <c:pt idx="36">
                  <c:v>0.15599252611880327</c:v>
                </c:pt>
                <c:pt idx="37">
                  <c:v>0.16069115895542196</c:v>
                </c:pt>
                <c:pt idx="38">
                  <c:v>0.16057253619222422</c:v>
                </c:pt>
                <c:pt idx="39">
                  <c:v>0.16359755681593668</c:v>
                </c:pt>
                <c:pt idx="40">
                  <c:v>0.16912687671831234</c:v>
                </c:pt>
                <c:pt idx="41">
                  <c:v>0.17192205979208058</c:v>
                </c:pt>
                <c:pt idx="42">
                  <c:v>0.16954176351934186</c:v>
                </c:pt>
                <c:pt idx="43">
                  <c:v>0.17647677741201723</c:v>
                </c:pt>
                <c:pt idx="44">
                  <c:v>0.1756539142659806</c:v>
                </c:pt>
                <c:pt idx="45">
                  <c:v>0.17594265588838073</c:v>
                </c:pt>
                <c:pt idx="46">
                  <c:v>0.17160211856470173</c:v>
                </c:pt>
                <c:pt idx="47">
                  <c:v>0.1677721645183624</c:v>
                </c:pt>
                <c:pt idx="48">
                  <c:v>0.1687150938061308</c:v>
                </c:pt>
                <c:pt idx="49">
                  <c:v>0.1820352380706155</c:v>
                </c:pt>
                <c:pt idx="50">
                  <c:v>0.1829961750461454</c:v>
                </c:pt>
                <c:pt idx="51">
                  <c:v>0.16948036556496815</c:v>
                </c:pt>
                <c:pt idx="52">
                  <c:v>0.18855736603499007</c:v>
                </c:pt>
                <c:pt idx="53">
                  <c:v>0.2062181521145252</c:v>
                </c:pt>
                <c:pt idx="54">
                  <c:v>0.1657022659338593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045482239256416"/>
          <c:min val="0.106804827194035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1.0894</c:v>
                </c:pt>
                <c:pt idx="1">
                  <c:v>863.8572</c:v>
                </c:pt>
                <c:pt idx="2">
                  <c:v>915.63</c:v>
                </c:pt>
                <c:pt idx="3">
                  <c:v>930.6772</c:v>
                </c:pt>
                <c:pt idx="4">
                  <c:v>927.9188</c:v>
                </c:pt>
                <c:pt idx="5">
                  <c:v>924.7076</c:v>
                </c:pt>
                <c:pt idx="6">
                  <c:v>886.788</c:v>
                </c:pt>
                <c:pt idx="7">
                  <c:v>910.648</c:v>
                </c:pt>
                <c:pt idx="8">
                  <c:v>910.9362</c:v>
                </c:pt>
                <c:pt idx="9">
                  <c:v>897.5071</c:v>
                </c:pt>
                <c:pt idx="10">
                  <c:v>899.1659</c:v>
                </c:pt>
                <c:pt idx="11">
                  <c:v>936.6184</c:v>
                </c:pt>
                <c:pt idx="12">
                  <c:v>930.1207</c:v>
                </c:pt>
                <c:pt idx="13">
                  <c:v>904.76</c:v>
                </c:pt>
                <c:pt idx="14">
                  <c:v>911.1927</c:v>
                </c:pt>
                <c:pt idx="15">
                  <c:v>921.652</c:v>
                </c:pt>
                <c:pt idx="16">
                  <c:v>918.424</c:v>
                </c:pt>
                <c:pt idx="17">
                  <c:v>935.9762</c:v>
                </c:pt>
                <c:pt idx="18">
                  <c:v>972.7735</c:v>
                </c:pt>
                <c:pt idx="19">
                  <c:v>1001.4916</c:v>
                </c:pt>
                <c:pt idx="20">
                  <c:v>1006.9064</c:v>
                </c:pt>
                <c:pt idx="21">
                  <c:v>1016.8196</c:v>
                </c:pt>
                <c:pt idx="22">
                  <c:v>1005.2167</c:v>
                </c:pt>
                <c:pt idx="23">
                  <c:v>986.9864</c:v>
                </c:pt>
                <c:pt idx="24">
                  <c:v>972.5527</c:v>
                </c:pt>
                <c:pt idx="25">
                  <c:v>961.9693</c:v>
                </c:pt>
                <c:pt idx="26">
                  <c:v>972.0951</c:v>
                </c:pt>
                <c:pt idx="27">
                  <c:v>982.5739</c:v>
                </c:pt>
                <c:pt idx="28">
                  <c:v>984.1141</c:v>
                </c:pt>
                <c:pt idx="29">
                  <c:v>886.5662</c:v>
                </c:pt>
                <c:pt idx="30">
                  <c:v>920.3414</c:v>
                </c:pt>
                <c:pt idx="31">
                  <c:v>942.4014</c:v>
                </c:pt>
                <c:pt idx="32">
                  <c:v>916.5916</c:v>
                </c:pt>
                <c:pt idx="33">
                  <c:v>861.3948</c:v>
                </c:pt>
                <c:pt idx="34">
                  <c:v>946.9117</c:v>
                </c:pt>
                <c:pt idx="35">
                  <c:v>996.5961</c:v>
                </c:pt>
                <c:pt idx="36">
                  <c:v>1052.5313</c:v>
                </c:pt>
                <c:pt idx="37">
                  <c:v>1057.7318</c:v>
                </c:pt>
                <c:pt idx="38">
                  <c:v>1103.5503</c:v>
                </c:pt>
                <c:pt idx="39">
                  <c:v>1105.923</c:v>
                </c:pt>
                <c:pt idx="40">
                  <c:v>1125.2943</c:v>
                </c:pt>
                <c:pt idx="41">
                  <c:v>1143.9972</c:v>
                </c:pt>
                <c:pt idx="42">
                  <c:v>1188.4166</c:v>
                </c:pt>
                <c:pt idx="43">
                  <c:v>1190.1291</c:v>
                </c:pt>
                <c:pt idx="44">
                  <c:v>1039.8934</c:v>
                </c:pt>
                <c:pt idx="45">
                  <c:v>987.8103</c:v>
                </c:pt>
                <c:pt idx="46">
                  <c:v>985.6185</c:v>
                </c:pt>
                <c:pt idx="47">
                  <c:v>967.874</c:v>
                </c:pt>
                <c:pt idx="48">
                  <c:v>974.755</c:v>
                </c:pt>
                <c:pt idx="49">
                  <c:v>957.9308</c:v>
                </c:pt>
                <c:pt idx="50">
                  <c:v>954.5131</c:v>
                </c:pt>
                <c:pt idx="51">
                  <c:v>980.9713</c:v>
                </c:pt>
                <c:pt idx="52">
                  <c:v>997.7418</c:v>
                </c:pt>
                <c:pt idx="53">
                  <c:v>1036.1538</c:v>
                </c:pt>
                <c:pt idx="54">
                  <c:v>1047.9728</c:v>
                </c:pt>
                <c:pt idx="55">
                  <c:v>1051.8556</c:v>
                </c:pt>
                <c:pt idx="56">
                  <c:v>1068.6247</c:v>
                </c:pt>
                <c:pt idx="57">
                  <c:v>1043.7406</c:v>
                </c:pt>
                <c:pt idx="58">
                  <c:v>1025.2152</c:v>
                </c:pt>
                <c:pt idx="59">
                  <c:v>1033.7447</c:v>
                </c:pt>
                <c:pt idx="60">
                  <c:v>1061.5763</c:v>
                </c:pt>
                <c:pt idx="61">
                  <c:v>1056.9965</c:v>
                </c:pt>
                <c:pt idx="62">
                  <c:v>1028.611</c:v>
                </c:pt>
                <c:pt idx="63">
                  <c:v>1060.3576</c:v>
                </c:pt>
                <c:pt idx="64">
                  <c:v>1053.6743</c:v>
                </c:pt>
                <c:pt idx="65">
                  <c:v>1031.7584</c:v>
                </c:pt>
                <c:pt idx="66">
                  <c:v>983.4835</c:v>
                </c:pt>
                <c:pt idx="67">
                  <c:v>966.7607</c:v>
                </c:pt>
                <c:pt idx="68">
                  <c:v>952.9274</c:v>
                </c:pt>
                <c:pt idx="69">
                  <c:v>958.3101</c:v>
                </c:pt>
                <c:pt idx="70">
                  <c:v>925.1353</c:v>
                </c:pt>
                <c:pt idx="71">
                  <c:v>984.8437</c:v>
                </c:pt>
                <c:pt idx="72">
                  <c:v>993.3549</c:v>
                </c:pt>
                <c:pt idx="73">
                  <c:v>1010.9377</c:v>
                </c:pt>
                <c:pt idx="74">
                  <c:v>1000.2435</c:v>
                </c:pt>
                <c:pt idx="75">
                  <c:v>1001.5149</c:v>
                </c:pt>
                <c:pt idx="76">
                  <c:v>1013.1956</c:v>
                </c:pt>
                <c:pt idx="77">
                  <c:v>994.2575</c:v>
                </c:pt>
                <c:pt idx="78">
                  <c:v>1050.1545</c:v>
                </c:pt>
                <c:pt idx="79">
                  <c:v>698.7679</c:v>
                </c:pt>
                <c:pt idx="80">
                  <c:v>707.1246</c:v>
                </c:pt>
                <c:pt idx="81">
                  <c:v>902.2342</c:v>
                </c:pt>
                <c:pt idx="82">
                  <c:v>895.1314</c:v>
                </c:pt>
                <c:pt idx="83">
                  <c:v>911.0286</c:v>
                </c:pt>
                <c:pt idx="84">
                  <c:v>922.024</c:v>
                </c:pt>
                <c:pt idx="85">
                  <c:v>967.4432</c:v>
                </c:pt>
                <c:pt idx="86">
                  <c:v>1075.9072</c:v>
                </c:pt>
                <c:pt idx="87">
                  <c:v>1105.8552</c:v>
                </c:pt>
                <c:pt idx="88">
                  <c:v>1091.488</c:v>
                </c:pt>
                <c:pt idx="89">
                  <c:v>1035.2538</c:v>
                </c:pt>
                <c:pt idx="90">
                  <c:v>1093.0491</c:v>
                </c:pt>
                <c:pt idx="91">
                  <c:v>1105.6374</c:v>
                </c:pt>
                <c:pt idx="92">
                  <c:v>1108.8317</c:v>
                </c:pt>
                <c:pt idx="93">
                  <c:v>1159.438</c:v>
                </c:pt>
                <c:pt idx="94">
                  <c:v>1151.2778</c:v>
                </c:pt>
                <c:pt idx="95">
                  <c:v>1145.3779</c:v>
                </c:pt>
                <c:pt idx="96">
                  <c:v>1108.9973</c:v>
                </c:pt>
                <c:pt idx="97">
                  <c:v>1123.428</c:v>
                </c:pt>
                <c:pt idx="98">
                  <c:v>1120.4051</c:v>
                </c:pt>
                <c:pt idx="99">
                  <c:v>1074.8352</c:v>
                </c:pt>
                <c:pt idx="100">
                  <c:v>1084.5881</c:v>
                </c:pt>
                <c:pt idx="101">
                  <c:v>1090.3515</c:v>
                </c:pt>
                <c:pt idx="102">
                  <c:v>1120.5609</c:v>
                </c:pt>
                <c:pt idx="103">
                  <c:v>976.3286</c:v>
                </c:pt>
                <c:pt idx="104">
                  <c:v>1069.0702</c:v>
                </c:pt>
              </c:numCache>
            </c:numRef>
          </c:xVal>
          <c:yVal>
            <c:numRef>
              <c:f>Sheet1!$B$2:$B$106</c:f>
              <c:numCache>
                <c:formatCode>General</c:formatCode>
                <c:ptCount val="105"/>
                <c:pt idx="0">
                  <c:v>0.2146968600282632</c:v>
                </c:pt>
                <c:pt idx="1">
                  <c:v>0.21712007677826584</c:v>
                </c:pt>
                <c:pt idx="2">
                  <c:v>0.1972539093651399</c:v>
                </c:pt>
                <c:pt idx="3">
                  <c:v>0.19730041274681143</c:v>
                </c:pt>
                <c:pt idx="4">
                  <c:v>0.19716885743174925</c:v>
                </c:pt>
                <c:pt idx="5">
                  <c:v>0.19012279044663338</c:v>
                </c:pt>
                <c:pt idx="6">
                  <c:v>0.21017518185339817</c:v>
                </c:pt>
                <c:pt idx="7">
                  <c:v>0.2075634080899104</c:v>
                </c:pt>
                <c:pt idx="8">
                  <c:v>0.21384258510007012</c:v>
                </c:pt>
                <c:pt idx="9">
                  <c:v>0.2146702296580303</c:v>
                </c:pt>
                <c:pt idx="10">
                  <c:v>0.22441271999395726</c:v>
                </c:pt>
                <c:pt idx="11">
                  <c:v>0.21766276604099583</c:v>
                </c:pt>
                <c:pt idx="12">
                  <c:v>0.22001172418846632</c:v>
                </c:pt>
                <c:pt idx="13">
                  <c:v>0.23030123163674135</c:v>
                </c:pt>
                <c:pt idx="14">
                  <c:v>0.21616486407483193</c:v>
                </c:pt>
                <c:pt idx="15">
                  <c:v>0.21368379688250447</c:v>
                </c:pt>
                <c:pt idx="16">
                  <c:v>0.20372046254399195</c:v>
                </c:pt>
                <c:pt idx="17">
                  <c:v>0.19133534411845352</c:v>
                </c:pt>
                <c:pt idx="18">
                  <c:v>0.17340107591153617</c:v>
                </c:pt>
                <c:pt idx="19">
                  <c:v>0.16212729357798164</c:v>
                </c:pt>
                <c:pt idx="20">
                  <c:v>0.17247294020228307</c:v>
                </c:pt>
                <c:pt idx="21">
                  <c:v>0.17840839926962873</c:v>
                </c:pt>
                <c:pt idx="22">
                  <c:v>0.1777423099245502</c:v>
                </c:pt>
                <c:pt idx="23">
                  <c:v>0.18377885783718104</c:v>
                </c:pt>
                <c:pt idx="24">
                  <c:v>0.19052653838020722</c:v>
                </c:pt>
                <c:pt idx="25">
                  <c:v>0.19005184705119896</c:v>
                </c:pt>
                <c:pt idx="26">
                  <c:v>0.19381918133868212</c:v>
                </c:pt>
                <c:pt idx="27">
                  <c:v>0.18466152527849186</c:v>
                </c:pt>
                <c:pt idx="28">
                  <c:v>0.1814272177272396</c:v>
                </c:pt>
                <c:pt idx="29">
                  <c:v>0.20289217227287018</c:v>
                </c:pt>
                <c:pt idx="30">
                  <c:v>0.1858022158391465</c:v>
                </c:pt>
                <c:pt idx="31">
                  <c:v>0.1823178391959799</c:v>
                </c:pt>
                <c:pt idx="32">
                  <c:v>0.1905923610581688</c:v>
                </c:pt>
                <c:pt idx="33">
                  <c:v>0.20864226135310474</c:v>
                </c:pt>
                <c:pt idx="34">
                  <c:v>0.1999795207864018</c:v>
                </c:pt>
                <c:pt idx="35">
                  <c:v>0.1962085308056872</c:v>
                </c:pt>
                <c:pt idx="36">
                  <c:v>0.15714536825452627</c:v>
                </c:pt>
                <c:pt idx="37">
                  <c:v>0.14665426274171042</c:v>
                </c:pt>
                <c:pt idx="38">
                  <c:v>0.14210777300906055</c:v>
                </c:pt>
                <c:pt idx="39">
                  <c:v>0.14415942336230655</c:v>
                </c:pt>
                <c:pt idx="40">
                  <c:v>0.14485714285714285</c:v>
                </c:pt>
                <c:pt idx="41">
                  <c:v>0.13350603399254438</c:v>
                </c:pt>
                <c:pt idx="42">
                  <c:v>0.13931079536175078</c:v>
                </c:pt>
                <c:pt idx="43">
                  <c:v>0.14207650273224043</c:v>
                </c:pt>
                <c:pt idx="44">
                  <c:v>0.17000688920899354</c:v>
                </c:pt>
                <c:pt idx="45">
                  <c:v>0.19477348004266548</c:v>
                </c:pt>
                <c:pt idx="46">
                  <c:v>0.2011744648607691</c:v>
                </c:pt>
                <c:pt idx="47">
                  <c:v>0.20259431353025778</c:v>
                </c:pt>
                <c:pt idx="48">
                  <c:v>0.2187455926500514</c:v>
                </c:pt>
                <c:pt idx="49">
                  <c:v>0.25037901866047013</c:v>
                </c:pt>
                <c:pt idx="50">
                  <c:v>0.21465076660988075</c:v>
                </c:pt>
                <c:pt idx="51">
                  <c:v>0.19269703543022415</c:v>
                </c:pt>
                <c:pt idx="52">
                  <c:v>0.2046528645912736</c:v>
                </c:pt>
                <c:pt idx="53">
                  <c:v>0.19408830593016813</c:v>
                </c:pt>
                <c:pt idx="54">
                  <c:v>0.19114754098360656</c:v>
                </c:pt>
                <c:pt idx="55">
                  <c:v>0.18233343129434484</c:v>
                </c:pt>
                <c:pt idx="56">
                  <c:v>0.19250032664082575</c:v>
                </c:pt>
                <c:pt idx="57">
                  <c:v>0.18821285803352036</c:v>
                </c:pt>
                <c:pt idx="58">
                  <c:v>0.20670012206700122</c:v>
                </c:pt>
                <c:pt idx="59">
                  <c:v>0.21249389512942327</c:v>
                </c:pt>
                <c:pt idx="60">
                  <c:v>0.22528798547010673</c:v>
                </c:pt>
                <c:pt idx="61">
                  <c:v>0.22520512204332452</c:v>
                </c:pt>
                <c:pt idx="62">
                  <c:v>0.22494933573519477</c:v>
                </c:pt>
                <c:pt idx="63">
                  <c:v>0.2410700941563294</c:v>
                </c:pt>
                <c:pt idx="64">
                  <c:v>0.22874988951415692</c:v>
                </c:pt>
                <c:pt idx="65">
                  <c:v>0.21485674085443848</c:v>
                </c:pt>
                <c:pt idx="66">
                  <c:v>0.2205326908048971</c:v>
                </c:pt>
                <c:pt idx="67">
                  <c:v>0.2174063560202174</c:v>
                </c:pt>
                <c:pt idx="68">
                  <c:v>0.19819517313746066</c:v>
                </c:pt>
                <c:pt idx="69">
                  <c:v>0.1843770456033166</c:v>
                </c:pt>
                <c:pt idx="70">
                  <c:v>0.17122678524718807</c:v>
                </c:pt>
                <c:pt idx="71">
                  <c:v>0.18111014240046497</c:v>
                </c:pt>
                <c:pt idx="72">
                  <c:v>0.18635843192846627</c:v>
                </c:pt>
                <c:pt idx="73">
                  <c:v>0.18679817004337235</c:v>
                </c:pt>
                <c:pt idx="74">
                  <c:v>0.18381496477896722</c:v>
                </c:pt>
                <c:pt idx="75">
                  <c:v>0.18586118251928022</c:v>
                </c:pt>
                <c:pt idx="76">
                  <c:v>0.18114987169706637</c:v>
                </c:pt>
                <c:pt idx="77">
                  <c:v>0.1769905093095704</c:v>
                </c:pt>
                <c:pt idx="78">
                  <c:v>0.1633945027646446</c:v>
                </c:pt>
                <c:pt idx="79">
                  <c:v>0.22476419827413205</c:v>
                </c:pt>
                <c:pt idx="80">
                  <c:v>0.21057944679991925</c:v>
                </c:pt>
                <c:pt idx="81">
                  <c:v>0.17324355971896954</c:v>
                </c:pt>
                <c:pt idx="82">
                  <c:v>0.17274735318759996</c:v>
                </c:pt>
                <c:pt idx="83">
                  <c:v>0.1545659331138451</c:v>
                </c:pt>
                <c:pt idx="84">
                  <c:v>0.1574049688350452</c:v>
                </c:pt>
                <c:pt idx="85">
                  <c:v>0.16417796739296053</c:v>
                </c:pt>
                <c:pt idx="86">
                  <c:v>0.1571214565568103</c:v>
                </c:pt>
                <c:pt idx="87">
                  <c:v>0.17206188960825194</c:v>
                </c:pt>
                <c:pt idx="88">
                  <c:v>0.1534110993283846</c:v>
                </c:pt>
                <c:pt idx="89">
                  <c:v>0.1521688342029437</c:v>
                </c:pt>
                <c:pt idx="90">
                  <c:v>0.1496723669490171</c:v>
                </c:pt>
                <c:pt idx="91">
                  <c:v>0.14149109849957242</c:v>
                </c:pt>
                <c:pt idx="92">
                  <c:v>0.14851851851851852</c:v>
                </c:pt>
                <c:pt idx="93">
                  <c:v>0.14279624893435636</c:v>
                </c:pt>
                <c:pt idx="94">
                  <c:v>0.14696723531004605</c:v>
                </c:pt>
                <c:pt idx="95">
                  <c:v>0.15124254473161033</c:v>
                </c:pt>
                <c:pt idx="96">
                  <c:v>0.14782844182661387</c:v>
                </c:pt>
                <c:pt idx="97">
                  <c:v>0.15954492519931918</c:v>
                </c:pt>
                <c:pt idx="98">
                  <c:v>0.1734323983854796</c:v>
                </c:pt>
                <c:pt idx="99">
                  <c:v>0.18298980350969324</c:v>
                </c:pt>
                <c:pt idx="100">
                  <c:v>0.20112217610289895</c:v>
                </c:pt>
                <c:pt idx="101">
                  <c:v>0.1896363217861664</c:v>
                </c:pt>
                <c:pt idx="102">
                  <c:v>0.16128769687843392</c:v>
                </c:pt>
                <c:pt idx="103">
                  <c:v>0.18299982291482203</c:v>
                </c:pt>
                <c:pt idx="104">
                  <c:v>0.182912358026784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8.6865</c:v>
                </c:pt>
                <c:pt idx="1">
                  <c:v>1135.893</c:v>
                </c:pt>
                <c:pt idx="2">
                  <c:v>1130.6472</c:v>
                </c:pt>
                <c:pt idx="3">
                  <c:v>1147.2494</c:v>
                </c:pt>
                <c:pt idx="4">
                  <c:v>1145.4045</c:v>
                </c:pt>
                <c:pt idx="5">
                  <c:v>1161.1879</c:v>
                </c:pt>
                <c:pt idx="6">
                  <c:v>1088.9483</c:v>
                </c:pt>
                <c:pt idx="7">
                  <c:v>1131.033</c:v>
                </c:pt>
                <c:pt idx="8">
                  <c:v>1209.0371</c:v>
                </c:pt>
                <c:pt idx="9">
                  <c:v>1179.8609</c:v>
                </c:pt>
                <c:pt idx="10">
                  <c:v>1192.4996</c:v>
                </c:pt>
                <c:pt idx="11">
                  <c:v>1065.0223</c:v>
                </c:pt>
                <c:pt idx="12">
                  <c:v>1093.3316</c:v>
                </c:pt>
                <c:pt idx="13">
                  <c:v>1144.7283</c:v>
                </c:pt>
                <c:pt idx="14">
                  <c:v>1152.2198</c:v>
                </c:pt>
                <c:pt idx="15">
                  <c:v>1186.1136</c:v>
                </c:pt>
                <c:pt idx="16">
                  <c:v>1230.8374</c:v>
                </c:pt>
                <c:pt idx="17">
                  <c:v>1201.4371</c:v>
                </c:pt>
                <c:pt idx="18">
                  <c:v>1179.2322</c:v>
                </c:pt>
                <c:pt idx="19">
                  <c:v>1287.4371</c:v>
                </c:pt>
                <c:pt idx="20">
                  <c:v>1271.8513</c:v>
                </c:pt>
                <c:pt idx="21">
                  <c:v>1203.0116</c:v>
                </c:pt>
                <c:pt idx="22">
                  <c:v>1159.0383</c:v>
                </c:pt>
                <c:pt idx="23">
                  <c:v>1157.6274</c:v>
                </c:pt>
                <c:pt idx="24">
                  <c:v>1163.9092</c:v>
                </c:pt>
                <c:pt idx="25">
                  <c:v>1093.9142</c:v>
                </c:pt>
                <c:pt idx="26">
                  <c:v>1186.2231</c:v>
                </c:pt>
                <c:pt idx="27">
                  <c:v>1199.9327</c:v>
                </c:pt>
                <c:pt idx="28">
                  <c:v>1185.0203</c:v>
                </c:pt>
                <c:pt idx="29">
                  <c:v>1190.7016</c:v>
                </c:pt>
                <c:pt idx="30">
                  <c:v>1165.2712</c:v>
                </c:pt>
                <c:pt idx="31">
                  <c:v>1074.8542</c:v>
                </c:pt>
                <c:pt idx="32">
                  <c:v>1116.799</c:v>
                </c:pt>
                <c:pt idx="33">
                  <c:v>1169.0567</c:v>
                </c:pt>
                <c:pt idx="34">
                  <c:v>1206.114</c:v>
                </c:pt>
                <c:pt idx="35">
                  <c:v>1179.4318</c:v>
                </c:pt>
                <c:pt idx="36">
                  <c:v>1202.9226</c:v>
                </c:pt>
                <c:pt idx="37">
                  <c:v>1265.2341</c:v>
                </c:pt>
                <c:pt idx="38">
                  <c:v>1239.3704</c:v>
                </c:pt>
                <c:pt idx="39">
                  <c:v>1192.0742</c:v>
                </c:pt>
                <c:pt idx="40">
                  <c:v>1226.0768</c:v>
                </c:pt>
                <c:pt idx="41">
                  <c:v>1283.756</c:v>
                </c:pt>
                <c:pt idx="42">
                  <c:v>1256.9347</c:v>
                </c:pt>
                <c:pt idx="43">
                  <c:v>1263.5346</c:v>
                </c:pt>
                <c:pt idx="44">
                  <c:v>1199.6258</c:v>
                </c:pt>
                <c:pt idx="45">
                  <c:v>1146.9572</c:v>
                </c:pt>
                <c:pt idx="46">
                  <c:v>1135.6928</c:v>
                </c:pt>
                <c:pt idx="47">
                  <c:v>1121.4318</c:v>
                </c:pt>
                <c:pt idx="48">
                  <c:v>1102.8834</c:v>
                </c:pt>
                <c:pt idx="49">
                  <c:v>1129.7361</c:v>
                </c:pt>
                <c:pt idx="50">
                  <c:v>1032.9026</c:v>
                </c:pt>
                <c:pt idx="51">
                  <c:v>996.7259</c:v>
                </c:pt>
              </c:numCache>
            </c:numRef>
          </c:xVal>
          <c:yVal>
            <c:numRef>
              <c:f>Sheet1!$B$109:$B$160</c:f>
              <c:numCache>
                <c:formatCode>General</c:formatCode>
                <c:ptCount val="52"/>
                <c:pt idx="0">
                  <c:v>0.17583408476104598</c:v>
                </c:pt>
                <c:pt idx="1">
                  <c:v>0.1831663486005089</c:v>
                </c:pt>
                <c:pt idx="2">
                  <c:v>0.19043603527634306</c:v>
                </c:pt>
                <c:pt idx="3">
                  <c:v>0.20528250216200633</c:v>
                </c:pt>
                <c:pt idx="4">
                  <c:v>0.19332110091743118</c:v>
                </c:pt>
                <c:pt idx="5">
                  <c:v>0.19093960997321865</c:v>
                </c:pt>
                <c:pt idx="6">
                  <c:v>0.1895799862290567</c:v>
                </c:pt>
                <c:pt idx="7">
                  <c:v>0.18574562385280027</c:v>
                </c:pt>
                <c:pt idx="8">
                  <c:v>0.18271100254249964</c:v>
                </c:pt>
                <c:pt idx="9">
                  <c:v>0.19039970630076636</c:v>
                </c:pt>
                <c:pt idx="10">
                  <c:v>0.19824553591307834</c:v>
                </c:pt>
                <c:pt idx="11">
                  <c:v>0.2084049118788573</c:v>
                </c:pt>
                <c:pt idx="12">
                  <c:v>0.20794900637420322</c:v>
                </c:pt>
                <c:pt idx="13">
                  <c:v>0.20005645616581982</c:v>
                </c:pt>
                <c:pt idx="14">
                  <c:v>0.2011674700393579</c:v>
                </c:pt>
                <c:pt idx="15">
                  <c:v>0.1886034161044926</c:v>
                </c:pt>
                <c:pt idx="16">
                  <c:v>0.1708314402544298</c:v>
                </c:pt>
                <c:pt idx="17">
                  <c:v>0.15750827565452905</c:v>
                </c:pt>
                <c:pt idx="18">
                  <c:v>0.15575417446130396</c:v>
                </c:pt>
                <c:pt idx="19">
                  <c:v>0.16161275072600798</c:v>
                </c:pt>
                <c:pt idx="20">
                  <c:v>0.15370691605701786</c:v>
                </c:pt>
                <c:pt idx="21">
                  <c:v>0.16223260830487146</c:v>
                </c:pt>
                <c:pt idx="22">
                  <c:v>0.16634241245136186</c:v>
                </c:pt>
                <c:pt idx="23">
                  <c:v>0.17083564943487123</c:v>
                </c:pt>
                <c:pt idx="24">
                  <c:v>0.16530264279624893</c:v>
                </c:pt>
                <c:pt idx="25">
                  <c:v>0.172339663203153</c:v>
                </c:pt>
                <c:pt idx="26">
                  <c:v>0.1497388276262333</c:v>
                </c:pt>
                <c:pt idx="27">
                  <c:v>0.14984686636288938</c:v>
                </c:pt>
                <c:pt idx="28">
                  <c:v>0.15955937014259647</c:v>
                </c:pt>
                <c:pt idx="29">
                  <c:v>0.16225219369515761</c:v>
                </c:pt>
                <c:pt idx="30">
                  <c:v>0.1687273950710741</c:v>
                </c:pt>
                <c:pt idx="31">
                  <c:v>0.17207587880967365</c:v>
                </c:pt>
                <c:pt idx="32">
                  <c:v>0.17484257171732878</c:v>
                </c:pt>
                <c:pt idx="33">
                  <c:v>0.19225181598062954</c:v>
                </c:pt>
                <c:pt idx="34">
                  <c:v>0.2116611443548786</c:v>
                </c:pt>
                <c:pt idx="35">
                  <c:v>0.2032646474677259</c:v>
                </c:pt>
                <c:pt idx="36">
                  <c:v>0.17360157016683023</c:v>
                </c:pt>
                <c:pt idx="37">
                  <c:v>0.15445141897268147</c:v>
                </c:pt>
                <c:pt idx="38">
                  <c:v>0.15996855654908126</c:v>
                </c:pt>
                <c:pt idx="39">
                  <c:v>0.17886353852776582</c:v>
                </c:pt>
                <c:pt idx="40">
                  <c:v>0.15928461645941036</c:v>
                </c:pt>
                <c:pt idx="41">
                  <c:v>0.1606812780565091</c:v>
                </c:pt>
                <c:pt idx="42">
                  <c:v>0.16119157831865014</c:v>
                </c:pt>
                <c:pt idx="43">
                  <c:v>0.15152014048951817</c:v>
                </c:pt>
                <c:pt idx="44">
                  <c:v>0.14690281398903174</c:v>
                </c:pt>
                <c:pt idx="45">
                  <c:v>0.1629537413183069</c:v>
                </c:pt>
                <c:pt idx="46">
                  <c:v>0.16084024494225255</c:v>
                </c:pt>
                <c:pt idx="47">
                  <c:v>0.16053572073210354</c:v>
                </c:pt>
                <c:pt idx="48">
                  <c:v>0.15270950725332694</c:v>
                </c:pt>
                <c:pt idx="49">
                  <c:v>0.16871387283236994</c:v>
                </c:pt>
                <c:pt idx="50">
                  <c:v>0.20077423234487166</c:v>
                </c:pt>
                <c:pt idx="51">
                  <c:v>0.1891581718760548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45.0655599522637</c:v>
                </c:pt>
              </c:numCache>
            </c:numRef>
          </c:xVal>
          <c:yVal>
            <c:numRef>
              <c:f>Sheet1!$B$163:$B$164</c:f>
              <c:numCache>
                <c:formatCode>General</c:formatCode>
                <c:ptCount val="2"/>
                <c:pt idx="0">
                  <c:v>0.2062181521145252</c:v>
                </c:pt>
                <c:pt idx="1">
                  <c:v>0.206218152114525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45.0655599522637</c:v>
                </c:pt>
                <c:pt idx="1">
                  <c:v>945.0655599522637</c:v>
                </c:pt>
              </c:numCache>
            </c:numRef>
          </c:xVal>
          <c:yVal>
            <c:numRef>
              <c:f>Sheet1!$B$167:$B$168</c:f>
              <c:numCache>
                <c:formatCode>General</c:formatCode>
                <c:ptCount val="2"/>
                <c:pt idx="0">
                  <c:v>0.20621815211452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2.1534032940854</c:v>
                </c:pt>
              </c:numCache>
            </c:numRef>
          </c:xVal>
          <c:yVal>
            <c:numRef>
              <c:f>Sheet1!$B$171:$B$172</c:f>
              <c:numCache>
                <c:formatCode>General</c:formatCode>
                <c:ptCount val="2"/>
                <c:pt idx="0">
                  <c:v>0.18855736603499007</c:v>
                </c:pt>
                <c:pt idx="1">
                  <c:v>0.1885573660349900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2.1534032940854</c:v>
                </c:pt>
                <c:pt idx="1">
                  <c:v>1072.1534032940854</c:v>
                </c:pt>
              </c:numCache>
            </c:numRef>
          </c:xVal>
          <c:yVal>
            <c:numRef>
              <c:f>Sheet1!$B$175:$B$176</c:f>
              <c:numCache>
                <c:formatCode>General</c:formatCode>
                <c:ptCount val="2"/>
                <c:pt idx="0">
                  <c:v>0.1885573660349900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36.619773484704</c:v>
                </c:pt>
              </c:numCache>
            </c:numRef>
          </c:xVal>
          <c:yVal>
            <c:numRef>
              <c:f>Sheet1!$B$179:$B$180</c:f>
              <c:numCache>
                <c:formatCode>General</c:formatCode>
                <c:ptCount val="2"/>
                <c:pt idx="0">
                  <c:v>0.16570226593385937</c:v>
                </c:pt>
                <c:pt idx="1">
                  <c:v>0.1657022659338593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36.619773484704</c:v>
                </c:pt>
                <c:pt idx="1">
                  <c:v>1236.619773484704</c:v>
                </c:pt>
              </c:numCache>
            </c:numRef>
          </c:xVal>
          <c:yVal>
            <c:numRef>
              <c:f>Sheet1!$B$183:$B$184</c:f>
              <c:numCache>
                <c:formatCode>General</c:formatCode>
                <c:ptCount val="2"/>
                <c:pt idx="0">
                  <c:v>0.1657022659338593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8.6865</c:v>
                </c:pt>
                <c:pt idx="1">
                  <c:v>1135.893</c:v>
                </c:pt>
                <c:pt idx="2">
                  <c:v>1130.6472</c:v>
                </c:pt>
                <c:pt idx="3">
                  <c:v>1147.2494</c:v>
                </c:pt>
                <c:pt idx="4">
                  <c:v>1145.4045</c:v>
                </c:pt>
                <c:pt idx="5">
                  <c:v>1161.1879</c:v>
                </c:pt>
                <c:pt idx="6">
                  <c:v>1088.9483</c:v>
                </c:pt>
                <c:pt idx="7">
                  <c:v>1131.033</c:v>
                </c:pt>
                <c:pt idx="8">
                  <c:v>1209.0371</c:v>
                </c:pt>
                <c:pt idx="9">
                  <c:v>1179.8609</c:v>
                </c:pt>
                <c:pt idx="10">
                  <c:v>1192.4996</c:v>
                </c:pt>
                <c:pt idx="11">
                  <c:v>1065.0223</c:v>
                </c:pt>
                <c:pt idx="12">
                  <c:v>1093.3316</c:v>
                </c:pt>
                <c:pt idx="13">
                  <c:v>1144.7283</c:v>
                </c:pt>
                <c:pt idx="14">
                  <c:v>1152.2198</c:v>
                </c:pt>
                <c:pt idx="15">
                  <c:v>1186.1136</c:v>
                </c:pt>
                <c:pt idx="16">
                  <c:v>1230.8374</c:v>
                </c:pt>
                <c:pt idx="17">
                  <c:v>1201.4371</c:v>
                </c:pt>
                <c:pt idx="18">
                  <c:v>1179.2322</c:v>
                </c:pt>
                <c:pt idx="19">
                  <c:v>1287.4371</c:v>
                </c:pt>
                <c:pt idx="20">
                  <c:v>1271.8513</c:v>
                </c:pt>
                <c:pt idx="21">
                  <c:v>1203.0116</c:v>
                </c:pt>
                <c:pt idx="22">
                  <c:v>1159.0383</c:v>
                </c:pt>
                <c:pt idx="23">
                  <c:v>1157.6274</c:v>
                </c:pt>
                <c:pt idx="24">
                  <c:v>1163.9092</c:v>
                </c:pt>
                <c:pt idx="25">
                  <c:v>1093.9142</c:v>
                </c:pt>
                <c:pt idx="26">
                  <c:v>1186.2231</c:v>
                </c:pt>
                <c:pt idx="27">
                  <c:v>1199.9327</c:v>
                </c:pt>
                <c:pt idx="28">
                  <c:v>1185.0203</c:v>
                </c:pt>
                <c:pt idx="29">
                  <c:v>1190.7016</c:v>
                </c:pt>
                <c:pt idx="30">
                  <c:v>1165.2712</c:v>
                </c:pt>
                <c:pt idx="31">
                  <c:v>1074.8542</c:v>
                </c:pt>
                <c:pt idx="32">
                  <c:v>1116.799</c:v>
                </c:pt>
                <c:pt idx="33">
                  <c:v>1169.0567</c:v>
                </c:pt>
                <c:pt idx="34">
                  <c:v>1206.114</c:v>
                </c:pt>
                <c:pt idx="35">
                  <c:v>1179.4318</c:v>
                </c:pt>
                <c:pt idx="36">
                  <c:v>1202.9226</c:v>
                </c:pt>
                <c:pt idx="37">
                  <c:v>1265.2341</c:v>
                </c:pt>
                <c:pt idx="38">
                  <c:v>1239.3704</c:v>
                </c:pt>
                <c:pt idx="39">
                  <c:v>1192.0742</c:v>
                </c:pt>
                <c:pt idx="40">
                  <c:v>1226.0768</c:v>
                </c:pt>
                <c:pt idx="41">
                  <c:v>1283.756</c:v>
                </c:pt>
                <c:pt idx="42">
                  <c:v>1256.9347</c:v>
                </c:pt>
                <c:pt idx="43">
                  <c:v>1263.5346</c:v>
                </c:pt>
                <c:pt idx="44">
                  <c:v>1199.6258</c:v>
                </c:pt>
                <c:pt idx="45">
                  <c:v>1146.9572</c:v>
                </c:pt>
                <c:pt idx="46">
                  <c:v>1135.6928</c:v>
                </c:pt>
                <c:pt idx="47">
                  <c:v>1121.4318</c:v>
                </c:pt>
                <c:pt idx="48">
                  <c:v>1102.8834</c:v>
                </c:pt>
                <c:pt idx="49">
                  <c:v>1129.7361</c:v>
                </c:pt>
                <c:pt idx="50">
                  <c:v>1032.9026</c:v>
                </c:pt>
                <c:pt idx="51">
                  <c:v>996.7259</c:v>
                </c:pt>
                <c:pt idx="52">
                  <c:v>1072.1534032940854</c:v>
                </c:pt>
                <c:pt idx="53">
                  <c:v>945.0655599522637</c:v>
                </c:pt>
                <c:pt idx="54">
                  <c:v>1236.619773484704</c:v>
                </c:pt>
              </c:numCache>
            </c:numRef>
          </c:xVal>
          <c:yVal>
            <c:numRef>
              <c:f>Sheet1!$B$187:$B$241</c:f>
              <c:numCache>
                <c:formatCode>General</c:formatCode>
                <c:ptCount val="55"/>
                <c:pt idx="0">
                  <c:v>0.17931158172364745</c:v>
                </c:pt>
                <c:pt idx="1">
                  <c:v>0.17969978097713926</c:v>
                </c:pt>
                <c:pt idx="2">
                  <c:v>0.1804287645618779</c:v>
                </c:pt>
                <c:pt idx="3">
                  <c:v>0.17812163671282763</c:v>
                </c:pt>
                <c:pt idx="4">
                  <c:v>0.17837801358870628</c:v>
                </c:pt>
                <c:pt idx="5">
                  <c:v>0.17618467043582894</c:v>
                </c:pt>
                <c:pt idx="6">
                  <c:v>0.18622346005191923</c:v>
                </c:pt>
                <c:pt idx="7">
                  <c:v>0.18037515179223515</c:v>
                </c:pt>
                <c:pt idx="8">
                  <c:v>0.1695352973482395</c:v>
                </c:pt>
                <c:pt idx="9">
                  <c:v>0.17358977347486496</c:v>
                </c:pt>
                <c:pt idx="10">
                  <c:v>0.17183343414960733</c:v>
                </c:pt>
                <c:pt idx="11">
                  <c:v>0.18954834114697755</c:v>
                </c:pt>
                <c:pt idx="12">
                  <c:v>0.18561433394208185</c:v>
                </c:pt>
                <c:pt idx="13">
                  <c:v>0.1784719818490289</c:v>
                </c:pt>
                <c:pt idx="14">
                  <c:v>0.17743092414094438</c:v>
                </c:pt>
                <c:pt idx="15">
                  <c:v>0.17272086584203578</c:v>
                </c:pt>
                <c:pt idx="16">
                  <c:v>0.16650581455393204</c:v>
                </c:pt>
                <c:pt idx="17">
                  <c:v>0.17059143277925357</c:v>
                </c:pt>
                <c:pt idx="18">
                  <c:v>0.17367714088874373</c:v>
                </c:pt>
                <c:pt idx="19">
                  <c:v>0.15864042658619928</c:v>
                </c:pt>
                <c:pt idx="20">
                  <c:v>0.16080631021787029</c:v>
                </c:pt>
                <c:pt idx="21">
                  <c:v>0.17037263209028888</c:v>
                </c:pt>
                <c:pt idx="22">
                  <c:v>0.17648339000458</c:v>
                </c:pt>
                <c:pt idx="23">
                  <c:v>0.1766794559887402</c:v>
                </c:pt>
                <c:pt idx="24">
                  <c:v>0.17580650446893173</c:v>
                </c:pt>
                <c:pt idx="25">
                  <c:v>0.1855333728233833</c:v>
                </c:pt>
                <c:pt idx="26">
                  <c:v>0.17270564915391787</c:v>
                </c:pt>
                <c:pt idx="27">
                  <c:v>0.17080049200851904</c:v>
                </c:pt>
                <c:pt idx="28">
                  <c:v>0.17287279648239467</c:v>
                </c:pt>
                <c:pt idx="29">
                  <c:v>0.17208329355815513</c:v>
                </c:pt>
                <c:pt idx="30">
                  <c:v>0.17561723388247896</c:v>
                </c:pt>
                <c:pt idx="31">
                  <c:v>0.18818204931221602</c:v>
                </c:pt>
                <c:pt idx="32">
                  <c:v>0.1823531822823739</c:v>
                </c:pt>
                <c:pt idx="33">
                  <c:v>0.17509118116220213</c:v>
                </c:pt>
                <c:pt idx="34">
                  <c:v>0.16994150649013387</c:v>
                </c:pt>
                <c:pt idx="35">
                  <c:v>0.17364940343716076</c:v>
                </c:pt>
                <c:pt idx="36">
                  <c:v>0.1703849999920468</c:v>
                </c:pt>
                <c:pt idx="37">
                  <c:v>0.1617258706618317</c:v>
                </c:pt>
                <c:pt idx="38">
                  <c:v>0.16532002460224213</c:v>
                </c:pt>
                <c:pt idx="39">
                  <c:v>0.17189254994070646</c:v>
                </c:pt>
                <c:pt idx="40">
                  <c:v>0.16716737222931172</c:v>
                </c:pt>
                <c:pt idx="41">
                  <c:v>0.1591519713408185</c:v>
                </c:pt>
                <c:pt idx="42">
                  <c:v>0.16287919834553674</c:v>
                </c:pt>
                <c:pt idx="43">
                  <c:v>0.16196204199933278</c:v>
                </c:pt>
                <c:pt idx="44">
                  <c:v>0.17084314042480567</c:v>
                </c:pt>
                <c:pt idx="45">
                  <c:v>0.17816224234084635</c:v>
                </c:pt>
                <c:pt idx="46">
                  <c:v>0.1797276018078352</c:v>
                </c:pt>
                <c:pt idx="47">
                  <c:v>0.18170938435805783</c:v>
                </c:pt>
                <c:pt idx="48">
                  <c:v>0.18428696625656074</c:v>
                </c:pt>
                <c:pt idx="49">
                  <c:v>0.18055537574493014</c:v>
                </c:pt>
                <c:pt idx="50">
                  <c:v>0.19401186130533857</c:v>
                </c:pt>
                <c:pt idx="51">
                  <c:v>0.19903916323259746</c:v>
                </c:pt>
                <c:pt idx="52">
                  <c:v>0.18855736603499007</c:v>
                </c:pt>
                <c:pt idx="53">
                  <c:v>0.2062181521145252</c:v>
                </c:pt>
                <c:pt idx="54">
                  <c:v>0.1657022659338593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5.0"/>
          <c:min val="55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045482239256416"/>
          <c:min val="0.106804827194035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2.1111260365564095</c:v>
                </c:pt>
                <c:pt idx="1">
                  <c:v>2.3419637033217464</c:v>
                </c:pt>
                <c:pt idx="2">
                  <c:v>2.4678776731770213</c:v>
                </c:pt>
                <c:pt idx="3">
                  <c:v>2.4930164630979252</c:v>
                </c:pt>
                <c:pt idx="4">
                  <c:v>2.5015765624898902</c:v>
                </c:pt>
                <c:pt idx="5">
                  <c:v>2.0551688393892196</c:v>
                </c:pt>
                <c:pt idx="6">
                  <c:v>1.8063437990523288</c:v>
                </c:pt>
                <c:pt idx="7">
                  <c:v>1.8441860370923908</c:v>
                </c:pt>
                <c:pt idx="8">
                  <c:v>1.8716162157830827</c:v>
                </c:pt>
                <c:pt idx="9">
                  <c:v>1.9614323172429409</c:v>
                </c:pt>
                <c:pt idx="10">
                  <c:v>1.9000108823700321</c:v>
                </c:pt>
                <c:pt idx="11">
                  <c:v>1.9337871566929377</c:v>
                </c:pt>
                <c:pt idx="12">
                  <c:v>1.9212249214568844</c:v>
                </c:pt>
                <c:pt idx="13">
                  <c:v>1.857737578859293</c:v>
                </c:pt>
                <c:pt idx="14">
                  <c:v>1.931940736098216</c:v>
                </c:pt>
                <c:pt idx="15">
                  <c:v>1.95986709550517</c:v>
                </c:pt>
                <c:pt idx="16">
                  <c:v>1.9119004155735042</c:v>
                </c:pt>
                <c:pt idx="17">
                  <c:v>2.293494372097069</c:v>
                </c:pt>
                <c:pt idx="18">
                  <c:v>2.718791390520249</c:v>
                </c:pt>
                <c:pt idx="19">
                  <c:v>2.6775172750104668</c:v>
                </c:pt>
                <c:pt idx="20">
                  <c:v>2.61940171153622</c:v>
                </c:pt>
                <c:pt idx="21">
                  <c:v>2.653259025421009</c:v>
                </c:pt>
                <c:pt idx="22">
                  <c:v>2.706016587401511</c:v>
                </c:pt>
                <c:pt idx="23">
                  <c:v>2.8818829261997134</c:v>
                </c:pt>
                <c:pt idx="24">
                  <c:v>2.721613984951759</c:v>
                </c:pt>
                <c:pt idx="25">
                  <c:v>2.7139383803477504</c:v>
                </c:pt>
                <c:pt idx="26">
                  <c:v>2.167121078496504</c:v>
                </c:pt>
                <c:pt idx="27">
                  <c:v>2.0729385306555583</c:v>
                </c:pt>
                <c:pt idx="28">
                  <c:v>2.0130182588633616</c:v>
                </c:pt>
                <c:pt idx="29">
                  <c:v>1.8270565112853787</c:v>
                </c:pt>
                <c:pt idx="30">
                  <c:v>1.8754716742747928</c:v>
                </c:pt>
                <c:pt idx="31">
                  <c:v>1.8659680912802354</c:v>
                </c:pt>
                <c:pt idx="32">
                  <c:v>1.784520746849998</c:v>
                </c:pt>
                <c:pt idx="33">
                  <c:v>1.6859631078355481</c:v>
                </c:pt>
                <c:pt idx="34">
                  <c:v>1.8964765707224407</c:v>
                </c:pt>
                <c:pt idx="35">
                  <c:v>2.0229074973921928</c:v>
                </c:pt>
                <c:pt idx="36">
                  <c:v>2.130720307802496</c:v>
                </c:pt>
                <c:pt idx="37">
                  <c:v>2.1517108913332215</c:v>
                </c:pt>
                <c:pt idx="38">
                  <c:v>2.257900193288726</c:v>
                </c:pt>
                <c:pt idx="39">
                  <c:v>2.258396981950762</c:v>
                </c:pt>
                <c:pt idx="40">
                  <c:v>2.285376138505097</c:v>
                </c:pt>
                <c:pt idx="41">
                  <c:v>2.3201074715350103</c:v>
                </c:pt>
                <c:pt idx="42">
                  <c:v>2.4032103562278864</c:v>
                </c:pt>
                <c:pt idx="43">
                  <c:v>2.403929695713693</c:v>
                </c:pt>
                <c:pt idx="44">
                  <c:v>2.107654631062839</c:v>
                </c:pt>
                <c:pt idx="45">
                  <c:v>2.0160994413638145</c:v>
                </c:pt>
                <c:pt idx="46">
                  <c:v>2.0551864333551166</c:v>
                </c:pt>
                <c:pt idx="47">
                  <c:v>2.0296148451263085</c:v>
                </c:pt>
                <c:pt idx="48">
                  <c:v>2.0202854479259202</c:v>
                </c:pt>
                <c:pt idx="49">
                  <c:v>1.9925998067163369</c:v>
                </c:pt>
                <c:pt idx="50">
                  <c:v>1.9648515625964915</c:v>
                </c:pt>
                <c:pt idx="51">
                  <c:v>2.0281931227148564</c:v>
                </c:pt>
                <c:pt idx="52">
                  <c:v>2.0591220009113664</c:v>
                </c:pt>
                <c:pt idx="53">
                  <c:v>2.127410073803602</c:v>
                </c:pt>
                <c:pt idx="54">
                  <c:v>2.2373606657089318</c:v>
                </c:pt>
                <c:pt idx="55">
                  <c:v>2.2601910037635626</c:v>
                </c:pt>
                <c:pt idx="56">
                  <c:v>2.307262332211324</c:v>
                </c:pt>
                <c:pt idx="57">
                  <c:v>2.2423162782563937</c:v>
                </c:pt>
                <c:pt idx="58">
                  <c:v>2.198676610176471</c:v>
                </c:pt>
                <c:pt idx="59">
                  <c:v>2.29788551214379</c:v>
                </c:pt>
                <c:pt idx="60">
                  <c:v>2.3670765216487757</c:v>
                </c:pt>
                <c:pt idx="61">
                  <c:v>2.2615868732527202</c:v>
                </c:pt>
                <c:pt idx="62">
                  <c:v>2.24604473481081</c:v>
                </c:pt>
                <c:pt idx="63">
                  <c:v>2.3388530030339694</c:v>
                </c:pt>
                <c:pt idx="64">
                  <c:v>2.2743765386196912</c:v>
                </c:pt>
                <c:pt idx="65">
                  <c:v>2.2205443716787605</c:v>
                </c:pt>
                <c:pt idx="66">
                  <c:v>2.117840244764852</c:v>
                </c:pt>
                <c:pt idx="67">
                  <c:v>2.0954411681193887</c:v>
                </c:pt>
                <c:pt idx="68">
                  <c:v>2.032989419755976</c:v>
                </c:pt>
                <c:pt idx="69">
                  <c:v>2.027503129659183</c:v>
                </c:pt>
                <c:pt idx="70">
                  <c:v>1.963306395049881</c:v>
                </c:pt>
                <c:pt idx="71">
                  <c:v>2.0847303243254456</c:v>
                </c:pt>
                <c:pt idx="72">
                  <c:v>2.0960639727343167</c:v>
                </c:pt>
                <c:pt idx="73">
                  <c:v>2.115503347137617</c:v>
                </c:pt>
                <c:pt idx="74">
                  <c:v>2.1058564770271198</c:v>
                </c:pt>
                <c:pt idx="75">
                  <c:v>2.1469989624243255</c:v>
                </c:pt>
                <c:pt idx="76">
                  <c:v>2.2883505916491553</c:v>
                </c:pt>
                <c:pt idx="77">
                  <c:v>2.336853374574146</c:v>
                </c:pt>
                <c:pt idx="78">
                  <c:v>2.4145851214920957</c:v>
                </c:pt>
                <c:pt idx="79">
                  <c:v>1.6627552368012146</c:v>
                </c:pt>
                <c:pt idx="80">
                  <c:v>1.6177476136135898</c:v>
                </c:pt>
                <c:pt idx="81">
                  <c:v>2.0322723060573473</c:v>
                </c:pt>
                <c:pt idx="82">
                  <c:v>2.0029827755341696</c:v>
                </c:pt>
                <c:pt idx="83">
                  <c:v>2.035581108880955</c:v>
                </c:pt>
                <c:pt idx="84">
                  <c:v>2.07559376869843</c:v>
                </c:pt>
                <c:pt idx="85">
                  <c:v>2.106826627932173</c:v>
                </c:pt>
                <c:pt idx="86">
                  <c:v>2.3486674964843353</c:v>
                </c:pt>
                <c:pt idx="87">
                  <c:v>2.418682900647356</c:v>
                </c:pt>
                <c:pt idx="88">
                  <c:v>2.3536687662672326</c:v>
                </c:pt>
                <c:pt idx="89">
                  <c:v>2.2249608202010442</c:v>
                </c:pt>
                <c:pt idx="90">
                  <c:v>2.3516066259403043</c:v>
                </c:pt>
                <c:pt idx="91">
                  <c:v>2.3978838783331975</c:v>
                </c:pt>
                <c:pt idx="92">
                  <c:v>2.3435222631420434</c:v>
                </c:pt>
                <c:pt idx="93">
                  <c:v>2.1627230689739436</c:v>
                </c:pt>
                <c:pt idx="94">
                  <c:v>2.0448014277120428</c:v>
                </c:pt>
                <c:pt idx="95">
                  <c:v>2.052491135088563</c:v>
                </c:pt>
                <c:pt idx="96">
                  <c:v>1.9628441025417742</c:v>
                </c:pt>
                <c:pt idx="97">
                  <c:v>1.9994190901499476</c:v>
                </c:pt>
                <c:pt idx="98">
                  <c:v>2.0715860633406185</c:v>
                </c:pt>
                <c:pt idx="99">
                  <c:v>2.2381400474225273</c:v>
                </c:pt>
                <c:pt idx="100">
                  <c:v>1.9721217906756852</c:v>
                </c:pt>
                <c:pt idx="101">
                  <c:v>1.8197555737917503</c:v>
                </c:pt>
                <c:pt idx="102">
                  <c:v>1.8323947828399054</c:v>
                </c:pt>
                <c:pt idx="103">
                  <c:v>1.5927202597609373</c:v>
                </c:pt>
                <c:pt idx="104">
                  <c:v>1.736425060636887</c:v>
                </c:pt>
              </c:numCache>
            </c:numRef>
          </c:xVal>
          <c:yVal>
            <c:numRef>
              <c:f>Sheet1!$B$2:$B$106</c:f>
              <c:numCache>
                <c:formatCode>General</c:formatCode>
                <c:ptCount val="105"/>
                <c:pt idx="0">
                  <c:v>0.2146968600282632</c:v>
                </c:pt>
                <c:pt idx="1">
                  <c:v>0.21712007677826584</c:v>
                </c:pt>
                <c:pt idx="2">
                  <c:v>0.1972539093651399</c:v>
                </c:pt>
                <c:pt idx="3">
                  <c:v>0.19730041274681143</c:v>
                </c:pt>
                <c:pt idx="4">
                  <c:v>0.19716885743174925</c:v>
                </c:pt>
                <c:pt idx="5">
                  <c:v>0.19012279044663338</c:v>
                </c:pt>
                <c:pt idx="6">
                  <c:v>0.21017518185339817</c:v>
                </c:pt>
                <c:pt idx="7">
                  <c:v>0.2075634080899104</c:v>
                </c:pt>
                <c:pt idx="8">
                  <c:v>0.21384258510007012</c:v>
                </c:pt>
                <c:pt idx="9">
                  <c:v>0.2146702296580303</c:v>
                </c:pt>
                <c:pt idx="10">
                  <c:v>0.22441271999395726</c:v>
                </c:pt>
                <c:pt idx="11">
                  <c:v>0.21766276604099583</c:v>
                </c:pt>
                <c:pt idx="12">
                  <c:v>0.22001172418846632</c:v>
                </c:pt>
                <c:pt idx="13">
                  <c:v>0.23030123163674135</c:v>
                </c:pt>
                <c:pt idx="14">
                  <c:v>0.21616486407483193</c:v>
                </c:pt>
                <c:pt idx="15">
                  <c:v>0.21368379688250447</c:v>
                </c:pt>
                <c:pt idx="16">
                  <c:v>0.20372046254399195</c:v>
                </c:pt>
                <c:pt idx="17">
                  <c:v>0.19133534411845352</c:v>
                </c:pt>
                <c:pt idx="18">
                  <c:v>0.17340107591153617</c:v>
                </c:pt>
                <c:pt idx="19">
                  <c:v>0.16212729357798164</c:v>
                </c:pt>
                <c:pt idx="20">
                  <c:v>0.17247294020228307</c:v>
                </c:pt>
                <c:pt idx="21">
                  <c:v>0.17840839926962873</c:v>
                </c:pt>
                <c:pt idx="22">
                  <c:v>0.1777423099245502</c:v>
                </c:pt>
                <c:pt idx="23">
                  <c:v>0.18377885783718104</c:v>
                </c:pt>
                <c:pt idx="24">
                  <c:v>0.19052653838020722</c:v>
                </c:pt>
                <c:pt idx="25">
                  <c:v>0.19005184705119896</c:v>
                </c:pt>
                <c:pt idx="26">
                  <c:v>0.19381918133868212</c:v>
                </c:pt>
                <c:pt idx="27">
                  <c:v>0.18466152527849186</c:v>
                </c:pt>
                <c:pt idx="28">
                  <c:v>0.1814272177272396</c:v>
                </c:pt>
                <c:pt idx="29">
                  <c:v>0.20289217227287018</c:v>
                </c:pt>
                <c:pt idx="30">
                  <c:v>0.1858022158391465</c:v>
                </c:pt>
                <c:pt idx="31">
                  <c:v>0.1823178391959799</c:v>
                </c:pt>
                <c:pt idx="32">
                  <c:v>0.1905923610581688</c:v>
                </c:pt>
                <c:pt idx="33">
                  <c:v>0.20864226135310474</c:v>
                </c:pt>
                <c:pt idx="34">
                  <c:v>0.1999795207864018</c:v>
                </c:pt>
                <c:pt idx="35">
                  <c:v>0.1962085308056872</c:v>
                </c:pt>
                <c:pt idx="36">
                  <c:v>0.15714536825452627</c:v>
                </c:pt>
                <c:pt idx="37">
                  <c:v>0.14665426274171042</c:v>
                </c:pt>
                <c:pt idx="38">
                  <c:v>0.14210777300906055</c:v>
                </c:pt>
                <c:pt idx="39">
                  <c:v>0.14415942336230655</c:v>
                </c:pt>
                <c:pt idx="40">
                  <c:v>0.14485714285714285</c:v>
                </c:pt>
                <c:pt idx="41">
                  <c:v>0.13350603399254438</c:v>
                </c:pt>
                <c:pt idx="42">
                  <c:v>0.13931079536175078</c:v>
                </c:pt>
                <c:pt idx="43">
                  <c:v>0.14207650273224043</c:v>
                </c:pt>
                <c:pt idx="44">
                  <c:v>0.17000688920899354</c:v>
                </c:pt>
                <c:pt idx="45">
                  <c:v>0.19477348004266548</c:v>
                </c:pt>
                <c:pt idx="46">
                  <c:v>0.2011744648607691</c:v>
                </c:pt>
                <c:pt idx="47">
                  <c:v>0.20259431353025778</c:v>
                </c:pt>
                <c:pt idx="48">
                  <c:v>0.2187455926500514</c:v>
                </c:pt>
                <c:pt idx="49">
                  <c:v>0.25037901866047013</c:v>
                </c:pt>
                <c:pt idx="50">
                  <c:v>0.21465076660988075</c:v>
                </c:pt>
                <c:pt idx="51">
                  <c:v>0.19269703543022415</c:v>
                </c:pt>
                <c:pt idx="52">
                  <c:v>0.2046528645912736</c:v>
                </c:pt>
                <c:pt idx="53">
                  <c:v>0.19408830593016813</c:v>
                </c:pt>
                <c:pt idx="54">
                  <c:v>0.19114754098360656</c:v>
                </c:pt>
                <c:pt idx="55">
                  <c:v>0.18233343129434484</c:v>
                </c:pt>
                <c:pt idx="56">
                  <c:v>0.19250032664082575</c:v>
                </c:pt>
                <c:pt idx="57">
                  <c:v>0.18821285803352036</c:v>
                </c:pt>
                <c:pt idx="58">
                  <c:v>0.20670012206700122</c:v>
                </c:pt>
                <c:pt idx="59">
                  <c:v>0.21249389512942327</c:v>
                </c:pt>
                <c:pt idx="60">
                  <c:v>0.22528798547010673</c:v>
                </c:pt>
                <c:pt idx="61">
                  <c:v>0.22520512204332452</c:v>
                </c:pt>
                <c:pt idx="62">
                  <c:v>0.22494933573519477</c:v>
                </c:pt>
                <c:pt idx="63">
                  <c:v>0.2410700941563294</c:v>
                </c:pt>
                <c:pt idx="64">
                  <c:v>0.22874988951415692</c:v>
                </c:pt>
                <c:pt idx="65">
                  <c:v>0.21485674085443848</c:v>
                </c:pt>
                <c:pt idx="66">
                  <c:v>0.2205326908048971</c:v>
                </c:pt>
                <c:pt idx="67">
                  <c:v>0.2174063560202174</c:v>
                </c:pt>
                <c:pt idx="68">
                  <c:v>0.19819517313746066</c:v>
                </c:pt>
                <c:pt idx="69">
                  <c:v>0.1843770456033166</c:v>
                </c:pt>
                <c:pt idx="70">
                  <c:v>0.17122678524718807</c:v>
                </c:pt>
                <c:pt idx="71">
                  <c:v>0.18111014240046497</c:v>
                </c:pt>
                <c:pt idx="72">
                  <c:v>0.18635843192846627</c:v>
                </c:pt>
                <c:pt idx="73">
                  <c:v>0.18679817004337235</c:v>
                </c:pt>
                <c:pt idx="74">
                  <c:v>0.18381496477896722</c:v>
                </c:pt>
                <c:pt idx="75">
                  <c:v>0.18586118251928022</c:v>
                </c:pt>
                <c:pt idx="76">
                  <c:v>0.18114987169706637</c:v>
                </c:pt>
                <c:pt idx="77">
                  <c:v>0.1769905093095704</c:v>
                </c:pt>
                <c:pt idx="78">
                  <c:v>0.1633945027646446</c:v>
                </c:pt>
                <c:pt idx="79">
                  <c:v>0.22476419827413205</c:v>
                </c:pt>
                <c:pt idx="80">
                  <c:v>0.21057944679991925</c:v>
                </c:pt>
                <c:pt idx="81">
                  <c:v>0.17324355971896954</c:v>
                </c:pt>
                <c:pt idx="82">
                  <c:v>0.17274735318759996</c:v>
                </c:pt>
                <c:pt idx="83">
                  <c:v>0.1545659331138451</c:v>
                </c:pt>
                <c:pt idx="84">
                  <c:v>0.1574049688350452</c:v>
                </c:pt>
                <c:pt idx="85">
                  <c:v>0.16417796739296053</c:v>
                </c:pt>
                <c:pt idx="86">
                  <c:v>0.1571214565568103</c:v>
                </c:pt>
                <c:pt idx="87">
                  <c:v>0.17206188960825194</c:v>
                </c:pt>
                <c:pt idx="88">
                  <c:v>0.1534110993283846</c:v>
                </c:pt>
                <c:pt idx="89">
                  <c:v>0.1521688342029437</c:v>
                </c:pt>
                <c:pt idx="90">
                  <c:v>0.1496723669490171</c:v>
                </c:pt>
                <c:pt idx="91">
                  <c:v>0.14149109849957242</c:v>
                </c:pt>
                <c:pt idx="92">
                  <c:v>0.14851851851851852</c:v>
                </c:pt>
                <c:pt idx="93">
                  <c:v>0.14279624893435636</c:v>
                </c:pt>
                <c:pt idx="94">
                  <c:v>0.14696723531004605</c:v>
                </c:pt>
                <c:pt idx="95">
                  <c:v>0.15124254473161033</c:v>
                </c:pt>
                <c:pt idx="96">
                  <c:v>0.14782844182661387</c:v>
                </c:pt>
                <c:pt idx="97">
                  <c:v>0.15954492519931918</c:v>
                </c:pt>
                <c:pt idx="98">
                  <c:v>0.1734323983854796</c:v>
                </c:pt>
                <c:pt idx="99">
                  <c:v>0.18298980350969324</c:v>
                </c:pt>
                <c:pt idx="100">
                  <c:v>0.20112217610289895</c:v>
                </c:pt>
                <c:pt idx="101">
                  <c:v>0.1896363217861664</c:v>
                </c:pt>
                <c:pt idx="102">
                  <c:v>0.16128769687843392</c:v>
                </c:pt>
                <c:pt idx="103">
                  <c:v>0.18299982291482203</c:v>
                </c:pt>
                <c:pt idx="104">
                  <c:v>0.1829123580267842</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1.7887903238601883</c:v>
                </c:pt>
                <c:pt idx="1">
                  <c:v>1.7700404280410789</c:v>
                </c:pt>
                <c:pt idx="2">
                  <c:v>1.723683668923857</c:v>
                </c:pt>
                <c:pt idx="3">
                  <c:v>1.758465430980981</c:v>
                </c:pt>
                <c:pt idx="4">
                  <c:v>1.7401164387640633</c:v>
                </c:pt>
                <c:pt idx="5">
                  <c:v>1.7221341932031642</c:v>
                </c:pt>
                <c:pt idx="6">
                  <c:v>1.7303056366945175</c:v>
                </c:pt>
                <c:pt idx="7">
                  <c:v>1.6965738458346875</c:v>
                </c:pt>
                <c:pt idx="8">
                  <c:v>1.8196115903143046</c:v>
                </c:pt>
                <c:pt idx="9">
                  <c:v>1.839656442636102</c:v>
                </c:pt>
                <c:pt idx="10">
                  <c:v>1.8046279604988373</c:v>
                </c:pt>
                <c:pt idx="11">
                  <c:v>1.880783597508729</c:v>
                </c:pt>
                <c:pt idx="12">
                  <c:v>1.8662883102513503</c:v>
                </c:pt>
                <c:pt idx="13">
                  <c:v>1.7969519600765353</c:v>
                </c:pt>
                <c:pt idx="14">
                  <c:v>1.7995682172539111</c:v>
                </c:pt>
                <c:pt idx="15">
                  <c:v>1.9300412413239856</c:v>
                </c:pt>
                <c:pt idx="16">
                  <c:v>1.893178626927325</c:v>
                </c:pt>
                <c:pt idx="17">
                  <c:v>1.9529579881545232</c:v>
                </c:pt>
                <c:pt idx="18">
                  <c:v>1.8497936999867761</c:v>
                </c:pt>
                <c:pt idx="19">
                  <c:v>1.9961633029736305</c:v>
                </c:pt>
                <c:pt idx="20">
                  <c:v>1.9059385769456072</c:v>
                </c:pt>
                <c:pt idx="21">
                  <c:v>1.8348168312241024</c:v>
                </c:pt>
                <c:pt idx="22">
                  <c:v>1.7365081966771012</c:v>
                </c:pt>
                <c:pt idx="23">
                  <c:v>1.7156761005869856</c:v>
                </c:pt>
                <c:pt idx="24">
                  <c:v>1.7235306347411512</c:v>
                </c:pt>
                <c:pt idx="25">
                  <c:v>1.6865512886709595</c:v>
                </c:pt>
                <c:pt idx="26">
                  <c:v>1.7745740888206252</c:v>
                </c:pt>
                <c:pt idx="27">
                  <c:v>1.767836072331534</c:v>
                </c:pt>
                <c:pt idx="28">
                  <c:v>1.7523975641351732</c:v>
                </c:pt>
                <c:pt idx="29">
                  <c:v>1.781254146642482</c:v>
                </c:pt>
                <c:pt idx="30">
                  <c:v>1.7309900934650795</c:v>
                </c:pt>
                <c:pt idx="31">
                  <c:v>1.5613353944787758</c:v>
                </c:pt>
                <c:pt idx="32">
                  <c:v>1.6074534204402682</c:v>
                </c:pt>
                <c:pt idx="33">
                  <c:v>1.6630659502410332</c:v>
                </c:pt>
                <c:pt idx="34">
                  <c:v>1.7382660834946049</c:v>
                </c:pt>
                <c:pt idx="35">
                  <c:v>1.6292314983815182</c:v>
                </c:pt>
                <c:pt idx="36">
                  <c:v>1.67798474874572</c:v>
                </c:pt>
                <c:pt idx="37">
                  <c:v>1.8212739562972244</c:v>
                </c:pt>
                <c:pt idx="38">
                  <c:v>1.7587233355976575</c:v>
                </c:pt>
                <c:pt idx="39">
                  <c:v>1.7782016489407009</c:v>
                </c:pt>
                <c:pt idx="40">
                  <c:v>1.748241102994039</c:v>
                </c:pt>
                <c:pt idx="41">
                  <c:v>1.8191188604936843</c:v>
                </c:pt>
                <c:pt idx="42">
                  <c:v>1.808144466883991</c:v>
                </c:pt>
                <c:pt idx="43">
                  <c:v>1.8346446048768703</c:v>
                </c:pt>
                <c:pt idx="44">
                  <c:v>1.7671472646044304</c:v>
                </c:pt>
                <c:pt idx="45">
                  <c:v>1.7593696834412287</c:v>
                </c:pt>
                <c:pt idx="46">
                  <c:v>1.7239503410504522</c:v>
                </c:pt>
                <c:pt idx="47">
                  <c:v>1.760144361019323</c:v>
                </c:pt>
                <c:pt idx="48">
                  <c:v>1.7070783446059365</c:v>
                </c:pt>
                <c:pt idx="49">
                  <c:v>1.7790172743561052</c:v>
                </c:pt>
                <c:pt idx="50">
                  <c:v>1.6609315440321024</c:v>
                </c:pt>
                <c:pt idx="51">
                  <c:v>1.656901337555244</c:v>
                </c:pt>
              </c:numCache>
            </c:numRef>
          </c:xVal>
          <c:yVal>
            <c:numRef>
              <c:f>Sheet1!$B$109:$B$160</c:f>
              <c:numCache>
                <c:formatCode>General</c:formatCode>
                <c:ptCount val="52"/>
                <c:pt idx="0">
                  <c:v>0.17583408476104598</c:v>
                </c:pt>
                <c:pt idx="1">
                  <c:v>0.1831663486005089</c:v>
                </c:pt>
                <c:pt idx="2">
                  <c:v>0.19043603527634306</c:v>
                </c:pt>
                <c:pt idx="3">
                  <c:v>0.20528250216200633</c:v>
                </c:pt>
                <c:pt idx="4">
                  <c:v>0.19332110091743118</c:v>
                </c:pt>
                <c:pt idx="5">
                  <c:v>0.19093960997321865</c:v>
                </c:pt>
                <c:pt idx="6">
                  <c:v>0.1895799862290567</c:v>
                </c:pt>
                <c:pt idx="7">
                  <c:v>0.18574562385280027</c:v>
                </c:pt>
                <c:pt idx="8">
                  <c:v>0.18271100254249964</c:v>
                </c:pt>
                <c:pt idx="9">
                  <c:v>0.19039970630076636</c:v>
                </c:pt>
                <c:pt idx="10">
                  <c:v>0.19824553591307834</c:v>
                </c:pt>
                <c:pt idx="11">
                  <c:v>0.2084049118788573</c:v>
                </c:pt>
                <c:pt idx="12">
                  <c:v>0.20794900637420322</c:v>
                </c:pt>
                <c:pt idx="13">
                  <c:v>0.20005645616581982</c:v>
                </c:pt>
                <c:pt idx="14">
                  <c:v>0.2011674700393579</c:v>
                </c:pt>
                <c:pt idx="15">
                  <c:v>0.1886034161044926</c:v>
                </c:pt>
                <c:pt idx="16">
                  <c:v>0.1708314402544298</c:v>
                </c:pt>
                <c:pt idx="17">
                  <c:v>0.15750827565452905</c:v>
                </c:pt>
                <c:pt idx="18">
                  <c:v>0.15575417446130396</c:v>
                </c:pt>
                <c:pt idx="19">
                  <c:v>0.16161275072600798</c:v>
                </c:pt>
                <c:pt idx="20">
                  <c:v>0.15370691605701786</c:v>
                </c:pt>
                <c:pt idx="21">
                  <c:v>0.16223260830487146</c:v>
                </c:pt>
                <c:pt idx="22">
                  <c:v>0.16634241245136186</c:v>
                </c:pt>
                <c:pt idx="23">
                  <c:v>0.17083564943487123</c:v>
                </c:pt>
                <c:pt idx="24">
                  <c:v>0.16530264279624893</c:v>
                </c:pt>
                <c:pt idx="25">
                  <c:v>0.172339663203153</c:v>
                </c:pt>
                <c:pt idx="26">
                  <c:v>0.1497388276262333</c:v>
                </c:pt>
                <c:pt idx="27">
                  <c:v>0.14984686636288938</c:v>
                </c:pt>
                <c:pt idx="28">
                  <c:v>0.15955937014259647</c:v>
                </c:pt>
                <c:pt idx="29">
                  <c:v>0.16225219369515761</c:v>
                </c:pt>
                <c:pt idx="30">
                  <c:v>0.1687273950710741</c:v>
                </c:pt>
                <c:pt idx="31">
                  <c:v>0.17207587880967365</c:v>
                </c:pt>
                <c:pt idx="32">
                  <c:v>0.17484257171732878</c:v>
                </c:pt>
                <c:pt idx="33">
                  <c:v>0.19225181598062954</c:v>
                </c:pt>
                <c:pt idx="34">
                  <c:v>0.2116611443548786</c:v>
                </c:pt>
                <c:pt idx="35">
                  <c:v>0.2032646474677259</c:v>
                </c:pt>
                <c:pt idx="36">
                  <c:v>0.17360157016683023</c:v>
                </c:pt>
                <c:pt idx="37">
                  <c:v>0.15445141897268147</c:v>
                </c:pt>
                <c:pt idx="38">
                  <c:v>0.15996855654908126</c:v>
                </c:pt>
                <c:pt idx="39">
                  <c:v>0.17886353852776582</c:v>
                </c:pt>
                <c:pt idx="40">
                  <c:v>0.15928461645941036</c:v>
                </c:pt>
                <c:pt idx="41">
                  <c:v>0.1606812780565091</c:v>
                </c:pt>
                <c:pt idx="42">
                  <c:v>0.16119157831865014</c:v>
                </c:pt>
                <c:pt idx="43">
                  <c:v>0.15152014048951817</c:v>
                </c:pt>
                <c:pt idx="44">
                  <c:v>0.14690281398903174</c:v>
                </c:pt>
                <c:pt idx="45">
                  <c:v>0.1629537413183069</c:v>
                </c:pt>
                <c:pt idx="46">
                  <c:v>0.16084024494225255</c:v>
                </c:pt>
                <c:pt idx="47">
                  <c:v>0.16053572073210354</c:v>
                </c:pt>
                <c:pt idx="48">
                  <c:v>0.15270950725332694</c:v>
                </c:pt>
                <c:pt idx="49">
                  <c:v>0.16871387283236994</c:v>
                </c:pt>
                <c:pt idx="50">
                  <c:v>0.20077423234487166</c:v>
                </c:pt>
                <c:pt idx="51">
                  <c:v>0.18915817187605483</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8965348497326148</c:v>
                </c:pt>
              </c:numCache>
            </c:numRef>
          </c:xVal>
          <c:yVal>
            <c:numRef>
              <c:f>Sheet1!$B$163:$B$164</c:f>
              <c:numCache>
                <c:formatCode>General</c:formatCode>
                <c:ptCount val="2"/>
                <c:pt idx="0">
                  <c:v>0.2062181521145252</c:v>
                </c:pt>
                <c:pt idx="1">
                  <c:v>0.206218152114525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8965348497326148</c:v>
                </c:pt>
                <c:pt idx="1">
                  <c:v>0.8965348497326148</c:v>
                </c:pt>
              </c:numCache>
            </c:numRef>
          </c:xVal>
          <c:yVal>
            <c:numRef>
              <c:f>Sheet1!$B$167:$B$168</c:f>
              <c:numCache>
                <c:formatCode>General</c:formatCode>
                <c:ptCount val="2"/>
                <c:pt idx="0">
                  <c:v>0.20621815211452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1.395073226075042</c:v>
                </c:pt>
              </c:numCache>
            </c:numRef>
          </c:xVal>
          <c:yVal>
            <c:numRef>
              <c:f>Sheet1!$B$171:$B$172</c:f>
              <c:numCache>
                <c:formatCode>General</c:formatCode>
                <c:ptCount val="2"/>
                <c:pt idx="0">
                  <c:v>0.18855736603499007</c:v>
                </c:pt>
                <c:pt idx="1">
                  <c:v>0.18855736603499007</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1.395073226075042</c:v>
                </c:pt>
                <c:pt idx="1">
                  <c:v>1.395073226075042</c:v>
                </c:pt>
              </c:numCache>
            </c:numRef>
          </c:xVal>
          <c:yVal>
            <c:numRef>
              <c:f>Sheet1!$B$175:$B$176</c:f>
              <c:numCache>
                <c:formatCode>General</c:formatCode>
                <c:ptCount val="2"/>
                <c:pt idx="0">
                  <c:v>0.1885573660349900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2.040239553567372</c:v>
                </c:pt>
              </c:numCache>
            </c:numRef>
          </c:xVal>
          <c:yVal>
            <c:numRef>
              <c:f>Sheet1!$B$179:$B$180</c:f>
              <c:numCache>
                <c:formatCode>General</c:formatCode>
                <c:ptCount val="2"/>
                <c:pt idx="0">
                  <c:v>0.16570226593385937</c:v>
                </c:pt>
                <c:pt idx="1">
                  <c:v>0.16570226593385937</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040239553567372</c:v>
                </c:pt>
                <c:pt idx="1">
                  <c:v>2.040239553567372</c:v>
                </c:pt>
              </c:numCache>
            </c:numRef>
          </c:xVal>
          <c:yVal>
            <c:numRef>
              <c:f>Sheet1!$B$183:$B$184</c:f>
              <c:numCache>
                <c:formatCode>General</c:formatCode>
                <c:ptCount val="2"/>
                <c:pt idx="0">
                  <c:v>0.1657022659338593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1.7887903238601883</c:v>
                </c:pt>
                <c:pt idx="1">
                  <c:v>1.7700404280410789</c:v>
                </c:pt>
                <c:pt idx="2">
                  <c:v>1.723683668923857</c:v>
                </c:pt>
                <c:pt idx="3">
                  <c:v>1.758465430980981</c:v>
                </c:pt>
                <c:pt idx="4">
                  <c:v>1.7401164387640633</c:v>
                </c:pt>
                <c:pt idx="5">
                  <c:v>1.7221341932031642</c:v>
                </c:pt>
                <c:pt idx="6">
                  <c:v>1.7303056366945175</c:v>
                </c:pt>
                <c:pt idx="7">
                  <c:v>1.6965738458346875</c:v>
                </c:pt>
                <c:pt idx="8">
                  <c:v>1.8196115903143046</c:v>
                </c:pt>
                <c:pt idx="9">
                  <c:v>1.839656442636102</c:v>
                </c:pt>
                <c:pt idx="10">
                  <c:v>1.8046279604988373</c:v>
                </c:pt>
                <c:pt idx="11">
                  <c:v>1.880783597508729</c:v>
                </c:pt>
                <c:pt idx="12">
                  <c:v>1.8662883102513503</c:v>
                </c:pt>
                <c:pt idx="13">
                  <c:v>1.7969519600765353</c:v>
                </c:pt>
                <c:pt idx="14">
                  <c:v>1.7995682172539111</c:v>
                </c:pt>
                <c:pt idx="15">
                  <c:v>1.9300412413239856</c:v>
                </c:pt>
                <c:pt idx="16">
                  <c:v>1.893178626927325</c:v>
                </c:pt>
                <c:pt idx="17">
                  <c:v>1.9529579881545232</c:v>
                </c:pt>
                <c:pt idx="18">
                  <c:v>1.8497936999867761</c:v>
                </c:pt>
                <c:pt idx="19">
                  <c:v>1.9961633029736305</c:v>
                </c:pt>
                <c:pt idx="20">
                  <c:v>1.9059385769456072</c:v>
                </c:pt>
                <c:pt idx="21">
                  <c:v>1.8348168312241024</c:v>
                </c:pt>
                <c:pt idx="22">
                  <c:v>1.7365081966771012</c:v>
                </c:pt>
                <c:pt idx="23">
                  <c:v>1.7156761005869856</c:v>
                </c:pt>
                <c:pt idx="24">
                  <c:v>1.7235306347411512</c:v>
                </c:pt>
                <c:pt idx="25">
                  <c:v>1.6865512886709595</c:v>
                </c:pt>
                <c:pt idx="26">
                  <c:v>1.7745740888206252</c:v>
                </c:pt>
                <c:pt idx="27">
                  <c:v>1.767836072331534</c:v>
                </c:pt>
                <c:pt idx="28">
                  <c:v>1.7523975641351732</c:v>
                </c:pt>
                <c:pt idx="29">
                  <c:v>1.781254146642482</c:v>
                </c:pt>
                <c:pt idx="30">
                  <c:v>1.7309900934650795</c:v>
                </c:pt>
                <c:pt idx="31">
                  <c:v>1.5613353944787758</c:v>
                </c:pt>
                <c:pt idx="32">
                  <c:v>1.6074534204402682</c:v>
                </c:pt>
                <c:pt idx="33">
                  <c:v>1.6630659502410332</c:v>
                </c:pt>
                <c:pt idx="34">
                  <c:v>1.7382660834946049</c:v>
                </c:pt>
                <c:pt idx="35">
                  <c:v>1.6292314983815182</c:v>
                </c:pt>
                <c:pt idx="36">
                  <c:v>1.67798474874572</c:v>
                </c:pt>
                <c:pt idx="37">
                  <c:v>1.8212739562972244</c:v>
                </c:pt>
                <c:pt idx="38">
                  <c:v>1.7587233355976575</c:v>
                </c:pt>
                <c:pt idx="39">
                  <c:v>1.7782016489407009</c:v>
                </c:pt>
                <c:pt idx="40">
                  <c:v>1.748241102994039</c:v>
                </c:pt>
                <c:pt idx="41">
                  <c:v>1.8191188604936843</c:v>
                </c:pt>
                <c:pt idx="42">
                  <c:v>1.808144466883991</c:v>
                </c:pt>
                <c:pt idx="43">
                  <c:v>1.8346446048768703</c:v>
                </c:pt>
                <c:pt idx="44">
                  <c:v>1.7671472646044304</c:v>
                </c:pt>
                <c:pt idx="45">
                  <c:v>1.7593696834412287</c:v>
                </c:pt>
                <c:pt idx="46">
                  <c:v>1.7239503410504522</c:v>
                </c:pt>
                <c:pt idx="47">
                  <c:v>1.760144361019323</c:v>
                </c:pt>
                <c:pt idx="48">
                  <c:v>1.7070783446059365</c:v>
                </c:pt>
                <c:pt idx="49">
                  <c:v>1.7790172743561052</c:v>
                </c:pt>
                <c:pt idx="50">
                  <c:v>1.6609315440321024</c:v>
                </c:pt>
                <c:pt idx="51">
                  <c:v>1.656901337555244</c:v>
                </c:pt>
                <c:pt idx="52">
                  <c:v>1.395073226075042</c:v>
                </c:pt>
                <c:pt idx="53">
                  <c:v>0.8965348497326148</c:v>
                </c:pt>
                <c:pt idx="54">
                  <c:v>2.040239553567372</c:v>
                </c:pt>
              </c:numCache>
            </c:numRef>
          </c:xVal>
          <c:yVal>
            <c:numRef>
              <c:f>Sheet1!$B$187:$B$241</c:f>
              <c:numCache>
                <c:formatCode>General</c:formatCode>
                <c:ptCount val="55"/>
                <c:pt idx="0">
                  <c:v>0.1746098872253289</c:v>
                </c:pt>
                <c:pt idx="1">
                  <c:v>0.17527410469541474</c:v>
                </c:pt>
                <c:pt idx="2">
                  <c:v>0.17691629884727972</c:v>
                </c:pt>
                <c:pt idx="3">
                  <c:v>0.17568415045447827</c:v>
                </c:pt>
                <c:pt idx="4">
                  <c:v>0.17633416586291187</c:v>
                </c:pt>
                <c:pt idx="5">
                  <c:v>0.17697118922390298</c:v>
                </c:pt>
                <c:pt idx="6">
                  <c:v>0.1766817147876107</c:v>
                </c:pt>
                <c:pt idx="7">
                  <c:v>0.17787666781575207</c:v>
                </c:pt>
                <c:pt idx="8">
                  <c:v>0.17351803989846912</c:v>
                </c:pt>
                <c:pt idx="9">
                  <c:v>0.17280794842778163</c:v>
                </c:pt>
                <c:pt idx="10">
                  <c:v>0.17404883691114315</c:v>
                </c:pt>
                <c:pt idx="11">
                  <c:v>0.17135101367865718</c:v>
                </c:pt>
                <c:pt idx="12">
                  <c:v>0.17186451109342418</c:v>
                </c:pt>
                <c:pt idx="13">
                  <c:v>0.17432076021301462</c:v>
                </c:pt>
                <c:pt idx="14">
                  <c:v>0.17422807896613116</c:v>
                </c:pt>
                <c:pt idx="15">
                  <c:v>0.1696060553133945</c:v>
                </c:pt>
                <c:pt idx="16">
                  <c:v>0.17091191816786142</c:v>
                </c:pt>
                <c:pt idx="17">
                  <c:v>0.16879422661049243</c:v>
                </c:pt>
                <c:pt idx="18">
                  <c:v>0.17244883478277617</c:v>
                </c:pt>
                <c:pt idx="19">
                  <c:v>0.16726367277807266</c:v>
                </c:pt>
                <c:pt idx="20">
                  <c:v>0.17045989529790354</c:v>
                </c:pt>
                <c:pt idx="21">
                  <c:v>0.17297939228428566</c:v>
                </c:pt>
                <c:pt idx="22">
                  <c:v>0.176461988302758</c:v>
                </c:pt>
                <c:pt idx="23">
                  <c:v>0.1771999679851549</c:v>
                </c:pt>
                <c:pt idx="24">
                  <c:v>0.17692172010287782</c:v>
                </c:pt>
                <c:pt idx="25">
                  <c:v>0.17823171819188788</c:v>
                </c:pt>
                <c:pt idx="26">
                  <c:v>0.17511349917940178</c:v>
                </c:pt>
                <c:pt idx="27">
                  <c:v>0.1753521942798417</c:v>
                </c:pt>
                <c:pt idx="28">
                  <c:v>0.17589910541764306</c:v>
                </c:pt>
                <c:pt idx="29">
                  <c:v>0.1748768572722004</c:v>
                </c:pt>
                <c:pt idx="30">
                  <c:v>0.17665746781851221</c:v>
                </c:pt>
                <c:pt idx="31">
                  <c:v>0.18266750734278553</c:v>
                </c:pt>
                <c:pt idx="32">
                  <c:v>0.18103377034365642</c:v>
                </c:pt>
                <c:pt idx="33">
                  <c:v>0.17906368932530276</c:v>
                </c:pt>
                <c:pt idx="34">
                  <c:v>0.17639971493623455</c:v>
                </c:pt>
                <c:pt idx="35">
                  <c:v>0.1802622791325572</c:v>
                </c:pt>
                <c:pt idx="36">
                  <c:v>0.17853518897014856</c:v>
                </c:pt>
                <c:pt idx="37">
                  <c:v>0.17345915036979204</c:v>
                </c:pt>
                <c:pt idx="38">
                  <c:v>0.17567501415027345</c:v>
                </c:pt>
                <c:pt idx="39">
                  <c:v>0.17498499239574886</c:v>
                </c:pt>
                <c:pt idx="40">
                  <c:v>0.17604634858796833</c:v>
                </c:pt>
                <c:pt idx="41">
                  <c:v>0.17353549491571538</c:v>
                </c:pt>
                <c:pt idx="42">
                  <c:v>0.17392426422032814</c:v>
                </c:pt>
                <c:pt idx="43">
                  <c:v>0.1729854934247797</c:v>
                </c:pt>
                <c:pt idx="44">
                  <c:v>0.17537659538213507</c:v>
                </c:pt>
                <c:pt idx="45">
                  <c:v>0.17565211719481333</c:v>
                </c:pt>
                <c:pt idx="46">
                  <c:v>0.17690685195290876</c:v>
                </c:pt>
                <c:pt idx="47">
                  <c:v>0.17562467414200822</c:v>
                </c:pt>
                <c:pt idx="48">
                  <c:v>0.1775045445962061</c:v>
                </c:pt>
                <c:pt idx="49">
                  <c:v>0.17495609876054233</c:v>
                </c:pt>
                <c:pt idx="50">
                  <c:v>0.17913930093967698</c:v>
                </c:pt>
                <c:pt idx="51">
                  <c:v>0.1792820715222876</c:v>
                </c:pt>
                <c:pt idx="52">
                  <c:v>0.18855736603499007</c:v>
                </c:pt>
                <c:pt idx="53">
                  <c:v>0.2062181521145252</c:v>
                </c:pt>
                <c:pt idx="54">
                  <c:v>0.1657022659338593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045482239256416"/>
          <c:min val="0.106804827194035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781.0894</c:v>
                </c:pt>
                <c:pt idx="1">
                  <c:v>863.8572</c:v>
                </c:pt>
                <c:pt idx="2">
                  <c:v>915.63</c:v>
                </c:pt>
                <c:pt idx="3">
                  <c:v>930.6772</c:v>
                </c:pt>
                <c:pt idx="4">
                  <c:v>927.9188</c:v>
                </c:pt>
                <c:pt idx="5">
                  <c:v>924.7076</c:v>
                </c:pt>
                <c:pt idx="6">
                  <c:v>886.788</c:v>
                </c:pt>
                <c:pt idx="7">
                  <c:v>910.648</c:v>
                </c:pt>
                <c:pt idx="8">
                  <c:v>910.9362</c:v>
                </c:pt>
                <c:pt idx="9">
                  <c:v>897.5071</c:v>
                </c:pt>
                <c:pt idx="10">
                  <c:v>899.1659</c:v>
                </c:pt>
                <c:pt idx="11">
                  <c:v>936.6184</c:v>
                </c:pt>
                <c:pt idx="12">
                  <c:v>930.1207</c:v>
                </c:pt>
                <c:pt idx="13">
                  <c:v>904.76</c:v>
                </c:pt>
                <c:pt idx="14">
                  <c:v>911.1927</c:v>
                </c:pt>
                <c:pt idx="15">
                  <c:v>921.652</c:v>
                </c:pt>
                <c:pt idx="16">
                  <c:v>918.424</c:v>
                </c:pt>
                <c:pt idx="17">
                  <c:v>935.9762</c:v>
                </c:pt>
                <c:pt idx="18">
                  <c:v>972.7735</c:v>
                </c:pt>
                <c:pt idx="19">
                  <c:v>1001.4916</c:v>
                </c:pt>
                <c:pt idx="20">
                  <c:v>1006.9064</c:v>
                </c:pt>
                <c:pt idx="21">
                  <c:v>1016.8196</c:v>
                </c:pt>
                <c:pt idx="22">
                  <c:v>1005.2167</c:v>
                </c:pt>
                <c:pt idx="23">
                  <c:v>986.9864</c:v>
                </c:pt>
                <c:pt idx="24">
                  <c:v>972.5527</c:v>
                </c:pt>
                <c:pt idx="25">
                  <c:v>961.9693</c:v>
                </c:pt>
                <c:pt idx="26">
                  <c:v>972.0951</c:v>
                </c:pt>
                <c:pt idx="27">
                  <c:v>982.5739</c:v>
                </c:pt>
                <c:pt idx="28">
                  <c:v>984.1141</c:v>
                </c:pt>
                <c:pt idx="29">
                  <c:v>886.5662</c:v>
                </c:pt>
                <c:pt idx="30">
                  <c:v>920.3414</c:v>
                </c:pt>
                <c:pt idx="31">
                  <c:v>942.4014</c:v>
                </c:pt>
                <c:pt idx="32">
                  <c:v>916.5916</c:v>
                </c:pt>
                <c:pt idx="33">
                  <c:v>861.3948</c:v>
                </c:pt>
                <c:pt idx="34">
                  <c:v>946.9117</c:v>
                </c:pt>
                <c:pt idx="35">
                  <c:v>996.5961</c:v>
                </c:pt>
                <c:pt idx="36">
                  <c:v>1052.5313</c:v>
                </c:pt>
                <c:pt idx="37">
                  <c:v>1057.7318</c:v>
                </c:pt>
                <c:pt idx="38">
                  <c:v>1103.5503</c:v>
                </c:pt>
                <c:pt idx="39">
                  <c:v>1105.923</c:v>
                </c:pt>
                <c:pt idx="40">
                  <c:v>1125.2943</c:v>
                </c:pt>
                <c:pt idx="41">
                  <c:v>1143.9972</c:v>
                </c:pt>
                <c:pt idx="42">
                  <c:v>1188.4166</c:v>
                </c:pt>
                <c:pt idx="43">
                  <c:v>1190.1291</c:v>
                </c:pt>
                <c:pt idx="44">
                  <c:v>1039.8934</c:v>
                </c:pt>
                <c:pt idx="45">
                  <c:v>987.8103</c:v>
                </c:pt>
                <c:pt idx="46">
                  <c:v>985.6185</c:v>
                </c:pt>
                <c:pt idx="47">
                  <c:v>967.874</c:v>
                </c:pt>
                <c:pt idx="48">
                  <c:v>974.755</c:v>
                </c:pt>
                <c:pt idx="49">
                  <c:v>957.9308</c:v>
                </c:pt>
                <c:pt idx="50">
                  <c:v>954.5131</c:v>
                </c:pt>
                <c:pt idx="51">
                  <c:v>980.9713</c:v>
                </c:pt>
                <c:pt idx="52">
                  <c:v>997.7418</c:v>
                </c:pt>
                <c:pt idx="53">
                  <c:v>1036.1538</c:v>
                </c:pt>
                <c:pt idx="54">
                  <c:v>1047.9728</c:v>
                </c:pt>
                <c:pt idx="55">
                  <c:v>1051.8556</c:v>
                </c:pt>
                <c:pt idx="56">
                  <c:v>1068.6247</c:v>
                </c:pt>
                <c:pt idx="57">
                  <c:v>1043.7406</c:v>
                </c:pt>
                <c:pt idx="58">
                  <c:v>1025.2152</c:v>
                </c:pt>
                <c:pt idx="59">
                  <c:v>1033.7447</c:v>
                </c:pt>
                <c:pt idx="60">
                  <c:v>1061.5763</c:v>
                </c:pt>
                <c:pt idx="61">
                  <c:v>1056.9965</c:v>
                </c:pt>
                <c:pt idx="62">
                  <c:v>1028.611</c:v>
                </c:pt>
                <c:pt idx="63">
                  <c:v>1060.3576</c:v>
                </c:pt>
                <c:pt idx="64">
                  <c:v>1053.6743</c:v>
                </c:pt>
                <c:pt idx="65">
                  <c:v>1031.7584</c:v>
                </c:pt>
                <c:pt idx="66">
                  <c:v>983.4835</c:v>
                </c:pt>
                <c:pt idx="67">
                  <c:v>966.7607</c:v>
                </c:pt>
                <c:pt idx="68">
                  <c:v>952.9274</c:v>
                </c:pt>
                <c:pt idx="69">
                  <c:v>958.3101</c:v>
                </c:pt>
                <c:pt idx="70">
                  <c:v>925.1353</c:v>
                </c:pt>
                <c:pt idx="71">
                  <c:v>984.8437</c:v>
                </c:pt>
                <c:pt idx="72">
                  <c:v>993.3549</c:v>
                </c:pt>
                <c:pt idx="73">
                  <c:v>1010.9377</c:v>
                </c:pt>
                <c:pt idx="74">
                  <c:v>1000.2435</c:v>
                </c:pt>
                <c:pt idx="75">
                  <c:v>1001.5149</c:v>
                </c:pt>
                <c:pt idx="76">
                  <c:v>1013.1956</c:v>
                </c:pt>
                <c:pt idx="77">
                  <c:v>994.2575</c:v>
                </c:pt>
                <c:pt idx="78">
                  <c:v>1050.1545</c:v>
                </c:pt>
                <c:pt idx="79">
                  <c:v>698.7679</c:v>
                </c:pt>
                <c:pt idx="80">
                  <c:v>707.1246</c:v>
                </c:pt>
                <c:pt idx="81">
                  <c:v>902.2342</c:v>
                </c:pt>
                <c:pt idx="82">
                  <c:v>895.1314</c:v>
                </c:pt>
                <c:pt idx="83">
                  <c:v>911.0286</c:v>
                </c:pt>
                <c:pt idx="84">
                  <c:v>922.024</c:v>
                </c:pt>
                <c:pt idx="85">
                  <c:v>967.4432</c:v>
                </c:pt>
                <c:pt idx="86">
                  <c:v>1075.9072</c:v>
                </c:pt>
                <c:pt idx="87">
                  <c:v>1105.8552</c:v>
                </c:pt>
                <c:pt idx="88">
                  <c:v>1091.488</c:v>
                </c:pt>
                <c:pt idx="89">
                  <c:v>1035.2538</c:v>
                </c:pt>
                <c:pt idx="90">
                  <c:v>1093.0491</c:v>
                </c:pt>
                <c:pt idx="91">
                  <c:v>1105.6374</c:v>
                </c:pt>
                <c:pt idx="92">
                  <c:v>1108.8317</c:v>
                </c:pt>
                <c:pt idx="93">
                  <c:v>1159.438</c:v>
                </c:pt>
                <c:pt idx="94">
                  <c:v>1151.2778</c:v>
                </c:pt>
                <c:pt idx="95">
                  <c:v>1145.3779</c:v>
                </c:pt>
                <c:pt idx="96">
                  <c:v>1108.9973</c:v>
                </c:pt>
                <c:pt idx="97">
                  <c:v>1123.428</c:v>
                </c:pt>
                <c:pt idx="98">
                  <c:v>1120.4051</c:v>
                </c:pt>
                <c:pt idx="99">
                  <c:v>1074.8352</c:v>
                </c:pt>
                <c:pt idx="100">
                  <c:v>1084.5881</c:v>
                </c:pt>
                <c:pt idx="101">
                  <c:v>1090.3515</c:v>
                </c:pt>
                <c:pt idx="102">
                  <c:v>1120.5609</c:v>
                </c:pt>
                <c:pt idx="103">
                  <c:v>976.3286</c:v>
                </c:pt>
                <c:pt idx="104">
                  <c:v>1069.0702</c:v>
                </c:pt>
              </c:numCache>
            </c:numRef>
          </c:xVal>
          <c:yVal>
            <c:numRef>
              <c:f>Sheet1!$B$2:$B$106</c:f>
              <c:numCache>
                <c:formatCode>General</c:formatCode>
                <c:ptCount val="105"/>
                <c:pt idx="0">
                  <c:v>0.2146968600282632</c:v>
                </c:pt>
                <c:pt idx="1">
                  <c:v>0.21712007677826584</c:v>
                </c:pt>
                <c:pt idx="2">
                  <c:v>0.1972539093651399</c:v>
                </c:pt>
                <c:pt idx="3">
                  <c:v>0.19730041274681143</c:v>
                </c:pt>
                <c:pt idx="4">
                  <c:v>0.19716885743174925</c:v>
                </c:pt>
                <c:pt idx="5">
                  <c:v>0.19012279044663338</c:v>
                </c:pt>
                <c:pt idx="6">
                  <c:v>0.21017518185339817</c:v>
                </c:pt>
                <c:pt idx="7">
                  <c:v>0.2075634080899104</c:v>
                </c:pt>
                <c:pt idx="8">
                  <c:v>0.21384258510007012</c:v>
                </c:pt>
                <c:pt idx="9">
                  <c:v>0.2146702296580303</c:v>
                </c:pt>
                <c:pt idx="10">
                  <c:v>0.22441271999395726</c:v>
                </c:pt>
                <c:pt idx="11">
                  <c:v>0.21766276604099583</c:v>
                </c:pt>
                <c:pt idx="12">
                  <c:v>0.22001172418846632</c:v>
                </c:pt>
                <c:pt idx="13">
                  <c:v>0.23030123163674135</c:v>
                </c:pt>
                <c:pt idx="14">
                  <c:v>0.21616486407483193</c:v>
                </c:pt>
                <c:pt idx="15">
                  <c:v>0.21368379688250447</c:v>
                </c:pt>
                <c:pt idx="16">
                  <c:v>0.20372046254399195</c:v>
                </c:pt>
                <c:pt idx="17">
                  <c:v>0.19133534411845352</c:v>
                </c:pt>
                <c:pt idx="18">
                  <c:v>0.17340107591153617</c:v>
                </c:pt>
                <c:pt idx="19">
                  <c:v>0.16212729357798164</c:v>
                </c:pt>
                <c:pt idx="20">
                  <c:v>0.17247294020228307</c:v>
                </c:pt>
                <c:pt idx="21">
                  <c:v>0.17840839926962873</c:v>
                </c:pt>
                <c:pt idx="22">
                  <c:v>0.1777423099245502</c:v>
                </c:pt>
                <c:pt idx="23">
                  <c:v>0.18377885783718104</c:v>
                </c:pt>
                <c:pt idx="24">
                  <c:v>0.19052653838020722</c:v>
                </c:pt>
                <c:pt idx="25">
                  <c:v>0.19005184705119896</c:v>
                </c:pt>
                <c:pt idx="26">
                  <c:v>0.19381918133868212</c:v>
                </c:pt>
                <c:pt idx="27">
                  <c:v>0.18466152527849186</c:v>
                </c:pt>
                <c:pt idx="28">
                  <c:v>0.1814272177272396</c:v>
                </c:pt>
                <c:pt idx="29">
                  <c:v>0.20289217227287018</c:v>
                </c:pt>
                <c:pt idx="30">
                  <c:v>0.1858022158391465</c:v>
                </c:pt>
                <c:pt idx="31">
                  <c:v>0.1823178391959799</c:v>
                </c:pt>
                <c:pt idx="32">
                  <c:v>0.1905923610581688</c:v>
                </c:pt>
                <c:pt idx="33">
                  <c:v>0.20864226135310474</c:v>
                </c:pt>
                <c:pt idx="34">
                  <c:v>0.1999795207864018</c:v>
                </c:pt>
                <c:pt idx="35">
                  <c:v>0.1962085308056872</c:v>
                </c:pt>
                <c:pt idx="36">
                  <c:v>0.15714536825452627</c:v>
                </c:pt>
                <c:pt idx="37">
                  <c:v>0.14665426274171042</c:v>
                </c:pt>
                <c:pt idx="38">
                  <c:v>0.14210777300906055</c:v>
                </c:pt>
                <c:pt idx="39">
                  <c:v>0.14415942336230655</c:v>
                </c:pt>
                <c:pt idx="40">
                  <c:v>0.14485714285714285</c:v>
                </c:pt>
                <c:pt idx="41">
                  <c:v>0.13350603399254438</c:v>
                </c:pt>
                <c:pt idx="42">
                  <c:v>0.13931079536175078</c:v>
                </c:pt>
                <c:pt idx="43">
                  <c:v>0.14207650273224043</c:v>
                </c:pt>
                <c:pt idx="44">
                  <c:v>0.17000688920899354</c:v>
                </c:pt>
                <c:pt idx="45">
                  <c:v>0.19477348004266548</c:v>
                </c:pt>
                <c:pt idx="46">
                  <c:v>0.2011744648607691</c:v>
                </c:pt>
                <c:pt idx="47">
                  <c:v>0.20259431353025778</c:v>
                </c:pt>
                <c:pt idx="48">
                  <c:v>0.2187455926500514</c:v>
                </c:pt>
                <c:pt idx="49">
                  <c:v>0.25037901866047013</c:v>
                </c:pt>
                <c:pt idx="50">
                  <c:v>0.21465076660988075</c:v>
                </c:pt>
                <c:pt idx="51">
                  <c:v>0.19269703543022415</c:v>
                </c:pt>
                <c:pt idx="52">
                  <c:v>0.2046528645912736</c:v>
                </c:pt>
                <c:pt idx="53">
                  <c:v>0.19408830593016813</c:v>
                </c:pt>
                <c:pt idx="54">
                  <c:v>0.19114754098360656</c:v>
                </c:pt>
                <c:pt idx="55">
                  <c:v>0.18233343129434484</c:v>
                </c:pt>
                <c:pt idx="56">
                  <c:v>0.19250032664082575</c:v>
                </c:pt>
                <c:pt idx="57">
                  <c:v>0.18821285803352036</c:v>
                </c:pt>
                <c:pt idx="58">
                  <c:v>0.20670012206700122</c:v>
                </c:pt>
                <c:pt idx="59">
                  <c:v>0.21249389512942327</c:v>
                </c:pt>
                <c:pt idx="60">
                  <c:v>0.22528798547010673</c:v>
                </c:pt>
                <c:pt idx="61">
                  <c:v>0.22520512204332452</c:v>
                </c:pt>
                <c:pt idx="62">
                  <c:v>0.22494933573519477</c:v>
                </c:pt>
                <c:pt idx="63">
                  <c:v>0.2410700941563294</c:v>
                </c:pt>
                <c:pt idx="64">
                  <c:v>0.22874988951415692</c:v>
                </c:pt>
                <c:pt idx="65">
                  <c:v>0.21485674085443848</c:v>
                </c:pt>
                <c:pt idx="66">
                  <c:v>0.2205326908048971</c:v>
                </c:pt>
                <c:pt idx="67">
                  <c:v>0.2174063560202174</c:v>
                </c:pt>
                <c:pt idx="68">
                  <c:v>0.19819517313746066</c:v>
                </c:pt>
                <c:pt idx="69">
                  <c:v>0.1843770456033166</c:v>
                </c:pt>
                <c:pt idx="70">
                  <c:v>0.17122678524718807</c:v>
                </c:pt>
                <c:pt idx="71">
                  <c:v>0.18111014240046497</c:v>
                </c:pt>
                <c:pt idx="72">
                  <c:v>0.18635843192846627</c:v>
                </c:pt>
                <c:pt idx="73">
                  <c:v>0.18679817004337235</c:v>
                </c:pt>
                <c:pt idx="74">
                  <c:v>0.18381496477896722</c:v>
                </c:pt>
                <c:pt idx="75">
                  <c:v>0.18586118251928022</c:v>
                </c:pt>
                <c:pt idx="76">
                  <c:v>0.18114987169706637</c:v>
                </c:pt>
                <c:pt idx="77">
                  <c:v>0.1769905093095704</c:v>
                </c:pt>
                <c:pt idx="78">
                  <c:v>0.1633945027646446</c:v>
                </c:pt>
                <c:pt idx="79">
                  <c:v>0.22476419827413205</c:v>
                </c:pt>
                <c:pt idx="80">
                  <c:v>0.21057944679991925</c:v>
                </c:pt>
                <c:pt idx="81">
                  <c:v>0.17324355971896954</c:v>
                </c:pt>
                <c:pt idx="82">
                  <c:v>0.17274735318759996</c:v>
                </c:pt>
                <c:pt idx="83">
                  <c:v>0.1545659331138451</c:v>
                </c:pt>
                <c:pt idx="84">
                  <c:v>0.1574049688350452</c:v>
                </c:pt>
                <c:pt idx="85">
                  <c:v>0.16417796739296053</c:v>
                </c:pt>
                <c:pt idx="86">
                  <c:v>0.1571214565568103</c:v>
                </c:pt>
                <c:pt idx="87">
                  <c:v>0.17206188960825194</c:v>
                </c:pt>
                <c:pt idx="88">
                  <c:v>0.1534110993283846</c:v>
                </c:pt>
                <c:pt idx="89">
                  <c:v>0.1521688342029437</c:v>
                </c:pt>
                <c:pt idx="90">
                  <c:v>0.1496723669490171</c:v>
                </c:pt>
                <c:pt idx="91">
                  <c:v>0.14149109849957242</c:v>
                </c:pt>
                <c:pt idx="92">
                  <c:v>0.14851851851851852</c:v>
                </c:pt>
                <c:pt idx="93">
                  <c:v>0.14279624893435636</c:v>
                </c:pt>
                <c:pt idx="94">
                  <c:v>0.14696723531004605</c:v>
                </c:pt>
                <c:pt idx="95">
                  <c:v>0.15124254473161033</c:v>
                </c:pt>
                <c:pt idx="96">
                  <c:v>0.14782844182661387</c:v>
                </c:pt>
                <c:pt idx="97">
                  <c:v>0.15954492519931918</c:v>
                </c:pt>
                <c:pt idx="98">
                  <c:v>0.1734323983854796</c:v>
                </c:pt>
                <c:pt idx="99">
                  <c:v>0.18298980350969324</c:v>
                </c:pt>
                <c:pt idx="100">
                  <c:v>0.20112217610289895</c:v>
                </c:pt>
                <c:pt idx="101">
                  <c:v>0.1896363217861664</c:v>
                </c:pt>
                <c:pt idx="102">
                  <c:v>0.16128769687843392</c:v>
                </c:pt>
                <c:pt idx="103">
                  <c:v>0.18299982291482203</c:v>
                </c:pt>
                <c:pt idx="104">
                  <c:v>0.1829123580267842</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138.6865</c:v>
                </c:pt>
                <c:pt idx="1">
                  <c:v>1135.893</c:v>
                </c:pt>
                <c:pt idx="2">
                  <c:v>1130.6472</c:v>
                </c:pt>
                <c:pt idx="3">
                  <c:v>1147.2494</c:v>
                </c:pt>
                <c:pt idx="4">
                  <c:v>1145.4045</c:v>
                </c:pt>
                <c:pt idx="5">
                  <c:v>1161.1879</c:v>
                </c:pt>
                <c:pt idx="6">
                  <c:v>1088.9483</c:v>
                </c:pt>
                <c:pt idx="7">
                  <c:v>1131.033</c:v>
                </c:pt>
                <c:pt idx="8">
                  <c:v>1209.0371</c:v>
                </c:pt>
                <c:pt idx="9">
                  <c:v>1179.8609</c:v>
                </c:pt>
                <c:pt idx="10">
                  <c:v>1192.4996</c:v>
                </c:pt>
                <c:pt idx="11">
                  <c:v>1065.0223</c:v>
                </c:pt>
                <c:pt idx="12">
                  <c:v>1093.3316</c:v>
                </c:pt>
                <c:pt idx="13">
                  <c:v>1144.7283</c:v>
                </c:pt>
                <c:pt idx="14">
                  <c:v>1152.2198</c:v>
                </c:pt>
                <c:pt idx="15">
                  <c:v>1186.1136</c:v>
                </c:pt>
                <c:pt idx="16">
                  <c:v>1230.8374</c:v>
                </c:pt>
                <c:pt idx="17">
                  <c:v>1201.4371</c:v>
                </c:pt>
                <c:pt idx="18">
                  <c:v>1179.2322</c:v>
                </c:pt>
                <c:pt idx="19">
                  <c:v>1287.4371</c:v>
                </c:pt>
                <c:pt idx="20">
                  <c:v>1271.8513</c:v>
                </c:pt>
                <c:pt idx="21">
                  <c:v>1203.0116</c:v>
                </c:pt>
                <c:pt idx="22">
                  <c:v>1159.0383</c:v>
                </c:pt>
                <c:pt idx="23">
                  <c:v>1157.6274</c:v>
                </c:pt>
                <c:pt idx="24">
                  <c:v>1163.9092</c:v>
                </c:pt>
                <c:pt idx="25">
                  <c:v>1093.9142</c:v>
                </c:pt>
                <c:pt idx="26">
                  <c:v>1186.2231</c:v>
                </c:pt>
                <c:pt idx="27">
                  <c:v>1199.9327</c:v>
                </c:pt>
                <c:pt idx="28">
                  <c:v>1185.0203</c:v>
                </c:pt>
                <c:pt idx="29">
                  <c:v>1190.7016</c:v>
                </c:pt>
                <c:pt idx="30">
                  <c:v>1165.2712</c:v>
                </c:pt>
                <c:pt idx="31">
                  <c:v>1074.8542</c:v>
                </c:pt>
                <c:pt idx="32">
                  <c:v>1116.799</c:v>
                </c:pt>
                <c:pt idx="33">
                  <c:v>1169.0567</c:v>
                </c:pt>
                <c:pt idx="34">
                  <c:v>1206.114</c:v>
                </c:pt>
                <c:pt idx="35">
                  <c:v>1179.4318</c:v>
                </c:pt>
                <c:pt idx="36">
                  <c:v>1202.9226</c:v>
                </c:pt>
                <c:pt idx="37">
                  <c:v>1265.2341</c:v>
                </c:pt>
                <c:pt idx="38">
                  <c:v>1239.3704</c:v>
                </c:pt>
                <c:pt idx="39">
                  <c:v>1192.0742</c:v>
                </c:pt>
                <c:pt idx="40">
                  <c:v>1226.0768</c:v>
                </c:pt>
                <c:pt idx="41">
                  <c:v>1283.756</c:v>
                </c:pt>
                <c:pt idx="42">
                  <c:v>1256.9347</c:v>
                </c:pt>
                <c:pt idx="43">
                  <c:v>1263.5346</c:v>
                </c:pt>
                <c:pt idx="44">
                  <c:v>1199.6258</c:v>
                </c:pt>
                <c:pt idx="45">
                  <c:v>1146.9572</c:v>
                </c:pt>
                <c:pt idx="46">
                  <c:v>1135.6928</c:v>
                </c:pt>
                <c:pt idx="47">
                  <c:v>1121.4318</c:v>
                </c:pt>
                <c:pt idx="48">
                  <c:v>1102.8834</c:v>
                </c:pt>
                <c:pt idx="49">
                  <c:v>1129.7361</c:v>
                </c:pt>
                <c:pt idx="50">
                  <c:v>1032.9026</c:v>
                </c:pt>
                <c:pt idx="51">
                  <c:v>996.7259</c:v>
                </c:pt>
              </c:numCache>
            </c:numRef>
          </c:xVal>
          <c:yVal>
            <c:numRef>
              <c:f>Sheet1!$B$109:$B$160</c:f>
              <c:numCache>
                <c:formatCode>General</c:formatCode>
                <c:ptCount val="52"/>
                <c:pt idx="0">
                  <c:v>0.17583408476104598</c:v>
                </c:pt>
                <c:pt idx="1">
                  <c:v>0.1831663486005089</c:v>
                </c:pt>
                <c:pt idx="2">
                  <c:v>0.19043603527634306</c:v>
                </c:pt>
                <c:pt idx="3">
                  <c:v>0.20528250216200633</c:v>
                </c:pt>
                <c:pt idx="4">
                  <c:v>0.19332110091743118</c:v>
                </c:pt>
                <c:pt idx="5">
                  <c:v>0.19093960997321865</c:v>
                </c:pt>
                <c:pt idx="6">
                  <c:v>0.1895799862290567</c:v>
                </c:pt>
                <c:pt idx="7">
                  <c:v>0.18574562385280027</c:v>
                </c:pt>
                <c:pt idx="8">
                  <c:v>0.18271100254249964</c:v>
                </c:pt>
                <c:pt idx="9">
                  <c:v>0.19039970630076636</c:v>
                </c:pt>
                <c:pt idx="10">
                  <c:v>0.19824553591307834</c:v>
                </c:pt>
                <c:pt idx="11">
                  <c:v>0.2084049118788573</c:v>
                </c:pt>
                <c:pt idx="12">
                  <c:v>0.20794900637420322</c:v>
                </c:pt>
                <c:pt idx="13">
                  <c:v>0.20005645616581982</c:v>
                </c:pt>
                <c:pt idx="14">
                  <c:v>0.2011674700393579</c:v>
                </c:pt>
                <c:pt idx="15">
                  <c:v>0.1886034161044926</c:v>
                </c:pt>
                <c:pt idx="16">
                  <c:v>0.1708314402544298</c:v>
                </c:pt>
                <c:pt idx="17">
                  <c:v>0.15750827565452905</c:v>
                </c:pt>
                <c:pt idx="18">
                  <c:v>0.15575417446130396</c:v>
                </c:pt>
                <c:pt idx="19">
                  <c:v>0.16161275072600798</c:v>
                </c:pt>
                <c:pt idx="20">
                  <c:v>0.15370691605701786</c:v>
                </c:pt>
                <c:pt idx="21">
                  <c:v>0.16223260830487146</c:v>
                </c:pt>
                <c:pt idx="22">
                  <c:v>0.16634241245136186</c:v>
                </c:pt>
                <c:pt idx="23">
                  <c:v>0.17083564943487123</c:v>
                </c:pt>
                <c:pt idx="24">
                  <c:v>0.16530264279624893</c:v>
                </c:pt>
                <c:pt idx="25">
                  <c:v>0.172339663203153</c:v>
                </c:pt>
                <c:pt idx="26">
                  <c:v>0.1497388276262333</c:v>
                </c:pt>
                <c:pt idx="27">
                  <c:v>0.14984686636288938</c:v>
                </c:pt>
                <c:pt idx="28">
                  <c:v>0.15955937014259647</c:v>
                </c:pt>
                <c:pt idx="29">
                  <c:v>0.16225219369515761</c:v>
                </c:pt>
                <c:pt idx="30">
                  <c:v>0.1687273950710741</c:v>
                </c:pt>
                <c:pt idx="31">
                  <c:v>0.17207587880967365</c:v>
                </c:pt>
                <c:pt idx="32">
                  <c:v>0.17484257171732878</c:v>
                </c:pt>
                <c:pt idx="33">
                  <c:v>0.19225181598062954</c:v>
                </c:pt>
                <c:pt idx="34">
                  <c:v>0.2116611443548786</c:v>
                </c:pt>
                <c:pt idx="35">
                  <c:v>0.2032646474677259</c:v>
                </c:pt>
                <c:pt idx="36">
                  <c:v>0.17360157016683023</c:v>
                </c:pt>
                <c:pt idx="37">
                  <c:v>0.15445141897268147</c:v>
                </c:pt>
                <c:pt idx="38">
                  <c:v>0.15996855654908126</c:v>
                </c:pt>
                <c:pt idx="39">
                  <c:v>0.17886353852776582</c:v>
                </c:pt>
                <c:pt idx="40">
                  <c:v>0.15928461645941036</c:v>
                </c:pt>
                <c:pt idx="41">
                  <c:v>0.1606812780565091</c:v>
                </c:pt>
                <c:pt idx="42">
                  <c:v>0.16119157831865014</c:v>
                </c:pt>
                <c:pt idx="43">
                  <c:v>0.15152014048951817</c:v>
                </c:pt>
                <c:pt idx="44">
                  <c:v>0.14690281398903174</c:v>
                </c:pt>
                <c:pt idx="45">
                  <c:v>0.1629537413183069</c:v>
                </c:pt>
                <c:pt idx="46">
                  <c:v>0.16084024494225255</c:v>
                </c:pt>
                <c:pt idx="47">
                  <c:v>0.16053572073210354</c:v>
                </c:pt>
                <c:pt idx="48">
                  <c:v>0.15270950725332694</c:v>
                </c:pt>
                <c:pt idx="49">
                  <c:v>0.16871387283236994</c:v>
                </c:pt>
                <c:pt idx="50">
                  <c:v>0.20077423234487166</c:v>
                </c:pt>
                <c:pt idx="51">
                  <c:v>0.18915817187605483</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45.0655599522637</c:v>
                </c:pt>
              </c:numCache>
            </c:numRef>
          </c:xVal>
          <c:yVal>
            <c:numRef>
              <c:f>Sheet1!$B$163:$B$164</c:f>
              <c:numCache>
                <c:formatCode>General</c:formatCode>
                <c:ptCount val="2"/>
                <c:pt idx="0">
                  <c:v>0.2062181521145252</c:v>
                </c:pt>
                <c:pt idx="1">
                  <c:v>0.206218152114525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45.0655599522637</c:v>
                </c:pt>
                <c:pt idx="1">
                  <c:v>945.0655599522637</c:v>
                </c:pt>
              </c:numCache>
            </c:numRef>
          </c:xVal>
          <c:yVal>
            <c:numRef>
              <c:f>Sheet1!$B$167:$B$168</c:f>
              <c:numCache>
                <c:formatCode>General</c:formatCode>
                <c:ptCount val="2"/>
                <c:pt idx="0">
                  <c:v>0.20621815211452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72.1534032940854</c:v>
                </c:pt>
              </c:numCache>
            </c:numRef>
          </c:xVal>
          <c:yVal>
            <c:numRef>
              <c:f>Sheet1!$B$171:$B$172</c:f>
              <c:numCache>
                <c:formatCode>General</c:formatCode>
                <c:ptCount val="2"/>
                <c:pt idx="0">
                  <c:v>0.18855736603499007</c:v>
                </c:pt>
                <c:pt idx="1">
                  <c:v>0.18855736603499007</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72.1534032940854</c:v>
                </c:pt>
                <c:pt idx="1">
                  <c:v>1072.1534032940854</c:v>
                </c:pt>
              </c:numCache>
            </c:numRef>
          </c:xVal>
          <c:yVal>
            <c:numRef>
              <c:f>Sheet1!$B$175:$B$176</c:f>
              <c:numCache>
                <c:formatCode>General</c:formatCode>
                <c:ptCount val="2"/>
                <c:pt idx="0">
                  <c:v>0.1885573660349900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236.619773484704</c:v>
                </c:pt>
              </c:numCache>
            </c:numRef>
          </c:xVal>
          <c:yVal>
            <c:numRef>
              <c:f>Sheet1!$B$179:$B$180</c:f>
              <c:numCache>
                <c:formatCode>General</c:formatCode>
                <c:ptCount val="2"/>
                <c:pt idx="0">
                  <c:v>0.16570226593385937</c:v>
                </c:pt>
                <c:pt idx="1">
                  <c:v>0.16570226593385937</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236.619773484704</c:v>
                </c:pt>
                <c:pt idx="1">
                  <c:v>1236.619773484704</c:v>
                </c:pt>
              </c:numCache>
            </c:numRef>
          </c:xVal>
          <c:yVal>
            <c:numRef>
              <c:f>Sheet1!$B$183:$B$184</c:f>
              <c:numCache>
                <c:formatCode>General</c:formatCode>
                <c:ptCount val="2"/>
                <c:pt idx="0">
                  <c:v>0.1657022659338593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138.6865</c:v>
                </c:pt>
                <c:pt idx="1">
                  <c:v>1135.893</c:v>
                </c:pt>
                <c:pt idx="2">
                  <c:v>1130.6472</c:v>
                </c:pt>
                <c:pt idx="3">
                  <c:v>1147.2494</c:v>
                </c:pt>
                <c:pt idx="4">
                  <c:v>1145.4045</c:v>
                </c:pt>
                <c:pt idx="5">
                  <c:v>1161.1879</c:v>
                </c:pt>
                <c:pt idx="6">
                  <c:v>1088.9483</c:v>
                </c:pt>
                <c:pt idx="7">
                  <c:v>1131.033</c:v>
                </c:pt>
                <c:pt idx="8">
                  <c:v>1209.0371</c:v>
                </c:pt>
                <c:pt idx="9">
                  <c:v>1179.8609</c:v>
                </c:pt>
                <c:pt idx="10">
                  <c:v>1192.4996</c:v>
                </c:pt>
                <c:pt idx="11">
                  <c:v>1065.0223</c:v>
                </c:pt>
                <c:pt idx="12">
                  <c:v>1093.3316</c:v>
                </c:pt>
                <c:pt idx="13">
                  <c:v>1144.7283</c:v>
                </c:pt>
                <c:pt idx="14">
                  <c:v>1152.2198</c:v>
                </c:pt>
                <c:pt idx="15">
                  <c:v>1186.1136</c:v>
                </c:pt>
                <c:pt idx="16">
                  <c:v>1230.8374</c:v>
                </c:pt>
                <c:pt idx="17">
                  <c:v>1201.4371</c:v>
                </c:pt>
                <c:pt idx="18">
                  <c:v>1179.2322</c:v>
                </c:pt>
                <c:pt idx="19">
                  <c:v>1287.4371</c:v>
                </c:pt>
                <c:pt idx="20">
                  <c:v>1271.8513</c:v>
                </c:pt>
                <c:pt idx="21">
                  <c:v>1203.0116</c:v>
                </c:pt>
                <c:pt idx="22">
                  <c:v>1159.0383</c:v>
                </c:pt>
                <c:pt idx="23">
                  <c:v>1157.6274</c:v>
                </c:pt>
                <c:pt idx="24">
                  <c:v>1163.9092</c:v>
                </c:pt>
                <c:pt idx="25">
                  <c:v>1093.9142</c:v>
                </c:pt>
                <c:pt idx="26">
                  <c:v>1186.2231</c:v>
                </c:pt>
                <c:pt idx="27">
                  <c:v>1199.9327</c:v>
                </c:pt>
                <c:pt idx="28">
                  <c:v>1185.0203</c:v>
                </c:pt>
                <c:pt idx="29">
                  <c:v>1190.7016</c:v>
                </c:pt>
                <c:pt idx="30">
                  <c:v>1165.2712</c:v>
                </c:pt>
                <c:pt idx="31">
                  <c:v>1074.8542</c:v>
                </c:pt>
                <c:pt idx="32">
                  <c:v>1116.799</c:v>
                </c:pt>
                <c:pt idx="33">
                  <c:v>1169.0567</c:v>
                </c:pt>
                <c:pt idx="34">
                  <c:v>1206.114</c:v>
                </c:pt>
                <c:pt idx="35">
                  <c:v>1179.4318</c:v>
                </c:pt>
                <c:pt idx="36">
                  <c:v>1202.9226</c:v>
                </c:pt>
                <c:pt idx="37">
                  <c:v>1265.2341</c:v>
                </c:pt>
                <c:pt idx="38">
                  <c:v>1239.3704</c:v>
                </c:pt>
                <c:pt idx="39">
                  <c:v>1192.0742</c:v>
                </c:pt>
                <c:pt idx="40">
                  <c:v>1226.0768</c:v>
                </c:pt>
                <c:pt idx="41">
                  <c:v>1283.756</c:v>
                </c:pt>
                <c:pt idx="42">
                  <c:v>1256.9347</c:v>
                </c:pt>
                <c:pt idx="43">
                  <c:v>1263.5346</c:v>
                </c:pt>
                <c:pt idx="44">
                  <c:v>1199.6258</c:v>
                </c:pt>
                <c:pt idx="45">
                  <c:v>1146.9572</c:v>
                </c:pt>
                <c:pt idx="46">
                  <c:v>1135.6928</c:v>
                </c:pt>
                <c:pt idx="47">
                  <c:v>1121.4318</c:v>
                </c:pt>
                <c:pt idx="48">
                  <c:v>1102.8834</c:v>
                </c:pt>
                <c:pt idx="49">
                  <c:v>1129.7361</c:v>
                </c:pt>
                <c:pt idx="50">
                  <c:v>1032.9026</c:v>
                </c:pt>
                <c:pt idx="51">
                  <c:v>996.7259</c:v>
                </c:pt>
                <c:pt idx="52">
                  <c:v>1072.1534032940854</c:v>
                </c:pt>
                <c:pt idx="53">
                  <c:v>945.0655599522637</c:v>
                </c:pt>
                <c:pt idx="54">
                  <c:v>1236.619773484704</c:v>
                </c:pt>
              </c:numCache>
            </c:numRef>
          </c:xVal>
          <c:yVal>
            <c:numRef>
              <c:f>Sheet1!$B$187:$B$241</c:f>
              <c:numCache>
                <c:formatCode>General</c:formatCode>
                <c:ptCount val="55"/>
                <c:pt idx="0">
                  <c:v>0.17931158172364745</c:v>
                </c:pt>
                <c:pt idx="1">
                  <c:v>0.17969978097713926</c:v>
                </c:pt>
                <c:pt idx="2">
                  <c:v>0.1804287645618779</c:v>
                </c:pt>
                <c:pt idx="3">
                  <c:v>0.17812163671282763</c:v>
                </c:pt>
                <c:pt idx="4">
                  <c:v>0.17837801358870628</c:v>
                </c:pt>
                <c:pt idx="5">
                  <c:v>0.17618467043582894</c:v>
                </c:pt>
                <c:pt idx="6">
                  <c:v>0.18622346005191923</c:v>
                </c:pt>
                <c:pt idx="7">
                  <c:v>0.18037515179223515</c:v>
                </c:pt>
                <c:pt idx="8">
                  <c:v>0.1695352973482395</c:v>
                </c:pt>
                <c:pt idx="9">
                  <c:v>0.17358977347486496</c:v>
                </c:pt>
                <c:pt idx="10">
                  <c:v>0.17183343414960733</c:v>
                </c:pt>
                <c:pt idx="11">
                  <c:v>0.18954834114697755</c:v>
                </c:pt>
                <c:pt idx="12">
                  <c:v>0.18561433394208185</c:v>
                </c:pt>
                <c:pt idx="13">
                  <c:v>0.1784719818490289</c:v>
                </c:pt>
                <c:pt idx="14">
                  <c:v>0.17743092414094438</c:v>
                </c:pt>
                <c:pt idx="15">
                  <c:v>0.17272086584203578</c:v>
                </c:pt>
                <c:pt idx="16">
                  <c:v>0.16650581455393204</c:v>
                </c:pt>
                <c:pt idx="17">
                  <c:v>0.17059143277925357</c:v>
                </c:pt>
                <c:pt idx="18">
                  <c:v>0.17367714088874373</c:v>
                </c:pt>
                <c:pt idx="19">
                  <c:v>0.15864042658619928</c:v>
                </c:pt>
                <c:pt idx="20">
                  <c:v>0.16080631021787029</c:v>
                </c:pt>
                <c:pt idx="21">
                  <c:v>0.17037263209028888</c:v>
                </c:pt>
                <c:pt idx="22">
                  <c:v>0.17648339000458</c:v>
                </c:pt>
                <c:pt idx="23">
                  <c:v>0.1766794559887402</c:v>
                </c:pt>
                <c:pt idx="24">
                  <c:v>0.17580650446893173</c:v>
                </c:pt>
                <c:pt idx="25">
                  <c:v>0.1855333728233833</c:v>
                </c:pt>
                <c:pt idx="26">
                  <c:v>0.17270564915391787</c:v>
                </c:pt>
                <c:pt idx="27">
                  <c:v>0.17080049200851904</c:v>
                </c:pt>
                <c:pt idx="28">
                  <c:v>0.17287279648239467</c:v>
                </c:pt>
                <c:pt idx="29">
                  <c:v>0.17208329355815513</c:v>
                </c:pt>
                <c:pt idx="30">
                  <c:v>0.17561723388247896</c:v>
                </c:pt>
                <c:pt idx="31">
                  <c:v>0.18818204931221602</c:v>
                </c:pt>
                <c:pt idx="32">
                  <c:v>0.1823531822823739</c:v>
                </c:pt>
                <c:pt idx="33">
                  <c:v>0.17509118116220213</c:v>
                </c:pt>
                <c:pt idx="34">
                  <c:v>0.16994150649013387</c:v>
                </c:pt>
                <c:pt idx="35">
                  <c:v>0.17364940343716076</c:v>
                </c:pt>
                <c:pt idx="36">
                  <c:v>0.1703849999920468</c:v>
                </c:pt>
                <c:pt idx="37">
                  <c:v>0.1617258706618317</c:v>
                </c:pt>
                <c:pt idx="38">
                  <c:v>0.16532002460224213</c:v>
                </c:pt>
                <c:pt idx="39">
                  <c:v>0.17189254994070646</c:v>
                </c:pt>
                <c:pt idx="40">
                  <c:v>0.16716737222931172</c:v>
                </c:pt>
                <c:pt idx="41">
                  <c:v>0.1591519713408185</c:v>
                </c:pt>
                <c:pt idx="42">
                  <c:v>0.16287919834553674</c:v>
                </c:pt>
                <c:pt idx="43">
                  <c:v>0.16196204199933278</c:v>
                </c:pt>
                <c:pt idx="44">
                  <c:v>0.17084314042480567</c:v>
                </c:pt>
                <c:pt idx="45">
                  <c:v>0.17816224234084635</c:v>
                </c:pt>
                <c:pt idx="46">
                  <c:v>0.1797276018078352</c:v>
                </c:pt>
                <c:pt idx="47">
                  <c:v>0.18170938435805783</c:v>
                </c:pt>
                <c:pt idx="48">
                  <c:v>0.18428696625656074</c:v>
                </c:pt>
                <c:pt idx="49">
                  <c:v>0.18055537574493014</c:v>
                </c:pt>
                <c:pt idx="50">
                  <c:v>0.19401186130533857</c:v>
                </c:pt>
                <c:pt idx="51">
                  <c:v>0.19903916323259746</c:v>
                </c:pt>
                <c:pt idx="52">
                  <c:v>0.18855736603499007</c:v>
                </c:pt>
                <c:pt idx="53">
                  <c:v>0.2062181521145252</c:v>
                </c:pt>
                <c:pt idx="54">
                  <c:v>0.1657022659338593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545.0"/>
          <c:min val="55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045482239256416"/>
          <c:min val="0.106804827194035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1.7375907006417242</c:v>
                </c:pt>
                <c:pt idx="2">
                  <c:v>0.0</c:v>
                </c:pt>
                <c:pt idx="3">
                  <c:v>2.136910717314774</c:v>
                </c:pt>
                <c:pt idx="4">
                  <c:v>2.3444880396632213</c:v>
                </c:pt>
                <c:pt idx="5">
                  <c:v>1.6568914321370294</c:v>
                </c:pt>
                <c:pt idx="6">
                  <c:v>1.1401767025629574</c:v>
                </c:pt>
                <c:pt idx="7">
                  <c:v>1.3349451656667775</c:v>
                </c:pt>
                <c:pt idx="8">
                  <c:v>1.596941769519809</c:v>
                </c:pt>
                <c:pt idx="9">
                  <c:v>1.3402375720048998</c:v>
                </c:pt>
                <c:pt idx="10">
                  <c:v>1.3897607927837583</c:v>
                </c:pt>
                <c:pt idx="11">
                  <c:v>1.7415167326220522</c:v>
                </c:pt>
                <c:pt idx="12">
                  <c:v>1.417933557693053</c:v>
                </c:pt>
                <c:pt idx="13">
                  <c:v>1.4997744062231595</c:v>
                </c:pt>
                <c:pt idx="14">
                  <c:v>1.431880303413633</c:v>
                </c:pt>
                <c:pt idx="15">
                  <c:v>1.3636290443098926</c:v>
                </c:pt>
                <c:pt idx="16">
                  <c:v>1.3028225255512942</c:v>
                </c:pt>
                <c:pt idx="17">
                  <c:v>1.062546007878196</c:v>
                </c:pt>
                <c:pt idx="18">
                  <c:v>0.7974344502698619</c:v>
                </c:pt>
                <c:pt idx="19">
                  <c:v>0.9782311469609213</c:v>
                </c:pt>
                <c:pt idx="20">
                  <c:v>0.9045436055322474</c:v>
                </c:pt>
                <c:pt idx="21">
                  <c:v>0.8510238940128777</c:v>
                </c:pt>
                <c:pt idx="22">
                  <c:v>0.4043297611531814</c:v>
                </c:pt>
                <c:pt idx="23">
                  <c:v>0.5538653353542885</c:v>
                </c:pt>
                <c:pt idx="24">
                  <c:v>2.065018661478989</c:v>
                </c:pt>
                <c:pt idx="25">
                  <c:v>2.242112459099827</c:v>
                </c:pt>
                <c:pt idx="26">
                  <c:v>2.2400334929152903</c:v>
                </c:pt>
                <c:pt idx="27">
                  <c:v>1.657739929924945</c:v>
                </c:pt>
                <c:pt idx="28">
                  <c:v>2.3119775269346436</c:v>
                </c:pt>
                <c:pt idx="29">
                  <c:v>2.2626500779235195</c:v>
                </c:pt>
                <c:pt idx="30">
                  <c:v>1.967353225843718</c:v>
                </c:pt>
                <c:pt idx="31">
                  <c:v>2.0920337242073272</c:v>
                </c:pt>
                <c:pt idx="32">
                  <c:v>2.2571814743274703</c:v>
                </c:pt>
                <c:pt idx="33">
                  <c:v>2.0871217602548384</c:v>
                </c:pt>
                <c:pt idx="34">
                  <c:v>1.8974765566068441</c:v>
                </c:pt>
                <c:pt idx="35">
                  <c:v>2.7280466432207437</c:v>
                </c:pt>
                <c:pt idx="36">
                  <c:v>2.8316295431797074</c:v>
                </c:pt>
                <c:pt idx="37">
                  <c:v>2.3633907918877797</c:v>
                </c:pt>
                <c:pt idx="38">
                  <c:v>2.134112215518364</c:v>
                </c:pt>
                <c:pt idx="39">
                  <c:v>2.3456344488263583</c:v>
                </c:pt>
                <c:pt idx="40">
                  <c:v>2.106838924003668</c:v>
                </c:pt>
                <c:pt idx="41">
                  <c:v>2.5328282486614984</c:v>
                </c:pt>
                <c:pt idx="42">
                  <c:v>2.5356834971108184</c:v>
                </c:pt>
                <c:pt idx="43">
                  <c:v>2.7879460493193062</c:v>
                </c:pt>
                <c:pt idx="44">
                  <c:v>2.858287101029639</c:v>
                </c:pt>
                <c:pt idx="45">
                  <c:v>2.283896098478675</c:v>
                </c:pt>
                <c:pt idx="46">
                  <c:v>2.4432940324934376</c:v>
                </c:pt>
                <c:pt idx="47">
                  <c:v>2.404689610097927</c:v>
                </c:pt>
                <c:pt idx="48">
                  <c:v>2.5542715139834593</c:v>
                </c:pt>
                <c:pt idx="49">
                  <c:v>2.8495526641976356</c:v>
                </c:pt>
                <c:pt idx="50">
                  <c:v>2.440261843910239</c:v>
                </c:pt>
                <c:pt idx="51">
                  <c:v>2.519727276838578</c:v>
                </c:pt>
                <c:pt idx="52">
                  <c:v>2.7638241398060273</c:v>
                </c:pt>
                <c:pt idx="53">
                  <c:v>2.7627448145736895</c:v>
                </c:pt>
              </c:numCache>
            </c:numRef>
          </c:xVal>
          <c:yVal>
            <c:numRef>
              <c:f>Sheet1!$B$2:$B$55</c:f>
              <c:numCache>
                <c:formatCode>General</c:formatCode>
                <c:ptCount val="54"/>
                <c:pt idx="0">
                  <c:v>0.0</c:v>
                </c:pt>
                <c:pt idx="1">
                  <c:v>3.0490593651858403e-05</c:v>
                </c:pt>
                <c:pt idx="2">
                  <c:v>0.0</c:v>
                </c:pt>
                <c:pt idx="3">
                  <c:v>4.098360655737705e-05</c:v>
                </c:pt>
                <c:pt idx="4">
                  <c:v>4.1983290650321174e-05</c:v>
                </c:pt>
                <c:pt idx="5">
                  <c:v>8.710422019946867e-05</c:v>
                </c:pt>
                <c:pt idx="6">
                  <c:v>7.334873656801261e-05</c:v>
                </c:pt>
                <c:pt idx="7">
                  <c:v>0.00010172250101722501</c:v>
                </c:pt>
                <c:pt idx="8">
                  <c:v>0.00013319717621986413</c:v>
                </c:pt>
                <c:pt idx="9">
                  <c:v>0.0002985594506506108</c:v>
                </c:pt>
                <c:pt idx="10">
                  <c:v>0.000343300490919702</c:v>
                </c:pt>
                <c:pt idx="11">
                  <c:v>0.0002573422974233602</c:v>
                </c:pt>
                <c:pt idx="12">
                  <c:v>0.0003287998804364071</c:v>
                </c:pt>
                <c:pt idx="13">
                  <c:v>0.00032409180636987716</c:v>
                </c:pt>
                <c:pt idx="14">
                  <c:v>0.0003517523663341008</c:v>
                </c:pt>
                <c:pt idx="15">
                  <c:v>0.0003256056264652253</c:v>
                </c:pt>
                <c:pt idx="16">
                  <c:v>0.0003461884650003462</c:v>
                </c:pt>
                <c:pt idx="17">
                  <c:v>0.0005456453305351522</c:v>
                </c:pt>
                <c:pt idx="18">
                  <c:v>0.0006545930613135501</c:v>
                </c:pt>
                <c:pt idx="19">
                  <c:v>0.00041851948731362804</c:v>
                </c:pt>
                <c:pt idx="20">
                  <c:v>0.0005812263876780006</c:v>
                </c:pt>
                <c:pt idx="21">
                  <c:v>0.0005997491957908511</c:v>
                </c:pt>
                <c:pt idx="22">
                  <c:v>0.0008912126433367002</c:v>
                </c:pt>
                <c:pt idx="23">
                  <c:v>0.0008319929003272505</c:v>
                </c:pt>
                <c:pt idx="24">
                  <c:v>0.0007712082262210797</c:v>
                </c:pt>
                <c:pt idx="25">
                  <c:v>0.0011096469935501767</c:v>
                </c:pt>
                <c:pt idx="26">
                  <c:v>0.001448960370933855</c:v>
                </c:pt>
                <c:pt idx="27">
                  <c:v>0.0019232310281272539</c:v>
                </c:pt>
                <c:pt idx="28">
                  <c:v>0.0013378821325841193</c:v>
                </c:pt>
                <c:pt idx="29">
                  <c:v>0.0012786863180563968</c:v>
                </c:pt>
                <c:pt idx="30">
                  <c:v>0.0016978922716627636</c:v>
                </c:pt>
                <c:pt idx="31">
                  <c:v>0.0018280143194455024</c:v>
                </c:pt>
                <c:pt idx="32">
                  <c:v>0.001646161843701265</c:v>
                </c:pt>
                <c:pt idx="33">
                  <c:v>0.0016679834957422526</c:v>
                </c:pt>
                <c:pt idx="34">
                  <c:v>0.0018284321194575652</c:v>
                </c:pt>
                <c:pt idx="35">
                  <c:v>0.0016132749481447338</c:v>
                </c:pt>
                <c:pt idx="36">
                  <c:v>0.0014814001975200263</c:v>
                </c:pt>
                <c:pt idx="37">
                  <c:v>0.002191587133262637</c:v>
                </c:pt>
                <c:pt idx="38">
                  <c:v>0.0028035199750798224</c:v>
                </c:pt>
                <c:pt idx="39">
                  <c:v>0.0024772255074316765</c:v>
                </c:pt>
                <c:pt idx="40">
                  <c:v>0.0027209826634533156</c:v>
                </c:pt>
                <c:pt idx="41">
                  <c:v>0.0021604938271604936</c:v>
                </c:pt>
                <c:pt idx="42">
                  <c:v>0.0021921812203142127</c:v>
                </c:pt>
                <c:pt idx="43">
                  <c:v>0.002098564852423504</c:v>
                </c:pt>
                <c:pt idx="44">
                  <c:v>0.0022365805168986083</c:v>
                </c:pt>
                <c:pt idx="45">
                  <c:v>0.002911208151382824</c:v>
                </c:pt>
                <c:pt idx="46">
                  <c:v>0.0034041028397384216</c:v>
                </c:pt>
                <c:pt idx="47">
                  <c:v>0.0032136154459212795</c:v>
                </c:pt>
                <c:pt idx="48">
                  <c:v>0.002910157104721894</c:v>
                </c:pt>
                <c:pt idx="49">
                  <c:v>0.0022968516726002003</c:v>
                </c:pt>
                <c:pt idx="50">
                  <c:v>0.0032512371964552884</c:v>
                </c:pt>
                <c:pt idx="51">
                  <c:v>0.002970982052012535</c:v>
                </c:pt>
                <c:pt idx="52">
                  <c:v>0.0025500265627766954</c:v>
                </c:pt>
                <c:pt idx="53">
                  <c:v>0.002119003220884896</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2.7655905971123307</c:v>
                </c:pt>
                <c:pt idx="1">
                  <c:v>2.203858453046008</c:v>
                </c:pt>
                <c:pt idx="2">
                  <c:v>2.6014848610762993</c:v>
                </c:pt>
                <c:pt idx="3">
                  <c:v>2.1099292847572197</c:v>
                </c:pt>
                <c:pt idx="4">
                  <c:v>2.585422555135484</c:v>
                </c:pt>
                <c:pt idx="5">
                  <c:v>2.849730603093031</c:v>
                </c:pt>
                <c:pt idx="6">
                  <c:v>2.8773306029924006</c:v>
                </c:pt>
                <c:pt idx="7">
                  <c:v>2.5883973411688688</c:v>
                </c:pt>
                <c:pt idx="8">
                  <c:v>2.471553256289272</c:v>
                </c:pt>
                <c:pt idx="9">
                  <c:v>2.5050041364198843</c:v>
                </c:pt>
                <c:pt idx="10">
                  <c:v>2.6418648860089022</c:v>
                </c:pt>
                <c:pt idx="11">
                  <c:v>2.7022300740862675</c:v>
                </c:pt>
                <c:pt idx="12">
                  <c:v>2.5255277692562053</c:v>
                </c:pt>
                <c:pt idx="13">
                  <c:v>2.070975072339683</c:v>
                </c:pt>
                <c:pt idx="14">
                  <c:v>2.0590797415007347</c:v>
                </c:pt>
                <c:pt idx="15">
                  <c:v>2.1588588076364355</c:v>
                </c:pt>
                <c:pt idx="16">
                  <c:v>2.229981378636009</c:v>
                </c:pt>
                <c:pt idx="17">
                  <c:v>1.744739039854277</c:v>
                </c:pt>
                <c:pt idx="18">
                  <c:v>2.4924182446373075</c:v>
                </c:pt>
                <c:pt idx="19">
                  <c:v>2.4595631793303476</c:v>
                </c:pt>
                <c:pt idx="20">
                  <c:v>2.210607072281331</c:v>
                </c:pt>
                <c:pt idx="21">
                  <c:v>2.0571365157606802</c:v>
                </c:pt>
                <c:pt idx="22">
                  <c:v>2.1619156968284643</c:v>
                </c:pt>
                <c:pt idx="23">
                  <c:v>1.677592823008279</c:v>
                </c:pt>
                <c:pt idx="24">
                  <c:v>2.1714876786349286</c:v>
                </c:pt>
                <c:pt idx="25">
                  <c:v>2.1598541291043913</c:v>
                </c:pt>
                <c:pt idx="26">
                  <c:v>2.2301978229874586</c:v>
                </c:pt>
                <c:pt idx="27">
                  <c:v>2.124958777690431</c:v>
                </c:pt>
                <c:pt idx="28">
                  <c:v>2.193670626815762</c:v>
                </c:pt>
                <c:pt idx="29">
                  <c:v>1.9689485106946523</c:v>
                </c:pt>
                <c:pt idx="30">
                  <c:v>1.941910287159405</c:v>
                </c:pt>
                <c:pt idx="31">
                  <c:v>2.06048842544492</c:v>
                </c:pt>
                <c:pt idx="32">
                  <c:v>2.3143453804103022</c:v>
                </c:pt>
                <c:pt idx="33">
                  <c:v>2.616621216768203</c:v>
                </c:pt>
                <c:pt idx="34">
                  <c:v>2.732061541202814</c:v>
                </c:pt>
                <c:pt idx="35">
                  <c:v>2.1749783837756294</c:v>
                </c:pt>
                <c:pt idx="36">
                  <c:v>2.121586746001389</c:v>
                </c:pt>
                <c:pt idx="37">
                  <c:v>2.0979838530781985</c:v>
                </c:pt>
                <c:pt idx="38">
                  <c:v>1.8212119884304367</c:v>
                </c:pt>
                <c:pt idx="39">
                  <c:v>1.7710272991587885</c:v>
                </c:pt>
                <c:pt idx="40">
                  <c:v>1.809383638515179</c:v>
                </c:pt>
                <c:pt idx="41">
                  <c:v>1.9236014100927878</c:v>
                </c:pt>
                <c:pt idx="42">
                  <c:v>1.7829404061639982</c:v>
                </c:pt>
                <c:pt idx="43">
                  <c:v>2.002862066984346</c:v>
                </c:pt>
                <c:pt idx="44">
                  <c:v>2.638215172497783</c:v>
                </c:pt>
                <c:pt idx="45">
                  <c:v>2.803402484278291</c:v>
                </c:pt>
                <c:pt idx="46">
                  <c:v>2.6527957626162446</c:v>
                </c:pt>
                <c:pt idx="47">
                  <c:v>2.705163659176425</c:v>
                </c:pt>
                <c:pt idx="48">
                  <c:v>2.561346588301928</c:v>
                </c:pt>
                <c:pt idx="49">
                  <c:v>2.7449211485766765</c:v>
                </c:pt>
                <c:pt idx="50">
                  <c:v>3.0035261763824823</c:v>
                </c:pt>
                <c:pt idx="51">
                  <c:v>3.0523762007753032</c:v>
                </c:pt>
              </c:numCache>
            </c:numRef>
          </c:xVal>
          <c:yVal>
            <c:numRef>
              <c:f>Sheet1!$B$58:$B$109</c:f>
              <c:numCache>
                <c:formatCode>General</c:formatCode>
                <c:ptCount val="52"/>
                <c:pt idx="0">
                  <c:v>0.0020664262097986174</c:v>
                </c:pt>
                <c:pt idx="1">
                  <c:v>0.002584287531806616</c:v>
                </c:pt>
                <c:pt idx="2">
                  <c:v>0.0023189627911879415</c:v>
                </c:pt>
                <c:pt idx="3">
                  <c:v>0.0025944076102623233</c:v>
                </c:pt>
                <c:pt idx="4">
                  <c:v>0.002422018348623853</c:v>
                </c:pt>
                <c:pt idx="5">
                  <c:v>0.002150050922258685</c:v>
                </c:pt>
                <c:pt idx="6">
                  <c:v>0.0022295812977474673</c:v>
                </c:pt>
                <c:pt idx="7">
                  <c:v>0.002686126158391906</c:v>
                </c:pt>
                <c:pt idx="8">
                  <c:v>0.0032404406999351912</c:v>
                </c:pt>
                <c:pt idx="9">
                  <c:v>0.0032582258730668623</c:v>
                </c:pt>
                <c:pt idx="10">
                  <c:v>0.003072538629380594</c:v>
                </c:pt>
                <c:pt idx="11">
                  <c:v>0.0030858306292549467</c:v>
                </c:pt>
                <c:pt idx="12">
                  <c:v>0.0032995875515560557</c:v>
                </c:pt>
                <c:pt idx="13">
                  <c:v>0.0049600774255988385</c:v>
                </c:pt>
                <c:pt idx="14">
                  <c:v>0.004908680847300225</c:v>
                </c:pt>
                <c:pt idx="15">
                  <c:v>0.004736615472943878</c:v>
                </c:pt>
                <c:pt idx="16">
                  <c:v>0.0046569741026806</c:v>
                </c:pt>
                <c:pt idx="17">
                  <c:v>0.006199217574480891</c:v>
                </c:pt>
                <c:pt idx="18">
                  <c:v>0.0032564262454098246</c:v>
                </c:pt>
                <c:pt idx="19">
                  <c:v>0.00297156750185723</c:v>
                </c:pt>
                <c:pt idx="20">
                  <c:v>0.003695602986650577</c:v>
                </c:pt>
                <c:pt idx="21">
                  <c:v>0.004404098507999281</c:v>
                </c:pt>
                <c:pt idx="22">
                  <c:v>0.003802617615847188</c:v>
                </c:pt>
                <c:pt idx="23">
                  <c:v>0.004168982768204558</c:v>
                </c:pt>
                <c:pt idx="24">
                  <c:v>0.0036658141517476556</c:v>
                </c:pt>
                <c:pt idx="25">
                  <c:v>0.0038516660695091364</c:v>
                </c:pt>
                <c:pt idx="26">
                  <c:v>0.0037310339109526574</c:v>
                </c:pt>
                <c:pt idx="27">
                  <c:v>0.004033764099499514</c:v>
                </c:pt>
                <c:pt idx="28">
                  <c:v>0.003176319524227884</c:v>
                </c:pt>
                <c:pt idx="29">
                  <c:v>0.003818654533636659</c:v>
                </c:pt>
                <c:pt idx="30">
                  <c:v>0.003785011355034065</c:v>
                </c:pt>
                <c:pt idx="31">
                  <c:v>0.004045671131888879</c:v>
                </c:pt>
                <c:pt idx="32">
                  <c:v>0.0033429215579569307</c:v>
                </c:pt>
                <c:pt idx="33">
                  <c:v>0.0026634382566585956</c:v>
                </c:pt>
                <c:pt idx="34">
                  <c:v>0.0026210375352356463</c:v>
                </c:pt>
                <c:pt idx="35">
                  <c:v>0.003599801390268123</c:v>
                </c:pt>
                <c:pt idx="36">
                  <c:v>0.0043179587831207065</c:v>
                </c:pt>
                <c:pt idx="37">
                  <c:v>0.004420475643179206</c:v>
                </c:pt>
                <c:pt idx="38">
                  <c:v>0.0053060823425370935</c:v>
                </c:pt>
                <c:pt idx="39">
                  <c:v>0.004878748744439661</c:v>
                </c:pt>
                <c:pt idx="40">
                  <c:v>0.004401285454799497</c:v>
                </c:pt>
                <c:pt idx="41">
                  <c:v>0.003762872986532876</c:v>
                </c:pt>
                <c:pt idx="42">
                  <c:v>0.004255636852321935</c:v>
                </c:pt>
                <c:pt idx="43">
                  <c:v>0.0032927230819888046</c:v>
                </c:pt>
                <c:pt idx="44">
                  <c:v>0.0023374988762024634</c:v>
                </c:pt>
                <c:pt idx="45">
                  <c:v>0.0018673830428515266</c:v>
                </c:pt>
                <c:pt idx="46">
                  <c:v>0.002054104332997442</c:v>
                </c:pt>
                <c:pt idx="47">
                  <c:v>0.0019132883289411935</c:v>
                </c:pt>
                <c:pt idx="48">
                  <c:v>0.00215801462654358</c:v>
                </c:pt>
                <c:pt idx="49">
                  <c:v>0.0019175188972876834</c:v>
                </c:pt>
                <c:pt idx="50">
                  <c:v>0.0015597399180666742</c:v>
                </c:pt>
                <c:pt idx="51">
                  <c:v>0.0020252480928913794</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2.059823078809721</c:v>
                </c:pt>
              </c:numCache>
            </c:numRef>
          </c:xVal>
          <c:yVal>
            <c:numRef>
              <c:f>Sheet1!$B$112:$B$113</c:f>
              <c:numCache>
                <c:formatCode>General</c:formatCode>
                <c:ptCount val="2"/>
                <c:pt idx="0">
                  <c:v>0.004038880257552293</c:v>
                </c:pt>
                <c:pt idx="1">
                  <c:v>0.004038880257552293</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2.059823078809721</c:v>
                </c:pt>
                <c:pt idx="1">
                  <c:v>2.059823078809721</c:v>
                </c:pt>
              </c:numCache>
            </c:numRef>
          </c:xVal>
          <c:yVal>
            <c:numRef>
              <c:f>Sheet1!$B$116:$B$117</c:f>
              <c:numCache>
                <c:formatCode>General</c:formatCode>
                <c:ptCount val="2"/>
                <c:pt idx="0">
                  <c:v>0.00403888025755229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2.059823078809721</c:v>
                </c:pt>
              </c:numCache>
            </c:numRef>
          </c:xVal>
          <c:yVal>
            <c:numRef>
              <c:f>Sheet1!$B$120:$B$121</c:f>
              <c:numCache>
                <c:formatCode>General</c:formatCode>
                <c:ptCount val="2"/>
                <c:pt idx="0">
                  <c:v>0.004038880257552293</c:v>
                </c:pt>
                <c:pt idx="1">
                  <c:v>0.004038880257552293</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2.059823078809721</c:v>
                </c:pt>
                <c:pt idx="1">
                  <c:v>2.059823078809721</c:v>
                </c:pt>
              </c:numCache>
            </c:numRef>
          </c:xVal>
          <c:yVal>
            <c:numRef>
              <c:f>Sheet1!$B$124:$B$125</c:f>
              <c:numCache>
                <c:formatCode>General</c:formatCode>
                <c:ptCount val="2"/>
                <c:pt idx="0">
                  <c:v>0.00403888025755229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2.556156375453337</c:v>
                </c:pt>
              </c:numCache>
            </c:numRef>
          </c:xVal>
          <c:yVal>
            <c:numRef>
              <c:f>Sheet1!$B$128:$B$129</c:f>
              <c:numCache>
                <c:formatCode>General</c:formatCode>
                <c:ptCount val="2"/>
                <c:pt idx="0">
                  <c:v>0.00280185101814344</c:v>
                </c:pt>
                <c:pt idx="1">
                  <c:v>0.00280185101814344</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2.556156375453337</c:v>
                </c:pt>
                <c:pt idx="1">
                  <c:v>2.556156375453337</c:v>
                </c:pt>
              </c:numCache>
            </c:numRef>
          </c:xVal>
          <c:yVal>
            <c:numRef>
              <c:f>Sheet1!$B$132:$B$133</c:f>
              <c:numCache>
                <c:formatCode>General</c:formatCode>
                <c:ptCount val="2"/>
                <c:pt idx="0">
                  <c:v>0.0028018510181434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2.7655905971123307</c:v>
                </c:pt>
                <c:pt idx="1">
                  <c:v>2.203858453046008</c:v>
                </c:pt>
                <c:pt idx="2">
                  <c:v>2.6014848610762993</c:v>
                </c:pt>
                <c:pt idx="3">
                  <c:v>2.1099292847572197</c:v>
                </c:pt>
                <c:pt idx="4">
                  <c:v>2.585422555135484</c:v>
                </c:pt>
                <c:pt idx="5">
                  <c:v>2.849730603093031</c:v>
                </c:pt>
                <c:pt idx="6">
                  <c:v>2.8773306029924006</c:v>
                </c:pt>
                <c:pt idx="7">
                  <c:v>2.5883973411688688</c:v>
                </c:pt>
                <c:pt idx="8">
                  <c:v>2.471553256289272</c:v>
                </c:pt>
                <c:pt idx="9">
                  <c:v>2.5050041364198843</c:v>
                </c:pt>
                <c:pt idx="10">
                  <c:v>2.6418648860089022</c:v>
                </c:pt>
                <c:pt idx="11">
                  <c:v>2.7022300740862675</c:v>
                </c:pt>
                <c:pt idx="12">
                  <c:v>2.5255277692562053</c:v>
                </c:pt>
                <c:pt idx="13">
                  <c:v>2.070975072339683</c:v>
                </c:pt>
                <c:pt idx="14">
                  <c:v>2.0590797415007347</c:v>
                </c:pt>
                <c:pt idx="15">
                  <c:v>2.1588588076364355</c:v>
                </c:pt>
                <c:pt idx="16">
                  <c:v>2.229981378636009</c:v>
                </c:pt>
                <c:pt idx="17">
                  <c:v>1.744739039854277</c:v>
                </c:pt>
                <c:pt idx="18">
                  <c:v>2.4924182446373075</c:v>
                </c:pt>
                <c:pt idx="19">
                  <c:v>2.4595631793303476</c:v>
                </c:pt>
                <c:pt idx="20">
                  <c:v>2.210607072281331</c:v>
                </c:pt>
                <c:pt idx="21">
                  <c:v>2.0571365157606802</c:v>
                </c:pt>
                <c:pt idx="22">
                  <c:v>2.1619156968284643</c:v>
                </c:pt>
                <c:pt idx="23">
                  <c:v>1.677592823008279</c:v>
                </c:pt>
                <c:pt idx="24">
                  <c:v>2.1714876786349286</c:v>
                </c:pt>
                <c:pt idx="25">
                  <c:v>2.1598541291043913</c:v>
                </c:pt>
                <c:pt idx="26">
                  <c:v>2.2301978229874586</c:v>
                </c:pt>
                <c:pt idx="27">
                  <c:v>2.124958777690431</c:v>
                </c:pt>
                <c:pt idx="28">
                  <c:v>2.193670626815762</c:v>
                </c:pt>
                <c:pt idx="29">
                  <c:v>1.9689485106946523</c:v>
                </c:pt>
                <c:pt idx="30">
                  <c:v>1.941910287159405</c:v>
                </c:pt>
                <c:pt idx="31">
                  <c:v>2.06048842544492</c:v>
                </c:pt>
                <c:pt idx="32">
                  <c:v>2.3143453804103022</c:v>
                </c:pt>
                <c:pt idx="33">
                  <c:v>2.616621216768203</c:v>
                </c:pt>
                <c:pt idx="34">
                  <c:v>2.732061541202814</c:v>
                </c:pt>
                <c:pt idx="35">
                  <c:v>2.1749783837756294</c:v>
                </c:pt>
                <c:pt idx="36">
                  <c:v>2.121586746001389</c:v>
                </c:pt>
                <c:pt idx="37">
                  <c:v>2.0979838530781985</c:v>
                </c:pt>
                <c:pt idx="38">
                  <c:v>1.8212119884304367</c:v>
                </c:pt>
                <c:pt idx="39">
                  <c:v>1.7710272991587885</c:v>
                </c:pt>
                <c:pt idx="40">
                  <c:v>1.809383638515179</c:v>
                </c:pt>
                <c:pt idx="41">
                  <c:v>1.9236014100927878</c:v>
                </c:pt>
                <c:pt idx="42">
                  <c:v>1.7829404061639982</c:v>
                </c:pt>
                <c:pt idx="43">
                  <c:v>2.002862066984346</c:v>
                </c:pt>
                <c:pt idx="44">
                  <c:v>2.638215172497783</c:v>
                </c:pt>
                <c:pt idx="45">
                  <c:v>2.803402484278291</c:v>
                </c:pt>
                <c:pt idx="46">
                  <c:v>2.6527957626162446</c:v>
                </c:pt>
                <c:pt idx="47">
                  <c:v>2.705163659176425</c:v>
                </c:pt>
                <c:pt idx="48">
                  <c:v>2.561346588301928</c:v>
                </c:pt>
                <c:pt idx="49">
                  <c:v>2.7449211485766765</c:v>
                </c:pt>
                <c:pt idx="50">
                  <c:v>3.0035261763824823</c:v>
                </c:pt>
                <c:pt idx="51">
                  <c:v>3.0523762007753032</c:v>
                </c:pt>
                <c:pt idx="52">
                  <c:v>2.059823078809721</c:v>
                </c:pt>
                <c:pt idx="53">
                  <c:v>2.059823078809721</c:v>
                </c:pt>
                <c:pt idx="54">
                  <c:v>2.556156375453337</c:v>
                </c:pt>
              </c:numCache>
            </c:numRef>
          </c:xVal>
          <c:yVal>
            <c:numRef>
              <c:f>Sheet1!$B$136:$B$190</c:f>
              <c:numCache>
                <c:formatCode>General</c:formatCode>
                <c:ptCount val="55"/>
                <c:pt idx="0">
                  <c:v>0.002279870611676703</c:v>
                </c:pt>
                <c:pt idx="1">
                  <c:v>0.003679895739196636</c:v>
                </c:pt>
                <c:pt idx="2">
                  <c:v>0.0026888772110809046</c:v>
                </c:pt>
                <c:pt idx="3">
                  <c:v>0.003913998767126307</c:v>
                </c:pt>
                <c:pt idx="4">
                  <c:v>0.0027289098710605673</c:v>
                </c:pt>
                <c:pt idx="5">
                  <c:v>0.002070165463329789</c:v>
                </c:pt>
                <c:pt idx="6">
                  <c:v>0.0020013769957535014</c:v>
                </c:pt>
                <c:pt idx="7">
                  <c:v>0.002721495705359481</c:v>
                </c:pt>
                <c:pt idx="8">
                  <c:v>0.003012710400052461</c:v>
                </c:pt>
                <c:pt idx="9">
                  <c:v>0.0029293395742679487</c:v>
                </c:pt>
                <c:pt idx="10">
                  <c:v>0.0025882366297064995</c:v>
                </c:pt>
                <c:pt idx="11">
                  <c:v>0.0024377863109406933</c:v>
                </c:pt>
                <c:pt idx="12">
                  <c:v>0.002878187789591994</c:v>
                </c:pt>
                <c:pt idx="13">
                  <c:v>0.00401108574493839</c:v>
                </c:pt>
                <c:pt idx="14">
                  <c:v>0.004040732903732144</c:v>
                </c:pt>
                <c:pt idx="15">
                  <c:v>0.003792049966025875</c:v>
                </c:pt>
                <c:pt idx="16">
                  <c:v>0.003614788636787313</c:v>
                </c:pt>
                <c:pt idx="17">
                  <c:v>0.004824175484962332</c:v>
                </c:pt>
                <c:pt idx="18">
                  <c:v>0.002960707842817262</c:v>
                </c:pt>
                <c:pt idx="19">
                  <c:v>0.0030425936979920753</c:v>
                </c:pt>
                <c:pt idx="20">
                  <c:v>0.003663075913937712</c:v>
                </c:pt>
                <c:pt idx="21">
                  <c:v>0.004045576074793757</c:v>
                </c:pt>
                <c:pt idx="22">
                  <c:v>0.003784431171683959</c:v>
                </c:pt>
                <c:pt idx="23">
                  <c:v>0.004991526404426894</c:v>
                </c:pt>
                <c:pt idx="24">
                  <c:v>0.0037605745788384702</c:v>
                </c:pt>
                <c:pt idx="25">
                  <c:v>0.0037895692907079</c:v>
                </c:pt>
                <c:pt idx="26">
                  <c:v>0.0036142491847834706</c:v>
                </c:pt>
                <c:pt idx="27">
                  <c:v>0.0038765402239707373</c:v>
                </c:pt>
                <c:pt idx="28">
                  <c:v>0.0037052872231411035</c:v>
                </c:pt>
                <c:pt idx="29">
                  <c:v>0.0042653701961423065</c:v>
                </c:pt>
                <c:pt idx="30">
                  <c:v>0.004332758528379847</c:v>
                </c:pt>
                <c:pt idx="31">
                  <c:v>0.004037221990320074</c:v>
                </c:pt>
                <c:pt idx="32">
                  <c:v>0.0034045252157070315</c:v>
                </c:pt>
                <c:pt idx="33">
                  <c:v>0.0026511523300471384</c:v>
                </c:pt>
                <c:pt idx="34">
                  <c:v>0.002363436277752957</c:v>
                </c:pt>
                <c:pt idx="35">
                  <c:v>0.0037518745694810444</c:v>
                </c:pt>
                <c:pt idx="36">
                  <c:v>0.003884944459237173</c:v>
                </c:pt>
                <c:pt idx="37">
                  <c:v>0.003943770794036927</c:v>
                </c:pt>
                <c:pt idx="38">
                  <c:v>0.0046335792181951534</c:v>
                </c:pt>
                <c:pt idx="39">
                  <c:v>0.004758656315418901</c:v>
                </c:pt>
                <c:pt idx="40">
                  <c:v>0.004663059438035491</c:v>
                </c:pt>
                <c:pt idx="41">
                  <c:v>0.004378390397983005</c:v>
                </c:pt>
                <c:pt idx="42">
                  <c:v>0.00472896485244975</c:v>
                </c:pt>
                <c:pt idx="43">
                  <c:v>0.004180846226006948</c:v>
                </c:pt>
                <c:pt idx="44">
                  <c:v>0.002597332941316563</c:v>
                </c:pt>
                <c:pt idx="45">
                  <c:v>0.002185630691973902</c:v>
                </c:pt>
                <c:pt idx="46">
                  <c:v>0.0025609932147128006</c:v>
                </c:pt>
                <c:pt idx="47">
                  <c:v>0.0024304748318250283</c:v>
                </c:pt>
                <c:pt idx="48">
                  <c:v>0.0027889152648988367</c:v>
                </c:pt>
                <c:pt idx="49">
                  <c:v>0.0023313858180389717</c:v>
                </c:pt>
                <c:pt idx="50">
                  <c:v>0.0016868552515482416</c:v>
                </c:pt>
                <c:pt idx="51">
                  <c:v>0.0015651045873707678</c:v>
                </c:pt>
                <c:pt idx="52">
                  <c:v>0.004038880257552293</c:v>
                </c:pt>
                <c:pt idx="53">
                  <c:v>0.004038880257552293</c:v>
                </c:pt>
                <c:pt idx="54">
                  <c:v>0.0028018510181434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439061089377068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3.0490593651858403e-05</c:v>
                </c:pt>
                <c:pt idx="2">
                  <c:v>0.0</c:v>
                </c:pt>
                <c:pt idx="3">
                  <c:v>4.098360655737705e-05</c:v>
                </c:pt>
                <c:pt idx="4">
                  <c:v>4.1983290650321174e-05</c:v>
                </c:pt>
                <c:pt idx="5">
                  <c:v>8.710422019946867e-05</c:v>
                </c:pt>
                <c:pt idx="6">
                  <c:v>7.334873656801261e-05</c:v>
                </c:pt>
                <c:pt idx="7">
                  <c:v>0.00010172250101722501</c:v>
                </c:pt>
                <c:pt idx="8">
                  <c:v>0.00013319717621986413</c:v>
                </c:pt>
                <c:pt idx="9">
                  <c:v>0.0002985594506506108</c:v>
                </c:pt>
                <c:pt idx="10">
                  <c:v>0.000343300490919702</c:v>
                </c:pt>
                <c:pt idx="11">
                  <c:v>0.0002573422974233602</c:v>
                </c:pt>
                <c:pt idx="12">
                  <c:v>0.0003287998804364071</c:v>
                </c:pt>
                <c:pt idx="13">
                  <c:v>0.00032409180636987716</c:v>
                </c:pt>
                <c:pt idx="14">
                  <c:v>0.0003517523663341008</c:v>
                </c:pt>
                <c:pt idx="15">
                  <c:v>0.0003256056264652253</c:v>
                </c:pt>
                <c:pt idx="16">
                  <c:v>0.0003461884650003462</c:v>
                </c:pt>
                <c:pt idx="17">
                  <c:v>0.0005456453305351522</c:v>
                </c:pt>
                <c:pt idx="18">
                  <c:v>0.0006545930613135501</c:v>
                </c:pt>
                <c:pt idx="19">
                  <c:v>0.00041851948731362804</c:v>
                </c:pt>
                <c:pt idx="20">
                  <c:v>0.0005812263876780006</c:v>
                </c:pt>
                <c:pt idx="21">
                  <c:v>0.0005997491957908511</c:v>
                </c:pt>
                <c:pt idx="22">
                  <c:v>0.0008912126433367002</c:v>
                </c:pt>
                <c:pt idx="23">
                  <c:v>0.0008319929003272505</c:v>
                </c:pt>
                <c:pt idx="24">
                  <c:v>0.0007712082262210797</c:v>
                </c:pt>
                <c:pt idx="25">
                  <c:v>0.0011096469935501767</c:v>
                </c:pt>
                <c:pt idx="26">
                  <c:v>0.001448960370933855</c:v>
                </c:pt>
                <c:pt idx="27">
                  <c:v>0.0019232310281272539</c:v>
                </c:pt>
                <c:pt idx="28">
                  <c:v>0.0013378821325841193</c:v>
                </c:pt>
                <c:pt idx="29">
                  <c:v>0.0012786863180563968</c:v>
                </c:pt>
                <c:pt idx="30">
                  <c:v>0.0016978922716627636</c:v>
                </c:pt>
                <c:pt idx="31">
                  <c:v>0.0018280143194455024</c:v>
                </c:pt>
                <c:pt idx="32">
                  <c:v>0.001646161843701265</c:v>
                </c:pt>
                <c:pt idx="33">
                  <c:v>0.0016679834957422526</c:v>
                </c:pt>
                <c:pt idx="34">
                  <c:v>0.0018284321194575652</c:v>
                </c:pt>
                <c:pt idx="35">
                  <c:v>0.0016132749481447338</c:v>
                </c:pt>
                <c:pt idx="36">
                  <c:v>0.0014814001975200263</c:v>
                </c:pt>
                <c:pt idx="37">
                  <c:v>0.002191587133262637</c:v>
                </c:pt>
                <c:pt idx="38">
                  <c:v>0.0028035199750798224</c:v>
                </c:pt>
                <c:pt idx="39">
                  <c:v>0.0024772255074316765</c:v>
                </c:pt>
                <c:pt idx="40">
                  <c:v>0.0027209826634533156</c:v>
                </c:pt>
                <c:pt idx="41">
                  <c:v>0.0021604938271604936</c:v>
                </c:pt>
                <c:pt idx="42">
                  <c:v>0.0021921812203142127</c:v>
                </c:pt>
                <c:pt idx="43">
                  <c:v>0.002098564852423504</c:v>
                </c:pt>
                <c:pt idx="44">
                  <c:v>0.0022365805168986083</c:v>
                </c:pt>
                <c:pt idx="45">
                  <c:v>0.002911208151382824</c:v>
                </c:pt>
                <c:pt idx="46">
                  <c:v>0.0034041028397384216</c:v>
                </c:pt>
                <c:pt idx="47">
                  <c:v>0.0032136154459212795</c:v>
                </c:pt>
                <c:pt idx="48">
                  <c:v>0.002910157104721894</c:v>
                </c:pt>
                <c:pt idx="49">
                  <c:v>0.0022968516726002003</c:v>
                </c:pt>
                <c:pt idx="50">
                  <c:v>0.0032512371964552884</c:v>
                </c:pt>
                <c:pt idx="51">
                  <c:v>0.002970982052012535</c:v>
                </c:pt>
                <c:pt idx="52">
                  <c:v>0.0025500265627766954</c:v>
                </c:pt>
                <c:pt idx="53">
                  <c:v>0.002119003220884896</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0664262097986174</c:v>
                </c:pt>
                <c:pt idx="1">
                  <c:v>0.002584287531806616</c:v>
                </c:pt>
                <c:pt idx="2">
                  <c:v>0.0023189627911879415</c:v>
                </c:pt>
                <c:pt idx="3">
                  <c:v>0.0025944076102623233</c:v>
                </c:pt>
                <c:pt idx="4">
                  <c:v>0.002422018348623853</c:v>
                </c:pt>
                <c:pt idx="5">
                  <c:v>0.002150050922258685</c:v>
                </c:pt>
                <c:pt idx="6">
                  <c:v>0.0022295812977474673</c:v>
                </c:pt>
                <c:pt idx="7">
                  <c:v>0.002686126158391906</c:v>
                </c:pt>
                <c:pt idx="8">
                  <c:v>0.0032404406999351912</c:v>
                </c:pt>
                <c:pt idx="9">
                  <c:v>0.0032582258730668623</c:v>
                </c:pt>
                <c:pt idx="10">
                  <c:v>0.003072538629380594</c:v>
                </c:pt>
                <c:pt idx="11">
                  <c:v>0.0030858306292549467</c:v>
                </c:pt>
                <c:pt idx="12">
                  <c:v>0.0032995875515560557</c:v>
                </c:pt>
                <c:pt idx="13">
                  <c:v>0.0049600774255988385</c:v>
                </c:pt>
                <c:pt idx="14">
                  <c:v>0.004908680847300225</c:v>
                </c:pt>
                <c:pt idx="15">
                  <c:v>0.004736615472943878</c:v>
                </c:pt>
                <c:pt idx="16">
                  <c:v>0.0046569741026806</c:v>
                </c:pt>
                <c:pt idx="17">
                  <c:v>0.006199217574480891</c:v>
                </c:pt>
                <c:pt idx="18">
                  <c:v>0.0032564262454098246</c:v>
                </c:pt>
                <c:pt idx="19">
                  <c:v>0.00297156750185723</c:v>
                </c:pt>
                <c:pt idx="20">
                  <c:v>0.003695602986650577</c:v>
                </c:pt>
                <c:pt idx="21">
                  <c:v>0.004404098507999281</c:v>
                </c:pt>
                <c:pt idx="22">
                  <c:v>0.003802617615847188</c:v>
                </c:pt>
                <c:pt idx="23">
                  <c:v>0.004168982768204558</c:v>
                </c:pt>
                <c:pt idx="24">
                  <c:v>0.0036658141517476556</c:v>
                </c:pt>
                <c:pt idx="25">
                  <c:v>0.0038516660695091364</c:v>
                </c:pt>
                <c:pt idx="26">
                  <c:v>0.0037310339109526574</c:v>
                </c:pt>
                <c:pt idx="27">
                  <c:v>0.004033764099499514</c:v>
                </c:pt>
                <c:pt idx="28">
                  <c:v>0.003176319524227884</c:v>
                </c:pt>
                <c:pt idx="29">
                  <c:v>0.003818654533636659</c:v>
                </c:pt>
                <c:pt idx="30">
                  <c:v>0.003785011355034065</c:v>
                </c:pt>
                <c:pt idx="31">
                  <c:v>0.004045671131888879</c:v>
                </c:pt>
                <c:pt idx="32">
                  <c:v>0.0033429215579569307</c:v>
                </c:pt>
                <c:pt idx="33">
                  <c:v>0.0026634382566585956</c:v>
                </c:pt>
                <c:pt idx="34">
                  <c:v>0.0026210375352356463</c:v>
                </c:pt>
                <c:pt idx="35">
                  <c:v>0.003599801390268123</c:v>
                </c:pt>
                <c:pt idx="36">
                  <c:v>0.0043179587831207065</c:v>
                </c:pt>
                <c:pt idx="37">
                  <c:v>0.004420475643179206</c:v>
                </c:pt>
                <c:pt idx="38">
                  <c:v>0.0053060823425370935</c:v>
                </c:pt>
                <c:pt idx="39">
                  <c:v>0.004878748744439661</c:v>
                </c:pt>
                <c:pt idx="40">
                  <c:v>0.004401285454799497</c:v>
                </c:pt>
                <c:pt idx="41">
                  <c:v>0.003762872986532876</c:v>
                </c:pt>
                <c:pt idx="42">
                  <c:v>0.004255636852321935</c:v>
                </c:pt>
                <c:pt idx="43">
                  <c:v>0.0032927230819888046</c:v>
                </c:pt>
                <c:pt idx="44">
                  <c:v>0.0023374988762024634</c:v>
                </c:pt>
                <c:pt idx="45">
                  <c:v>0.0018673830428515266</c:v>
                </c:pt>
                <c:pt idx="46">
                  <c:v>0.002054104332997442</c:v>
                </c:pt>
                <c:pt idx="47">
                  <c:v>0.0019132883289411935</c:v>
                </c:pt>
                <c:pt idx="48">
                  <c:v>0.00215801462654358</c:v>
                </c:pt>
                <c:pt idx="49">
                  <c:v>0.0019175188972876834</c:v>
                </c:pt>
                <c:pt idx="50">
                  <c:v>0.0015597399180666742</c:v>
                </c:pt>
                <c:pt idx="51">
                  <c:v>0.0020252480928913794</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505.561180138525</c:v>
                </c:pt>
              </c:numCache>
            </c:numRef>
          </c:xVal>
          <c:yVal>
            <c:numRef>
              <c:f>Sheet1!$B$112:$B$113</c:f>
              <c:numCache>
                <c:formatCode>General</c:formatCode>
                <c:ptCount val="2"/>
                <c:pt idx="0">
                  <c:v>0.004038880257552293</c:v>
                </c:pt>
                <c:pt idx="1">
                  <c:v>0.004038880257552293</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505.561180138525</c:v>
                </c:pt>
                <c:pt idx="1">
                  <c:v>3505.561180138525</c:v>
                </c:pt>
              </c:numCache>
            </c:numRef>
          </c:xVal>
          <c:yVal>
            <c:numRef>
              <c:f>Sheet1!$B$116:$B$117</c:f>
              <c:numCache>
                <c:formatCode>General</c:formatCode>
                <c:ptCount val="2"/>
                <c:pt idx="0">
                  <c:v>0.00403888025755229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505.561180138525</c:v>
                </c:pt>
              </c:numCache>
            </c:numRef>
          </c:xVal>
          <c:yVal>
            <c:numRef>
              <c:f>Sheet1!$B$120:$B$121</c:f>
              <c:numCache>
                <c:formatCode>General</c:formatCode>
                <c:ptCount val="2"/>
                <c:pt idx="0">
                  <c:v>0.004038880257552293</c:v>
                </c:pt>
                <c:pt idx="1">
                  <c:v>0.004038880257552293</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505.561180138525</c:v>
                </c:pt>
                <c:pt idx="1">
                  <c:v>3505.561180138525</c:v>
                </c:pt>
              </c:numCache>
            </c:numRef>
          </c:xVal>
          <c:yVal>
            <c:numRef>
              <c:f>Sheet1!$B$124:$B$125</c:f>
              <c:numCache>
                <c:formatCode>General</c:formatCode>
                <c:ptCount val="2"/>
                <c:pt idx="0">
                  <c:v>0.00403888025755229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52.77177164404</c:v>
                </c:pt>
              </c:numCache>
            </c:numRef>
          </c:xVal>
          <c:yVal>
            <c:numRef>
              <c:f>Sheet1!$B$128:$B$129</c:f>
              <c:numCache>
                <c:formatCode>General</c:formatCode>
                <c:ptCount val="2"/>
                <c:pt idx="0">
                  <c:v>0.00280185101814344</c:v>
                </c:pt>
                <c:pt idx="1">
                  <c:v>0.00280185101814344</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52.77177164404</c:v>
                </c:pt>
                <c:pt idx="1">
                  <c:v>4252.77177164404</c:v>
                </c:pt>
              </c:numCache>
            </c:numRef>
          </c:xVal>
          <c:yVal>
            <c:numRef>
              <c:f>Sheet1!$B$132:$B$133</c:f>
              <c:numCache>
                <c:formatCode>General</c:formatCode>
                <c:ptCount val="2"/>
                <c:pt idx="0">
                  <c:v>0.0028018510181434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505.561180138525</c:v>
                </c:pt>
                <c:pt idx="53">
                  <c:v>3505.561180138525</c:v>
                </c:pt>
                <c:pt idx="54">
                  <c:v>4252.77177164404</c:v>
                </c:pt>
              </c:numCache>
            </c:numRef>
          </c:xVal>
          <c:yVal>
            <c:numRef>
              <c:f>Sheet1!$B$136:$B$190</c:f>
              <c:numCache>
                <c:formatCode>General</c:formatCode>
                <c:ptCount val="55"/>
                <c:pt idx="0">
                  <c:v>0.0025075714823035514</c:v>
                </c:pt>
                <c:pt idx="1">
                  <c:v>0.0036804575731650135</c:v>
                </c:pt>
                <c:pt idx="2">
                  <c:v>0.0026325589992758133</c:v>
                </c:pt>
                <c:pt idx="3">
                  <c:v>0.003815140202484693</c:v>
                </c:pt>
                <c:pt idx="4">
                  <c:v>0.0024354756522326007</c:v>
                </c:pt>
                <c:pt idx="5">
                  <c:v>0.0018283702731750045</c:v>
                </c:pt>
                <c:pt idx="6">
                  <c:v>0.002376708159733211</c:v>
                </c:pt>
                <c:pt idx="7">
                  <c:v>0.002893741306289407</c:v>
                </c:pt>
                <c:pt idx="8">
                  <c:v>0.003101073043666874</c:v>
                </c:pt>
                <c:pt idx="9">
                  <c:v>0.0030985591219941933</c:v>
                </c:pt>
                <c:pt idx="10">
                  <c:v>0.002760276815637332</c:v>
                </c:pt>
                <c:pt idx="11">
                  <c:v>0.0032330543453650117</c:v>
                </c:pt>
                <c:pt idx="12">
                  <c:v>0.0035430751062004145</c:v>
                </c:pt>
                <c:pt idx="13">
                  <c:v>0.004204177900368202</c:v>
                </c:pt>
                <c:pt idx="14">
                  <c:v>0.004221604335870983</c:v>
                </c:pt>
                <c:pt idx="15">
                  <c:v>0.0038518313735398718</c:v>
                </c:pt>
                <c:pt idx="16">
                  <c:v>0.0036431685903772</c:v>
                </c:pt>
                <c:pt idx="17">
                  <c:v>0.005006911747070953</c:v>
                </c:pt>
                <c:pt idx="18">
                  <c:v>0.0030664987982902308</c:v>
                </c:pt>
                <c:pt idx="19">
                  <c:v>0.0026574045250544924</c:v>
                </c:pt>
                <c:pt idx="20">
                  <c:v>0.0030366259258250653</c:v>
                </c:pt>
                <c:pt idx="21">
                  <c:v>0.0035988303626224615</c:v>
                </c:pt>
                <c:pt idx="22">
                  <c:v>0.003232950378107162</c:v>
                </c:pt>
                <c:pt idx="23">
                  <c:v>0.00475566029981748</c:v>
                </c:pt>
                <c:pt idx="24">
                  <c:v>0.0032459636683989683</c:v>
                </c:pt>
                <c:pt idx="25">
                  <c:v>0.0037155180475803564</c:v>
                </c:pt>
                <c:pt idx="26">
                  <c:v>0.0032905166183406975</c:v>
                </c:pt>
                <c:pt idx="27">
                  <c:v>0.0037523297411892207</c:v>
                </c:pt>
                <c:pt idx="28">
                  <c:v>0.0035016565704192957</c:v>
                </c:pt>
                <c:pt idx="29">
                  <c:v>0.0037923957093005476</c:v>
                </c:pt>
                <c:pt idx="30">
                  <c:v>0.003916343553694316</c:v>
                </c:pt>
                <c:pt idx="31">
                  <c:v>0.0036633786333218274</c:v>
                </c:pt>
                <c:pt idx="32">
                  <c:v>0.00285895465646719</c:v>
                </c:pt>
                <c:pt idx="33">
                  <c:v>0.002171619499388551</c:v>
                </c:pt>
                <c:pt idx="34">
                  <c:v>0.0020850662605700274</c:v>
                </c:pt>
                <c:pt idx="35">
                  <c:v>0.003353478063934193</c:v>
                </c:pt>
                <c:pt idx="36">
                  <c:v>0.002849032074354986</c:v>
                </c:pt>
                <c:pt idx="37">
                  <c:v>0.002976694430475456</c:v>
                </c:pt>
                <c:pt idx="38">
                  <c:v>0.003897341716239791</c:v>
                </c:pt>
                <c:pt idx="39">
                  <c:v>0.004573474070179238</c:v>
                </c:pt>
                <c:pt idx="40">
                  <c:v>0.004502017440080512</c:v>
                </c:pt>
                <c:pt idx="41">
                  <c:v>0.004164235434763811</c:v>
                </c:pt>
                <c:pt idx="42">
                  <c:v>0.004423282274167533</c:v>
                </c:pt>
                <c:pt idx="43">
                  <c:v>0.004134698800357072</c:v>
                </c:pt>
                <c:pt idx="44">
                  <c:v>0.0031001052210723077</c:v>
                </c:pt>
                <c:pt idx="45">
                  <c:v>0.0029362101100383568</c:v>
                </c:pt>
                <c:pt idx="46">
                  <c:v>0.003046397854745162</c:v>
                </c:pt>
                <c:pt idx="47">
                  <c:v>0.003109214275947135</c:v>
                </c:pt>
                <c:pt idx="48">
                  <c:v>0.003856045524094899</c:v>
                </c:pt>
                <c:pt idx="49">
                  <c:v>0.0035561787884074844</c:v>
                </c:pt>
                <c:pt idx="50">
                  <c:v>0.0030517374343111137</c:v>
                </c:pt>
                <c:pt idx="51">
                  <c:v>0.0028674460332543793</c:v>
                </c:pt>
                <c:pt idx="52">
                  <c:v>0.004038880257552293</c:v>
                </c:pt>
                <c:pt idx="53">
                  <c:v>0.004038880257552293</c:v>
                </c:pt>
                <c:pt idx="54">
                  <c:v>0.00280185101814343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439061089377068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0.510992239394467</c:v>
                </c:pt>
                <c:pt idx="2">
                  <c:v>0.0</c:v>
                </c:pt>
                <c:pt idx="3">
                  <c:v>0.6982950421227607</c:v>
                </c:pt>
                <c:pt idx="4">
                  <c:v>0.6722223638683953</c:v>
                </c:pt>
                <c:pt idx="5">
                  <c:v>0.49655842984119813</c:v>
                </c:pt>
                <c:pt idx="6">
                  <c:v>0.33875117535234217</c:v>
                </c:pt>
                <c:pt idx="7">
                  <c:v>0.42828827825261145</c:v>
                </c:pt>
                <c:pt idx="8">
                  <c:v>0.5625420532379053</c:v>
                </c:pt>
                <c:pt idx="9">
                  <c:v>0.4516468980059454</c:v>
                </c:pt>
                <c:pt idx="10">
                  <c:v>0.43317466846027813</c:v>
                </c:pt>
                <c:pt idx="11">
                  <c:v>0.6059665039942542</c:v>
                </c:pt>
                <c:pt idx="12">
                  <c:v>0.46892109463790765</c:v>
                </c:pt>
                <c:pt idx="13">
                  <c:v>0.4707102034325302</c:v>
                </c:pt>
                <c:pt idx="14">
                  <c:v>0.3894375229498673</c:v>
                </c:pt>
                <c:pt idx="15">
                  <c:v>0.37490534164385153</c:v>
                </c:pt>
                <c:pt idx="16">
                  <c:v>0.4003537323113037</c:v>
                </c:pt>
                <c:pt idx="17">
                  <c:v>0.2858206559468825</c:v>
                </c:pt>
                <c:pt idx="18">
                  <c:v>0.1868970178940955</c:v>
                </c:pt>
                <c:pt idx="19">
                  <c:v>0.22129348058116702</c:v>
                </c:pt>
                <c:pt idx="20">
                  <c:v>0.2346676816415719</c:v>
                </c:pt>
                <c:pt idx="21">
                  <c:v>0.2319650479378721</c:v>
                </c:pt>
                <c:pt idx="22">
                  <c:v>0.10715093162022274</c:v>
                </c:pt>
                <c:pt idx="23">
                  <c:v>0.15393025025486273</c:v>
                </c:pt>
                <c:pt idx="24">
                  <c:v>0.5543393518109309</c:v>
                </c:pt>
                <c:pt idx="25">
                  <c:v>0.5422870450127838</c:v>
                </c:pt>
                <c:pt idx="26">
                  <c:v>0.5739810679908147</c:v>
                </c:pt>
                <c:pt idx="27">
                  <c:v>0.41187603694362523</c:v>
                </c:pt>
                <c:pt idx="28">
                  <c:v>0.5646656500413118</c:v>
                </c:pt>
                <c:pt idx="29">
                  <c:v>0.5123968856658114</c:v>
                </c:pt>
                <c:pt idx="30">
                  <c:v>0.509860460368835</c:v>
                </c:pt>
                <c:pt idx="31">
                  <c:v>0.5564867314383096</c:v>
                </c:pt>
                <c:pt idx="32">
                  <c:v>0.5554922032343248</c:v>
                </c:pt>
                <c:pt idx="33">
                  <c:v>0.4706344207254132</c:v>
                </c:pt>
                <c:pt idx="34">
                  <c:v>0.47182082656552243</c:v>
                </c:pt>
                <c:pt idx="35">
                  <c:v>0.7034483537502453</c:v>
                </c:pt>
                <c:pt idx="36">
                  <c:v>0.7420189319425182</c:v>
                </c:pt>
                <c:pt idx="37">
                  <c:v>0.5315371930209274</c:v>
                </c:pt>
                <c:pt idx="38">
                  <c:v>0.4769213290829619</c:v>
                </c:pt>
                <c:pt idx="39">
                  <c:v>0.5596616547283598</c:v>
                </c:pt>
                <c:pt idx="40">
                  <c:v>0.5169254008814211</c:v>
                </c:pt>
                <c:pt idx="41">
                  <c:v>0.6360328964677966</c:v>
                </c:pt>
                <c:pt idx="42">
                  <c:v>0.5767067632638548</c:v>
                </c:pt>
                <c:pt idx="43">
                  <c:v>0.6485529720912829</c:v>
                </c:pt>
                <c:pt idx="44">
                  <c:v>0.6257443219861059</c:v>
                </c:pt>
                <c:pt idx="45">
                  <c:v>0.5372693386306497</c:v>
                </c:pt>
                <c:pt idx="46">
                  <c:v>0.5754239909209489</c:v>
                </c:pt>
                <c:pt idx="47">
                  <c:v>0.5724830463500764</c:v>
                </c:pt>
                <c:pt idx="48">
                  <c:v>0.658123404269236</c:v>
                </c:pt>
                <c:pt idx="49">
                  <c:v>0.777776198336495</c:v>
                </c:pt>
                <c:pt idx="50">
                  <c:v>0.6902993240515874</c:v>
                </c:pt>
                <c:pt idx="51">
                  <c:v>0.6695404430213577</c:v>
                </c:pt>
                <c:pt idx="52">
                  <c:v>0.6964784889999195</c:v>
                </c:pt>
                <c:pt idx="53">
                  <c:v>0.7309858375622816</c:v>
                </c:pt>
              </c:numCache>
            </c:numRef>
          </c:xVal>
          <c:yVal>
            <c:numRef>
              <c:f>Sheet1!$B$2:$B$55</c:f>
              <c:numCache>
                <c:formatCode>General</c:formatCode>
                <c:ptCount val="54"/>
                <c:pt idx="0">
                  <c:v>0.0</c:v>
                </c:pt>
                <c:pt idx="1">
                  <c:v>3.0490593651858403e-05</c:v>
                </c:pt>
                <c:pt idx="2">
                  <c:v>0.0</c:v>
                </c:pt>
                <c:pt idx="3">
                  <c:v>4.098360655737705e-05</c:v>
                </c:pt>
                <c:pt idx="4">
                  <c:v>4.1983290650321174e-05</c:v>
                </c:pt>
                <c:pt idx="5">
                  <c:v>8.710422019946867e-05</c:v>
                </c:pt>
                <c:pt idx="6">
                  <c:v>7.334873656801261e-05</c:v>
                </c:pt>
                <c:pt idx="7">
                  <c:v>0.00010172250101722501</c:v>
                </c:pt>
                <c:pt idx="8">
                  <c:v>0.00013319717621986413</c:v>
                </c:pt>
                <c:pt idx="9">
                  <c:v>0.0002985594506506108</c:v>
                </c:pt>
                <c:pt idx="10">
                  <c:v>0.000343300490919702</c:v>
                </c:pt>
                <c:pt idx="11">
                  <c:v>0.0002573422974233602</c:v>
                </c:pt>
                <c:pt idx="12">
                  <c:v>0.0003287998804364071</c:v>
                </c:pt>
                <c:pt idx="13">
                  <c:v>0.00032409180636987716</c:v>
                </c:pt>
                <c:pt idx="14">
                  <c:v>0.0003517523663341008</c:v>
                </c:pt>
                <c:pt idx="15">
                  <c:v>0.0003256056264652253</c:v>
                </c:pt>
                <c:pt idx="16">
                  <c:v>0.0003461884650003462</c:v>
                </c:pt>
                <c:pt idx="17">
                  <c:v>0.0005456453305351522</c:v>
                </c:pt>
                <c:pt idx="18">
                  <c:v>0.0006545930613135501</c:v>
                </c:pt>
                <c:pt idx="19">
                  <c:v>0.00041851948731362804</c:v>
                </c:pt>
                <c:pt idx="20">
                  <c:v>0.0005812263876780006</c:v>
                </c:pt>
                <c:pt idx="21">
                  <c:v>0.0005997491957908511</c:v>
                </c:pt>
                <c:pt idx="22">
                  <c:v>0.0008912126433367002</c:v>
                </c:pt>
                <c:pt idx="23">
                  <c:v>0.0008319929003272505</c:v>
                </c:pt>
                <c:pt idx="24">
                  <c:v>0.0007712082262210797</c:v>
                </c:pt>
                <c:pt idx="25">
                  <c:v>0.0011096469935501767</c:v>
                </c:pt>
                <c:pt idx="26">
                  <c:v>0.001448960370933855</c:v>
                </c:pt>
                <c:pt idx="27">
                  <c:v>0.0019232310281272539</c:v>
                </c:pt>
                <c:pt idx="28">
                  <c:v>0.0013378821325841193</c:v>
                </c:pt>
                <c:pt idx="29">
                  <c:v>0.0012786863180563968</c:v>
                </c:pt>
                <c:pt idx="30">
                  <c:v>0.0016978922716627636</c:v>
                </c:pt>
                <c:pt idx="31">
                  <c:v>0.0018280143194455024</c:v>
                </c:pt>
                <c:pt idx="32">
                  <c:v>0.001646161843701265</c:v>
                </c:pt>
                <c:pt idx="33">
                  <c:v>0.0016679834957422526</c:v>
                </c:pt>
                <c:pt idx="34">
                  <c:v>0.0018284321194575652</c:v>
                </c:pt>
                <c:pt idx="35">
                  <c:v>0.0016132749481447338</c:v>
                </c:pt>
                <c:pt idx="36">
                  <c:v>0.0014814001975200263</c:v>
                </c:pt>
                <c:pt idx="37">
                  <c:v>0.002191587133262637</c:v>
                </c:pt>
                <c:pt idx="38">
                  <c:v>0.0028035199750798224</c:v>
                </c:pt>
                <c:pt idx="39">
                  <c:v>0.0024772255074316765</c:v>
                </c:pt>
                <c:pt idx="40">
                  <c:v>0.0027209826634533156</c:v>
                </c:pt>
                <c:pt idx="41">
                  <c:v>0.0021604938271604936</c:v>
                </c:pt>
                <c:pt idx="42">
                  <c:v>0.0021921812203142127</c:v>
                </c:pt>
                <c:pt idx="43">
                  <c:v>0.002098564852423504</c:v>
                </c:pt>
                <c:pt idx="44">
                  <c:v>0.0022365805168986083</c:v>
                </c:pt>
                <c:pt idx="45">
                  <c:v>0.002911208151382824</c:v>
                </c:pt>
                <c:pt idx="46">
                  <c:v>0.0034041028397384216</c:v>
                </c:pt>
                <c:pt idx="47">
                  <c:v>0.0032136154459212795</c:v>
                </c:pt>
                <c:pt idx="48">
                  <c:v>0.002910157104721894</c:v>
                </c:pt>
                <c:pt idx="49">
                  <c:v>0.0022968516726002003</c:v>
                </c:pt>
                <c:pt idx="50">
                  <c:v>0.0032512371964552884</c:v>
                </c:pt>
                <c:pt idx="51">
                  <c:v>0.002970982052012535</c:v>
                </c:pt>
                <c:pt idx="52">
                  <c:v>0.0025500265627766954</c:v>
                </c:pt>
                <c:pt idx="53">
                  <c:v>0.002119003220884896</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0.8200471824533305</c:v>
                </c:pt>
                <c:pt idx="1">
                  <c:v>0.7174472737974504</c:v>
                </c:pt>
                <c:pt idx="2">
                  <c:v>0.816154931402421</c:v>
                </c:pt>
                <c:pt idx="3">
                  <c:v>0.6717893989782041</c:v>
                </c:pt>
                <c:pt idx="4">
                  <c:v>0.7544364461971145</c:v>
                </c:pt>
                <c:pt idx="5">
                  <c:v>0.8914213217879952</c:v>
                </c:pt>
                <c:pt idx="6">
                  <c:v>0.8446009415962397</c:v>
                </c:pt>
                <c:pt idx="7">
                  <c:v>0.6947736707938821</c:v>
                </c:pt>
                <c:pt idx="8">
                  <c:v>0.7833544893875507</c:v>
                </c:pt>
                <c:pt idx="9">
                  <c:v>0.7613429474760278</c:v>
                </c:pt>
                <c:pt idx="10">
                  <c:v>0.766555956239328</c:v>
                </c:pt>
                <c:pt idx="11">
                  <c:v>0.7406952727042804</c:v>
                </c:pt>
                <c:pt idx="12">
                  <c:v>0.6847116900697604</c:v>
                </c:pt>
                <c:pt idx="13">
                  <c:v>0.602059101051708</c:v>
                </c:pt>
                <c:pt idx="14">
                  <c:v>0.5977168278296656</c:v>
                </c:pt>
                <c:pt idx="15">
                  <c:v>0.6090773450163397</c:v>
                </c:pt>
                <c:pt idx="16">
                  <c:v>0.575369530701084</c:v>
                </c:pt>
                <c:pt idx="17">
                  <c:v>0.43588164295742987</c:v>
                </c:pt>
                <c:pt idx="18">
                  <c:v>0.569486990082358</c:v>
                </c:pt>
                <c:pt idx="19">
                  <c:v>0.6359532222218478</c:v>
                </c:pt>
                <c:pt idx="20">
                  <c:v>0.5490117143515651</c:v>
                </c:pt>
                <c:pt idx="21">
                  <c:v>0.4930240492429066</c:v>
                </c:pt>
                <c:pt idx="22">
                  <c:v>0.51387469440209</c:v>
                </c:pt>
                <c:pt idx="23">
                  <c:v>0.44189703350405324</c:v>
                </c:pt>
                <c:pt idx="24">
                  <c:v>0.5325773310191649</c:v>
                </c:pt>
                <c:pt idx="25">
                  <c:v>0.49494544649788547</c:v>
                </c:pt>
                <c:pt idx="26">
                  <c:v>0.5355449850886121</c:v>
                </c:pt>
                <c:pt idx="27">
                  <c:v>0.5039508029016588</c:v>
                </c:pt>
                <c:pt idx="28">
                  <c:v>0.5646759056819411</c:v>
                </c:pt>
                <c:pt idx="29">
                  <c:v>0.482968750165199</c:v>
                </c:pt>
                <c:pt idx="30">
                  <c:v>0.4718324334374835</c:v>
                </c:pt>
                <c:pt idx="31">
                  <c:v>0.48506893344385515</c:v>
                </c:pt>
                <c:pt idx="32">
                  <c:v>0.5883140007055117</c:v>
                </c:pt>
                <c:pt idx="33">
                  <c:v>0.6768897476236313</c:v>
                </c:pt>
                <c:pt idx="34">
                  <c:v>0.7501615355670261</c:v>
                </c:pt>
                <c:pt idx="35">
                  <c:v>0.5006523374259947</c:v>
                </c:pt>
                <c:pt idx="36">
                  <c:v>0.4562942851112718</c:v>
                </c:pt>
                <c:pt idx="37">
                  <c:v>0.4640881527118102</c:v>
                </c:pt>
                <c:pt idx="38">
                  <c:v>0.4093912044613488</c:v>
                </c:pt>
                <c:pt idx="39">
                  <c:v>0.3972512185219328</c:v>
                </c:pt>
                <c:pt idx="40">
                  <c:v>0.4275415156261007</c:v>
                </c:pt>
                <c:pt idx="41">
                  <c:v>0.45267500482259654</c:v>
                </c:pt>
                <c:pt idx="42">
                  <c:v>0.42587281285970846</c:v>
                </c:pt>
                <c:pt idx="43">
                  <c:v>0.4931257209211285</c:v>
                </c:pt>
                <c:pt idx="44">
                  <c:v>0.6066167778907415</c:v>
                </c:pt>
                <c:pt idx="45">
                  <c:v>0.6524995979764446</c:v>
                </c:pt>
                <c:pt idx="46">
                  <c:v>0.6095580472565648</c:v>
                </c:pt>
                <c:pt idx="47">
                  <c:v>0.5771648247598549</c:v>
                </c:pt>
                <c:pt idx="48">
                  <c:v>0.52944258627081</c:v>
                </c:pt>
                <c:pt idx="49">
                  <c:v>0.6537504229131017</c:v>
                </c:pt>
                <c:pt idx="50">
                  <c:v>0.7818785689211416</c:v>
                </c:pt>
                <c:pt idx="51">
                  <c:v>0.6905966298215692</c:v>
                </c:pt>
              </c:numCache>
            </c:numRef>
          </c:xVal>
          <c:yVal>
            <c:numRef>
              <c:f>Sheet1!$B$58:$B$109</c:f>
              <c:numCache>
                <c:formatCode>General</c:formatCode>
                <c:ptCount val="52"/>
                <c:pt idx="0">
                  <c:v>0.0020664262097986174</c:v>
                </c:pt>
                <c:pt idx="1">
                  <c:v>0.002584287531806616</c:v>
                </c:pt>
                <c:pt idx="2">
                  <c:v>0.0023189627911879415</c:v>
                </c:pt>
                <c:pt idx="3">
                  <c:v>0.0025944076102623233</c:v>
                </c:pt>
                <c:pt idx="4">
                  <c:v>0.002422018348623853</c:v>
                </c:pt>
                <c:pt idx="5">
                  <c:v>0.002150050922258685</c:v>
                </c:pt>
                <c:pt idx="6">
                  <c:v>0.0022295812977474673</c:v>
                </c:pt>
                <c:pt idx="7">
                  <c:v>0.002686126158391906</c:v>
                </c:pt>
                <c:pt idx="8">
                  <c:v>0.0032404406999351912</c:v>
                </c:pt>
                <c:pt idx="9">
                  <c:v>0.0032582258730668623</c:v>
                </c:pt>
                <c:pt idx="10">
                  <c:v>0.003072538629380594</c:v>
                </c:pt>
                <c:pt idx="11">
                  <c:v>0.0030858306292549467</c:v>
                </c:pt>
                <c:pt idx="12">
                  <c:v>0.0032995875515560557</c:v>
                </c:pt>
                <c:pt idx="13">
                  <c:v>0.0049600774255988385</c:v>
                </c:pt>
                <c:pt idx="14">
                  <c:v>0.004908680847300225</c:v>
                </c:pt>
                <c:pt idx="15">
                  <c:v>0.004736615472943878</c:v>
                </c:pt>
                <c:pt idx="16">
                  <c:v>0.0046569741026806</c:v>
                </c:pt>
                <c:pt idx="17">
                  <c:v>0.006199217574480891</c:v>
                </c:pt>
                <c:pt idx="18">
                  <c:v>0.0032564262454098246</c:v>
                </c:pt>
                <c:pt idx="19">
                  <c:v>0.00297156750185723</c:v>
                </c:pt>
                <c:pt idx="20">
                  <c:v>0.003695602986650577</c:v>
                </c:pt>
                <c:pt idx="21">
                  <c:v>0.004404098507999281</c:v>
                </c:pt>
                <c:pt idx="22">
                  <c:v>0.003802617615847188</c:v>
                </c:pt>
                <c:pt idx="23">
                  <c:v>0.004168982768204558</c:v>
                </c:pt>
                <c:pt idx="24">
                  <c:v>0.0036658141517476556</c:v>
                </c:pt>
                <c:pt idx="25">
                  <c:v>0.0038516660695091364</c:v>
                </c:pt>
                <c:pt idx="26">
                  <c:v>0.0037310339109526574</c:v>
                </c:pt>
                <c:pt idx="27">
                  <c:v>0.004033764099499514</c:v>
                </c:pt>
                <c:pt idx="28">
                  <c:v>0.003176319524227884</c:v>
                </c:pt>
                <c:pt idx="29">
                  <c:v>0.003818654533636659</c:v>
                </c:pt>
                <c:pt idx="30">
                  <c:v>0.003785011355034065</c:v>
                </c:pt>
                <c:pt idx="31">
                  <c:v>0.004045671131888879</c:v>
                </c:pt>
                <c:pt idx="32">
                  <c:v>0.0033429215579569307</c:v>
                </c:pt>
                <c:pt idx="33">
                  <c:v>0.0026634382566585956</c:v>
                </c:pt>
                <c:pt idx="34">
                  <c:v>0.0026210375352356463</c:v>
                </c:pt>
                <c:pt idx="35">
                  <c:v>0.003599801390268123</c:v>
                </c:pt>
                <c:pt idx="36">
                  <c:v>0.0043179587831207065</c:v>
                </c:pt>
                <c:pt idx="37">
                  <c:v>0.004420475643179206</c:v>
                </c:pt>
                <c:pt idx="38">
                  <c:v>0.0053060823425370935</c:v>
                </c:pt>
                <c:pt idx="39">
                  <c:v>0.004878748744439661</c:v>
                </c:pt>
                <c:pt idx="40">
                  <c:v>0.004401285454799497</c:v>
                </c:pt>
                <c:pt idx="41">
                  <c:v>0.003762872986532876</c:v>
                </c:pt>
                <c:pt idx="42">
                  <c:v>0.004255636852321935</c:v>
                </c:pt>
                <c:pt idx="43">
                  <c:v>0.0032927230819888046</c:v>
                </c:pt>
                <c:pt idx="44">
                  <c:v>0.0023374988762024634</c:v>
                </c:pt>
                <c:pt idx="45">
                  <c:v>0.0018673830428515266</c:v>
                </c:pt>
                <c:pt idx="46">
                  <c:v>0.002054104332997442</c:v>
                </c:pt>
                <c:pt idx="47">
                  <c:v>0.0019132883289411935</c:v>
                </c:pt>
                <c:pt idx="48">
                  <c:v>0.00215801462654358</c:v>
                </c:pt>
                <c:pt idx="49">
                  <c:v>0.0019175188972876834</c:v>
                </c:pt>
                <c:pt idx="50">
                  <c:v>0.0015597399180666742</c:v>
                </c:pt>
                <c:pt idx="51">
                  <c:v>0.0020252480928913794</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0.4814477998317406</c:v>
                </c:pt>
              </c:numCache>
            </c:numRef>
          </c:xVal>
          <c:yVal>
            <c:numRef>
              <c:f>Sheet1!$B$112:$B$113</c:f>
              <c:numCache>
                <c:formatCode>General</c:formatCode>
                <c:ptCount val="2"/>
                <c:pt idx="0">
                  <c:v>0.004038880257552293</c:v>
                </c:pt>
                <c:pt idx="1">
                  <c:v>0.004038880257552293</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0.4814477998317406</c:v>
                </c:pt>
                <c:pt idx="1">
                  <c:v>0.4814477998317406</c:v>
                </c:pt>
              </c:numCache>
            </c:numRef>
          </c:xVal>
          <c:yVal>
            <c:numRef>
              <c:f>Sheet1!$B$116:$B$117</c:f>
              <c:numCache>
                <c:formatCode>General</c:formatCode>
                <c:ptCount val="2"/>
                <c:pt idx="0">
                  <c:v>0.00403888025755229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0.4814477998317406</c:v>
                </c:pt>
              </c:numCache>
            </c:numRef>
          </c:xVal>
          <c:yVal>
            <c:numRef>
              <c:f>Sheet1!$B$120:$B$121</c:f>
              <c:numCache>
                <c:formatCode>General</c:formatCode>
                <c:ptCount val="2"/>
                <c:pt idx="0">
                  <c:v>0.004038880257552293</c:v>
                </c:pt>
                <c:pt idx="1">
                  <c:v>0.004038880257552293</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0.4814477998317406</c:v>
                </c:pt>
                <c:pt idx="1">
                  <c:v>0.4814477998317406</c:v>
                </c:pt>
              </c:numCache>
            </c:numRef>
          </c:xVal>
          <c:yVal>
            <c:numRef>
              <c:f>Sheet1!$B$124:$B$125</c:f>
              <c:numCache>
                <c:formatCode>General</c:formatCode>
                <c:ptCount val="2"/>
                <c:pt idx="0">
                  <c:v>0.00403888025755229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0.7023161270951508</c:v>
                </c:pt>
              </c:numCache>
            </c:numRef>
          </c:xVal>
          <c:yVal>
            <c:numRef>
              <c:f>Sheet1!$B$128:$B$129</c:f>
              <c:numCache>
                <c:formatCode>General</c:formatCode>
                <c:ptCount val="2"/>
                <c:pt idx="0">
                  <c:v>0.00280185101814344</c:v>
                </c:pt>
                <c:pt idx="1">
                  <c:v>0.00280185101814344</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0.7023161270951508</c:v>
                </c:pt>
                <c:pt idx="1">
                  <c:v>0.7023161270951508</c:v>
                </c:pt>
              </c:numCache>
            </c:numRef>
          </c:xVal>
          <c:yVal>
            <c:numRef>
              <c:f>Sheet1!$B$132:$B$133</c:f>
              <c:numCache>
                <c:formatCode>General</c:formatCode>
                <c:ptCount val="2"/>
                <c:pt idx="0">
                  <c:v>0.0028018510181434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0.8200471824533305</c:v>
                </c:pt>
                <c:pt idx="1">
                  <c:v>0.7174472737974504</c:v>
                </c:pt>
                <c:pt idx="2">
                  <c:v>0.816154931402421</c:v>
                </c:pt>
                <c:pt idx="3">
                  <c:v>0.6717893989782041</c:v>
                </c:pt>
                <c:pt idx="4">
                  <c:v>0.7544364461971145</c:v>
                </c:pt>
                <c:pt idx="5">
                  <c:v>0.8914213217879952</c:v>
                </c:pt>
                <c:pt idx="6">
                  <c:v>0.8446009415962397</c:v>
                </c:pt>
                <c:pt idx="7">
                  <c:v>0.6947736707938821</c:v>
                </c:pt>
                <c:pt idx="8">
                  <c:v>0.7833544893875507</c:v>
                </c:pt>
                <c:pt idx="9">
                  <c:v>0.7613429474760278</c:v>
                </c:pt>
                <c:pt idx="10">
                  <c:v>0.766555956239328</c:v>
                </c:pt>
                <c:pt idx="11">
                  <c:v>0.7406952727042804</c:v>
                </c:pt>
                <c:pt idx="12">
                  <c:v>0.6847116900697604</c:v>
                </c:pt>
                <c:pt idx="13">
                  <c:v>0.602059101051708</c:v>
                </c:pt>
                <c:pt idx="14">
                  <c:v>0.5977168278296656</c:v>
                </c:pt>
                <c:pt idx="15">
                  <c:v>0.6090773450163397</c:v>
                </c:pt>
                <c:pt idx="16">
                  <c:v>0.575369530701084</c:v>
                </c:pt>
                <c:pt idx="17">
                  <c:v>0.43588164295742987</c:v>
                </c:pt>
                <c:pt idx="18">
                  <c:v>0.569486990082358</c:v>
                </c:pt>
                <c:pt idx="19">
                  <c:v>0.6359532222218478</c:v>
                </c:pt>
                <c:pt idx="20">
                  <c:v>0.5490117143515651</c:v>
                </c:pt>
                <c:pt idx="21">
                  <c:v>0.4930240492429066</c:v>
                </c:pt>
                <c:pt idx="22">
                  <c:v>0.51387469440209</c:v>
                </c:pt>
                <c:pt idx="23">
                  <c:v>0.44189703350405324</c:v>
                </c:pt>
                <c:pt idx="24">
                  <c:v>0.5325773310191649</c:v>
                </c:pt>
                <c:pt idx="25">
                  <c:v>0.49494544649788547</c:v>
                </c:pt>
                <c:pt idx="26">
                  <c:v>0.5355449850886121</c:v>
                </c:pt>
                <c:pt idx="27">
                  <c:v>0.5039508029016588</c:v>
                </c:pt>
                <c:pt idx="28">
                  <c:v>0.5646759056819411</c:v>
                </c:pt>
                <c:pt idx="29">
                  <c:v>0.482968750165199</c:v>
                </c:pt>
                <c:pt idx="30">
                  <c:v>0.4718324334374835</c:v>
                </c:pt>
                <c:pt idx="31">
                  <c:v>0.48506893344385515</c:v>
                </c:pt>
                <c:pt idx="32">
                  <c:v>0.5883140007055117</c:v>
                </c:pt>
                <c:pt idx="33">
                  <c:v>0.6768897476236313</c:v>
                </c:pt>
                <c:pt idx="34">
                  <c:v>0.7501615355670261</c:v>
                </c:pt>
                <c:pt idx="35">
                  <c:v>0.5006523374259947</c:v>
                </c:pt>
                <c:pt idx="36">
                  <c:v>0.4562942851112718</c:v>
                </c:pt>
                <c:pt idx="37">
                  <c:v>0.4640881527118102</c:v>
                </c:pt>
                <c:pt idx="38">
                  <c:v>0.4093912044613488</c:v>
                </c:pt>
                <c:pt idx="39">
                  <c:v>0.3972512185219328</c:v>
                </c:pt>
                <c:pt idx="40">
                  <c:v>0.4275415156261007</c:v>
                </c:pt>
                <c:pt idx="41">
                  <c:v>0.45267500482259654</c:v>
                </c:pt>
                <c:pt idx="42">
                  <c:v>0.42587281285970846</c:v>
                </c:pt>
                <c:pt idx="43">
                  <c:v>0.4931257209211285</c:v>
                </c:pt>
                <c:pt idx="44">
                  <c:v>0.6066167778907415</c:v>
                </c:pt>
                <c:pt idx="45">
                  <c:v>0.6524995979764446</c:v>
                </c:pt>
                <c:pt idx="46">
                  <c:v>0.6095580472565648</c:v>
                </c:pt>
                <c:pt idx="47">
                  <c:v>0.5771648247598549</c:v>
                </c:pt>
                <c:pt idx="48">
                  <c:v>0.52944258627081</c:v>
                </c:pt>
                <c:pt idx="49">
                  <c:v>0.6537504229131017</c:v>
                </c:pt>
                <c:pt idx="50">
                  <c:v>0.7818785689211416</c:v>
                </c:pt>
                <c:pt idx="51">
                  <c:v>0.6905966298215692</c:v>
                </c:pt>
                <c:pt idx="52">
                  <c:v>0.4814477998317406</c:v>
                </c:pt>
                <c:pt idx="53">
                  <c:v>0.4814477998317406</c:v>
                </c:pt>
                <c:pt idx="54">
                  <c:v>0.7023161270951508</c:v>
                </c:pt>
              </c:numCache>
            </c:numRef>
          </c:xVal>
          <c:yVal>
            <c:numRef>
              <c:f>Sheet1!$B$136:$B$190</c:f>
              <c:numCache>
                <c:formatCode>General</c:formatCode>
                <c:ptCount val="55"/>
                <c:pt idx="0">
                  <c:v>0.0021424683005352137</c:v>
                </c:pt>
                <c:pt idx="1">
                  <c:v>0.0027171051827923776</c:v>
                </c:pt>
                <c:pt idx="2">
                  <c:v>0.0021642678424466837</c:v>
                </c:pt>
                <c:pt idx="3">
                  <c:v>0.0029728237227047032</c:v>
                </c:pt>
                <c:pt idx="4">
                  <c:v>0.0025099379154578027</c:v>
                </c:pt>
                <c:pt idx="5">
                  <c:v>0.0017427192808882105</c:v>
                </c:pt>
                <c:pt idx="6">
                  <c:v>0.002004948727794678</c:v>
                </c:pt>
                <c:pt idx="7">
                  <c:v>0.002844094462901844</c:v>
                </c:pt>
                <c:pt idx="8">
                  <c:v>0.0023479750599579513</c:v>
                </c:pt>
                <c:pt idx="9">
                  <c:v>0.002471256298542032</c:v>
                </c:pt>
                <c:pt idx="10">
                  <c:v>0.0024420595171592207</c:v>
                </c:pt>
                <c:pt idx="11">
                  <c:v>0.0025868988523428515</c:v>
                </c:pt>
                <c:pt idx="12">
                  <c:v>0.0029004491449711404</c:v>
                </c:pt>
                <c:pt idx="13">
                  <c:v>0.0033633659904735596</c:v>
                </c:pt>
                <c:pt idx="14">
                  <c:v>0.003387685996006822</c:v>
                </c:pt>
                <c:pt idx="15">
                  <c:v>0.0033240585302273464</c:v>
                </c:pt>
                <c:pt idx="16">
                  <c:v>0.003512847717075339</c:v>
                </c:pt>
                <c:pt idx="17">
                  <c:v>0.004294085107787743</c:v>
                </c:pt>
                <c:pt idx="18">
                  <c:v>0.003545794381893857</c:v>
                </c:pt>
                <c:pt idx="19">
                  <c:v>0.003173533344702101</c:v>
                </c:pt>
                <c:pt idx="20">
                  <c:v>0.0036604713710202434</c:v>
                </c:pt>
                <c:pt idx="21">
                  <c:v>0.003974044528583224</c:v>
                </c:pt>
                <c:pt idx="22">
                  <c:v>0.0038572651875069114</c:v>
                </c:pt>
                <c:pt idx="23">
                  <c:v>0.004260394383160838</c:v>
                </c:pt>
                <c:pt idx="24">
                  <c:v>0.0037525163145652133</c:v>
                </c:pt>
                <c:pt idx="25">
                  <c:v>0.003963283254595333</c:v>
                </c:pt>
                <c:pt idx="26">
                  <c:v>0.003735895213197525</c:v>
                </c:pt>
                <c:pt idx="27">
                  <c:v>0.003912846465759241</c:v>
                </c:pt>
                <c:pt idx="28">
                  <c:v>0.0035727400836625027</c:v>
                </c:pt>
                <c:pt idx="29">
                  <c:v>0.004030361788392462</c:v>
                </c:pt>
                <c:pt idx="30">
                  <c:v>0.004092733562481523</c:v>
                </c:pt>
                <c:pt idx="31">
                  <c:v>0.004018599177809022</c:v>
                </c:pt>
                <c:pt idx="32">
                  <c:v>0.003440348920699565</c:v>
                </c:pt>
                <c:pt idx="33">
                  <c:v>0.002944257922964443</c:v>
                </c:pt>
                <c:pt idx="34">
                  <c:v>0.0025338806396627642</c:v>
                </c:pt>
                <c:pt idx="35">
                  <c:v>0.003931320360541408</c:v>
                </c:pt>
                <c:pt idx="36">
                  <c:v>0.00417975891393842</c:v>
                </c:pt>
                <c:pt idx="37">
                  <c:v>0.0041361073762580134</c:v>
                </c:pt>
                <c:pt idx="38">
                  <c:v>0.004442451545793736</c:v>
                </c:pt>
                <c:pt idx="39">
                  <c:v>0.004510444624562154</c:v>
                </c:pt>
                <c:pt idx="40">
                  <c:v>0.004340796112018526</c:v>
                </c:pt>
                <c:pt idx="41">
                  <c:v>0.004200029613672421</c:v>
                </c:pt>
                <c:pt idx="42">
                  <c:v>0.004350142106256295</c:v>
                </c:pt>
                <c:pt idx="43">
                  <c:v>0.003973475090491586</c:v>
                </c:pt>
                <c:pt idx="44">
                  <c:v>0.0033378395622005864</c:v>
                </c:pt>
                <c:pt idx="45">
                  <c:v>0.0030808611591140282</c:v>
                </c:pt>
                <c:pt idx="46">
                  <c:v>0.0033213662350758616</c:v>
                </c:pt>
                <c:pt idx="47">
                  <c:v>0.0035027927161091392</c:v>
                </c:pt>
                <c:pt idx="48">
                  <c:v>0.0037700732497756373</c:v>
                </c:pt>
                <c:pt idx="49">
                  <c:v>0.0030738555959389097</c:v>
                </c:pt>
                <c:pt idx="50">
                  <c:v>0.0023562413278951037</c:v>
                </c:pt>
                <c:pt idx="51">
                  <c:v>0.0028674890431976303</c:v>
                </c:pt>
                <c:pt idx="52">
                  <c:v>0.004038880257552293</c:v>
                </c:pt>
                <c:pt idx="53">
                  <c:v>0.004038880257552293</c:v>
                </c:pt>
                <c:pt idx="54">
                  <c:v>0.0028018510181434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439061089377068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3.0490593651858403e-05</c:v>
                </c:pt>
                <c:pt idx="2">
                  <c:v>0.0</c:v>
                </c:pt>
                <c:pt idx="3">
                  <c:v>4.098360655737705e-05</c:v>
                </c:pt>
                <c:pt idx="4">
                  <c:v>4.1983290650321174e-05</c:v>
                </c:pt>
                <c:pt idx="5">
                  <c:v>8.710422019946867e-05</c:v>
                </c:pt>
                <c:pt idx="6">
                  <c:v>7.334873656801261e-05</c:v>
                </c:pt>
                <c:pt idx="7">
                  <c:v>0.00010172250101722501</c:v>
                </c:pt>
                <c:pt idx="8">
                  <c:v>0.00013319717621986413</c:v>
                </c:pt>
                <c:pt idx="9">
                  <c:v>0.0002985594506506108</c:v>
                </c:pt>
                <c:pt idx="10">
                  <c:v>0.000343300490919702</c:v>
                </c:pt>
                <c:pt idx="11">
                  <c:v>0.0002573422974233602</c:v>
                </c:pt>
                <c:pt idx="12">
                  <c:v>0.0003287998804364071</c:v>
                </c:pt>
                <c:pt idx="13">
                  <c:v>0.00032409180636987716</c:v>
                </c:pt>
                <c:pt idx="14">
                  <c:v>0.0003517523663341008</c:v>
                </c:pt>
                <c:pt idx="15">
                  <c:v>0.0003256056264652253</c:v>
                </c:pt>
                <c:pt idx="16">
                  <c:v>0.0003461884650003462</c:v>
                </c:pt>
                <c:pt idx="17">
                  <c:v>0.0005456453305351522</c:v>
                </c:pt>
                <c:pt idx="18">
                  <c:v>0.0006545930613135501</c:v>
                </c:pt>
                <c:pt idx="19">
                  <c:v>0.00041851948731362804</c:v>
                </c:pt>
                <c:pt idx="20">
                  <c:v>0.0005812263876780006</c:v>
                </c:pt>
                <c:pt idx="21">
                  <c:v>0.0005997491957908511</c:v>
                </c:pt>
                <c:pt idx="22">
                  <c:v>0.0008912126433367002</c:v>
                </c:pt>
                <c:pt idx="23">
                  <c:v>0.0008319929003272505</c:v>
                </c:pt>
                <c:pt idx="24">
                  <c:v>0.0007712082262210797</c:v>
                </c:pt>
                <c:pt idx="25">
                  <c:v>0.0011096469935501767</c:v>
                </c:pt>
                <c:pt idx="26">
                  <c:v>0.001448960370933855</c:v>
                </c:pt>
                <c:pt idx="27">
                  <c:v>0.0019232310281272539</c:v>
                </c:pt>
                <c:pt idx="28">
                  <c:v>0.0013378821325841193</c:v>
                </c:pt>
                <c:pt idx="29">
                  <c:v>0.0012786863180563968</c:v>
                </c:pt>
                <c:pt idx="30">
                  <c:v>0.0016978922716627636</c:v>
                </c:pt>
                <c:pt idx="31">
                  <c:v>0.0018280143194455024</c:v>
                </c:pt>
                <c:pt idx="32">
                  <c:v>0.001646161843701265</c:v>
                </c:pt>
                <c:pt idx="33">
                  <c:v>0.0016679834957422526</c:v>
                </c:pt>
                <c:pt idx="34">
                  <c:v>0.0018284321194575652</c:v>
                </c:pt>
                <c:pt idx="35">
                  <c:v>0.0016132749481447338</c:v>
                </c:pt>
                <c:pt idx="36">
                  <c:v>0.0014814001975200263</c:v>
                </c:pt>
                <c:pt idx="37">
                  <c:v>0.002191587133262637</c:v>
                </c:pt>
                <c:pt idx="38">
                  <c:v>0.0028035199750798224</c:v>
                </c:pt>
                <c:pt idx="39">
                  <c:v>0.0024772255074316765</c:v>
                </c:pt>
                <c:pt idx="40">
                  <c:v>0.0027209826634533156</c:v>
                </c:pt>
                <c:pt idx="41">
                  <c:v>0.0021604938271604936</c:v>
                </c:pt>
                <c:pt idx="42">
                  <c:v>0.0021921812203142127</c:v>
                </c:pt>
                <c:pt idx="43">
                  <c:v>0.002098564852423504</c:v>
                </c:pt>
                <c:pt idx="44">
                  <c:v>0.0022365805168986083</c:v>
                </c:pt>
                <c:pt idx="45">
                  <c:v>0.002911208151382824</c:v>
                </c:pt>
                <c:pt idx="46">
                  <c:v>0.0034041028397384216</c:v>
                </c:pt>
                <c:pt idx="47">
                  <c:v>0.0032136154459212795</c:v>
                </c:pt>
                <c:pt idx="48">
                  <c:v>0.002910157104721894</c:v>
                </c:pt>
                <c:pt idx="49">
                  <c:v>0.0022968516726002003</c:v>
                </c:pt>
                <c:pt idx="50">
                  <c:v>0.0032512371964552884</c:v>
                </c:pt>
                <c:pt idx="51">
                  <c:v>0.002970982052012535</c:v>
                </c:pt>
                <c:pt idx="52">
                  <c:v>0.0025500265627766954</c:v>
                </c:pt>
                <c:pt idx="53">
                  <c:v>0.002119003220884896</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0664262097986174</c:v>
                </c:pt>
                <c:pt idx="1">
                  <c:v>0.002584287531806616</c:v>
                </c:pt>
                <c:pt idx="2">
                  <c:v>0.0023189627911879415</c:v>
                </c:pt>
                <c:pt idx="3">
                  <c:v>0.0025944076102623233</c:v>
                </c:pt>
                <c:pt idx="4">
                  <c:v>0.002422018348623853</c:v>
                </c:pt>
                <c:pt idx="5">
                  <c:v>0.002150050922258685</c:v>
                </c:pt>
                <c:pt idx="6">
                  <c:v>0.0022295812977474673</c:v>
                </c:pt>
                <c:pt idx="7">
                  <c:v>0.002686126158391906</c:v>
                </c:pt>
                <c:pt idx="8">
                  <c:v>0.0032404406999351912</c:v>
                </c:pt>
                <c:pt idx="9">
                  <c:v>0.0032582258730668623</c:v>
                </c:pt>
                <c:pt idx="10">
                  <c:v>0.003072538629380594</c:v>
                </c:pt>
                <c:pt idx="11">
                  <c:v>0.0030858306292549467</c:v>
                </c:pt>
                <c:pt idx="12">
                  <c:v>0.0032995875515560557</c:v>
                </c:pt>
                <c:pt idx="13">
                  <c:v>0.0049600774255988385</c:v>
                </c:pt>
                <c:pt idx="14">
                  <c:v>0.004908680847300225</c:v>
                </c:pt>
                <c:pt idx="15">
                  <c:v>0.004736615472943878</c:v>
                </c:pt>
                <c:pt idx="16">
                  <c:v>0.0046569741026806</c:v>
                </c:pt>
                <c:pt idx="17">
                  <c:v>0.006199217574480891</c:v>
                </c:pt>
                <c:pt idx="18">
                  <c:v>0.0032564262454098246</c:v>
                </c:pt>
                <c:pt idx="19">
                  <c:v>0.00297156750185723</c:v>
                </c:pt>
                <c:pt idx="20">
                  <c:v>0.003695602986650577</c:v>
                </c:pt>
                <c:pt idx="21">
                  <c:v>0.004404098507999281</c:v>
                </c:pt>
                <c:pt idx="22">
                  <c:v>0.003802617615847188</c:v>
                </c:pt>
                <c:pt idx="23">
                  <c:v>0.004168982768204558</c:v>
                </c:pt>
                <c:pt idx="24">
                  <c:v>0.0036658141517476556</c:v>
                </c:pt>
                <c:pt idx="25">
                  <c:v>0.0038516660695091364</c:v>
                </c:pt>
                <c:pt idx="26">
                  <c:v>0.0037310339109526574</c:v>
                </c:pt>
                <c:pt idx="27">
                  <c:v>0.004033764099499514</c:v>
                </c:pt>
                <c:pt idx="28">
                  <c:v>0.003176319524227884</c:v>
                </c:pt>
                <c:pt idx="29">
                  <c:v>0.003818654533636659</c:v>
                </c:pt>
                <c:pt idx="30">
                  <c:v>0.003785011355034065</c:v>
                </c:pt>
                <c:pt idx="31">
                  <c:v>0.004045671131888879</c:v>
                </c:pt>
                <c:pt idx="32">
                  <c:v>0.0033429215579569307</c:v>
                </c:pt>
                <c:pt idx="33">
                  <c:v>0.0026634382566585956</c:v>
                </c:pt>
                <c:pt idx="34">
                  <c:v>0.0026210375352356463</c:v>
                </c:pt>
                <c:pt idx="35">
                  <c:v>0.003599801390268123</c:v>
                </c:pt>
                <c:pt idx="36">
                  <c:v>0.0043179587831207065</c:v>
                </c:pt>
                <c:pt idx="37">
                  <c:v>0.004420475643179206</c:v>
                </c:pt>
                <c:pt idx="38">
                  <c:v>0.0053060823425370935</c:v>
                </c:pt>
                <c:pt idx="39">
                  <c:v>0.004878748744439661</c:v>
                </c:pt>
                <c:pt idx="40">
                  <c:v>0.004401285454799497</c:v>
                </c:pt>
                <c:pt idx="41">
                  <c:v>0.003762872986532876</c:v>
                </c:pt>
                <c:pt idx="42">
                  <c:v>0.004255636852321935</c:v>
                </c:pt>
                <c:pt idx="43">
                  <c:v>0.0032927230819888046</c:v>
                </c:pt>
                <c:pt idx="44">
                  <c:v>0.0023374988762024634</c:v>
                </c:pt>
                <c:pt idx="45">
                  <c:v>0.0018673830428515266</c:v>
                </c:pt>
                <c:pt idx="46">
                  <c:v>0.002054104332997442</c:v>
                </c:pt>
                <c:pt idx="47">
                  <c:v>0.0019132883289411935</c:v>
                </c:pt>
                <c:pt idx="48">
                  <c:v>0.00215801462654358</c:v>
                </c:pt>
                <c:pt idx="49">
                  <c:v>0.0019175188972876834</c:v>
                </c:pt>
                <c:pt idx="50">
                  <c:v>0.0015597399180666742</c:v>
                </c:pt>
                <c:pt idx="51">
                  <c:v>0.0020252480928913794</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505.561180138525</c:v>
                </c:pt>
              </c:numCache>
            </c:numRef>
          </c:xVal>
          <c:yVal>
            <c:numRef>
              <c:f>Sheet1!$B$112:$B$113</c:f>
              <c:numCache>
                <c:formatCode>General</c:formatCode>
                <c:ptCount val="2"/>
                <c:pt idx="0">
                  <c:v>0.004038880257552293</c:v>
                </c:pt>
                <c:pt idx="1">
                  <c:v>0.004038880257552293</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505.561180138525</c:v>
                </c:pt>
                <c:pt idx="1">
                  <c:v>3505.561180138525</c:v>
                </c:pt>
              </c:numCache>
            </c:numRef>
          </c:xVal>
          <c:yVal>
            <c:numRef>
              <c:f>Sheet1!$B$116:$B$117</c:f>
              <c:numCache>
                <c:formatCode>General</c:formatCode>
                <c:ptCount val="2"/>
                <c:pt idx="0">
                  <c:v>0.00403888025755229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505.561180138525</c:v>
                </c:pt>
              </c:numCache>
            </c:numRef>
          </c:xVal>
          <c:yVal>
            <c:numRef>
              <c:f>Sheet1!$B$120:$B$121</c:f>
              <c:numCache>
                <c:formatCode>General</c:formatCode>
                <c:ptCount val="2"/>
                <c:pt idx="0">
                  <c:v>0.004038880257552293</c:v>
                </c:pt>
                <c:pt idx="1">
                  <c:v>0.004038880257552293</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505.561180138525</c:v>
                </c:pt>
                <c:pt idx="1">
                  <c:v>3505.561180138525</c:v>
                </c:pt>
              </c:numCache>
            </c:numRef>
          </c:xVal>
          <c:yVal>
            <c:numRef>
              <c:f>Sheet1!$B$124:$B$125</c:f>
              <c:numCache>
                <c:formatCode>General</c:formatCode>
                <c:ptCount val="2"/>
                <c:pt idx="0">
                  <c:v>0.00403888025755229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52.77177164404</c:v>
                </c:pt>
              </c:numCache>
            </c:numRef>
          </c:xVal>
          <c:yVal>
            <c:numRef>
              <c:f>Sheet1!$B$128:$B$129</c:f>
              <c:numCache>
                <c:formatCode>General</c:formatCode>
                <c:ptCount val="2"/>
                <c:pt idx="0">
                  <c:v>0.00280185101814344</c:v>
                </c:pt>
                <c:pt idx="1">
                  <c:v>0.00280185101814344</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52.77177164404</c:v>
                </c:pt>
                <c:pt idx="1">
                  <c:v>4252.77177164404</c:v>
                </c:pt>
              </c:numCache>
            </c:numRef>
          </c:xVal>
          <c:yVal>
            <c:numRef>
              <c:f>Sheet1!$B$132:$B$133</c:f>
              <c:numCache>
                <c:formatCode>General</c:formatCode>
                <c:ptCount val="2"/>
                <c:pt idx="0">
                  <c:v>0.0028018510181434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505.561180138525</c:v>
                </c:pt>
                <c:pt idx="53">
                  <c:v>3505.561180138525</c:v>
                </c:pt>
                <c:pt idx="54">
                  <c:v>4252.77177164404</c:v>
                </c:pt>
              </c:numCache>
            </c:numRef>
          </c:xVal>
          <c:yVal>
            <c:numRef>
              <c:f>Sheet1!$B$136:$B$190</c:f>
              <c:numCache>
                <c:formatCode>General</c:formatCode>
                <c:ptCount val="55"/>
                <c:pt idx="0">
                  <c:v>0.0025075714823035514</c:v>
                </c:pt>
                <c:pt idx="1">
                  <c:v>0.0036804575731650135</c:v>
                </c:pt>
                <c:pt idx="2">
                  <c:v>0.0026325589992758133</c:v>
                </c:pt>
                <c:pt idx="3">
                  <c:v>0.003815140202484693</c:v>
                </c:pt>
                <c:pt idx="4">
                  <c:v>0.0024354756522326007</c:v>
                </c:pt>
                <c:pt idx="5">
                  <c:v>0.0018283702731750045</c:v>
                </c:pt>
                <c:pt idx="6">
                  <c:v>0.002376708159733211</c:v>
                </c:pt>
                <c:pt idx="7">
                  <c:v>0.002893741306289407</c:v>
                </c:pt>
                <c:pt idx="8">
                  <c:v>0.003101073043666874</c:v>
                </c:pt>
                <c:pt idx="9">
                  <c:v>0.0030985591219941933</c:v>
                </c:pt>
                <c:pt idx="10">
                  <c:v>0.002760276815637332</c:v>
                </c:pt>
                <c:pt idx="11">
                  <c:v>0.0032330543453650117</c:v>
                </c:pt>
                <c:pt idx="12">
                  <c:v>0.0035430751062004145</c:v>
                </c:pt>
                <c:pt idx="13">
                  <c:v>0.004204177900368202</c:v>
                </c:pt>
                <c:pt idx="14">
                  <c:v>0.004221604335870983</c:v>
                </c:pt>
                <c:pt idx="15">
                  <c:v>0.0038518313735398718</c:v>
                </c:pt>
                <c:pt idx="16">
                  <c:v>0.0036431685903772</c:v>
                </c:pt>
                <c:pt idx="17">
                  <c:v>0.005006911747070953</c:v>
                </c:pt>
                <c:pt idx="18">
                  <c:v>0.0030664987982902308</c:v>
                </c:pt>
                <c:pt idx="19">
                  <c:v>0.0026574045250544924</c:v>
                </c:pt>
                <c:pt idx="20">
                  <c:v>0.0030366259258250653</c:v>
                </c:pt>
                <c:pt idx="21">
                  <c:v>0.0035988303626224615</c:v>
                </c:pt>
                <c:pt idx="22">
                  <c:v>0.003232950378107162</c:v>
                </c:pt>
                <c:pt idx="23">
                  <c:v>0.00475566029981748</c:v>
                </c:pt>
                <c:pt idx="24">
                  <c:v>0.0032459636683989683</c:v>
                </c:pt>
                <c:pt idx="25">
                  <c:v>0.0037155180475803564</c:v>
                </c:pt>
                <c:pt idx="26">
                  <c:v>0.0032905166183406975</c:v>
                </c:pt>
                <c:pt idx="27">
                  <c:v>0.0037523297411892207</c:v>
                </c:pt>
                <c:pt idx="28">
                  <c:v>0.0035016565704192957</c:v>
                </c:pt>
                <c:pt idx="29">
                  <c:v>0.0037923957093005476</c:v>
                </c:pt>
                <c:pt idx="30">
                  <c:v>0.003916343553694316</c:v>
                </c:pt>
                <c:pt idx="31">
                  <c:v>0.0036633786333218274</c:v>
                </c:pt>
                <c:pt idx="32">
                  <c:v>0.00285895465646719</c:v>
                </c:pt>
                <c:pt idx="33">
                  <c:v>0.002171619499388551</c:v>
                </c:pt>
                <c:pt idx="34">
                  <c:v>0.0020850662605700274</c:v>
                </c:pt>
                <c:pt idx="35">
                  <c:v>0.003353478063934193</c:v>
                </c:pt>
                <c:pt idx="36">
                  <c:v>0.002849032074354986</c:v>
                </c:pt>
                <c:pt idx="37">
                  <c:v>0.002976694430475456</c:v>
                </c:pt>
                <c:pt idx="38">
                  <c:v>0.003897341716239791</c:v>
                </c:pt>
                <c:pt idx="39">
                  <c:v>0.004573474070179238</c:v>
                </c:pt>
                <c:pt idx="40">
                  <c:v>0.004502017440080512</c:v>
                </c:pt>
                <c:pt idx="41">
                  <c:v>0.004164235434763811</c:v>
                </c:pt>
                <c:pt idx="42">
                  <c:v>0.004423282274167533</c:v>
                </c:pt>
                <c:pt idx="43">
                  <c:v>0.004134698800357072</c:v>
                </c:pt>
                <c:pt idx="44">
                  <c:v>0.0031001052210723077</c:v>
                </c:pt>
                <c:pt idx="45">
                  <c:v>0.0029362101100383568</c:v>
                </c:pt>
                <c:pt idx="46">
                  <c:v>0.003046397854745162</c:v>
                </c:pt>
                <c:pt idx="47">
                  <c:v>0.003109214275947135</c:v>
                </c:pt>
                <c:pt idx="48">
                  <c:v>0.003856045524094899</c:v>
                </c:pt>
                <c:pt idx="49">
                  <c:v>0.0035561787884074844</c:v>
                </c:pt>
                <c:pt idx="50">
                  <c:v>0.0030517374343111137</c:v>
                </c:pt>
                <c:pt idx="51">
                  <c:v>0.0028674460332543793</c:v>
                </c:pt>
                <c:pt idx="52">
                  <c:v>0.004038880257552293</c:v>
                </c:pt>
                <c:pt idx="53">
                  <c:v>0.004038880257552293</c:v>
                </c:pt>
                <c:pt idx="54">
                  <c:v>0.00280185101814343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439061089377068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5.178030127921491</c:v>
                </c:pt>
                <c:pt idx="2">
                  <c:v>0.0</c:v>
                </c:pt>
                <c:pt idx="3">
                  <c:v>7.6409557791693326</c:v>
                </c:pt>
                <c:pt idx="4">
                  <c:v>8.401673028803126</c:v>
                </c:pt>
                <c:pt idx="5">
                  <c:v>6.03359120125573</c:v>
                </c:pt>
                <c:pt idx="6">
                  <c:v>4.045336122746196</c:v>
                </c:pt>
                <c:pt idx="7">
                  <c:v>4.772449995432002</c:v>
                </c:pt>
                <c:pt idx="8">
                  <c:v>5.744280208541266</c:v>
                </c:pt>
                <c:pt idx="9">
                  <c:v>4.90587717461615</c:v>
                </c:pt>
                <c:pt idx="10">
                  <c:v>4.694573500105056</c:v>
                </c:pt>
                <c:pt idx="11">
                  <c:v>5.706215861238456</c:v>
                </c:pt>
                <c:pt idx="12">
                  <c:v>4.679737916233335</c:v>
                </c:pt>
                <c:pt idx="13">
                  <c:v>4.57194054142145</c:v>
                </c:pt>
                <c:pt idx="14">
                  <c:v>4.297344773536449</c:v>
                </c:pt>
                <c:pt idx="15">
                  <c:v>4.157798218874009</c:v>
                </c:pt>
                <c:pt idx="16">
                  <c:v>3.9619493336928473</c:v>
                </c:pt>
                <c:pt idx="17">
                  <c:v>3.2204717790823376</c:v>
                </c:pt>
                <c:pt idx="18">
                  <c:v>2.448225376929022</c:v>
                </c:pt>
                <c:pt idx="19">
                  <c:v>3.0678807817018594</c:v>
                </c:pt>
                <c:pt idx="20">
                  <c:v>3.072766306766055</c:v>
                </c:pt>
                <c:pt idx="21">
                  <c:v>2.848040279003972</c:v>
                </c:pt>
                <c:pt idx="22">
                  <c:v>1.393541980994871</c:v>
                </c:pt>
                <c:pt idx="23">
                  <c:v>1.940004227530402</c:v>
                </c:pt>
                <c:pt idx="24">
                  <c:v>7.352888705002659</c:v>
                </c:pt>
                <c:pt idx="25">
                  <c:v>8.407584971081555</c:v>
                </c:pt>
                <c:pt idx="26">
                  <c:v>8.649406477800355</c:v>
                </c:pt>
                <c:pt idx="27">
                  <c:v>6.359292359330298</c:v>
                </c:pt>
                <c:pt idx="28">
                  <c:v>9.246110025770559</c:v>
                </c:pt>
                <c:pt idx="29">
                  <c:v>8.395079756689706</c:v>
                </c:pt>
                <c:pt idx="30">
                  <c:v>7.115533972709748</c:v>
                </c:pt>
                <c:pt idx="31">
                  <c:v>7.693289672480953</c:v>
                </c:pt>
                <c:pt idx="32">
                  <c:v>8.460996607992678</c:v>
                </c:pt>
                <c:pt idx="33">
                  <c:v>7.831317823663764</c:v>
                </c:pt>
                <c:pt idx="34">
                  <c:v>6.906659378542208</c:v>
                </c:pt>
                <c:pt idx="35">
                  <c:v>9.612997241169143</c:v>
                </c:pt>
                <c:pt idx="36">
                  <c:v>9.766320045457945</c:v>
                </c:pt>
                <c:pt idx="37">
                  <c:v>8.591039356189581</c:v>
                </c:pt>
                <c:pt idx="38">
                  <c:v>7.928613890496009</c:v>
                </c:pt>
                <c:pt idx="39">
                  <c:v>8.907777057052405</c:v>
                </c:pt>
                <c:pt idx="40">
                  <c:v>7.737090339214486</c:v>
                </c:pt>
                <c:pt idx="41">
                  <c:v>8.664709630717693</c:v>
                </c:pt>
                <c:pt idx="42">
                  <c:v>7.757452047282135</c:v>
                </c:pt>
                <c:pt idx="43">
                  <c:v>8.113693009585514</c:v>
                </c:pt>
                <c:pt idx="44">
                  <c:v>8.042194792227406</c:v>
                </c:pt>
                <c:pt idx="45">
                  <c:v>6.046893327039474</c:v>
                </c:pt>
                <c:pt idx="46">
                  <c:v>6.168763744106363</c:v>
                </c:pt>
                <c:pt idx="47">
                  <c:v>6.1606218871575</c:v>
                </c:pt>
                <c:pt idx="48">
                  <c:v>7.207281879592925</c:v>
                </c:pt>
                <c:pt idx="49">
                  <c:v>7.123453160229834</c:v>
                </c:pt>
                <c:pt idx="50">
                  <c:v>6.091919268286862</c:v>
                </c:pt>
                <c:pt idx="51">
                  <c:v>6.295681751991446</c:v>
                </c:pt>
                <c:pt idx="52">
                  <c:v>6.660088901301545</c:v>
                </c:pt>
                <c:pt idx="53">
                  <c:v>6.93741532641267</c:v>
                </c:pt>
              </c:numCache>
            </c:numRef>
          </c:xVal>
          <c:yVal>
            <c:numRef>
              <c:f>Sheet1!$B$2:$B$55</c:f>
              <c:numCache>
                <c:formatCode>General</c:formatCode>
                <c:ptCount val="54"/>
                <c:pt idx="0">
                  <c:v>0.0</c:v>
                </c:pt>
                <c:pt idx="1">
                  <c:v>3.0490593651858403e-05</c:v>
                </c:pt>
                <c:pt idx="2">
                  <c:v>0.0</c:v>
                </c:pt>
                <c:pt idx="3">
                  <c:v>4.098360655737705e-05</c:v>
                </c:pt>
                <c:pt idx="4">
                  <c:v>4.1983290650321174e-05</c:v>
                </c:pt>
                <c:pt idx="5">
                  <c:v>8.710422019946867e-05</c:v>
                </c:pt>
                <c:pt idx="6">
                  <c:v>7.334873656801261e-05</c:v>
                </c:pt>
                <c:pt idx="7">
                  <c:v>0.00010172250101722501</c:v>
                </c:pt>
                <c:pt idx="8">
                  <c:v>0.00013319717621986413</c:v>
                </c:pt>
                <c:pt idx="9">
                  <c:v>0.0002985594506506108</c:v>
                </c:pt>
                <c:pt idx="10">
                  <c:v>0.000343300490919702</c:v>
                </c:pt>
                <c:pt idx="11">
                  <c:v>0.0002573422974233602</c:v>
                </c:pt>
                <c:pt idx="12">
                  <c:v>0.0003287998804364071</c:v>
                </c:pt>
                <c:pt idx="13">
                  <c:v>0.00032409180636987716</c:v>
                </c:pt>
                <c:pt idx="14">
                  <c:v>0.0003517523663341008</c:v>
                </c:pt>
                <c:pt idx="15">
                  <c:v>0.0003256056264652253</c:v>
                </c:pt>
                <c:pt idx="16">
                  <c:v>0.0003461884650003462</c:v>
                </c:pt>
                <c:pt idx="17">
                  <c:v>0.0005456453305351522</c:v>
                </c:pt>
                <c:pt idx="18">
                  <c:v>0.0006545930613135501</c:v>
                </c:pt>
                <c:pt idx="19">
                  <c:v>0.00041851948731362804</c:v>
                </c:pt>
                <c:pt idx="20">
                  <c:v>0.0005812263876780006</c:v>
                </c:pt>
                <c:pt idx="21">
                  <c:v>0.0005997491957908511</c:v>
                </c:pt>
                <c:pt idx="22">
                  <c:v>0.0008912126433367002</c:v>
                </c:pt>
                <c:pt idx="23">
                  <c:v>0.0008319929003272505</c:v>
                </c:pt>
                <c:pt idx="24">
                  <c:v>0.0007712082262210797</c:v>
                </c:pt>
                <c:pt idx="25">
                  <c:v>0.0011096469935501767</c:v>
                </c:pt>
                <c:pt idx="26">
                  <c:v>0.001448960370933855</c:v>
                </c:pt>
                <c:pt idx="27">
                  <c:v>0.0019232310281272539</c:v>
                </c:pt>
                <c:pt idx="28">
                  <c:v>0.0013378821325841193</c:v>
                </c:pt>
                <c:pt idx="29">
                  <c:v>0.0012786863180563968</c:v>
                </c:pt>
                <c:pt idx="30">
                  <c:v>0.0016978922716627636</c:v>
                </c:pt>
                <c:pt idx="31">
                  <c:v>0.0018280143194455024</c:v>
                </c:pt>
                <c:pt idx="32">
                  <c:v>0.001646161843701265</c:v>
                </c:pt>
                <c:pt idx="33">
                  <c:v>0.0016679834957422526</c:v>
                </c:pt>
                <c:pt idx="34">
                  <c:v>0.0018284321194575652</c:v>
                </c:pt>
                <c:pt idx="35">
                  <c:v>0.0016132749481447338</c:v>
                </c:pt>
                <c:pt idx="36">
                  <c:v>0.0014814001975200263</c:v>
                </c:pt>
                <c:pt idx="37">
                  <c:v>0.002191587133262637</c:v>
                </c:pt>
                <c:pt idx="38">
                  <c:v>0.0028035199750798224</c:v>
                </c:pt>
                <c:pt idx="39">
                  <c:v>0.0024772255074316765</c:v>
                </c:pt>
                <c:pt idx="40">
                  <c:v>0.0027209826634533156</c:v>
                </c:pt>
                <c:pt idx="41">
                  <c:v>0.0021604938271604936</c:v>
                </c:pt>
                <c:pt idx="42">
                  <c:v>0.0021921812203142127</c:v>
                </c:pt>
                <c:pt idx="43">
                  <c:v>0.002098564852423504</c:v>
                </c:pt>
                <c:pt idx="44">
                  <c:v>0.0022365805168986083</c:v>
                </c:pt>
                <c:pt idx="45">
                  <c:v>0.002911208151382824</c:v>
                </c:pt>
                <c:pt idx="46">
                  <c:v>0.0034041028397384216</c:v>
                </c:pt>
                <c:pt idx="47">
                  <c:v>0.0032136154459212795</c:v>
                </c:pt>
                <c:pt idx="48">
                  <c:v>0.002910157104721894</c:v>
                </c:pt>
                <c:pt idx="49">
                  <c:v>0.0022968516726002003</c:v>
                </c:pt>
                <c:pt idx="50">
                  <c:v>0.0032512371964552884</c:v>
                </c:pt>
                <c:pt idx="51">
                  <c:v>0.002970982052012535</c:v>
                </c:pt>
                <c:pt idx="52">
                  <c:v>0.0025500265627766954</c:v>
                </c:pt>
                <c:pt idx="53">
                  <c:v>0.002119003220884896</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6.960023117722398</c:v>
                </c:pt>
                <c:pt idx="1">
                  <c:v>5.800017546243545</c:v>
                </c:pt>
                <c:pt idx="2">
                  <c:v>6.639289962225676</c:v>
                </c:pt>
                <c:pt idx="3">
                  <c:v>5.580355666200858</c:v>
                </c:pt>
                <c:pt idx="4">
                  <c:v>6.797085962082807</c:v>
                </c:pt>
                <c:pt idx="5">
                  <c:v>7.179276601184743</c:v>
                </c:pt>
                <c:pt idx="6">
                  <c:v>7.165574753308513</c:v>
                </c:pt>
                <c:pt idx="7">
                  <c:v>6.295990397462203</c:v>
                </c:pt>
                <c:pt idx="8">
                  <c:v>6.128442576159847</c:v>
                </c:pt>
                <c:pt idx="9">
                  <c:v>6.351537892425102</c:v>
                </c:pt>
                <c:pt idx="10">
                  <c:v>6.473787713332067</c:v>
                </c:pt>
                <c:pt idx="11">
                  <c:v>7.050246598237009</c:v>
                </c:pt>
                <c:pt idx="12">
                  <c:v>6.495112678188853</c:v>
                </c:pt>
                <c:pt idx="13">
                  <c:v>5.34616551673689</c:v>
                </c:pt>
                <c:pt idx="14">
                  <c:v>5.302698821773182</c:v>
                </c:pt>
                <c:pt idx="15">
                  <c:v>5.888088669253369</c:v>
                </c:pt>
                <c:pt idx="16">
                  <c:v>5.7596308383090316</c:v>
                </c:pt>
                <c:pt idx="17">
                  <c:v>4.747870733583403</c:v>
                </c:pt>
                <c:pt idx="18">
                  <c:v>6.420320100317823</c:v>
                </c:pt>
                <c:pt idx="19">
                  <c:v>6.729178495642648</c:v>
                </c:pt>
                <c:pt idx="20">
                  <c:v>6.160496692914849</c:v>
                </c:pt>
                <c:pt idx="21">
                  <c:v>5.752037801437823</c:v>
                </c:pt>
                <c:pt idx="22">
                  <c:v>5.981499382578619</c:v>
                </c:pt>
                <c:pt idx="23">
                  <c:v>4.553785083752831</c:v>
                </c:pt>
                <c:pt idx="24">
                  <c:v>5.900312332853352</c:v>
                </c:pt>
                <c:pt idx="25">
                  <c:v>5.705868132488224</c:v>
                </c:pt>
                <c:pt idx="26">
                  <c:v>5.920517324200234</c:v>
                </c:pt>
                <c:pt idx="27">
                  <c:v>5.419676294007039</c:v>
                </c:pt>
                <c:pt idx="28">
                  <c:v>5.663864554558522</c:v>
                </c:pt>
                <c:pt idx="29">
                  <c:v>5.46694362062195</c:v>
                </c:pt>
                <c:pt idx="30">
                  <c:v>5.31740054211202</c:v>
                </c:pt>
                <c:pt idx="31">
                  <c:v>5.4216595745793486</c:v>
                </c:pt>
                <c:pt idx="32">
                  <c:v>6.071537642554028</c:v>
                </c:pt>
                <c:pt idx="33">
                  <c:v>6.591417175010494</c:v>
                </c:pt>
                <c:pt idx="34">
                  <c:v>6.753139104061855</c:v>
                </c:pt>
                <c:pt idx="35">
                  <c:v>5.414374341000259</c:v>
                </c:pt>
                <c:pt idx="36">
                  <c:v>5.892536365301395</c:v>
                </c:pt>
                <c:pt idx="37">
                  <c:v>5.969736747213498</c:v>
                </c:pt>
                <c:pt idx="38">
                  <c:v>5.095872293826484</c:v>
                </c:pt>
                <c:pt idx="39">
                  <c:v>4.747513469561157</c:v>
                </c:pt>
                <c:pt idx="40">
                  <c:v>4.599624394107</c:v>
                </c:pt>
                <c:pt idx="41">
                  <c:v>4.860184063502149</c:v>
                </c:pt>
                <c:pt idx="42">
                  <c:v>4.708854772274886</c:v>
                </c:pt>
                <c:pt idx="43">
                  <c:v>5.006015320569048</c:v>
                </c:pt>
                <c:pt idx="44">
                  <c:v>5.999296750616632</c:v>
                </c:pt>
                <c:pt idx="45">
                  <c:v>6.3990279694996435</c:v>
                </c:pt>
                <c:pt idx="46">
                  <c:v>6.231362676246084</c:v>
                </c:pt>
                <c:pt idx="47">
                  <c:v>6.3835414374795265</c:v>
                </c:pt>
                <c:pt idx="48">
                  <c:v>5.5969609245139305</c:v>
                </c:pt>
                <c:pt idx="49">
                  <c:v>5.979414639031812</c:v>
                </c:pt>
                <c:pt idx="50">
                  <c:v>6.59584068669031</c:v>
                </c:pt>
                <c:pt idx="51">
                  <c:v>7.003704699878748</c:v>
                </c:pt>
              </c:numCache>
            </c:numRef>
          </c:xVal>
          <c:yVal>
            <c:numRef>
              <c:f>Sheet1!$B$58:$B$109</c:f>
              <c:numCache>
                <c:formatCode>General</c:formatCode>
                <c:ptCount val="52"/>
                <c:pt idx="0">
                  <c:v>0.0020664262097986174</c:v>
                </c:pt>
                <c:pt idx="1">
                  <c:v>0.002584287531806616</c:v>
                </c:pt>
                <c:pt idx="2">
                  <c:v>0.0023189627911879415</c:v>
                </c:pt>
                <c:pt idx="3">
                  <c:v>0.0025944076102623233</c:v>
                </c:pt>
                <c:pt idx="4">
                  <c:v>0.002422018348623853</c:v>
                </c:pt>
                <c:pt idx="5">
                  <c:v>0.002150050922258685</c:v>
                </c:pt>
                <c:pt idx="6">
                  <c:v>0.0022295812977474673</c:v>
                </c:pt>
                <c:pt idx="7">
                  <c:v>0.002686126158391906</c:v>
                </c:pt>
                <c:pt idx="8">
                  <c:v>0.0032404406999351912</c:v>
                </c:pt>
                <c:pt idx="9">
                  <c:v>0.0032582258730668623</c:v>
                </c:pt>
                <c:pt idx="10">
                  <c:v>0.003072538629380594</c:v>
                </c:pt>
                <c:pt idx="11">
                  <c:v>0.0030858306292549467</c:v>
                </c:pt>
                <c:pt idx="12">
                  <c:v>0.0032995875515560557</c:v>
                </c:pt>
                <c:pt idx="13">
                  <c:v>0.0049600774255988385</c:v>
                </c:pt>
                <c:pt idx="14">
                  <c:v>0.004908680847300225</c:v>
                </c:pt>
                <c:pt idx="15">
                  <c:v>0.004736615472943878</c:v>
                </c:pt>
                <c:pt idx="16">
                  <c:v>0.0046569741026806</c:v>
                </c:pt>
                <c:pt idx="17">
                  <c:v>0.006199217574480891</c:v>
                </c:pt>
                <c:pt idx="18">
                  <c:v>0.0032564262454098246</c:v>
                </c:pt>
                <c:pt idx="19">
                  <c:v>0.00297156750185723</c:v>
                </c:pt>
                <c:pt idx="20">
                  <c:v>0.003695602986650577</c:v>
                </c:pt>
                <c:pt idx="21">
                  <c:v>0.004404098507999281</c:v>
                </c:pt>
                <c:pt idx="22">
                  <c:v>0.003802617615847188</c:v>
                </c:pt>
                <c:pt idx="23">
                  <c:v>0.004168982768204558</c:v>
                </c:pt>
                <c:pt idx="24">
                  <c:v>0.0036658141517476556</c:v>
                </c:pt>
                <c:pt idx="25">
                  <c:v>0.0038516660695091364</c:v>
                </c:pt>
                <c:pt idx="26">
                  <c:v>0.0037310339109526574</c:v>
                </c:pt>
                <c:pt idx="27">
                  <c:v>0.004033764099499514</c:v>
                </c:pt>
                <c:pt idx="28">
                  <c:v>0.003176319524227884</c:v>
                </c:pt>
                <c:pt idx="29">
                  <c:v>0.003818654533636659</c:v>
                </c:pt>
                <c:pt idx="30">
                  <c:v>0.003785011355034065</c:v>
                </c:pt>
                <c:pt idx="31">
                  <c:v>0.004045671131888879</c:v>
                </c:pt>
                <c:pt idx="32">
                  <c:v>0.0033429215579569307</c:v>
                </c:pt>
                <c:pt idx="33">
                  <c:v>0.0026634382566585956</c:v>
                </c:pt>
                <c:pt idx="34">
                  <c:v>0.0026210375352356463</c:v>
                </c:pt>
                <c:pt idx="35">
                  <c:v>0.003599801390268123</c:v>
                </c:pt>
                <c:pt idx="36">
                  <c:v>0.0043179587831207065</c:v>
                </c:pt>
                <c:pt idx="37">
                  <c:v>0.004420475643179206</c:v>
                </c:pt>
                <c:pt idx="38">
                  <c:v>0.0053060823425370935</c:v>
                </c:pt>
                <c:pt idx="39">
                  <c:v>0.004878748744439661</c:v>
                </c:pt>
                <c:pt idx="40">
                  <c:v>0.004401285454799497</c:v>
                </c:pt>
                <c:pt idx="41">
                  <c:v>0.003762872986532876</c:v>
                </c:pt>
                <c:pt idx="42">
                  <c:v>0.004255636852321935</c:v>
                </c:pt>
                <c:pt idx="43">
                  <c:v>0.0032927230819888046</c:v>
                </c:pt>
                <c:pt idx="44">
                  <c:v>0.0023374988762024634</c:v>
                </c:pt>
                <c:pt idx="45">
                  <c:v>0.0018673830428515266</c:v>
                </c:pt>
                <c:pt idx="46">
                  <c:v>0.002054104332997442</c:v>
                </c:pt>
                <c:pt idx="47">
                  <c:v>0.0019132883289411935</c:v>
                </c:pt>
                <c:pt idx="48">
                  <c:v>0.00215801462654358</c:v>
                </c:pt>
                <c:pt idx="49">
                  <c:v>0.0019175188972876834</c:v>
                </c:pt>
                <c:pt idx="50">
                  <c:v>0.0015597399180666742</c:v>
                </c:pt>
                <c:pt idx="51">
                  <c:v>0.0020252480928913794</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5.294949445687173</c:v>
                </c:pt>
              </c:numCache>
            </c:numRef>
          </c:xVal>
          <c:yVal>
            <c:numRef>
              <c:f>Sheet1!$B$112:$B$113</c:f>
              <c:numCache>
                <c:formatCode>General</c:formatCode>
                <c:ptCount val="2"/>
                <c:pt idx="0">
                  <c:v>0.004038880257552293</c:v>
                </c:pt>
                <c:pt idx="1">
                  <c:v>0.004038880257552293</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5.294949445687173</c:v>
                </c:pt>
                <c:pt idx="1">
                  <c:v>5.294949445687173</c:v>
                </c:pt>
              </c:numCache>
            </c:numRef>
          </c:xVal>
          <c:yVal>
            <c:numRef>
              <c:f>Sheet1!$B$116:$B$117</c:f>
              <c:numCache>
                <c:formatCode>General</c:formatCode>
                <c:ptCount val="2"/>
                <c:pt idx="0">
                  <c:v>0.00403888025755229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5.294949445687173</c:v>
                </c:pt>
              </c:numCache>
            </c:numRef>
          </c:xVal>
          <c:yVal>
            <c:numRef>
              <c:f>Sheet1!$B$120:$B$121</c:f>
              <c:numCache>
                <c:formatCode>General</c:formatCode>
                <c:ptCount val="2"/>
                <c:pt idx="0">
                  <c:v>0.004038880257552293</c:v>
                </c:pt>
                <c:pt idx="1">
                  <c:v>0.004038880257552293</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5.294949445687173</c:v>
                </c:pt>
                <c:pt idx="1">
                  <c:v>5.294949445687173</c:v>
                </c:pt>
              </c:numCache>
            </c:numRef>
          </c:xVal>
          <c:yVal>
            <c:numRef>
              <c:f>Sheet1!$B$124:$B$125</c:f>
              <c:numCache>
                <c:formatCode>General</c:formatCode>
                <c:ptCount val="2"/>
                <c:pt idx="0">
                  <c:v>0.00403888025755229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6.477706291523327</c:v>
                </c:pt>
              </c:numCache>
            </c:numRef>
          </c:xVal>
          <c:yVal>
            <c:numRef>
              <c:f>Sheet1!$B$128:$B$129</c:f>
              <c:numCache>
                <c:formatCode>General</c:formatCode>
                <c:ptCount val="2"/>
                <c:pt idx="0">
                  <c:v>0.00280185101814344</c:v>
                </c:pt>
                <c:pt idx="1">
                  <c:v>0.00280185101814344</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6.477706291523327</c:v>
                </c:pt>
                <c:pt idx="1">
                  <c:v>6.477706291523327</c:v>
                </c:pt>
              </c:numCache>
            </c:numRef>
          </c:xVal>
          <c:yVal>
            <c:numRef>
              <c:f>Sheet1!$B$132:$B$133</c:f>
              <c:numCache>
                <c:formatCode>General</c:formatCode>
                <c:ptCount val="2"/>
                <c:pt idx="0">
                  <c:v>0.0028018510181434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6.960023117722398</c:v>
                </c:pt>
                <c:pt idx="1">
                  <c:v>5.800017546243545</c:v>
                </c:pt>
                <c:pt idx="2">
                  <c:v>6.639289962225676</c:v>
                </c:pt>
                <c:pt idx="3">
                  <c:v>5.580355666200858</c:v>
                </c:pt>
                <c:pt idx="4">
                  <c:v>6.797085962082807</c:v>
                </c:pt>
                <c:pt idx="5">
                  <c:v>7.179276601184743</c:v>
                </c:pt>
                <c:pt idx="6">
                  <c:v>7.165574753308513</c:v>
                </c:pt>
                <c:pt idx="7">
                  <c:v>6.295990397462203</c:v>
                </c:pt>
                <c:pt idx="8">
                  <c:v>6.128442576159847</c:v>
                </c:pt>
                <c:pt idx="9">
                  <c:v>6.351537892425102</c:v>
                </c:pt>
                <c:pt idx="10">
                  <c:v>6.473787713332067</c:v>
                </c:pt>
                <c:pt idx="11">
                  <c:v>7.050246598237009</c:v>
                </c:pt>
                <c:pt idx="12">
                  <c:v>6.495112678188853</c:v>
                </c:pt>
                <c:pt idx="13">
                  <c:v>5.34616551673689</c:v>
                </c:pt>
                <c:pt idx="14">
                  <c:v>5.302698821773182</c:v>
                </c:pt>
                <c:pt idx="15">
                  <c:v>5.888088669253369</c:v>
                </c:pt>
                <c:pt idx="16">
                  <c:v>5.7596308383090316</c:v>
                </c:pt>
                <c:pt idx="17">
                  <c:v>4.747870733583403</c:v>
                </c:pt>
                <c:pt idx="18">
                  <c:v>6.420320100317823</c:v>
                </c:pt>
                <c:pt idx="19">
                  <c:v>6.729178495642648</c:v>
                </c:pt>
                <c:pt idx="20">
                  <c:v>6.160496692914849</c:v>
                </c:pt>
                <c:pt idx="21">
                  <c:v>5.752037801437823</c:v>
                </c:pt>
                <c:pt idx="22">
                  <c:v>5.981499382578619</c:v>
                </c:pt>
                <c:pt idx="23">
                  <c:v>4.553785083752831</c:v>
                </c:pt>
                <c:pt idx="24">
                  <c:v>5.900312332853352</c:v>
                </c:pt>
                <c:pt idx="25">
                  <c:v>5.705868132488224</c:v>
                </c:pt>
                <c:pt idx="26">
                  <c:v>5.920517324200234</c:v>
                </c:pt>
                <c:pt idx="27">
                  <c:v>5.419676294007039</c:v>
                </c:pt>
                <c:pt idx="28">
                  <c:v>5.663864554558522</c:v>
                </c:pt>
                <c:pt idx="29">
                  <c:v>5.46694362062195</c:v>
                </c:pt>
                <c:pt idx="30">
                  <c:v>5.31740054211202</c:v>
                </c:pt>
                <c:pt idx="31">
                  <c:v>5.4216595745793486</c:v>
                </c:pt>
                <c:pt idx="32">
                  <c:v>6.071537642554028</c:v>
                </c:pt>
                <c:pt idx="33">
                  <c:v>6.591417175010494</c:v>
                </c:pt>
                <c:pt idx="34">
                  <c:v>6.753139104061855</c:v>
                </c:pt>
                <c:pt idx="35">
                  <c:v>5.414374341000259</c:v>
                </c:pt>
                <c:pt idx="36">
                  <c:v>5.892536365301395</c:v>
                </c:pt>
                <c:pt idx="37">
                  <c:v>5.969736747213498</c:v>
                </c:pt>
                <c:pt idx="38">
                  <c:v>5.095872293826484</c:v>
                </c:pt>
                <c:pt idx="39">
                  <c:v>4.747513469561157</c:v>
                </c:pt>
                <c:pt idx="40">
                  <c:v>4.599624394107</c:v>
                </c:pt>
                <c:pt idx="41">
                  <c:v>4.860184063502149</c:v>
                </c:pt>
                <c:pt idx="42">
                  <c:v>4.708854772274886</c:v>
                </c:pt>
                <c:pt idx="43">
                  <c:v>5.006015320569048</c:v>
                </c:pt>
                <c:pt idx="44">
                  <c:v>5.999296750616632</c:v>
                </c:pt>
                <c:pt idx="45">
                  <c:v>6.3990279694996435</c:v>
                </c:pt>
                <c:pt idx="46">
                  <c:v>6.231362676246084</c:v>
                </c:pt>
                <c:pt idx="47">
                  <c:v>6.3835414374795265</c:v>
                </c:pt>
                <c:pt idx="48">
                  <c:v>5.5969609245139305</c:v>
                </c:pt>
                <c:pt idx="49">
                  <c:v>5.979414639031812</c:v>
                </c:pt>
                <c:pt idx="50">
                  <c:v>6.59584068669031</c:v>
                </c:pt>
                <c:pt idx="51">
                  <c:v>7.003704699878748</c:v>
                </c:pt>
                <c:pt idx="52">
                  <c:v>5.294949445687173</c:v>
                </c:pt>
                <c:pt idx="53">
                  <c:v>5.294949445687173</c:v>
                </c:pt>
                <c:pt idx="54">
                  <c:v>6.477706291523327</c:v>
                </c:pt>
              </c:numCache>
            </c:numRef>
          </c:xVal>
          <c:yVal>
            <c:numRef>
              <c:f>Sheet1!$B$136:$B$190</c:f>
              <c:numCache>
                <c:formatCode>General</c:formatCode>
                <c:ptCount val="55"/>
                <c:pt idx="0">
                  <c:v>0.0022974024336625517</c:v>
                </c:pt>
                <c:pt idx="1">
                  <c:v>0.003510636425795623</c:v>
                </c:pt>
                <c:pt idx="2">
                  <c:v>0.002632852862712339</c:v>
                </c:pt>
                <c:pt idx="3">
                  <c:v>0.0037403777875581285</c:v>
                </c:pt>
                <c:pt idx="4">
                  <c:v>0.0024678161805132765</c:v>
                </c:pt>
                <c:pt idx="5">
                  <c:v>0.00206808820830846</c:v>
                </c:pt>
                <c:pt idx="6">
                  <c:v>0.0020824187839601667</c:v>
                </c:pt>
                <c:pt idx="7">
                  <c:v>0.002991905191163269</c:v>
                </c:pt>
                <c:pt idx="8">
                  <c:v>0.003167141170291118</c:v>
                </c:pt>
                <c:pt idx="9">
                  <c:v>0.002933808824452794</c:v>
                </c:pt>
                <c:pt idx="10">
                  <c:v>0.0028059494055817065</c:v>
                </c:pt>
                <c:pt idx="11">
                  <c:v>0.0022030389270206547</c:v>
                </c:pt>
                <c:pt idx="12">
                  <c:v>0.0027836459159421584</c:v>
                </c:pt>
                <c:pt idx="13">
                  <c:v>0.0039853140679849425</c:v>
                </c:pt>
                <c:pt idx="14">
                  <c:v>0.004030775290889604</c:v>
                </c:pt>
                <c:pt idx="15">
                  <c:v>0.0034185240404864467</c:v>
                </c:pt>
                <c:pt idx="16">
                  <c:v>0.0035528763323109305</c:v>
                </c:pt>
                <c:pt idx="17">
                  <c:v>0.004611062414445301</c:v>
                </c:pt>
                <c:pt idx="18">
                  <c:v>0.002861870452154266</c:v>
                </c:pt>
                <c:pt idx="19">
                  <c:v>0.002538839672667546</c:v>
                </c:pt>
                <c:pt idx="20">
                  <c:v>0.0031336162071434037</c:v>
                </c:pt>
                <c:pt idx="21">
                  <c:v>0.0035608177859230237</c:v>
                </c:pt>
                <c:pt idx="22">
                  <c:v>0.0033208270505563795</c:v>
                </c:pt>
                <c:pt idx="23">
                  <c:v>0.00481405394616656</c:v>
                </c:pt>
                <c:pt idx="24">
                  <c:v>0.0034057394775907765</c:v>
                </c:pt>
                <c:pt idx="25">
                  <c:v>0.0036091060124216036</c:v>
                </c:pt>
                <c:pt idx="26">
                  <c:v>0.003384607352956633</c:v>
                </c:pt>
                <c:pt idx="27">
                  <c:v>0.003908430149523613</c:v>
                </c:pt>
                <c:pt idx="28">
                  <c:v>0.0036530369811932075</c:v>
                </c:pt>
                <c:pt idx="29">
                  <c:v>0.003858993897856858</c:v>
                </c:pt>
                <c:pt idx="30">
                  <c:v>0.0040153989622783775</c:v>
                </c:pt>
                <c:pt idx="31">
                  <c:v>0.0039063558634465255</c:v>
                </c:pt>
                <c:pt idx="32">
                  <c:v>0.003226657263548014</c:v>
                </c:pt>
                <c:pt idx="33">
                  <c:v>0.0026829223573558575</c:v>
                </c:pt>
                <c:pt idx="34">
                  <c:v>0.00251377959940487</c:v>
                </c:pt>
                <c:pt idx="35">
                  <c:v>0.003913975389797173</c:v>
                </c:pt>
                <c:pt idx="36">
                  <c:v>0.0034138722559047038</c:v>
                </c:pt>
                <c:pt idx="37">
                  <c:v>0.0033331294303146405</c:v>
                </c:pt>
                <c:pt idx="38">
                  <c:v>0.0042470923331085425</c:v>
                </c:pt>
                <c:pt idx="39">
                  <c:v>0.004611436072009207</c:v>
                </c:pt>
                <c:pt idx="40">
                  <c:v>0.004766111237213261</c:v>
                </c:pt>
                <c:pt idx="41">
                  <c:v>0.004493595435857119</c:v>
                </c:pt>
                <c:pt idx="42">
                  <c:v>0.0046518686757763515</c:v>
                </c:pt>
                <c:pt idx="43">
                  <c:v>0.0043410725148133</c:v>
                </c:pt>
                <c:pt idx="44">
                  <c:v>0.0033022130262748478</c:v>
                </c:pt>
                <c:pt idx="45">
                  <c:v>0.002884139601121048</c:v>
                </c:pt>
                <c:pt idx="46">
                  <c:v>0.0030594984425590666</c:v>
                </c:pt>
                <c:pt idx="47">
                  <c:v>0.0029003367535563674</c:v>
                </c:pt>
                <c:pt idx="48">
                  <c:v>0.0037230105745645857</c:v>
                </c:pt>
                <c:pt idx="49">
                  <c:v>0.003323007455373438</c:v>
                </c:pt>
                <c:pt idx="50">
                  <c:v>0.002678295866874688</c:v>
                </c:pt>
                <c:pt idx="51">
                  <c:v>0.0022517164631765006</c:v>
                </c:pt>
                <c:pt idx="52">
                  <c:v>0.004038880257552293</c:v>
                </c:pt>
                <c:pt idx="53">
                  <c:v>0.004038880257552293</c:v>
                </c:pt>
                <c:pt idx="54">
                  <c:v>0.0028018510181434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4390610893770685"/>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4952433710823423</c:v>
                </c:pt>
                <c:pt idx="1">
                  <c:v>0.16896325060177017</c:v>
                </c:pt>
                <c:pt idx="2">
                  <c:v>0.17202626863846726</c:v>
                </c:pt>
                <c:pt idx="3">
                  <c:v>0.1754399900117037</c:v>
                </c:pt>
                <c:pt idx="4">
                  <c:v>0.16629532233182917</c:v>
                </c:pt>
                <c:pt idx="5">
                  <c:v>0.1645151079620078</c:v>
                </c:pt>
                <c:pt idx="6">
                  <c:v>0.16570511044165534</c:v>
                </c:pt>
                <c:pt idx="7">
                  <c:v>0.16214757724375647</c:v>
                </c:pt>
                <c:pt idx="8">
                  <c:v>0.16109581013259844</c:v>
                </c:pt>
                <c:pt idx="9">
                  <c:v>0.16552559704254413</c:v>
                </c:pt>
                <c:pt idx="10">
                  <c:v>0.16491054321463502</c:v>
                </c:pt>
                <c:pt idx="11">
                  <c:v>0.1709167280107162</c:v>
                </c:pt>
                <c:pt idx="12">
                  <c:v>0.1758555682422809</c:v>
                </c:pt>
                <c:pt idx="13">
                  <c:v>0.16777641416831413</c:v>
                </c:pt>
                <c:pt idx="14">
                  <c:v>0.18471452822097104</c:v>
                </c:pt>
                <c:pt idx="15">
                  <c:v>0.18083848446096776</c:v>
                </c:pt>
                <c:pt idx="16">
                  <c:v>0.1735544721431447</c:v>
                </c:pt>
                <c:pt idx="17">
                  <c:v>0.1600195315524085</c:v>
                </c:pt>
                <c:pt idx="18">
                  <c:v>0.15726016186489628</c:v>
                </c:pt>
                <c:pt idx="19">
                  <c:v>0.16060596961573287</c:v>
                </c:pt>
                <c:pt idx="20">
                  <c:v>0.16858815156775078</c:v>
                </c:pt>
                <c:pt idx="21">
                  <c:v>0.15914309841190924</c:v>
                </c:pt>
                <c:pt idx="22">
                  <c:v>0.14581683130029824</c:v>
                </c:pt>
                <c:pt idx="23">
                  <c:v>0.14391767659678903</c:v>
                </c:pt>
                <c:pt idx="24">
                  <c:v>0.14832985138765373</c:v>
                </c:pt>
                <c:pt idx="25">
                  <c:v>0.13924420550048028</c:v>
                </c:pt>
                <c:pt idx="26">
                  <c:v>0.1496917909751216</c:v>
                </c:pt>
                <c:pt idx="27">
                  <c:v>0.15217455158834628</c:v>
                </c:pt>
                <c:pt idx="28">
                  <c:v>0.1426960864008023</c:v>
                </c:pt>
                <c:pt idx="29">
                  <c:v>0.1391429059444325</c:v>
                </c:pt>
                <c:pt idx="30">
                  <c:v>0.13696429760814968</c:v>
                </c:pt>
                <c:pt idx="31">
                  <c:v>0.12840716229274726</c:v>
                </c:pt>
                <c:pt idx="32">
                  <c:v>0.12769423145640213</c:v>
                </c:pt>
                <c:pt idx="33">
                  <c:v>0.12690288455354995</c:v>
                </c:pt>
                <c:pt idx="34">
                  <c:v>0.14522559114144437</c:v>
                </c:pt>
                <c:pt idx="35">
                  <c:v>0.15333360683007108</c:v>
                </c:pt>
                <c:pt idx="36">
                  <c:v>0.1503527238817293</c:v>
                </c:pt>
                <c:pt idx="37">
                  <c:v>0.13979117022483853</c:v>
                </c:pt>
                <c:pt idx="38">
                  <c:v>0.14804343997365266</c:v>
                </c:pt>
                <c:pt idx="39">
                  <c:v>0.14951796490342065</c:v>
                </c:pt>
                <c:pt idx="40">
                  <c:v>0.16030528737190236</c:v>
                </c:pt>
                <c:pt idx="41">
                  <c:v>0.15634469960017255</c:v>
                </c:pt>
                <c:pt idx="42">
                  <c:v>0.15953074270135825</c:v>
                </c:pt>
                <c:pt idx="43">
                  <c:v>0.172714554590048</c:v>
                </c:pt>
                <c:pt idx="44">
                  <c:v>0.17722739986562766</c:v>
                </c:pt>
                <c:pt idx="45">
                  <c:v>0.16963577414313818</c:v>
                </c:pt>
                <c:pt idx="46">
                  <c:v>0.17404151180500788</c:v>
                </c:pt>
                <c:pt idx="47">
                  <c:v>0.16195688998385296</c:v>
                </c:pt>
                <c:pt idx="48">
                  <c:v>0.1829890773438436</c:v>
                </c:pt>
                <c:pt idx="49">
                  <c:v>0.19324297432454707</c:v>
                </c:pt>
                <c:pt idx="50">
                  <c:v>0.1651630620265228</c:v>
                </c:pt>
                <c:pt idx="51">
                  <c:v>0.16351460615945235</c:v>
                </c:pt>
                <c:pt idx="52">
                  <c:v>0.17493053826241117</c:v>
                </c:pt>
                <c:pt idx="53">
                  <c:v>0.17730901364136595</c:v>
                </c:pt>
                <c:pt idx="54">
                  <c:v>0.1807010801979924</c:v>
                </c:pt>
                <c:pt idx="55">
                  <c:v>0.17264165263708808</c:v>
                </c:pt>
                <c:pt idx="56">
                  <c:v>0.17071768816591254</c:v>
                </c:pt>
                <c:pt idx="57">
                  <c:v>0.17395849490230428</c:v>
                </c:pt>
                <c:pt idx="58">
                  <c:v>0.17699382419778306</c:v>
                </c:pt>
                <c:pt idx="59">
                  <c:v>0.2060331662823552</c:v>
                </c:pt>
                <c:pt idx="60">
                  <c:v>0.20609869306891496</c:v>
                </c:pt>
                <c:pt idx="61">
                  <c:v>0.19261542540398996</c:v>
                </c:pt>
                <c:pt idx="62">
                  <c:v>0.18989510449387362</c:v>
                </c:pt>
                <c:pt idx="63">
                  <c:v>0.19562585846376895</c:v>
                </c:pt>
                <c:pt idx="64">
                  <c:v>0.2025949400973537</c:v>
                </c:pt>
                <c:pt idx="65">
                  <c:v>0.1940806348074227</c:v>
                </c:pt>
                <c:pt idx="66">
                  <c:v>0.18962793751316429</c:v>
                </c:pt>
                <c:pt idx="67">
                  <c:v>0.1868184059387662</c:v>
                </c:pt>
                <c:pt idx="68">
                  <c:v>0.17648124324694678</c:v>
                </c:pt>
                <c:pt idx="69">
                  <c:v>0.16488125683923535</c:v>
                </c:pt>
                <c:pt idx="70">
                  <c:v>0.1606005018805266</c:v>
                </c:pt>
                <c:pt idx="71">
                  <c:v>0.16407492063947438</c:v>
                </c:pt>
                <c:pt idx="72">
                  <c:v>0.1750751166011435</c:v>
                </c:pt>
                <c:pt idx="73">
                  <c:v>0.17721074804130102</c:v>
                </c:pt>
                <c:pt idx="74">
                  <c:v>0.16853337942234026</c:v>
                </c:pt>
                <c:pt idx="75">
                  <c:v>0.16685636815626528</c:v>
                </c:pt>
                <c:pt idx="76">
                  <c:v>0.15644495195062671</c:v>
                </c:pt>
                <c:pt idx="77">
                  <c:v>0.14839216974277813</c:v>
                </c:pt>
                <c:pt idx="78">
                  <c:v>0.159142065624843</c:v>
                </c:pt>
                <c:pt idx="79">
                  <c:v>0.11794738388733537</c:v>
                </c:pt>
                <c:pt idx="80">
                  <c:v>0.11112177427722161</c:v>
                </c:pt>
                <c:pt idx="81">
                  <c:v>0.1430002851169278</c:v>
                </c:pt>
                <c:pt idx="82">
                  <c:v>0.13868920505268145</c:v>
                </c:pt>
                <c:pt idx="83">
                  <c:v>0.13361048343235524</c:v>
                </c:pt>
                <c:pt idx="84">
                  <c:v>0.13113601937808375</c:v>
                </c:pt>
                <c:pt idx="85">
                  <c:v>0.13462523499065907</c:v>
                </c:pt>
                <c:pt idx="86">
                  <c:v>0.15058256602695738</c:v>
                </c:pt>
                <c:pt idx="87">
                  <c:v>0.17012391340626173</c:v>
                </c:pt>
                <c:pt idx="88">
                  <c:v>0.15272893881700172</c:v>
                </c:pt>
                <c:pt idx="89">
                  <c:v>0.14253008551810734</c:v>
                </c:pt>
                <c:pt idx="90">
                  <c:v>0.14815511733228537</c:v>
                </c:pt>
                <c:pt idx="91">
                  <c:v>0.15619928794950974</c:v>
                </c:pt>
                <c:pt idx="92">
                  <c:v>0.16493414156064953</c:v>
                </c:pt>
                <c:pt idx="93">
                  <c:v>0.1656259973231152</c:v>
                </c:pt>
                <c:pt idx="94">
                  <c:v>0.15977163521862056</c:v>
                </c:pt>
                <c:pt idx="95">
                  <c:v>0.17095685525542081</c:v>
                </c:pt>
                <c:pt idx="96">
                  <c:v>0.17159977898088624</c:v>
                </c:pt>
                <c:pt idx="97">
                  <c:v>0.1841658527871043</c:v>
                </c:pt>
                <c:pt idx="98">
                  <c:v>0.19225718021116645</c:v>
                </c:pt>
                <c:pt idx="99">
                  <c:v>0.19623688527550143</c:v>
                </c:pt>
                <c:pt idx="100">
                  <c:v>0.2110248087519366</c:v>
                </c:pt>
                <c:pt idx="101">
                  <c:v>0.20180029580067932</c:v>
                </c:pt>
                <c:pt idx="102">
                  <c:v>0.1956348394568074</c:v>
                </c:pt>
                <c:pt idx="103">
                  <c:v>0.1731139173076628</c:v>
                </c:pt>
                <c:pt idx="104">
                  <c:v>0.19464939417691485</c:v>
                </c:pt>
              </c:numCache>
            </c:numRef>
          </c:xVal>
          <c:yVal>
            <c:numRef>
              <c:f>Sheet1!$B$2:$B$106</c:f>
              <c:numCache>
                <c:formatCode>General</c:formatCode>
                <c:ptCount val="105"/>
                <c:pt idx="0">
                  <c:v>0.22194230725584985</c:v>
                </c:pt>
                <c:pt idx="1">
                  <c:v>0.22026857992494867</c:v>
                </c:pt>
                <c:pt idx="2">
                  <c:v>0.20593717638936831</c:v>
                </c:pt>
                <c:pt idx="3">
                  <c:v>0.2040204890306369</c:v>
                </c:pt>
                <c:pt idx="4">
                  <c:v>0.19666111126804328</c:v>
                </c:pt>
                <c:pt idx="5">
                  <c:v>0.18637910155123696</c:v>
                </c:pt>
                <c:pt idx="6">
                  <c:v>0.20510359622875854</c:v>
                </c:pt>
                <c:pt idx="7">
                  <c:v>0.19365059045668384</c:v>
                </c:pt>
                <c:pt idx="8">
                  <c:v>0.2037377553408445</c:v>
                </c:pt>
                <c:pt idx="9">
                  <c:v>0.20627696516889404</c:v>
                </c:pt>
                <c:pt idx="10">
                  <c:v>0.21713827011840256</c:v>
                </c:pt>
                <c:pt idx="11">
                  <c:v>0.21172901921132456</c:v>
                </c:pt>
                <c:pt idx="12">
                  <c:v>0.2256641278097715</c:v>
                </c:pt>
                <c:pt idx="13">
                  <c:v>0.23085775851514484</c:v>
                </c:pt>
                <c:pt idx="14">
                  <c:v>0.22159297175633486</c:v>
                </c:pt>
                <c:pt idx="15">
                  <c:v>0.21491924999277728</c:v>
                </c:pt>
                <c:pt idx="16">
                  <c:v>0.2051609941635517</c:v>
                </c:pt>
                <c:pt idx="17">
                  <c:v>0.19201745288079825</c:v>
                </c:pt>
                <c:pt idx="18">
                  <c:v>0.18351630992812573</c:v>
                </c:pt>
                <c:pt idx="19">
                  <c:v>0.15794605134871628</c:v>
                </c:pt>
                <c:pt idx="20">
                  <c:v>0.17411278281842196</c:v>
                </c:pt>
                <c:pt idx="21">
                  <c:v>0.16995708154506436</c:v>
                </c:pt>
                <c:pt idx="22">
                  <c:v>0.16563987678521422</c:v>
                </c:pt>
                <c:pt idx="23">
                  <c:v>0.16956735496558506</c:v>
                </c:pt>
                <c:pt idx="24">
                  <c:v>0.18010355029585798</c:v>
                </c:pt>
                <c:pt idx="25">
                  <c:v>0.17641213389121338</c:v>
                </c:pt>
                <c:pt idx="26">
                  <c:v>0.17198937013380577</c:v>
                </c:pt>
                <c:pt idx="27">
                  <c:v>0.1726867436993904</c:v>
                </c:pt>
                <c:pt idx="28">
                  <c:v>0.163946587537092</c:v>
                </c:pt>
                <c:pt idx="29">
                  <c:v>0.17798194975201237</c:v>
                </c:pt>
                <c:pt idx="30">
                  <c:v>0.16221154850161845</c:v>
                </c:pt>
                <c:pt idx="31">
                  <c:v>0.15749670084255404</c:v>
                </c:pt>
                <c:pt idx="32">
                  <c:v>0.16348269653930786</c:v>
                </c:pt>
                <c:pt idx="33">
                  <c:v>0.18088082487411078</c:v>
                </c:pt>
                <c:pt idx="34">
                  <c:v>0.18054500054282924</c:v>
                </c:pt>
                <c:pt idx="35">
                  <c:v>0.19449394155381325</c:v>
                </c:pt>
                <c:pt idx="36">
                  <c:v>0.16721767225185966</c:v>
                </c:pt>
                <c:pt idx="37">
                  <c:v>0.13747257569109259</c:v>
                </c:pt>
                <c:pt idx="38">
                  <c:v>0.13328411361070094</c:v>
                </c:pt>
                <c:pt idx="39">
                  <c:v>0.13529929985626188</c:v>
                </c:pt>
                <c:pt idx="40">
                  <c:v>0.14140245313584818</c:v>
                </c:pt>
                <c:pt idx="41">
                  <c:v>0.1320315745741587</c:v>
                </c:pt>
                <c:pt idx="42">
                  <c:v>0.13478445830969937</c:v>
                </c:pt>
                <c:pt idx="43">
                  <c:v>0.14850637407242975</c:v>
                </c:pt>
                <c:pt idx="44">
                  <c:v>0.160577483329377</c:v>
                </c:pt>
                <c:pt idx="45">
                  <c:v>0.17985482748334494</c:v>
                </c:pt>
                <c:pt idx="46">
                  <c:v>0.1890920904278698</c:v>
                </c:pt>
                <c:pt idx="47">
                  <c:v>0.1872183925751916</c:v>
                </c:pt>
                <c:pt idx="48">
                  <c:v>0.20402986156410813</c:v>
                </c:pt>
                <c:pt idx="49">
                  <c:v>0.2373207055109464</c:v>
                </c:pt>
                <c:pt idx="50">
                  <c:v>0.19963127804987058</c:v>
                </c:pt>
                <c:pt idx="51">
                  <c:v>0.18215747110931246</c:v>
                </c:pt>
                <c:pt idx="52">
                  <c:v>0.19546332988463117</c:v>
                </c:pt>
                <c:pt idx="53">
                  <c:v>0.18087203153542927</c:v>
                </c:pt>
                <c:pt idx="54">
                  <c:v>0.1730390224674813</c:v>
                </c:pt>
                <c:pt idx="55">
                  <c:v>0.1718077183480027</c:v>
                </c:pt>
                <c:pt idx="56">
                  <c:v>0.18865047380459646</c:v>
                </c:pt>
                <c:pt idx="57">
                  <c:v>0.1838357464989319</c:v>
                </c:pt>
                <c:pt idx="58">
                  <c:v>0.19846960029818675</c:v>
                </c:pt>
                <c:pt idx="59">
                  <c:v>0.20095489936829733</c:v>
                </c:pt>
                <c:pt idx="60">
                  <c:v>0.20754898811435915</c:v>
                </c:pt>
                <c:pt idx="61">
                  <c:v>0.20793681621026736</c:v>
                </c:pt>
                <c:pt idx="62">
                  <c:v>0.215126935636785</c:v>
                </c:pt>
                <c:pt idx="63">
                  <c:v>0.22940080302768331</c:v>
                </c:pt>
                <c:pt idx="64">
                  <c:v>0.21880271394834502</c:v>
                </c:pt>
                <c:pt idx="65">
                  <c:v>0.21689451132421955</c:v>
                </c:pt>
                <c:pt idx="66">
                  <c:v>0.2178862817026121</c:v>
                </c:pt>
                <c:pt idx="67">
                  <c:v>0.21287441455179174</c:v>
                </c:pt>
                <c:pt idx="68">
                  <c:v>0.19509166798753105</c:v>
                </c:pt>
                <c:pt idx="69">
                  <c:v>0.1761484219894571</c:v>
                </c:pt>
                <c:pt idx="70">
                  <c:v>0.1632560695697152</c:v>
                </c:pt>
                <c:pt idx="71">
                  <c:v>0.1733943061477101</c:v>
                </c:pt>
                <c:pt idx="72">
                  <c:v>0.1759865159627206</c:v>
                </c:pt>
                <c:pt idx="73">
                  <c:v>0.17940107322139517</c:v>
                </c:pt>
                <c:pt idx="74">
                  <c:v>0.1715601227812625</c:v>
                </c:pt>
                <c:pt idx="75">
                  <c:v>0.16595561470116246</c:v>
                </c:pt>
                <c:pt idx="76">
                  <c:v>0.1590899603423085</c:v>
                </c:pt>
                <c:pt idx="77">
                  <c:v>0.16565724071676205</c:v>
                </c:pt>
                <c:pt idx="78">
                  <c:v>0.15544116232079283</c:v>
                </c:pt>
                <c:pt idx="79">
                  <c:v>0.18983507236620667</c:v>
                </c:pt>
                <c:pt idx="80">
                  <c:v>0.18471825886962817</c:v>
                </c:pt>
                <c:pt idx="81">
                  <c:v>0.16555171917709682</c:v>
                </c:pt>
                <c:pt idx="82">
                  <c:v>0.15227773695811903</c:v>
                </c:pt>
                <c:pt idx="83">
                  <c:v>0.14037588427832332</c:v>
                </c:pt>
                <c:pt idx="84">
                  <c:v>0.13738054466110589</c:v>
                </c:pt>
                <c:pt idx="85">
                  <c:v>0.1408924507766894</c:v>
                </c:pt>
                <c:pt idx="86">
                  <c:v>0.14388276219376805</c:v>
                </c:pt>
                <c:pt idx="87">
                  <c:v>0.16424116424116425</c:v>
                </c:pt>
                <c:pt idx="88">
                  <c:v>0.15143294683876612</c:v>
                </c:pt>
                <c:pt idx="89">
                  <c:v>0.13790962071271615</c:v>
                </c:pt>
                <c:pt idx="90">
                  <c:v>0.13506044905008635</c:v>
                </c:pt>
                <c:pt idx="91">
                  <c:v>0.13018990876931671</c:v>
                </c:pt>
                <c:pt idx="92">
                  <c:v>0.14122937388056858</c:v>
                </c:pt>
                <c:pt idx="93">
                  <c:v>0.13123975562509313</c:v>
                </c:pt>
                <c:pt idx="94">
                  <c:v>0.13373245077785742</c:v>
                </c:pt>
                <c:pt idx="95">
                  <c:v>0.14385922108024032</c:v>
                </c:pt>
                <c:pt idx="96">
                  <c:v>0.13698139399502945</c:v>
                </c:pt>
                <c:pt idx="97">
                  <c:v>0.14533199314137055</c:v>
                </c:pt>
                <c:pt idx="98">
                  <c:v>0.16315129011740842</c:v>
                </c:pt>
                <c:pt idx="99">
                  <c:v>0.17124577715327813</c:v>
                </c:pt>
                <c:pt idx="100">
                  <c:v>0.19575939007580978</c:v>
                </c:pt>
                <c:pt idx="101">
                  <c:v>0.17001159575417002</c:v>
                </c:pt>
                <c:pt idx="102">
                  <c:v>0.14514833816640643</c:v>
                </c:pt>
                <c:pt idx="103">
                  <c:v>0.16519679377366073</c:v>
                </c:pt>
                <c:pt idx="104">
                  <c:v>0.16716878359162227</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999724401328991</c:v>
                </c:pt>
                <c:pt idx="1">
                  <c:v>0.20494266487275584</c:v>
                </c:pt>
                <c:pt idx="2">
                  <c:v>0.197292926843291</c:v>
                </c:pt>
                <c:pt idx="3">
                  <c:v>0.20118339333056753</c:v>
                </c:pt>
                <c:pt idx="4">
                  <c:v>0.19452530925660316</c:v>
                </c:pt>
                <c:pt idx="5">
                  <c:v>0.19705230201911222</c:v>
                </c:pt>
                <c:pt idx="6">
                  <c:v>0.18616039567968057</c:v>
                </c:pt>
                <c:pt idx="7">
                  <c:v>0.17913350632506025</c:v>
                </c:pt>
                <c:pt idx="8">
                  <c:v>0.1936682443134883</c:v>
                </c:pt>
                <c:pt idx="9">
                  <c:v>0.19032660790810332</c:v>
                </c:pt>
                <c:pt idx="10">
                  <c:v>0.19551219523033578</c:v>
                </c:pt>
                <c:pt idx="11">
                  <c:v>0.18922753800087236</c:v>
                </c:pt>
                <c:pt idx="12">
                  <c:v>0.18540961803268138</c:v>
                </c:pt>
                <c:pt idx="13">
                  <c:v>0.1849134236974857</c:v>
                </c:pt>
                <c:pt idx="14">
                  <c:v>0.18558896933978403</c:v>
                </c:pt>
                <c:pt idx="15">
                  <c:v>0.17913314270333966</c:v>
                </c:pt>
                <c:pt idx="16">
                  <c:v>0.17472072746246053</c:v>
                </c:pt>
                <c:pt idx="17">
                  <c:v>0.16770539462620657</c:v>
                </c:pt>
                <c:pt idx="18">
                  <c:v>0.15866032473960287</c:v>
                </c:pt>
                <c:pt idx="19">
                  <c:v>0.17316104904519075</c:v>
                </c:pt>
                <c:pt idx="20">
                  <c:v>0.15641186244661628</c:v>
                </c:pt>
                <c:pt idx="21">
                  <c:v>0.1554440534617516</c:v>
                </c:pt>
                <c:pt idx="22">
                  <c:v>0.1637556956252123</c:v>
                </c:pt>
                <c:pt idx="23">
                  <c:v>0.14564592277769142</c:v>
                </c:pt>
                <c:pt idx="24">
                  <c:v>0.1442483826574329</c:v>
                </c:pt>
                <c:pt idx="25">
                  <c:v>0.1417868266551716</c:v>
                </c:pt>
                <c:pt idx="26">
                  <c:v>0.14684991525340405</c:v>
                </c:pt>
                <c:pt idx="27">
                  <c:v>0.15474640631848757</c:v>
                </c:pt>
                <c:pt idx="28">
                  <c:v>0.16034939977678475</c:v>
                </c:pt>
                <c:pt idx="29">
                  <c:v>0.15417817926603306</c:v>
                </c:pt>
                <c:pt idx="30">
                  <c:v>0.1497789968680673</c:v>
                </c:pt>
                <c:pt idx="31">
                  <c:v>0.14102315861598658</c:v>
                </c:pt>
                <c:pt idx="32">
                  <c:v>0.1400522326005582</c:v>
                </c:pt>
                <c:pt idx="33">
                  <c:v>0.15338290492585502</c:v>
                </c:pt>
                <c:pt idx="34">
                  <c:v>0.17435116000891257</c:v>
                </c:pt>
                <c:pt idx="35">
                  <c:v>0.1654546141892712</c:v>
                </c:pt>
                <c:pt idx="36">
                  <c:v>0.14289859719854645</c:v>
                </c:pt>
                <c:pt idx="37">
                  <c:v>0.16030725616323796</c:v>
                </c:pt>
                <c:pt idx="38">
                  <c:v>0.14688147813375604</c:v>
                </c:pt>
                <c:pt idx="39">
                  <c:v>0.1599742302135168</c:v>
                </c:pt>
                <c:pt idx="40">
                  <c:v>0.1588839575480448</c:v>
                </c:pt>
                <c:pt idx="41">
                  <c:v>0.16935043345612458</c:v>
                </c:pt>
                <c:pt idx="42">
                  <c:v>0.16515408950181593</c:v>
                </c:pt>
                <c:pt idx="43">
                  <c:v>0.17228251195035177</c:v>
                </c:pt>
                <c:pt idx="44">
                  <c:v>0.17175368339857408</c:v>
                </c:pt>
                <c:pt idx="45">
                  <c:v>0.17573679658039873</c:v>
                </c:pt>
                <c:pt idx="46">
                  <c:v>0.16476823862004703</c:v>
                </c:pt>
                <c:pt idx="47">
                  <c:v>0.16297984235647775</c:v>
                </c:pt>
                <c:pt idx="48">
                  <c:v>0.16533933588301694</c:v>
                </c:pt>
                <c:pt idx="49">
                  <c:v>0.18116665541889468</c:v>
                </c:pt>
                <c:pt idx="50">
                  <c:v>0.18659143778217863</c:v>
                </c:pt>
                <c:pt idx="51">
                  <c:v>0.16168848485257453</c:v>
                </c:pt>
              </c:numCache>
            </c:numRef>
          </c:xVal>
          <c:yVal>
            <c:numRef>
              <c:f>Sheet1!$B$109:$B$160</c:f>
              <c:numCache>
                <c:formatCode>General</c:formatCode>
                <c:ptCount val="52"/>
                <c:pt idx="0">
                  <c:v>0.16762589928057553</c:v>
                </c:pt>
                <c:pt idx="1">
                  <c:v>0.1615433092920664</c:v>
                </c:pt>
                <c:pt idx="2">
                  <c:v>0.16950079973061705</c:v>
                </c:pt>
                <c:pt idx="3">
                  <c:v>0.1768236380424746</c:v>
                </c:pt>
                <c:pt idx="4">
                  <c:v>0.165415823707281</c:v>
                </c:pt>
                <c:pt idx="5">
                  <c:v>0.16068098549834361</c:v>
                </c:pt>
                <c:pt idx="6">
                  <c:v>0.16907997798382657</c:v>
                </c:pt>
                <c:pt idx="7">
                  <c:v>0.16591660020508145</c:v>
                </c:pt>
                <c:pt idx="8">
                  <c:v>0.1669268719165678</c:v>
                </c:pt>
                <c:pt idx="9">
                  <c:v>0.1827140688114132</c:v>
                </c:pt>
                <c:pt idx="10">
                  <c:v>0.17981281576985728</c:v>
                </c:pt>
                <c:pt idx="11">
                  <c:v>0.2001124695394997</c:v>
                </c:pt>
                <c:pt idx="12">
                  <c:v>0.19026330031294855</c:v>
                </c:pt>
                <c:pt idx="13">
                  <c:v>0.18480108806528392</c:v>
                </c:pt>
                <c:pt idx="14">
                  <c:v>0.18698388253100023</c:v>
                </c:pt>
                <c:pt idx="15">
                  <c:v>0.17095786309760108</c:v>
                </c:pt>
                <c:pt idx="16">
                  <c:v>0.16961976822143474</c:v>
                </c:pt>
                <c:pt idx="17">
                  <c:v>0.14999830663460562</c:v>
                </c:pt>
                <c:pt idx="18">
                  <c:v>0.1481346309813463</c:v>
                </c:pt>
                <c:pt idx="19">
                  <c:v>0.15853748797276293</c:v>
                </c:pt>
                <c:pt idx="20">
                  <c:v>0.15641689593785402</c:v>
                </c:pt>
                <c:pt idx="21">
                  <c:v>0.1529496749337828</c:v>
                </c:pt>
                <c:pt idx="22">
                  <c:v>0.1511989127269197</c:v>
                </c:pt>
                <c:pt idx="23">
                  <c:v>0.15308917520543777</c:v>
                </c:pt>
                <c:pt idx="24">
                  <c:v>0.1520007631039252</c:v>
                </c:pt>
                <c:pt idx="25">
                  <c:v>0.1582287970413314</c:v>
                </c:pt>
                <c:pt idx="26">
                  <c:v>0.14265774654666216</c:v>
                </c:pt>
                <c:pt idx="27">
                  <c:v>0.1304051172707889</c:v>
                </c:pt>
                <c:pt idx="28">
                  <c:v>0.13956879902250602</c:v>
                </c:pt>
                <c:pt idx="29">
                  <c:v>0.12897674418604652</c:v>
                </c:pt>
                <c:pt idx="30">
                  <c:v>0.1453814872192099</c:v>
                </c:pt>
                <c:pt idx="31">
                  <c:v>0.13441646357974546</c:v>
                </c:pt>
                <c:pt idx="32">
                  <c:v>0.13719262788123768</c:v>
                </c:pt>
                <c:pt idx="33">
                  <c:v>0.15654888150786345</c:v>
                </c:pt>
                <c:pt idx="34">
                  <c:v>0.1764300266415922</c:v>
                </c:pt>
                <c:pt idx="35">
                  <c:v>0.16952813266464106</c:v>
                </c:pt>
                <c:pt idx="36">
                  <c:v>0.14872787908127588</c:v>
                </c:pt>
                <c:pt idx="37">
                  <c:v>0.13693289800691974</c:v>
                </c:pt>
                <c:pt idx="38">
                  <c:v>0.13522654069143225</c:v>
                </c:pt>
                <c:pt idx="39">
                  <c:v>0.15436158332299293</c:v>
                </c:pt>
                <c:pt idx="40">
                  <c:v>0.13784655587766934</c:v>
                </c:pt>
                <c:pt idx="41">
                  <c:v>0.1416366561949276</c:v>
                </c:pt>
                <c:pt idx="42">
                  <c:v>0.1381288239292998</c:v>
                </c:pt>
                <c:pt idx="43">
                  <c:v>0.13578618981764384</c:v>
                </c:pt>
                <c:pt idx="44">
                  <c:v>0.14003581068441165</c:v>
                </c:pt>
                <c:pt idx="45">
                  <c:v>0.15592435353145503</c:v>
                </c:pt>
                <c:pt idx="46">
                  <c:v>0.14998784933171325</c:v>
                </c:pt>
                <c:pt idx="47">
                  <c:v>0.15445870803871764</c:v>
                </c:pt>
                <c:pt idx="48">
                  <c:v>0.1474729938271605</c:v>
                </c:pt>
                <c:pt idx="49">
                  <c:v>0.15903343635852768</c:v>
                </c:pt>
                <c:pt idx="50">
                  <c:v>0.19861179620886477</c:v>
                </c:pt>
                <c:pt idx="51">
                  <c:v>0.1820915006823980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4083110838033123</c:v>
                </c:pt>
              </c:numCache>
            </c:numRef>
          </c:xVal>
          <c:yVal>
            <c:numRef>
              <c:f>Sheet1!$B$163:$B$164</c:f>
              <c:numCache>
                <c:formatCode>General</c:formatCode>
                <c:ptCount val="2"/>
                <c:pt idx="0">
                  <c:v>0.20418896749404122</c:v>
                </c:pt>
                <c:pt idx="1">
                  <c:v>0.2041889674940412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4083110838033123</c:v>
                </c:pt>
                <c:pt idx="1">
                  <c:v>0.24083110838033123</c:v>
                </c:pt>
              </c:numCache>
            </c:numRef>
          </c:xVal>
          <c:yVal>
            <c:numRef>
              <c:f>Sheet1!$B$167:$B$168</c:f>
              <c:numCache>
                <c:formatCode>General</c:formatCode>
                <c:ptCount val="2"/>
                <c:pt idx="0">
                  <c:v>0.204188967494041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19082877637039455</c:v>
                </c:pt>
              </c:numCache>
            </c:numRef>
          </c:xVal>
          <c:yVal>
            <c:numRef>
              <c:f>Sheet1!$B$171:$B$172</c:f>
              <c:numCache>
                <c:formatCode>General</c:formatCode>
                <c:ptCount val="2"/>
                <c:pt idx="0">
                  <c:v>0.17180243176923776</c:v>
                </c:pt>
                <c:pt idx="1">
                  <c:v>0.17180243176923776</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19082877637039455</c:v>
                </c:pt>
                <c:pt idx="1">
                  <c:v>0.19082877637039455</c:v>
                </c:pt>
              </c:numCache>
            </c:numRef>
          </c:xVal>
          <c:yVal>
            <c:numRef>
              <c:f>Sheet1!$B$175:$B$176</c:f>
              <c:numCache>
                <c:formatCode>General</c:formatCode>
                <c:ptCount val="2"/>
                <c:pt idx="0">
                  <c:v>0.1718024317692377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625565267105721</c:v>
                </c:pt>
              </c:numCache>
            </c:numRef>
          </c:xVal>
          <c:yVal>
            <c:numRef>
              <c:f>Sheet1!$B$179:$B$180</c:f>
              <c:numCache>
                <c:formatCode>General</c:formatCode>
                <c:ptCount val="2"/>
                <c:pt idx="0">
                  <c:v>0.15349048136967555</c:v>
                </c:pt>
                <c:pt idx="1">
                  <c:v>0.15349048136967555</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625565267105721</c:v>
                </c:pt>
                <c:pt idx="1">
                  <c:v>0.1625565267105721</c:v>
                </c:pt>
              </c:numCache>
            </c:numRef>
          </c:xVal>
          <c:yVal>
            <c:numRef>
              <c:f>Sheet1!$B$183:$B$184</c:f>
              <c:numCache>
                <c:formatCode>General</c:formatCode>
                <c:ptCount val="2"/>
                <c:pt idx="0">
                  <c:v>0.153490481369675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999724401328991</c:v>
                </c:pt>
                <c:pt idx="1">
                  <c:v>0.20494266487275584</c:v>
                </c:pt>
                <c:pt idx="2">
                  <c:v>0.197292926843291</c:v>
                </c:pt>
                <c:pt idx="3">
                  <c:v>0.20118339333056753</c:v>
                </c:pt>
                <c:pt idx="4">
                  <c:v>0.19452530925660316</c:v>
                </c:pt>
                <c:pt idx="5">
                  <c:v>0.19705230201911222</c:v>
                </c:pt>
                <c:pt idx="6">
                  <c:v>0.18616039567968057</c:v>
                </c:pt>
                <c:pt idx="7">
                  <c:v>0.17913350632506025</c:v>
                </c:pt>
                <c:pt idx="8">
                  <c:v>0.1936682443134883</c:v>
                </c:pt>
                <c:pt idx="9">
                  <c:v>0.19032660790810332</c:v>
                </c:pt>
                <c:pt idx="10">
                  <c:v>0.19551219523033578</c:v>
                </c:pt>
                <c:pt idx="11">
                  <c:v>0.18922753800087236</c:v>
                </c:pt>
                <c:pt idx="12">
                  <c:v>0.18540961803268138</c:v>
                </c:pt>
                <c:pt idx="13">
                  <c:v>0.1849134236974857</c:v>
                </c:pt>
                <c:pt idx="14">
                  <c:v>0.18558896933978403</c:v>
                </c:pt>
                <c:pt idx="15">
                  <c:v>0.17913314270333966</c:v>
                </c:pt>
                <c:pt idx="16">
                  <c:v>0.17472072746246053</c:v>
                </c:pt>
                <c:pt idx="17">
                  <c:v>0.16770539462620657</c:v>
                </c:pt>
                <c:pt idx="18">
                  <c:v>0.15866032473960287</c:v>
                </c:pt>
                <c:pt idx="19">
                  <c:v>0.17316104904519075</c:v>
                </c:pt>
                <c:pt idx="20">
                  <c:v>0.15641186244661628</c:v>
                </c:pt>
                <c:pt idx="21">
                  <c:v>0.1554440534617516</c:v>
                </c:pt>
                <c:pt idx="22">
                  <c:v>0.1637556956252123</c:v>
                </c:pt>
                <c:pt idx="23">
                  <c:v>0.14564592277769142</c:v>
                </c:pt>
                <c:pt idx="24">
                  <c:v>0.1442483826574329</c:v>
                </c:pt>
                <c:pt idx="25">
                  <c:v>0.1417868266551716</c:v>
                </c:pt>
                <c:pt idx="26">
                  <c:v>0.14684991525340405</c:v>
                </c:pt>
                <c:pt idx="27">
                  <c:v>0.15474640631848757</c:v>
                </c:pt>
                <c:pt idx="28">
                  <c:v>0.16034939977678475</c:v>
                </c:pt>
                <c:pt idx="29">
                  <c:v>0.15417817926603306</c:v>
                </c:pt>
                <c:pt idx="30">
                  <c:v>0.1497789968680673</c:v>
                </c:pt>
                <c:pt idx="31">
                  <c:v>0.14102315861598658</c:v>
                </c:pt>
                <c:pt idx="32">
                  <c:v>0.1400522326005582</c:v>
                </c:pt>
                <c:pt idx="33">
                  <c:v>0.15338290492585502</c:v>
                </c:pt>
                <c:pt idx="34">
                  <c:v>0.17435116000891257</c:v>
                </c:pt>
                <c:pt idx="35">
                  <c:v>0.1654546141892712</c:v>
                </c:pt>
                <c:pt idx="36">
                  <c:v>0.14289859719854645</c:v>
                </c:pt>
                <c:pt idx="37">
                  <c:v>0.16030725616323796</c:v>
                </c:pt>
                <c:pt idx="38">
                  <c:v>0.14688147813375604</c:v>
                </c:pt>
                <c:pt idx="39">
                  <c:v>0.1599742302135168</c:v>
                </c:pt>
                <c:pt idx="40">
                  <c:v>0.1588839575480448</c:v>
                </c:pt>
                <c:pt idx="41">
                  <c:v>0.16935043345612458</c:v>
                </c:pt>
                <c:pt idx="42">
                  <c:v>0.16515408950181593</c:v>
                </c:pt>
                <c:pt idx="43">
                  <c:v>0.17228251195035177</c:v>
                </c:pt>
                <c:pt idx="44">
                  <c:v>0.17175368339857408</c:v>
                </c:pt>
                <c:pt idx="45">
                  <c:v>0.17573679658039873</c:v>
                </c:pt>
                <c:pt idx="46">
                  <c:v>0.16476823862004703</c:v>
                </c:pt>
                <c:pt idx="47">
                  <c:v>0.16297984235647775</c:v>
                </c:pt>
                <c:pt idx="48">
                  <c:v>0.16533933588301694</c:v>
                </c:pt>
                <c:pt idx="49">
                  <c:v>0.18116665541889468</c:v>
                </c:pt>
                <c:pt idx="50">
                  <c:v>0.18659143778217863</c:v>
                </c:pt>
                <c:pt idx="51">
                  <c:v>0.16168848485257453</c:v>
                </c:pt>
                <c:pt idx="52">
                  <c:v>0.19082877637039455</c:v>
                </c:pt>
                <c:pt idx="53">
                  <c:v>0.24083110838033123</c:v>
                </c:pt>
                <c:pt idx="54">
                  <c:v>0.1625565267105721</c:v>
                </c:pt>
              </c:numCache>
            </c:numRef>
          </c:xVal>
          <c:yVal>
            <c:numRef>
              <c:f>Sheet1!$B$187:$B$241</c:f>
              <c:numCache>
                <c:formatCode>General</c:formatCode>
                <c:ptCount val="55"/>
                <c:pt idx="0">
                  <c:v>0.17772478741139253</c:v>
                </c:pt>
                <c:pt idx="1">
                  <c:v>0.18094400448842174</c:v>
                </c:pt>
                <c:pt idx="2">
                  <c:v>0.17598926529890918</c:v>
                </c:pt>
                <c:pt idx="3">
                  <c:v>0.1785091224097994</c:v>
                </c:pt>
                <c:pt idx="4">
                  <c:v>0.1741966779886604</c:v>
                </c:pt>
                <c:pt idx="5">
                  <c:v>0.17583341247862488</c:v>
                </c:pt>
                <c:pt idx="6">
                  <c:v>0.16877871923545543</c:v>
                </c:pt>
                <c:pt idx="7">
                  <c:v>0.1642273994475618</c:v>
                </c:pt>
                <c:pt idx="8">
                  <c:v>0.17364155659165934</c:v>
                </c:pt>
                <c:pt idx="9">
                  <c:v>0.17147717700230744</c:v>
                </c:pt>
                <c:pt idx="10">
                  <c:v>0.1748358845328321</c:v>
                </c:pt>
                <c:pt idx="11">
                  <c:v>0.17076530886768687</c:v>
                </c:pt>
                <c:pt idx="12">
                  <c:v>0.16829244017388903</c:v>
                </c:pt>
                <c:pt idx="13">
                  <c:v>0.16797105485209912</c:v>
                </c:pt>
                <c:pt idx="14">
                  <c:v>0.16840860610618227</c:v>
                </c:pt>
                <c:pt idx="15">
                  <c:v>0.16422716392958953</c:v>
                </c:pt>
                <c:pt idx="16">
                  <c:v>0.16136924034708539</c:v>
                </c:pt>
                <c:pt idx="17">
                  <c:v>0.15682540572198078</c:v>
                </c:pt>
                <c:pt idx="18">
                  <c:v>0.15096690938309762</c:v>
                </c:pt>
                <c:pt idx="19">
                  <c:v>0.16035903584762176</c:v>
                </c:pt>
                <c:pt idx="20">
                  <c:v>0.14951057921907224</c:v>
                </c:pt>
                <c:pt idx="21">
                  <c:v>0.1488837288502359</c:v>
                </c:pt>
                <c:pt idx="22">
                  <c:v>0.15426718368200673</c:v>
                </c:pt>
                <c:pt idx="23">
                  <c:v>0.14253747465208075</c:v>
                </c:pt>
                <c:pt idx="24">
                  <c:v>0.14163228720957097</c:v>
                </c:pt>
                <c:pt idx="25">
                  <c:v>0.1400379361423048</c:v>
                </c:pt>
                <c:pt idx="26">
                  <c:v>0.1433173011873574</c:v>
                </c:pt>
                <c:pt idx="27">
                  <c:v>0.14843186244280238</c:v>
                </c:pt>
                <c:pt idx="28">
                  <c:v>0.1520609241387033</c:v>
                </c:pt>
                <c:pt idx="29">
                  <c:v>0.14806382149362304</c:v>
                </c:pt>
                <c:pt idx="30">
                  <c:v>0.14521446883016464</c:v>
                </c:pt>
                <c:pt idx="31">
                  <c:v>0.13954330796720207</c:v>
                </c:pt>
                <c:pt idx="32">
                  <c:v>0.1389144386960936</c:v>
                </c:pt>
                <c:pt idx="33">
                  <c:v>0.1475487219013865</c:v>
                </c:pt>
                <c:pt idx="34">
                  <c:v>0.16112987132056325</c:v>
                </c:pt>
                <c:pt idx="35">
                  <c:v>0.1553675740949477</c:v>
                </c:pt>
                <c:pt idx="36">
                  <c:v>0.1407580304853774</c:v>
                </c:pt>
                <c:pt idx="37">
                  <c:v>0.15203362769890058</c:v>
                </c:pt>
                <c:pt idx="38">
                  <c:v>0.14333774448092007</c:v>
                </c:pt>
                <c:pt idx="39">
                  <c:v>0.15181792662288301</c:v>
                </c:pt>
                <c:pt idx="40">
                  <c:v>0.15111175646619773</c:v>
                </c:pt>
                <c:pt idx="41">
                  <c:v>0.15789089820387625</c:v>
                </c:pt>
                <c:pt idx="42">
                  <c:v>0.15517292410293287</c:v>
                </c:pt>
                <c:pt idx="43">
                  <c:v>0.15979000692709233</c:v>
                </c:pt>
                <c:pt idx="44">
                  <c:v>0.15944748440672188</c:v>
                </c:pt>
                <c:pt idx="45">
                  <c:v>0.16202734882851452</c:v>
                </c:pt>
                <c:pt idx="46">
                  <c:v>0.15492300829171887</c:v>
                </c:pt>
                <c:pt idx="47">
                  <c:v>0.1537646631275637</c:v>
                </c:pt>
                <c:pt idx="48">
                  <c:v>0.15529290827770026</c:v>
                </c:pt>
                <c:pt idx="49">
                  <c:v>0.1655442711436306</c:v>
                </c:pt>
                <c:pt idx="50">
                  <c:v>0.1690579054231851</c:v>
                </c:pt>
                <c:pt idx="51">
                  <c:v>0.15292825021935488</c:v>
                </c:pt>
                <c:pt idx="52">
                  <c:v>0.17180243176923776</c:v>
                </c:pt>
                <c:pt idx="53">
                  <c:v>0.20418896749404122</c:v>
                </c:pt>
                <c:pt idx="54">
                  <c:v>0.1534904813696755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8478484661313563"/>
          <c:min val="0.1031813953488372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3.0490593651858403e-05</c:v>
                </c:pt>
                <c:pt idx="2">
                  <c:v>0.0</c:v>
                </c:pt>
                <c:pt idx="3">
                  <c:v>4.098360655737705e-05</c:v>
                </c:pt>
                <c:pt idx="4">
                  <c:v>4.1983290650321174e-05</c:v>
                </c:pt>
                <c:pt idx="5">
                  <c:v>8.710422019946867e-05</c:v>
                </c:pt>
                <c:pt idx="6">
                  <c:v>7.334873656801261e-05</c:v>
                </c:pt>
                <c:pt idx="7">
                  <c:v>0.00010172250101722501</c:v>
                </c:pt>
                <c:pt idx="8">
                  <c:v>0.00013319717621986413</c:v>
                </c:pt>
                <c:pt idx="9">
                  <c:v>0.0002985594506506108</c:v>
                </c:pt>
                <c:pt idx="10">
                  <c:v>0.000343300490919702</c:v>
                </c:pt>
                <c:pt idx="11">
                  <c:v>0.0002573422974233602</c:v>
                </c:pt>
                <c:pt idx="12">
                  <c:v>0.0003287998804364071</c:v>
                </c:pt>
                <c:pt idx="13">
                  <c:v>0.00032409180636987716</c:v>
                </c:pt>
                <c:pt idx="14">
                  <c:v>0.0003517523663341008</c:v>
                </c:pt>
                <c:pt idx="15">
                  <c:v>0.0003256056264652253</c:v>
                </c:pt>
                <c:pt idx="16">
                  <c:v>0.0003461884650003462</c:v>
                </c:pt>
                <c:pt idx="17">
                  <c:v>0.0005456453305351522</c:v>
                </c:pt>
                <c:pt idx="18">
                  <c:v>0.0006545930613135501</c:v>
                </c:pt>
                <c:pt idx="19">
                  <c:v>0.00041851948731362804</c:v>
                </c:pt>
                <c:pt idx="20">
                  <c:v>0.0005812263876780006</c:v>
                </c:pt>
                <c:pt idx="21">
                  <c:v>0.0005997491957908511</c:v>
                </c:pt>
                <c:pt idx="22">
                  <c:v>0.0008912126433367002</c:v>
                </c:pt>
                <c:pt idx="23">
                  <c:v>0.0008319929003272505</c:v>
                </c:pt>
                <c:pt idx="24">
                  <c:v>0.0007712082262210797</c:v>
                </c:pt>
                <c:pt idx="25">
                  <c:v>0.0011096469935501767</c:v>
                </c:pt>
                <c:pt idx="26">
                  <c:v>0.001448960370933855</c:v>
                </c:pt>
                <c:pt idx="27">
                  <c:v>0.0019232310281272539</c:v>
                </c:pt>
                <c:pt idx="28">
                  <c:v>0.0013378821325841193</c:v>
                </c:pt>
                <c:pt idx="29">
                  <c:v>0.0012786863180563968</c:v>
                </c:pt>
                <c:pt idx="30">
                  <c:v>0.0016978922716627636</c:v>
                </c:pt>
                <c:pt idx="31">
                  <c:v>0.0018280143194455024</c:v>
                </c:pt>
                <c:pt idx="32">
                  <c:v>0.001646161843701265</c:v>
                </c:pt>
                <c:pt idx="33">
                  <c:v>0.0016679834957422526</c:v>
                </c:pt>
                <c:pt idx="34">
                  <c:v>0.0018284321194575652</c:v>
                </c:pt>
                <c:pt idx="35">
                  <c:v>0.0016132749481447338</c:v>
                </c:pt>
                <c:pt idx="36">
                  <c:v>0.0014814001975200263</c:v>
                </c:pt>
                <c:pt idx="37">
                  <c:v>0.002191587133262637</c:v>
                </c:pt>
                <c:pt idx="38">
                  <c:v>0.0028035199750798224</c:v>
                </c:pt>
                <c:pt idx="39">
                  <c:v>0.0024772255074316765</c:v>
                </c:pt>
                <c:pt idx="40">
                  <c:v>0.0027209826634533156</c:v>
                </c:pt>
                <c:pt idx="41">
                  <c:v>0.0021604938271604936</c:v>
                </c:pt>
                <c:pt idx="42">
                  <c:v>0.0021921812203142127</c:v>
                </c:pt>
                <c:pt idx="43">
                  <c:v>0.002098564852423504</c:v>
                </c:pt>
                <c:pt idx="44">
                  <c:v>0.0022365805168986083</c:v>
                </c:pt>
                <c:pt idx="45">
                  <c:v>0.002911208151382824</c:v>
                </c:pt>
                <c:pt idx="46">
                  <c:v>0.0034041028397384216</c:v>
                </c:pt>
                <c:pt idx="47">
                  <c:v>0.0032136154459212795</c:v>
                </c:pt>
                <c:pt idx="48">
                  <c:v>0.002910157104721894</c:v>
                </c:pt>
                <c:pt idx="49">
                  <c:v>0.0022968516726002003</c:v>
                </c:pt>
                <c:pt idx="50">
                  <c:v>0.0032512371964552884</c:v>
                </c:pt>
                <c:pt idx="51">
                  <c:v>0.002970982052012535</c:v>
                </c:pt>
                <c:pt idx="52">
                  <c:v>0.0025500265627766954</c:v>
                </c:pt>
                <c:pt idx="53">
                  <c:v>0.002119003220884896</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0664262097986174</c:v>
                </c:pt>
                <c:pt idx="1">
                  <c:v>0.002584287531806616</c:v>
                </c:pt>
                <c:pt idx="2">
                  <c:v>0.0023189627911879415</c:v>
                </c:pt>
                <c:pt idx="3">
                  <c:v>0.0025944076102623233</c:v>
                </c:pt>
                <c:pt idx="4">
                  <c:v>0.002422018348623853</c:v>
                </c:pt>
                <c:pt idx="5">
                  <c:v>0.002150050922258685</c:v>
                </c:pt>
                <c:pt idx="6">
                  <c:v>0.0022295812977474673</c:v>
                </c:pt>
                <c:pt idx="7">
                  <c:v>0.002686126158391906</c:v>
                </c:pt>
                <c:pt idx="8">
                  <c:v>0.0032404406999351912</c:v>
                </c:pt>
                <c:pt idx="9">
                  <c:v>0.0032582258730668623</c:v>
                </c:pt>
                <c:pt idx="10">
                  <c:v>0.003072538629380594</c:v>
                </c:pt>
                <c:pt idx="11">
                  <c:v>0.0030858306292549467</c:v>
                </c:pt>
                <c:pt idx="12">
                  <c:v>0.0032995875515560557</c:v>
                </c:pt>
                <c:pt idx="13">
                  <c:v>0.0049600774255988385</c:v>
                </c:pt>
                <c:pt idx="14">
                  <c:v>0.004908680847300225</c:v>
                </c:pt>
                <c:pt idx="15">
                  <c:v>0.004736615472943878</c:v>
                </c:pt>
                <c:pt idx="16">
                  <c:v>0.0046569741026806</c:v>
                </c:pt>
                <c:pt idx="17">
                  <c:v>0.006199217574480891</c:v>
                </c:pt>
                <c:pt idx="18">
                  <c:v>0.0032564262454098246</c:v>
                </c:pt>
                <c:pt idx="19">
                  <c:v>0.00297156750185723</c:v>
                </c:pt>
                <c:pt idx="20">
                  <c:v>0.003695602986650577</c:v>
                </c:pt>
                <c:pt idx="21">
                  <c:v>0.004404098507999281</c:v>
                </c:pt>
                <c:pt idx="22">
                  <c:v>0.003802617615847188</c:v>
                </c:pt>
                <c:pt idx="23">
                  <c:v>0.004168982768204558</c:v>
                </c:pt>
                <c:pt idx="24">
                  <c:v>0.0036658141517476556</c:v>
                </c:pt>
                <c:pt idx="25">
                  <c:v>0.0038516660695091364</c:v>
                </c:pt>
                <c:pt idx="26">
                  <c:v>0.0037310339109526574</c:v>
                </c:pt>
                <c:pt idx="27">
                  <c:v>0.004033764099499514</c:v>
                </c:pt>
                <c:pt idx="28">
                  <c:v>0.003176319524227884</c:v>
                </c:pt>
                <c:pt idx="29">
                  <c:v>0.003818654533636659</c:v>
                </c:pt>
                <c:pt idx="30">
                  <c:v>0.003785011355034065</c:v>
                </c:pt>
                <c:pt idx="31">
                  <c:v>0.004045671131888879</c:v>
                </c:pt>
                <c:pt idx="32">
                  <c:v>0.0033429215579569307</c:v>
                </c:pt>
                <c:pt idx="33">
                  <c:v>0.0026634382566585956</c:v>
                </c:pt>
                <c:pt idx="34">
                  <c:v>0.0026210375352356463</c:v>
                </c:pt>
                <c:pt idx="35">
                  <c:v>0.003599801390268123</c:v>
                </c:pt>
                <c:pt idx="36">
                  <c:v>0.0043179587831207065</c:v>
                </c:pt>
                <c:pt idx="37">
                  <c:v>0.004420475643179206</c:v>
                </c:pt>
                <c:pt idx="38">
                  <c:v>0.0053060823425370935</c:v>
                </c:pt>
                <c:pt idx="39">
                  <c:v>0.004878748744439661</c:v>
                </c:pt>
                <c:pt idx="40">
                  <c:v>0.004401285454799497</c:v>
                </c:pt>
                <c:pt idx="41">
                  <c:v>0.003762872986532876</c:v>
                </c:pt>
                <c:pt idx="42">
                  <c:v>0.004255636852321935</c:v>
                </c:pt>
                <c:pt idx="43">
                  <c:v>0.0032927230819888046</c:v>
                </c:pt>
                <c:pt idx="44">
                  <c:v>0.0023374988762024634</c:v>
                </c:pt>
                <c:pt idx="45">
                  <c:v>0.0018673830428515266</c:v>
                </c:pt>
                <c:pt idx="46">
                  <c:v>0.002054104332997442</c:v>
                </c:pt>
                <c:pt idx="47">
                  <c:v>0.0019132883289411935</c:v>
                </c:pt>
                <c:pt idx="48">
                  <c:v>0.00215801462654358</c:v>
                </c:pt>
                <c:pt idx="49">
                  <c:v>0.0019175188972876834</c:v>
                </c:pt>
                <c:pt idx="50">
                  <c:v>0.0015597399180666742</c:v>
                </c:pt>
                <c:pt idx="51">
                  <c:v>0.0020252480928913794</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505.561180138525</c:v>
                </c:pt>
              </c:numCache>
            </c:numRef>
          </c:xVal>
          <c:yVal>
            <c:numRef>
              <c:f>Sheet1!$B$112:$B$113</c:f>
              <c:numCache>
                <c:formatCode>General</c:formatCode>
                <c:ptCount val="2"/>
                <c:pt idx="0">
                  <c:v>0.004038880257552293</c:v>
                </c:pt>
                <c:pt idx="1">
                  <c:v>0.004038880257552293</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505.561180138525</c:v>
                </c:pt>
                <c:pt idx="1">
                  <c:v>3505.561180138525</c:v>
                </c:pt>
              </c:numCache>
            </c:numRef>
          </c:xVal>
          <c:yVal>
            <c:numRef>
              <c:f>Sheet1!$B$116:$B$117</c:f>
              <c:numCache>
                <c:formatCode>General</c:formatCode>
                <c:ptCount val="2"/>
                <c:pt idx="0">
                  <c:v>0.00403888025755229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505.561180138525</c:v>
                </c:pt>
              </c:numCache>
            </c:numRef>
          </c:xVal>
          <c:yVal>
            <c:numRef>
              <c:f>Sheet1!$B$120:$B$121</c:f>
              <c:numCache>
                <c:formatCode>General</c:formatCode>
                <c:ptCount val="2"/>
                <c:pt idx="0">
                  <c:v>0.004038880257552293</c:v>
                </c:pt>
                <c:pt idx="1">
                  <c:v>0.004038880257552293</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505.561180138525</c:v>
                </c:pt>
                <c:pt idx="1">
                  <c:v>3505.561180138525</c:v>
                </c:pt>
              </c:numCache>
            </c:numRef>
          </c:xVal>
          <c:yVal>
            <c:numRef>
              <c:f>Sheet1!$B$124:$B$125</c:f>
              <c:numCache>
                <c:formatCode>General</c:formatCode>
                <c:ptCount val="2"/>
                <c:pt idx="0">
                  <c:v>0.00403888025755229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52.77177164404</c:v>
                </c:pt>
              </c:numCache>
            </c:numRef>
          </c:xVal>
          <c:yVal>
            <c:numRef>
              <c:f>Sheet1!$B$128:$B$129</c:f>
              <c:numCache>
                <c:formatCode>General</c:formatCode>
                <c:ptCount val="2"/>
                <c:pt idx="0">
                  <c:v>0.00280185101814344</c:v>
                </c:pt>
                <c:pt idx="1">
                  <c:v>0.00280185101814344</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52.77177164404</c:v>
                </c:pt>
                <c:pt idx="1">
                  <c:v>4252.77177164404</c:v>
                </c:pt>
              </c:numCache>
            </c:numRef>
          </c:xVal>
          <c:yVal>
            <c:numRef>
              <c:f>Sheet1!$B$132:$B$133</c:f>
              <c:numCache>
                <c:formatCode>General</c:formatCode>
                <c:ptCount val="2"/>
                <c:pt idx="0">
                  <c:v>0.0028018510181434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505.561180138525</c:v>
                </c:pt>
                <c:pt idx="53">
                  <c:v>3505.561180138525</c:v>
                </c:pt>
                <c:pt idx="54">
                  <c:v>4252.77177164404</c:v>
                </c:pt>
              </c:numCache>
            </c:numRef>
          </c:xVal>
          <c:yVal>
            <c:numRef>
              <c:f>Sheet1!$B$136:$B$190</c:f>
              <c:numCache>
                <c:formatCode>General</c:formatCode>
                <c:ptCount val="55"/>
                <c:pt idx="0">
                  <c:v>0.0025075714823035514</c:v>
                </c:pt>
                <c:pt idx="1">
                  <c:v>0.0036804575731650135</c:v>
                </c:pt>
                <c:pt idx="2">
                  <c:v>0.0026325589992758133</c:v>
                </c:pt>
                <c:pt idx="3">
                  <c:v>0.003815140202484693</c:v>
                </c:pt>
                <c:pt idx="4">
                  <c:v>0.0024354756522326007</c:v>
                </c:pt>
                <c:pt idx="5">
                  <c:v>0.0018283702731750045</c:v>
                </c:pt>
                <c:pt idx="6">
                  <c:v>0.002376708159733211</c:v>
                </c:pt>
                <c:pt idx="7">
                  <c:v>0.002893741306289407</c:v>
                </c:pt>
                <c:pt idx="8">
                  <c:v>0.003101073043666874</c:v>
                </c:pt>
                <c:pt idx="9">
                  <c:v>0.0030985591219941933</c:v>
                </c:pt>
                <c:pt idx="10">
                  <c:v>0.002760276815637332</c:v>
                </c:pt>
                <c:pt idx="11">
                  <c:v>0.0032330543453650117</c:v>
                </c:pt>
                <c:pt idx="12">
                  <c:v>0.0035430751062004145</c:v>
                </c:pt>
                <c:pt idx="13">
                  <c:v>0.004204177900368202</c:v>
                </c:pt>
                <c:pt idx="14">
                  <c:v>0.004221604335870983</c:v>
                </c:pt>
                <c:pt idx="15">
                  <c:v>0.0038518313735398718</c:v>
                </c:pt>
                <c:pt idx="16">
                  <c:v>0.0036431685903772</c:v>
                </c:pt>
                <c:pt idx="17">
                  <c:v>0.005006911747070953</c:v>
                </c:pt>
                <c:pt idx="18">
                  <c:v>0.0030664987982902308</c:v>
                </c:pt>
                <c:pt idx="19">
                  <c:v>0.0026574045250544924</c:v>
                </c:pt>
                <c:pt idx="20">
                  <c:v>0.0030366259258250653</c:v>
                </c:pt>
                <c:pt idx="21">
                  <c:v>0.0035988303626224615</c:v>
                </c:pt>
                <c:pt idx="22">
                  <c:v>0.003232950378107162</c:v>
                </c:pt>
                <c:pt idx="23">
                  <c:v>0.00475566029981748</c:v>
                </c:pt>
                <c:pt idx="24">
                  <c:v>0.0032459636683989683</c:v>
                </c:pt>
                <c:pt idx="25">
                  <c:v>0.0037155180475803564</c:v>
                </c:pt>
                <c:pt idx="26">
                  <c:v>0.0032905166183406975</c:v>
                </c:pt>
                <c:pt idx="27">
                  <c:v>0.0037523297411892207</c:v>
                </c:pt>
                <c:pt idx="28">
                  <c:v>0.0035016565704192957</c:v>
                </c:pt>
                <c:pt idx="29">
                  <c:v>0.0037923957093005476</c:v>
                </c:pt>
                <c:pt idx="30">
                  <c:v>0.003916343553694316</c:v>
                </c:pt>
                <c:pt idx="31">
                  <c:v>0.0036633786333218274</c:v>
                </c:pt>
                <c:pt idx="32">
                  <c:v>0.00285895465646719</c:v>
                </c:pt>
                <c:pt idx="33">
                  <c:v>0.002171619499388551</c:v>
                </c:pt>
                <c:pt idx="34">
                  <c:v>0.0020850662605700274</c:v>
                </c:pt>
                <c:pt idx="35">
                  <c:v>0.003353478063934193</c:v>
                </c:pt>
                <c:pt idx="36">
                  <c:v>0.002849032074354986</c:v>
                </c:pt>
                <c:pt idx="37">
                  <c:v>0.002976694430475456</c:v>
                </c:pt>
                <c:pt idx="38">
                  <c:v>0.003897341716239791</c:v>
                </c:pt>
                <c:pt idx="39">
                  <c:v>0.004573474070179238</c:v>
                </c:pt>
                <c:pt idx="40">
                  <c:v>0.004502017440080512</c:v>
                </c:pt>
                <c:pt idx="41">
                  <c:v>0.004164235434763811</c:v>
                </c:pt>
                <c:pt idx="42">
                  <c:v>0.004423282274167533</c:v>
                </c:pt>
                <c:pt idx="43">
                  <c:v>0.004134698800357072</c:v>
                </c:pt>
                <c:pt idx="44">
                  <c:v>0.0031001052210723077</c:v>
                </c:pt>
                <c:pt idx="45">
                  <c:v>0.0029362101100383568</c:v>
                </c:pt>
                <c:pt idx="46">
                  <c:v>0.003046397854745162</c:v>
                </c:pt>
                <c:pt idx="47">
                  <c:v>0.003109214275947135</c:v>
                </c:pt>
                <c:pt idx="48">
                  <c:v>0.003856045524094899</c:v>
                </c:pt>
                <c:pt idx="49">
                  <c:v>0.0035561787884074844</c:v>
                </c:pt>
                <c:pt idx="50">
                  <c:v>0.0030517374343111137</c:v>
                </c:pt>
                <c:pt idx="51">
                  <c:v>0.0028674460332543793</c:v>
                </c:pt>
                <c:pt idx="52">
                  <c:v>0.004038880257552293</c:v>
                </c:pt>
                <c:pt idx="53">
                  <c:v>0.004038880257552293</c:v>
                </c:pt>
                <c:pt idx="54">
                  <c:v>0.00280185101814343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74390610893770685"/>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147892161622008</c:v>
                </c:pt>
                <c:pt idx="1">
                  <c:v>0.6596993744567271</c:v>
                </c:pt>
                <c:pt idx="2">
                  <c:v>0.6493294473434253</c:v>
                </c:pt>
                <c:pt idx="3">
                  <c:v>0.6649424667998423</c:v>
                </c:pt>
                <c:pt idx="4">
                  <c:v>0.655521763013558</c:v>
                </c:pt>
                <c:pt idx="5">
                  <c:v>0.6517573194953427</c:v>
                </c:pt>
                <c:pt idx="6">
                  <c:v>0.6089753141625242</c:v>
                </c:pt>
                <c:pt idx="7">
                  <c:v>0.6020608191067461</c:v>
                </c:pt>
                <c:pt idx="8">
                  <c:v>0.6202016373974574</c:v>
                </c:pt>
                <c:pt idx="9">
                  <c:v>0.6340697191597521</c:v>
                </c:pt>
                <c:pt idx="10">
                  <c:v>0.6398445709341635</c:v>
                </c:pt>
                <c:pt idx="11">
                  <c:v>0.6721340093988811</c:v>
                </c:pt>
                <c:pt idx="12">
                  <c:v>0.6880210864797803</c:v>
                </c:pt>
                <c:pt idx="13">
                  <c:v>0.6900672724718766</c:v>
                </c:pt>
                <c:pt idx="14">
                  <c:v>0.7059377658839103</c:v>
                </c:pt>
                <c:pt idx="15">
                  <c:v>0.7098438718575583</c:v>
                </c:pt>
                <c:pt idx="16">
                  <c:v>0.7156839820469112</c:v>
                </c:pt>
                <c:pt idx="17">
                  <c:v>0.7073741257913853</c:v>
                </c:pt>
                <c:pt idx="18">
                  <c:v>0.7346204497504673</c:v>
                </c:pt>
                <c:pt idx="19">
                  <c:v>0.7257598497580912</c:v>
                </c:pt>
                <c:pt idx="20">
                  <c:v>0.7627988620518042</c:v>
                </c:pt>
                <c:pt idx="21">
                  <c:v>0.697248674502774</c:v>
                </c:pt>
                <c:pt idx="22">
                  <c:v>0.6349788147336418</c:v>
                </c:pt>
                <c:pt idx="23">
                  <c:v>0.6322014071023923</c:v>
                </c:pt>
                <c:pt idx="24">
                  <c:v>0.6264895096235225</c:v>
                </c:pt>
                <c:pt idx="25">
                  <c:v>0.6046086678539391</c:v>
                </c:pt>
                <c:pt idx="26">
                  <c:v>0.5984013740760824</c:v>
                </c:pt>
                <c:pt idx="27">
                  <c:v>0.6013558065964882</c:v>
                </c:pt>
                <c:pt idx="28">
                  <c:v>0.5928045036566371</c:v>
                </c:pt>
                <c:pt idx="29">
                  <c:v>0.6003457203708142</c:v>
                </c:pt>
                <c:pt idx="30">
                  <c:v>0.5968614398152753</c:v>
                </c:pt>
                <c:pt idx="31">
                  <c:v>0.5872242004543551</c:v>
                </c:pt>
                <c:pt idx="32">
                  <c:v>0.5728027710328555</c:v>
                </c:pt>
                <c:pt idx="33">
                  <c:v>0.56156205640569</c:v>
                </c:pt>
                <c:pt idx="34">
                  <c:v>0.5937239272778326</c:v>
                </c:pt>
                <c:pt idx="35">
                  <c:v>0.6643667581506695</c:v>
                </c:pt>
                <c:pt idx="36">
                  <c:v>0.6719533115864987</c:v>
                </c:pt>
                <c:pt idx="37">
                  <c:v>0.6360726315164099</c:v>
                </c:pt>
                <c:pt idx="38">
                  <c:v>0.6626052092607592</c:v>
                </c:pt>
                <c:pt idx="39">
                  <c:v>0.696810728057686</c:v>
                </c:pt>
                <c:pt idx="40">
                  <c:v>0.6917444528822266</c:v>
                </c:pt>
                <c:pt idx="41">
                  <c:v>0.6857292510783054</c:v>
                </c:pt>
                <c:pt idx="42">
                  <c:v>0.7019106168297857</c:v>
                </c:pt>
                <c:pt idx="43">
                  <c:v>0.7018994806082103</c:v>
                </c:pt>
                <c:pt idx="44">
                  <c:v>0.7123536707791487</c:v>
                </c:pt>
                <c:pt idx="45">
                  <c:v>0.6992015070526667</c:v>
                </c:pt>
                <c:pt idx="46">
                  <c:v>0.7123607681027236</c:v>
                </c:pt>
                <c:pt idx="47">
                  <c:v>0.7102068990113006</c:v>
                </c:pt>
                <c:pt idx="48">
                  <c:v>0.7227724578842466</c:v>
                </c:pt>
                <c:pt idx="49">
                  <c:v>0.7191993228688368</c:v>
                </c:pt>
                <c:pt idx="50">
                  <c:v>0.6743888788320843</c:v>
                </c:pt>
                <c:pt idx="51">
                  <c:v>0.6618241704170175</c:v>
                </c:pt>
                <c:pt idx="52">
                  <c:v>0.6759866028893707</c:v>
                </c:pt>
                <c:pt idx="53">
                  <c:v>0.6707060066851079</c:v>
                </c:pt>
                <c:pt idx="54">
                  <c:v>0.6409674841037365</c:v>
                </c:pt>
                <c:pt idx="55">
                  <c:v>0.6480652967904312</c:v>
                </c:pt>
                <c:pt idx="56">
                  <c:v>0.6380262114018499</c:v>
                </c:pt>
                <c:pt idx="57">
                  <c:v>0.6369001620722147</c:v>
                </c:pt>
                <c:pt idx="58">
                  <c:v>0.6190903070673747</c:v>
                </c:pt>
                <c:pt idx="59">
                  <c:v>0.6382678531541891</c:v>
                </c:pt>
                <c:pt idx="60">
                  <c:v>0.6436820912090232</c:v>
                </c:pt>
                <c:pt idx="61">
                  <c:v>0.6642104562008813</c:v>
                </c:pt>
                <c:pt idx="62">
                  <c:v>0.6400638388188397</c:v>
                </c:pt>
                <c:pt idx="63">
                  <c:v>0.6518455941218683</c:v>
                </c:pt>
                <c:pt idx="64">
                  <c:v>0.700789082226425</c:v>
                </c:pt>
                <c:pt idx="65">
                  <c:v>0.7058877589688326</c:v>
                </c:pt>
                <c:pt idx="66">
                  <c:v>0.7222326635584865</c:v>
                </c:pt>
                <c:pt idx="67">
                  <c:v>0.7414181731870788</c:v>
                </c:pt>
                <c:pt idx="68">
                  <c:v>0.7560028010451365</c:v>
                </c:pt>
                <c:pt idx="69">
                  <c:v>0.756767103829268</c:v>
                </c:pt>
                <c:pt idx="70">
                  <c:v>0.735858250465475</c:v>
                </c:pt>
                <c:pt idx="71">
                  <c:v>0.7117356617627466</c:v>
                </c:pt>
                <c:pt idx="72">
                  <c:v>0.7397067900168286</c:v>
                </c:pt>
                <c:pt idx="73">
                  <c:v>0.7255308368638748</c:v>
                </c:pt>
                <c:pt idx="74">
                  <c:v>0.7028818315378884</c:v>
                </c:pt>
                <c:pt idx="75">
                  <c:v>0.6781477269523005</c:v>
                </c:pt>
                <c:pt idx="76">
                  <c:v>0.6751182036615303</c:v>
                </c:pt>
                <c:pt idx="77">
                  <c:v>0.6752923390587218</c:v>
                </c:pt>
                <c:pt idx="78">
                  <c:v>0.6910663058625539</c:v>
                </c:pt>
                <c:pt idx="79">
                  <c:v>0.6905407192850413</c:v>
                </c:pt>
                <c:pt idx="80">
                  <c:v>0.703190283607512</c:v>
                </c:pt>
                <c:pt idx="81">
                  <c:v>0.7104639166973188</c:v>
                </c:pt>
                <c:pt idx="82">
                  <c:v>0.7223315331306671</c:v>
                </c:pt>
                <c:pt idx="83">
                  <c:v>0.6872739028981739</c:v>
                </c:pt>
                <c:pt idx="84">
                  <c:v>0.6959800935675576</c:v>
                </c:pt>
                <c:pt idx="85">
                  <c:v>0.6813167632342392</c:v>
                </c:pt>
                <c:pt idx="86">
                  <c:v>0.7006124713050603</c:v>
                </c:pt>
                <c:pt idx="87">
                  <c:v>0.7242609202506335</c:v>
                </c:pt>
                <c:pt idx="88">
                  <c:v>0.7090369652848357</c:v>
                </c:pt>
                <c:pt idx="89">
                  <c:v>0.6748809889432823</c:v>
                </c:pt>
                <c:pt idx="90">
                  <c:v>0.7006275213408577</c:v>
                </c:pt>
                <c:pt idx="91">
                  <c:v>0.728221922159853</c:v>
                </c:pt>
                <c:pt idx="92">
                  <c:v>0.7139518334439907</c:v>
                </c:pt>
                <c:pt idx="93">
                  <c:v>0.7239986798978317</c:v>
                </c:pt>
                <c:pt idx="94">
                  <c:v>0.73524025901333</c:v>
                </c:pt>
                <c:pt idx="95">
                  <c:v>0.7498637537665647</c:v>
                </c:pt>
                <c:pt idx="96">
                  <c:v>0.7461211891613153</c:v>
                </c:pt>
                <c:pt idx="97">
                  <c:v>0.7817838366414469</c:v>
                </c:pt>
                <c:pt idx="98">
                  <c:v>0.7895163770776964</c:v>
                </c:pt>
                <c:pt idx="99">
                  <c:v>0.7766715908024096</c:v>
                </c:pt>
                <c:pt idx="100">
                  <c:v>0.7643198514928543</c:v>
                </c:pt>
                <c:pt idx="101">
                  <c:v>0.7333101359379974</c:v>
                </c:pt>
                <c:pt idx="102">
                  <c:v>0.70261292239513</c:v>
                </c:pt>
                <c:pt idx="103">
                  <c:v>0.7183369370203164</c:v>
                </c:pt>
                <c:pt idx="104">
                  <c:v>0.7184166371529123</c:v>
                </c:pt>
              </c:numCache>
            </c:numRef>
          </c:xVal>
          <c:yVal>
            <c:numRef>
              <c:f>Sheet1!$B$2:$B$106</c:f>
              <c:numCache>
                <c:formatCode>General</c:formatCode>
                <c:ptCount val="105"/>
                <c:pt idx="0">
                  <c:v>0.21020646867371848</c:v>
                </c:pt>
                <c:pt idx="1">
                  <c:v>0.19998409879945936</c:v>
                </c:pt>
                <c:pt idx="2">
                  <c:v>0.20379256370121374</c:v>
                </c:pt>
                <c:pt idx="3">
                  <c:v>0.20844547314027345</c:v>
                </c:pt>
                <c:pt idx="4">
                  <c:v>0.21889864325618516</c:v>
                </c:pt>
                <c:pt idx="5">
                  <c:v>0.22279337606142435</c:v>
                </c:pt>
                <c:pt idx="6">
                  <c:v>0.25172147499839115</c:v>
                </c:pt>
                <c:pt idx="7">
                  <c:v>0.25146799765120376</c:v>
                </c:pt>
                <c:pt idx="8">
                  <c:v>0.2456400883405681</c:v>
                </c:pt>
                <c:pt idx="9">
                  <c:v>0.23977286240932336</c:v>
                </c:pt>
                <c:pt idx="10">
                  <c:v>0.23185535944898839</c:v>
                </c:pt>
                <c:pt idx="11">
                  <c:v>0.2112331761187162</c:v>
                </c:pt>
                <c:pt idx="12">
                  <c:v>0.20288239509515088</c:v>
                </c:pt>
                <c:pt idx="13">
                  <c:v>0.19351573264347777</c:v>
                </c:pt>
                <c:pt idx="14">
                  <c:v>0.17355556174921263</c:v>
                </c:pt>
                <c:pt idx="15">
                  <c:v>0.17153731590269733</c:v>
                </c:pt>
                <c:pt idx="16">
                  <c:v>0.16137339055793992</c:v>
                </c:pt>
                <c:pt idx="17">
                  <c:v>0.15487087283425957</c:v>
                </c:pt>
                <c:pt idx="18">
                  <c:v>0.14542892212574443</c:v>
                </c:pt>
                <c:pt idx="19">
                  <c:v>0.14849703640982218</c:v>
                </c:pt>
                <c:pt idx="20">
                  <c:v>0.1512384780044559</c:v>
                </c:pt>
                <c:pt idx="21">
                  <c:v>0.1542627262881015</c:v>
                </c:pt>
                <c:pt idx="22">
                  <c:v>0.17664387164650183</c:v>
                </c:pt>
                <c:pt idx="23">
                  <c:v>0.17933842806939254</c:v>
                </c:pt>
                <c:pt idx="24">
                  <c:v>0.1833583752137195</c:v>
                </c:pt>
                <c:pt idx="25">
                  <c:v>0.18293678563097737</c:v>
                </c:pt>
                <c:pt idx="26">
                  <c:v>0.20214267049908544</c:v>
                </c:pt>
                <c:pt idx="27">
                  <c:v>0.211397612119996</c:v>
                </c:pt>
                <c:pt idx="28">
                  <c:v>0.206163927712077</c:v>
                </c:pt>
                <c:pt idx="29">
                  <c:v>0.20307498083772937</c:v>
                </c:pt>
                <c:pt idx="30">
                  <c:v>0.20531302679765157</c:v>
                </c:pt>
                <c:pt idx="31">
                  <c:v>0.20395755029847445</c:v>
                </c:pt>
                <c:pt idx="32">
                  <c:v>0.21359064071725345</c:v>
                </c:pt>
                <c:pt idx="33">
                  <c:v>0.20973176388220366</c:v>
                </c:pt>
                <c:pt idx="34">
                  <c:v>0.21168379383421967</c:v>
                </c:pt>
                <c:pt idx="35">
                  <c:v>0.23083929294292269</c:v>
                </c:pt>
                <c:pt idx="36">
                  <c:v>0.192742538864411</c:v>
                </c:pt>
                <c:pt idx="37">
                  <c:v>0.20033653846153845</c:v>
                </c:pt>
                <c:pt idx="38">
                  <c:v>0.18773207310604234</c:v>
                </c:pt>
                <c:pt idx="39">
                  <c:v>0.17446483180428135</c:v>
                </c:pt>
                <c:pt idx="40">
                  <c:v>0.17987973900806004</c:v>
                </c:pt>
                <c:pt idx="41">
                  <c:v>0.17108289631060816</c:v>
                </c:pt>
                <c:pt idx="42">
                  <c:v>0.1702286184855496</c:v>
                </c:pt>
                <c:pt idx="43">
                  <c:v>0.1728169656964292</c:v>
                </c:pt>
                <c:pt idx="44">
                  <c:v>0.17103670835014118</c:v>
                </c:pt>
                <c:pt idx="45">
                  <c:v>0.18516640952171037</c:v>
                </c:pt>
                <c:pt idx="46">
                  <c:v>0.19015579233348898</c:v>
                </c:pt>
                <c:pt idx="47">
                  <c:v>0.18210794275568484</c:v>
                </c:pt>
                <c:pt idx="48">
                  <c:v>0.18136631975163672</c:v>
                </c:pt>
                <c:pt idx="49">
                  <c:v>0.1898583998857532</c:v>
                </c:pt>
                <c:pt idx="50">
                  <c:v>0.18103877771319438</c:v>
                </c:pt>
                <c:pt idx="51">
                  <c:v>0.17596993753577383</c:v>
                </c:pt>
                <c:pt idx="52">
                  <c:v>0.17994396800615925</c:v>
                </c:pt>
                <c:pt idx="53">
                  <c:v>0.17098018353504454</c:v>
                </c:pt>
                <c:pt idx="54">
                  <c:v>0.17911866359447004</c:v>
                </c:pt>
                <c:pt idx="55">
                  <c:v>0.17743525405502286</c:v>
                </c:pt>
                <c:pt idx="56">
                  <c:v>0.17281342427717752</c:v>
                </c:pt>
                <c:pt idx="57">
                  <c:v>0.1709137574313176</c:v>
                </c:pt>
                <c:pt idx="58">
                  <c:v>0.18198158808812456</c:v>
                </c:pt>
                <c:pt idx="59">
                  <c:v>0.18307776384736554</c:v>
                </c:pt>
                <c:pt idx="60">
                  <c:v>0.18700290979631426</c:v>
                </c:pt>
                <c:pt idx="61">
                  <c:v>0.18054056646761157</c:v>
                </c:pt>
                <c:pt idx="62">
                  <c:v>0.19009002656136145</c:v>
                </c:pt>
                <c:pt idx="63">
                  <c:v>0.19600309105739921</c:v>
                </c:pt>
                <c:pt idx="64">
                  <c:v>0.18459062310570432</c:v>
                </c:pt>
                <c:pt idx="65">
                  <c:v>0.179037306101935</c:v>
                </c:pt>
                <c:pt idx="66">
                  <c:v>0.17705924002832193</c:v>
                </c:pt>
                <c:pt idx="67">
                  <c:v>0.165002435460302</c:v>
                </c:pt>
                <c:pt idx="68">
                  <c:v>0.1568587306229892</c:v>
                </c:pt>
                <c:pt idx="69">
                  <c:v>0.15326821938392185</c:v>
                </c:pt>
                <c:pt idx="70">
                  <c:v>0.1520919248528427</c:v>
                </c:pt>
                <c:pt idx="71">
                  <c:v>0.1501281857939979</c:v>
                </c:pt>
                <c:pt idx="72">
                  <c:v>0.1519796585543044</c:v>
                </c:pt>
                <c:pt idx="73">
                  <c:v>0.1523521632344606</c:v>
                </c:pt>
                <c:pt idx="74">
                  <c:v>0.1514309430149049</c:v>
                </c:pt>
                <c:pt idx="75">
                  <c:v>0.16235595390524968</c:v>
                </c:pt>
                <c:pt idx="76">
                  <c:v>0.16577613371694752</c:v>
                </c:pt>
                <c:pt idx="77">
                  <c:v>0.155979908593149</c:v>
                </c:pt>
                <c:pt idx="78">
                  <c:v>0.15918260413937646</c:v>
                </c:pt>
                <c:pt idx="79">
                  <c:v>0.15380752373995618</c:v>
                </c:pt>
                <c:pt idx="80">
                  <c:v>0.14142712829460924</c:v>
                </c:pt>
                <c:pt idx="81">
                  <c:v>0.148257712551385</c:v>
                </c:pt>
                <c:pt idx="82">
                  <c:v>0.1528003546623319</c:v>
                </c:pt>
                <c:pt idx="83">
                  <c:v>0.14571476869330027</c:v>
                </c:pt>
                <c:pt idx="84">
                  <c:v>0.1516840607210626</c:v>
                </c:pt>
                <c:pt idx="85">
                  <c:v>0.15782255512184828</c:v>
                </c:pt>
                <c:pt idx="86">
                  <c:v>0.1641406126011744</c:v>
                </c:pt>
                <c:pt idx="87">
                  <c:v>0.18383226647245965</c:v>
                </c:pt>
                <c:pt idx="88">
                  <c:v>0.16740838935706845</c:v>
                </c:pt>
                <c:pt idx="89">
                  <c:v>0.1644376120932616</c:v>
                </c:pt>
                <c:pt idx="90">
                  <c:v>0.1535372747926243</c:v>
                </c:pt>
                <c:pt idx="91">
                  <c:v>0.1452292565466038</c:v>
                </c:pt>
                <c:pt idx="92">
                  <c:v>0.15778172358260725</c:v>
                </c:pt>
                <c:pt idx="93">
                  <c:v>0.1529416470023597</c:v>
                </c:pt>
                <c:pt idx="94">
                  <c:v>0.15484930007751585</c:v>
                </c:pt>
                <c:pt idx="95">
                  <c:v>0.161292465048318</c:v>
                </c:pt>
                <c:pt idx="96">
                  <c:v>0.16254008052267413</c:v>
                </c:pt>
                <c:pt idx="97">
                  <c:v>0.1687336954197494</c:v>
                </c:pt>
                <c:pt idx="98">
                  <c:v>0.1752648592088791</c:v>
                </c:pt>
                <c:pt idx="99">
                  <c:v>0.17548869236040857</c:v>
                </c:pt>
                <c:pt idx="100">
                  <c:v>0.1780660101518093</c:v>
                </c:pt>
                <c:pt idx="101">
                  <c:v>0.16804971170328814</c:v>
                </c:pt>
                <c:pt idx="102">
                  <c:v>0.1605298013245033</c:v>
                </c:pt>
                <c:pt idx="103">
                  <c:v>0.1623502567027952</c:v>
                </c:pt>
                <c:pt idx="104">
                  <c:v>0.157237936772046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010410345632814</c:v>
                </c:pt>
                <c:pt idx="1">
                  <c:v>0.6941259569938617</c:v>
                </c:pt>
                <c:pt idx="2">
                  <c:v>0.6946974252341567</c:v>
                </c:pt>
                <c:pt idx="3">
                  <c:v>0.6602877512671479</c:v>
                </c:pt>
                <c:pt idx="4">
                  <c:v>0.6523359647876702</c:v>
                </c:pt>
                <c:pt idx="5">
                  <c:v>0.6881152846327125</c:v>
                </c:pt>
                <c:pt idx="6">
                  <c:v>0.682964828468874</c:v>
                </c:pt>
                <c:pt idx="7">
                  <c:v>0.6747362780931211</c:v>
                </c:pt>
                <c:pt idx="8">
                  <c:v>0.6922534331588983</c:v>
                </c:pt>
                <c:pt idx="9">
                  <c:v>0.6683979836452966</c:v>
                </c:pt>
                <c:pt idx="10">
                  <c:v>0.6837943509126482</c:v>
                </c:pt>
                <c:pt idx="11">
                  <c:v>0.6866718498662522</c:v>
                </c:pt>
                <c:pt idx="12">
                  <c:v>0.6970931957617112</c:v>
                </c:pt>
                <c:pt idx="13">
                  <c:v>0.6617923467309506</c:v>
                </c:pt>
                <c:pt idx="14">
                  <c:v>0.6696200261828059</c:v>
                </c:pt>
                <c:pt idx="15">
                  <c:v>0.6654775470134691</c:v>
                </c:pt>
                <c:pt idx="16">
                  <c:v>0.6812621706983515</c:v>
                </c:pt>
                <c:pt idx="17">
                  <c:v>0.6630058443873416</c:v>
                </c:pt>
                <c:pt idx="18">
                  <c:v>0.6845517795861407</c:v>
                </c:pt>
                <c:pt idx="19">
                  <c:v>0.6954670084332003</c:v>
                </c:pt>
                <c:pt idx="20">
                  <c:v>0.661041323767426</c:v>
                </c:pt>
                <c:pt idx="21">
                  <c:v>0.6282550772055434</c:v>
                </c:pt>
                <c:pt idx="22">
                  <c:v>0.6325931138872033</c:v>
                </c:pt>
                <c:pt idx="23">
                  <c:v>0.6327832126154983</c:v>
                </c:pt>
                <c:pt idx="24">
                  <c:v>0.6192427320527226</c:v>
                </c:pt>
                <c:pt idx="25">
                  <c:v>0.6556866427344928</c:v>
                </c:pt>
                <c:pt idx="26">
                  <c:v>0.6565662173211088</c:v>
                </c:pt>
                <c:pt idx="27">
                  <c:v>0.6752184240249359</c:v>
                </c:pt>
                <c:pt idx="28">
                  <c:v>0.6911241524403975</c:v>
                </c:pt>
                <c:pt idx="29">
                  <c:v>0.6500239992764244</c:v>
                </c:pt>
                <c:pt idx="30">
                  <c:v>0.652804214493088</c:v>
                </c:pt>
                <c:pt idx="31">
                  <c:v>0.6560184144252561</c:v>
                </c:pt>
                <c:pt idx="32">
                  <c:v>0.6608157578555564</c:v>
                </c:pt>
                <c:pt idx="33">
                  <c:v>0.6869175907464986</c:v>
                </c:pt>
                <c:pt idx="34">
                  <c:v>0.7095689245018726</c:v>
                </c:pt>
                <c:pt idx="35">
                  <c:v>0.6965901729577068</c:v>
                </c:pt>
                <c:pt idx="36">
                  <c:v>0.6531745590614485</c:v>
                </c:pt>
                <c:pt idx="37">
                  <c:v>0.6631348555116653</c:v>
                </c:pt>
                <c:pt idx="38">
                  <c:v>0.64870756552468</c:v>
                </c:pt>
                <c:pt idx="39">
                  <c:v>0.6819280516049</c:v>
                </c:pt>
                <c:pt idx="40">
                  <c:v>0.6631392325844765</c:v>
                </c:pt>
                <c:pt idx="41">
                  <c:v>0.6930338282192512</c:v>
                </c:pt>
                <c:pt idx="42">
                  <c:v>0.6544977443678796</c:v>
                </c:pt>
                <c:pt idx="43">
                  <c:v>0.7096180858001766</c:v>
                </c:pt>
                <c:pt idx="44">
                  <c:v>0.7411911063538457</c:v>
                </c:pt>
                <c:pt idx="45">
                  <c:v>0.7453039409552817</c:v>
                </c:pt>
                <c:pt idx="46">
                  <c:v>0.7204246159954917</c:v>
                </c:pt>
                <c:pt idx="47">
                  <c:v>0.7154450494827367</c:v>
                </c:pt>
                <c:pt idx="48">
                  <c:v>0.7576191389619533</c:v>
                </c:pt>
                <c:pt idx="49">
                  <c:v>0.772966896194907</c:v>
                </c:pt>
                <c:pt idx="50">
                  <c:v>0.7586520764331957</c:v>
                </c:pt>
                <c:pt idx="51">
                  <c:v>0.724396171848239</c:v>
                </c:pt>
              </c:numCache>
            </c:numRef>
          </c:xVal>
          <c:yVal>
            <c:numRef>
              <c:f>Sheet1!$B$109:$B$160</c:f>
              <c:numCache>
                <c:formatCode>General</c:formatCode>
                <c:ptCount val="52"/>
                <c:pt idx="0">
                  <c:v>0.1716145157867434</c:v>
                </c:pt>
                <c:pt idx="1">
                  <c:v>0.1661502808634978</c:v>
                </c:pt>
                <c:pt idx="2">
                  <c:v>0.18067380756202508</c:v>
                </c:pt>
                <c:pt idx="3">
                  <c:v>0.19882521685677207</c:v>
                </c:pt>
                <c:pt idx="4">
                  <c:v>0.1848120336150279</c:v>
                </c:pt>
                <c:pt idx="5">
                  <c:v>0.18082550255739266</c:v>
                </c:pt>
                <c:pt idx="6">
                  <c:v>0.19015362006016212</c:v>
                </c:pt>
                <c:pt idx="7">
                  <c:v>0.18795970084677668</c:v>
                </c:pt>
                <c:pt idx="8">
                  <c:v>0.17522325276695513</c:v>
                </c:pt>
                <c:pt idx="9">
                  <c:v>0.1817523077407769</c:v>
                </c:pt>
                <c:pt idx="10">
                  <c:v>0.18482863670982483</c:v>
                </c:pt>
                <c:pt idx="11">
                  <c:v>0.18591581342434585</c:v>
                </c:pt>
                <c:pt idx="12">
                  <c:v>0.1834210115110162</c:v>
                </c:pt>
                <c:pt idx="13">
                  <c:v>0.1836296256512165</c:v>
                </c:pt>
                <c:pt idx="14">
                  <c:v>0.18245235106972943</c:v>
                </c:pt>
                <c:pt idx="15">
                  <c:v>0.17627245508982037</c:v>
                </c:pt>
                <c:pt idx="16">
                  <c:v>0.1644259162758381</c:v>
                </c:pt>
                <c:pt idx="17">
                  <c:v>0.16807000772143987</c:v>
                </c:pt>
                <c:pt idx="18">
                  <c:v>0.16940687704410856</c:v>
                </c:pt>
                <c:pt idx="19">
                  <c:v>0.16784071012663382</c:v>
                </c:pt>
                <c:pt idx="20">
                  <c:v>0.1592128008510261</c:v>
                </c:pt>
                <c:pt idx="21">
                  <c:v>0.16145722210369107</c:v>
                </c:pt>
                <c:pt idx="22">
                  <c:v>0.15810005798935103</c:v>
                </c:pt>
                <c:pt idx="23">
                  <c:v>0.16801841297676456</c:v>
                </c:pt>
                <c:pt idx="24">
                  <c:v>0.17601908515714138</c:v>
                </c:pt>
                <c:pt idx="25">
                  <c:v>0.17434335744194898</c:v>
                </c:pt>
                <c:pt idx="26">
                  <c:v>0.16634789351253554</c:v>
                </c:pt>
                <c:pt idx="27">
                  <c:v>0.1669260344196265</c:v>
                </c:pt>
                <c:pt idx="28">
                  <c:v>0.1566812521036688</c:v>
                </c:pt>
                <c:pt idx="29">
                  <c:v>0.15670862146161882</c:v>
                </c:pt>
                <c:pt idx="30">
                  <c:v>0.16222233728576607</c:v>
                </c:pt>
                <c:pt idx="31">
                  <c:v>0.15708944492378488</c:v>
                </c:pt>
                <c:pt idx="32">
                  <c:v>0.15403147265364703</c:v>
                </c:pt>
                <c:pt idx="33">
                  <c:v>0.17030083208875613</c:v>
                </c:pt>
                <c:pt idx="34">
                  <c:v>0.18597880911275855</c:v>
                </c:pt>
                <c:pt idx="35">
                  <c:v>0.17824761452270657</c:v>
                </c:pt>
                <c:pt idx="36">
                  <c:v>0.1669918512567428</c:v>
                </c:pt>
                <c:pt idx="37">
                  <c:v>0.15851999162654384</c:v>
                </c:pt>
                <c:pt idx="38">
                  <c:v>0.15798270893371757</c:v>
                </c:pt>
                <c:pt idx="39">
                  <c:v>0.1716724769822115</c:v>
                </c:pt>
                <c:pt idx="40">
                  <c:v>0.16473622098867957</c:v>
                </c:pt>
                <c:pt idx="41">
                  <c:v>0.1681137848342016</c:v>
                </c:pt>
                <c:pt idx="42">
                  <c:v>0.16534101298226367</c:v>
                </c:pt>
                <c:pt idx="43">
                  <c:v>0.16415849786000275</c:v>
                </c:pt>
                <c:pt idx="44">
                  <c:v>0.16430774552477587</c:v>
                </c:pt>
                <c:pt idx="45">
                  <c:v>0.17869234489733105</c:v>
                </c:pt>
                <c:pt idx="46">
                  <c:v>0.19009744535159337</c:v>
                </c:pt>
                <c:pt idx="47">
                  <c:v>0.19124657297404105</c:v>
                </c:pt>
                <c:pt idx="48">
                  <c:v>0.1888858870716349</c:v>
                </c:pt>
                <c:pt idx="49">
                  <c:v>0.19384323040380047</c:v>
                </c:pt>
                <c:pt idx="50">
                  <c:v>0.20206915954780297</c:v>
                </c:pt>
                <c:pt idx="51">
                  <c:v>0.1919965390439108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9450606536638011</c:v>
                </c:pt>
              </c:numCache>
            </c:numRef>
          </c:xVal>
          <c:yVal>
            <c:numRef>
              <c:f>Sheet1!$B$163:$B$164</c:f>
              <c:numCache>
                <c:formatCode>General</c:formatCode>
                <c:ptCount val="2"/>
                <c:pt idx="0">
                  <c:v>0.22366113162471526</c:v>
                </c:pt>
                <c:pt idx="1">
                  <c:v>0.2236611316247152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9450606536638011</c:v>
                </c:pt>
                <c:pt idx="1">
                  <c:v>0.9450606536638011</c:v>
                </c:pt>
              </c:numCache>
            </c:numRef>
          </c:xVal>
          <c:yVal>
            <c:numRef>
              <c:f>Sheet1!$B$167:$B$168</c:f>
              <c:numCache>
                <c:formatCode>General</c:formatCode>
                <c:ptCount val="2"/>
                <c:pt idx="0">
                  <c:v>0.223661131624715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7886201565441123</c:v>
                </c:pt>
              </c:numCache>
            </c:numRef>
          </c:xVal>
          <c:yVal>
            <c:numRef>
              <c:f>Sheet1!$B$171:$B$172</c:f>
              <c:numCache>
                <c:formatCode>General</c:formatCode>
                <c:ptCount val="2"/>
                <c:pt idx="0">
                  <c:v>0.1941987040167873</c:v>
                </c:pt>
                <c:pt idx="1">
                  <c:v>0.194198704016787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7886201565441123</c:v>
                </c:pt>
                <c:pt idx="1">
                  <c:v>0.7886201565441123</c:v>
                </c:pt>
              </c:numCache>
            </c:numRef>
          </c:xVal>
          <c:yVal>
            <c:numRef>
              <c:f>Sheet1!$B$175:$B$176</c:f>
              <c:numCache>
                <c:formatCode>General</c:formatCode>
                <c:ptCount val="2"/>
                <c:pt idx="0">
                  <c:v>0.194198704016787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7112509291004883</c:v>
                </c:pt>
              </c:numCache>
            </c:numRef>
          </c:xVal>
          <c:yVal>
            <c:numRef>
              <c:f>Sheet1!$B$179:$B$180</c:f>
              <c:numCache>
                <c:formatCode>General</c:formatCode>
                <c:ptCount val="2"/>
                <c:pt idx="0">
                  <c:v>0.1796277629586346</c:v>
                </c:pt>
                <c:pt idx="1">
                  <c:v>0.179627762958634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7112509291004883</c:v>
                </c:pt>
                <c:pt idx="1">
                  <c:v>0.7112509291004883</c:v>
                </c:pt>
              </c:numCache>
            </c:numRef>
          </c:xVal>
          <c:yVal>
            <c:numRef>
              <c:f>Sheet1!$B$183:$B$184</c:f>
              <c:numCache>
                <c:formatCode>General</c:formatCode>
                <c:ptCount val="2"/>
                <c:pt idx="0">
                  <c:v>0.179627762958634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010410345632814</c:v>
                </c:pt>
                <c:pt idx="1">
                  <c:v>0.6941259569938617</c:v>
                </c:pt>
                <c:pt idx="2">
                  <c:v>0.6946974252341567</c:v>
                </c:pt>
                <c:pt idx="3">
                  <c:v>0.6602877512671479</c:v>
                </c:pt>
                <c:pt idx="4">
                  <c:v>0.6523359647876702</c:v>
                </c:pt>
                <c:pt idx="5">
                  <c:v>0.6881152846327125</c:v>
                </c:pt>
                <c:pt idx="6">
                  <c:v>0.682964828468874</c:v>
                </c:pt>
                <c:pt idx="7">
                  <c:v>0.6747362780931211</c:v>
                </c:pt>
                <c:pt idx="8">
                  <c:v>0.6922534331588983</c:v>
                </c:pt>
                <c:pt idx="9">
                  <c:v>0.6683979836452966</c:v>
                </c:pt>
                <c:pt idx="10">
                  <c:v>0.6837943509126482</c:v>
                </c:pt>
                <c:pt idx="11">
                  <c:v>0.6866718498662522</c:v>
                </c:pt>
                <c:pt idx="12">
                  <c:v>0.6970931957617112</c:v>
                </c:pt>
                <c:pt idx="13">
                  <c:v>0.6617923467309506</c:v>
                </c:pt>
                <c:pt idx="14">
                  <c:v>0.6696200261828059</c:v>
                </c:pt>
                <c:pt idx="15">
                  <c:v>0.6654775470134691</c:v>
                </c:pt>
                <c:pt idx="16">
                  <c:v>0.6812621706983515</c:v>
                </c:pt>
                <c:pt idx="17">
                  <c:v>0.6630058443873416</c:v>
                </c:pt>
                <c:pt idx="18">
                  <c:v>0.6845517795861407</c:v>
                </c:pt>
                <c:pt idx="19">
                  <c:v>0.6954670084332003</c:v>
                </c:pt>
                <c:pt idx="20">
                  <c:v>0.661041323767426</c:v>
                </c:pt>
                <c:pt idx="21">
                  <c:v>0.6282550772055434</c:v>
                </c:pt>
                <c:pt idx="22">
                  <c:v>0.6325931138872033</c:v>
                </c:pt>
                <c:pt idx="23">
                  <c:v>0.6327832126154983</c:v>
                </c:pt>
                <c:pt idx="24">
                  <c:v>0.6192427320527226</c:v>
                </c:pt>
                <c:pt idx="25">
                  <c:v>0.6556866427344928</c:v>
                </c:pt>
                <c:pt idx="26">
                  <c:v>0.6565662173211088</c:v>
                </c:pt>
                <c:pt idx="27">
                  <c:v>0.6752184240249359</c:v>
                </c:pt>
                <c:pt idx="28">
                  <c:v>0.6911241524403975</c:v>
                </c:pt>
                <c:pt idx="29">
                  <c:v>0.6500239992764244</c:v>
                </c:pt>
                <c:pt idx="30">
                  <c:v>0.652804214493088</c:v>
                </c:pt>
                <c:pt idx="31">
                  <c:v>0.6560184144252561</c:v>
                </c:pt>
                <c:pt idx="32">
                  <c:v>0.6608157578555564</c:v>
                </c:pt>
                <c:pt idx="33">
                  <c:v>0.6869175907464986</c:v>
                </c:pt>
                <c:pt idx="34">
                  <c:v>0.7095689245018726</c:v>
                </c:pt>
                <c:pt idx="35">
                  <c:v>0.6965901729577068</c:v>
                </c:pt>
                <c:pt idx="36">
                  <c:v>0.6531745590614485</c:v>
                </c:pt>
                <c:pt idx="37">
                  <c:v>0.6631348555116653</c:v>
                </c:pt>
                <c:pt idx="38">
                  <c:v>0.64870756552468</c:v>
                </c:pt>
                <c:pt idx="39">
                  <c:v>0.6819280516049</c:v>
                </c:pt>
                <c:pt idx="40">
                  <c:v>0.6631392325844765</c:v>
                </c:pt>
                <c:pt idx="41">
                  <c:v>0.6930338282192512</c:v>
                </c:pt>
                <c:pt idx="42">
                  <c:v>0.6544977443678796</c:v>
                </c:pt>
                <c:pt idx="43">
                  <c:v>0.7096180858001766</c:v>
                </c:pt>
                <c:pt idx="44">
                  <c:v>0.7411911063538457</c:v>
                </c:pt>
                <c:pt idx="45">
                  <c:v>0.7453039409552817</c:v>
                </c:pt>
                <c:pt idx="46">
                  <c:v>0.7204246159954917</c:v>
                </c:pt>
                <c:pt idx="47">
                  <c:v>0.7154450494827367</c:v>
                </c:pt>
                <c:pt idx="48">
                  <c:v>0.7576191389619533</c:v>
                </c:pt>
                <c:pt idx="49">
                  <c:v>0.772966896194907</c:v>
                </c:pt>
                <c:pt idx="50">
                  <c:v>0.7586520764331957</c:v>
                </c:pt>
                <c:pt idx="51">
                  <c:v>0.724396171848239</c:v>
                </c:pt>
                <c:pt idx="52">
                  <c:v>0.7886201565441123</c:v>
                </c:pt>
                <c:pt idx="53">
                  <c:v>0.9450606536638011</c:v>
                </c:pt>
                <c:pt idx="54">
                  <c:v>0.7112509291004883</c:v>
                </c:pt>
              </c:numCache>
            </c:numRef>
          </c:xVal>
          <c:yVal>
            <c:numRef>
              <c:f>Sheet1!$B$187:$B$241</c:f>
              <c:numCache>
                <c:formatCode>General</c:formatCode>
                <c:ptCount val="55"/>
                <c:pt idx="0">
                  <c:v>0.17770493425235084</c:v>
                </c:pt>
                <c:pt idx="1">
                  <c:v>0.1764026181894176</c:v>
                </c:pt>
                <c:pt idx="2">
                  <c:v>0.17651024276214597</c:v>
                </c:pt>
                <c:pt idx="3">
                  <c:v>0.1700298713306376</c:v>
                </c:pt>
                <c:pt idx="4">
                  <c:v>0.16853231195299084</c:v>
                </c:pt>
                <c:pt idx="5">
                  <c:v>0.1752706286945246</c:v>
                </c:pt>
                <c:pt idx="6">
                  <c:v>0.17430064365440542</c:v>
                </c:pt>
                <c:pt idx="7">
                  <c:v>0.17275096135201332</c:v>
                </c:pt>
                <c:pt idx="8">
                  <c:v>0.17604996590981306</c:v>
                </c:pt>
                <c:pt idx="9">
                  <c:v>0.1715572708130227</c:v>
                </c:pt>
                <c:pt idx="10">
                  <c:v>0.1744568675567761</c:v>
                </c:pt>
                <c:pt idx="11">
                  <c:v>0.17499878672843144</c:v>
                </c:pt>
                <c:pt idx="12">
                  <c:v>0.17696143805385667</c:v>
                </c:pt>
                <c:pt idx="13">
                  <c:v>0.17031323168647683</c:v>
                </c:pt>
                <c:pt idx="14">
                  <c:v>0.17178741799650826</c:v>
                </c:pt>
                <c:pt idx="15">
                  <c:v>0.17100726519150558</c:v>
                </c:pt>
                <c:pt idx="16">
                  <c:v>0.17397998223853997</c:v>
                </c:pt>
                <c:pt idx="17">
                  <c:v>0.17054176961311393</c:v>
                </c:pt>
                <c:pt idx="18">
                  <c:v>0.17459951404455779</c:v>
                </c:pt>
                <c:pt idx="19">
                  <c:v>0.17665517831085337</c:v>
                </c:pt>
                <c:pt idx="20">
                  <c:v>0.17017179158559423</c:v>
                </c:pt>
                <c:pt idx="21">
                  <c:v>0.16399716012091595</c:v>
                </c:pt>
                <c:pt idx="22">
                  <c:v>0.16481414225819563</c:v>
                </c:pt>
                <c:pt idx="23">
                  <c:v>0.16484994353806798</c:v>
                </c:pt>
                <c:pt idx="24">
                  <c:v>0.16229986580434588</c:v>
                </c:pt>
                <c:pt idx="25">
                  <c:v>0.1691633448905186</c:v>
                </c:pt>
                <c:pt idx="26">
                  <c:v>0.1693289951093626</c:v>
                </c:pt>
                <c:pt idx="27">
                  <c:v>0.17284176386078878</c:v>
                </c:pt>
                <c:pt idx="28">
                  <c:v>0.1758372885530516</c:v>
                </c:pt>
                <c:pt idx="29">
                  <c:v>0.1680968996539939</c:v>
                </c:pt>
                <c:pt idx="30">
                  <c:v>0.16862049738644513</c:v>
                </c:pt>
                <c:pt idx="31">
                  <c:v>0.1692258274292566</c:v>
                </c:pt>
                <c:pt idx="32">
                  <c:v>0.1701293107735818</c:v>
                </c:pt>
                <c:pt idx="33">
                  <c:v>0.175045067090792</c:v>
                </c:pt>
                <c:pt idx="34">
                  <c:v>0.17931099115315383</c:v>
                </c:pt>
                <c:pt idx="35">
                  <c:v>0.1768667038052383</c:v>
                </c:pt>
                <c:pt idx="36">
                  <c:v>0.1686902443524559</c:v>
                </c:pt>
                <c:pt idx="37">
                  <c:v>0.17056606626890952</c:v>
                </c:pt>
                <c:pt idx="38">
                  <c:v>0.167848975779898</c:v>
                </c:pt>
                <c:pt idx="39">
                  <c:v>0.1741053875419358</c:v>
                </c:pt>
                <c:pt idx="40">
                  <c:v>0.17056689060271826</c:v>
                </c:pt>
                <c:pt idx="41">
                  <c:v>0.17619693765558575</c:v>
                </c:pt>
                <c:pt idx="42">
                  <c:v>0.1689394397463619</c:v>
                </c:pt>
                <c:pt idx="43">
                  <c:v>0.17932024969693922</c:v>
                </c:pt>
                <c:pt idx="44">
                  <c:v>0.1852663943944622</c:v>
                </c:pt>
                <c:pt idx="45">
                  <c:v>0.18604096424011723</c:v>
                </c:pt>
                <c:pt idx="46">
                  <c:v>0.18135544275394394</c:v>
                </c:pt>
                <c:pt idx="47">
                  <c:v>0.18041764134956295</c:v>
                </c:pt>
                <c:pt idx="48">
                  <c:v>0.18836028459788406</c:v>
                </c:pt>
                <c:pt idx="49">
                  <c:v>0.19125072661734402</c:v>
                </c:pt>
                <c:pt idx="50">
                  <c:v>0.1885548176377958</c:v>
                </c:pt>
                <c:pt idx="51">
                  <c:v>0.18210340558298616</c:v>
                </c:pt>
                <c:pt idx="52">
                  <c:v>0.1941987040167873</c:v>
                </c:pt>
                <c:pt idx="53">
                  <c:v>0.22366113162471526</c:v>
                </c:pt>
                <c:pt idx="54">
                  <c:v>0.179627762958634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20657699980694"/>
          <c:min val="0.11314170263568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9.4137</c:v>
                </c:pt>
                <c:pt idx="1">
                  <c:v>897.7513</c:v>
                </c:pt>
                <c:pt idx="2">
                  <c:v>929.3155</c:v>
                </c:pt>
                <c:pt idx="3">
                  <c:v>958.2186</c:v>
                </c:pt>
                <c:pt idx="4">
                  <c:v>945.1339</c:v>
                </c:pt>
                <c:pt idx="5">
                  <c:v>929.9001</c:v>
                </c:pt>
                <c:pt idx="6">
                  <c:v>892.9715</c:v>
                </c:pt>
                <c:pt idx="7">
                  <c:v>902.0136</c:v>
                </c:pt>
                <c:pt idx="8">
                  <c:v>906.6306</c:v>
                </c:pt>
                <c:pt idx="9">
                  <c:v>878.51</c:v>
                </c:pt>
                <c:pt idx="10">
                  <c:v>868.4945</c:v>
                </c:pt>
                <c:pt idx="11">
                  <c:v>914.4113</c:v>
                </c:pt>
                <c:pt idx="12">
                  <c:v>921.2473</c:v>
                </c:pt>
                <c:pt idx="13">
                  <c:v>929.9615</c:v>
                </c:pt>
                <c:pt idx="14">
                  <c:v>966.11</c:v>
                </c:pt>
                <c:pt idx="15">
                  <c:v>976.5391</c:v>
                </c:pt>
                <c:pt idx="16">
                  <c:v>1000.8444</c:v>
                </c:pt>
                <c:pt idx="17">
                  <c:v>1013.3609</c:v>
                </c:pt>
                <c:pt idx="18">
                  <c:v>1061.8215</c:v>
                </c:pt>
                <c:pt idx="19">
                  <c:v>1057.3236</c:v>
                </c:pt>
                <c:pt idx="20">
                  <c:v>1086.0927</c:v>
                </c:pt>
                <c:pt idx="21">
                  <c:v>1090.9295</c:v>
                </c:pt>
                <c:pt idx="22">
                  <c:v>1048.2189</c:v>
                </c:pt>
                <c:pt idx="23">
                  <c:v>1059.0827</c:v>
                </c:pt>
                <c:pt idx="24">
                  <c:v>1068.4637</c:v>
                </c:pt>
                <c:pt idx="25">
                  <c:v>1053.4514</c:v>
                </c:pt>
                <c:pt idx="26">
                  <c:v>1034.2451</c:v>
                </c:pt>
                <c:pt idx="27">
                  <c:v>1037.0432</c:v>
                </c:pt>
                <c:pt idx="28">
                  <c:v>1046.1112</c:v>
                </c:pt>
                <c:pt idx="29">
                  <c:v>1035.2358</c:v>
                </c:pt>
                <c:pt idx="30">
                  <c:v>1038.0835</c:v>
                </c:pt>
                <c:pt idx="31">
                  <c:v>1019.7049</c:v>
                </c:pt>
                <c:pt idx="32">
                  <c:v>1009.4108</c:v>
                </c:pt>
                <c:pt idx="33">
                  <c:v>977.3818</c:v>
                </c:pt>
                <c:pt idx="34">
                  <c:v>987.871</c:v>
                </c:pt>
                <c:pt idx="35">
                  <c:v>1033.9306</c:v>
                </c:pt>
                <c:pt idx="36">
                  <c:v>1083.6245</c:v>
                </c:pt>
                <c:pt idx="37">
                  <c:v>1071.7079</c:v>
                </c:pt>
                <c:pt idx="38">
                  <c:v>1108.0026</c:v>
                </c:pt>
                <c:pt idx="39">
                  <c:v>1165.3772</c:v>
                </c:pt>
                <c:pt idx="40">
                  <c:v>1167.785</c:v>
                </c:pt>
                <c:pt idx="41">
                  <c:v>1193.8357</c:v>
                </c:pt>
                <c:pt idx="42">
                  <c:v>1212.1279</c:v>
                </c:pt>
                <c:pt idx="43">
                  <c:v>1199.113</c:v>
                </c:pt>
                <c:pt idx="44">
                  <c:v>1155.1468</c:v>
                </c:pt>
                <c:pt idx="45">
                  <c:v>1120.0195</c:v>
                </c:pt>
                <c:pt idx="46">
                  <c:v>1109.1569</c:v>
                </c:pt>
                <c:pt idx="47">
                  <c:v>1095.2651</c:v>
                </c:pt>
                <c:pt idx="48">
                  <c:v>1093.2907</c:v>
                </c:pt>
                <c:pt idx="49">
                  <c:v>1048.022</c:v>
                </c:pt>
                <c:pt idx="50">
                  <c:v>1049.4572</c:v>
                </c:pt>
                <c:pt idx="51">
                  <c:v>1044.8197</c:v>
                </c:pt>
                <c:pt idx="52">
                  <c:v>1059.6912</c:v>
                </c:pt>
                <c:pt idx="53">
                  <c:v>1169.267</c:v>
                </c:pt>
                <c:pt idx="54">
                  <c:v>1148.3676</c:v>
                </c:pt>
                <c:pt idx="55">
                  <c:v>1170.5369</c:v>
                </c:pt>
                <c:pt idx="56">
                  <c:v>1173.6815</c:v>
                </c:pt>
                <c:pt idx="57">
                  <c:v>1147.0884</c:v>
                </c:pt>
                <c:pt idx="58">
                  <c:v>1131.2774</c:v>
                </c:pt>
                <c:pt idx="59">
                  <c:v>1107.5691</c:v>
                </c:pt>
                <c:pt idx="60">
                  <c:v>1125.5277</c:v>
                </c:pt>
                <c:pt idx="61">
                  <c:v>1145.755</c:v>
                </c:pt>
                <c:pt idx="62">
                  <c:v>1079.6264</c:v>
                </c:pt>
                <c:pt idx="63">
                  <c:v>1099.6892</c:v>
                </c:pt>
                <c:pt idx="64">
                  <c:v>1111.0568</c:v>
                </c:pt>
                <c:pt idx="65">
                  <c:v>1102.1999</c:v>
                </c:pt>
                <c:pt idx="66">
                  <c:v>1137.0865</c:v>
                </c:pt>
                <c:pt idx="67">
                  <c:v>1160.1286</c:v>
                </c:pt>
                <c:pt idx="68">
                  <c:v>1178.1686</c:v>
                </c:pt>
                <c:pt idx="69">
                  <c:v>1209.1537</c:v>
                </c:pt>
                <c:pt idx="70">
                  <c:v>1192.4151</c:v>
                </c:pt>
                <c:pt idx="71">
                  <c:v>1242.0309</c:v>
                </c:pt>
                <c:pt idx="72">
                  <c:v>1306.088</c:v>
                </c:pt>
                <c:pt idx="73">
                  <c:v>1282.7391</c:v>
                </c:pt>
                <c:pt idx="74">
                  <c:v>1279.1563</c:v>
                </c:pt>
                <c:pt idx="75">
                  <c:v>1243.3785</c:v>
                </c:pt>
                <c:pt idx="76">
                  <c:v>1213.4474</c:v>
                </c:pt>
                <c:pt idx="77">
                  <c:v>1211.1308</c:v>
                </c:pt>
                <c:pt idx="78">
                  <c:v>1257.3637</c:v>
                </c:pt>
                <c:pt idx="79">
                  <c:v>1258.6996</c:v>
                </c:pt>
                <c:pt idx="80">
                  <c:v>1256.1036</c:v>
                </c:pt>
                <c:pt idx="81">
                  <c:v>1242.1614</c:v>
                </c:pt>
                <c:pt idx="82">
                  <c:v>1269.8095</c:v>
                </c:pt>
                <c:pt idx="83">
                  <c:v>1214.4857</c:v>
                </c:pt>
                <c:pt idx="84">
                  <c:v>1238.9617</c:v>
                </c:pt>
                <c:pt idx="85">
                  <c:v>1216.6811</c:v>
                </c:pt>
                <c:pt idx="86">
                  <c:v>1217.773</c:v>
                </c:pt>
                <c:pt idx="87">
                  <c:v>1227.3918</c:v>
                </c:pt>
                <c:pt idx="88">
                  <c:v>1271.5976</c:v>
                </c:pt>
                <c:pt idx="89">
                  <c:v>1254.0704</c:v>
                </c:pt>
                <c:pt idx="90">
                  <c:v>1320.116</c:v>
                </c:pt>
                <c:pt idx="91">
                  <c:v>1309.8259</c:v>
                </c:pt>
                <c:pt idx="92">
                  <c:v>1260.9199</c:v>
                </c:pt>
                <c:pt idx="93">
                  <c:v>1290.5923</c:v>
                </c:pt>
                <c:pt idx="94">
                  <c:v>1278.0827</c:v>
                </c:pt>
                <c:pt idx="95">
                  <c:v>1247.8353</c:v>
                </c:pt>
                <c:pt idx="96">
                  <c:v>1202.3784</c:v>
                </c:pt>
                <c:pt idx="97">
                  <c:v>1191.1436</c:v>
                </c:pt>
                <c:pt idx="98">
                  <c:v>1173.328</c:v>
                </c:pt>
                <c:pt idx="99">
                  <c:v>1138.3719</c:v>
                </c:pt>
                <c:pt idx="100">
                  <c:v>1113.6608</c:v>
                </c:pt>
                <c:pt idx="101">
                  <c:v>1163.3122</c:v>
                </c:pt>
                <c:pt idx="102">
                  <c:v>1164.8555</c:v>
                </c:pt>
                <c:pt idx="103">
                  <c:v>1150.2562</c:v>
                </c:pt>
                <c:pt idx="104">
                  <c:v>1187.2692</c:v>
                </c:pt>
              </c:numCache>
            </c:numRef>
          </c:xVal>
          <c:yVal>
            <c:numRef>
              <c:f>Sheet1!$B$2:$B$106</c:f>
              <c:numCache>
                <c:formatCode>General</c:formatCode>
                <c:ptCount val="105"/>
                <c:pt idx="0">
                  <c:v>0.21020646867371848</c:v>
                </c:pt>
                <c:pt idx="1">
                  <c:v>0.19998409879945936</c:v>
                </c:pt>
                <c:pt idx="2">
                  <c:v>0.20379256370121374</c:v>
                </c:pt>
                <c:pt idx="3">
                  <c:v>0.20844547314027345</c:v>
                </c:pt>
                <c:pt idx="4">
                  <c:v>0.21889864325618516</c:v>
                </c:pt>
                <c:pt idx="5">
                  <c:v>0.22279337606142435</c:v>
                </c:pt>
                <c:pt idx="6">
                  <c:v>0.25172147499839115</c:v>
                </c:pt>
                <c:pt idx="7">
                  <c:v>0.25146799765120376</c:v>
                </c:pt>
                <c:pt idx="8">
                  <c:v>0.2456400883405681</c:v>
                </c:pt>
                <c:pt idx="9">
                  <c:v>0.23977286240932336</c:v>
                </c:pt>
                <c:pt idx="10">
                  <c:v>0.23185535944898839</c:v>
                </c:pt>
                <c:pt idx="11">
                  <c:v>0.2112331761187162</c:v>
                </c:pt>
                <c:pt idx="12">
                  <c:v>0.20288239509515088</c:v>
                </c:pt>
                <c:pt idx="13">
                  <c:v>0.19351573264347777</c:v>
                </c:pt>
                <c:pt idx="14">
                  <c:v>0.17355556174921263</c:v>
                </c:pt>
                <c:pt idx="15">
                  <c:v>0.17153731590269733</c:v>
                </c:pt>
                <c:pt idx="16">
                  <c:v>0.16137339055793992</c:v>
                </c:pt>
                <c:pt idx="17">
                  <c:v>0.15487087283425957</c:v>
                </c:pt>
                <c:pt idx="18">
                  <c:v>0.14542892212574443</c:v>
                </c:pt>
                <c:pt idx="19">
                  <c:v>0.14849703640982218</c:v>
                </c:pt>
                <c:pt idx="20">
                  <c:v>0.1512384780044559</c:v>
                </c:pt>
                <c:pt idx="21">
                  <c:v>0.1542627262881015</c:v>
                </c:pt>
                <c:pt idx="22">
                  <c:v>0.17664387164650183</c:v>
                </c:pt>
                <c:pt idx="23">
                  <c:v>0.17933842806939254</c:v>
                </c:pt>
                <c:pt idx="24">
                  <c:v>0.1833583752137195</c:v>
                </c:pt>
                <c:pt idx="25">
                  <c:v>0.18293678563097737</c:v>
                </c:pt>
                <c:pt idx="26">
                  <c:v>0.20214267049908544</c:v>
                </c:pt>
                <c:pt idx="27">
                  <c:v>0.211397612119996</c:v>
                </c:pt>
                <c:pt idx="28">
                  <c:v>0.206163927712077</c:v>
                </c:pt>
                <c:pt idx="29">
                  <c:v>0.20307498083772937</c:v>
                </c:pt>
                <c:pt idx="30">
                  <c:v>0.20531302679765157</c:v>
                </c:pt>
                <c:pt idx="31">
                  <c:v>0.20395755029847445</c:v>
                </c:pt>
                <c:pt idx="32">
                  <c:v>0.21359064071725345</c:v>
                </c:pt>
                <c:pt idx="33">
                  <c:v>0.20973176388220366</c:v>
                </c:pt>
                <c:pt idx="34">
                  <c:v>0.21168379383421967</c:v>
                </c:pt>
                <c:pt idx="35">
                  <c:v>0.23083929294292269</c:v>
                </c:pt>
                <c:pt idx="36">
                  <c:v>0.192742538864411</c:v>
                </c:pt>
                <c:pt idx="37">
                  <c:v>0.20033653846153845</c:v>
                </c:pt>
                <c:pt idx="38">
                  <c:v>0.18773207310604234</c:v>
                </c:pt>
                <c:pt idx="39">
                  <c:v>0.17446483180428135</c:v>
                </c:pt>
                <c:pt idx="40">
                  <c:v>0.17987973900806004</c:v>
                </c:pt>
                <c:pt idx="41">
                  <c:v>0.17108289631060816</c:v>
                </c:pt>
                <c:pt idx="42">
                  <c:v>0.1702286184855496</c:v>
                </c:pt>
                <c:pt idx="43">
                  <c:v>0.1728169656964292</c:v>
                </c:pt>
                <c:pt idx="44">
                  <c:v>0.17103670835014118</c:v>
                </c:pt>
                <c:pt idx="45">
                  <c:v>0.18516640952171037</c:v>
                </c:pt>
                <c:pt idx="46">
                  <c:v>0.19015579233348898</c:v>
                </c:pt>
                <c:pt idx="47">
                  <c:v>0.18210794275568484</c:v>
                </c:pt>
                <c:pt idx="48">
                  <c:v>0.18136631975163672</c:v>
                </c:pt>
                <c:pt idx="49">
                  <c:v>0.1898583998857532</c:v>
                </c:pt>
                <c:pt idx="50">
                  <c:v>0.18103877771319438</c:v>
                </c:pt>
                <c:pt idx="51">
                  <c:v>0.17596993753577383</c:v>
                </c:pt>
                <c:pt idx="52">
                  <c:v>0.17994396800615925</c:v>
                </c:pt>
                <c:pt idx="53">
                  <c:v>0.17098018353504454</c:v>
                </c:pt>
                <c:pt idx="54">
                  <c:v>0.17911866359447004</c:v>
                </c:pt>
                <c:pt idx="55">
                  <c:v>0.17743525405502286</c:v>
                </c:pt>
                <c:pt idx="56">
                  <c:v>0.17281342427717752</c:v>
                </c:pt>
                <c:pt idx="57">
                  <c:v>0.1709137574313176</c:v>
                </c:pt>
                <c:pt idx="58">
                  <c:v>0.18198158808812456</c:v>
                </c:pt>
                <c:pt idx="59">
                  <c:v>0.18307776384736554</c:v>
                </c:pt>
                <c:pt idx="60">
                  <c:v>0.18700290979631426</c:v>
                </c:pt>
                <c:pt idx="61">
                  <c:v>0.18054056646761157</c:v>
                </c:pt>
                <c:pt idx="62">
                  <c:v>0.19009002656136145</c:v>
                </c:pt>
                <c:pt idx="63">
                  <c:v>0.19600309105739921</c:v>
                </c:pt>
                <c:pt idx="64">
                  <c:v>0.18459062310570432</c:v>
                </c:pt>
                <c:pt idx="65">
                  <c:v>0.179037306101935</c:v>
                </c:pt>
                <c:pt idx="66">
                  <c:v>0.17705924002832193</c:v>
                </c:pt>
                <c:pt idx="67">
                  <c:v>0.165002435460302</c:v>
                </c:pt>
                <c:pt idx="68">
                  <c:v>0.1568587306229892</c:v>
                </c:pt>
                <c:pt idx="69">
                  <c:v>0.15326821938392185</c:v>
                </c:pt>
                <c:pt idx="70">
                  <c:v>0.1520919248528427</c:v>
                </c:pt>
                <c:pt idx="71">
                  <c:v>0.1501281857939979</c:v>
                </c:pt>
                <c:pt idx="72">
                  <c:v>0.1519796585543044</c:v>
                </c:pt>
                <c:pt idx="73">
                  <c:v>0.1523521632344606</c:v>
                </c:pt>
                <c:pt idx="74">
                  <c:v>0.1514309430149049</c:v>
                </c:pt>
                <c:pt idx="75">
                  <c:v>0.16235595390524968</c:v>
                </c:pt>
                <c:pt idx="76">
                  <c:v>0.16577613371694752</c:v>
                </c:pt>
                <c:pt idx="77">
                  <c:v>0.155979908593149</c:v>
                </c:pt>
                <c:pt idx="78">
                  <c:v>0.15918260413937646</c:v>
                </c:pt>
                <c:pt idx="79">
                  <c:v>0.15380752373995618</c:v>
                </c:pt>
                <c:pt idx="80">
                  <c:v>0.14142712829460924</c:v>
                </c:pt>
                <c:pt idx="81">
                  <c:v>0.148257712551385</c:v>
                </c:pt>
                <c:pt idx="82">
                  <c:v>0.1528003546623319</c:v>
                </c:pt>
                <c:pt idx="83">
                  <c:v>0.14571476869330027</c:v>
                </c:pt>
                <c:pt idx="84">
                  <c:v>0.1516840607210626</c:v>
                </c:pt>
                <c:pt idx="85">
                  <c:v>0.15782255512184828</c:v>
                </c:pt>
                <c:pt idx="86">
                  <c:v>0.1641406126011744</c:v>
                </c:pt>
                <c:pt idx="87">
                  <c:v>0.18383226647245965</c:v>
                </c:pt>
                <c:pt idx="88">
                  <c:v>0.16740838935706845</c:v>
                </c:pt>
                <c:pt idx="89">
                  <c:v>0.1644376120932616</c:v>
                </c:pt>
                <c:pt idx="90">
                  <c:v>0.1535372747926243</c:v>
                </c:pt>
                <c:pt idx="91">
                  <c:v>0.1452292565466038</c:v>
                </c:pt>
                <c:pt idx="92">
                  <c:v>0.15778172358260725</c:v>
                </c:pt>
                <c:pt idx="93">
                  <c:v>0.1529416470023597</c:v>
                </c:pt>
                <c:pt idx="94">
                  <c:v>0.15484930007751585</c:v>
                </c:pt>
                <c:pt idx="95">
                  <c:v>0.161292465048318</c:v>
                </c:pt>
                <c:pt idx="96">
                  <c:v>0.16254008052267413</c:v>
                </c:pt>
                <c:pt idx="97">
                  <c:v>0.1687336954197494</c:v>
                </c:pt>
                <c:pt idx="98">
                  <c:v>0.1752648592088791</c:v>
                </c:pt>
                <c:pt idx="99">
                  <c:v>0.17548869236040857</c:v>
                </c:pt>
                <c:pt idx="100">
                  <c:v>0.1780660101518093</c:v>
                </c:pt>
                <c:pt idx="101">
                  <c:v>0.16804971170328814</c:v>
                </c:pt>
                <c:pt idx="102">
                  <c:v>0.1605298013245033</c:v>
                </c:pt>
                <c:pt idx="103">
                  <c:v>0.1623502567027952</c:v>
                </c:pt>
                <c:pt idx="104">
                  <c:v>0.157237936772046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9.1581</c:v>
                </c:pt>
                <c:pt idx="1">
                  <c:v>1244.4935</c:v>
                </c:pt>
                <c:pt idx="2">
                  <c:v>1232.9451</c:v>
                </c:pt>
                <c:pt idx="3">
                  <c:v>1207.2554</c:v>
                </c:pt>
                <c:pt idx="4">
                  <c:v>1218.2851</c:v>
                </c:pt>
                <c:pt idx="5">
                  <c:v>1220.6369</c:v>
                </c:pt>
                <c:pt idx="6">
                  <c:v>1147.6067</c:v>
                </c:pt>
                <c:pt idx="7">
                  <c:v>1167.6036</c:v>
                </c:pt>
                <c:pt idx="8">
                  <c:v>1228.6224</c:v>
                </c:pt>
                <c:pt idx="9">
                  <c:v>1162.8742</c:v>
                </c:pt>
                <c:pt idx="10">
                  <c:v>1188.8372</c:v>
                </c:pt>
                <c:pt idx="11">
                  <c:v>1103.031</c:v>
                </c:pt>
                <c:pt idx="12">
                  <c:v>1145.8063</c:v>
                </c:pt>
                <c:pt idx="13">
                  <c:v>1171.8821</c:v>
                </c:pt>
                <c:pt idx="14">
                  <c:v>1177.0546</c:v>
                </c:pt>
                <c:pt idx="15">
                  <c:v>1188.0573</c:v>
                </c:pt>
                <c:pt idx="16">
                  <c:v>1232.2679</c:v>
                </c:pt>
                <c:pt idx="17">
                  <c:v>1186.695</c:v>
                </c:pt>
                <c:pt idx="18">
                  <c:v>1210.0574</c:v>
                </c:pt>
                <c:pt idx="19">
                  <c:v>1300.9369</c:v>
                </c:pt>
                <c:pt idx="20">
                  <c:v>1282.5496</c:v>
                </c:pt>
                <c:pt idx="21">
                  <c:v>1214.9475</c:v>
                </c:pt>
                <c:pt idx="22">
                  <c:v>1239.5719</c:v>
                </c:pt>
                <c:pt idx="23">
                  <c:v>1226.5287</c:v>
                </c:pt>
                <c:pt idx="24">
                  <c:v>1212.2118</c:v>
                </c:pt>
                <c:pt idx="25">
                  <c:v>1205.8278</c:v>
                </c:pt>
                <c:pt idx="26">
                  <c:v>1221.7157</c:v>
                </c:pt>
                <c:pt idx="27">
                  <c:v>1224.3866</c:v>
                </c:pt>
                <c:pt idx="28">
                  <c:v>1268.7454</c:v>
                </c:pt>
                <c:pt idx="29">
                  <c:v>1264.8765</c:v>
                </c:pt>
                <c:pt idx="30">
                  <c:v>1266.4469</c:v>
                </c:pt>
                <c:pt idx="31">
                  <c:v>1249.6481</c:v>
                </c:pt>
                <c:pt idx="32">
                  <c:v>1273.629</c:v>
                </c:pt>
                <c:pt idx="33">
                  <c:v>1269.1453</c:v>
                </c:pt>
                <c:pt idx="34">
                  <c:v>1281.3986</c:v>
                </c:pt>
                <c:pt idx="35">
                  <c:v>1309.0962</c:v>
                </c:pt>
                <c:pt idx="36">
                  <c:v>1316.1598</c:v>
                </c:pt>
                <c:pt idx="37">
                  <c:v>1322.4665</c:v>
                </c:pt>
                <c:pt idx="38">
                  <c:v>1324.7782</c:v>
                </c:pt>
                <c:pt idx="39">
                  <c:v>1289.4405</c:v>
                </c:pt>
                <c:pt idx="40">
                  <c:v>1308.8448</c:v>
                </c:pt>
                <c:pt idx="41">
                  <c:v>1339.8055</c:v>
                </c:pt>
                <c:pt idx="42">
                  <c:v>1325.9513</c:v>
                </c:pt>
                <c:pt idx="43">
                  <c:v>1333.1331</c:v>
                </c:pt>
                <c:pt idx="44">
                  <c:v>1260.8184</c:v>
                </c:pt>
                <c:pt idx="45">
                  <c:v>1223.2409</c:v>
                </c:pt>
                <c:pt idx="46">
                  <c:v>1217.7941</c:v>
                </c:pt>
                <c:pt idx="47">
                  <c:v>1192.622</c:v>
                </c:pt>
                <c:pt idx="48">
                  <c:v>1174.2261</c:v>
                </c:pt>
                <c:pt idx="49">
                  <c:v>1182.3423</c:v>
                </c:pt>
                <c:pt idx="50">
                  <c:v>1141.208</c:v>
                </c:pt>
                <c:pt idx="51">
                  <c:v>1122.0959</c:v>
                </c:pt>
              </c:numCache>
            </c:numRef>
          </c:xVal>
          <c:yVal>
            <c:numRef>
              <c:f>Sheet1!$B$109:$B$160</c:f>
              <c:numCache>
                <c:formatCode>General</c:formatCode>
                <c:ptCount val="52"/>
                <c:pt idx="0">
                  <c:v>0.1716145157867434</c:v>
                </c:pt>
                <c:pt idx="1">
                  <c:v>0.1661502808634978</c:v>
                </c:pt>
                <c:pt idx="2">
                  <c:v>0.18067380756202508</c:v>
                </c:pt>
                <c:pt idx="3">
                  <c:v>0.19882521685677207</c:v>
                </c:pt>
                <c:pt idx="4">
                  <c:v>0.1848120336150279</c:v>
                </c:pt>
                <c:pt idx="5">
                  <c:v>0.18082550255739266</c:v>
                </c:pt>
                <c:pt idx="6">
                  <c:v>0.19015362006016212</c:v>
                </c:pt>
                <c:pt idx="7">
                  <c:v>0.18795970084677668</c:v>
                </c:pt>
                <c:pt idx="8">
                  <c:v>0.17522325276695513</c:v>
                </c:pt>
                <c:pt idx="9">
                  <c:v>0.1817523077407769</c:v>
                </c:pt>
                <c:pt idx="10">
                  <c:v>0.18482863670982483</c:v>
                </c:pt>
                <c:pt idx="11">
                  <c:v>0.18591581342434585</c:v>
                </c:pt>
                <c:pt idx="12">
                  <c:v>0.1834210115110162</c:v>
                </c:pt>
                <c:pt idx="13">
                  <c:v>0.1836296256512165</c:v>
                </c:pt>
                <c:pt idx="14">
                  <c:v>0.18245235106972943</c:v>
                </c:pt>
                <c:pt idx="15">
                  <c:v>0.17627245508982037</c:v>
                </c:pt>
                <c:pt idx="16">
                  <c:v>0.1644259162758381</c:v>
                </c:pt>
                <c:pt idx="17">
                  <c:v>0.16807000772143987</c:v>
                </c:pt>
                <c:pt idx="18">
                  <c:v>0.16940687704410856</c:v>
                </c:pt>
                <c:pt idx="19">
                  <c:v>0.16784071012663382</c:v>
                </c:pt>
                <c:pt idx="20">
                  <c:v>0.1592128008510261</c:v>
                </c:pt>
                <c:pt idx="21">
                  <c:v>0.16145722210369107</c:v>
                </c:pt>
                <c:pt idx="22">
                  <c:v>0.15810005798935103</c:v>
                </c:pt>
                <c:pt idx="23">
                  <c:v>0.16801841297676456</c:v>
                </c:pt>
                <c:pt idx="24">
                  <c:v>0.17601908515714138</c:v>
                </c:pt>
                <c:pt idx="25">
                  <c:v>0.17434335744194898</c:v>
                </c:pt>
                <c:pt idx="26">
                  <c:v>0.16634789351253554</c:v>
                </c:pt>
                <c:pt idx="27">
                  <c:v>0.1669260344196265</c:v>
                </c:pt>
                <c:pt idx="28">
                  <c:v>0.1566812521036688</c:v>
                </c:pt>
                <c:pt idx="29">
                  <c:v>0.15670862146161882</c:v>
                </c:pt>
                <c:pt idx="30">
                  <c:v>0.16222233728576607</c:v>
                </c:pt>
                <c:pt idx="31">
                  <c:v>0.15708944492378488</c:v>
                </c:pt>
                <c:pt idx="32">
                  <c:v>0.15403147265364703</c:v>
                </c:pt>
                <c:pt idx="33">
                  <c:v>0.17030083208875613</c:v>
                </c:pt>
                <c:pt idx="34">
                  <c:v>0.18597880911275855</c:v>
                </c:pt>
                <c:pt idx="35">
                  <c:v>0.17824761452270657</c:v>
                </c:pt>
                <c:pt idx="36">
                  <c:v>0.1669918512567428</c:v>
                </c:pt>
                <c:pt idx="37">
                  <c:v>0.15851999162654384</c:v>
                </c:pt>
                <c:pt idx="38">
                  <c:v>0.15798270893371757</c:v>
                </c:pt>
                <c:pt idx="39">
                  <c:v>0.1716724769822115</c:v>
                </c:pt>
                <c:pt idx="40">
                  <c:v>0.16473622098867957</c:v>
                </c:pt>
                <c:pt idx="41">
                  <c:v>0.1681137848342016</c:v>
                </c:pt>
                <c:pt idx="42">
                  <c:v>0.16534101298226367</c:v>
                </c:pt>
                <c:pt idx="43">
                  <c:v>0.16415849786000275</c:v>
                </c:pt>
                <c:pt idx="44">
                  <c:v>0.16430774552477587</c:v>
                </c:pt>
                <c:pt idx="45">
                  <c:v>0.17869234489733105</c:v>
                </c:pt>
                <c:pt idx="46">
                  <c:v>0.19009744535159337</c:v>
                </c:pt>
                <c:pt idx="47">
                  <c:v>0.19124657297404105</c:v>
                </c:pt>
                <c:pt idx="48">
                  <c:v>0.1888858870716349</c:v>
                </c:pt>
                <c:pt idx="49">
                  <c:v>0.19384323040380047</c:v>
                </c:pt>
                <c:pt idx="50">
                  <c:v>0.20206915954780297</c:v>
                </c:pt>
                <c:pt idx="51">
                  <c:v>0.1919965390439108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86.4782872302735</c:v>
                </c:pt>
              </c:numCache>
            </c:numRef>
          </c:xVal>
          <c:yVal>
            <c:numRef>
              <c:f>Sheet1!$B$163:$B$164</c:f>
              <c:numCache>
                <c:formatCode>General</c:formatCode>
                <c:ptCount val="2"/>
                <c:pt idx="0">
                  <c:v>0.22366113162471526</c:v>
                </c:pt>
                <c:pt idx="1">
                  <c:v>0.2236611316247152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86.4782872302735</c:v>
                </c:pt>
                <c:pt idx="1">
                  <c:v>886.4782872302735</c:v>
                </c:pt>
              </c:numCache>
            </c:numRef>
          </c:xVal>
          <c:yVal>
            <c:numRef>
              <c:f>Sheet1!$B$167:$B$168</c:f>
              <c:numCache>
                <c:formatCode>General</c:formatCode>
                <c:ptCount val="2"/>
                <c:pt idx="0">
                  <c:v>0.223661131624715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1.7132612413186</c:v>
                </c:pt>
              </c:numCache>
            </c:numRef>
          </c:xVal>
          <c:yVal>
            <c:numRef>
              <c:f>Sheet1!$B$171:$B$172</c:f>
              <c:numCache>
                <c:formatCode>General</c:formatCode>
                <c:ptCount val="2"/>
                <c:pt idx="0">
                  <c:v>0.1941987040167873</c:v>
                </c:pt>
                <c:pt idx="1">
                  <c:v>0.194198704016787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1.7132612413186</c:v>
                </c:pt>
                <c:pt idx="1">
                  <c:v>1091.7132612413186</c:v>
                </c:pt>
              </c:numCache>
            </c:numRef>
          </c:xVal>
          <c:yVal>
            <c:numRef>
              <c:f>Sheet1!$B$175:$B$176</c:f>
              <c:numCache>
                <c:formatCode>General</c:formatCode>
                <c:ptCount val="2"/>
                <c:pt idx="0">
                  <c:v>0.194198704016787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93.2142899135702</c:v>
                </c:pt>
              </c:numCache>
            </c:numRef>
          </c:xVal>
          <c:yVal>
            <c:numRef>
              <c:f>Sheet1!$B$179:$B$180</c:f>
              <c:numCache>
                <c:formatCode>General</c:formatCode>
                <c:ptCount val="2"/>
                <c:pt idx="0">
                  <c:v>0.1796277629586346</c:v>
                </c:pt>
                <c:pt idx="1">
                  <c:v>0.179627762958634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93.2142899135702</c:v>
                </c:pt>
                <c:pt idx="1">
                  <c:v>1193.2142899135702</c:v>
                </c:pt>
              </c:numCache>
            </c:numRef>
          </c:xVal>
          <c:yVal>
            <c:numRef>
              <c:f>Sheet1!$B$183:$B$184</c:f>
              <c:numCache>
                <c:formatCode>General</c:formatCode>
                <c:ptCount val="2"/>
                <c:pt idx="0">
                  <c:v>0.179627762958634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9.1581</c:v>
                </c:pt>
                <c:pt idx="1">
                  <c:v>1244.4935</c:v>
                </c:pt>
                <c:pt idx="2">
                  <c:v>1232.9451</c:v>
                </c:pt>
                <c:pt idx="3">
                  <c:v>1207.2554</c:v>
                </c:pt>
                <c:pt idx="4">
                  <c:v>1218.2851</c:v>
                </c:pt>
                <c:pt idx="5">
                  <c:v>1220.6369</c:v>
                </c:pt>
                <c:pt idx="6">
                  <c:v>1147.6067</c:v>
                </c:pt>
                <c:pt idx="7">
                  <c:v>1167.6036</c:v>
                </c:pt>
                <c:pt idx="8">
                  <c:v>1228.6224</c:v>
                </c:pt>
                <c:pt idx="9">
                  <c:v>1162.8742</c:v>
                </c:pt>
                <c:pt idx="10">
                  <c:v>1188.8372</c:v>
                </c:pt>
                <c:pt idx="11">
                  <c:v>1103.031</c:v>
                </c:pt>
                <c:pt idx="12">
                  <c:v>1145.8063</c:v>
                </c:pt>
                <c:pt idx="13">
                  <c:v>1171.8821</c:v>
                </c:pt>
                <c:pt idx="14">
                  <c:v>1177.0546</c:v>
                </c:pt>
                <c:pt idx="15">
                  <c:v>1188.0573</c:v>
                </c:pt>
                <c:pt idx="16">
                  <c:v>1232.2679</c:v>
                </c:pt>
                <c:pt idx="17">
                  <c:v>1186.695</c:v>
                </c:pt>
                <c:pt idx="18">
                  <c:v>1210.0574</c:v>
                </c:pt>
                <c:pt idx="19">
                  <c:v>1300.9369</c:v>
                </c:pt>
                <c:pt idx="20">
                  <c:v>1282.5496</c:v>
                </c:pt>
                <c:pt idx="21">
                  <c:v>1214.9475</c:v>
                </c:pt>
                <c:pt idx="22">
                  <c:v>1239.5719</c:v>
                </c:pt>
                <c:pt idx="23">
                  <c:v>1226.5287</c:v>
                </c:pt>
                <c:pt idx="24">
                  <c:v>1212.2118</c:v>
                </c:pt>
                <c:pt idx="25">
                  <c:v>1205.8278</c:v>
                </c:pt>
                <c:pt idx="26">
                  <c:v>1221.7157</c:v>
                </c:pt>
                <c:pt idx="27">
                  <c:v>1224.3866</c:v>
                </c:pt>
                <c:pt idx="28">
                  <c:v>1268.7454</c:v>
                </c:pt>
                <c:pt idx="29">
                  <c:v>1264.8765</c:v>
                </c:pt>
                <c:pt idx="30">
                  <c:v>1266.4469</c:v>
                </c:pt>
                <c:pt idx="31">
                  <c:v>1249.6481</c:v>
                </c:pt>
                <c:pt idx="32">
                  <c:v>1273.629</c:v>
                </c:pt>
                <c:pt idx="33">
                  <c:v>1269.1453</c:v>
                </c:pt>
                <c:pt idx="34">
                  <c:v>1281.3986</c:v>
                </c:pt>
                <c:pt idx="35">
                  <c:v>1309.0962</c:v>
                </c:pt>
                <c:pt idx="36">
                  <c:v>1316.1598</c:v>
                </c:pt>
                <c:pt idx="37">
                  <c:v>1322.4665</c:v>
                </c:pt>
                <c:pt idx="38">
                  <c:v>1324.7782</c:v>
                </c:pt>
                <c:pt idx="39">
                  <c:v>1289.4405</c:v>
                </c:pt>
                <c:pt idx="40">
                  <c:v>1308.8448</c:v>
                </c:pt>
                <c:pt idx="41">
                  <c:v>1339.8055</c:v>
                </c:pt>
                <c:pt idx="42">
                  <c:v>1325.9513</c:v>
                </c:pt>
                <c:pt idx="43">
                  <c:v>1333.1331</c:v>
                </c:pt>
                <c:pt idx="44">
                  <c:v>1260.8184</c:v>
                </c:pt>
                <c:pt idx="45">
                  <c:v>1223.2409</c:v>
                </c:pt>
                <c:pt idx="46">
                  <c:v>1217.7941</c:v>
                </c:pt>
                <c:pt idx="47">
                  <c:v>1192.622</c:v>
                </c:pt>
                <c:pt idx="48">
                  <c:v>1174.2261</c:v>
                </c:pt>
                <c:pt idx="49">
                  <c:v>1182.3423</c:v>
                </c:pt>
                <c:pt idx="50">
                  <c:v>1141.208</c:v>
                </c:pt>
                <c:pt idx="51">
                  <c:v>1122.0959</c:v>
                </c:pt>
                <c:pt idx="52">
                  <c:v>1091.7132612413186</c:v>
                </c:pt>
                <c:pt idx="53">
                  <c:v>886.4782872302735</c:v>
                </c:pt>
                <c:pt idx="54">
                  <c:v>1193.2142899135702</c:v>
                </c:pt>
              </c:numCache>
            </c:numRef>
          </c:xVal>
          <c:yVal>
            <c:numRef>
              <c:f>Sheet1!$B$187:$B$241</c:f>
              <c:numCache>
                <c:formatCode>General</c:formatCode>
                <c:ptCount val="55"/>
                <c:pt idx="0">
                  <c:v>0.17590340929898918</c:v>
                </c:pt>
                <c:pt idx="1">
                  <c:v>0.17226639571485353</c:v>
                </c:pt>
                <c:pt idx="2">
                  <c:v>0.17392422182673778</c:v>
                </c:pt>
                <c:pt idx="3">
                  <c:v>0.17761209681084578</c:v>
                </c:pt>
                <c:pt idx="4">
                  <c:v>0.1760287324775832</c:v>
                </c:pt>
                <c:pt idx="5">
                  <c:v>0.17569112073483706</c:v>
                </c:pt>
                <c:pt idx="6">
                  <c:v>0.1861749429540301</c:v>
                </c:pt>
                <c:pt idx="7">
                  <c:v>0.18330429568023132</c:v>
                </c:pt>
                <c:pt idx="8">
                  <c:v>0.17454476535950786</c:v>
                </c:pt>
                <c:pt idx="9">
                  <c:v>0.18398322287478167</c:v>
                </c:pt>
                <c:pt idx="10">
                  <c:v>0.1802561144144884</c:v>
                </c:pt>
                <c:pt idx="11">
                  <c:v>0.19257399039051643</c:v>
                </c:pt>
                <c:pt idx="12">
                  <c:v>0.18643339868225536</c:v>
                </c:pt>
                <c:pt idx="13">
                  <c:v>0.18269009726142896</c:v>
                </c:pt>
                <c:pt idx="14">
                  <c:v>0.1819475610171249</c:v>
                </c:pt>
                <c:pt idx="15">
                  <c:v>0.180368072658458</c:v>
                </c:pt>
                <c:pt idx="16">
                  <c:v>0.17402143701178227</c:v>
                </c:pt>
                <c:pt idx="17">
                  <c:v>0.1805636371100028</c:v>
                </c:pt>
                <c:pt idx="18">
                  <c:v>0.17720985678058188</c:v>
                </c:pt>
                <c:pt idx="19">
                  <c:v>0.16416368517802357</c:v>
                </c:pt>
                <c:pt idx="20">
                  <c:v>0.16680326694407333</c:v>
                </c:pt>
                <c:pt idx="21">
                  <c:v>0.17650786035945643</c:v>
                </c:pt>
                <c:pt idx="22">
                  <c:v>0.17297291410634064</c:v>
                </c:pt>
                <c:pt idx="23">
                  <c:v>0.17484532565621147</c:v>
                </c:pt>
                <c:pt idx="24">
                  <c:v>0.17690058271876868</c:v>
                </c:pt>
                <c:pt idx="25">
                  <c:v>0.17781703537872756</c:v>
                </c:pt>
                <c:pt idx="26">
                  <c:v>0.17553625401654702</c:v>
                </c:pt>
                <c:pt idx="27">
                  <c:v>0.1751528339962644</c:v>
                </c:pt>
                <c:pt idx="28">
                  <c:v>0.1687849235556968</c:v>
                </c:pt>
                <c:pt idx="29">
                  <c:v>0.16934032200433635</c:v>
                </c:pt>
                <c:pt idx="30">
                  <c:v>0.16911488383748183</c:v>
                </c:pt>
                <c:pt idx="31">
                  <c:v>0.17152642909815177</c:v>
                </c:pt>
                <c:pt idx="32">
                  <c:v>0.16808386023956662</c:v>
                </c:pt>
                <c:pt idx="33">
                  <c:v>0.1687275160652962</c:v>
                </c:pt>
                <c:pt idx="34">
                  <c:v>0.16696849830554147</c:v>
                </c:pt>
                <c:pt idx="35">
                  <c:v>0.1629923800106673</c:v>
                </c:pt>
                <c:pt idx="36">
                  <c:v>0.16197836763458875</c:v>
                </c:pt>
                <c:pt idx="37">
                  <c:v>0.1610730117463427</c:v>
                </c:pt>
                <c:pt idx="38">
                  <c:v>0.16074115654364426</c:v>
                </c:pt>
                <c:pt idx="39">
                  <c:v>0.16581404644994574</c:v>
                </c:pt>
                <c:pt idx="40">
                  <c:v>0.1630284696407916</c:v>
                </c:pt>
                <c:pt idx="41">
                  <c:v>0.158583918282836</c:v>
                </c:pt>
                <c:pt idx="42">
                  <c:v>0.16057275262519222</c:v>
                </c:pt>
                <c:pt idx="43">
                  <c:v>0.1595417720936614</c:v>
                </c:pt>
                <c:pt idx="44">
                  <c:v>0.16992288098606864</c:v>
                </c:pt>
                <c:pt idx="45">
                  <c:v>0.17531730451827487</c:v>
                </c:pt>
                <c:pt idx="46">
                  <c:v>0.1760992177933789</c:v>
                </c:pt>
                <c:pt idx="47">
                  <c:v>0.17971278890894135</c:v>
                </c:pt>
                <c:pt idx="48">
                  <c:v>0.18235360524467714</c:v>
                </c:pt>
                <c:pt idx="49">
                  <c:v>0.18118848728121253</c:v>
                </c:pt>
                <c:pt idx="50">
                  <c:v>0.18709350586682438</c:v>
                </c:pt>
                <c:pt idx="51">
                  <c:v>0.18983713601757626</c:v>
                </c:pt>
                <c:pt idx="52">
                  <c:v>0.1941987040167873</c:v>
                </c:pt>
                <c:pt idx="53">
                  <c:v>0.22366113162471526</c:v>
                </c:pt>
                <c:pt idx="54">
                  <c:v>0.179627762958634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8.0"/>
          <c:min val="65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20657699980694"/>
          <c:min val="0.11314170263568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5030075238997861</c:v>
                </c:pt>
                <c:pt idx="1">
                  <c:v>0.16700102166714903</c:v>
                </c:pt>
                <c:pt idx="2">
                  <c:v>0.16991765046333648</c:v>
                </c:pt>
                <c:pt idx="3">
                  <c:v>0.17585938687049613</c:v>
                </c:pt>
                <c:pt idx="4">
                  <c:v>0.16676994056967281</c:v>
                </c:pt>
                <c:pt idx="5">
                  <c:v>0.16271029940861576</c:v>
                </c:pt>
                <c:pt idx="6">
                  <c:v>0.16264170542537953</c:v>
                </c:pt>
                <c:pt idx="7">
                  <c:v>0.15820476014108356</c:v>
                </c:pt>
                <c:pt idx="8">
                  <c:v>0.15812933692045397</c:v>
                </c:pt>
                <c:pt idx="9">
                  <c:v>0.16209450956258153</c:v>
                </c:pt>
                <c:pt idx="10">
                  <c:v>0.1628785153757167</c:v>
                </c:pt>
                <c:pt idx="11">
                  <c:v>0.17471495437395604</c:v>
                </c:pt>
                <c:pt idx="12">
                  <c:v>0.18232771133629852</c:v>
                </c:pt>
                <c:pt idx="13">
                  <c:v>0.17904053212278953</c:v>
                </c:pt>
                <c:pt idx="14">
                  <c:v>0.19308400672207587</c:v>
                </c:pt>
                <c:pt idx="15">
                  <c:v>0.19061061035348353</c:v>
                </c:pt>
                <c:pt idx="16">
                  <c:v>0.17957525124303425</c:v>
                </c:pt>
                <c:pt idx="17">
                  <c:v>0.170731070380391</c:v>
                </c:pt>
                <c:pt idx="18">
                  <c:v>0.16581058677442023</c:v>
                </c:pt>
                <c:pt idx="19">
                  <c:v>0.16815705980039233</c:v>
                </c:pt>
                <c:pt idx="20">
                  <c:v>0.17929992919577983</c:v>
                </c:pt>
                <c:pt idx="21">
                  <c:v>0.1691161386892181</c:v>
                </c:pt>
                <c:pt idx="22">
                  <c:v>0.15124811643072655</c:v>
                </c:pt>
                <c:pt idx="23">
                  <c:v>0.15307510226251617</c:v>
                </c:pt>
                <c:pt idx="24">
                  <c:v>0.15791332086458035</c:v>
                </c:pt>
                <c:pt idx="25">
                  <c:v>0.1503491322142779</c:v>
                </c:pt>
                <c:pt idx="26">
                  <c:v>0.15534822033707624</c:v>
                </c:pt>
                <c:pt idx="27">
                  <c:v>0.15005485817599526</c:v>
                </c:pt>
                <c:pt idx="28">
                  <c:v>0.14663990198206636</c:v>
                </c:pt>
                <c:pt idx="29">
                  <c:v>0.1508093668432628</c:v>
                </c:pt>
                <c:pt idx="30">
                  <c:v>0.1458081273879603</c:v>
                </c:pt>
                <c:pt idx="31">
                  <c:v>0.13374021974421102</c:v>
                </c:pt>
                <c:pt idx="32">
                  <c:v>0.13363412118414558</c:v>
                </c:pt>
                <c:pt idx="33">
                  <c:v>0.13522701349771696</c:v>
                </c:pt>
                <c:pt idx="34">
                  <c:v>0.14707155034772895</c:v>
                </c:pt>
                <c:pt idx="35">
                  <c:v>0.15738959896980528</c:v>
                </c:pt>
                <c:pt idx="36">
                  <c:v>0.14994232899533894</c:v>
                </c:pt>
                <c:pt idx="37">
                  <c:v>0.13736136467157367</c:v>
                </c:pt>
                <c:pt idx="38">
                  <c:v>0.14701125883349175</c:v>
                </c:pt>
                <c:pt idx="39">
                  <c:v>0.15297984819281896</c:v>
                </c:pt>
                <c:pt idx="40">
                  <c:v>0.1611298084923206</c:v>
                </c:pt>
                <c:pt idx="41">
                  <c:v>0.16028108148661052</c:v>
                </c:pt>
                <c:pt idx="42">
                  <c:v>0.16275959531062278</c:v>
                </c:pt>
                <c:pt idx="43">
                  <c:v>0.17153246538932657</c:v>
                </c:pt>
                <c:pt idx="44">
                  <c:v>0.1916151919029431</c:v>
                </c:pt>
                <c:pt idx="45">
                  <c:v>0.18191453134938634</c:v>
                </c:pt>
                <c:pt idx="46">
                  <c:v>0.18881422882511348</c:v>
                </c:pt>
                <c:pt idx="47">
                  <c:v>0.17773604705259438</c:v>
                </c:pt>
                <c:pt idx="48">
                  <c:v>0.20159053017617223</c:v>
                </c:pt>
                <c:pt idx="49">
                  <c:v>0.21313868702206862</c:v>
                </c:pt>
                <c:pt idx="50">
                  <c:v>0.18104795520206146</c:v>
                </c:pt>
                <c:pt idx="51">
                  <c:v>0.1732739865640564</c:v>
                </c:pt>
                <c:pt idx="52">
                  <c:v>0.1872857758656494</c:v>
                </c:pt>
                <c:pt idx="53">
                  <c:v>0.19249190578571468</c:v>
                </c:pt>
                <c:pt idx="54">
                  <c:v>0.1921883571337983</c:v>
                </c:pt>
                <c:pt idx="55">
                  <c:v>0.18151191698655617</c:v>
                </c:pt>
                <c:pt idx="56">
                  <c:v>0.18383376103771776</c:v>
                </c:pt>
                <c:pt idx="57">
                  <c:v>0.18263245397037675</c:v>
                </c:pt>
                <c:pt idx="58">
                  <c:v>0.1879558764557775</c:v>
                </c:pt>
                <c:pt idx="59">
                  <c:v>0.2120270999481059</c:v>
                </c:pt>
                <c:pt idx="60">
                  <c:v>0.2109776970102675</c:v>
                </c:pt>
                <c:pt idx="61">
                  <c:v>0.20536057682742695</c:v>
                </c:pt>
                <c:pt idx="62">
                  <c:v>0.20014449129755177</c:v>
                </c:pt>
                <c:pt idx="63">
                  <c:v>0.20461519053383562</c:v>
                </c:pt>
                <c:pt idx="64">
                  <c:v>0.21274666916256238</c:v>
                </c:pt>
                <c:pt idx="65">
                  <c:v>0.20816910645905434</c:v>
                </c:pt>
                <c:pt idx="66">
                  <c:v>0.2072901782301055</c:v>
                </c:pt>
                <c:pt idx="67">
                  <c:v>0.2111161245632678</c:v>
                </c:pt>
                <c:pt idx="68">
                  <c:v>0.2029748932385111</c:v>
                </c:pt>
                <c:pt idx="69">
                  <c:v>0.19132275064295418</c:v>
                </c:pt>
                <c:pt idx="70">
                  <c:v>0.18418944271427912</c:v>
                </c:pt>
                <c:pt idx="71">
                  <c:v>0.1928145128152561</c:v>
                </c:pt>
                <c:pt idx="72">
                  <c:v>0.2125052473951679</c:v>
                </c:pt>
                <c:pt idx="73">
                  <c:v>0.2043766921565988</c:v>
                </c:pt>
                <c:pt idx="74">
                  <c:v>0.19920833783275294</c:v>
                </c:pt>
                <c:pt idx="75">
                  <c:v>0.18958131567438888</c:v>
                </c:pt>
                <c:pt idx="76">
                  <c:v>0.17745275972792207</c:v>
                </c:pt>
                <c:pt idx="77">
                  <c:v>0.17397866519308813</c:v>
                </c:pt>
                <c:pt idx="78">
                  <c:v>0.18196445987072163</c:v>
                </c:pt>
                <c:pt idx="79">
                  <c:v>0.177647891210751</c:v>
                </c:pt>
                <c:pt idx="80">
                  <c:v>0.16833734401501144</c:v>
                </c:pt>
                <c:pt idx="81">
                  <c:v>0.17748884544676383</c:v>
                </c:pt>
                <c:pt idx="82">
                  <c:v>0.17527925587734983</c:v>
                </c:pt>
                <c:pt idx="83">
                  <c:v>0.15677351732749858</c:v>
                </c:pt>
                <c:pt idx="84">
                  <c:v>0.15699351048087626</c:v>
                </c:pt>
                <c:pt idx="85">
                  <c:v>0.1545692606625386</c:v>
                </c:pt>
                <c:pt idx="86">
                  <c:v>0.16039474577942583</c:v>
                </c:pt>
                <c:pt idx="87">
                  <c:v>0.1792488261525814</c:v>
                </c:pt>
                <c:pt idx="88">
                  <c:v>0.1665419825941035</c:v>
                </c:pt>
                <c:pt idx="89">
                  <c:v>0.15971687226915718</c:v>
                </c:pt>
                <c:pt idx="90">
                  <c:v>0.16976732513325468</c:v>
                </c:pt>
                <c:pt idx="91">
                  <c:v>0.17442979776264983</c:v>
                </c:pt>
                <c:pt idx="92">
                  <c:v>0.17801709758835324</c:v>
                </c:pt>
                <c:pt idx="93">
                  <c:v>0.1786295474854454</c:v>
                </c:pt>
                <c:pt idx="94">
                  <c:v>0.1726210642310321</c:v>
                </c:pt>
                <c:pt idx="95">
                  <c:v>0.1790991184533772</c:v>
                </c:pt>
                <c:pt idx="96">
                  <c:v>0.18186513396254902</c:v>
                </c:pt>
                <c:pt idx="97">
                  <c:v>0.19046742170086317</c:v>
                </c:pt>
                <c:pt idx="98">
                  <c:v>0.1985835389260568</c:v>
                </c:pt>
                <c:pt idx="99">
                  <c:v>0.20533765909506846</c:v>
                </c:pt>
                <c:pt idx="100">
                  <c:v>0.21842983491364001</c:v>
                </c:pt>
                <c:pt idx="101">
                  <c:v>0.20981204515198762</c:v>
                </c:pt>
                <c:pt idx="102">
                  <c:v>0.19880956497426364</c:v>
                </c:pt>
                <c:pt idx="103">
                  <c:v>0.19373191820614288</c:v>
                </c:pt>
                <c:pt idx="104">
                  <c:v>0.2078169049338585</c:v>
                </c:pt>
              </c:numCache>
            </c:numRef>
          </c:xVal>
          <c:yVal>
            <c:numRef>
              <c:f>Sheet1!$B$2:$B$106</c:f>
              <c:numCache>
                <c:formatCode>General</c:formatCode>
                <c:ptCount val="105"/>
                <c:pt idx="0">
                  <c:v>0.21020646867371848</c:v>
                </c:pt>
                <c:pt idx="1">
                  <c:v>0.19998409879945936</c:v>
                </c:pt>
                <c:pt idx="2">
                  <c:v>0.20379256370121374</c:v>
                </c:pt>
                <c:pt idx="3">
                  <c:v>0.20844547314027345</c:v>
                </c:pt>
                <c:pt idx="4">
                  <c:v>0.21889864325618516</c:v>
                </c:pt>
                <c:pt idx="5">
                  <c:v>0.22279337606142435</c:v>
                </c:pt>
                <c:pt idx="6">
                  <c:v>0.25172147499839115</c:v>
                </c:pt>
                <c:pt idx="7">
                  <c:v>0.25146799765120376</c:v>
                </c:pt>
                <c:pt idx="8">
                  <c:v>0.2456400883405681</c:v>
                </c:pt>
                <c:pt idx="9">
                  <c:v>0.23977286240932336</c:v>
                </c:pt>
                <c:pt idx="10">
                  <c:v>0.23185535944898839</c:v>
                </c:pt>
                <c:pt idx="11">
                  <c:v>0.2112331761187162</c:v>
                </c:pt>
                <c:pt idx="12">
                  <c:v>0.20288239509515088</c:v>
                </c:pt>
                <c:pt idx="13">
                  <c:v>0.19351573264347777</c:v>
                </c:pt>
                <c:pt idx="14">
                  <c:v>0.17355556174921263</c:v>
                </c:pt>
                <c:pt idx="15">
                  <c:v>0.17153731590269733</c:v>
                </c:pt>
                <c:pt idx="16">
                  <c:v>0.16137339055793992</c:v>
                </c:pt>
                <c:pt idx="17">
                  <c:v>0.15487087283425957</c:v>
                </c:pt>
                <c:pt idx="18">
                  <c:v>0.14542892212574443</c:v>
                </c:pt>
                <c:pt idx="19">
                  <c:v>0.14849703640982218</c:v>
                </c:pt>
                <c:pt idx="20">
                  <c:v>0.1512384780044559</c:v>
                </c:pt>
                <c:pt idx="21">
                  <c:v>0.1542627262881015</c:v>
                </c:pt>
                <c:pt idx="22">
                  <c:v>0.17664387164650183</c:v>
                </c:pt>
                <c:pt idx="23">
                  <c:v>0.17933842806939254</c:v>
                </c:pt>
                <c:pt idx="24">
                  <c:v>0.1833583752137195</c:v>
                </c:pt>
                <c:pt idx="25">
                  <c:v>0.18293678563097737</c:v>
                </c:pt>
                <c:pt idx="26">
                  <c:v>0.20214267049908544</c:v>
                </c:pt>
                <c:pt idx="27">
                  <c:v>0.211397612119996</c:v>
                </c:pt>
                <c:pt idx="28">
                  <c:v>0.206163927712077</c:v>
                </c:pt>
                <c:pt idx="29">
                  <c:v>0.20307498083772937</c:v>
                </c:pt>
                <c:pt idx="30">
                  <c:v>0.20531302679765157</c:v>
                </c:pt>
                <c:pt idx="31">
                  <c:v>0.20395755029847445</c:v>
                </c:pt>
                <c:pt idx="32">
                  <c:v>0.21359064071725345</c:v>
                </c:pt>
                <c:pt idx="33">
                  <c:v>0.20973176388220366</c:v>
                </c:pt>
                <c:pt idx="34">
                  <c:v>0.21168379383421967</c:v>
                </c:pt>
                <c:pt idx="35">
                  <c:v>0.23083929294292269</c:v>
                </c:pt>
                <c:pt idx="36">
                  <c:v>0.192742538864411</c:v>
                </c:pt>
                <c:pt idx="37">
                  <c:v>0.20033653846153845</c:v>
                </c:pt>
                <c:pt idx="38">
                  <c:v>0.18773207310604234</c:v>
                </c:pt>
                <c:pt idx="39">
                  <c:v>0.17446483180428135</c:v>
                </c:pt>
                <c:pt idx="40">
                  <c:v>0.17987973900806004</c:v>
                </c:pt>
                <c:pt idx="41">
                  <c:v>0.17108289631060816</c:v>
                </c:pt>
                <c:pt idx="42">
                  <c:v>0.1702286184855496</c:v>
                </c:pt>
                <c:pt idx="43">
                  <c:v>0.1728169656964292</c:v>
                </c:pt>
                <c:pt idx="44">
                  <c:v>0.17103670835014118</c:v>
                </c:pt>
                <c:pt idx="45">
                  <c:v>0.18516640952171037</c:v>
                </c:pt>
                <c:pt idx="46">
                  <c:v>0.19015579233348898</c:v>
                </c:pt>
                <c:pt idx="47">
                  <c:v>0.18210794275568484</c:v>
                </c:pt>
                <c:pt idx="48">
                  <c:v>0.18136631975163672</c:v>
                </c:pt>
                <c:pt idx="49">
                  <c:v>0.1898583998857532</c:v>
                </c:pt>
                <c:pt idx="50">
                  <c:v>0.18103877771319438</c:v>
                </c:pt>
                <c:pt idx="51">
                  <c:v>0.17596993753577383</c:v>
                </c:pt>
                <c:pt idx="52">
                  <c:v>0.17994396800615925</c:v>
                </c:pt>
                <c:pt idx="53">
                  <c:v>0.17098018353504454</c:v>
                </c:pt>
                <c:pt idx="54">
                  <c:v>0.17911866359447004</c:v>
                </c:pt>
                <c:pt idx="55">
                  <c:v>0.17743525405502286</c:v>
                </c:pt>
                <c:pt idx="56">
                  <c:v>0.17281342427717752</c:v>
                </c:pt>
                <c:pt idx="57">
                  <c:v>0.1709137574313176</c:v>
                </c:pt>
                <c:pt idx="58">
                  <c:v>0.18198158808812456</c:v>
                </c:pt>
                <c:pt idx="59">
                  <c:v>0.18307776384736554</c:v>
                </c:pt>
                <c:pt idx="60">
                  <c:v>0.18700290979631426</c:v>
                </c:pt>
                <c:pt idx="61">
                  <c:v>0.18054056646761157</c:v>
                </c:pt>
                <c:pt idx="62">
                  <c:v>0.19009002656136145</c:v>
                </c:pt>
                <c:pt idx="63">
                  <c:v>0.19600309105739921</c:v>
                </c:pt>
                <c:pt idx="64">
                  <c:v>0.18459062310570432</c:v>
                </c:pt>
                <c:pt idx="65">
                  <c:v>0.179037306101935</c:v>
                </c:pt>
                <c:pt idx="66">
                  <c:v>0.17705924002832193</c:v>
                </c:pt>
                <c:pt idx="67">
                  <c:v>0.165002435460302</c:v>
                </c:pt>
                <c:pt idx="68">
                  <c:v>0.1568587306229892</c:v>
                </c:pt>
                <c:pt idx="69">
                  <c:v>0.15326821938392185</c:v>
                </c:pt>
                <c:pt idx="70">
                  <c:v>0.1520919248528427</c:v>
                </c:pt>
                <c:pt idx="71">
                  <c:v>0.1501281857939979</c:v>
                </c:pt>
                <c:pt idx="72">
                  <c:v>0.1519796585543044</c:v>
                </c:pt>
                <c:pt idx="73">
                  <c:v>0.1523521632344606</c:v>
                </c:pt>
                <c:pt idx="74">
                  <c:v>0.1514309430149049</c:v>
                </c:pt>
                <c:pt idx="75">
                  <c:v>0.16235595390524968</c:v>
                </c:pt>
                <c:pt idx="76">
                  <c:v>0.16577613371694752</c:v>
                </c:pt>
                <c:pt idx="77">
                  <c:v>0.155979908593149</c:v>
                </c:pt>
                <c:pt idx="78">
                  <c:v>0.15918260413937646</c:v>
                </c:pt>
                <c:pt idx="79">
                  <c:v>0.15380752373995618</c:v>
                </c:pt>
                <c:pt idx="80">
                  <c:v>0.14142712829460924</c:v>
                </c:pt>
                <c:pt idx="81">
                  <c:v>0.148257712551385</c:v>
                </c:pt>
                <c:pt idx="82">
                  <c:v>0.1528003546623319</c:v>
                </c:pt>
                <c:pt idx="83">
                  <c:v>0.14571476869330027</c:v>
                </c:pt>
                <c:pt idx="84">
                  <c:v>0.1516840607210626</c:v>
                </c:pt>
                <c:pt idx="85">
                  <c:v>0.15782255512184828</c:v>
                </c:pt>
                <c:pt idx="86">
                  <c:v>0.1641406126011744</c:v>
                </c:pt>
                <c:pt idx="87">
                  <c:v>0.18383226647245965</c:v>
                </c:pt>
                <c:pt idx="88">
                  <c:v>0.16740838935706845</c:v>
                </c:pt>
                <c:pt idx="89">
                  <c:v>0.1644376120932616</c:v>
                </c:pt>
                <c:pt idx="90">
                  <c:v>0.1535372747926243</c:v>
                </c:pt>
                <c:pt idx="91">
                  <c:v>0.1452292565466038</c:v>
                </c:pt>
                <c:pt idx="92">
                  <c:v>0.15778172358260725</c:v>
                </c:pt>
                <c:pt idx="93">
                  <c:v>0.1529416470023597</c:v>
                </c:pt>
                <c:pt idx="94">
                  <c:v>0.15484930007751585</c:v>
                </c:pt>
                <c:pt idx="95">
                  <c:v>0.161292465048318</c:v>
                </c:pt>
                <c:pt idx="96">
                  <c:v>0.16254008052267413</c:v>
                </c:pt>
                <c:pt idx="97">
                  <c:v>0.1687336954197494</c:v>
                </c:pt>
                <c:pt idx="98">
                  <c:v>0.1752648592088791</c:v>
                </c:pt>
                <c:pt idx="99">
                  <c:v>0.17548869236040857</c:v>
                </c:pt>
                <c:pt idx="100">
                  <c:v>0.1780660101518093</c:v>
                </c:pt>
                <c:pt idx="101">
                  <c:v>0.16804971170328814</c:v>
                </c:pt>
                <c:pt idx="102">
                  <c:v>0.1605298013245033</c:v>
                </c:pt>
                <c:pt idx="103">
                  <c:v>0.1623502567027952</c:v>
                </c:pt>
                <c:pt idx="104">
                  <c:v>0.157237936772046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0950140423348293</c:v>
                </c:pt>
                <c:pt idx="1">
                  <c:v>0.21903103648157407</c:v>
                </c:pt>
                <c:pt idx="2">
                  <c:v>0.2100946326763741</c:v>
                </c:pt>
                <c:pt idx="3">
                  <c:v>0.20628057244674575</c:v>
                </c:pt>
                <c:pt idx="4">
                  <c:v>0.20284660048965836</c:v>
                </c:pt>
                <c:pt idx="5">
                  <c:v>0.20318109116699323</c:v>
                </c:pt>
                <c:pt idx="6">
                  <c:v>0.19080726364229056</c:v>
                </c:pt>
                <c:pt idx="7">
                  <c:v>0.18400369531735836</c:v>
                </c:pt>
                <c:pt idx="8">
                  <c:v>0.19761894264791396</c:v>
                </c:pt>
                <c:pt idx="9">
                  <c:v>0.19370140804342578</c:v>
                </c:pt>
                <c:pt idx="10">
                  <c:v>0.20011046802535762</c:v>
                </c:pt>
                <c:pt idx="11">
                  <c:v>0.1909353836389904</c:v>
                </c:pt>
                <c:pt idx="12">
                  <c:v>0.19067152751582359</c:v>
                </c:pt>
                <c:pt idx="13">
                  <c:v>0.1911841440584986</c:v>
                </c:pt>
                <c:pt idx="14">
                  <c:v>0.18879193171829675</c:v>
                </c:pt>
                <c:pt idx="15">
                  <c:v>0.1824455209473675</c:v>
                </c:pt>
                <c:pt idx="16">
                  <c:v>0.1824299442919081</c:v>
                </c:pt>
                <c:pt idx="17">
                  <c:v>0.1715863243489409</c:v>
                </c:pt>
                <c:pt idx="18">
                  <c:v>0.16980191735720146</c:v>
                </c:pt>
                <c:pt idx="19">
                  <c:v>0.188012738025591</c:v>
                </c:pt>
                <c:pt idx="20">
                  <c:v>0.17270349424569498</c:v>
                </c:pt>
                <c:pt idx="21">
                  <c:v>0.1593634353221193</c:v>
                </c:pt>
                <c:pt idx="22">
                  <c:v>0.17340329831013704</c:v>
                </c:pt>
                <c:pt idx="23">
                  <c:v>0.15830792420458487</c:v>
                </c:pt>
                <c:pt idx="24">
                  <c:v>0.15430386353408518</c:v>
                </c:pt>
                <c:pt idx="25">
                  <c:v>0.15530063238664768</c:v>
                </c:pt>
                <c:pt idx="26">
                  <c:v>0.15420144437577812</c:v>
                </c:pt>
                <c:pt idx="27">
                  <c:v>0.15715185458288652</c:v>
                </c:pt>
                <c:pt idx="28">
                  <c:v>0.1665411975192327</c:v>
                </c:pt>
                <c:pt idx="29">
                  <c:v>0.15960268955149387</c:v>
                </c:pt>
                <c:pt idx="30">
                  <c:v>0.15528367532057857</c:v>
                </c:pt>
                <c:pt idx="31">
                  <c:v>0.15572583577852284</c:v>
                </c:pt>
                <c:pt idx="32">
                  <c:v>0.15436313663405657</c:v>
                </c:pt>
                <c:pt idx="33">
                  <c:v>0.16200303249253045</c:v>
                </c:pt>
                <c:pt idx="34">
                  <c:v>0.17817905203857415</c:v>
                </c:pt>
                <c:pt idx="35">
                  <c:v>0.17481173632064148</c:v>
                </c:pt>
                <c:pt idx="36">
                  <c:v>0.15657105064406174</c:v>
                </c:pt>
                <c:pt idx="37">
                  <c:v>0.16839647654458434</c:v>
                </c:pt>
                <c:pt idx="38">
                  <c:v>0.15954064928524903</c:v>
                </c:pt>
                <c:pt idx="39">
                  <c:v>0.1676722023239282</c:v>
                </c:pt>
                <c:pt idx="40">
                  <c:v>0.16705799334351312</c:v>
                </c:pt>
                <c:pt idx="41">
                  <c:v>0.1777895504521161</c:v>
                </c:pt>
                <c:pt idx="42">
                  <c:v>0.1730313641566928</c:v>
                </c:pt>
                <c:pt idx="43">
                  <c:v>0.18017829058094237</c:v>
                </c:pt>
                <c:pt idx="44">
                  <c:v>0.18048065758129875</c:v>
                </c:pt>
                <c:pt idx="45">
                  <c:v>0.1833425136419386</c:v>
                </c:pt>
                <c:pt idx="46">
                  <c:v>0.1729982982072968</c:v>
                </c:pt>
                <c:pt idx="47">
                  <c:v>0.16984459321261347</c:v>
                </c:pt>
                <c:pt idx="48">
                  <c:v>0.17464164493126536</c:v>
                </c:pt>
                <c:pt idx="49">
                  <c:v>0.19043508261152972</c:v>
                </c:pt>
                <c:pt idx="50">
                  <c:v>0.20434483640584378</c:v>
                </c:pt>
                <c:pt idx="51">
                  <c:v>0.17858238268888216</c:v>
                </c:pt>
              </c:numCache>
            </c:numRef>
          </c:xVal>
          <c:yVal>
            <c:numRef>
              <c:f>Sheet1!$B$109:$B$160</c:f>
              <c:numCache>
                <c:formatCode>General</c:formatCode>
                <c:ptCount val="52"/>
                <c:pt idx="0">
                  <c:v>0.1716145157867434</c:v>
                </c:pt>
                <c:pt idx="1">
                  <c:v>0.1661502808634978</c:v>
                </c:pt>
                <c:pt idx="2">
                  <c:v>0.18067380756202508</c:v>
                </c:pt>
                <c:pt idx="3">
                  <c:v>0.19882521685677207</c:v>
                </c:pt>
                <c:pt idx="4">
                  <c:v>0.1848120336150279</c:v>
                </c:pt>
                <c:pt idx="5">
                  <c:v>0.18082550255739266</c:v>
                </c:pt>
                <c:pt idx="6">
                  <c:v>0.19015362006016212</c:v>
                </c:pt>
                <c:pt idx="7">
                  <c:v>0.18795970084677668</c:v>
                </c:pt>
                <c:pt idx="8">
                  <c:v>0.17522325276695513</c:v>
                </c:pt>
                <c:pt idx="9">
                  <c:v>0.1817523077407769</c:v>
                </c:pt>
                <c:pt idx="10">
                  <c:v>0.18482863670982483</c:v>
                </c:pt>
                <c:pt idx="11">
                  <c:v>0.18591581342434585</c:v>
                </c:pt>
                <c:pt idx="12">
                  <c:v>0.1834210115110162</c:v>
                </c:pt>
                <c:pt idx="13">
                  <c:v>0.1836296256512165</c:v>
                </c:pt>
                <c:pt idx="14">
                  <c:v>0.18245235106972943</c:v>
                </c:pt>
                <c:pt idx="15">
                  <c:v>0.17627245508982037</c:v>
                </c:pt>
                <c:pt idx="16">
                  <c:v>0.1644259162758381</c:v>
                </c:pt>
                <c:pt idx="17">
                  <c:v>0.16807000772143987</c:v>
                </c:pt>
                <c:pt idx="18">
                  <c:v>0.16940687704410856</c:v>
                </c:pt>
                <c:pt idx="19">
                  <c:v>0.16784071012663382</c:v>
                </c:pt>
                <c:pt idx="20">
                  <c:v>0.1592128008510261</c:v>
                </c:pt>
                <c:pt idx="21">
                  <c:v>0.16145722210369107</c:v>
                </c:pt>
                <c:pt idx="22">
                  <c:v>0.15810005798935103</c:v>
                </c:pt>
                <c:pt idx="23">
                  <c:v>0.16801841297676456</c:v>
                </c:pt>
                <c:pt idx="24">
                  <c:v>0.17601908515714138</c:v>
                </c:pt>
                <c:pt idx="25">
                  <c:v>0.17434335744194898</c:v>
                </c:pt>
                <c:pt idx="26">
                  <c:v>0.16634789351253554</c:v>
                </c:pt>
                <c:pt idx="27">
                  <c:v>0.1669260344196265</c:v>
                </c:pt>
                <c:pt idx="28">
                  <c:v>0.1566812521036688</c:v>
                </c:pt>
                <c:pt idx="29">
                  <c:v>0.15670862146161882</c:v>
                </c:pt>
                <c:pt idx="30">
                  <c:v>0.16222233728576607</c:v>
                </c:pt>
                <c:pt idx="31">
                  <c:v>0.15708944492378488</c:v>
                </c:pt>
                <c:pt idx="32">
                  <c:v>0.15403147265364703</c:v>
                </c:pt>
                <c:pt idx="33">
                  <c:v>0.17030083208875613</c:v>
                </c:pt>
                <c:pt idx="34">
                  <c:v>0.18597880911275855</c:v>
                </c:pt>
                <c:pt idx="35">
                  <c:v>0.17824761452270657</c:v>
                </c:pt>
                <c:pt idx="36">
                  <c:v>0.1669918512567428</c:v>
                </c:pt>
                <c:pt idx="37">
                  <c:v>0.15851999162654384</c:v>
                </c:pt>
                <c:pt idx="38">
                  <c:v>0.15798270893371757</c:v>
                </c:pt>
                <c:pt idx="39">
                  <c:v>0.1716724769822115</c:v>
                </c:pt>
                <c:pt idx="40">
                  <c:v>0.16473622098867957</c:v>
                </c:pt>
                <c:pt idx="41">
                  <c:v>0.1681137848342016</c:v>
                </c:pt>
                <c:pt idx="42">
                  <c:v>0.16534101298226367</c:v>
                </c:pt>
                <c:pt idx="43">
                  <c:v>0.16415849786000275</c:v>
                </c:pt>
                <c:pt idx="44">
                  <c:v>0.16430774552477587</c:v>
                </c:pt>
                <c:pt idx="45">
                  <c:v>0.17869234489733105</c:v>
                </c:pt>
                <c:pt idx="46">
                  <c:v>0.19009744535159337</c:v>
                </c:pt>
                <c:pt idx="47">
                  <c:v>0.19124657297404105</c:v>
                </c:pt>
                <c:pt idx="48">
                  <c:v>0.1888858870716349</c:v>
                </c:pt>
                <c:pt idx="49">
                  <c:v>0.19384323040380047</c:v>
                </c:pt>
                <c:pt idx="50">
                  <c:v>0.20206915954780297</c:v>
                </c:pt>
                <c:pt idx="51">
                  <c:v>0.1919965390439108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30339510954686716</c:v>
                </c:pt>
              </c:numCache>
            </c:numRef>
          </c:xVal>
          <c:yVal>
            <c:numRef>
              <c:f>Sheet1!$B$163:$B$164</c:f>
              <c:numCache>
                <c:formatCode>General</c:formatCode>
                <c:ptCount val="2"/>
                <c:pt idx="0">
                  <c:v>0.22366113162471526</c:v>
                </c:pt>
                <c:pt idx="1">
                  <c:v>0.2236611316247152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30339510954686716</c:v>
                </c:pt>
                <c:pt idx="1">
                  <c:v>0.30339510954686716</c:v>
                </c:pt>
              </c:numCache>
            </c:numRef>
          </c:xVal>
          <c:yVal>
            <c:numRef>
              <c:f>Sheet1!$B$167:$B$168</c:f>
              <c:numCache>
                <c:formatCode>General</c:formatCode>
                <c:ptCount val="2"/>
                <c:pt idx="0">
                  <c:v>0.223661131624715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2896245239458668</c:v>
                </c:pt>
              </c:numCache>
            </c:numRef>
          </c:xVal>
          <c:yVal>
            <c:numRef>
              <c:f>Sheet1!$B$171:$B$172</c:f>
              <c:numCache>
                <c:formatCode>General</c:formatCode>
                <c:ptCount val="2"/>
                <c:pt idx="0">
                  <c:v>0.1941987040167873</c:v>
                </c:pt>
                <c:pt idx="1">
                  <c:v>0.194198704016787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2896245239458668</c:v>
                </c:pt>
                <c:pt idx="1">
                  <c:v>0.22896245239458668</c:v>
                </c:pt>
              </c:numCache>
            </c:numRef>
          </c:xVal>
          <c:yVal>
            <c:numRef>
              <c:f>Sheet1!$B$175:$B$176</c:f>
              <c:numCache>
                <c:formatCode>General</c:formatCode>
                <c:ptCount val="2"/>
                <c:pt idx="0">
                  <c:v>0.194198704016787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9215103024701982</c:v>
                </c:pt>
              </c:numCache>
            </c:numRef>
          </c:xVal>
          <c:yVal>
            <c:numRef>
              <c:f>Sheet1!$B$179:$B$180</c:f>
              <c:numCache>
                <c:formatCode>General</c:formatCode>
                <c:ptCount val="2"/>
                <c:pt idx="0">
                  <c:v>0.1796277629586346</c:v>
                </c:pt>
                <c:pt idx="1">
                  <c:v>0.179627762958634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9215103024701982</c:v>
                </c:pt>
                <c:pt idx="1">
                  <c:v>0.19215103024701982</c:v>
                </c:pt>
              </c:numCache>
            </c:numRef>
          </c:xVal>
          <c:yVal>
            <c:numRef>
              <c:f>Sheet1!$B$183:$B$184</c:f>
              <c:numCache>
                <c:formatCode>General</c:formatCode>
                <c:ptCount val="2"/>
                <c:pt idx="0">
                  <c:v>0.179627762958634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0950140423348293</c:v>
                </c:pt>
                <c:pt idx="1">
                  <c:v>0.21903103648157407</c:v>
                </c:pt>
                <c:pt idx="2">
                  <c:v>0.2100946326763741</c:v>
                </c:pt>
                <c:pt idx="3">
                  <c:v>0.20628057244674575</c:v>
                </c:pt>
                <c:pt idx="4">
                  <c:v>0.20284660048965836</c:v>
                </c:pt>
                <c:pt idx="5">
                  <c:v>0.20318109116699323</c:v>
                </c:pt>
                <c:pt idx="6">
                  <c:v>0.19080726364229056</c:v>
                </c:pt>
                <c:pt idx="7">
                  <c:v>0.18400369531735836</c:v>
                </c:pt>
                <c:pt idx="8">
                  <c:v>0.19761894264791396</c:v>
                </c:pt>
                <c:pt idx="9">
                  <c:v>0.19370140804342578</c:v>
                </c:pt>
                <c:pt idx="10">
                  <c:v>0.20011046802535762</c:v>
                </c:pt>
                <c:pt idx="11">
                  <c:v>0.1909353836389904</c:v>
                </c:pt>
                <c:pt idx="12">
                  <c:v>0.19067152751582359</c:v>
                </c:pt>
                <c:pt idx="13">
                  <c:v>0.1911841440584986</c:v>
                </c:pt>
                <c:pt idx="14">
                  <c:v>0.18879193171829675</c:v>
                </c:pt>
                <c:pt idx="15">
                  <c:v>0.1824455209473675</c:v>
                </c:pt>
                <c:pt idx="16">
                  <c:v>0.1824299442919081</c:v>
                </c:pt>
                <c:pt idx="17">
                  <c:v>0.1715863243489409</c:v>
                </c:pt>
                <c:pt idx="18">
                  <c:v>0.16980191735720146</c:v>
                </c:pt>
                <c:pt idx="19">
                  <c:v>0.188012738025591</c:v>
                </c:pt>
                <c:pt idx="20">
                  <c:v>0.17270349424569498</c:v>
                </c:pt>
                <c:pt idx="21">
                  <c:v>0.1593634353221193</c:v>
                </c:pt>
                <c:pt idx="22">
                  <c:v>0.17340329831013704</c:v>
                </c:pt>
                <c:pt idx="23">
                  <c:v>0.15830792420458487</c:v>
                </c:pt>
                <c:pt idx="24">
                  <c:v>0.15430386353408518</c:v>
                </c:pt>
                <c:pt idx="25">
                  <c:v>0.15530063238664768</c:v>
                </c:pt>
                <c:pt idx="26">
                  <c:v>0.15420144437577812</c:v>
                </c:pt>
                <c:pt idx="27">
                  <c:v>0.15715185458288652</c:v>
                </c:pt>
                <c:pt idx="28">
                  <c:v>0.1665411975192327</c:v>
                </c:pt>
                <c:pt idx="29">
                  <c:v>0.15960268955149387</c:v>
                </c:pt>
                <c:pt idx="30">
                  <c:v>0.15528367532057857</c:v>
                </c:pt>
                <c:pt idx="31">
                  <c:v>0.15572583577852284</c:v>
                </c:pt>
                <c:pt idx="32">
                  <c:v>0.15436313663405657</c:v>
                </c:pt>
                <c:pt idx="33">
                  <c:v>0.16200303249253045</c:v>
                </c:pt>
                <c:pt idx="34">
                  <c:v>0.17817905203857415</c:v>
                </c:pt>
                <c:pt idx="35">
                  <c:v>0.17481173632064148</c:v>
                </c:pt>
                <c:pt idx="36">
                  <c:v>0.15657105064406174</c:v>
                </c:pt>
                <c:pt idx="37">
                  <c:v>0.16839647654458434</c:v>
                </c:pt>
                <c:pt idx="38">
                  <c:v>0.15954064928524903</c:v>
                </c:pt>
                <c:pt idx="39">
                  <c:v>0.1676722023239282</c:v>
                </c:pt>
                <c:pt idx="40">
                  <c:v>0.16705799334351312</c:v>
                </c:pt>
                <c:pt idx="41">
                  <c:v>0.1777895504521161</c:v>
                </c:pt>
                <c:pt idx="42">
                  <c:v>0.1730313641566928</c:v>
                </c:pt>
                <c:pt idx="43">
                  <c:v>0.18017829058094237</c:v>
                </c:pt>
                <c:pt idx="44">
                  <c:v>0.18048065758129875</c:v>
                </c:pt>
                <c:pt idx="45">
                  <c:v>0.1833425136419386</c:v>
                </c:pt>
                <c:pt idx="46">
                  <c:v>0.1729982982072968</c:v>
                </c:pt>
                <c:pt idx="47">
                  <c:v>0.16984459321261347</c:v>
                </c:pt>
                <c:pt idx="48">
                  <c:v>0.17464164493126536</c:v>
                </c:pt>
                <c:pt idx="49">
                  <c:v>0.19043508261152972</c:v>
                </c:pt>
                <c:pt idx="50">
                  <c:v>0.20434483640584378</c:v>
                </c:pt>
                <c:pt idx="51">
                  <c:v>0.17858238268888216</c:v>
                </c:pt>
                <c:pt idx="52">
                  <c:v>0.22896245239458668</c:v>
                </c:pt>
                <c:pt idx="53">
                  <c:v>0.30339510954686716</c:v>
                </c:pt>
                <c:pt idx="54">
                  <c:v>0.19215103024701982</c:v>
                </c:pt>
              </c:numCache>
            </c:numRef>
          </c:xVal>
          <c:yVal>
            <c:numRef>
              <c:f>Sheet1!$B$187:$B$241</c:f>
              <c:numCache>
                <c:formatCode>General</c:formatCode>
                <c:ptCount val="55"/>
                <c:pt idx="0">
                  <c:v>0.18649550296824924</c:v>
                </c:pt>
                <c:pt idx="1">
                  <c:v>0.19026758515611403</c:v>
                </c:pt>
                <c:pt idx="2">
                  <c:v>0.1867303185817492</c:v>
                </c:pt>
                <c:pt idx="3">
                  <c:v>0.18522061198645995</c:v>
                </c:pt>
                <c:pt idx="4">
                  <c:v>0.1838613544499951</c:v>
                </c:pt>
                <c:pt idx="5">
                  <c:v>0.1839937547665167</c:v>
                </c:pt>
                <c:pt idx="6">
                  <c:v>0.1790958643562135</c:v>
                </c:pt>
                <c:pt idx="7">
                  <c:v>0.17640283085562505</c:v>
                </c:pt>
                <c:pt idx="8">
                  <c:v>0.1817921082801814</c:v>
                </c:pt>
                <c:pt idx="9">
                  <c:v>0.18024144377212617</c:v>
                </c:pt>
                <c:pt idx="10">
                  <c:v>0.18277832036604136</c:v>
                </c:pt>
                <c:pt idx="11">
                  <c:v>0.179146577662339</c:v>
                </c:pt>
                <c:pt idx="12">
                  <c:v>0.17904213638313266</c:v>
                </c:pt>
                <c:pt idx="13">
                  <c:v>0.17924504366008626</c:v>
                </c:pt>
                <c:pt idx="14">
                  <c:v>0.17829814231875976</c:v>
                </c:pt>
                <c:pt idx="15">
                  <c:v>0.1757860639507104</c:v>
                </c:pt>
                <c:pt idx="16">
                  <c:v>0.17577989829572233</c:v>
                </c:pt>
                <c:pt idx="17">
                  <c:v>0.17148770479087488</c:v>
                </c:pt>
                <c:pt idx="18">
                  <c:v>0.1707813889904105</c:v>
                </c:pt>
                <c:pt idx="19">
                  <c:v>0.17798971670771474</c:v>
                </c:pt>
                <c:pt idx="20">
                  <c:v>0.17192991038272332</c:v>
                </c:pt>
                <c:pt idx="21">
                  <c:v>0.1666495598570495</c:v>
                </c:pt>
                <c:pt idx="22">
                  <c:v>0.172206911465006</c:v>
                </c:pt>
                <c:pt idx="23">
                  <c:v>0.16623176045179516</c:v>
                </c:pt>
                <c:pt idx="24">
                  <c:v>0.16464684662289616</c:v>
                </c:pt>
                <c:pt idx="25">
                  <c:v>0.16504139427555323</c:v>
                </c:pt>
                <c:pt idx="26">
                  <c:v>0.16460630639293886</c:v>
                </c:pt>
                <c:pt idx="27">
                  <c:v>0.16577415731303677</c:v>
                </c:pt>
                <c:pt idx="28">
                  <c:v>0.16949070925585066</c:v>
                </c:pt>
                <c:pt idx="29">
                  <c:v>0.166744263051622</c:v>
                </c:pt>
                <c:pt idx="30">
                  <c:v>0.16503468221728984</c:v>
                </c:pt>
                <c:pt idx="31">
                  <c:v>0.16520970109988353</c:v>
                </c:pt>
                <c:pt idx="32">
                  <c:v>0.16467030849412068</c:v>
                </c:pt>
                <c:pt idx="33">
                  <c:v>0.16769438270125112</c:v>
                </c:pt>
                <c:pt idx="34">
                  <c:v>0.17409728195399046</c:v>
                </c:pt>
                <c:pt idx="35">
                  <c:v>0.1727644087318286</c:v>
                </c:pt>
                <c:pt idx="36">
                  <c:v>0.16554425964907166</c:v>
                </c:pt>
                <c:pt idx="37">
                  <c:v>0.17022507809431764</c:v>
                </c:pt>
                <c:pt idx="38">
                  <c:v>0.1667197058623055</c:v>
                </c:pt>
                <c:pt idx="39">
                  <c:v>0.1699383910726423</c:v>
                </c:pt>
                <c:pt idx="40">
                  <c:v>0.16969527080374477</c:v>
                </c:pt>
                <c:pt idx="41">
                  <c:v>0.1739431068548708</c:v>
                </c:pt>
                <c:pt idx="42">
                  <c:v>0.17205969002363855</c:v>
                </c:pt>
                <c:pt idx="43">
                  <c:v>0.17488863380248076</c:v>
                </c:pt>
                <c:pt idx="44">
                  <c:v>0.17500831871230202</c:v>
                </c:pt>
                <c:pt idx="45">
                  <c:v>0.17614111754330986</c:v>
                </c:pt>
                <c:pt idx="46">
                  <c:v>0.17204660164042562</c:v>
                </c:pt>
                <c:pt idx="47">
                  <c:v>0.1707982812303061</c:v>
                </c:pt>
                <c:pt idx="48">
                  <c:v>0.17269708203091594</c:v>
                </c:pt>
                <c:pt idx="49">
                  <c:v>0.1789485451942306</c:v>
                </c:pt>
                <c:pt idx="50">
                  <c:v>0.18445439611892145</c:v>
                </c:pt>
                <c:pt idx="51">
                  <c:v>0.17425693096480632</c:v>
                </c:pt>
                <c:pt idx="52">
                  <c:v>0.1941987040167873</c:v>
                </c:pt>
                <c:pt idx="53">
                  <c:v>0.22366113162471526</c:v>
                </c:pt>
                <c:pt idx="54">
                  <c:v>0.179627762958634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20657699980694"/>
          <c:min val="0.11314170263568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9.4137</c:v>
                </c:pt>
                <c:pt idx="1">
                  <c:v>897.7513</c:v>
                </c:pt>
                <c:pt idx="2">
                  <c:v>929.3155</c:v>
                </c:pt>
                <c:pt idx="3">
                  <c:v>958.2186</c:v>
                </c:pt>
                <c:pt idx="4">
                  <c:v>945.1339</c:v>
                </c:pt>
                <c:pt idx="5">
                  <c:v>929.9001</c:v>
                </c:pt>
                <c:pt idx="6">
                  <c:v>892.9715</c:v>
                </c:pt>
                <c:pt idx="7">
                  <c:v>902.0136</c:v>
                </c:pt>
                <c:pt idx="8">
                  <c:v>906.6306</c:v>
                </c:pt>
                <c:pt idx="9">
                  <c:v>878.51</c:v>
                </c:pt>
                <c:pt idx="10">
                  <c:v>868.4945</c:v>
                </c:pt>
                <c:pt idx="11">
                  <c:v>914.4113</c:v>
                </c:pt>
                <c:pt idx="12">
                  <c:v>921.2473</c:v>
                </c:pt>
                <c:pt idx="13">
                  <c:v>929.9615</c:v>
                </c:pt>
                <c:pt idx="14">
                  <c:v>966.11</c:v>
                </c:pt>
                <c:pt idx="15">
                  <c:v>976.5391</c:v>
                </c:pt>
                <c:pt idx="16">
                  <c:v>1000.8444</c:v>
                </c:pt>
                <c:pt idx="17">
                  <c:v>1013.3609</c:v>
                </c:pt>
                <c:pt idx="18">
                  <c:v>1061.8215</c:v>
                </c:pt>
                <c:pt idx="19">
                  <c:v>1057.3236</c:v>
                </c:pt>
                <c:pt idx="20">
                  <c:v>1086.0927</c:v>
                </c:pt>
                <c:pt idx="21">
                  <c:v>1090.9295</c:v>
                </c:pt>
                <c:pt idx="22">
                  <c:v>1048.2189</c:v>
                </c:pt>
                <c:pt idx="23">
                  <c:v>1059.0827</c:v>
                </c:pt>
                <c:pt idx="24">
                  <c:v>1068.4637</c:v>
                </c:pt>
                <c:pt idx="25">
                  <c:v>1053.4514</c:v>
                </c:pt>
                <c:pt idx="26">
                  <c:v>1034.2451</c:v>
                </c:pt>
                <c:pt idx="27">
                  <c:v>1037.0432</c:v>
                </c:pt>
                <c:pt idx="28">
                  <c:v>1046.1112</c:v>
                </c:pt>
                <c:pt idx="29">
                  <c:v>1035.2358</c:v>
                </c:pt>
                <c:pt idx="30">
                  <c:v>1038.0835</c:v>
                </c:pt>
                <c:pt idx="31">
                  <c:v>1019.7049</c:v>
                </c:pt>
                <c:pt idx="32">
                  <c:v>1009.4108</c:v>
                </c:pt>
                <c:pt idx="33">
                  <c:v>977.3818</c:v>
                </c:pt>
                <c:pt idx="34">
                  <c:v>987.871</c:v>
                </c:pt>
                <c:pt idx="35">
                  <c:v>1033.9306</c:v>
                </c:pt>
                <c:pt idx="36">
                  <c:v>1083.6245</c:v>
                </c:pt>
                <c:pt idx="37">
                  <c:v>1071.7079</c:v>
                </c:pt>
                <c:pt idx="38">
                  <c:v>1108.0026</c:v>
                </c:pt>
                <c:pt idx="39">
                  <c:v>1165.3772</c:v>
                </c:pt>
                <c:pt idx="40">
                  <c:v>1167.785</c:v>
                </c:pt>
                <c:pt idx="41">
                  <c:v>1193.8357</c:v>
                </c:pt>
                <c:pt idx="42">
                  <c:v>1212.1279</c:v>
                </c:pt>
                <c:pt idx="43">
                  <c:v>1199.113</c:v>
                </c:pt>
                <c:pt idx="44">
                  <c:v>1155.1468</c:v>
                </c:pt>
                <c:pt idx="45">
                  <c:v>1120.0195</c:v>
                </c:pt>
                <c:pt idx="46">
                  <c:v>1109.1569</c:v>
                </c:pt>
                <c:pt idx="47">
                  <c:v>1095.2651</c:v>
                </c:pt>
                <c:pt idx="48">
                  <c:v>1093.2907</c:v>
                </c:pt>
                <c:pt idx="49">
                  <c:v>1048.022</c:v>
                </c:pt>
                <c:pt idx="50">
                  <c:v>1049.4572</c:v>
                </c:pt>
                <c:pt idx="51">
                  <c:v>1044.8197</c:v>
                </c:pt>
                <c:pt idx="52">
                  <c:v>1059.6912</c:v>
                </c:pt>
                <c:pt idx="53">
                  <c:v>1169.267</c:v>
                </c:pt>
                <c:pt idx="54">
                  <c:v>1148.3676</c:v>
                </c:pt>
                <c:pt idx="55">
                  <c:v>1170.5369</c:v>
                </c:pt>
                <c:pt idx="56">
                  <c:v>1173.6815</c:v>
                </c:pt>
                <c:pt idx="57">
                  <c:v>1147.0884</c:v>
                </c:pt>
                <c:pt idx="58">
                  <c:v>1131.2774</c:v>
                </c:pt>
                <c:pt idx="59">
                  <c:v>1107.5691</c:v>
                </c:pt>
                <c:pt idx="60">
                  <c:v>1125.5277</c:v>
                </c:pt>
                <c:pt idx="61">
                  <c:v>1145.755</c:v>
                </c:pt>
                <c:pt idx="62">
                  <c:v>1079.6264</c:v>
                </c:pt>
                <c:pt idx="63">
                  <c:v>1099.6892</c:v>
                </c:pt>
                <c:pt idx="64">
                  <c:v>1111.0568</c:v>
                </c:pt>
                <c:pt idx="65">
                  <c:v>1102.1999</c:v>
                </c:pt>
                <c:pt idx="66">
                  <c:v>1137.0865</c:v>
                </c:pt>
                <c:pt idx="67">
                  <c:v>1160.1286</c:v>
                </c:pt>
                <c:pt idx="68">
                  <c:v>1178.1686</c:v>
                </c:pt>
                <c:pt idx="69">
                  <c:v>1209.1537</c:v>
                </c:pt>
                <c:pt idx="70">
                  <c:v>1192.4151</c:v>
                </c:pt>
                <c:pt idx="71">
                  <c:v>1242.0309</c:v>
                </c:pt>
                <c:pt idx="72">
                  <c:v>1306.088</c:v>
                </c:pt>
                <c:pt idx="73">
                  <c:v>1282.7391</c:v>
                </c:pt>
                <c:pt idx="74">
                  <c:v>1279.1563</c:v>
                </c:pt>
                <c:pt idx="75">
                  <c:v>1243.3785</c:v>
                </c:pt>
                <c:pt idx="76">
                  <c:v>1213.4474</c:v>
                </c:pt>
                <c:pt idx="77">
                  <c:v>1211.1308</c:v>
                </c:pt>
                <c:pt idx="78">
                  <c:v>1257.3637</c:v>
                </c:pt>
                <c:pt idx="79">
                  <c:v>1258.6996</c:v>
                </c:pt>
                <c:pt idx="80">
                  <c:v>1256.1036</c:v>
                </c:pt>
                <c:pt idx="81">
                  <c:v>1242.1614</c:v>
                </c:pt>
                <c:pt idx="82">
                  <c:v>1269.8095</c:v>
                </c:pt>
                <c:pt idx="83">
                  <c:v>1214.4857</c:v>
                </c:pt>
                <c:pt idx="84">
                  <c:v>1238.9617</c:v>
                </c:pt>
                <c:pt idx="85">
                  <c:v>1216.6811</c:v>
                </c:pt>
                <c:pt idx="86">
                  <c:v>1217.773</c:v>
                </c:pt>
                <c:pt idx="87">
                  <c:v>1227.3918</c:v>
                </c:pt>
                <c:pt idx="88">
                  <c:v>1271.5976</c:v>
                </c:pt>
                <c:pt idx="89">
                  <c:v>1254.0704</c:v>
                </c:pt>
                <c:pt idx="90">
                  <c:v>1320.116</c:v>
                </c:pt>
                <c:pt idx="91">
                  <c:v>1309.8259</c:v>
                </c:pt>
                <c:pt idx="92">
                  <c:v>1260.9199</c:v>
                </c:pt>
                <c:pt idx="93">
                  <c:v>1290.5923</c:v>
                </c:pt>
                <c:pt idx="94">
                  <c:v>1278.0827</c:v>
                </c:pt>
                <c:pt idx="95">
                  <c:v>1247.8353</c:v>
                </c:pt>
                <c:pt idx="96">
                  <c:v>1202.3784</c:v>
                </c:pt>
                <c:pt idx="97">
                  <c:v>1191.1436</c:v>
                </c:pt>
                <c:pt idx="98">
                  <c:v>1173.328</c:v>
                </c:pt>
                <c:pt idx="99">
                  <c:v>1138.3719</c:v>
                </c:pt>
                <c:pt idx="100">
                  <c:v>1113.6608</c:v>
                </c:pt>
                <c:pt idx="101">
                  <c:v>1163.3122</c:v>
                </c:pt>
                <c:pt idx="102">
                  <c:v>1164.8555</c:v>
                </c:pt>
                <c:pt idx="103">
                  <c:v>1150.2562</c:v>
                </c:pt>
                <c:pt idx="104">
                  <c:v>1187.2692</c:v>
                </c:pt>
              </c:numCache>
            </c:numRef>
          </c:xVal>
          <c:yVal>
            <c:numRef>
              <c:f>Sheet1!$B$2:$B$106</c:f>
              <c:numCache>
                <c:formatCode>General</c:formatCode>
                <c:ptCount val="105"/>
                <c:pt idx="0">
                  <c:v>0.21020646867371848</c:v>
                </c:pt>
                <c:pt idx="1">
                  <c:v>0.19998409879945936</c:v>
                </c:pt>
                <c:pt idx="2">
                  <c:v>0.20379256370121374</c:v>
                </c:pt>
                <c:pt idx="3">
                  <c:v>0.20844547314027345</c:v>
                </c:pt>
                <c:pt idx="4">
                  <c:v>0.21889864325618516</c:v>
                </c:pt>
                <c:pt idx="5">
                  <c:v>0.22279337606142435</c:v>
                </c:pt>
                <c:pt idx="6">
                  <c:v>0.25172147499839115</c:v>
                </c:pt>
                <c:pt idx="7">
                  <c:v>0.25146799765120376</c:v>
                </c:pt>
                <c:pt idx="8">
                  <c:v>0.2456400883405681</c:v>
                </c:pt>
                <c:pt idx="9">
                  <c:v>0.23977286240932336</c:v>
                </c:pt>
                <c:pt idx="10">
                  <c:v>0.23185535944898839</c:v>
                </c:pt>
                <c:pt idx="11">
                  <c:v>0.2112331761187162</c:v>
                </c:pt>
                <c:pt idx="12">
                  <c:v>0.20288239509515088</c:v>
                </c:pt>
                <c:pt idx="13">
                  <c:v>0.19351573264347777</c:v>
                </c:pt>
                <c:pt idx="14">
                  <c:v>0.17355556174921263</c:v>
                </c:pt>
                <c:pt idx="15">
                  <c:v>0.17153731590269733</c:v>
                </c:pt>
                <c:pt idx="16">
                  <c:v>0.16137339055793992</c:v>
                </c:pt>
                <c:pt idx="17">
                  <c:v>0.15487087283425957</c:v>
                </c:pt>
                <c:pt idx="18">
                  <c:v>0.14542892212574443</c:v>
                </c:pt>
                <c:pt idx="19">
                  <c:v>0.14849703640982218</c:v>
                </c:pt>
                <c:pt idx="20">
                  <c:v>0.1512384780044559</c:v>
                </c:pt>
                <c:pt idx="21">
                  <c:v>0.1542627262881015</c:v>
                </c:pt>
                <c:pt idx="22">
                  <c:v>0.17664387164650183</c:v>
                </c:pt>
                <c:pt idx="23">
                  <c:v>0.17933842806939254</c:v>
                </c:pt>
                <c:pt idx="24">
                  <c:v>0.1833583752137195</c:v>
                </c:pt>
                <c:pt idx="25">
                  <c:v>0.18293678563097737</c:v>
                </c:pt>
                <c:pt idx="26">
                  <c:v>0.20214267049908544</c:v>
                </c:pt>
                <c:pt idx="27">
                  <c:v>0.211397612119996</c:v>
                </c:pt>
                <c:pt idx="28">
                  <c:v>0.206163927712077</c:v>
                </c:pt>
                <c:pt idx="29">
                  <c:v>0.20307498083772937</c:v>
                </c:pt>
                <c:pt idx="30">
                  <c:v>0.20531302679765157</c:v>
                </c:pt>
                <c:pt idx="31">
                  <c:v>0.20395755029847445</c:v>
                </c:pt>
                <c:pt idx="32">
                  <c:v>0.21359064071725345</c:v>
                </c:pt>
                <c:pt idx="33">
                  <c:v>0.20973176388220366</c:v>
                </c:pt>
                <c:pt idx="34">
                  <c:v>0.21168379383421967</c:v>
                </c:pt>
                <c:pt idx="35">
                  <c:v>0.23083929294292269</c:v>
                </c:pt>
                <c:pt idx="36">
                  <c:v>0.192742538864411</c:v>
                </c:pt>
                <c:pt idx="37">
                  <c:v>0.20033653846153845</c:v>
                </c:pt>
                <c:pt idx="38">
                  <c:v>0.18773207310604234</c:v>
                </c:pt>
                <c:pt idx="39">
                  <c:v>0.17446483180428135</c:v>
                </c:pt>
                <c:pt idx="40">
                  <c:v>0.17987973900806004</c:v>
                </c:pt>
                <c:pt idx="41">
                  <c:v>0.17108289631060816</c:v>
                </c:pt>
                <c:pt idx="42">
                  <c:v>0.1702286184855496</c:v>
                </c:pt>
                <c:pt idx="43">
                  <c:v>0.1728169656964292</c:v>
                </c:pt>
                <c:pt idx="44">
                  <c:v>0.17103670835014118</c:v>
                </c:pt>
                <c:pt idx="45">
                  <c:v>0.18516640952171037</c:v>
                </c:pt>
                <c:pt idx="46">
                  <c:v>0.19015579233348898</c:v>
                </c:pt>
                <c:pt idx="47">
                  <c:v>0.18210794275568484</c:v>
                </c:pt>
                <c:pt idx="48">
                  <c:v>0.18136631975163672</c:v>
                </c:pt>
                <c:pt idx="49">
                  <c:v>0.1898583998857532</c:v>
                </c:pt>
                <c:pt idx="50">
                  <c:v>0.18103877771319438</c:v>
                </c:pt>
                <c:pt idx="51">
                  <c:v>0.17596993753577383</c:v>
                </c:pt>
                <c:pt idx="52">
                  <c:v>0.17994396800615925</c:v>
                </c:pt>
                <c:pt idx="53">
                  <c:v>0.17098018353504454</c:v>
                </c:pt>
                <c:pt idx="54">
                  <c:v>0.17911866359447004</c:v>
                </c:pt>
                <c:pt idx="55">
                  <c:v>0.17743525405502286</c:v>
                </c:pt>
                <c:pt idx="56">
                  <c:v>0.17281342427717752</c:v>
                </c:pt>
                <c:pt idx="57">
                  <c:v>0.1709137574313176</c:v>
                </c:pt>
                <c:pt idx="58">
                  <c:v>0.18198158808812456</c:v>
                </c:pt>
                <c:pt idx="59">
                  <c:v>0.18307776384736554</c:v>
                </c:pt>
                <c:pt idx="60">
                  <c:v>0.18700290979631426</c:v>
                </c:pt>
                <c:pt idx="61">
                  <c:v>0.18054056646761157</c:v>
                </c:pt>
                <c:pt idx="62">
                  <c:v>0.19009002656136145</c:v>
                </c:pt>
                <c:pt idx="63">
                  <c:v>0.19600309105739921</c:v>
                </c:pt>
                <c:pt idx="64">
                  <c:v>0.18459062310570432</c:v>
                </c:pt>
                <c:pt idx="65">
                  <c:v>0.179037306101935</c:v>
                </c:pt>
                <c:pt idx="66">
                  <c:v>0.17705924002832193</c:v>
                </c:pt>
                <c:pt idx="67">
                  <c:v>0.165002435460302</c:v>
                </c:pt>
                <c:pt idx="68">
                  <c:v>0.1568587306229892</c:v>
                </c:pt>
                <c:pt idx="69">
                  <c:v>0.15326821938392185</c:v>
                </c:pt>
                <c:pt idx="70">
                  <c:v>0.1520919248528427</c:v>
                </c:pt>
                <c:pt idx="71">
                  <c:v>0.1501281857939979</c:v>
                </c:pt>
                <c:pt idx="72">
                  <c:v>0.1519796585543044</c:v>
                </c:pt>
                <c:pt idx="73">
                  <c:v>0.1523521632344606</c:v>
                </c:pt>
                <c:pt idx="74">
                  <c:v>0.1514309430149049</c:v>
                </c:pt>
                <c:pt idx="75">
                  <c:v>0.16235595390524968</c:v>
                </c:pt>
                <c:pt idx="76">
                  <c:v>0.16577613371694752</c:v>
                </c:pt>
                <c:pt idx="77">
                  <c:v>0.155979908593149</c:v>
                </c:pt>
                <c:pt idx="78">
                  <c:v>0.15918260413937646</c:v>
                </c:pt>
                <c:pt idx="79">
                  <c:v>0.15380752373995618</c:v>
                </c:pt>
                <c:pt idx="80">
                  <c:v>0.14142712829460924</c:v>
                </c:pt>
                <c:pt idx="81">
                  <c:v>0.148257712551385</c:v>
                </c:pt>
                <c:pt idx="82">
                  <c:v>0.1528003546623319</c:v>
                </c:pt>
                <c:pt idx="83">
                  <c:v>0.14571476869330027</c:v>
                </c:pt>
                <c:pt idx="84">
                  <c:v>0.1516840607210626</c:v>
                </c:pt>
                <c:pt idx="85">
                  <c:v>0.15782255512184828</c:v>
                </c:pt>
                <c:pt idx="86">
                  <c:v>0.1641406126011744</c:v>
                </c:pt>
                <c:pt idx="87">
                  <c:v>0.18383226647245965</c:v>
                </c:pt>
                <c:pt idx="88">
                  <c:v>0.16740838935706845</c:v>
                </c:pt>
                <c:pt idx="89">
                  <c:v>0.1644376120932616</c:v>
                </c:pt>
                <c:pt idx="90">
                  <c:v>0.1535372747926243</c:v>
                </c:pt>
                <c:pt idx="91">
                  <c:v>0.1452292565466038</c:v>
                </c:pt>
                <c:pt idx="92">
                  <c:v>0.15778172358260725</c:v>
                </c:pt>
                <c:pt idx="93">
                  <c:v>0.1529416470023597</c:v>
                </c:pt>
                <c:pt idx="94">
                  <c:v>0.15484930007751585</c:v>
                </c:pt>
                <c:pt idx="95">
                  <c:v>0.161292465048318</c:v>
                </c:pt>
                <c:pt idx="96">
                  <c:v>0.16254008052267413</c:v>
                </c:pt>
                <c:pt idx="97">
                  <c:v>0.1687336954197494</c:v>
                </c:pt>
                <c:pt idx="98">
                  <c:v>0.1752648592088791</c:v>
                </c:pt>
                <c:pt idx="99">
                  <c:v>0.17548869236040857</c:v>
                </c:pt>
                <c:pt idx="100">
                  <c:v>0.1780660101518093</c:v>
                </c:pt>
                <c:pt idx="101">
                  <c:v>0.16804971170328814</c:v>
                </c:pt>
                <c:pt idx="102">
                  <c:v>0.1605298013245033</c:v>
                </c:pt>
                <c:pt idx="103">
                  <c:v>0.1623502567027952</c:v>
                </c:pt>
                <c:pt idx="104">
                  <c:v>0.157237936772046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9.1581</c:v>
                </c:pt>
                <c:pt idx="1">
                  <c:v>1244.4935</c:v>
                </c:pt>
                <c:pt idx="2">
                  <c:v>1232.9451</c:v>
                </c:pt>
                <c:pt idx="3">
                  <c:v>1207.2554</c:v>
                </c:pt>
                <c:pt idx="4">
                  <c:v>1218.2851</c:v>
                </c:pt>
                <c:pt idx="5">
                  <c:v>1220.6369</c:v>
                </c:pt>
                <c:pt idx="6">
                  <c:v>1147.6067</c:v>
                </c:pt>
                <c:pt idx="7">
                  <c:v>1167.6036</c:v>
                </c:pt>
                <c:pt idx="8">
                  <c:v>1228.6224</c:v>
                </c:pt>
                <c:pt idx="9">
                  <c:v>1162.8742</c:v>
                </c:pt>
                <c:pt idx="10">
                  <c:v>1188.8372</c:v>
                </c:pt>
                <c:pt idx="11">
                  <c:v>1103.031</c:v>
                </c:pt>
                <c:pt idx="12">
                  <c:v>1145.8063</c:v>
                </c:pt>
                <c:pt idx="13">
                  <c:v>1171.8821</c:v>
                </c:pt>
                <c:pt idx="14">
                  <c:v>1177.0546</c:v>
                </c:pt>
                <c:pt idx="15">
                  <c:v>1188.0573</c:v>
                </c:pt>
                <c:pt idx="16">
                  <c:v>1232.2679</c:v>
                </c:pt>
                <c:pt idx="17">
                  <c:v>1186.695</c:v>
                </c:pt>
                <c:pt idx="18">
                  <c:v>1210.0574</c:v>
                </c:pt>
                <c:pt idx="19">
                  <c:v>1300.9369</c:v>
                </c:pt>
                <c:pt idx="20">
                  <c:v>1282.5496</c:v>
                </c:pt>
                <c:pt idx="21">
                  <c:v>1214.9475</c:v>
                </c:pt>
                <c:pt idx="22">
                  <c:v>1239.5719</c:v>
                </c:pt>
                <c:pt idx="23">
                  <c:v>1226.5287</c:v>
                </c:pt>
                <c:pt idx="24">
                  <c:v>1212.2118</c:v>
                </c:pt>
                <c:pt idx="25">
                  <c:v>1205.8278</c:v>
                </c:pt>
                <c:pt idx="26">
                  <c:v>1221.7157</c:v>
                </c:pt>
                <c:pt idx="27">
                  <c:v>1224.3866</c:v>
                </c:pt>
                <c:pt idx="28">
                  <c:v>1268.7454</c:v>
                </c:pt>
                <c:pt idx="29">
                  <c:v>1264.8765</c:v>
                </c:pt>
                <c:pt idx="30">
                  <c:v>1266.4469</c:v>
                </c:pt>
                <c:pt idx="31">
                  <c:v>1249.6481</c:v>
                </c:pt>
                <c:pt idx="32">
                  <c:v>1273.629</c:v>
                </c:pt>
                <c:pt idx="33">
                  <c:v>1269.1453</c:v>
                </c:pt>
                <c:pt idx="34">
                  <c:v>1281.3986</c:v>
                </c:pt>
                <c:pt idx="35">
                  <c:v>1309.0962</c:v>
                </c:pt>
                <c:pt idx="36">
                  <c:v>1316.1598</c:v>
                </c:pt>
                <c:pt idx="37">
                  <c:v>1322.4665</c:v>
                </c:pt>
                <c:pt idx="38">
                  <c:v>1324.7782</c:v>
                </c:pt>
                <c:pt idx="39">
                  <c:v>1289.4405</c:v>
                </c:pt>
                <c:pt idx="40">
                  <c:v>1308.8448</c:v>
                </c:pt>
                <c:pt idx="41">
                  <c:v>1339.8055</c:v>
                </c:pt>
                <c:pt idx="42">
                  <c:v>1325.9513</c:v>
                </c:pt>
                <c:pt idx="43">
                  <c:v>1333.1331</c:v>
                </c:pt>
                <c:pt idx="44">
                  <c:v>1260.8184</c:v>
                </c:pt>
                <c:pt idx="45">
                  <c:v>1223.2409</c:v>
                </c:pt>
                <c:pt idx="46">
                  <c:v>1217.7941</c:v>
                </c:pt>
                <c:pt idx="47">
                  <c:v>1192.622</c:v>
                </c:pt>
                <c:pt idx="48">
                  <c:v>1174.2261</c:v>
                </c:pt>
                <c:pt idx="49">
                  <c:v>1182.3423</c:v>
                </c:pt>
                <c:pt idx="50">
                  <c:v>1141.208</c:v>
                </c:pt>
                <c:pt idx="51">
                  <c:v>1122.0959</c:v>
                </c:pt>
              </c:numCache>
            </c:numRef>
          </c:xVal>
          <c:yVal>
            <c:numRef>
              <c:f>Sheet1!$B$109:$B$160</c:f>
              <c:numCache>
                <c:formatCode>General</c:formatCode>
                <c:ptCount val="52"/>
                <c:pt idx="0">
                  <c:v>0.1716145157867434</c:v>
                </c:pt>
                <c:pt idx="1">
                  <c:v>0.1661502808634978</c:v>
                </c:pt>
                <c:pt idx="2">
                  <c:v>0.18067380756202508</c:v>
                </c:pt>
                <c:pt idx="3">
                  <c:v>0.19882521685677207</c:v>
                </c:pt>
                <c:pt idx="4">
                  <c:v>0.1848120336150279</c:v>
                </c:pt>
                <c:pt idx="5">
                  <c:v>0.18082550255739266</c:v>
                </c:pt>
                <c:pt idx="6">
                  <c:v>0.19015362006016212</c:v>
                </c:pt>
                <c:pt idx="7">
                  <c:v>0.18795970084677668</c:v>
                </c:pt>
                <c:pt idx="8">
                  <c:v>0.17522325276695513</c:v>
                </c:pt>
                <c:pt idx="9">
                  <c:v>0.1817523077407769</c:v>
                </c:pt>
                <c:pt idx="10">
                  <c:v>0.18482863670982483</c:v>
                </c:pt>
                <c:pt idx="11">
                  <c:v>0.18591581342434585</c:v>
                </c:pt>
                <c:pt idx="12">
                  <c:v>0.1834210115110162</c:v>
                </c:pt>
                <c:pt idx="13">
                  <c:v>0.1836296256512165</c:v>
                </c:pt>
                <c:pt idx="14">
                  <c:v>0.18245235106972943</c:v>
                </c:pt>
                <c:pt idx="15">
                  <c:v>0.17627245508982037</c:v>
                </c:pt>
                <c:pt idx="16">
                  <c:v>0.1644259162758381</c:v>
                </c:pt>
                <c:pt idx="17">
                  <c:v>0.16807000772143987</c:v>
                </c:pt>
                <c:pt idx="18">
                  <c:v>0.16940687704410856</c:v>
                </c:pt>
                <c:pt idx="19">
                  <c:v>0.16784071012663382</c:v>
                </c:pt>
                <c:pt idx="20">
                  <c:v>0.1592128008510261</c:v>
                </c:pt>
                <c:pt idx="21">
                  <c:v>0.16145722210369107</c:v>
                </c:pt>
                <c:pt idx="22">
                  <c:v>0.15810005798935103</c:v>
                </c:pt>
                <c:pt idx="23">
                  <c:v>0.16801841297676456</c:v>
                </c:pt>
                <c:pt idx="24">
                  <c:v>0.17601908515714138</c:v>
                </c:pt>
                <c:pt idx="25">
                  <c:v>0.17434335744194898</c:v>
                </c:pt>
                <c:pt idx="26">
                  <c:v>0.16634789351253554</c:v>
                </c:pt>
                <c:pt idx="27">
                  <c:v>0.1669260344196265</c:v>
                </c:pt>
                <c:pt idx="28">
                  <c:v>0.1566812521036688</c:v>
                </c:pt>
                <c:pt idx="29">
                  <c:v>0.15670862146161882</c:v>
                </c:pt>
                <c:pt idx="30">
                  <c:v>0.16222233728576607</c:v>
                </c:pt>
                <c:pt idx="31">
                  <c:v>0.15708944492378488</c:v>
                </c:pt>
                <c:pt idx="32">
                  <c:v>0.15403147265364703</c:v>
                </c:pt>
                <c:pt idx="33">
                  <c:v>0.17030083208875613</c:v>
                </c:pt>
                <c:pt idx="34">
                  <c:v>0.18597880911275855</c:v>
                </c:pt>
                <c:pt idx="35">
                  <c:v>0.17824761452270657</c:v>
                </c:pt>
                <c:pt idx="36">
                  <c:v>0.1669918512567428</c:v>
                </c:pt>
                <c:pt idx="37">
                  <c:v>0.15851999162654384</c:v>
                </c:pt>
                <c:pt idx="38">
                  <c:v>0.15798270893371757</c:v>
                </c:pt>
                <c:pt idx="39">
                  <c:v>0.1716724769822115</c:v>
                </c:pt>
                <c:pt idx="40">
                  <c:v>0.16473622098867957</c:v>
                </c:pt>
                <c:pt idx="41">
                  <c:v>0.1681137848342016</c:v>
                </c:pt>
                <c:pt idx="42">
                  <c:v>0.16534101298226367</c:v>
                </c:pt>
                <c:pt idx="43">
                  <c:v>0.16415849786000275</c:v>
                </c:pt>
                <c:pt idx="44">
                  <c:v>0.16430774552477587</c:v>
                </c:pt>
                <c:pt idx="45">
                  <c:v>0.17869234489733105</c:v>
                </c:pt>
                <c:pt idx="46">
                  <c:v>0.19009744535159337</c:v>
                </c:pt>
                <c:pt idx="47">
                  <c:v>0.19124657297404105</c:v>
                </c:pt>
                <c:pt idx="48">
                  <c:v>0.1888858870716349</c:v>
                </c:pt>
                <c:pt idx="49">
                  <c:v>0.19384323040380047</c:v>
                </c:pt>
                <c:pt idx="50">
                  <c:v>0.20206915954780297</c:v>
                </c:pt>
                <c:pt idx="51">
                  <c:v>0.1919965390439108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86.4782872302735</c:v>
                </c:pt>
              </c:numCache>
            </c:numRef>
          </c:xVal>
          <c:yVal>
            <c:numRef>
              <c:f>Sheet1!$B$163:$B$164</c:f>
              <c:numCache>
                <c:formatCode>General</c:formatCode>
                <c:ptCount val="2"/>
                <c:pt idx="0">
                  <c:v>0.22366113162471526</c:v>
                </c:pt>
                <c:pt idx="1">
                  <c:v>0.2236611316247152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86.4782872302735</c:v>
                </c:pt>
                <c:pt idx="1">
                  <c:v>886.4782872302735</c:v>
                </c:pt>
              </c:numCache>
            </c:numRef>
          </c:xVal>
          <c:yVal>
            <c:numRef>
              <c:f>Sheet1!$B$167:$B$168</c:f>
              <c:numCache>
                <c:formatCode>General</c:formatCode>
                <c:ptCount val="2"/>
                <c:pt idx="0">
                  <c:v>0.223661131624715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1.7132612413186</c:v>
                </c:pt>
              </c:numCache>
            </c:numRef>
          </c:xVal>
          <c:yVal>
            <c:numRef>
              <c:f>Sheet1!$B$171:$B$172</c:f>
              <c:numCache>
                <c:formatCode>General</c:formatCode>
                <c:ptCount val="2"/>
                <c:pt idx="0">
                  <c:v>0.1941987040167873</c:v>
                </c:pt>
                <c:pt idx="1">
                  <c:v>0.194198704016787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1.7132612413186</c:v>
                </c:pt>
                <c:pt idx="1">
                  <c:v>1091.7132612413186</c:v>
                </c:pt>
              </c:numCache>
            </c:numRef>
          </c:xVal>
          <c:yVal>
            <c:numRef>
              <c:f>Sheet1!$B$175:$B$176</c:f>
              <c:numCache>
                <c:formatCode>General</c:formatCode>
                <c:ptCount val="2"/>
                <c:pt idx="0">
                  <c:v>0.194198704016787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93.2142899135702</c:v>
                </c:pt>
              </c:numCache>
            </c:numRef>
          </c:xVal>
          <c:yVal>
            <c:numRef>
              <c:f>Sheet1!$B$179:$B$180</c:f>
              <c:numCache>
                <c:formatCode>General</c:formatCode>
                <c:ptCount val="2"/>
                <c:pt idx="0">
                  <c:v>0.1796277629586346</c:v>
                </c:pt>
                <c:pt idx="1">
                  <c:v>0.179627762958634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93.2142899135702</c:v>
                </c:pt>
                <c:pt idx="1">
                  <c:v>1193.2142899135702</c:v>
                </c:pt>
              </c:numCache>
            </c:numRef>
          </c:xVal>
          <c:yVal>
            <c:numRef>
              <c:f>Sheet1!$B$183:$B$184</c:f>
              <c:numCache>
                <c:formatCode>General</c:formatCode>
                <c:ptCount val="2"/>
                <c:pt idx="0">
                  <c:v>0.179627762958634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9.1581</c:v>
                </c:pt>
                <c:pt idx="1">
                  <c:v>1244.4935</c:v>
                </c:pt>
                <c:pt idx="2">
                  <c:v>1232.9451</c:v>
                </c:pt>
                <c:pt idx="3">
                  <c:v>1207.2554</c:v>
                </c:pt>
                <c:pt idx="4">
                  <c:v>1218.2851</c:v>
                </c:pt>
                <c:pt idx="5">
                  <c:v>1220.6369</c:v>
                </c:pt>
                <c:pt idx="6">
                  <c:v>1147.6067</c:v>
                </c:pt>
                <c:pt idx="7">
                  <c:v>1167.6036</c:v>
                </c:pt>
                <c:pt idx="8">
                  <c:v>1228.6224</c:v>
                </c:pt>
                <c:pt idx="9">
                  <c:v>1162.8742</c:v>
                </c:pt>
                <c:pt idx="10">
                  <c:v>1188.8372</c:v>
                </c:pt>
                <c:pt idx="11">
                  <c:v>1103.031</c:v>
                </c:pt>
                <c:pt idx="12">
                  <c:v>1145.8063</c:v>
                </c:pt>
                <c:pt idx="13">
                  <c:v>1171.8821</c:v>
                </c:pt>
                <c:pt idx="14">
                  <c:v>1177.0546</c:v>
                </c:pt>
                <c:pt idx="15">
                  <c:v>1188.0573</c:v>
                </c:pt>
                <c:pt idx="16">
                  <c:v>1232.2679</c:v>
                </c:pt>
                <c:pt idx="17">
                  <c:v>1186.695</c:v>
                </c:pt>
                <c:pt idx="18">
                  <c:v>1210.0574</c:v>
                </c:pt>
                <c:pt idx="19">
                  <c:v>1300.9369</c:v>
                </c:pt>
                <c:pt idx="20">
                  <c:v>1282.5496</c:v>
                </c:pt>
                <c:pt idx="21">
                  <c:v>1214.9475</c:v>
                </c:pt>
                <c:pt idx="22">
                  <c:v>1239.5719</c:v>
                </c:pt>
                <c:pt idx="23">
                  <c:v>1226.5287</c:v>
                </c:pt>
                <c:pt idx="24">
                  <c:v>1212.2118</c:v>
                </c:pt>
                <c:pt idx="25">
                  <c:v>1205.8278</c:v>
                </c:pt>
                <c:pt idx="26">
                  <c:v>1221.7157</c:v>
                </c:pt>
                <c:pt idx="27">
                  <c:v>1224.3866</c:v>
                </c:pt>
                <c:pt idx="28">
                  <c:v>1268.7454</c:v>
                </c:pt>
                <c:pt idx="29">
                  <c:v>1264.8765</c:v>
                </c:pt>
                <c:pt idx="30">
                  <c:v>1266.4469</c:v>
                </c:pt>
                <c:pt idx="31">
                  <c:v>1249.6481</c:v>
                </c:pt>
                <c:pt idx="32">
                  <c:v>1273.629</c:v>
                </c:pt>
                <c:pt idx="33">
                  <c:v>1269.1453</c:v>
                </c:pt>
                <c:pt idx="34">
                  <c:v>1281.3986</c:v>
                </c:pt>
                <c:pt idx="35">
                  <c:v>1309.0962</c:v>
                </c:pt>
                <c:pt idx="36">
                  <c:v>1316.1598</c:v>
                </c:pt>
                <c:pt idx="37">
                  <c:v>1322.4665</c:v>
                </c:pt>
                <c:pt idx="38">
                  <c:v>1324.7782</c:v>
                </c:pt>
                <c:pt idx="39">
                  <c:v>1289.4405</c:v>
                </c:pt>
                <c:pt idx="40">
                  <c:v>1308.8448</c:v>
                </c:pt>
                <c:pt idx="41">
                  <c:v>1339.8055</c:v>
                </c:pt>
                <c:pt idx="42">
                  <c:v>1325.9513</c:v>
                </c:pt>
                <c:pt idx="43">
                  <c:v>1333.1331</c:v>
                </c:pt>
                <c:pt idx="44">
                  <c:v>1260.8184</c:v>
                </c:pt>
                <c:pt idx="45">
                  <c:v>1223.2409</c:v>
                </c:pt>
                <c:pt idx="46">
                  <c:v>1217.7941</c:v>
                </c:pt>
                <c:pt idx="47">
                  <c:v>1192.622</c:v>
                </c:pt>
                <c:pt idx="48">
                  <c:v>1174.2261</c:v>
                </c:pt>
                <c:pt idx="49">
                  <c:v>1182.3423</c:v>
                </c:pt>
                <c:pt idx="50">
                  <c:v>1141.208</c:v>
                </c:pt>
                <c:pt idx="51">
                  <c:v>1122.0959</c:v>
                </c:pt>
                <c:pt idx="52">
                  <c:v>1091.7132612413186</c:v>
                </c:pt>
                <c:pt idx="53">
                  <c:v>886.4782872302735</c:v>
                </c:pt>
                <c:pt idx="54">
                  <c:v>1193.2142899135702</c:v>
                </c:pt>
              </c:numCache>
            </c:numRef>
          </c:xVal>
          <c:yVal>
            <c:numRef>
              <c:f>Sheet1!$B$187:$B$241</c:f>
              <c:numCache>
                <c:formatCode>General</c:formatCode>
                <c:ptCount val="55"/>
                <c:pt idx="0">
                  <c:v>0.17590340929898918</c:v>
                </c:pt>
                <c:pt idx="1">
                  <c:v>0.17226639571485353</c:v>
                </c:pt>
                <c:pt idx="2">
                  <c:v>0.17392422182673778</c:v>
                </c:pt>
                <c:pt idx="3">
                  <c:v>0.17761209681084578</c:v>
                </c:pt>
                <c:pt idx="4">
                  <c:v>0.1760287324775832</c:v>
                </c:pt>
                <c:pt idx="5">
                  <c:v>0.17569112073483706</c:v>
                </c:pt>
                <c:pt idx="6">
                  <c:v>0.1861749429540301</c:v>
                </c:pt>
                <c:pt idx="7">
                  <c:v>0.18330429568023132</c:v>
                </c:pt>
                <c:pt idx="8">
                  <c:v>0.17454476535950786</c:v>
                </c:pt>
                <c:pt idx="9">
                  <c:v>0.18398322287478167</c:v>
                </c:pt>
                <c:pt idx="10">
                  <c:v>0.1802561144144884</c:v>
                </c:pt>
                <c:pt idx="11">
                  <c:v>0.19257399039051643</c:v>
                </c:pt>
                <c:pt idx="12">
                  <c:v>0.18643339868225536</c:v>
                </c:pt>
                <c:pt idx="13">
                  <c:v>0.18269009726142896</c:v>
                </c:pt>
                <c:pt idx="14">
                  <c:v>0.1819475610171249</c:v>
                </c:pt>
                <c:pt idx="15">
                  <c:v>0.180368072658458</c:v>
                </c:pt>
                <c:pt idx="16">
                  <c:v>0.17402143701178227</c:v>
                </c:pt>
                <c:pt idx="17">
                  <c:v>0.1805636371100028</c:v>
                </c:pt>
                <c:pt idx="18">
                  <c:v>0.17720985678058188</c:v>
                </c:pt>
                <c:pt idx="19">
                  <c:v>0.16416368517802357</c:v>
                </c:pt>
                <c:pt idx="20">
                  <c:v>0.16680326694407333</c:v>
                </c:pt>
                <c:pt idx="21">
                  <c:v>0.17650786035945643</c:v>
                </c:pt>
                <c:pt idx="22">
                  <c:v>0.17297291410634064</c:v>
                </c:pt>
                <c:pt idx="23">
                  <c:v>0.17484532565621147</c:v>
                </c:pt>
                <c:pt idx="24">
                  <c:v>0.17690058271876868</c:v>
                </c:pt>
                <c:pt idx="25">
                  <c:v>0.17781703537872756</c:v>
                </c:pt>
                <c:pt idx="26">
                  <c:v>0.17553625401654702</c:v>
                </c:pt>
                <c:pt idx="27">
                  <c:v>0.1751528339962644</c:v>
                </c:pt>
                <c:pt idx="28">
                  <c:v>0.1687849235556968</c:v>
                </c:pt>
                <c:pt idx="29">
                  <c:v>0.16934032200433635</c:v>
                </c:pt>
                <c:pt idx="30">
                  <c:v>0.16911488383748183</c:v>
                </c:pt>
                <c:pt idx="31">
                  <c:v>0.17152642909815177</c:v>
                </c:pt>
                <c:pt idx="32">
                  <c:v>0.16808386023956662</c:v>
                </c:pt>
                <c:pt idx="33">
                  <c:v>0.1687275160652962</c:v>
                </c:pt>
                <c:pt idx="34">
                  <c:v>0.16696849830554147</c:v>
                </c:pt>
                <c:pt idx="35">
                  <c:v>0.1629923800106673</c:v>
                </c:pt>
                <c:pt idx="36">
                  <c:v>0.16197836763458875</c:v>
                </c:pt>
                <c:pt idx="37">
                  <c:v>0.1610730117463427</c:v>
                </c:pt>
                <c:pt idx="38">
                  <c:v>0.16074115654364426</c:v>
                </c:pt>
                <c:pt idx="39">
                  <c:v>0.16581404644994574</c:v>
                </c:pt>
                <c:pt idx="40">
                  <c:v>0.1630284696407916</c:v>
                </c:pt>
                <c:pt idx="41">
                  <c:v>0.158583918282836</c:v>
                </c:pt>
                <c:pt idx="42">
                  <c:v>0.16057275262519222</c:v>
                </c:pt>
                <c:pt idx="43">
                  <c:v>0.1595417720936614</c:v>
                </c:pt>
                <c:pt idx="44">
                  <c:v>0.16992288098606864</c:v>
                </c:pt>
                <c:pt idx="45">
                  <c:v>0.17531730451827487</c:v>
                </c:pt>
                <c:pt idx="46">
                  <c:v>0.1760992177933789</c:v>
                </c:pt>
                <c:pt idx="47">
                  <c:v>0.17971278890894135</c:v>
                </c:pt>
                <c:pt idx="48">
                  <c:v>0.18235360524467714</c:v>
                </c:pt>
                <c:pt idx="49">
                  <c:v>0.18118848728121253</c:v>
                </c:pt>
                <c:pt idx="50">
                  <c:v>0.18709350586682438</c:v>
                </c:pt>
                <c:pt idx="51">
                  <c:v>0.18983713601757626</c:v>
                </c:pt>
                <c:pt idx="52">
                  <c:v>0.1941987040167873</c:v>
                </c:pt>
                <c:pt idx="53">
                  <c:v>0.22366113162471526</c:v>
                </c:pt>
                <c:pt idx="54">
                  <c:v>0.179627762958634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8.0"/>
          <c:min val="65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20657699980694"/>
          <c:min val="0.11314170263568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0989724514654472</c:v>
                </c:pt>
                <c:pt idx="1">
                  <c:v>0.11131059715646627</c:v>
                </c:pt>
                <c:pt idx="2">
                  <c:v>0.11287606289903673</c:v>
                </c:pt>
                <c:pt idx="3">
                  <c:v>0.11173686323234967</c:v>
                </c:pt>
                <c:pt idx="4">
                  <c:v>0.11283115714856203</c:v>
                </c:pt>
                <c:pt idx="5">
                  <c:v>0.1123854995044838</c:v>
                </c:pt>
                <c:pt idx="6">
                  <c:v>0.11134936923494557</c:v>
                </c:pt>
                <c:pt idx="7">
                  <c:v>0.110886479907556</c:v>
                </c:pt>
                <c:pt idx="8">
                  <c:v>0.10885793438415037</c:v>
                </c:pt>
                <c:pt idx="9">
                  <c:v>0.10818042703777496</c:v>
                </c:pt>
                <c:pt idx="10">
                  <c:v>0.1074478695451628</c:v>
                </c:pt>
                <c:pt idx="11">
                  <c:v>0.10942163958977251</c:v>
                </c:pt>
                <c:pt idx="12">
                  <c:v>0.1099308248189149</c:v>
                </c:pt>
                <c:pt idx="13">
                  <c:v>0.10652906558549011</c:v>
                </c:pt>
                <c:pt idx="14">
                  <c:v>0.11248372067939463</c:v>
                </c:pt>
                <c:pt idx="15">
                  <c:v>0.11028088744315975</c:v>
                </c:pt>
                <c:pt idx="16">
                  <c:v>0.10755130554271282</c:v>
                </c:pt>
                <c:pt idx="17">
                  <c:v>0.10214724947989984</c:v>
                </c:pt>
                <c:pt idx="18">
                  <c:v>0.10891638474429305</c:v>
                </c:pt>
                <c:pt idx="19">
                  <c:v>0.10949415770628063</c:v>
                </c:pt>
                <c:pt idx="20">
                  <c:v>0.11156629217901373</c:v>
                </c:pt>
                <c:pt idx="21">
                  <c:v>0.10951584103954055</c:v>
                </c:pt>
                <c:pt idx="22">
                  <c:v>0.09981326628653753</c:v>
                </c:pt>
                <c:pt idx="23">
                  <c:v>0.10097286287339939</c:v>
                </c:pt>
                <c:pt idx="24">
                  <c:v>0.10064807979029144</c:v>
                </c:pt>
                <c:pt idx="25">
                  <c:v>0.09983419272726238</c:v>
                </c:pt>
                <c:pt idx="26">
                  <c:v>0.10503439101731275</c:v>
                </c:pt>
                <c:pt idx="27">
                  <c:v>0.10132115523972202</c:v>
                </c:pt>
                <c:pt idx="28">
                  <c:v>0.10298154010931028</c:v>
                </c:pt>
                <c:pt idx="29">
                  <c:v>0.10445767289288678</c:v>
                </c:pt>
                <c:pt idx="30">
                  <c:v>0.10389456586653868</c:v>
                </c:pt>
                <c:pt idx="31">
                  <c:v>0.10111370002938995</c:v>
                </c:pt>
                <c:pt idx="32">
                  <c:v>0.09660193273957117</c:v>
                </c:pt>
                <c:pt idx="33">
                  <c:v>0.09822360597189339</c:v>
                </c:pt>
                <c:pt idx="34">
                  <c:v>0.0995952145751103</c:v>
                </c:pt>
                <c:pt idx="35">
                  <c:v>0.10647788511333997</c:v>
                </c:pt>
                <c:pt idx="36">
                  <c:v>0.10417075827579797</c:v>
                </c:pt>
                <c:pt idx="37">
                  <c:v>0.10430381705652166</c:v>
                </c:pt>
                <c:pt idx="38">
                  <c:v>0.1093545685458192</c:v>
                </c:pt>
                <c:pt idx="39">
                  <c:v>0.11537517321836194</c:v>
                </c:pt>
                <c:pt idx="40">
                  <c:v>0.11941119442688794</c:v>
                </c:pt>
                <c:pt idx="41">
                  <c:v>0.11997368697359076</c:v>
                </c:pt>
                <c:pt idx="42">
                  <c:v>0.12062300262244752</c:v>
                </c:pt>
                <c:pt idx="43">
                  <c:v>0.12812211461916673</c:v>
                </c:pt>
                <c:pt idx="44">
                  <c:v>0.12771061882104956</c:v>
                </c:pt>
                <c:pt idx="45">
                  <c:v>0.12323612970425243</c:v>
                </c:pt>
                <c:pt idx="46">
                  <c:v>0.12375387490648085</c:v>
                </c:pt>
                <c:pt idx="47">
                  <c:v>0.11831260391503082</c:v>
                </c:pt>
                <c:pt idx="48">
                  <c:v>0.12157693734936892</c:v>
                </c:pt>
                <c:pt idx="49">
                  <c:v>0.12712114246224382</c:v>
                </c:pt>
                <c:pt idx="50">
                  <c:v>0.1143296844135616</c:v>
                </c:pt>
                <c:pt idx="51">
                  <c:v>0.11116199556234957</c:v>
                </c:pt>
                <c:pt idx="52">
                  <c:v>0.11490246741245931</c:v>
                </c:pt>
                <c:pt idx="53">
                  <c:v>0.12961643117594498</c:v>
                </c:pt>
                <c:pt idx="54">
                  <c:v>0.12293475638218153</c:v>
                </c:pt>
                <c:pt idx="55">
                  <c:v>0.12146724233441081</c:v>
                </c:pt>
                <c:pt idx="56">
                  <c:v>0.12042353101189249</c:v>
                </c:pt>
                <c:pt idx="57">
                  <c:v>0.11724922382549174</c:v>
                </c:pt>
                <c:pt idx="58">
                  <c:v>0.11740963778958391</c:v>
                </c:pt>
                <c:pt idx="59">
                  <c:v>0.11721440264848441</c:v>
                </c:pt>
                <c:pt idx="60">
                  <c:v>0.11859275098866306</c:v>
                </c:pt>
                <c:pt idx="61">
                  <c:v>0.12021033543127388</c:v>
                </c:pt>
                <c:pt idx="62">
                  <c:v>0.10977836203239602</c:v>
                </c:pt>
                <c:pt idx="63">
                  <c:v>0.11208022450428602</c:v>
                </c:pt>
                <c:pt idx="64">
                  <c:v>0.11875170696851872</c:v>
                </c:pt>
                <c:pt idx="65">
                  <c:v>0.11415256173306265</c:v>
                </c:pt>
                <c:pt idx="66">
                  <c:v>0.1178300518156836</c:v>
                </c:pt>
                <c:pt idx="67">
                  <c:v>0.12050230596111801</c:v>
                </c:pt>
                <c:pt idx="68">
                  <c:v>0.11935690181342531</c:v>
                </c:pt>
                <c:pt idx="69">
                  <c:v>0.1179590565333499</c:v>
                </c:pt>
                <c:pt idx="70">
                  <c:v>0.11598843344215849</c:v>
                </c:pt>
                <c:pt idx="71">
                  <c:v>0.11913115036910267</c:v>
                </c:pt>
                <c:pt idx="72">
                  <c:v>0.12573935124194816</c:v>
                </c:pt>
                <c:pt idx="73">
                  <c:v>0.12223899292243795</c:v>
                </c:pt>
                <c:pt idx="74">
                  <c:v>0.1206575066455392</c:v>
                </c:pt>
                <c:pt idx="75">
                  <c:v>0.11554231490791216</c:v>
                </c:pt>
                <c:pt idx="76">
                  <c:v>0.1139865673947012</c:v>
                </c:pt>
                <c:pt idx="77">
                  <c:v>0.11394802799939786</c:v>
                </c:pt>
                <c:pt idx="78">
                  <c:v>0.11524989288618336</c:v>
                </c:pt>
                <c:pt idx="79">
                  <c:v>0.1141328938558128</c:v>
                </c:pt>
                <c:pt idx="80">
                  <c:v>0.11276722719595501</c:v>
                </c:pt>
                <c:pt idx="81">
                  <c:v>0.11471827131056694</c:v>
                </c:pt>
                <c:pt idx="82">
                  <c:v>0.1161523657735585</c:v>
                </c:pt>
                <c:pt idx="83">
                  <c:v>0.10736048552793229</c:v>
                </c:pt>
                <c:pt idx="84">
                  <c:v>0.11233130392414932</c:v>
                </c:pt>
                <c:pt idx="85">
                  <c:v>0.10816891593850217</c:v>
                </c:pt>
                <c:pt idx="86">
                  <c:v>0.11158762778603798</c:v>
                </c:pt>
                <c:pt idx="87">
                  <c:v>0.11003000278429582</c:v>
                </c:pt>
                <c:pt idx="88">
                  <c:v>0.11395648578253939</c:v>
                </c:pt>
                <c:pt idx="89">
                  <c:v>0.10984489903801505</c:v>
                </c:pt>
                <c:pt idx="90">
                  <c:v>0.11650499591743235</c:v>
                </c:pt>
                <c:pt idx="91">
                  <c:v>0.11790780420356865</c:v>
                </c:pt>
                <c:pt idx="92">
                  <c:v>0.11435904476614785</c:v>
                </c:pt>
                <c:pt idx="93">
                  <c:v>0.11634948141727858</c:v>
                </c:pt>
                <c:pt idx="94">
                  <c:v>0.11375985706989965</c:v>
                </c:pt>
                <c:pt idx="95">
                  <c:v>0.11147334207591457</c:v>
                </c:pt>
                <c:pt idx="96">
                  <c:v>0.11206308452284446</c:v>
                </c:pt>
                <c:pt idx="97">
                  <c:v>0.11154716225594216</c:v>
                </c:pt>
                <c:pt idx="98">
                  <c:v>0.11081799303892982</c:v>
                </c:pt>
                <c:pt idx="99">
                  <c:v>0.11022458901523857</c:v>
                </c:pt>
                <c:pt idx="100">
                  <c:v>0.11173256280600369</c:v>
                </c:pt>
                <c:pt idx="101">
                  <c:v>0.11376676578931044</c:v>
                </c:pt>
                <c:pt idx="102">
                  <c:v>0.11145686587509525</c:v>
                </c:pt>
                <c:pt idx="103">
                  <c:v>0.11021587525291665</c:v>
                </c:pt>
                <c:pt idx="104">
                  <c:v>0.11187220882881665</c:v>
                </c:pt>
              </c:numCache>
            </c:numRef>
          </c:xVal>
          <c:yVal>
            <c:numRef>
              <c:f>Sheet1!$B$2:$B$106</c:f>
              <c:numCache>
                <c:formatCode>General</c:formatCode>
                <c:ptCount val="105"/>
                <c:pt idx="0">
                  <c:v>0.21020646867371848</c:v>
                </c:pt>
                <c:pt idx="1">
                  <c:v>0.19998409879945936</c:v>
                </c:pt>
                <c:pt idx="2">
                  <c:v>0.20379256370121374</c:v>
                </c:pt>
                <c:pt idx="3">
                  <c:v>0.20844547314027345</c:v>
                </c:pt>
                <c:pt idx="4">
                  <c:v>0.21889864325618516</c:v>
                </c:pt>
                <c:pt idx="5">
                  <c:v>0.22279337606142435</c:v>
                </c:pt>
                <c:pt idx="6">
                  <c:v>0.25172147499839115</c:v>
                </c:pt>
                <c:pt idx="7">
                  <c:v>0.25146799765120376</c:v>
                </c:pt>
                <c:pt idx="8">
                  <c:v>0.2456400883405681</c:v>
                </c:pt>
                <c:pt idx="9">
                  <c:v>0.23977286240932336</c:v>
                </c:pt>
                <c:pt idx="10">
                  <c:v>0.23185535944898839</c:v>
                </c:pt>
                <c:pt idx="11">
                  <c:v>0.2112331761187162</c:v>
                </c:pt>
                <c:pt idx="12">
                  <c:v>0.20288239509515088</c:v>
                </c:pt>
                <c:pt idx="13">
                  <c:v>0.19351573264347777</c:v>
                </c:pt>
                <c:pt idx="14">
                  <c:v>0.17355556174921263</c:v>
                </c:pt>
                <c:pt idx="15">
                  <c:v>0.17153731590269733</c:v>
                </c:pt>
                <c:pt idx="16">
                  <c:v>0.16137339055793992</c:v>
                </c:pt>
                <c:pt idx="17">
                  <c:v>0.15487087283425957</c:v>
                </c:pt>
                <c:pt idx="18">
                  <c:v>0.14542892212574443</c:v>
                </c:pt>
                <c:pt idx="19">
                  <c:v>0.14849703640982218</c:v>
                </c:pt>
                <c:pt idx="20">
                  <c:v>0.1512384780044559</c:v>
                </c:pt>
                <c:pt idx="21">
                  <c:v>0.1542627262881015</c:v>
                </c:pt>
                <c:pt idx="22">
                  <c:v>0.17664387164650183</c:v>
                </c:pt>
                <c:pt idx="23">
                  <c:v>0.17933842806939254</c:v>
                </c:pt>
                <c:pt idx="24">
                  <c:v>0.1833583752137195</c:v>
                </c:pt>
                <c:pt idx="25">
                  <c:v>0.18293678563097737</c:v>
                </c:pt>
                <c:pt idx="26">
                  <c:v>0.20214267049908544</c:v>
                </c:pt>
                <c:pt idx="27">
                  <c:v>0.211397612119996</c:v>
                </c:pt>
                <c:pt idx="28">
                  <c:v>0.206163927712077</c:v>
                </c:pt>
                <c:pt idx="29">
                  <c:v>0.20307498083772937</c:v>
                </c:pt>
                <c:pt idx="30">
                  <c:v>0.20531302679765157</c:v>
                </c:pt>
                <c:pt idx="31">
                  <c:v>0.20395755029847445</c:v>
                </c:pt>
                <c:pt idx="32">
                  <c:v>0.21359064071725345</c:v>
                </c:pt>
                <c:pt idx="33">
                  <c:v>0.20973176388220366</c:v>
                </c:pt>
                <c:pt idx="34">
                  <c:v>0.21168379383421967</c:v>
                </c:pt>
                <c:pt idx="35">
                  <c:v>0.23083929294292269</c:v>
                </c:pt>
                <c:pt idx="36">
                  <c:v>0.192742538864411</c:v>
                </c:pt>
                <c:pt idx="37">
                  <c:v>0.20033653846153845</c:v>
                </c:pt>
                <c:pt idx="38">
                  <c:v>0.18773207310604234</c:v>
                </c:pt>
                <c:pt idx="39">
                  <c:v>0.17446483180428135</c:v>
                </c:pt>
                <c:pt idx="40">
                  <c:v>0.17987973900806004</c:v>
                </c:pt>
                <c:pt idx="41">
                  <c:v>0.17108289631060816</c:v>
                </c:pt>
                <c:pt idx="42">
                  <c:v>0.1702286184855496</c:v>
                </c:pt>
                <c:pt idx="43">
                  <c:v>0.1728169656964292</c:v>
                </c:pt>
                <c:pt idx="44">
                  <c:v>0.17103670835014118</c:v>
                </c:pt>
                <c:pt idx="45">
                  <c:v>0.18516640952171037</c:v>
                </c:pt>
                <c:pt idx="46">
                  <c:v>0.19015579233348898</c:v>
                </c:pt>
                <c:pt idx="47">
                  <c:v>0.18210794275568484</c:v>
                </c:pt>
                <c:pt idx="48">
                  <c:v>0.18136631975163672</c:v>
                </c:pt>
                <c:pt idx="49">
                  <c:v>0.1898583998857532</c:v>
                </c:pt>
                <c:pt idx="50">
                  <c:v>0.18103877771319438</c:v>
                </c:pt>
                <c:pt idx="51">
                  <c:v>0.17596993753577383</c:v>
                </c:pt>
                <c:pt idx="52">
                  <c:v>0.17994396800615925</c:v>
                </c:pt>
                <c:pt idx="53">
                  <c:v>0.17098018353504454</c:v>
                </c:pt>
                <c:pt idx="54">
                  <c:v>0.17911866359447004</c:v>
                </c:pt>
                <c:pt idx="55">
                  <c:v>0.17743525405502286</c:v>
                </c:pt>
                <c:pt idx="56">
                  <c:v>0.17281342427717752</c:v>
                </c:pt>
                <c:pt idx="57">
                  <c:v>0.1709137574313176</c:v>
                </c:pt>
                <c:pt idx="58">
                  <c:v>0.18198158808812456</c:v>
                </c:pt>
                <c:pt idx="59">
                  <c:v>0.18307776384736554</c:v>
                </c:pt>
                <c:pt idx="60">
                  <c:v>0.18700290979631426</c:v>
                </c:pt>
                <c:pt idx="61">
                  <c:v>0.18054056646761157</c:v>
                </c:pt>
                <c:pt idx="62">
                  <c:v>0.19009002656136145</c:v>
                </c:pt>
                <c:pt idx="63">
                  <c:v>0.19600309105739921</c:v>
                </c:pt>
                <c:pt idx="64">
                  <c:v>0.18459062310570432</c:v>
                </c:pt>
                <c:pt idx="65">
                  <c:v>0.179037306101935</c:v>
                </c:pt>
                <c:pt idx="66">
                  <c:v>0.17705924002832193</c:v>
                </c:pt>
                <c:pt idx="67">
                  <c:v>0.165002435460302</c:v>
                </c:pt>
                <c:pt idx="68">
                  <c:v>0.1568587306229892</c:v>
                </c:pt>
                <c:pt idx="69">
                  <c:v>0.15326821938392185</c:v>
                </c:pt>
                <c:pt idx="70">
                  <c:v>0.1520919248528427</c:v>
                </c:pt>
                <c:pt idx="71">
                  <c:v>0.1501281857939979</c:v>
                </c:pt>
                <c:pt idx="72">
                  <c:v>0.1519796585543044</c:v>
                </c:pt>
                <c:pt idx="73">
                  <c:v>0.1523521632344606</c:v>
                </c:pt>
                <c:pt idx="74">
                  <c:v>0.1514309430149049</c:v>
                </c:pt>
                <c:pt idx="75">
                  <c:v>0.16235595390524968</c:v>
                </c:pt>
                <c:pt idx="76">
                  <c:v>0.16577613371694752</c:v>
                </c:pt>
                <c:pt idx="77">
                  <c:v>0.155979908593149</c:v>
                </c:pt>
                <c:pt idx="78">
                  <c:v>0.15918260413937646</c:v>
                </c:pt>
                <c:pt idx="79">
                  <c:v>0.15380752373995618</c:v>
                </c:pt>
                <c:pt idx="80">
                  <c:v>0.14142712829460924</c:v>
                </c:pt>
                <c:pt idx="81">
                  <c:v>0.148257712551385</c:v>
                </c:pt>
                <c:pt idx="82">
                  <c:v>0.1528003546623319</c:v>
                </c:pt>
                <c:pt idx="83">
                  <c:v>0.14571476869330027</c:v>
                </c:pt>
                <c:pt idx="84">
                  <c:v>0.1516840607210626</c:v>
                </c:pt>
                <c:pt idx="85">
                  <c:v>0.15782255512184828</c:v>
                </c:pt>
                <c:pt idx="86">
                  <c:v>0.1641406126011744</c:v>
                </c:pt>
                <c:pt idx="87">
                  <c:v>0.18383226647245965</c:v>
                </c:pt>
                <c:pt idx="88">
                  <c:v>0.16740838935706845</c:v>
                </c:pt>
                <c:pt idx="89">
                  <c:v>0.1644376120932616</c:v>
                </c:pt>
                <c:pt idx="90">
                  <c:v>0.1535372747926243</c:v>
                </c:pt>
                <c:pt idx="91">
                  <c:v>0.1452292565466038</c:v>
                </c:pt>
                <c:pt idx="92">
                  <c:v>0.15778172358260725</c:v>
                </c:pt>
                <c:pt idx="93">
                  <c:v>0.1529416470023597</c:v>
                </c:pt>
                <c:pt idx="94">
                  <c:v>0.15484930007751585</c:v>
                </c:pt>
                <c:pt idx="95">
                  <c:v>0.161292465048318</c:v>
                </c:pt>
                <c:pt idx="96">
                  <c:v>0.16254008052267413</c:v>
                </c:pt>
                <c:pt idx="97">
                  <c:v>0.1687336954197494</c:v>
                </c:pt>
                <c:pt idx="98">
                  <c:v>0.1752648592088791</c:v>
                </c:pt>
                <c:pt idx="99">
                  <c:v>0.17548869236040857</c:v>
                </c:pt>
                <c:pt idx="100">
                  <c:v>0.1780660101518093</c:v>
                </c:pt>
                <c:pt idx="101">
                  <c:v>0.16804971170328814</c:v>
                </c:pt>
                <c:pt idx="102">
                  <c:v>0.1605298013245033</c:v>
                </c:pt>
                <c:pt idx="103">
                  <c:v>0.1623502567027952</c:v>
                </c:pt>
                <c:pt idx="104">
                  <c:v>0.1572379367720466</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11839445349535803</c:v>
                </c:pt>
                <c:pt idx="1">
                  <c:v>0.12311261172874109</c:v>
                </c:pt>
                <c:pt idx="2">
                  <c:v>0.11981617223401961</c:v>
                </c:pt>
                <c:pt idx="3">
                  <c:v>0.11832707271814698</c:v>
                </c:pt>
                <c:pt idx="4">
                  <c:v>0.1184745015987203</c:v>
                </c:pt>
                <c:pt idx="5">
                  <c:v>0.11750947515449127</c:v>
                </c:pt>
                <c:pt idx="6">
                  <c:v>0.11080845914717476</c:v>
                </c:pt>
                <c:pt idx="7">
                  <c:v>0.11307940048616826</c:v>
                </c:pt>
                <c:pt idx="8">
                  <c:v>0.11846267714154868</c:v>
                </c:pt>
                <c:pt idx="9">
                  <c:v>0.11542772927794269</c:v>
                </c:pt>
                <c:pt idx="10">
                  <c:v>0.1169778881712213</c:v>
                </c:pt>
                <c:pt idx="11">
                  <c:v>0.10766297559295254</c:v>
                </c:pt>
                <c:pt idx="12">
                  <c:v>0.11154957374823238</c:v>
                </c:pt>
                <c:pt idx="13">
                  <c:v>0.11241216987617475</c:v>
                </c:pt>
                <c:pt idx="14">
                  <c:v>0.11112608143815743</c:v>
                </c:pt>
                <c:pt idx="15">
                  <c:v>0.10911712549536716</c:v>
                </c:pt>
                <c:pt idx="16">
                  <c:v>0.11303408701719656</c:v>
                </c:pt>
                <c:pt idx="17">
                  <c:v>0.10866011785941174</c:v>
                </c:pt>
                <c:pt idx="18">
                  <c:v>0.10935190911830656</c:v>
                </c:pt>
                <c:pt idx="19">
                  <c:v>0.12066485161603023</c:v>
                </c:pt>
                <c:pt idx="20">
                  <c:v>0.11749888204022868</c:v>
                </c:pt>
                <c:pt idx="21">
                  <c:v>0.11383996838204209</c:v>
                </c:pt>
                <c:pt idx="22">
                  <c:v>0.11594806576263912</c:v>
                </c:pt>
                <c:pt idx="23">
                  <c:v>0.11671333758725178</c:v>
                </c:pt>
                <c:pt idx="24">
                  <c:v>0.11254087110056919</c:v>
                </c:pt>
                <c:pt idx="25">
                  <c:v>0.11154331530485992</c:v>
                </c:pt>
                <c:pt idx="26">
                  <c:v>0.1113841508762949</c:v>
                </c:pt>
                <c:pt idx="27">
                  <c:v>0.11145814870940994</c:v>
                </c:pt>
                <c:pt idx="28">
                  <c:v>0.11714533957124641</c:v>
                </c:pt>
                <c:pt idx="29">
                  <c:v>0.11747936080826857</c:v>
                </c:pt>
                <c:pt idx="30">
                  <c:v>0.11947153313129329</c:v>
                </c:pt>
                <c:pt idx="31">
                  <c:v>0.11687237179972608</c:v>
                </c:pt>
                <c:pt idx="32">
                  <c:v>0.12016662890001814</c:v>
                </c:pt>
                <c:pt idx="33">
                  <c:v>0.12197962354631518</c:v>
                </c:pt>
                <c:pt idx="34">
                  <c:v>0.11909611323359275</c:v>
                </c:pt>
                <c:pt idx="35">
                  <c:v>0.11837840091684161</c:v>
                </c:pt>
                <c:pt idx="36">
                  <c:v>0.1194616213463035</c:v>
                </c:pt>
                <c:pt idx="37">
                  <c:v>0.11900521787883217</c:v>
                </c:pt>
                <c:pt idx="38">
                  <c:v>0.11871977045412745</c:v>
                </c:pt>
                <c:pt idx="39">
                  <c:v>0.1167705930639595</c:v>
                </c:pt>
                <c:pt idx="40">
                  <c:v>0.12012184607888836</c:v>
                </c:pt>
                <c:pt idx="41">
                  <c:v>0.1241132155029646</c:v>
                </c:pt>
                <c:pt idx="42">
                  <c:v>0.12112207629937016</c:v>
                </c:pt>
                <c:pt idx="43">
                  <c:v>0.12510731714362283</c:v>
                </c:pt>
                <c:pt idx="44">
                  <c:v>0.12172819930261033</c:v>
                </c:pt>
                <c:pt idx="45">
                  <c:v>0.12103243428199127</c:v>
                </c:pt>
                <c:pt idx="46">
                  <c:v>0.11935486159953657</c:v>
                </c:pt>
                <c:pt idx="47">
                  <c:v>0.11560372924198416</c:v>
                </c:pt>
                <c:pt idx="48">
                  <c:v>0.11415058507290587</c:v>
                </c:pt>
                <c:pt idx="49">
                  <c:v>0.11839549532022071</c:v>
                </c:pt>
                <c:pt idx="50">
                  <c:v>0.11872034924926655</c:v>
                </c:pt>
                <c:pt idx="51">
                  <c:v>0.11095702828522629</c:v>
                </c:pt>
              </c:numCache>
            </c:numRef>
          </c:xVal>
          <c:yVal>
            <c:numRef>
              <c:f>Sheet1!$B$109:$B$160</c:f>
              <c:numCache>
                <c:formatCode>General</c:formatCode>
                <c:ptCount val="52"/>
                <c:pt idx="0">
                  <c:v>0.1716145157867434</c:v>
                </c:pt>
                <c:pt idx="1">
                  <c:v>0.1661502808634978</c:v>
                </c:pt>
                <c:pt idx="2">
                  <c:v>0.18067380756202508</c:v>
                </c:pt>
                <c:pt idx="3">
                  <c:v>0.19882521685677207</c:v>
                </c:pt>
                <c:pt idx="4">
                  <c:v>0.1848120336150279</c:v>
                </c:pt>
                <c:pt idx="5">
                  <c:v>0.18082550255739266</c:v>
                </c:pt>
                <c:pt idx="6">
                  <c:v>0.19015362006016212</c:v>
                </c:pt>
                <c:pt idx="7">
                  <c:v>0.18795970084677668</c:v>
                </c:pt>
                <c:pt idx="8">
                  <c:v>0.17522325276695513</c:v>
                </c:pt>
                <c:pt idx="9">
                  <c:v>0.1817523077407769</c:v>
                </c:pt>
                <c:pt idx="10">
                  <c:v>0.18482863670982483</c:v>
                </c:pt>
                <c:pt idx="11">
                  <c:v>0.18591581342434585</c:v>
                </c:pt>
                <c:pt idx="12">
                  <c:v>0.1834210115110162</c:v>
                </c:pt>
                <c:pt idx="13">
                  <c:v>0.1836296256512165</c:v>
                </c:pt>
                <c:pt idx="14">
                  <c:v>0.18245235106972943</c:v>
                </c:pt>
                <c:pt idx="15">
                  <c:v>0.17627245508982037</c:v>
                </c:pt>
                <c:pt idx="16">
                  <c:v>0.1644259162758381</c:v>
                </c:pt>
                <c:pt idx="17">
                  <c:v>0.16807000772143987</c:v>
                </c:pt>
                <c:pt idx="18">
                  <c:v>0.16940687704410856</c:v>
                </c:pt>
                <c:pt idx="19">
                  <c:v>0.16784071012663382</c:v>
                </c:pt>
                <c:pt idx="20">
                  <c:v>0.1592128008510261</c:v>
                </c:pt>
                <c:pt idx="21">
                  <c:v>0.16145722210369107</c:v>
                </c:pt>
                <c:pt idx="22">
                  <c:v>0.15810005798935103</c:v>
                </c:pt>
                <c:pt idx="23">
                  <c:v>0.16801841297676456</c:v>
                </c:pt>
                <c:pt idx="24">
                  <c:v>0.17601908515714138</c:v>
                </c:pt>
                <c:pt idx="25">
                  <c:v>0.17434335744194898</c:v>
                </c:pt>
                <c:pt idx="26">
                  <c:v>0.16634789351253554</c:v>
                </c:pt>
                <c:pt idx="27">
                  <c:v>0.1669260344196265</c:v>
                </c:pt>
                <c:pt idx="28">
                  <c:v>0.1566812521036688</c:v>
                </c:pt>
                <c:pt idx="29">
                  <c:v>0.15670862146161882</c:v>
                </c:pt>
                <c:pt idx="30">
                  <c:v>0.16222233728576607</c:v>
                </c:pt>
                <c:pt idx="31">
                  <c:v>0.15708944492378488</c:v>
                </c:pt>
                <c:pt idx="32">
                  <c:v>0.15403147265364703</c:v>
                </c:pt>
                <c:pt idx="33">
                  <c:v>0.17030083208875613</c:v>
                </c:pt>
                <c:pt idx="34">
                  <c:v>0.18597880911275855</c:v>
                </c:pt>
                <c:pt idx="35">
                  <c:v>0.17824761452270657</c:v>
                </c:pt>
                <c:pt idx="36">
                  <c:v>0.1669918512567428</c:v>
                </c:pt>
                <c:pt idx="37">
                  <c:v>0.15851999162654384</c:v>
                </c:pt>
                <c:pt idx="38">
                  <c:v>0.15798270893371757</c:v>
                </c:pt>
                <c:pt idx="39">
                  <c:v>0.1716724769822115</c:v>
                </c:pt>
                <c:pt idx="40">
                  <c:v>0.16473622098867957</c:v>
                </c:pt>
                <c:pt idx="41">
                  <c:v>0.1681137848342016</c:v>
                </c:pt>
                <c:pt idx="42">
                  <c:v>0.16534101298226367</c:v>
                </c:pt>
                <c:pt idx="43">
                  <c:v>0.16415849786000275</c:v>
                </c:pt>
                <c:pt idx="44">
                  <c:v>0.16430774552477587</c:v>
                </c:pt>
                <c:pt idx="45">
                  <c:v>0.17869234489733105</c:v>
                </c:pt>
                <c:pt idx="46">
                  <c:v>0.19009744535159337</c:v>
                </c:pt>
                <c:pt idx="47">
                  <c:v>0.19124657297404105</c:v>
                </c:pt>
                <c:pt idx="48">
                  <c:v>0.1888858870716349</c:v>
                </c:pt>
                <c:pt idx="49">
                  <c:v>0.19384323040380047</c:v>
                </c:pt>
                <c:pt idx="50">
                  <c:v>0.20206915954780297</c:v>
                </c:pt>
                <c:pt idx="51">
                  <c:v>0.19199653904391087</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04510840868309066</c:v>
                </c:pt>
              </c:numCache>
            </c:numRef>
          </c:xVal>
          <c:yVal>
            <c:numRef>
              <c:f>Sheet1!$B$163:$B$164</c:f>
              <c:numCache>
                <c:formatCode>General</c:formatCode>
                <c:ptCount val="2"/>
                <c:pt idx="0">
                  <c:v>0.22366113162471526</c:v>
                </c:pt>
                <c:pt idx="1">
                  <c:v>0.22366113162471526</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04510840868309066</c:v>
                </c:pt>
                <c:pt idx="1">
                  <c:v>0.04510840868309066</c:v>
                </c:pt>
              </c:numCache>
            </c:numRef>
          </c:xVal>
          <c:yVal>
            <c:numRef>
              <c:f>Sheet1!$B$167:$B$168</c:f>
              <c:numCache>
                <c:formatCode>General</c:formatCode>
                <c:ptCount val="2"/>
                <c:pt idx="0">
                  <c:v>0.223661131624715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08759244359771803</c:v>
                </c:pt>
              </c:numCache>
            </c:numRef>
          </c:xVal>
          <c:yVal>
            <c:numRef>
              <c:f>Sheet1!$B$171:$B$172</c:f>
              <c:numCache>
                <c:formatCode>General</c:formatCode>
                <c:ptCount val="2"/>
                <c:pt idx="0">
                  <c:v>0.1941987040167873</c:v>
                </c:pt>
                <c:pt idx="1">
                  <c:v>0.1941987040167873</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08759244359771803</c:v>
                </c:pt>
                <c:pt idx="1">
                  <c:v>0.08759244359771803</c:v>
                </c:pt>
              </c:numCache>
            </c:numRef>
          </c:xVal>
          <c:yVal>
            <c:numRef>
              <c:f>Sheet1!$B$175:$B$176</c:f>
              <c:numCache>
                <c:formatCode>General</c:formatCode>
                <c:ptCount val="2"/>
                <c:pt idx="0">
                  <c:v>0.194198704016787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086033520296818</c:v>
                </c:pt>
              </c:numCache>
            </c:numRef>
          </c:xVal>
          <c:yVal>
            <c:numRef>
              <c:f>Sheet1!$B$179:$B$180</c:f>
              <c:numCache>
                <c:formatCode>General</c:formatCode>
                <c:ptCount val="2"/>
                <c:pt idx="0">
                  <c:v>0.1796277629586346</c:v>
                </c:pt>
                <c:pt idx="1">
                  <c:v>0.1796277629586346</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086033520296818</c:v>
                </c:pt>
                <c:pt idx="1">
                  <c:v>0.1086033520296818</c:v>
                </c:pt>
              </c:numCache>
            </c:numRef>
          </c:xVal>
          <c:yVal>
            <c:numRef>
              <c:f>Sheet1!$B$183:$B$184</c:f>
              <c:numCache>
                <c:formatCode>General</c:formatCode>
                <c:ptCount val="2"/>
                <c:pt idx="0">
                  <c:v>0.179627762958634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11839445349535803</c:v>
                </c:pt>
                <c:pt idx="1">
                  <c:v>0.12311261172874109</c:v>
                </c:pt>
                <c:pt idx="2">
                  <c:v>0.11981617223401961</c:v>
                </c:pt>
                <c:pt idx="3">
                  <c:v>0.11832707271814698</c:v>
                </c:pt>
                <c:pt idx="4">
                  <c:v>0.1184745015987203</c:v>
                </c:pt>
                <c:pt idx="5">
                  <c:v>0.11750947515449127</c:v>
                </c:pt>
                <c:pt idx="6">
                  <c:v>0.11080845914717476</c:v>
                </c:pt>
                <c:pt idx="7">
                  <c:v>0.11307940048616826</c:v>
                </c:pt>
                <c:pt idx="8">
                  <c:v>0.11846267714154868</c:v>
                </c:pt>
                <c:pt idx="9">
                  <c:v>0.11542772927794269</c:v>
                </c:pt>
                <c:pt idx="10">
                  <c:v>0.1169778881712213</c:v>
                </c:pt>
                <c:pt idx="11">
                  <c:v>0.10766297559295254</c:v>
                </c:pt>
                <c:pt idx="12">
                  <c:v>0.11154957374823238</c:v>
                </c:pt>
                <c:pt idx="13">
                  <c:v>0.11241216987617475</c:v>
                </c:pt>
                <c:pt idx="14">
                  <c:v>0.11112608143815743</c:v>
                </c:pt>
                <c:pt idx="15">
                  <c:v>0.10911712549536716</c:v>
                </c:pt>
                <c:pt idx="16">
                  <c:v>0.11303408701719656</c:v>
                </c:pt>
                <c:pt idx="17">
                  <c:v>0.10866011785941174</c:v>
                </c:pt>
                <c:pt idx="18">
                  <c:v>0.10935190911830656</c:v>
                </c:pt>
                <c:pt idx="19">
                  <c:v>0.12066485161603023</c:v>
                </c:pt>
                <c:pt idx="20">
                  <c:v>0.11749888204022868</c:v>
                </c:pt>
                <c:pt idx="21">
                  <c:v>0.11383996838204209</c:v>
                </c:pt>
                <c:pt idx="22">
                  <c:v>0.11594806576263912</c:v>
                </c:pt>
                <c:pt idx="23">
                  <c:v>0.11671333758725178</c:v>
                </c:pt>
                <c:pt idx="24">
                  <c:v>0.11254087110056919</c:v>
                </c:pt>
                <c:pt idx="25">
                  <c:v>0.11154331530485992</c:v>
                </c:pt>
                <c:pt idx="26">
                  <c:v>0.1113841508762949</c:v>
                </c:pt>
                <c:pt idx="27">
                  <c:v>0.11145814870940994</c:v>
                </c:pt>
                <c:pt idx="28">
                  <c:v>0.11714533957124641</c:v>
                </c:pt>
                <c:pt idx="29">
                  <c:v>0.11747936080826857</c:v>
                </c:pt>
                <c:pt idx="30">
                  <c:v>0.11947153313129329</c:v>
                </c:pt>
                <c:pt idx="31">
                  <c:v>0.11687237179972608</c:v>
                </c:pt>
                <c:pt idx="32">
                  <c:v>0.12016662890001814</c:v>
                </c:pt>
                <c:pt idx="33">
                  <c:v>0.12197962354631518</c:v>
                </c:pt>
                <c:pt idx="34">
                  <c:v>0.11909611323359275</c:v>
                </c:pt>
                <c:pt idx="35">
                  <c:v>0.11837840091684161</c:v>
                </c:pt>
                <c:pt idx="36">
                  <c:v>0.1194616213463035</c:v>
                </c:pt>
                <c:pt idx="37">
                  <c:v>0.11900521787883217</c:v>
                </c:pt>
                <c:pt idx="38">
                  <c:v>0.11871977045412745</c:v>
                </c:pt>
                <c:pt idx="39">
                  <c:v>0.1167705930639595</c:v>
                </c:pt>
                <c:pt idx="40">
                  <c:v>0.12012184607888836</c:v>
                </c:pt>
                <c:pt idx="41">
                  <c:v>0.1241132155029646</c:v>
                </c:pt>
                <c:pt idx="42">
                  <c:v>0.12112207629937016</c:v>
                </c:pt>
                <c:pt idx="43">
                  <c:v>0.12510731714362283</c:v>
                </c:pt>
                <c:pt idx="44">
                  <c:v>0.12172819930261033</c:v>
                </c:pt>
                <c:pt idx="45">
                  <c:v>0.12103243428199127</c:v>
                </c:pt>
                <c:pt idx="46">
                  <c:v>0.11935486159953657</c:v>
                </c:pt>
                <c:pt idx="47">
                  <c:v>0.11560372924198416</c:v>
                </c:pt>
                <c:pt idx="48">
                  <c:v>0.11415058507290587</c:v>
                </c:pt>
                <c:pt idx="49">
                  <c:v>0.11839549532022071</c:v>
                </c:pt>
                <c:pt idx="50">
                  <c:v>0.11872034924926655</c:v>
                </c:pt>
                <c:pt idx="51">
                  <c:v>0.11095702828522629</c:v>
                </c:pt>
                <c:pt idx="52">
                  <c:v>0.08759244359771803</c:v>
                </c:pt>
                <c:pt idx="53">
                  <c:v>0.04510840868309066</c:v>
                </c:pt>
                <c:pt idx="54">
                  <c:v>0.1086033520296818</c:v>
                </c:pt>
              </c:numCache>
            </c:numRef>
          </c:xVal>
          <c:yVal>
            <c:numRef>
              <c:f>Sheet1!$B$187:$B$241</c:f>
              <c:numCache>
                <c:formatCode>General</c:formatCode>
                <c:ptCount val="55"/>
                <c:pt idx="0">
                  <c:v>0.17283769184806214</c:v>
                </c:pt>
                <c:pt idx="1">
                  <c:v>0.16956567694474284</c:v>
                </c:pt>
                <c:pt idx="2">
                  <c:v>0.17185173828925293</c:v>
                </c:pt>
                <c:pt idx="3">
                  <c:v>0.17288442001959142</c:v>
                </c:pt>
                <c:pt idx="4">
                  <c:v>0.1727821789605692</c:v>
                </c:pt>
                <c:pt idx="5">
                  <c:v>0.17345141910713174</c:v>
                </c:pt>
                <c:pt idx="6">
                  <c:v>0.1780985341801672</c:v>
                </c:pt>
                <c:pt idx="7">
                  <c:v>0.1765236497574329</c:v>
                </c:pt>
                <c:pt idx="8">
                  <c:v>0.17279037915186746</c:v>
                </c:pt>
                <c:pt idx="9">
                  <c:v>0.1748950975926891</c:v>
                </c:pt>
                <c:pt idx="10">
                  <c:v>0.1738200715442974</c:v>
                </c:pt>
                <c:pt idx="11">
                  <c:v>0.18027990847040187</c:v>
                </c:pt>
                <c:pt idx="12">
                  <c:v>0.17758457557602997</c:v>
                </c:pt>
                <c:pt idx="13">
                  <c:v>0.17698637024959496</c:v>
                </c:pt>
                <c:pt idx="14">
                  <c:v>0.17787826499496512</c:v>
                </c:pt>
                <c:pt idx="15">
                  <c:v>0.17927146409083528</c:v>
                </c:pt>
                <c:pt idx="16">
                  <c:v>0.1765550743808691</c:v>
                </c:pt>
                <c:pt idx="17">
                  <c:v>0.1795883961905679</c:v>
                </c:pt>
                <c:pt idx="18">
                  <c:v>0.17910864303327145</c:v>
                </c:pt>
                <c:pt idx="19">
                  <c:v>0.1712631841440293</c:v>
                </c:pt>
                <c:pt idx="20">
                  <c:v>0.17345876536938604</c:v>
                </c:pt>
                <c:pt idx="21">
                  <c:v>0.17599620040809197</c:v>
                </c:pt>
                <c:pt idx="22">
                  <c:v>0.17453424730991962</c:v>
                </c:pt>
                <c:pt idx="23">
                  <c:v>0.1740035358137459</c:v>
                </c:pt>
                <c:pt idx="24">
                  <c:v>0.17689711670966185</c:v>
                </c:pt>
                <c:pt idx="25">
                  <c:v>0.1775889157695914</c:v>
                </c:pt>
                <c:pt idx="26">
                  <c:v>0.17769929536192008</c:v>
                </c:pt>
                <c:pt idx="27">
                  <c:v>0.17764797830115414</c:v>
                </c:pt>
                <c:pt idx="28">
                  <c:v>0.17370394498614444</c:v>
                </c:pt>
                <c:pt idx="29">
                  <c:v>0.1734723032285983</c:v>
                </c:pt>
                <c:pt idx="30">
                  <c:v>0.17209074347403214</c:v>
                </c:pt>
                <c:pt idx="31">
                  <c:v>0.17389324652550803</c:v>
                </c:pt>
                <c:pt idx="32">
                  <c:v>0.17160869865866119</c:v>
                </c:pt>
                <c:pt idx="33">
                  <c:v>0.17035139756597012</c:v>
                </c:pt>
                <c:pt idx="34">
                  <c:v>0.17235109495855577</c:v>
                </c:pt>
                <c:pt idx="35">
                  <c:v>0.17284882421657213</c:v>
                </c:pt>
                <c:pt idx="36">
                  <c:v>0.17209761723845476</c:v>
                </c:pt>
                <c:pt idx="37">
                  <c:v>0.17241413035090755</c:v>
                </c:pt>
                <c:pt idx="38">
                  <c:v>0.17261208645613937</c:v>
                </c:pt>
                <c:pt idx="39">
                  <c:v>0.17396382947838845</c:v>
                </c:pt>
                <c:pt idx="40">
                  <c:v>0.1716397552809492</c:v>
                </c:pt>
                <c:pt idx="41">
                  <c:v>0.16887176412969312</c:v>
                </c:pt>
                <c:pt idx="42">
                  <c:v>0.17094610152321588</c:v>
                </c:pt>
                <c:pt idx="43">
                  <c:v>0.16818236050591606</c:v>
                </c:pt>
                <c:pt idx="44">
                  <c:v>0.1705257587958749</c:v>
                </c:pt>
                <c:pt idx="45">
                  <c:v>0.17100826773348665</c:v>
                </c:pt>
                <c:pt idx="46">
                  <c:v>0.1721716544930819</c:v>
                </c:pt>
                <c:pt idx="47">
                  <c:v>0.17477304265581717</c:v>
                </c:pt>
                <c:pt idx="48">
                  <c:v>0.17578078956524762</c:v>
                </c:pt>
                <c:pt idx="49">
                  <c:v>0.1728369693486654</c:v>
                </c:pt>
                <c:pt idx="50">
                  <c:v>0.17261168506512461</c:v>
                </c:pt>
                <c:pt idx="51">
                  <c:v>0.17799550235931</c:v>
                </c:pt>
                <c:pt idx="52">
                  <c:v>0.1941987040167873</c:v>
                </c:pt>
                <c:pt idx="53">
                  <c:v>0.22366113162471526</c:v>
                </c:pt>
                <c:pt idx="54">
                  <c:v>0.179627762958634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Roche-Posay</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20657699980694"/>
          <c:min val="0.113141702635687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19.4137</c:v>
                </c:pt>
                <c:pt idx="1">
                  <c:v>897.7513</c:v>
                </c:pt>
                <c:pt idx="2">
                  <c:v>929.3155</c:v>
                </c:pt>
                <c:pt idx="3">
                  <c:v>958.2186</c:v>
                </c:pt>
                <c:pt idx="4">
                  <c:v>945.1339</c:v>
                </c:pt>
                <c:pt idx="5">
                  <c:v>929.9001</c:v>
                </c:pt>
                <c:pt idx="6">
                  <c:v>892.9715</c:v>
                </c:pt>
                <c:pt idx="7">
                  <c:v>902.0136</c:v>
                </c:pt>
                <c:pt idx="8">
                  <c:v>906.6306</c:v>
                </c:pt>
                <c:pt idx="9">
                  <c:v>878.51</c:v>
                </c:pt>
                <c:pt idx="10">
                  <c:v>868.4945</c:v>
                </c:pt>
                <c:pt idx="11">
                  <c:v>914.4113</c:v>
                </c:pt>
                <c:pt idx="12">
                  <c:v>921.2473</c:v>
                </c:pt>
                <c:pt idx="13">
                  <c:v>929.9615</c:v>
                </c:pt>
                <c:pt idx="14">
                  <c:v>966.11</c:v>
                </c:pt>
                <c:pt idx="15">
                  <c:v>976.5391</c:v>
                </c:pt>
                <c:pt idx="16">
                  <c:v>1000.8444</c:v>
                </c:pt>
                <c:pt idx="17">
                  <c:v>1013.3609</c:v>
                </c:pt>
                <c:pt idx="18">
                  <c:v>1061.8215</c:v>
                </c:pt>
                <c:pt idx="19">
                  <c:v>1057.3236</c:v>
                </c:pt>
                <c:pt idx="20">
                  <c:v>1086.0927</c:v>
                </c:pt>
                <c:pt idx="21">
                  <c:v>1090.9295</c:v>
                </c:pt>
                <c:pt idx="22">
                  <c:v>1048.2189</c:v>
                </c:pt>
                <c:pt idx="23">
                  <c:v>1059.0827</c:v>
                </c:pt>
                <c:pt idx="24">
                  <c:v>1068.4637</c:v>
                </c:pt>
                <c:pt idx="25">
                  <c:v>1053.4514</c:v>
                </c:pt>
                <c:pt idx="26">
                  <c:v>1034.2451</c:v>
                </c:pt>
                <c:pt idx="27">
                  <c:v>1037.0432</c:v>
                </c:pt>
                <c:pt idx="28">
                  <c:v>1046.1112</c:v>
                </c:pt>
                <c:pt idx="29">
                  <c:v>1035.2358</c:v>
                </c:pt>
                <c:pt idx="30">
                  <c:v>1038.0835</c:v>
                </c:pt>
                <c:pt idx="31">
                  <c:v>1019.7049</c:v>
                </c:pt>
                <c:pt idx="32">
                  <c:v>1009.4108</c:v>
                </c:pt>
                <c:pt idx="33">
                  <c:v>977.3818</c:v>
                </c:pt>
                <c:pt idx="34">
                  <c:v>987.871</c:v>
                </c:pt>
                <c:pt idx="35">
                  <c:v>1033.9306</c:v>
                </c:pt>
                <c:pt idx="36">
                  <c:v>1083.6245</c:v>
                </c:pt>
                <c:pt idx="37">
                  <c:v>1071.7079</c:v>
                </c:pt>
                <c:pt idx="38">
                  <c:v>1108.0026</c:v>
                </c:pt>
                <c:pt idx="39">
                  <c:v>1165.3772</c:v>
                </c:pt>
                <c:pt idx="40">
                  <c:v>1167.785</c:v>
                </c:pt>
                <c:pt idx="41">
                  <c:v>1193.8357</c:v>
                </c:pt>
                <c:pt idx="42">
                  <c:v>1212.1279</c:v>
                </c:pt>
                <c:pt idx="43">
                  <c:v>1199.113</c:v>
                </c:pt>
                <c:pt idx="44">
                  <c:v>1155.1468</c:v>
                </c:pt>
                <c:pt idx="45">
                  <c:v>1120.0195</c:v>
                </c:pt>
                <c:pt idx="46">
                  <c:v>1109.1569</c:v>
                </c:pt>
                <c:pt idx="47">
                  <c:v>1095.2651</c:v>
                </c:pt>
                <c:pt idx="48">
                  <c:v>1093.2907</c:v>
                </c:pt>
                <c:pt idx="49">
                  <c:v>1048.022</c:v>
                </c:pt>
                <c:pt idx="50">
                  <c:v>1049.4572</c:v>
                </c:pt>
                <c:pt idx="51">
                  <c:v>1044.8197</c:v>
                </c:pt>
                <c:pt idx="52">
                  <c:v>1059.6912</c:v>
                </c:pt>
                <c:pt idx="53">
                  <c:v>1169.267</c:v>
                </c:pt>
                <c:pt idx="54">
                  <c:v>1148.3676</c:v>
                </c:pt>
                <c:pt idx="55">
                  <c:v>1170.5369</c:v>
                </c:pt>
                <c:pt idx="56">
                  <c:v>1173.6815</c:v>
                </c:pt>
                <c:pt idx="57">
                  <c:v>1147.0884</c:v>
                </c:pt>
                <c:pt idx="58">
                  <c:v>1131.2774</c:v>
                </c:pt>
                <c:pt idx="59">
                  <c:v>1107.5691</c:v>
                </c:pt>
                <c:pt idx="60">
                  <c:v>1125.5277</c:v>
                </c:pt>
                <c:pt idx="61">
                  <c:v>1145.755</c:v>
                </c:pt>
                <c:pt idx="62">
                  <c:v>1079.6264</c:v>
                </c:pt>
                <c:pt idx="63">
                  <c:v>1099.6892</c:v>
                </c:pt>
                <c:pt idx="64">
                  <c:v>1111.0568</c:v>
                </c:pt>
                <c:pt idx="65">
                  <c:v>1102.1999</c:v>
                </c:pt>
                <c:pt idx="66">
                  <c:v>1137.0865</c:v>
                </c:pt>
                <c:pt idx="67">
                  <c:v>1160.1286</c:v>
                </c:pt>
                <c:pt idx="68">
                  <c:v>1178.1686</c:v>
                </c:pt>
                <c:pt idx="69">
                  <c:v>1209.1537</c:v>
                </c:pt>
                <c:pt idx="70">
                  <c:v>1192.4151</c:v>
                </c:pt>
                <c:pt idx="71">
                  <c:v>1242.0309</c:v>
                </c:pt>
                <c:pt idx="72">
                  <c:v>1306.088</c:v>
                </c:pt>
                <c:pt idx="73">
                  <c:v>1282.7391</c:v>
                </c:pt>
                <c:pt idx="74">
                  <c:v>1279.1563</c:v>
                </c:pt>
                <c:pt idx="75">
                  <c:v>1243.3785</c:v>
                </c:pt>
                <c:pt idx="76">
                  <c:v>1213.4474</c:v>
                </c:pt>
                <c:pt idx="77">
                  <c:v>1211.1308</c:v>
                </c:pt>
                <c:pt idx="78">
                  <c:v>1257.3637</c:v>
                </c:pt>
                <c:pt idx="79">
                  <c:v>1258.6996</c:v>
                </c:pt>
                <c:pt idx="80">
                  <c:v>1256.1036</c:v>
                </c:pt>
                <c:pt idx="81">
                  <c:v>1242.1614</c:v>
                </c:pt>
                <c:pt idx="82">
                  <c:v>1269.8095</c:v>
                </c:pt>
                <c:pt idx="83">
                  <c:v>1214.4857</c:v>
                </c:pt>
                <c:pt idx="84">
                  <c:v>1238.9617</c:v>
                </c:pt>
                <c:pt idx="85">
                  <c:v>1216.6811</c:v>
                </c:pt>
                <c:pt idx="86">
                  <c:v>1217.773</c:v>
                </c:pt>
                <c:pt idx="87">
                  <c:v>1227.3918</c:v>
                </c:pt>
                <c:pt idx="88">
                  <c:v>1271.5976</c:v>
                </c:pt>
                <c:pt idx="89">
                  <c:v>1254.0704</c:v>
                </c:pt>
                <c:pt idx="90">
                  <c:v>1320.116</c:v>
                </c:pt>
                <c:pt idx="91">
                  <c:v>1309.8259</c:v>
                </c:pt>
                <c:pt idx="92">
                  <c:v>1260.9199</c:v>
                </c:pt>
                <c:pt idx="93">
                  <c:v>1290.5923</c:v>
                </c:pt>
                <c:pt idx="94">
                  <c:v>1278.0827</c:v>
                </c:pt>
                <c:pt idx="95">
                  <c:v>1247.8353</c:v>
                </c:pt>
                <c:pt idx="96">
                  <c:v>1202.3784</c:v>
                </c:pt>
                <c:pt idx="97">
                  <c:v>1191.1436</c:v>
                </c:pt>
                <c:pt idx="98">
                  <c:v>1173.328</c:v>
                </c:pt>
                <c:pt idx="99">
                  <c:v>1138.3719</c:v>
                </c:pt>
                <c:pt idx="100">
                  <c:v>1113.6608</c:v>
                </c:pt>
                <c:pt idx="101">
                  <c:v>1163.3122</c:v>
                </c:pt>
                <c:pt idx="102">
                  <c:v>1164.8555</c:v>
                </c:pt>
                <c:pt idx="103">
                  <c:v>1150.2562</c:v>
                </c:pt>
                <c:pt idx="104">
                  <c:v>1187.2692</c:v>
                </c:pt>
              </c:numCache>
            </c:numRef>
          </c:xVal>
          <c:yVal>
            <c:numRef>
              <c:f>Sheet1!$B$2:$B$106</c:f>
              <c:numCache>
                <c:formatCode>General</c:formatCode>
                <c:ptCount val="105"/>
                <c:pt idx="0">
                  <c:v>0.21020646867371848</c:v>
                </c:pt>
                <c:pt idx="1">
                  <c:v>0.19998409879945936</c:v>
                </c:pt>
                <c:pt idx="2">
                  <c:v>0.20379256370121374</c:v>
                </c:pt>
                <c:pt idx="3">
                  <c:v>0.20844547314027345</c:v>
                </c:pt>
                <c:pt idx="4">
                  <c:v>0.21889864325618516</c:v>
                </c:pt>
                <c:pt idx="5">
                  <c:v>0.22279337606142435</c:v>
                </c:pt>
                <c:pt idx="6">
                  <c:v>0.25172147499839115</c:v>
                </c:pt>
                <c:pt idx="7">
                  <c:v>0.25146799765120376</c:v>
                </c:pt>
                <c:pt idx="8">
                  <c:v>0.2456400883405681</c:v>
                </c:pt>
                <c:pt idx="9">
                  <c:v>0.23977286240932336</c:v>
                </c:pt>
                <c:pt idx="10">
                  <c:v>0.23185535944898839</c:v>
                </c:pt>
                <c:pt idx="11">
                  <c:v>0.2112331761187162</c:v>
                </c:pt>
                <c:pt idx="12">
                  <c:v>0.20288239509515088</c:v>
                </c:pt>
                <c:pt idx="13">
                  <c:v>0.19351573264347777</c:v>
                </c:pt>
                <c:pt idx="14">
                  <c:v>0.17355556174921263</c:v>
                </c:pt>
                <c:pt idx="15">
                  <c:v>0.17153731590269733</c:v>
                </c:pt>
                <c:pt idx="16">
                  <c:v>0.16137339055793992</c:v>
                </c:pt>
                <c:pt idx="17">
                  <c:v>0.15487087283425957</c:v>
                </c:pt>
                <c:pt idx="18">
                  <c:v>0.14542892212574443</c:v>
                </c:pt>
                <c:pt idx="19">
                  <c:v>0.14849703640982218</c:v>
                </c:pt>
                <c:pt idx="20">
                  <c:v>0.1512384780044559</c:v>
                </c:pt>
                <c:pt idx="21">
                  <c:v>0.1542627262881015</c:v>
                </c:pt>
                <c:pt idx="22">
                  <c:v>0.17664387164650183</c:v>
                </c:pt>
                <c:pt idx="23">
                  <c:v>0.17933842806939254</c:v>
                </c:pt>
                <c:pt idx="24">
                  <c:v>0.1833583752137195</c:v>
                </c:pt>
                <c:pt idx="25">
                  <c:v>0.18293678563097737</c:v>
                </c:pt>
                <c:pt idx="26">
                  <c:v>0.20214267049908544</c:v>
                </c:pt>
                <c:pt idx="27">
                  <c:v>0.211397612119996</c:v>
                </c:pt>
                <c:pt idx="28">
                  <c:v>0.206163927712077</c:v>
                </c:pt>
                <c:pt idx="29">
                  <c:v>0.20307498083772937</c:v>
                </c:pt>
                <c:pt idx="30">
                  <c:v>0.20531302679765157</c:v>
                </c:pt>
                <c:pt idx="31">
                  <c:v>0.20395755029847445</c:v>
                </c:pt>
                <c:pt idx="32">
                  <c:v>0.21359064071725345</c:v>
                </c:pt>
                <c:pt idx="33">
                  <c:v>0.20973176388220366</c:v>
                </c:pt>
                <c:pt idx="34">
                  <c:v>0.21168379383421967</c:v>
                </c:pt>
                <c:pt idx="35">
                  <c:v>0.23083929294292269</c:v>
                </c:pt>
                <c:pt idx="36">
                  <c:v>0.192742538864411</c:v>
                </c:pt>
                <c:pt idx="37">
                  <c:v>0.20033653846153845</c:v>
                </c:pt>
                <c:pt idx="38">
                  <c:v>0.18773207310604234</c:v>
                </c:pt>
                <c:pt idx="39">
                  <c:v>0.17446483180428135</c:v>
                </c:pt>
                <c:pt idx="40">
                  <c:v>0.17987973900806004</c:v>
                </c:pt>
                <c:pt idx="41">
                  <c:v>0.17108289631060816</c:v>
                </c:pt>
                <c:pt idx="42">
                  <c:v>0.1702286184855496</c:v>
                </c:pt>
                <c:pt idx="43">
                  <c:v>0.1728169656964292</c:v>
                </c:pt>
                <c:pt idx="44">
                  <c:v>0.17103670835014118</c:v>
                </c:pt>
                <c:pt idx="45">
                  <c:v>0.18516640952171037</c:v>
                </c:pt>
                <c:pt idx="46">
                  <c:v>0.19015579233348898</c:v>
                </c:pt>
                <c:pt idx="47">
                  <c:v>0.18210794275568484</c:v>
                </c:pt>
                <c:pt idx="48">
                  <c:v>0.18136631975163672</c:v>
                </c:pt>
                <c:pt idx="49">
                  <c:v>0.1898583998857532</c:v>
                </c:pt>
                <c:pt idx="50">
                  <c:v>0.18103877771319438</c:v>
                </c:pt>
                <c:pt idx="51">
                  <c:v>0.17596993753577383</c:v>
                </c:pt>
                <c:pt idx="52">
                  <c:v>0.17994396800615925</c:v>
                </c:pt>
                <c:pt idx="53">
                  <c:v>0.17098018353504454</c:v>
                </c:pt>
                <c:pt idx="54">
                  <c:v>0.17911866359447004</c:v>
                </c:pt>
                <c:pt idx="55">
                  <c:v>0.17743525405502286</c:v>
                </c:pt>
                <c:pt idx="56">
                  <c:v>0.17281342427717752</c:v>
                </c:pt>
                <c:pt idx="57">
                  <c:v>0.1709137574313176</c:v>
                </c:pt>
                <c:pt idx="58">
                  <c:v>0.18198158808812456</c:v>
                </c:pt>
                <c:pt idx="59">
                  <c:v>0.18307776384736554</c:v>
                </c:pt>
                <c:pt idx="60">
                  <c:v>0.18700290979631426</c:v>
                </c:pt>
                <c:pt idx="61">
                  <c:v>0.18054056646761157</c:v>
                </c:pt>
                <c:pt idx="62">
                  <c:v>0.19009002656136145</c:v>
                </c:pt>
                <c:pt idx="63">
                  <c:v>0.19600309105739921</c:v>
                </c:pt>
                <c:pt idx="64">
                  <c:v>0.18459062310570432</c:v>
                </c:pt>
                <c:pt idx="65">
                  <c:v>0.179037306101935</c:v>
                </c:pt>
                <c:pt idx="66">
                  <c:v>0.17705924002832193</c:v>
                </c:pt>
                <c:pt idx="67">
                  <c:v>0.165002435460302</c:v>
                </c:pt>
                <c:pt idx="68">
                  <c:v>0.1568587306229892</c:v>
                </c:pt>
                <c:pt idx="69">
                  <c:v>0.15326821938392185</c:v>
                </c:pt>
                <c:pt idx="70">
                  <c:v>0.1520919248528427</c:v>
                </c:pt>
                <c:pt idx="71">
                  <c:v>0.1501281857939979</c:v>
                </c:pt>
                <c:pt idx="72">
                  <c:v>0.1519796585543044</c:v>
                </c:pt>
                <c:pt idx="73">
                  <c:v>0.1523521632344606</c:v>
                </c:pt>
                <c:pt idx="74">
                  <c:v>0.1514309430149049</c:v>
                </c:pt>
                <c:pt idx="75">
                  <c:v>0.16235595390524968</c:v>
                </c:pt>
                <c:pt idx="76">
                  <c:v>0.16577613371694752</c:v>
                </c:pt>
                <c:pt idx="77">
                  <c:v>0.155979908593149</c:v>
                </c:pt>
                <c:pt idx="78">
                  <c:v>0.15918260413937646</c:v>
                </c:pt>
                <c:pt idx="79">
                  <c:v>0.15380752373995618</c:v>
                </c:pt>
                <c:pt idx="80">
                  <c:v>0.14142712829460924</c:v>
                </c:pt>
                <c:pt idx="81">
                  <c:v>0.148257712551385</c:v>
                </c:pt>
                <c:pt idx="82">
                  <c:v>0.1528003546623319</c:v>
                </c:pt>
                <c:pt idx="83">
                  <c:v>0.14571476869330027</c:v>
                </c:pt>
                <c:pt idx="84">
                  <c:v>0.1516840607210626</c:v>
                </c:pt>
                <c:pt idx="85">
                  <c:v>0.15782255512184828</c:v>
                </c:pt>
                <c:pt idx="86">
                  <c:v>0.1641406126011744</c:v>
                </c:pt>
                <c:pt idx="87">
                  <c:v>0.18383226647245965</c:v>
                </c:pt>
                <c:pt idx="88">
                  <c:v>0.16740838935706845</c:v>
                </c:pt>
                <c:pt idx="89">
                  <c:v>0.1644376120932616</c:v>
                </c:pt>
                <c:pt idx="90">
                  <c:v>0.1535372747926243</c:v>
                </c:pt>
                <c:pt idx="91">
                  <c:v>0.1452292565466038</c:v>
                </c:pt>
                <c:pt idx="92">
                  <c:v>0.15778172358260725</c:v>
                </c:pt>
                <c:pt idx="93">
                  <c:v>0.1529416470023597</c:v>
                </c:pt>
                <c:pt idx="94">
                  <c:v>0.15484930007751585</c:v>
                </c:pt>
                <c:pt idx="95">
                  <c:v>0.161292465048318</c:v>
                </c:pt>
                <c:pt idx="96">
                  <c:v>0.16254008052267413</c:v>
                </c:pt>
                <c:pt idx="97">
                  <c:v>0.1687336954197494</c:v>
                </c:pt>
                <c:pt idx="98">
                  <c:v>0.1752648592088791</c:v>
                </c:pt>
                <c:pt idx="99">
                  <c:v>0.17548869236040857</c:v>
                </c:pt>
                <c:pt idx="100">
                  <c:v>0.1780660101518093</c:v>
                </c:pt>
                <c:pt idx="101">
                  <c:v>0.16804971170328814</c:v>
                </c:pt>
                <c:pt idx="102">
                  <c:v>0.1605298013245033</c:v>
                </c:pt>
                <c:pt idx="103">
                  <c:v>0.1623502567027952</c:v>
                </c:pt>
                <c:pt idx="104">
                  <c:v>0.1572379367720466</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19.1581</c:v>
                </c:pt>
                <c:pt idx="1">
                  <c:v>1244.4935</c:v>
                </c:pt>
                <c:pt idx="2">
                  <c:v>1232.9451</c:v>
                </c:pt>
                <c:pt idx="3">
                  <c:v>1207.2554</c:v>
                </c:pt>
                <c:pt idx="4">
                  <c:v>1218.2851</c:v>
                </c:pt>
                <c:pt idx="5">
                  <c:v>1220.6369</c:v>
                </c:pt>
                <c:pt idx="6">
                  <c:v>1147.6067</c:v>
                </c:pt>
                <c:pt idx="7">
                  <c:v>1167.6036</c:v>
                </c:pt>
                <c:pt idx="8">
                  <c:v>1228.6224</c:v>
                </c:pt>
                <c:pt idx="9">
                  <c:v>1162.8742</c:v>
                </c:pt>
                <c:pt idx="10">
                  <c:v>1188.8372</c:v>
                </c:pt>
                <c:pt idx="11">
                  <c:v>1103.031</c:v>
                </c:pt>
                <c:pt idx="12">
                  <c:v>1145.8063</c:v>
                </c:pt>
                <c:pt idx="13">
                  <c:v>1171.8821</c:v>
                </c:pt>
                <c:pt idx="14">
                  <c:v>1177.0546</c:v>
                </c:pt>
                <c:pt idx="15">
                  <c:v>1188.0573</c:v>
                </c:pt>
                <c:pt idx="16">
                  <c:v>1232.2679</c:v>
                </c:pt>
                <c:pt idx="17">
                  <c:v>1186.695</c:v>
                </c:pt>
                <c:pt idx="18">
                  <c:v>1210.0574</c:v>
                </c:pt>
                <c:pt idx="19">
                  <c:v>1300.9369</c:v>
                </c:pt>
                <c:pt idx="20">
                  <c:v>1282.5496</c:v>
                </c:pt>
                <c:pt idx="21">
                  <c:v>1214.9475</c:v>
                </c:pt>
                <c:pt idx="22">
                  <c:v>1239.5719</c:v>
                </c:pt>
                <c:pt idx="23">
                  <c:v>1226.5287</c:v>
                </c:pt>
                <c:pt idx="24">
                  <c:v>1212.2118</c:v>
                </c:pt>
                <c:pt idx="25">
                  <c:v>1205.8278</c:v>
                </c:pt>
                <c:pt idx="26">
                  <c:v>1221.7157</c:v>
                </c:pt>
                <c:pt idx="27">
                  <c:v>1224.3866</c:v>
                </c:pt>
                <c:pt idx="28">
                  <c:v>1268.7454</c:v>
                </c:pt>
                <c:pt idx="29">
                  <c:v>1264.8765</c:v>
                </c:pt>
                <c:pt idx="30">
                  <c:v>1266.4469</c:v>
                </c:pt>
                <c:pt idx="31">
                  <c:v>1249.6481</c:v>
                </c:pt>
                <c:pt idx="32">
                  <c:v>1273.629</c:v>
                </c:pt>
                <c:pt idx="33">
                  <c:v>1269.1453</c:v>
                </c:pt>
                <c:pt idx="34">
                  <c:v>1281.3986</c:v>
                </c:pt>
                <c:pt idx="35">
                  <c:v>1309.0962</c:v>
                </c:pt>
                <c:pt idx="36">
                  <c:v>1316.1598</c:v>
                </c:pt>
                <c:pt idx="37">
                  <c:v>1322.4665</c:v>
                </c:pt>
                <c:pt idx="38">
                  <c:v>1324.7782</c:v>
                </c:pt>
                <c:pt idx="39">
                  <c:v>1289.4405</c:v>
                </c:pt>
                <c:pt idx="40">
                  <c:v>1308.8448</c:v>
                </c:pt>
                <c:pt idx="41">
                  <c:v>1339.8055</c:v>
                </c:pt>
                <c:pt idx="42">
                  <c:v>1325.9513</c:v>
                </c:pt>
                <c:pt idx="43">
                  <c:v>1333.1331</c:v>
                </c:pt>
                <c:pt idx="44">
                  <c:v>1260.8184</c:v>
                </c:pt>
                <c:pt idx="45">
                  <c:v>1223.2409</c:v>
                </c:pt>
                <c:pt idx="46">
                  <c:v>1217.7941</c:v>
                </c:pt>
                <c:pt idx="47">
                  <c:v>1192.622</c:v>
                </c:pt>
                <c:pt idx="48">
                  <c:v>1174.2261</c:v>
                </c:pt>
                <c:pt idx="49">
                  <c:v>1182.3423</c:v>
                </c:pt>
                <c:pt idx="50">
                  <c:v>1141.208</c:v>
                </c:pt>
                <c:pt idx="51">
                  <c:v>1122.0959</c:v>
                </c:pt>
              </c:numCache>
            </c:numRef>
          </c:xVal>
          <c:yVal>
            <c:numRef>
              <c:f>Sheet1!$B$109:$B$160</c:f>
              <c:numCache>
                <c:formatCode>General</c:formatCode>
                <c:ptCount val="52"/>
                <c:pt idx="0">
                  <c:v>0.1716145157867434</c:v>
                </c:pt>
                <c:pt idx="1">
                  <c:v>0.1661502808634978</c:v>
                </c:pt>
                <c:pt idx="2">
                  <c:v>0.18067380756202508</c:v>
                </c:pt>
                <c:pt idx="3">
                  <c:v>0.19882521685677207</c:v>
                </c:pt>
                <c:pt idx="4">
                  <c:v>0.1848120336150279</c:v>
                </c:pt>
                <c:pt idx="5">
                  <c:v>0.18082550255739266</c:v>
                </c:pt>
                <c:pt idx="6">
                  <c:v>0.19015362006016212</c:v>
                </c:pt>
                <c:pt idx="7">
                  <c:v>0.18795970084677668</c:v>
                </c:pt>
                <c:pt idx="8">
                  <c:v>0.17522325276695513</c:v>
                </c:pt>
                <c:pt idx="9">
                  <c:v>0.1817523077407769</c:v>
                </c:pt>
                <c:pt idx="10">
                  <c:v>0.18482863670982483</c:v>
                </c:pt>
                <c:pt idx="11">
                  <c:v>0.18591581342434585</c:v>
                </c:pt>
                <c:pt idx="12">
                  <c:v>0.1834210115110162</c:v>
                </c:pt>
                <c:pt idx="13">
                  <c:v>0.1836296256512165</c:v>
                </c:pt>
                <c:pt idx="14">
                  <c:v>0.18245235106972943</c:v>
                </c:pt>
                <c:pt idx="15">
                  <c:v>0.17627245508982037</c:v>
                </c:pt>
                <c:pt idx="16">
                  <c:v>0.1644259162758381</c:v>
                </c:pt>
                <c:pt idx="17">
                  <c:v>0.16807000772143987</c:v>
                </c:pt>
                <c:pt idx="18">
                  <c:v>0.16940687704410856</c:v>
                </c:pt>
                <c:pt idx="19">
                  <c:v>0.16784071012663382</c:v>
                </c:pt>
                <c:pt idx="20">
                  <c:v>0.1592128008510261</c:v>
                </c:pt>
                <c:pt idx="21">
                  <c:v>0.16145722210369107</c:v>
                </c:pt>
                <c:pt idx="22">
                  <c:v>0.15810005798935103</c:v>
                </c:pt>
                <c:pt idx="23">
                  <c:v>0.16801841297676456</c:v>
                </c:pt>
                <c:pt idx="24">
                  <c:v>0.17601908515714138</c:v>
                </c:pt>
                <c:pt idx="25">
                  <c:v>0.17434335744194898</c:v>
                </c:pt>
                <c:pt idx="26">
                  <c:v>0.16634789351253554</c:v>
                </c:pt>
                <c:pt idx="27">
                  <c:v>0.1669260344196265</c:v>
                </c:pt>
                <c:pt idx="28">
                  <c:v>0.1566812521036688</c:v>
                </c:pt>
                <c:pt idx="29">
                  <c:v>0.15670862146161882</c:v>
                </c:pt>
                <c:pt idx="30">
                  <c:v>0.16222233728576607</c:v>
                </c:pt>
                <c:pt idx="31">
                  <c:v>0.15708944492378488</c:v>
                </c:pt>
                <c:pt idx="32">
                  <c:v>0.15403147265364703</c:v>
                </c:pt>
                <c:pt idx="33">
                  <c:v>0.17030083208875613</c:v>
                </c:pt>
                <c:pt idx="34">
                  <c:v>0.18597880911275855</c:v>
                </c:pt>
                <c:pt idx="35">
                  <c:v>0.17824761452270657</c:v>
                </c:pt>
                <c:pt idx="36">
                  <c:v>0.1669918512567428</c:v>
                </c:pt>
                <c:pt idx="37">
                  <c:v>0.15851999162654384</c:v>
                </c:pt>
                <c:pt idx="38">
                  <c:v>0.15798270893371757</c:v>
                </c:pt>
                <c:pt idx="39">
                  <c:v>0.1716724769822115</c:v>
                </c:pt>
                <c:pt idx="40">
                  <c:v>0.16473622098867957</c:v>
                </c:pt>
                <c:pt idx="41">
                  <c:v>0.1681137848342016</c:v>
                </c:pt>
                <c:pt idx="42">
                  <c:v>0.16534101298226367</c:v>
                </c:pt>
                <c:pt idx="43">
                  <c:v>0.16415849786000275</c:v>
                </c:pt>
                <c:pt idx="44">
                  <c:v>0.16430774552477587</c:v>
                </c:pt>
                <c:pt idx="45">
                  <c:v>0.17869234489733105</c:v>
                </c:pt>
                <c:pt idx="46">
                  <c:v>0.19009744535159337</c:v>
                </c:pt>
                <c:pt idx="47">
                  <c:v>0.19124657297404105</c:v>
                </c:pt>
                <c:pt idx="48">
                  <c:v>0.1888858870716349</c:v>
                </c:pt>
                <c:pt idx="49">
                  <c:v>0.19384323040380047</c:v>
                </c:pt>
                <c:pt idx="50">
                  <c:v>0.20206915954780297</c:v>
                </c:pt>
                <c:pt idx="51">
                  <c:v>0.19199653904391087</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886.4782872302735</c:v>
                </c:pt>
              </c:numCache>
            </c:numRef>
          </c:xVal>
          <c:yVal>
            <c:numRef>
              <c:f>Sheet1!$B$163:$B$164</c:f>
              <c:numCache>
                <c:formatCode>General</c:formatCode>
                <c:ptCount val="2"/>
                <c:pt idx="0">
                  <c:v>0.22366113162471526</c:v>
                </c:pt>
                <c:pt idx="1">
                  <c:v>0.22366113162471526</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886.4782872302735</c:v>
                </c:pt>
                <c:pt idx="1">
                  <c:v>886.4782872302735</c:v>
                </c:pt>
              </c:numCache>
            </c:numRef>
          </c:xVal>
          <c:yVal>
            <c:numRef>
              <c:f>Sheet1!$B$167:$B$168</c:f>
              <c:numCache>
                <c:formatCode>General</c:formatCode>
                <c:ptCount val="2"/>
                <c:pt idx="0">
                  <c:v>0.223661131624715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091.7132612413186</c:v>
                </c:pt>
              </c:numCache>
            </c:numRef>
          </c:xVal>
          <c:yVal>
            <c:numRef>
              <c:f>Sheet1!$B$171:$B$172</c:f>
              <c:numCache>
                <c:formatCode>General</c:formatCode>
                <c:ptCount val="2"/>
                <c:pt idx="0">
                  <c:v>0.1941987040167873</c:v>
                </c:pt>
                <c:pt idx="1">
                  <c:v>0.1941987040167873</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091.7132612413186</c:v>
                </c:pt>
                <c:pt idx="1">
                  <c:v>1091.7132612413186</c:v>
                </c:pt>
              </c:numCache>
            </c:numRef>
          </c:xVal>
          <c:yVal>
            <c:numRef>
              <c:f>Sheet1!$B$175:$B$176</c:f>
              <c:numCache>
                <c:formatCode>General</c:formatCode>
                <c:ptCount val="2"/>
                <c:pt idx="0">
                  <c:v>0.194198704016787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193.2142899135702</c:v>
                </c:pt>
              </c:numCache>
            </c:numRef>
          </c:xVal>
          <c:yVal>
            <c:numRef>
              <c:f>Sheet1!$B$179:$B$180</c:f>
              <c:numCache>
                <c:formatCode>General</c:formatCode>
                <c:ptCount val="2"/>
                <c:pt idx="0">
                  <c:v>0.1796277629586346</c:v>
                </c:pt>
                <c:pt idx="1">
                  <c:v>0.1796277629586346</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193.2142899135702</c:v>
                </c:pt>
                <c:pt idx="1">
                  <c:v>1193.2142899135702</c:v>
                </c:pt>
              </c:numCache>
            </c:numRef>
          </c:xVal>
          <c:yVal>
            <c:numRef>
              <c:f>Sheet1!$B$183:$B$184</c:f>
              <c:numCache>
                <c:formatCode>General</c:formatCode>
                <c:ptCount val="2"/>
                <c:pt idx="0">
                  <c:v>0.179627762958634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19.1581</c:v>
                </c:pt>
                <c:pt idx="1">
                  <c:v>1244.4935</c:v>
                </c:pt>
                <c:pt idx="2">
                  <c:v>1232.9451</c:v>
                </c:pt>
                <c:pt idx="3">
                  <c:v>1207.2554</c:v>
                </c:pt>
                <c:pt idx="4">
                  <c:v>1218.2851</c:v>
                </c:pt>
                <c:pt idx="5">
                  <c:v>1220.6369</c:v>
                </c:pt>
                <c:pt idx="6">
                  <c:v>1147.6067</c:v>
                </c:pt>
                <c:pt idx="7">
                  <c:v>1167.6036</c:v>
                </c:pt>
                <c:pt idx="8">
                  <c:v>1228.6224</c:v>
                </c:pt>
                <c:pt idx="9">
                  <c:v>1162.8742</c:v>
                </c:pt>
                <c:pt idx="10">
                  <c:v>1188.8372</c:v>
                </c:pt>
                <c:pt idx="11">
                  <c:v>1103.031</c:v>
                </c:pt>
                <c:pt idx="12">
                  <c:v>1145.8063</c:v>
                </c:pt>
                <c:pt idx="13">
                  <c:v>1171.8821</c:v>
                </c:pt>
                <c:pt idx="14">
                  <c:v>1177.0546</c:v>
                </c:pt>
                <c:pt idx="15">
                  <c:v>1188.0573</c:v>
                </c:pt>
                <c:pt idx="16">
                  <c:v>1232.2679</c:v>
                </c:pt>
                <c:pt idx="17">
                  <c:v>1186.695</c:v>
                </c:pt>
                <c:pt idx="18">
                  <c:v>1210.0574</c:v>
                </c:pt>
                <c:pt idx="19">
                  <c:v>1300.9369</c:v>
                </c:pt>
                <c:pt idx="20">
                  <c:v>1282.5496</c:v>
                </c:pt>
                <c:pt idx="21">
                  <c:v>1214.9475</c:v>
                </c:pt>
                <c:pt idx="22">
                  <c:v>1239.5719</c:v>
                </c:pt>
                <c:pt idx="23">
                  <c:v>1226.5287</c:v>
                </c:pt>
                <c:pt idx="24">
                  <c:v>1212.2118</c:v>
                </c:pt>
                <c:pt idx="25">
                  <c:v>1205.8278</c:v>
                </c:pt>
                <c:pt idx="26">
                  <c:v>1221.7157</c:v>
                </c:pt>
                <c:pt idx="27">
                  <c:v>1224.3866</c:v>
                </c:pt>
                <c:pt idx="28">
                  <c:v>1268.7454</c:v>
                </c:pt>
                <c:pt idx="29">
                  <c:v>1264.8765</c:v>
                </c:pt>
                <c:pt idx="30">
                  <c:v>1266.4469</c:v>
                </c:pt>
                <c:pt idx="31">
                  <c:v>1249.6481</c:v>
                </c:pt>
                <c:pt idx="32">
                  <c:v>1273.629</c:v>
                </c:pt>
                <c:pt idx="33">
                  <c:v>1269.1453</c:v>
                </c:pt>
                <c:pt idx="34">
                  <c:v>1281.3986</c:v>
                </c:pt>
                <c:pt idx="35">
                  <c:v>1309.0962</c:v>
                </c:pt>
                <c:pt idx="36">
                  <c:v>1316.1598</c:v>
                </c:pt>
                <c:pt idx="37">
                  <c:v>1322.4665</c:v>
                </c:pt>
                <c:pt idx="38">
                  <c:v>1324.7782</c:v>
                </c:pt>
                <c:pt idx="39">
                  <c:v>1289.4405</c:v>
                </c:pt>
                <c:pt idx="40">
                  <c:v>1308.8448</c:v>
                </c:pt>
                <c:pt idx="41">
                  <c:v>1339.8055</c:v>
                </c:pt>
                <c:pt idx="42">
                  <c:v>1325.9513</c:v>
                </c:pt>
                <c:pt idx="43">
                  <c:v>1333.1331</c:v>
                </c:pt>
                <c:pt idx="44">
                  <c:v>1260.8184</c:v>
                </c:pt>
                <c:pt idx="45">
                  <c:v>1223.2409</c:v>
                </c:pt>
                <c:pt idx="46">
                  <c:v>1217.7941</c:v>
                </c:pt>
                <c:pt idx="47">
                  <c:v>1192.622</c:v>
                </c:pt>
                <c:pt idx="48">
                  <c:v>1174.2261</c:v>
                </c:pt>
                <c:pt idx="49">
                  <c:v>1182.3423</c:v>
                </c:pt>
                <c:pt idx="50">
                  <c:v>1141.208</c:v>
                </c:pt>
                <c:pt idx="51">
                  <c:v>1122.0959</c:v>
                </c:pt>
                <c:pt idx="52">
                  <c:v>1091.7132612413186</c:v>
                </c:pt>
                <c:pt idx="53">
                  <c:v>886.4782872302735</c:v>
                </c:pt>
                <c:pt idx="54">
                  <c:v>1193.2142899135702</c:v>
                </c:pt>
              </c:numCache>
            </c:numRef>
          </c:xVal>
          <c:yVal>
            <c:numRef>
              <c:f>Sheet1!$B$187:$B$241</c:f>
              <c:numCache>
                <c:formatCode>General</c:formatCode>
                <c:ptCount val="55"/>
                <c:pt idx="0">
                  <c:v>0.17590340929898918</c:v>
                </c:pt>
                <c:pt idx="1">
                  <c:v>0.17226639571485353</c:v>
                </c:pt>
                <c:pt idx="2">
                  <c:v>0.17392422182673778</c:v>
                </c:pt>
                <c:pt idx="3">
                  <c:v>0.17761209681084578</c:v>
                </c:pt>
                <c:pt idx="4">
                  <c:v>0.1760287324775832</c:v>
                </c:pt>
                <c:pt idx="5">
                  <c:v>0.17569112073483706</c:v>
                </c:pt>
                <c:pt idx="6">
                  <c:v>0.1861749429540301</c:v>
                </c:pt>
                <c:pt idx="7">
                  <c:v>0.18330429568023132</c:v>
                </c:pt>
                <c:pt idx="8">
                  <c:v>0.17454476535950786</c:v>
                </c:pt>
                <c:pt idx="9">
                  <c:v>0.18398322287478167</c:v>
                </c:pt>
                <c:pt idx="10">
                  <c:v>0.1802561144144884</c:v>
                </c:pt>
                <c:pt idx="11">
                  <c:v>0.19257399039051643</c:v>
                </c:pt>
                <c:pt idx="12">
                  <c:v>0.18643339868225536</c:v>
                </c:pt>
                <c:pt idx="13">
                  <c:v>0.18269009726142896</c:v>
                </c:pt>
                <c:pt idx="14">
                  <c:v>0.1819475610171249</c:v>
                </c:pt>
                <c:pt idx="15">
                  <c:v>0.180368072658458</c:v>
                </c:pt>
                <c:pt idx="16">
                  <c:v>0.17402143701178227</c:v>
                </c:pt>
                <c:pt idx="17">
                  <c:v>0.1805636371100028</c:v>
                </c:pt>
                <c:pt idx="18">
                  <c:v>0.17720985678058188</c:v>
                </c:pt>
                <c:pt idx="19">
                  <c:v>0.16416368517802357</c:v>
                </c:pt>
                <c:pt idx="20">
                  <c:v>0.16680326694407333</c:v>
                </c:pt>
                <c:pt idx="21">
                  <c:v>0.17650786035945643</c:v>
                </c:pt>
                <c:pt idx="22">
                  <c:v>0.17297291410634064</c:v>
                </c:pt>
                <c:pt idx="23">
                  <c:v>0.17484532565621147</c:v>
                </c:pt>
                <c:pt idx="24">
                  <c:v>0.17690058271876868</c:v>
                </c:pt>
                <c:pt idx="25">
                  <c:v>0.17781703537872756</c:v>
                </c:pt>
                <c:pt idx="26">
                  <c:v>0.17553625401654702</c:v>
                </c:pt>
                <c:pt idx="27">
                  <c:v>0.1751528339962644</c:v>
                </c:pt>
                <c:pt idx="28">
                  <c:v>0.1687849235556968</c:v>
                </c:pt>
                <c:pt idx="29">
                  <c:v>0.16934032200433635</c:v>
                </c:pt>
                <c:pt idx="30">
                  <c:v>0.16911488383748183</c:v>
                </c:pt>
                <c:pt idx="31">
                  <c:v>0.17152642909815177</c:v>
                </c:pt>
                <c:pt idx="32">
                  <c:v>0.16808386023956662</c:v>
                </c:pt>
                <c:pt idx="33">
                  <c:v>0.1687275160652962</c:v>
                </c:pt>
                <c:pt idx="34">
                  <c:v>0.16696849830554147</c:v>
                </c:pt>
                <c:pt idx="35">
                  <c:v>0.1629923800106673</c:v>
                </c:pt>
                <c:pt idx="36">
                  <c:v>0.16197836763458875</c:v>
                </c:pt>
                <c:pt idx="37">
                  <c:v>0.1610730117463427</c:v>
                </c:pt>
                <c:pt idx="38">
                  <c:v>0.16074115654364426</c:v>
                </c:pt>
                <c:pt idx="39">
                  <c:v>0.16581404644994574</c:v>
                </c:pt>
                <c:pt idx="40">
                  <c:v>0.1630284696407916</c:v>
                </c:pt>
                <c:pt idx="41">
                  <c:v>0.158583918282836</c:v>
                </c:pt>
                <c:pt idx="42">
                  <c:v>0.16057275262519222</c:v>
                </c:pt>
                <c:pt idx="43">
                  <c:v>0.1595417720936614</c:v>
                </c:pt>
                <c:pt idx="44">
                  <c:v>0.16992288098606864</c:v>
                </c:pt>
                <c:pt idx="45">
                  <c:v>0.17531730451827487</c:v>
                </c:pt>
                <c:pt idx="46">
                  <c:v>0.1760992177933789</c:v>
                </c:pt>
                <c:pt idx="47">
                  <c:v>0.17971278890894135</c:v>
                </c:pt>
                <c:pt idx="48">
                  <c:v>0.18235360524467714</c:v>
                </c:pt>
                <c:pt idx="49">
                  <c:v>0.18118848728121253</c:v>
                </c:pt>
                <c:pt idx="50">
                  <c:v>0.18709350586682438</c:v>
                </c:pt>
                <c:pt idx="51">
                  <c:v>0.18983713601757626</c:v>
                </c:pt>
                <c:pt idx="52">
                  <c:v>0.1941987040167873</c:v>
                </c:pt>
                <c:pt idx="53">
                  <c:v>0.22366113162471526</c:v>
                </c:pt>
                <c:pt idx="54">
                  <c:v>0.179627762958634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8.0"/>
          <c:min val="65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020657699980694"/>
          <c:min val="0.113141702635687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7609118024695493</c:v>
                </c:pt>
                <c:pt idx="1">
                  <c:v>0.7163282100858942</c:v>
                </c:pt>
                <c:pt idx="2">
                  <c:v>0.705595459339295</c:v>
                </c:pt>
                <c:pt idx="3">
                  <c:v>0.7136558086718279</c:v>
                </c:pt>
                <c:pt idx="4">
                  <c:v>0.7142074789638536</c:v>
                </c:pt>
                <c:pt idx="5">
                  <c:v>0.7280092029609502</c:v>
                </c:pt>
                <c:pt idx="6">
                  <c:v>0.6855613482420886</c:v>
                </c:pt>
                <c:pt idx="7">
                  <c:v>0.6845888971112929</c:v>
                </c:pt>
                <c:pt idx="8">
                  <c:v>0.6939672274242183</c:v>
                </c:pt>
                <c:pt idx="9">
                  <c:v>0.710336864379408</c:v>
                </c:pt>
                <c:pt idx="10">
                  <c:v>0.7122996734156637</c:v>
                </c:pt>
                <c:pt idx="11">
                  <c:v>0.7255497001822472</c:v>
                </c:pt>
                <c:pt idx="12">
                  <c:v>0.7323451591403972</c:v>
                </c:pt>
                <c:pt idx="13">
                  <c:v>0.7214825870639383</c:v>
                </c:pt>
                <c:pt idx="14">
                  <c:v>0.7486650088517147</c:v>
                </c:pt>
                <c:pt idx="15">
                  <c:v>0.7423398264910104</c:v>
                </c:pt>
                <c:pt idx="16">
                  <c:v>0.7586628029455009</c:v>
                </c:pt>
                <c:pt idx="17">
                  <c:v>0.7265930510340493</c:v>
                </c:pt>
                <c:pt idx="18">
                  <c:v>0.7620246692700955</c:v>
                </c:pt>
                <c:pt idx="19">
                  <c:v>0.7609425950020267</c:v>
                </c:pt>
                <c:pt idx="20">
                  <c:v>0.7783692358995039</c:v>
                </c:pt>
                <c:pt idx="21">
                  <c:v>0.7082418841017284</c:v>
                </c:pt>
                <c:pt idx="22">
                  <c:v>0.6638130692906169</c:v>
                </c:pt>
                <c:pt idx="23">
                  <c:v>0.6436074833669098</c:v>
                </c:pt>
                <c:pt idx="24">
                  <c:v>0.6381627806970647</c:v>
                </c:pt>
                <c:pt idx="25">
                  <c:v>0.6015964471360544</c:v>
                </c:pt>
                <c:pt idx="26">
                  <c:v>0.6223028271872288</c:v>
                </c:pt>
                <c:pt idx="27">
                  <c:v>0.6560001878796191</c:v>
                </c:pt>
                <c:pt idx="28">
                  <c:v>0.617593734756457</c:v>
                </c:pt>
                <c:pt idx="29">
                  <c:v>0.5815249645760721</c:v>
                </c:pt>
                <c:pt idx="30">
                  <c:v>0.5980928993575919</c:v>
                </c:pt>
                <c:pt idx="31">
                  <c:v>0.59657839457234</c:v>
                </c:pt>
                <c:pt idx="32">
                  <c:v>0.5805921584627668</c:v>
                </c:pt>
                <c:pt idx="33">
                  <c:v>0.5526991045750981</c:v>
                </c:pt>
                <c:pt idx="34">
                  <c:v>0.6227401437071649</c:v>
                </c:pt>
                <c:pt idx="35">
                  <c:v>0.6854077789332509</c:v>
                </c:pt>
                <c:pt idx="36">
                  <c:v>0.7269643694828724</c:v>
                </c:pt>
                <c:pt idx="37">
                  <c:v>0.6934710418154282</c:v>
                </c:pt>
                <c:pt idx="38">
                  <c:v>0.7260798884720837</c:v>
                </c:pt>
                <c:pt idx="39">
                  <c:v>0.7403954355672451</c:v>
                </c:pt>
                <c:pt idx="40">
                  <c:v>0.7501655635023404</c:v>
                </c:pt>
                <c:pt idx="41">
                  <c:v>0.735743369624929</c:v>
                </c:pt>
                <c:pt idx="42">
                  <c:v>0.7627224378883337</c:v>
                </c:pt>
                <c:pt idx="43">
                  <c:v>0.7875202208778969</c:v>
                </c:pt>
                <c:pt idx="44">
                  <c:v>0.7203011090892979</c:v>
                </c:pt>
                <c:pt idx="45">
                  <c:v>0.708295088613196</c:v>
                </c:pt>
                <c:pt idx="46">
                  <c:v>0.7112081143433557</c:v>
                </c:pt>
                <c:pt idx="47">
                  <c:v>0.7057162356473233</c:v>
                </c:pt>
                <c:pt idx="48">
                  <c:v>0.708941689622749</c:v>
                </c:pt>
                <c:pt idx="49">
                  <c:v>0.7101780214281215</c:v>
                </c:pt>
                <c:pt idx="50">
                  <c:v>0.6731231994544521</c:v>
                </c:pt>
                <c:pt idx="51">
                  <c:v>0.6808750103249718</c:v>
                </c:pt>
                <c:pt idx="52">
                  <c:v>0.680670769017217</c:v>
                </c:pt>
                <c:pt idx="53">
                  <c:v>0.674224200751478</c:v>
                </c:pt>
                <c:pt idx="54">
                  <c:v>0.6526804292884189</c:v>
                </c:pt>
                <c:pt idx="55">
                  <c:v>0.6748275289902498</c:v>
                </c:pt>
                <c:pt idx="56">
                  <c:v>0.6483049175162673</c:v>
                </c:pt>
                <c:pt idx="57">
                  <c:v>0.6659024268634557</c:v>
                </c:pt>
                <c:pt idx="58">
                  <c:v>0.6384511520984724</c:v>
                </c:pt>
                <c:pt idx="59">
                  <c:v>0.6675777047671801</c:v>
                </c:pt>
                <c:pt idx="60">
                  <c:v>0.6776031024084156</c:v>
                </c:pt>
                <c:pt idx="61">
                  <c:v>0.6743018313345849</c:v>
                </c:pt>
                <c:pt idx="62">
                  <c:v>0.6656505298953963</c:v>
                </c:pt>
                <c:pt idx="63">
                  <c:v>0.677969109672246</c:v>
                </c:pt>
                <c:pt idx="64">
                  <c:v>0.7315277404939762</c:v>
                </c:pt>
                <c:pt idx="65">
                  <c:v>0.7211680976873944</c:v>
                </c:pt>
                <c:pt idx="66">
                  <c:v>0.7268903605280141</c:v>
                </c:pt>
                <c:pt idx="67">
                  <c:v>0.7179380813176557</c:v>
                </c:pt>
                <c:pt idx="68">
                  <c:v>0.7183758044935689</c:v>
                </c:pt>
                <c:pt idx="69">
                  <c:v>0.713755087970347</c:v>
                </c:pt>
                <c:pt idx="70">
                  <c:v>0.6948180103777903</c:v>
                </c:pt>
                <c:pt idx="71">
                  <c:v>0.6575775928724598</c:v>
                </c:pt>
                <c:pt idx="72">
                  <c:v>0.6797423026121219</c:v>
                </c:pt>
                <c:pt idx="73">
                  <c:v>0.6900395067694539</c:v>
                </c:pt>
                <c:pt idx="74">
                  <c:v>0.635502822475777</c:v>
                </c:pt>
                <c:pt idx="75">
                  <c:v>0.6398225550031004</c:v>
                </c:pt>
                <c:pt idx="76">
                  <c:v>0.6447302250363598</c:v>
                </c:pt>
                <c:pt idx="77">
                  <c:v>0.6132107374271331</c:v>
                </c:pt>
                <c:pt idx="78">
                  <c:v>0.6513765526975256</c:v>
                </c:pt>
                <c:pt idx="79">
                  <c:v>0.4772647337116249</c:v>
                </c:pt>
                <c:pt idx="80">
                  <c:v>0.481480861534107</c:v>
                </c:pt>
                <c:pt idx="81">
                  <c:v>0.5991202030541747</c:v>
                </c:pt>
                <c:pt idx="82">
                  <c:v>0.6038686258402417</c:v>
                </c:pt>
                <c:pt idx="83">
                  <c:v>0.6196858162086277</c:v>
                </c:pt>
                <c:pt idx="84">
                  <c:v>0.6132570162045915</c:v>
                </c:pt>
                <c:pt idx="85">
                  <c:v>0.6263134814729864</c:v>
                </c:pt>
                <c:pt idx="86">
                  <c:v>0.6959467191330301</c:v>
                </c:pt>
                <c:pt idx="87">
                  <c:v>0.7283634603262984</c:v>
                </c:pt>
                <c:pt idx="88">
                  <c:v>0.6929372346647465</c:v>
                </c:pt>
                <c:pt idx="89">
                  <c:v>0.6458188760934785</c:v>
                </c:pt>
                <c:pt idx="90">
                  <c:v>0.6570226509426407</c:v>
                </c:pt>
                <c:pt idx="91">
                  <c:v>0.7073099459259491</c:v>
                </c:pt>
                <c:pt idx="92">
                  <c:v>0.7136058760439732</c:v>
                </c:pt>
                <c:pt idx="93">
                  <c:v>0.7302536821016484</c:v>
                </c:pt>
                <c:pt idx="94">
                  <c:v>0.741482378558882</c:v>
                </c:pt>
                <c:pt idx="95">
                  <c:v>0.7779995549500035</c:v>
                </c:pt>
                <c:pt idx="96">
                  <c:v>0.7528781626870029</c:v>
                </c:pt>
                <c:pt idx="97">
                  <c:v>0.8137832942499479</c:v>
                </c:pt>
                <c:pt idx="98">
                  <c:v>0.8212027964348598</c:v>
                </c:pt>
                <c:pt idx="99">
                  <c:v>0.8042978753714253</c:v>
                </c:pt>
                <c:pt idx="100">
                  <c:v>0.796480614541105</c:v>
                </c:pt>
                <c:pt idx="101">
                  <c:v>0.769357186307233</c:v>
                </c:pt>
                <c:pt idx="102">
                  <c:v>0.7556304070207761</c:v>
                </c:pt>
                <c:pt idx="103">
                  <c:v>0.7004703184652596</c:v>
                </c:pt>
                <c:pt idx="104">
                  <c:v>0.7310545144910264</c:v>
                </c:pt>
              </c:numCache>
            </c:numRef>
          </c:xVal>
          <c:yVal>
            <c:numRef>
              <c:f>Sheet1!$B$2:$B$106</c:f>
              <c:numCache>
                <c:formatCode>General</c:formatCode>
                <c:ptCount val="105"/>
                <c:pt idx="0">
                  <c:v>0.2104353132628153</c:v>
                </c:pt>
                <c:pt idx="1">
                  <c:v>0.20936580711843744</c:v>
                </c:pt>
                <c:pt idx="2">
                  <c:v>0.1951964281132124</c:v>
                </c:pt>
                <c:pt idx="3">
                  <c:v>0.19280869846054474</c:v>
                </c:pt>
                <c:pt idx="4">
                  <c:v>0.18282521947326416</c:v>
                </c:pt>
                <c:pt idx="5">
                  <c:v>0.17047857630868335</c:v>
                </c:pt>
                <c:pt idx="6">
                  <c:v>0.18916918720638393</c:v>
                </c:pt>
                <c:pt idx="7">
                  <c:v>0.17825161479741633</c:v>
                </c:pt>
                <c:pt idx="8">
                  <c:v>0.18962759881197166</c:v>
                </c:pt>
                <c:pt idx="9">
                  <c:v>0.19161017956950885</c:v>
                </c:pt>
                <c:pt idx="10">
                  <c:v>0.20396039603960395</c:v>
                </c:pt>
                <c:pt idx="11">
                  <c:v>0.19627861497756816</c:v>
                </c:pt>
                <c:pt idx="12">
                  <c:v>0.2090399978766887</c:v>
                </c:pt>
                <c:pt idx="13">
                  <c:v>0.21092146331861766</c:v>
                </c:pt>
                <c:pt idx="14">
                  <c:v>0.20510605089328018</c:v>
                </c:pt>
                <c:pt idx="15">
                  <c:v>0.1997352308456065</c:v>
                </c:pt>
                <c:pt idx="16">
                  <c:v>0.19186415376002985</c:v>
                </c:pt>
                <c:pt idx="17">
                  <c:v>0.1788574697613599</c:v>
                </c:pt>
                <c:pt idx="18">
                  <c:v>0.17484202391235168</c:v>
                </c:pt>
                <c:pt idx="19">
                  <c:v>0.14627434377646062</c:v>
                </c:pt>
                <c:pt idx="20">
                  <c:v>0.16460617710017036</c:v>
                </c:pt>
                <c:pt idx="21">
                  <c:v>0.16421682397235546</c:v>
                </c:pt>
                <c:pt idx="22">
                  <c:v>0.1563387690689111</c:v>
                </c:pt>
                <c:pt idx="23">
                  <c:v>0.16137669437161822</c:v>
                </c:pt>
                <c:pt idx="24">
                  <c:v>0.1694212735091446</c:v>
                </c:pt>
                <c:pt idx="25">
                  <c:v>0.16806624679262888</c:v>
                </c:pt>
                <c:pt idx="26">
                  <c:v>0.1631565194669454</c:v>
                </c:pt>
                <c:pt idx="27">
                  <c:v>0.1644426607805759</c:v>
                </c:pt>
                <c:pt idx="28">
                  <c:v>0.15609481390467414</c:v>
                </c:pt>
                <c:pt idx="29">
                  <c:v>0.1752558726723477</c:v>
                </c:pt>
                <c:pt idx="30">
                  <c:v>0.1553217462070569</c:v>
                </c:pt>
                <c:pt idx="31">
                  <c:v>0.1508401503426929</c:v>
                </c:pt>
                <c:pt idx="32">
                  <c:v>0.15629783511917777</c:v>
                </c:pt>
                <c:pt idx="33">
                  <c:v>0.17726337898744146</c:v>
                </c:pt>
                <c:pt idx="34">
                  <c:v>0.17377744012155624</c:v>
                </c:pt>
                <c:pt idx="35">
                  <c:v>0.192956416138173</c:v>
                </c:pt>
                <c:pt idx="36">
                  <c:v>0.15716185884113393</c:v>
                </c:pt>
                <c:pt idx="37">
                  <c:v>0.1293269230769231</c:v>
                </c:pt>
                <c:pt idx="38">
                  <c:v>0.12359550561797752</c:v>
                </c:pt>
                <c:pt idx="39">
                  <c:v>0.12543323139653414</c:v>
                </c:pt>
                <c:pt idx="40">
                  <c:v>0.13096507313744724</c:v>
                </c:pt>
                <c:pt idx="41">
                  <c:v>0.1206642745422762</c:v>
                </c:pt>
                <c:pt idx="42">
                  <c:v>0.12140700364691581</c:v>
                </c:pt>
                <c:pt idx="43">
                  <c:v>0.13300094800042134</c:v>
                </c:pt>
                <c:pt idx="44">
                  <c:v>0.14654865576726858</c:v>
                </c:pt>
                <c:pt idx="45">
                  <c:v>0.16731320255675555</c:v>
                </c:pt>
                <c:pt idx="46">
                  <c:v>0.1764019187502653</c:v>
                </c:pt>
                <c:pt idx="47">
                  <c:v>0.1716687701884613</c:v>
                </c:pt>
                <c:pt idx="48">
                  <c:v>0.19153248508050896</c:v>
                </c:pt>
                <c:pt idx="49">
                  <c:v>0.22133119486768243</c:v>
                </c:pt>
                <c:pt idx="50">
                  <c:v>0.1820144482271859</c:v>
                </c:pt>
                <c:pt idx="51">
                  <c:v>0.1671104696015728</c:v>
                </c:pt>
                <c:pt idx="52">
                  <c:v>0.1823606150687568</c:v>
                </c:pt>
                <c:pt idx="53">
                  <c:v>0.165633727889347</c:v>
                </c:pt>
                <c:pt idx="54">
                  <c:v>0.15941820276497695</c:v>
                </c:pt>
                <c:pt idx="55">
                  <c:v>0.1570630582190758</c:v>
                </c:pt>
                <c:pt idx="56">
                  <c:v>0.17284360475644353</c:v>
                </c:pt>
                <c:pt idx="57">
                  <c:v>0.16677579027315823</c:v>
                </c:pt>
                <c:pt idx="58">
                  <c:v>0.1796740265733926</c:v>
                </c:pt>
                <c:pt idx="59">
                  <c:v>0.1848297810782139</c:v>
                </c:pt>
                <c:pt idx="60">
                  <c:v>0.1911824354113394</c:v>
                </c:pt>
                <c:pt idx="61">
                  <c:v>0.1938988416432837</c:v>
                </c:pt>
                <c:pt idx="62">
                  <c:v>0.1979644124767882</c:v>
                </c:pt>
                <c:pt idx="63">
                  <c:v>0.21463529815824497</c:v>
                </c:pt>
                <c:pt idx="64">
                  <c:v>0.20133358416421063</c:v>
                </c:pt>
                <c:pt idx="65">
                  <c:v>0.1998720672560711</c:v>
                </c:pt>
                <c:pt idx="66">
                  <c:v>0.19738022185508614</c:v>
                </c:pt>
                <c:pt idx="67">
                  <c:v>0.193351193375548</c:v>
                </c:pt>
                <c:pt idx="68">
                  <c:v>0.1764843521497514</c:v>
                </c:pt>
                <c:pt idx="69">
                  <c:v>0.15879038317054847</c:v>
                </c:pt>
                <c:pt idx="70">
                  <c:v>0.14821472630502977</c:v>
                </c:pt>
                <c:pt idx="71">
                  <c:v>0.15706529935153069</c:v>
                </c:pt>
                <c:pt idx="72">
                  <c:v>0.15622956774427896</c:v>
                </c:pt>
                <c:pt idx="73">
                  <c:v>0.16183638768184394</c:v>
                </c:pt>
                <c:pt idx="74">
                  <c:v>0.1592623335378397</c:v>
                </c:pt>
                <c:pt idx="75">
                  <c:v>0.15497225778915918</c:v>
                </c:pt>
                <c:pt idx="76">
                  <c:v>0.1459560670411472</c:v>
                </c:pt>
                <c:pt idx="77">
                  <c:v>0.15498438843386578</c:v>
                </c:pt>
                <c:pt idx="78">
                  <c:v>0.1446161907257008</c:v>
                </c:pt>
                <c:pt idx="79">
                  <c:v>0.18320854638422207</c:v>
                </c:pt>
                <c:pt idx="80">
                  <c:v>0.1774726788502158</c:v>
                </c:pt>
                <c:pt idx="81">
                  <c:v>0.1575934534557609</c:v>
                </c:pt>
                <c:pt idx="82">
                  <c:v>0.14378602039308408</c:v>
                </c:pt>
                <c:pt idx="83">
                  <c:v>0.1329802220093537</c:v>
                </c:pt>
                <c:pt idx="84">
                  <c:v>0.12998102466793168</c:v>
                </c:pt>
                <c:pt idx="85">
                  <c:v>0.1331891549741534</c:v>
                </c:pt>
                <c:pt idx="86">
                  <c:v>0.13664497698777972</c:v>
                </c:pt>
                <c:pt idx="87">
                  <c:v>0.15707769558051285</c:v>
                </c:pt>
                <c:pt idx="88">
                  <c:v>0.14278950856926428</c:v>
                </c:pt>
                <c:pt idx="89">
                  <c:v>0.12795285677683832</c:v>
                </c:pt>
                <c:pt idx="90">
                  <c:v>0.12505943889681406</c:v>
                </c:pt>
                <c:pt idx="91">
                  <c:v>0.11934383465435938</c:v>
                </c:pt>
                <c:pt idx="92">
                  <c:v>0.13114754098360656</c:v>
                </c:pt>
                <c:pt idx="93">
                  <c:v>0.11910570731512218</c:v>
                </c:pt>
                <c:pt idx="94">
                  <c:v>0.12265742556198987</c:v>
                </c:pt>
                <c:pt idx="95">
                  <c:v>0.13306545345863913</c:v>
                </c:pt>
                <c:pt idx="96">
                  <c:v>0.12835410689746618</c:v>
                </c:pt>
                <c:pt idx="97">
                  <c:v>0.13635974853526067</c:v>
                </c:pt>
                <c:pt idx="98">
                  <c:v>0.15405743754554457</c:v>
                </c:pt>
                <c:pt idx="99">
                  <c:v>0.1593022876350227</c:v>
                </c:pt>
                <c:pt idx="100">
                  <c:v>0.18337582746602418</c:v>
                </c:pt>
                <c:pt idx="101">
                  <c:v>0.15571918341904317</c:v>
                </c:pt>
                <c:pt idx="102">
                  <c:v>0.1313907284768212</c:v>
                </c:pt>
                <c:pt idx="103">
                  <c:v>0.15021106674272675</c:v>
                </c:pt>
                <c:pt idx="104">
                  <c:v>0.1544821131447587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7255217320126797</c:v>
                </c:pt>
                <c:pt idx="1">
                  <c:v>0.7009849277667394</c:v>
                </c:pt>
                <c:pt idx="2">
                  <c:v>0.7052869335174824</c:v>
                </c:pt>
                <c:pt idx="3">
                  <c:v>0.7023684438942785</c:v>
                </c:pt>
                <c:pt idx="4">
                  <c:v>0.6839701749827088</c:v>
                </c:pt>
                <c:pt idx="5">
                  <c:v>0.7229838496231125</c:v>
                </c:pt>
                <c:pt idx="6">
                  <c:v>0.7184233864455006</c:v>
                </c:pt>
                <c:pt idx="7">
                  <c:v>0.7178270368928663</c:v>
                </c:pt>
                <c:pt idx="8">
                  <c:v>0.74998133609238</c:v>
                </c:pt>
                <c:pt idx="9">
                  <c:v>0.7229761975719986</c:v>
                </c:pt>
                <c:pt idx="10">
                  <c:v>0.7399661150468702</c:v>
                </c:pt>
                <c:pt idx="11">
                  <c:v>0.7283373415041875</c:v>
                </c:pt>
                <c:pt idx="12">
                  <c:v>0.7404613042701377</c:v>
                </c:pt>
                <c:pt idx="13">
                  <c:v>0.7090721150080408</c:v>
                </c:pt>
                <c:pt idx="14">
                  <c:v>0.7174765222880396</c:v>
                </c:pt>
                <c:pt idx="15">
                  <c:v>0.7184376505899415</c:v>
                </c:pt>
                <c:pt idx="16">
                  <c:v>0.7141784451393307</c:v>
                </c:pt>
                <c:pt idx="17">
                  <c:v>0.7212352330846619</c:v>
                </c:pt>
                <c:pt idx="18">
                  <c:v>0.716576534519743</c:v>
                </c:pt>
                <c:pt idx="19">
                  <c:v>0.718056936652285</c:v>
                </c:pt>
                <c:pt idx="20">
                  <c:v>0.682272170674733</c:v>
                </c:pt>
                <c:pt idx="21">
                  <c:v>0.6703789958684885</c:v>
                </c:pt>
                <c:pt idx="22">
                  <c:v>0.6474616345217092</c:v>
                </c:pt>
                <c:pt idx="23">
                  <c:v>0.6241981988516891</c:v>
                </c:pt>
                <c:pt idx="24">
                  <c:v>0.6188416227802277</c:v>
                </c:pt>
                <c:pt idx="25">
                  <c:v>0.6423202528549552</c:v>
                </c:pt>
                <c:pt idx="26">
                  <c:v>0.6687360480799998</c:v>
                </c:pt>
                <c:pt idx="27">
                  <c:v>0.7225133488624976</c:v>
                </c:pt>
                <c:pt idx="28">
                  <c:v>0.7146731187437035</c:v>
                </c:pt>
                <c:pt idx="29">
                  <c:v>0.6778082236835343</c:v>
                </c:pt>
                <c:pt idx="30">
                  <c:v>0.6630900877175755</c:v>
                </c:pt>
                <c:pt idx="31">
                  <c:v>0.6288775372160367</c:v>
                </c:pt>
                <c:pt idx="32">
                  <c:v>0.635953598051053</c:v>
                </c:pt>
                <c:pt idx="33">
                  <c:v>0.6888145977037063</c:v>
                </c:pt>
                <c:pt idx="34">
                  <c:v>0.7331062717677422</c:v>
                </c:pt>
                <c:pt idx="35">
                  <c:v>0.6984014935839128</c:v>
                </c:pt>
                <c:pt idx="36">
                  <c:v>0.6263128901946382</c:v>
                </c:pt>
                <c:pt idx="37">
                  <c:v>0.6743485619362083</c:v>
                </c:pt>
                <c:pt idx="38">
                  <c:v>0.6353003791192053</c:v>
                </c:pt>
                <c:pt idx="39">
                  <c:v>0.6933274848936315</c:v>
                </c:pt>
                <c:pt idx="40">
                  <c:v>0.6808564721551855</c:v>
                </c:pt>
                <c:pt idx="41">
                  <c:v>0.7173558121313941</c:v>
                </c:pt>
                <c:pt idx="42">
                  <c:v>0.6853764630610316</c:v>
                </c:pt>
                <c:pt idx="43">
                  <c:v>0.7358475400694579</c:v>
                </c:pt>
                <c:pt idx="44">
                  <c:v>0.7751836402322161</c:v>
                </c:pt>
                <c:pt idx="45">
                  <c:v>0.7846377594836177</c:v>
                </c:pt>
                <c:pt idx="46">
                  <c:v>0.7646764598666883</c:v>
                </c:pt>
                <c:pt idx="47">
                  <c:v>0.7576294934051412</c:v>
                </c:pt>
                <c:pt idx="48">
                  <c:v>0.7948282384223858</c:v>
                </c:pt>
                <c:pt idx="49">
                  <c:v>0.8076475679479492</c:v>
                </c:pt>
                <c:pt idx="50">
                  <c:v>0.7546633308900459</c:v>
                </c:pt>
                <c:pt idx="51">
                  <c:v>0.7264742106660997</c:v>
                </c:pt>
              </c:numCache>
            </c:numRef>
          </c:xVal>
          <c:yVal>
            <c:numRef>
              <c:f>Sheet1!$B$109:$B$160</c:f>
              <c:numCache>
                <c:formatCode>General</c:formatCode>
                <c:ptCount val="52"/>
                <c:pt idx="0">
                  <c:v>0.15451908792944893</c:v>
                </c:pt>
                <c:pt idx="1">
                  <c:v>0.1495251769565984</c:v>
                </c:pt>
                <c:pt idx="2">
                  <c:v>0.1573056852513046</c:v>
                </c:pt>
                <c:pt idx="3">
                  <c:v>0.16114564123579903</c:v>
                </c:pt>
                <c:pt idx="4">
                  <c:v>0.14990230926767262</c:v>
                </c:pt>
                <c:pt idx="5">
                  <c:v>0.1484953015344356</c:v>
                </c:pt>
                <c:pt idx="6">
                  <c:v>0.15711038140944683</c:v>
                </c:pt>
                <c:pt idx="7">
                  <c:v>0.15121453736324866</c:v>
                </c:pt>
                <c:pt idx="8">
                  <c:v>0.15143261041961176</c:v>
                </c:pt>
                <c:pt idx="9">
                  <c:v>0.16744904067294666</c:v>
                </c:pt>
                <c:pt idx="10">
                  <c:v>0.164021325209444</c:v>
                </c:pt>
                <c:pt idx="11">
                  <c:v>0.18821387940841866</c:v>
                </c:pt>
                <c:pt idx="12">
                  <c:v>0.17435803948122297</c:v>
                </c:pt>
                <c:pt idx="13">
                  <c:v>0.16749019818465008</c:v>
                </c:pt>
                <c:pt idx="14">
                  <c:v>0.17095239485128863</c:v>
                </c:pt>
                <c:pt idx="15">
                  <c:v>0.156000499001996</c:v>
                </c:pt>
                <c:pt idx="16">
                  <c:v>0.1539690811186382</c:v>
                </c:pt>
                <c:pt idx="17">
                  <c:v>0.13196308416369454</c:v>
                </c:pt>
                <c:pt idx="18">
                  <c:v>0.12945284186334305</c:v>
                </c:pt>
                <c:pt idx="19">
                  <c:v>0.14011156806058878</c:v>
                </c:pt>
                <c:pt idx="20">
                  <c:v>0.13377066619387437</c:v>
                </c:pt>
                <c:pt idx="21">
                  <c:v>0.1418818007254107</c:v>
                </c:pt>
                <c:pt idx="22">
                  <c:v>0.13938531287890768</c:v>
                </c:pt>
                <c:pt idx="23">
                  <c:v>0.14231696624287593</c:v>
                </c:pt>
                <c:pt idx="24">
                  <c:v>0.14298309304014106</c:v>
                </c:pt>
                <c:pt idx="25">
                  <c:v>0.14905650116917724</c:v>
                </c:pt>
                <c:pt idx="26">
                  <c:v>0.13264409408115793</c:v>
                </c:pt>
                <c:pt idx="27">
                  <c:v>0.11831746612962285</c:v>
                </c:pt>
                <c:pt idx="28">
                  <c:v>0.12924941097273646</c:v>
                </c:pt>
                <c:pt idx="29">
                  <c:v>0.11934729615442018</c:v>
                </c:pt>
                <c:pt idx="30">
                  <c:v>0.1400093201470512</c:v>
                </c:pt>
                <c:pt idx="31">
                  <c:v>0.127063560540696</c:v>
                </c:pt>
                <c:pt idx="32">
                  <c:v>0.12952996053103696</c:v>
                </c:pt>
                <c:pt idx="33">
                  <c:v>0.14883720930232558</c:v>
                </c:pt>
                <c:pt idx="34">
                  <c:v>0.16986561050743035</c:v>
                </c:pt>
                <c:pt idx="35">
                  <c:v>0.16272716474640694</c:v>
                </c:pt>
                <c:pt idx="36">
                  <c:v>0.1427751635487203</c:v>
                </c:pt>
                <c:pt idx="37">
                  <c:v>0.1290035587188612</c:v>
                </c:pt>
                <c:pt idx="38">
                  <c:v>0.12835734870317003</c:v>
                </c:pt>
                <c:pt idx="39">
                  <c:v>0.14641995172968625</c:v>
                </c:pt>
                <c:pt idx="40">
                  <c:v>0.1279339131955068</c:v>
                </c:pt>
                <c:pt idx="41">
                  <c:v>0.1306540974117258</c:v>
                </c:pt>
                <c:pt idx="42">
                  <c:v>0.1257999634302432</c:v>
                </c:pt>
                <c:pt idx="43">
                  <c:v>0.12494822587325694</c:v>
                </c:pt>
                <c:pt idx="44">
                  <c:v>0.12619987893113488</c:v>
                </c:pt>
                <c:pt idx="45">
                  <c:v>0.1415380556654795</c:v>
                </c:pt>
                <c:pt idx="46">
                  <c:v>0.13360547800895445</c:v>
                </c:pt>
                <c:pt idx="47">
                  <c:v>0.13851359695704793</c:v>
                </c:pt>
                <c:pt idx="48">
                  <c:v>0.13167355930089986</c:v>
                </c:pt>
                <c:pt idx="49">
                  <c:v>0.14483610451306414</c:v>
                </c:pt>
                <c:pt idx="50">
                  <c:v>0.18246457619315565</c:v>
                </c:pt>
                <c:pt idx="51">
                  <c:v>0.161886221068570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1.2322170849573535</c:v>
                </c:pt>
              </c:numCache>
            </c:numRef>
          </c:xVal>
          <c:yVal>
            <c:numRef>
              <c:f>Sheet1!$B$163:$B$164</c:f>
              <c:numCache>
                <c:formatCode>General</c:formatCode>
                <c:ptCount val="2"/>
                <c:pt idx="0">
                  <c:v>0.19090649372808102</c:v>
                </c:pt>
                <c:pt idx="1">
                  <c:v>0.1909064937280810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1.2322170849573535</c:v>
                </c:pt>
                <c:pt idx="1">
                  <c:v>1.2322170849573535</c:v>
                </c:pt>
              </c:numCache>
            </c:numRef>
          </c:xVal>
          <c:yVal>
            <c:numRef>
              <c:f>Sheet1!$B$167:$B$168</c:f>
              <c:numCache>
                <c:formatCode>General</c:formatCode>
                <c:ptCount val="2"/>
                <c:pt idx="0">
                  <c:v>0.19090649372808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8197481953072523</c:v>
                </c:pt>
              </c:numCache>
            </c:numRef>
          </c:xVal>
          <c:yVal>
            <c:numRef>
              <c:f>Sheet1!$B$171:$B$172</c:f>
              <c:numCache>
                <c:formatCode>General</c:formatCode>
                <c:ptCount val="2"/>
                <c:pt idx="0">
                  <c:v>0.1553564937642705</c:v>
                </c:pt>
                <c:pt idx="1">
                  <c:v>0.155356493764270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8197481953072523</c:v>
                </c:pt>
                <c:pt idx="1">
                  <c:v>0.8197481953072523</c:v>
                </c:pt>
              </c:numCache>
            </c:numRef>
          </c:xVal>
          <c:yVal>
            <c:numRef>
              <c:f>Sheet1!$B$175:$B$176</c:f>
              <c:numCache>
                <c:formatCode>General</c:formatCode>
                <c:ptCount val="2"/>
                <c:pt idx="0">
                  <c:v>0.15535649376427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6384271776663102</c:v>
                </c:pt>
              </c:numCache>
            </c:numRef>
          </c:xVal>
          <c:yVal>
            <c:numRef>
              <c:f>Sheet1!$B$179:$B$180</c:f>
              <c:numCache>
                <c:formatCode>General</c:formatCode>
                <c:ptCount val="2"/>
                <c:pt idx="0">
                  <c:v>0.13972874017528658</c:v>
                </c:pt>
                <c:pt idx="1">
                  <c:v>0.1397287401752865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6384271776663102</c:v>
                </c:pt>
                <c:pt idx="1">
                  <c:v>0.6384271776663102</c:v>
                </c:pt>
              </c:numCache>
            </c:numRef>
          </c:xVal>
          <c:yVal>
            <c:numRef>
              <c:f>Sheet1!$B$183:$B$184</c:f>
              <c:numCache>
                <c:formatCode>General</c:formatCode>
                <c:ptCount val="2"/>
                <c:pt idx="0">
                  <c:v>0.1397287401752865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7255217320126797</c:v>
                </c:pt>
                <c:pt idx="1">
                  <c:v>0.7009849277667394</c:v>
                </c:pt>
                <c:pt idx="2">
                  <c:v>0.7052869335174824</c:v>
                </c:pt>
                <c:pt idx="3">
                  <c:v>0.7023684438942785</c:v>
                </c:pt>
                <c:pt idx="4">
                  <c:v>0.6839701749827088</c:v>
                </c:pt>
                <c:pt idx="5">
                  <c:v>0.7229838496231125</c:v>
                </c:pt>
                <c:pt idx="6">
                  <c:v>0.7184233864455006</c:v>
                </c:pt>
                <c:pt idx="7">
                  <c:v>0.7178270368928663</c:v>
                </c:pt>
                <c:pt idx="8">
                  <c:v>0.74998133609238</c:v>
                </c:pt>
                <c:pt idx="9">
                  <c:v>0.7229761975719986</c:v>
                </c:pt>
                <c:pt idx="10">
                  <c:v>0.7399661150468702</c:v>
                </c:pt>
                <c:pt idx="11">
                  <c:v>0.7283373415041875</c:v>
                </c:pt>
                <c:pt idx="12">
                  <c:v>0.7404613042701377</c:v>
                </c:pt>
                <c:pt idx="13">
                  <c:v>0.7090721150080408</c:v>
                </c:pt>
                <c:pt idx="14">
                  <c:v>0.7174765222880396</c:v>
                </c:pt>
                <c:pt idx="15">
                  <c:v>0.7184376505899415</c:v>
                </c:pt>
                <c:pt idx="16">
                  <c:v>0.7141784451393307</c:v>
                </c:pt>
                <c:pt idx="17">
                  <c:v>0.7212352330846619</c:v>
                </c:pt>
                <c:pt idx="18">
                  <c:v>0.716576534519743</c:v>
                </c:pt>
                <c:pt idx="19">
                  <c:v>0.718056936652285</c:v>
                </c:pt>
                <c:pt idx="20">
                  <c:v>0.682272170674733</c:v>
                </c:pt>
                <c:pt idx="21">
                  <c:v>0.6703789958684885</c:v>
                </c:pt>
                <c:pt idx="22">
                  <c:v>0.6474616345217092</c:v>
                </c:pt>
                <c:pt idx="23">
                  <c:v>0.6241981988516891</c:v>
                </c:pt>
                <c:pt idx="24">
                  <c:v>0.6188416227802277</c:v>
                </c:pt>
                <c:pt idx="25">
                  <c:v>0.6423202528549552</c:v>
                </c:pt>
                <c:pt idx="26">
                  <c:v>0.6687360480799998</c:v>
                </c:pt>
                <c:pt idx="27">
                  <c:v>0.7225133488624976</c:v>
                </c:pt>
                <c:pt idx="28">
                  <c:v>0.7146731187437035</c:v>
                </c:pt>
                <c:pt idx="29">
                  <c:v>0.6778082236835343</c:v>
                </c:pt>
                <c:pt idx="30">
                  <c:v>0.6630900877175755</c:v>
                </c:pt>
                <c:pt idx="31">
                  <c:v>0.6288775372160367</c:v>
                </c:pt>
                <c:pt idx="32">
                  <c:v>0.635953598051053</c:v>
                </c:pt>
                <c:pt idx="33">
                  <c:v>0.6888145977037063</c:v>
                </c:pt>
                <c:pt idx="34">
                  <c:v>0.7331062717677422</c:v>
                </c:pt>
                <c:pt idx="35">
                  <c:v>0.6984014935839128</c:v>
                </c:pt>
                <c:pt idx="36">
                  <c:v>0.6263128901946382</c:v>
                </c:pt>
                <c:pt idx="37">
                  <c:v>0.6743485619362083</c:v>
                </c:pt>
                <c:pt idx="38">
                  <c:v>0.6353003791192053</c:v>
                </c:pt>
                <c:pt idx="39">
                  <c:v>0.6933274848936315</c:v>
                </c:pt>
                <c:pt idx="40">
                  <c:v>0.6808564721551855</c:v>
                </c:pt>
                <c:pt idx="41">
                  <c:v>0.7173558121313941</c:v>
                </c:pt>
                <c:pt idx="42">
                  <c:v>0.6853764630610316</c:v>
                </c:pt>
                <c:pt idx="43">
                  <c:v>0.7358475400694579</c:v>
                </c:pt>
                <c:pt idx="44">
                  <c:v>0.7751836402322161</c:v>
                </c:pt>
                <c:pt idx="45">
                  <c:v>0.7846377594836177</c:v>
                </c:pt>
                <c:pt idx="46">
                  <c:v>0.7646764598666883</c:v>
                </c:pt>
                <c:pt idx="47">
                  <c:v>0.7576294934051412</c:v>
                </c:pt>
                <c:pt idx="48">
                  <c:v>0.7948282384223858</c:v>
                </c:pt>
                <c:pt idx="49">
                  <c:v>0.8076475679479492</c:v>
                </c:pt>
                <c:pt idx="50">
                  <c:v>0.7546633308900459</c:v>
                </c:pt>
                <c:pt idx="51">
                  <c:v>0.7264742106660997</c:v>
                </c:pt>
                <c:pt idx="52">
                  <c:v>0.8197481953072523</c:v>
                </c:pt>
                <c:pt idx="53">
                  <c:v>1.2322170849573535</c:v>
                </c:pt>
                <c:pt idx="54">
                  <c:v>0.6384271776663102</c:v>
                </c:pt>
              </c:numCache>
            </c:numRef>
          </c:xVal>
          <c:yVal>
            <c:numRef>
              <c:f>Sheet1!$B$187:$B$241</c:f>
              <c:numCache>
                <c:formatCode>General</c:formatCode>
                <c:ptCount val="55"/>
                <c:pt idx="0">
                  <c:v>0.14723527335040204</c:v>
                </c:pt>
                <c:pt idx="1">
                  <c:v>0.14512048745516723</c:v>
                </c:pt>
                <c:pt idx="2">
                  <c:v>0.14549127009628463</c:v>
                </c:pt>
                <c:pt idx="3">
                  <c:v>0.14523973038358706</c:v>
                </c:pt>
                <c:pt idx="4">
                  <c:v>0.14365401452585214</c:v>
                </c:pt>
                <c:pt idx="5">
                  <c:v>0.14701653753511718</c:v>
                </c:pt>
                <c:pt idx="6">
                  <c:v>0.14662347888301713</c:v>
                </c:pt>
                <c:pt idx="7">
                  <c:v>0.1465720805179367</c:v>
                </c:pt>
                <c:pt idx="8">
                  <c:v>0.1493434054931336</c:v>
                </c:pt>
                <c:pt idx="9">
                  <c:v>0.14701587801769986</c:v>
                </c:pt>
                <c:pt idx="10">
                  <c:v>0.14848021043348325</c:v>
                </c:pt>
                <c:pt idx="11">
                  <c:v>0.14747794599755884</c:v>
                </c:pt>
                <c:pt idx="12">
                  <c:v>0.14852288995989354</c:v>
                </c:pt>
                <c:pt idx="13">
                  <c:v>0.1458175085235428</c:v>
                </c:pt>
                <c:pt idx="14">
                  <c:v>0.14654187025359536</c:v>
                </c:pt>
                <c:pt idx="15">
                  <c:v>0.14662470828563895</c:v>
                </c:pt>
                <c:pt idx="16">
                  <c:v>0.14625761453041414</c:v>
                </c:pt>
                <c:pt idx="17">
                  <c:v>0.14686582721625804</c:v>
                </c:pt>
                <c:pt idx="18">
                  <c:v>0.1464643018213252</c:v>
                </c:pt>
                <c:pt idx="19">
                  <c:v>0.14659189519158625</c:v>
                </c:pt>
                <c:pt idx="20">
                  <c:v>0.1435076663900247</c:v>
                </c:pt>
                <c:pt idx="21">
                  <c:v>0.14248261365382867</c:v>
                </c:pt>
                <c:pt idx="22">
                  <c:v>0.1405074048187096</c:v>
                </c:pt>
                <c:pt idx="23">
                  <c:v>0.138502368419652</c:v>
                </c:pt>
                <c:pt idx="24">
                  <c:v>0.13804069413602751</c:v>
                </c:pt>
                <c:pt idx="25">
                  <c:v>0.1400642777789416</c:v>
                </c:pt>
                <c:pt idx="26">
                  <c:v>0.14234101074682914</c:v>
                </c:pt>
                <c:pt idx="27">
                  <c:v>0.14697598586578514</c:v>
                </c:pt>
                <c:pt idx="28">
                  <c:v>0.14630024961649896</c:v>
                </c:pt>
                <c:pt idx="29">
                  <c:v>0.14312292630572362</c:v>
                </c:pt>
                <c:pt idx="30">
                  <c:v>0.14185439491781446</c:v>
                </c:pt>
                <c:pt idx="31">
                  <c:v>0.13890567272418836</c:v>
                </c:pt>
                <c:pt idx="32">
                  <c:v>0.13951554650798365</c:v>
                </c:pt>
                <c:pt idx="33">
                  <c:v>0.1440715471734713</c:v>
                </c:pt>
                <c:pt idx="34">
                  <c:v>0.14788897207722415</c:v>
                </c:pt>
                <c:pt idx="35">
                  <c:v>0.14489782560742423</c:v>
                </c:pt>
                <c:pt idx="36">
                  <c:v>0.1386846301102951</c:v>
                </c:pt>
                <c:pt idx="37">
                  <c:v>0.14282474387771898</c:v>
                </c:pt>
                <c:pt idx="38">
                  <c:v>0.1394592466667441</c:v>
                </c:pt>
                <c:pt idx="39">
                  <c:v>0.14446050533119953</c:v>
                </c:pt>
                <c:pt idx="40">
                  <c:v>0.14338564971535778</c:v>
                </c:pt>
                <c:pt idx="41">
                  <c:v>0.14653146644818832</c:v>
                </c:pt>
                <c:pt idx="42">
                  <c:v>0.14377522013041516</c:v>
                </c:pt>
                <c:pt idx="43">
                  <c:v>0.14812523738224984</c:v>
                </c:pt>
                <c:pt idx="44">
                  <c:v>0.1515155497050744</c:v>
                </c:pt>
                <c:pt idx="45">
                  <c:v>0.15233038434467666</c:v>
                </c:pt>
                <c:pt idx="46">
                  <c:v>0.15060995349894324</c:v>
                </c:pt>
                <c:pt idx="47">
                  <c:v>0.15000258731027022</c:v>
                </c:pt>
                <c:pt idx="48">
                  <c:v>0.1532086845874216</c:v>
                </c:pt>
                <c:pt idx="49">
                  <c:v>0.15431356104139232</c:v>
                </c:pt>
                <c:pt idx="50">
                  <c:v>0.1497469387511904</c:v>
                </c:pt>
                <c:pt idx="51">
                  <c:v>0.14731736588378885</c:v>
                </c:pt>
                <c:pt idx="52">
                  <c:v>0.1553564937642705</c:v>
                </c:pt>
                <c:pt idx="53">
                  <c:v>0.19090649372808102</c:v>
                </c:pt>
                <c:pt idx="54">
                  <c:v>0.1397287401752865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55974338412189"/>
          <c:min val="0.0946539729036982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872.2873</c:v>
                </c:pt>
                <c:pt idx="1">
                  <c:v>974.8146</c:v>
                </c:pt>
                <c:pt idx="2">
                  <c:v>1009.843</c:v>
                </c:pt>
                <c:pt idx="3">
                  <c:v>1028.4172</c:v>
                </c:pt>
                <c:pt idx="4">
                  <c:v>1029.7472</c:v>
                </c:pt>
                <c:pt idx="5">
                  <c:v>1038.6931</c:v>
                </c:pt>
                <c:pt idx="6">
                  <c:v>1005.2735</c:v>
                </c:pt>
                <c:pt idx="7">
                  <c:v>1025.658</c:v>
                </c:pt>
                <c:pt idx="8">
                  <c:v>1014.4635</c:v>
                </c:pt>
                <c:pt idx="9">
                  <c:v>984.1789</c:v>
                </c:pt>
                <c:pt idx="10">
                  <c:v>966.8416</c:v>
                </c:pt>
                <c:pt idx="11">
                  <c:v>987.0812</c:v>
                </c:pt>
                <c:pt idx="12">
                  <c:v>980.5964</c:v>
                </c:pt>
                <c:pt idx="13">
                  <c:v>972.298</c:v>
                </c:pt>
                <c:pt idx="14">
                  <c:v>1024.5843</c:v>
                </c:pt>
                <c:pt idx="15">
                  <c:v>1021.2441</c:v>
                </c:pt>
                <c:pt idx="16">
                  <c:v>1060.9479</c:v>
                </c:pt>
                <c:pt idx="17">
                  <c:v>1040.8933</c:v>
                </c:pt>
                <c:pt idx="18">
                  <c:v>1101.4316</c:v>
                </c:pt>
                <c:pt idx="19">
                  <c:v>1108.5796</c:v>
                </c:pt>
                <c:pt idx="20">
                  <c:v>1108.2622</c:v>
                </c:pt>
                <c:pt idx="21">
                  <c:v>1108.1297</c:v>
                </c:pt>
                <c:pt idx="22">
                  <c:v>1095.8183</c:v>
                </c:pt>
                <c:pt idx="23">
                  <c:v>1078.1905</c:v>
                </c:pt>
                <c:pt idx="24">
                  <c:v>1088.3722</c:v>
                </c:pt>
                <c:pt idx="25">
                  <c:v>1048.203</c:v>
                </c:pt>
                <c:pt idx="26">
                  <c:v>1075.5551</c:v>
                </c:pt>
                <c:pt idx="27">
                  <c:v>1131.2779</c:v>
                </c:pt>
                <c:pt idx="28">
                  <c:v>1089.8563</c:v>
                </c:pt>
                <c:pt idx="29">
                  <c:v>1002.7813</c:v>
                </c:pt>
                <c:pt idx="30">
                  <c:v>1040.2253</c:v>
                </c:pt>
                <c:pt idx="31">
                  <c:v>1035.9483</c:v>
                </c:pt>
                <c:pt idx="32">
                  <c:v>1023.1375</c:v>
                </c:pt>
                <c:pt idx="33">
                  <c:v>961.9561</c:v>
                </c:pt>
                <c:pt idx="34">
                  <c:v>1036.1498</c:v>
                </c:pt>
                <c:pt idx="35">
                  <c:v>1066.676</c:v>
                </c:pt>
                <c:pt idx="36">
                  <c:v>1172.338</c:v>
                </c:pt>
                <c:pt idx="37">
                  <c:v>1168.4175</c:v>
                </c:pt>
                <c:pt idx="38">
                  <c:v>1214.1444</c:v>
                </c:pt>
                <c:pt idx="39">
                  <c:v>1238.2702</c:v>
                </c:pt>
                <c:pt idx="40">
                  <c:v>1266.41</c:v>
                </c:pt>
                <c:pt idx="41">
                  <c:v>1280.9089</c:v>
                </c:pt>
                <c:pt idx="42">
                  <c:v>1317.1437</c:v>
                </c:pt>
                <c:pt idx="43">
                  <c:v>1345.386</c:v>
                </c:pt>
                <c:pt idx="44">
                  <c:v>1168.0343</c:v>
                </c:pt>
                <c:pt idx="45">
                  <c:v>1134.5861</c:v>
                </c:pt>
                <c:pt idx="46">
                  <c:v>1107.3622</c:v>
                </c:pt>
                <c:pt idx="47">
                  <c:v>1088.3397</c:v>
                </c:pt>
                <c:pt idx="48">
                  <c:v>1072.3698</c:v>
                </c:pt>
                <c:pt idx="49">
                  <c:v>1034.8761</c:v>
                </c:pt>
                <c:pt idx="50">
                  <c:v>1047.4876</c:v>
                </c:pt>
                <c:pt idx="51">
                  <c:v>1074.8952</c:v>
                </c:pt>
                <c:pt idx="52">
                  <c:v>1067.0342</c:v>
                </c:pt>
                <c:pt idx="53">
                  <c:v>1175.4004</c:v>
                </c:pt>
                <c:pt idx="54">
                  <c:v>1169.3527</c:v>
                </c:pt>
                <c:pt idx="55">
                  <c:v>1218.8749</c:v>
                </c:pt>
                <c:pt idx="56">
                  <c:v>1192.5897</c:v>
                </c:pt>
                <c:pt idx="57">
                  <c:v>1199.3229</c:v>
                </c:pt>
                <c:pt idx="58">
                  <c:v>1166.6559</c:v>
                </c:pt>
                <c:pt idx="59">
                  <c:v>1158.4297</c:v>
                </c:pt>
                <c:pt idx="60">
                  <c:v>1184.8412</c:v>
                </c:pt>
                <c:pt idx="61">
                  <c:v>1163.1625</c:v>
                </c:pt>
                <c:pt idx="62">
                  <c:v>1122.7847</c:v>
                </c:pt>
                <c:pt idx="63">
                  <c:v>1143.7606</c:v>
                </c:pt>
                <c:pt idx="64">
                  <c:v>1159.791</c:v>
                </c:pt>
                <c:pt idx="65">
                  <c:v>1126.0592</c:v>
                </c:pt>
                <c:pt idx="66">
                  <c:v>1144.4196</c:v>
                </c:pt>
                <c:pt idx="67">
                  <c:v>1123.3883</c:v>
                </c:pt>
                <c:pt idx="68">
                  <c:v>1119.53</c:v>
                </c:pt>
                <c:pt idx="69">
                  <c:v>1140.4296</c:v>
                </c:pt>
                <c:pt idx="70">
                  <c:v>1125.9118</c:v>
                </c:pt>
                <c:pt idx="71">
                  <c:v>1147.5211</c:v>
                </c:pt>
                <c:pt idx="72">
                  <c:v>1200.2097</c:v>
                </c:pt>
                <c:pt idx="73">
                  <c:v>1219.9904</c:v>
                </c:pt>
                <c:pt idx="74">
                  <c:v>1156.535</c:v>
                </c:pt>
                <c:pt idx="75">
                  <c:v>1173.1096</c:v>
                </c:pt>
                <c:pt idx="76">
                  <c:v>1158.8285</c:v>
                </c:pt>
                <c:pt idx="77">
                  <c:v>1099.788</c:v>
                </c:pt>
                <c:pt idx="78">
                  <c:v>1185.15</c:v>
                </c:pt>
                <c:pt idx="79">
                  <c:v>869.9457</c:v>
                </c:pt>
                <c:pt idx="80">
                  <c:v>860.0657</c:v>
                </c:pt>
                <c:pt idx="81">
                  <c:v>1047.4902</c:v>
                </c:pt>
                <c:pt idx="82">
                  <c:v>1061.5598</c:v>
                </c:pt>
                <c:pt idx="83">
                  <c:v>1095.0504</c:v>
                </c:pt>
                <c:pt idx="84">
                  <c:v>1091.7007</c:v>
                </c:pt>
                <c:pt idx="85">
                  <c:v>1118.4574</c:v>
                </c:pt>
                <c:pt idx="86">
                  <c:v>1209.6632</c:v>
                </c:pt>
                <c:pt idx="87">
                  <c:v>1234.3443</c:v>
                </c:pt>
                <c:pt idx="88">
                  <c:v>1242.7241</c:v>
                </c:pt>
                <c:pt idx="89">
                  <c:v>1200.0669</c:v>
                </c:pt>
                <c:pt idx="90">
                  <c:v>1237.9561</c:v>
                </c:pt>
                <c:pt idx="91">
                  <c:v>1272.2123</c:v>
                </c:pt>
                <c:pt idx="92">
                  <c:v>1260.3089</c:v>
                </c:pt>
                <c:pt idx="93">
                  <c:v>1301.7424</c:v>
                </c:pt>
                <c:pt idx="94">
                  <c:v>1288.9335</c:v>
                </c:pt>
                <c:pt idx="95">
                  <c:v>1294.6556</c:v>
                </c:pt>
                <c:pt idx="96">
                  <c:v>1213.2673</c:v>
                </c:pt>
                <c:pt idx="97">
                  <c:v>1239.8987</c:v>
                </c:pt>
                <c:pt idx="98">
                  <c:v>1220.4183</c:v>
                </c:pt>
                <c:pt idx="99">
                  <c:v>1178.8639</c:v>
                </c:pt>
                <c:pt idx="100">
                  <c:v>1160.521</c:v>
                </c:pt>
                <c:pt idx="101">
                  <c:v>1220.4967</c:v>
                </c:pt>
                <c:pt idx="102">
                  <c:v>1252.7527</c:v>
                </c:pt>
                <c:pt idx="103">
                  <c:v>1121.6468</c:v>
                </c:pt>
                <c:pt idx="104">
                  <c:v>1208.1548</c:v>
                </c:pt>
              </c:numCache>
            </c:numRef>
          </c:xVal>
          <c:yVal>
            <c:numRef>
              <c:f>Sheet1!$B$2:$B$106</c:f>
              <c:numCache>
                <c:formatCode>General</c:formatCode>
                <c:ptCount val="105"/>
                <c:pt idx="0">
                  <c:v>0.2104353132628153</c:v>
                </c:pt>
                <c:pt idx="1">
                  <c:v>0.20936580711843744</c:v>
                </c:pt>
                <c:pt idx="2">
                  <c:v>0.1951964281132124</c:v>
                </c:pt>
                <c:pt idx="3">
                  <c:v>0.19280869846054474</c:v>
                </c:pt>
                <c:pt idx="4">
                  <c:v>0.18282521947326416</c:v>
                </c:pt>
                <c:pt idx="5">
                  <c:v>0.17047857630868335</c:v>
                </c:pt>
                <c:pt idx="6">
                  <c:v>0.18916918720638393</c:v>
                </c:pt>
                <c:pt idx="7">
                  <c:v>0.17825161479741633</c:v>
                </c:pt>
                <c:pt idx="8">
                  <c:v>0.18962759881197166</c:v>
                </c:pt>
                <c:pt idx="9">
                  <c:v>0.19161017956950885</c:v>
                </c:pt>
                <c:pt idx="10">
                  <c:v>0.20396039603960395</c:v>
                </c:pt>
                <c:pt idx="11">
                  <c:v>0.19627861497756816</c:v>
                </c:pt>
                <c:pt idx="12">
                  <c:v>0.2090399978766887</c:v>
                </c:pt>
                <c:pt idx="13">
                  <c:v>0.21092146331861766</c:v>
                </c:pt>
                <c:pt idx="14">
                  <c:v>0.20510605089328018</c:v>
                </c:pt>
                <c:pt idx="15">
                  <c:v>0.1997352308456065</c:v>
                </c:pt>
                <c:pt idx="16">
                  <c:v>0.19186415376002985</c:v>
                </c:pt>
                <c:pt idx="17">
                  <c:v>0.1788574697613599</c:v>
                </c:pt>
                <c:pt idx="18">
                  <c:v>0.17484202391235168</c:v>
                </c:pt>
                <c:pt idx="19">
                  <c:v>0.14627434377646062</c:v>
                </c:pt>
                <c:pt idx="20">
                  <c:v>0.16460617710017036</c:v>
                </c:pt>
                <c:pt idx="21">
                  <c:v>0.16421682397235546</c:v>
                </c:pt>
                <c:pt idx="22">
                  <c:v>0.1563387690689111</c:v>
                </c:pt>
                <c:pt idx="23">
                  <c:v>0.16137669437161822</c:v>
                </c:pt>
                <c:pt idx="24">
                  <c:v>0.1694212735091446</c:v>
                </c:pt>
                <c:pt idx="25">
                  <c:v>0.16806624679262888</c:v>
                </c:pt>
                <c:pt idx="26">
                  <c:v>0.1631565194669454</c:v>
                </c:pt>
                <c:pt idx="27">
                  <c:v>0.1644426607805759</c:v>
                </c:pt>
                <c:pt idx="28">
                  <c:v>0.15609481390467414</c:v>
                </c:pt>
                <c:pt idx="29">
                  <c:v>0.1752558726723477</c:v>
                </c:pt>
                <c:pt idx="30">
                  <c:v>0.1553217462070569</c:v>
                </c:pt>
                <c:pt idx="31">
                  <c:v>0.1508401503426929</c:v>
                </c:pt>
                <c:pt idx="32">
                  <c:v>0.15629783511917777</c:v>
                </c:pt>
                <c:pt idx="33">
                  <c:v>0.17726337898744146</c:v>
                </c:pt>
                <c:pt idx="34">
                  <c:v>0.17377744012155624</c:v>
                </c:pt>
                <c:pt idx="35">
                  <c:v>0.192956416138173</c:v>
                </c:pt>
                <c:pt idx="36">
                  <c:v>0.15716185884113393</c:v>
                </c:pt>
                <c:pt idx="37">
                  <c:v>0.1293269230769231</c:v>
                </c:pt>
                <c:pt idx="38">
                  <c:v>0.12359550561797752</c:v>
                </c:pt>
                <c:pt idx="39">
                  <c:v>0.12543323139653414</c:v>
                </c:pt>
                <c:pt idx="40">
                  <c:v>0.13096507313744724</c:v>
                </c:pt>
                <c:pt idx="41">
                  <c:v>0.1206642745422762</c:v>
                </c:pt>
                <c:pt idx="42">
                  <c:v>0.12140700364691581</c:v>
                </c:pt>
                <c:pt idx="43">
                  <c:v>0.13300094800042134</c:v>
                </c:pt>
                <c:pt idx="44">
                  <c:v>0.14654865576726858</c:v>
                </c:pt>
                <c:pt idx="45">
                  <c:v>0.16731320255675555</c:v>
                </c:pt>
                <c:pt idx="46">
                  <c:v>0.1764019187502653</c:v>
                </c:pt>
                <c:pt idx="47">
                  <c:v>0.1716687701884613</c:v>
                </c:pt>
                <c:pt idx="48">
                  <c:v>0.19153248508050896</c:v>
                </c:pt>
                <c:pt idx="49">
                  <c:v>0.22133119486768243</c:v>
                </c:pt>
                <c:pt idx="50">
                  <c:v>0.1820144482271859</c:v>
                </c:pt>
                <c:pt idx="51">
                  <c:v>0.1671104696015728</c:v>
                </c:pt>
                <c:pt idx="52">
                  <c:v>0.1823606150687568</c:v>
                </c:pt>
                <c:pt idx="53">
                  <c:v>0.165633727889347</c:v>
                </c:pt>
                <c:pt idx="54">
                  <c:v>0.15941820276497695</c:v>
                </c:pt>
                <c:pt idx="55">
                  <c:v>0.1570630582190758</c:v>
                </c:pt>
                <c:pt idx="56">
                  <c:v>0.17284360475644353</c:v>
                </c:pt>
                <c:pt idx="57">
                  <c:v>0.16677579027315823</c:v>
                </c:pt>
                <c:pt idx="58">
                  <c:v>0.1796740265733926</c:v>
                </c:pt>
                <c:pt idx="59">
                  <c:v>0.1848297810782139</c:v>
                </c:pt>
                <c:pt idx="60">
                  <c:v>0.1911824354113394</c:v>
                </c:pt>
                <c:pt idx="61">
                  <c:v>0.1938988416432837</c:v>
                </c:pt>
                <c:pt idx="62">
                  <c:v>0.1979644124767882</c:v>
                </c:pt>
                <c:pt idx="63">
                  <c:v>0.21463529815824497</c:v>
                </c:pt>
                <c:pt idx="64">
                  <c:v>0.20133358416421063</c:v>
                </c:pt>
                <c:pt idx="65">
                  <c:v>0.1998720672560711</c:v>
                </c:pt>
                <c:pt idx="66">
                  <c:v>0.19738022185508614</c:v>
                </c:pt>
                <c:pt idx="67">
                  <c:v>0.193351193375548</c:v>
                </c:pt>
                <c:pt idx="68">
                  <c:v>0.1764843521497514</c:v>
                </c:pt>
                <c:pt idx="69">
                  <c:v>0.15879038317054847</c:v>
                </c:pt>
                <c:pt idx="70">
                  <c:v>0.14821472630502977</c:v>
                </c:pt>
                <c:pt idx="71">
                  <c:v>0.15706529935153069</c:v>
                </c:pt>
                <c:pt idx="72">
                  <c:v>0.15622956774427896</c:v>
                </c:pt>
                <c:pt idx="73">
                  <c:v>0.16183638768184394</c:v>
                </c:pt>
                <c:pt idx="74">
                  <c:v>0.1592623335378397</c:v>
                </c:pt>
                <c:pt idx="75">
                  <c:v>0.15497225778915918</c:v>
                </c:pt>
                <c:pt idx="76">
                  <c:v>0.1459560670411472</c:v>
                </c:pt>
                <c:pt idx="77">
                  <c:v>0.15498438843386578</c:v>
                </c:pt>
                <c:pt idx="78">
                  <c:v>0.1446161907257008</c:v>
                </c:pt>
                <c:pt idx="79">
                  <c:v>0.18320854638422207</c:v>
                </c:pt>
                <c:pt idx="80">
                  <c:v>0.1774726788502158</c:v>
                </c:pt>
                <c:pt idx="81">
                  <c:v>0.1575934534557609</c:v>
                </c:pt>
                <c:pt idx="82">
                  <c:v>0.14378602039308408</c:v>
                </c:pt>
                <c:pt idx="83">
                  <c:v>0.1329802220093537</c:v>
                </c:pt>
                <c:pt idx="84">
                  <c:v>0.12998102466793168</c:v>
                </c:pt>
                <c:pt idx="85">
                  <c:v>0.1331891549741534</c:v>
                </c:pt>
                <c:pt idx="86">
                  <c:v>0.13664497698777972</c:v>
                </c:pt>
                <c:pt idx="87">
                  <c:v>0.15707769558051285</c:v>
                </c:pt>
                <c:pt idx="88">
                  <c:v>0.14278950856926428</c:v>
                </c:pt>
                <c:pt idx="89">
                  <c:v>0.12795285677683832</c:v>
                </c:pt>
                <c:pt idx="90">
                  <c:v>0.12505943889681406</c:v>
                </c:pt>
                <c:pt idx="91">
                  <c:v>0.11934383465435938</c:v>
                </c:pt>
                <c:pt idx="92">
                  <c:v>0.13114754098360656</c:v>
                </c:pt>
                <c:pt idx="93">
                  <c:v>0.11910570731512218</c:v>
                </c:pt>
                <c:pt idx="94">
                  <c:v>0.12265742556198987</c:v>
                </c:pt>
                <c:pt idx="95">
                  <c:v>0.13306545345863913</c:v>
                </c:pt>
                <c:pt idx="96">
                  <c:v>0.12835410689746618</c:v>
                </c:pt>
                <c:pt idx="97">
                  <c:v>0.13635974853526067</c:v>
                </c:pt>
                <c:pt idx="98">
                  <c:v>0.15405743754554457</c:v>
                </c:pt>
                <c:pt idx="99">
                  <c:v>0.1593022876350227</c:v>
                </c:pt>
                <c:pt idx="100">
                  <c:v>0.18337582746602418</c:v>
                </c:pt>
                <c:pt idx="101">
                  <c:v>0.15571918341904317</c:v>
                </c:pt>
                <c:pt idx="102">
                  <c:v>0.1313907284768212</c:v>
                </c:pt>
                <c:pt idx="103">
                  <c:v>0.15021106674272675</c:v>
                </c:pt>
                <c:pt idx="104">
                  <c:v>0.15448211314475874</c:v>
                </c:pt>
              </c:numCache>
            </c:numRef>
          </c:yVal>
          <c:smooth val="0"/>
          <c:extLst>
            <c:ext xmlns:c16="http://schemas.microsoft.com/office/drawing/2014/chart" uri="{C3380CC4-5D6E-409C-BE32-E72D297353CC}">
              <c16:uniqueId val="{00000000-F32D-48B7-BC20-E66FC6253BAD}"/>
            </c:ext>
          </c:extLst>
        </c:ser>
        <c:ser>
          <c:idx val="1"/>
          <c:order val="1"/>
          <c:tx>
            <c:strRef>
              <c:f>Sheet1!$B$10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9:$A$160</c:f>
              <c:numCache>
                <c:formatCode>General</c:formatCode>
                <c:ptCount val="52"/>
                <c:pt idx="0">
                  <c:v>1261.7317</c:v>
                </c:pt>
                <c:pt idx="1">
                  <c:v>1256.7909</c:v>
                </c:pt>
                <c:pt idx="2">
                  <c:v>1251.7393</c:v>
                </c:pt>
                <c:pt idx="3">
                  <c:v>1284.1948</c:v>
                </c:pt>
                <c:pt idx="4">
                  <c:v>1277.3643</c:v>
                </c:pt>
                <c:pt idx="5">
                  <c:v>1282.4897</c:v>
                </c:pt>
                <c:pt idx="6">
                  <c:v>1207.1888</c:v>
                </c:pt>
                <c:pt idx="7">
                  <c:v>1242.1704</c:v>
                </c:pt>
                <c:pt idx="8">
                  <c:v>1331.0788</c:v>
                </c:pt>
                <c:pt idx="9">
                  <c:v>1257.829</c:v>
                </c:pt>
                <c:pt idx="10">
                  <c:v>1286.4968</c:v>
                </c:pt>
                <c:pt idx="11">
                  <c:v>1169.9601</c:v>
                </c:pt>
                <c:pt idx="12">
                  <c:v>1217.0901</c:v>
                </c:pt>
                <c:pt idx="13">
                  <c:v>1255.6037</c:v>
                </c:pt>
                <c:pt idx="14">
                  <c:v>1261.1765</c:v>
                </c:pt>
                <c:pt idx="15">
                  <c:v>1282.6054</c:v>
                </c:pt>
                <c:pt idx="16">
                  <c:v>1291.8069</c:v>
                </c:pt>
                <c:pt idx="17">
                  <c:v>1290.9181</c:v>
                </c:pt>
                <c:pt idx="18">
                  <c:v>1266.6664</c:v>
                </c:pt>
                <c:pt idx="19">
                  <c:v>1343.1935</c:v>
                </c:pt>
                <c:pt idx="20">
                  <c:v>1323.7416</c:v>
                </c:pt>
                <c:pt idx="21">
                  <c:v>1296.4086</c:v>
                </c:pt>
                <c:pt idx="22">
                  <c:v>1268.7069</c:v>
                </c:pt>
                <c:pt idx="23">
                  <c:v>1209.8883</c:v>
                </c:pt>
                <c:pt idx="24">
                  <c:v>1211.4266</c:v>
                </c:pt>
                <c:pt idx="25">
                  <c:v>1181.2466</c:v>
                </c:pt>
                <c:pt idx="26">
                  <c:v>1244.3609</c:v>
                </c:pt>
                <c:pt idx="27">
                  <c:v>1310.1474</c:v>
                </c:pt>
                <c:pt idx="28">
                  <c:v>1311.9759</c:v>
                </c:pt>
                <c:pt idx="29">
                  <c:v>1318.9416</c:v>
                </c:pt>
                <c:pt idx="30">
                  <c:v>1286.4016</c:v>
                </c:pt>
                <c:pt idx="31">
                  <c:v>1197.9475</c:v>
                </c:pt>
                <c:pt idx="32">
                  <c:v>1225.7107</c:v>
                </c:pt>
                <c:pt idx="33">
                  <c:v>1272.6502</c:v>
                </c:pt>
                <c:pt idx="34">
                  <c:v>1323.9043</c:v>
                </c:pt>
                <c:pt idx="35">
                  <c:v>1312.5002</c:v>
                </c:pt>
                <c:pt idx="36">
                  <c:v>1262.033</c:v>
                </c:pt>
                <c:pt idx="37">
                  <c:v>1344.8296</c:v>
                </c:pt>
                <c:pt idx="38">
                  <c:v>1297.3983</c:v>
                </c:pt>
                <c:pt idx="39">
                  <c:v>1310.9954</c:v>
                </c:pt>
                <c:pt idx="40">
                  <c:v>1343.8135</c:v>
                </c:pt>
                <c:pt idx="41">
                  <c:v>1386.8259</c:v>
                </c:pt>
                <c:pt idx="42">
                  <c:v>1388.5087</c:v>
                </c:pt>
                <c:pt idx="43">
                  <c:v>1382.4094</c:v>
                </c:pt>
                <c:pt idx="44">
                  <c:v>1318.6421</c:v>
                </c:pt>
                <c:pt idx="45">
                  <c:v>1287.7981</c:v>
                </c:pt>
                <c:pt idx="46">
                  <c:v>1292.5967</c:v>
                </c:pt>
                <c:pt idx="47">
                  <c:v>1262.942</c:v>
                </c:pt>
                <c:pt idx="48">
                  <c:v>1231.8961</c:v>
                </c:pt>
                <c:pt idx="49">
                  <c:v>1235.3904</c:v>
                </c:pt>
                <c:pt idx="50">
                  <c:v>1135.2079</c:v>
                </c:pt>
                <c:pt idx="51">
                  <c:v>1125.3148</c:v>
                </c:pt>
              </c:numCache>
            </c:numRef>
          </c:xVal>
          <c:yVal>
            <c:numRef>
              <c:f>Sheet1!$B$109:$B$160</c:f>
              <c:numCache>
                <c:formatCode>General</c:formatCode>
                <c:ptCount val="52"/>
                <c:pt idx="0">
                  <c:v>0.15451908792944893</c:v>
                </c:pt>
                <c:pt idx="1">
                  <c:v>0.1495251769565984</c:v>
                </c:pt>
                <c:pt idx="2">
                  <c:v>0.1573056852513046</c:v>
                </c:pt>
                <c:pt idx="3">
                  <c:v>0.16114564123579903</c:v>
                </c:pt>
                <c:pt idx="4">
                  <c:v>0.14990230926767262</c:v>
                </c:pt>
                <c:pt idx="5">
                  <c:v>0.1484953015344356</c:v>
                </c:pt>
                <c:pt idx="6">
                  <c:v>0.15711038140944683</c:v>
                </c:pt>
                <c:pt idx="7">
                  <c:v>0.15121453736324866</c:v>
                </c:pt>
                <c:pt idx="8">
                  <c:v>0.15143261041961176</c:v>
                </c:pt>
                <c:pt idx="9">
                  <c:v>0.16744904067294666</c:v>
                </c:pt>
                <c:pt idx="10">
                  <c:v>0.164021325209444</c:v>
                </c:pt>
                <c:pt idx="11">
                  <c:v>0.18821387940841866</c:v>
                </c:pt>
                <c:pt idx="12">
                  <c:v>0.17435803948122297</c:v>
                </c:pt>
                <c:pt idx="13">
                  <c:v>0.16749019818465008</c:v>
                </c:pt>
                <c:pt idx="14">
                  <c:v>0.17095239485128863</c:v>
                </c:pt>
                <c:pt idx="15">
                  <c:v>0.156000499001996</c:v>
                </c:pt>
                <c:pt idx="16">
                  <c:v>0.1539690811186382</c:v>
                </c:pt>
                <c:pt idx="17">
                  <c:v>0.13196308416369454</c:v>
                </c:pt>
                <c:pt idx="18">
                  <c:v>0.12945284186334305</c:v>
                </c:pt>
                <c:pt idx="19">
                  <c:v>0.14011156806058878</c:v>
                </c:pt>
                <c:pt idx="20">
                  <c:v>0.13377066619387437</c:v>
                </c:pt>
                <c:pt idx="21">
                  <c:v>0.1418818007254107</c:v>
                </c:pt>
                <c:pt idx="22">
                  <c:v>0.13938531287890768</c:v>
                </c:pt>
                <c:pt idx="23">
                  <c:v>0.14231696624287593</c:v>
                </c:pt>
                <c:pt idx="24">
                  <c:v>0.14298309304014106</c:v>
                </c:pt>
                <c:pt idx="25">
                  <c:v>0.14905650116917724</c:v>
                </c:pt>
                <c:pt idx="26">
                  <c:v>0.13264409408115793</c:v>
                </c:pt>
                <c:pt idx="27">
                  <c:v>0.11831746612962285</c:v>
                </c:pt>
                <c:pt idx="28">
                  <c:v>0.12924941097273646</c:v>
                </c:pt>
                <c:pt idx="29">
                  <c:v>0.11934729615442018</c:v>
                </c:pt>
                <c:pt idx="30">
                  <c:v>0.1400093201470512</c:v>
                </c:pt>
                <c:pt idx="31">
                  <c:v>0.127063560540696</c:v>
                </c:pt>
                <c:pt idx="32">
                  <c:v>0.12952996053103696</c:v>
                </c:pt>
                <c:pt idx="33">
                  <c:v>0.14883720930232558</c:v>
                </c:pt>
                <c:pt idx="34">
                  <c:v>0.16986561050743035</c:v>
                </c:pt>
                <c:pt idx="35">
                  <c:v>0.16272716474640694</c:v>
                </c:pt>
                <c:pt idx="36">
                  <c:v>0.1427751635487203</c:v>
                </c:pt>
                <c:pt idx="37">
                  <c:v>0.1290035587188612</c:v>
                </c:pt>
                <c:pt idx="38">
                  <c:v>0.12835734870317003</c:v>
                </c:pt>
                <c:pt idx="39">
                  <c:v>0.14641995172968625</c:v>
                </c:pt>
                <c:pt idx="40">
                  <c:v>0.1279339131955068</c:v>
                </c:pt>
                <c:pt idx="41">
                  <c:v>0.1306540974117258</c:v>
                </c:pt>
                <c:pt idx="42">
                  <c:v>0.1257999634302432</c:v>
                </c:pt>
                <c:pt idx="43">
                  <c:v>0.12494822587325694</c:v>
                </c:pt>
                <c:pt idx="44">
                  <c:v>0.12619987893113488</c:v>
                </c:pt>
                <c:pt idx="45">
                  <c:v>0.1415380556654795</c:v>
                </c:pt>
                <c:pt idx="46">
                  <c:v>0.13360547800895445</c:v>
                </c:pt>
                <c:pt idx="47">
                  <c:v>0.13851359695704793</c:v>
                </c:pt>
                <c:pt idx="48">
                  <c:v>0.13167355930089986</c:v>
                </c:pt>
                <c:pt idx="49">
                  <c:v>0.14483610451306414</c:v>
                </c:pt>
                <c:pt idx="50">
                  <c:v>0.18246457619315565</c:v>
                </c:pt>
                <c:pt idx="51">
                  <c:v>0.1618862210685702</c:v>
                </c:pt>
              </c:numCache>
            </c:numRef>
          </c:yVal>
          <c:smooth val="0"/>
          <c:extLst>
            <c:ext xmlns:c16="http://schemas.microsoft.com/office/drawing/2014/chart" uri="{C3380CC4-5D6E-409C-BE32-E72D297353CC}">
              <c16:uniqueId val="{00000002-F32D-48B7-BC20-E66FC6253BAD}"/>
            </c:ext>
          </c:extLst>
        </c:ser>
        <c:ser>
          <c:idx val="2"/>
          <c:order val="2"/>
          <c:tx>
            <c:strRef>
              <c:f>Sheet1!$B$162</c:f>
              <c:strCache>
                <c:ptCount val="1"/>
                <c:pt idx="0">
                  <c:v>Custom Linep3yQ</c:v>
                </c:pt>
              </c:strCache>
            </c:strRef>
          </c:tx>
          <c:spPr>
            <a:ln w="19050" cap="rnd">
              <a:solidFill>
                <a:srgbClr val="C00000"/>
              </a:solidFill>
              <a:prstDash val="sysDot"/>
              <a:round/>
            </a:ln>
            <a:effectLst/>
          </c:spPr>
          <c:marker>
            <c:symbol val="none"/>
          </c:marker>
          <c:xVal>
            <c:numRef>
              <c:f>Sheet1!$A$163:$A$164</c:f>
              <c:numCache>
                <c:formatCode>General</c:formatCode>
                <c:ptCount val="2"/>
                <c:pt idx="0">
                  <c:v>0</c:v>
                </c:pt>
                <c:pt idx="1">
                  <c:v>961.7151699317589</c:v>
                </c:pt>
              </c:numCache>
            </c:numRef>
          </c:xVal>
          <c:yVal>
            <c:numRef>
              <c:f>Sheet1!$B$163:$B$164</c:f>
              <c:numCache>
                <c:formatCode>General</c:formatCode>
                <c:ptCount val="2"/>
                <c:pt idx="0">
                  <c:v>0.19090649372808102</c:v>
                </c:pt>
                <c:pt idx="1">
                  <c:v>0.19090649372808102</c:v>
                </c:pt>
              </c:numCache>
            </c:numRef>
          </c:yVal>
          <c:smooth val="0"/>
          <c:extLst>
            <c:ext xmlns:c16="http://schemas.microsoft.com/office/drawing/2014/chart" uri="{C3380CC4-5D6E-409C-BE32-E72D297353CC}">
              <c16:uniqueId val="{00000003-F32D-48B7-BC20-E66FC6253BAD}"/>
            </c:ext>
          </c:extLst>
        </c:ser>
        <c:ser>
          <c:idx val="3"/>
          <c:order val="3"/>
          <c:tx>
            <c:strRef>
              <c:f>Sheet1!$B$16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7:$A$168</c:f>
              <c:numCache>
                <c:formatCode>General</c:formatCode>
                <c:ptCount val="2"/>
                <c:pt idx="0">
                  <c:v>961.7151699317589</c:v>
                </c:pt>
                <c:pt idx="1">
                  <c:v>961.7151699317589</c:v>
                </c:pt>
              </c:numCache>
            </c:numRef>
          </c:xVal>
          <c:yVal>
            <c:numRef>
              <c:f>Sheet1!$B$167:$B$168</c:f>
              <c:numCache>
                <c:formatCode>General</c:formatCode>
                <c:ptCount val="2"/>
                <c:pt idx="0">
                  <c:v>0.1909064937280810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1:$A$172</c:f>
              <c:numCache>
                <c:formatCode>General</c:formatCode>
                <c:ptCount val="2"/>
                <c:pt idx="0">
                  <c:v>0</c:v>
                </c:pt>
                <c:pt idx="1">
                  <c:v>1206.0304216105635</c:v>
                </c:pt>
              </c:numCache>
            </c:numRef>
          </c:xVal>
          <c:yVal>
            <c:numRef>
              <c:f>Sheet1!$B$171:$B$172</c:f>
              <c:numCache>
                <c:formatCode>General</c:formatCode>
                <c:ptCount val="2"/>
                <c:pt idx="0">
                  <c:v>0.1553564937642705</c:v>
                </c:pt>
                <c:pt idx="1">
                  <c:v>0.1553564937642705</c:v>
                </c:pt>
              </c:numCache>
            </c:numRef>
          </c:yVal>
          <c:smooth val="0"/>
          <c:extLst>
            <c:ext xmlns:c16="http://schemas.microsoft.com/office/drawing/2014/chart" uri="{C3380CC4-5D6E-409C-BE32-E72D297353CC}">
              <c16:uniqueId val="{0000000A-F32D-48B7-BC20-E66FC6253BAD}"/>
            </c:ext>
          </c:extLst>
        </c:ser>
        <c:ser>
          <c:idx val="5"/>
          <c:order val="5"/>
          <c:tx>
            <c:strRef>
              <c:f>Sheet1!$B$17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5:$A$176</c:f>
              <c:numCache>
                <c:formatCode>General</c:formatCode>
                <c:ptCount val="2"/>
                <c:pt idx="0">
                  <c:v>1206.0304216105635</c:v>
                </c:pt>
                <c:pt idx="1">
                  <c:v>1206.0304216105635</c:v>
                </c:pt>
              </c:numCache>
            </c:numRef>
          </c:xVal>
          <c:yVal>
            <c:numRef>
              <c:f>Sheet1!$B$175:$B$176</c:f>
              <c:numCache>
                <c:formatCode>General</c:formatCode>
                <c:ptCount val="2"/>
                <c:pt idx="0">
                  <c:v>0.15535649376427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9:$A$180</c:f>
              <c:numCache>
                <c:formatCode>General</c:formatCode>
                <c:ptCount val="2"/>
                <c:pt idx="0">
                  <c:v>0</c:v>
                </c:pt>
                <c:pt idx="1">
                  <c:v>1313.4312248497681</c:v>
                </c:pt>
              </c:numCache>
            </c:numRef>
          </c:xVal>
          <c:yVal>
            <c:numRef>
              <c:f>Sheet1!$B$179:$B$180</c:f>
              <c:numCache>
                <c:formatCode>General</c:formatCode>
                <c:ptCount val="2"/>
                <c:pt idx="0">
                  <c:v>0.13972874017528658</c:v>
                </c:pt>
                <c:pt idx="1">
                  <c:v>0.13972874017528658</c:v>
                </c:pt>
              </c:numCache>
            </c:numRef>
          </c:yVal>
          <c:smooth val="0"/>
          <c:extLst>
            <c:ext xmlns:c16="http://schemas.microsoft.com/office/drawing/2014/chart" uri="{C3380CC4-5D6E-409C-BE32-E72D297353CC}">
              <c16:uniqueId val="{00000011-F32D-48B7-BC20-E66FC6253BAD}"/>
            </c:ext>
          </c:extLst>
        </c:ser>
        <c:ser>
          <c:idx val="7"/>
          <c:order val="7"/>
          <c:tx>
            <c:strRef>
              <c:f>Sheet1!$B$18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3:$A$184</c:f>
              <c:numCache>
                <c:formatCode>General</c:formatCode>
                <c:ptCount val="2"/>
                <c:pt idx="0">
                  <c:v>1313.4312248497681</c:v>
                </c:pt>
                <c:pt idx="1">
                  <c:v>1313.4312248497681</c:v>
                </c:pt>
              </c:numCache>
            </c:numRef>
          </c:xVal>
          <c:yVal>
            <c:numRef>
              <c:f>Sheet1!$B$183:$B$184</c:f>
              <c:numCache>
                <c:formatCode>General</c:formatCode>
                <c:ptCount val="2"/>
                <c:pt idx="0">
                  <c:v>0.1397287401752865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7:$A$241</c:f>
              <c:numCache>
                <c:formatCode>General</c:formatCode>
                <c:ptCount val="55"/>
                <c:pt idx="0">
                  <c:v>1261.7317</c:v>
                </c:pt>
                <c:pt idx="1">
                  <c:v>1256.7909</c:v>
                </c:pt>
                <c:pt idx="2">
                  <c:v>1251.7393</c:v>
                </c:pt>
                <c:pt idx="3">
                  <c:v>1284.1948</c:v>
                </c:pt>
                <c:pt idx="4">
                  <c:v>1277.3643</c:v>
                </c:pt>
                <c:pt idx="5">
                  <c:v>1282.4897</c:v>
                </c:pt>
                <c:pt idx="6">
                  <c:v>1207.1888</c:v>
                </c:pt>
                <c:pt idx="7">
                  <c:v>1242.1704</c:v>
                </c:pt>
                <c:pt idx="8">
                  <c:v>1331.0788</c:v>
                </c:pt>
                <c:pt idx="9">
                  <c:v>1257.829</c:v>
                </c:pt>
                <c:pt idx="10">
                  <c:v>1286.4968</c:v>
                </c:pt>
                <c:pt idx="11">
                  <c:v>1169.9601</c:v>
                </c:pt>
                <c:pt idx="12">
                  <c:v>1217.0901</c:v>
                </c:pt>
                <c:pt idx="13">
                  <c:v>1255.6037</c:v>
                </c:pt>
                <c:pt idx="14">
                  <c:v>1261.1765</c:v>
                </c:pt>
                <c:pt idx="15">
                  <c:v>1282.6054</c:v>
                </c:pt>
                <c:pt idx="16">
                  <c:v>1291.8069</c:v>
                </c:pt>
                <c:pt idx="17">
                  <c:v>1290.9181</c:v>
                </c:pt>
                <c:pt idx="18">
                  <c:v>1266.6664</c:v>
                </c:pt>
                <c:pt idx="19">
                  <c:v>1343.1935</c:v>
                </c:pt>
                <c:pt idx="20">
                  <c:v>1323.7416</c:v>
                </c:pt>
                <c:pt idx="21">
                  <c:v>1296.4086</c:v>
                </c:pt>
                <c:pt idx="22">
                  <c:v>1268.7069</c:v>
                </c:pt>
                <c:pt idx="23">
                  <c:v>1209.8883</c:v>
                </c:pt>
                <c:pt idx="24">
                  <c:v>1211.4266</c:v>
                </c:pt>
                <c:pt idx="25">
                  <c:v>1181.2466</c:v>
                </c:pt>
                <c:pt idx="26">
                  <c:v>1244.3609</c:v>
                </c:pt>
                <c:pt idx="27">
                  <c:v>1310.1474</c:v>
                </c:pt>
                <c:pt idx="28">
                  <c:v>1311.9759</c:v>
                </c:pt>
                <c:pt idx="29">
                  <c:v>1318.9416</c:v>
                </c:pt>
                <c:pt idx="30">
                  <c:v>1286.4016</c:v>
                </c:pt>
                <c:pt idx="31">
                  <c:v>1197.9475</c:v>
                </c:pt>
                <c:pt idx="32">
                  <c:v>1225.7107</c:v>
                </c:pt>
                <c:pt idx="33">
                  <c:v>1272.6502</c:v>
                </c:pt>
                <c:pt idx="34">
                  <c:v>1323.9043</c:v>
                </c:pt>
                <c:pt idx="35">
                  <c:v>1312.5002</c:v>
                </c:pt>
                <c:pt idx="36">
                  <c:v>1262.033</c:v>
                </c:pt>
                <c:pt idx="37">
                  <c:v>1344.8296</c:v>
                </c:pt>
                <c:pt idx="38">
                  <c:v>1297.3983</c:v>
                </c:pt>
                <c:pt idx="39">
                  <c:v>1310.9954</c:v>
                </c:pt>
                <c:pt idx="40">
                  <c:v>1343.8135</c:v>
                </c:pt>
                <c:pt idx="41">
                  <c:v>1386.8259</c:v>
                </c:pt>
                <c:pt idx="42">
                  <c:v>1388.5087</c:v>
                </c:pt>
                <c:pt idx="43">
                  <c:v>1382.4094</c:v>
                </c:pt>
                <c:pt idx="44">
                  <c:v>1318.6421</c:v>
                </c:pt>
                <c:pt idx="45">
                  <c:v>1287.7981</c:v>
                </c:pt>
                <c:pt idx="46">
                  <c:v>1292.5967</c:v>
                </c:pt>
                <c:pt idx="47">
                  <c:v>1262.942</c:v>
                </c:pt>
                <c:pt idx="48">
                  <c:v>1231.8961</c:v>
                </c:pt>
                <c:pt idx="49">
                  <c:v>1235.3904</c:v>
                </c:pt>
                <c:pt idx="50">
                  <c:v>1135.2079</c:v>
                </c:pt>
                <c:pt idx="51">
                  <c:v>1125.3148</c:v>
                </c:pt>
                <c:pt idx="52">
                  <c:v>1206.0304216105635</c:v>
                </c:pt>
                <c:pt idx="53">
                  <c:v>961.7151699317589</c:v>
                </c:pt>
                <c:pt idx="54">
                  <c:v>1313.4312248497681</c:v>
                </c:pt>
              </c:numCache>
            </c:numRef>
          </c:xVal>
          <c:yVal>
            <c:numRef>
              <c:f>Sheet1!$B$187:$B$241</c:f>
              <c:numCache>
                <c:formatCode>General</c:formatCode>
                <c:ptCount val="55"/>
                <c:pt idx="0">
                  <c:v>0.14725147194871896</c:v>
                </c:pt>
                <c:pt idx="1">
                  <c:v>0.14797040144089865</c:v>
                </c:pt>
                <c:pt idx="2">
                  <c:v>0.14870545329944282</c:v>
                </c:pt>
                <c:pt idx="3">
                  <c:v>0.14398289498228004</c:v>
                </c:pt>
                <c:pt idx="4">
                  <c:v>0.14497679230585786</c:v>
                </c:pt>
                <c:pt idx="5">
                  <c:v>0.14423100190365218</c:v>
                </c:pt>
                <c:pt idx="6">
                  <c:v>0.15518793960557767</c:v>
                </c:pt>
                <c:pt idx="7">
                  <c:v>0.1500978117065263</c:v>
                </c:pt>
                <c:pt idx="8">
                  <c:v>0.1371608640740562</c:v>
                </c:pt>
                <c:pt idx="9">
                  <c:v>0.14781934883690098</c:v>
                </c:pt>
                <c:pt idx="10">
                  <c:v>0.14364793390492464</c:v>
                </c:pt>
                <c:pt idx="11">
                  <c:v>0.16060504015316304</c:v>
                </c:pt>
                <c:pt idx="12">
                  <c:v>0.1537472140994008</c:v>
                </c:pt>
                <c:pt idx="13">
                  <c:v>0.14814314939530196</c:v>
                </c:pt>
                <c:pt idx="14">
                  <c:v>0.1473322583910073</c:v>
                </c:pt>
                <c:pt idx="15">
                  <c:v>0.1442141665445514</c:v>
                </c:pt>
                <c:pt idx="16">
                  <c:v>0.1428752680418208</c:v>
                </c:pt>
                <c:pt idx="17">
                  <c:v>0.14300459619366854</c:v>
                </c:pt>
                <c:pt idx="18">
                  <c:v>0.14653343005974165</c:v>
                </c:pt>
                <c:pt idx="19">
                  <c:v>0.13539806956326658</c:v>
                </c:pt>
                <c:pt idx="20">
                  <c:v>0.13822849066691983</c:v>
                </c:pt>
                <c:pt idx="21">
                  <c:v>0.1422056805571699</c:v>
                </c:pt>
                <c:pt idx="22">
                  <c:v>0.14623651951311104</c:v>
                </c:pt>
                <c:pt idx="23">
                  <c:v>0.15479513881134613</c:v>
                </c:pt>
                <c:pt idx="24">
                  <c:v>0.1545713027447537</c:v>
                </c:pt>
                <c:pt idx="25">
                  <c:v>0.15896275596568613</c:v>
                </c:pt>
                <c:pt idx="26">
                  <c:v>0.14977907485164055</c:v>
                </c:pt>
                <c:pt idx="27">
                  <c:v>0.1402065653314659</c:v>
                </c:pt>
                <c:pt idx="28">
                  <c:v>0.13994050263383587</c:v>
                </c:pt>
                <c:pt idx="29">
                  <c:v>0.13892693253108404</c:v>
                </c:pt>
                <c:pt idx="30">
                  <c:v>0.14366178633523055</c:v>
                </c:pt>
                <c:pt idx="31">
                  <c:v>0.15653262935543197</c:v>
                </c:pt>
                <c:pt idx="32">
                  <c:v>0.1524928416131062</c:v>
                </c:pt>
                <c:pt idx="33">
                  <c:v>0.14566273497082796</c:v>
                </c:pt>
                <c:pt idx="34">
                  <c:v>0.13820481639789914</c:v>
                </c:pt>
                <c:pt idx="35">
                  <c:v>0.13986421241104807</c:v>
                </c:pt>
                <c:pt idx="36">
                  <c:v>0.14720763017087052</c:v>
                </c:pt>
                <c:pt idx="37">
                  <c:v>0.13516000274369178</c:v>
                </c:pt>
                <c:pt idx="38">
                  <c:v>0.14206167057530253</c:v>
                </c:pt>
                <c:pt idx="39">
                  <c:v>0.14008317393546355</c:v>
                </c:pt>
                <c:pt idx="40">
                  <c:v>0.13530785415581206</c:v>
                </c:pt>
                <c:pt idx="41">
                  <c:v>0.1290491748145253</c:v>
                </c:pt>
                <c:pt idx="42">
                  <c:v>0.12880431273764706</c:v>
                </c:pt>
                <c:pt idx="43">
                  <c:v>0.12969181408391722</c:v>
                </c:pt>
                <c:pt idx="44">
                  <c:v>0.13897051239323346</c:v>
                </c:pt>
                <c:pt idx="45">
                  <c:v>0.14345858340537526</c:v>
                </c:pt>
                <c:pt idx="46">
                  <c:v>0.14276034525342143</c:v>
                </c:pt>
                <c:pt idx="47">
                  <c:v>0.1470753627428444</c:v>
                </c:pt>
                <c:pt idx="48">
                  <c:v>0.15159281196589763</c:v>
                </c:pt>
                <c:pt idx="49">
                  <c:v>0.15108436083965823</c:v>
                </c:pt>
                <c:pt idx="50">
                  <c:v>0.1656617883514562</c:v>
                </c:pt>
                <c:pt idx="51">
                  <c:v>0.16710132068611513</c:v>
                </c:pt>
                <c:pt idx="52">
                  <c:v>0.15535649376427046</c:v>
                </c:pt>
                <c:pt idx="53">
                  <c:v>0.19090649372808102</c:v>
                </c:pt>
                <c:pt idx="54">
                  <c:v>0.139728740175286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66.0"/>
          <c:min val="688.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55974338412189"/>
          <c:min val="0.0946539729036982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6</c:f>
              <c:numCache>
                <c:formatCode>General</c:formatCode>
                <c:ptCount val="105"/>
                <c:pt idx="0">
                  <c:v>0.15999907920775916</c:v>
                </c:pt>
                <c:pt idx="1">
                  <c:v>0.1813364504579979</c:v>
                </c:pt>
                <c:pt idx="2">
                  <c:v>0.18464143759234306</c:v>
                </c:pt>
                <c:pt idx="3">
                  <c:v>0.18874275477336008</c:v>
                </c:pt>
                <c:pt idx="4">
                  <c:v>0.18170005260184507</c:v>
                </c:pt>
                <c:pt idx="5">
                  <c:v>0.18174647501883617</c:v>
                </c:pt>
                <c:pt idx="6">
                  <c:v>0.1830958731145846</c:v>
                </c:pt>
                <c:pt idx="7">
                  <c:v>0.1798908329949609</c:v>
                </c:pt>
                <c:pt idx="8">
                  <c:v>0.17693693615128694</c:v>
                </c:pt>
                <c:pt idx="9">
                  <c:v>0.18159155401457125</c:v>
                </c:pt>
                <c:pt idx="10">
                  <c:v>0.18132265018544452</c:v>
                </c:pt>
                <c:pt idx="11">
                  <c:v>0.18859986400145076</c:v>
                </c:pt>
                <c:pt idx="12">
                  <c:v>0.19407372738743822</c:v>
                </c:pt>
                <c:pt idx="13">
                  <c:v>0.1871913528699027</c:v>
                </c:pt>
                <c:pt idx="14">
                  <c:v>0.2047705146086195</c:v>
                </c:pt>
                <c:pt idx="15">
                  <c:v>0.19933657671351201</c:v>
                </c:pt>
                <c:pt idx="16">
                  <c:v>0.19035924635065107</c:v>
                </c:pt>
                <c:pt idx="17">
                  <c:v>0.17536972983739302</c:v>
                </c:pt>
                <c:pt idx="18">
                  <c:v>0.17199597096865007</c:v>
                </c:pt>
                <c:pt idx="19">
                  <c:v>0.1763088292843317</c:v>
                </c:pt>
                <c:pt idx="20">
                  <c:v>0.1829598283740966</c:v>
                </c:pt>
                <c:pt idx="21">
                  <c:v>0.1717825175970048</c:v>
                </c:pt>
                <c:pt idx="22">
                  <c:v>0.15811626161798917</c:v>
                </c:pt>
                <c:pt idx="23">
                  <c:v>0.1558368586758838</c:v>
                </c:pt>
                <c:pt idx="24">
                  <c:v>0.16085569255997112</c:v>
                </c:pt>
                <c:pt idx="25">
                  <c:v>0.1496000778340631</c:v>
                </c:pt>
                <c:pt idx="26">
                  <c:v>0.16155316632340444</c:v>
                </c:pt>
                <c:pt idx="27">
                  <c:v>0.163690138310668</c:v>
                </c:pt>
                <c:pt idx="28">
                  <c:v>0.152771924252926</c:v>
                </c:pt>
                <c:pt idx="29">
                  <c:v>0.1460815139268406</c:v>
                </c:pt>
                <c:pt idx="30">
                  <c:v>0.14610896238556845</c:v>
                </c:pt>
                <c:pt idx="31">
                  <c:v>0.1358706359905124</c:v>
                </c:pt>
                <c:pt idx="32">
                  <c:v>0.1354513748644692</c:v>
                </c:pt>
                <c:pt idx="33">
                  <c:v>0.13309276939565598</c:v>
                </c:pt>
                <c:pt idx="34">
                  <c:v>0.15425916691398905</c:v>
                </c:pt>
                <c:pt idx="35">
                  <c:v>0.16237425207331713</c:v>
                </c:pt>
                <c:pt idx="36">
                  <c:v>0.1622177147985651</c:v>
                </c:pt>
                <c:pt idx="37">
                  <c:v>0.1497566849196021</c:v>
                </c:pt>
                <c:pt idx="38">
                  <c:v>0.1610942940473556</c:v>
                </c:pt>
                <c:pt idx="39">
                  <c:v>0.1625485612878745</c:v>
                </c:pt>
                <c:pt idx="40">
                  <c:v>0.17473798753431471</c:v>
                </c:pt>
                <c:pt idx="41">
                  <c:v>0.1719712886604284</c:v>
                </c:pt>
                <c:pt idx="42">
                  <c:v>0.17686068902294583</c:v>
                </c:pt>
                <c:pt idx="43">
                  <c:v>0.19245673883969608</c:v>
                </c:pt>
                <c:pt idx="44">
                  <c:v>0.1937529641632733</c:v>
                </c:pt>
                <c:pt idx="45">
                  <c:v>0.18428045106092167</c:v>
                </c:pt>
                <c:pt idx="46">
                  <c:v>0.18850871308025138</c:v>
                </c:pt>
                <c:pt idx="47">
                  <c:v>0.17661221573517358</c:v>
                </c:pt>
                <c:pt idx="48">
                  <c:v>0.19773295110524197</c:v>
                </c:pt>
                <c:pt idx="49">
                  <c:v>0.21046517457125805</c:v>
                </c:pt>
                <c:pt idx="50">
                  <c:v>0.18070816806966006</c:v>
                </c:pt>
                <c:pt idx="51">
                  <c:v>0.17826173878858592</c:v>
                </c:pt>
                <c:pt idx="52">
                  <c:v>0.18858354964369103</c:v>
                </c:pt>
                <c:pt idx="53">
                  <c:v>0.19350162371579063</c:v>
                </c:pt>
                <c:pt idx="54">
                  <c:v>0.1957003788011533</c:v>
                </c:pt>
                <c:pt idx="55">
                  <c:v>0.1890075568448948</c:v>
                </c:pt>
                <c:pt idx="56">
                  <c:v>0.18679535284985196</c:v>
                </c:pt>
                <c:pt idx="57">
                  <c:v>0.1909489140766036</c:v>
                </c:pt>
                <c:pt idx="58">
                  <c:v>0.19383383085952563</c:v>
                </c:pt>
                <c:pt idx="59">
                  <c:v>0.22176358096732232</c:v>
                </c:pt>
                <c:pt idx="60">
                  <c:v>0.2220958824015453</c:v>
                </c:pt>
                <c:pt idx="61">
                  <c:v>0.2084806280086336</c:v>
                </c:pt>
                <c:pt idx="62">
                  <c:v>0.20814531083917015</c:v>
                </c:pt>
                <c:pt idx="63">
                  <c:v>0.21281539647210698</c:v>
                </c:pt>
                <c:pt idx="64">
                  <c:v>0.22207836014748963</c:v>
                </c:pt>
                <c:pt idx="65">
                  <c:v>0.21267533909592765</c:v>
                </c:pt>
                <c:pt idx="66">
                  <c:v>0.20862699790563521</c:v>
                </c:pt>
                <c:pt idx="67">
                  <c:v>0.20443025391815844</c:v>
                </c:pt>
                <c:pt idx="68">
                  <c:v>0.1928726348905499</c:v>
                </c:pt>
                <c:pt idx="69">
                  <c:v>0.18044862947253434</c:v>
                </c:pt>
                <c:pt idx="70">
                  <c:v>0.17391684069367364</c:v>
                </c:pt>
                <c:pt idx="71">
                  <c:v>0.17814268698284944</c:v>
                </c:pt>
                <c:pt idx="72">
                  <c:v>0.19527846456332212</c:v>
                </c:pt>
                <c:pt idx="73">
                  <c:v>0.19437904591417365</c:v>
                </c:pt>
                <c:pt idx="74">
                  <c:v>0.18011201210939032</c:v>
                </c:pt>
                <c:pt idx="75">
                  <c:v>0.1788672245806535</c:v>
                </c:pt>
                <c:pt idx="76">
                  <c:v>0.16946537227437164</c:v>
                </c:pt>
                <c:pt idx="77">
                  <c:v>0.15798429718357093</c:v>
                </c:pt>
                <c:pt idx="78">
                  <c:v>0.1715137629754905</c:v>
                </c:pt>
                <c:pt idx="79">
                  <c:v>0.12278070087005719</c:v>
                </c:pt>
                <c:pt idx="80">
                  <c:v>0.1152621293469835</c:v>
                </c:pt>
                <c:pt idx="81">
                  <c:v>0.14967284139951517</c:v>
                </c:pt>
                <c:pt idx="82">
                  <c:v>0.1465333278836773</c:v>
                </c:pt>
                <c:pt idx="83">
                  <c:v>0.1413560512560043</c:v>
                </c:pt>
                <c:pt idx="84">
                  <c:v>0.13833351368926897</c:v>
                </c:pt>
                <c:pt idx="85">
                  <c:v>0.14209075278686023</c:v>
                </c:pt>
                <c:pt idx="86">
                  <c:v>0.15932659160839233</c:v>
                </c:pt>
                <c:pt idx="87">
                  <c:v>0.18026417224160188</c:v>
                </c:pt>
                <c:pt idx="88">
                  <c:v>0.16276040111390025</c:v>
                </c:pt>
                <c:pt idx="89">
                  <c:v>0.15283905256175684</c:v>
                </c:pt>
                <c:pt idx="90">
                  <c:v>0.15920153662965675</c:v>
                </c:pt>
                <c:pt idx="91">
                  <c:v>0.1694207865336573</c:v>
                </c:pt>
                <c:pt idx="92">
                  <c:v>0.1779308364018762</c:v>
                </c:pt>
                <c:pt idx="93">
                  <c:v>0.18017282131205778</c:v>
                </c:pt>
                <c:pt idx="94">
                  <c:v>0.17408660057211403</c:v>
                </c:pt>
                <c:pt idx="95">
                  <c:v>0.18581913547463205</c:v>
                </c:pt>
                <c:pt idx="96">
                  <c:v>0.18351212899938998</c:v>
                </c:pt>
                <c:pt idx="97">
                  <c:v>0.19826350790891376</c:v>
                </c:pt>
                <c:pt idx="98">
                  <c:v>0.20655348290002631</c:v>
                </c:pt>
                <c:pt idx="99">
                  <c:v>0.21264153974433386</c:v>
                </c:pt>
                <c:pt idx="100">
                  <c:v>0.22762084329789858</c:v>
                </c:pt>
                <c:pt idx="101">
                  <c:v>0.220125696892246</c:v>
                </c:pt>
                <c:pt idx="102">
                  <c:v>0.21381125753995603</c:v>
                </c:pt>
                <c:pt idx="103">
                  <c:v>0.1889133795703791</c:v>
                </c:pt>
                <c:pt idx="104">
                  <c:v>0.21147267293465105</c:v>
                </c:pt>
              </c:numCache>
            </c:numRef>
          </c:xVal>
          <c:yVal>
            <c:numRef>
              <c:f>Sheet1!$B$2:$B$106</c:f>
              <c:numCache>
                <c:formatCode>General</c:formatCode>
                <c:ptCount val="105"/>
                <c:pt idx="0">
                  <c:v>0.2104353132628153</c:v>
                </c:pt>
                <c:pt idx="1">
                  <c:v>0.20936580711843744</c:v>
                </c:pt>
                <c:pt idx="2">
                  <c:v>0.1951964281132124</c:v>
                </c:pt>
                <c:pt idx="3">
                  <c:v>0.19280869846054474</c:v>
                </c:pt>
                <c:pt idx="4">
                  <c:v>0.18282521947326416</c:v>
                </c:pt>
                <c:pt idx="5">
                  <c:v>0.17047857630868335</c:v>
                </c:pt>
                <c:pt idx="6">
                  <c:v>0.18916918720638393</c:v>
                </c:pt>
                <c:pt idx="7">
                  <c:v>0.17825161479741633</c:v>
                </c:pt>
                <c:pt idx="8">
                  <c:v>0.18962759881197166</c:v>
                </c:pt>
                <c:pt idx="9">
                  <c:v>0.19161017956950885</c:v>
                </c:pt>
                <c:pt idx="10">
                  <c:v>0.20396039603960395</c:v>
                </c:pt>
                <c:pt idx="11">
                  <c:v>0.19627861497756816</c:v>
                </c:pt>
                <c:pt idx="12">
                  <c:v>0.2090399978766887</c:v>
                </c:pt>
                <c:pt idx="13">
                  <c:v>0.21092146331861766</c:v>
                </c:pt>
                <c:pt idx="14">
                  <c:v>0.20510605089328018</c:v>
                </c:pt>
                <c:pt idx="15">
                  <c:v>0.1997352308456065</c:v>
                </c:pt>
                <c:pt idx="16">
                  <c:v>0.19186415376002985</c:v>
                </c:pt>
                <c:pt idx="17">
                  <c:v>0.1788574697613599</c:v>
                </c:pt>
                <c:pt idx="18">
                  <c:v>0.17484202391235168</c:v>
                </c:pt>
                <c:pt idx="19">
                  <c:v>0.14627434377646062</c:v>
                </c:pt>
                <c:pt idx="20">
                  <c:v>0.16460617710017036</c:v>
                </c:pt>
                <c:pt idx="21">
                  <c:v>0.16421682397235546</c:v>
                </c:pt>
                <c:pt idx="22">
                  <c:v>0.1563387690689111</c:v>
                </c:pt>
                <c:pt idx="23">
                  <c:v>0.16137669437161822</c:v>
                </c:pt>
                <c:pt idx="24">
                  <c:v>0.1694212735091446</c:v>
                </c:pt>
                <c:pt idx="25">
                  <c:v>0.16806624679262888</c:v>
                </c:pt>
                <c:pt idx="26">
                  <c:v>0.1631565194669454</c:v>
                </c:pt>
                <c:pt idx="27">
                  <c:v>0.1644426607805759</c:v>
                </c:pt>
                <c:pt idx="28">
                  <c:v>0.15609481390467414</c:v>
                </c:pt>
                <c:pt idx="29">
                  <c:v>0.1752558726723477</c:v>
                </c:pt>
                <c:pt idx="30">
                  <c:v>0.1553217462070569</c:v>
                </c:pt>
                <c:pt idx="31">
                  <c:v>0.1508401503426929</c:v>
                </c:pt>
                <c:pt idx="32">
                  <c:v>0.15629783511917777</c:v>
                </c:pt>
                <c:pt idx="33">
                  <c:v>0.17726337898744146</c:v>
                </c:pt>
                <c:pt idx="34">
                  <c:v>0.17377744012155624</c:v>
                </c:pt>
                <c:pt idx="35">
                  <c:v>0.192956416138173</c:v>
                </c:pt>
                <c:pt idx="36">
                  <c:v>0.15716185884113393</c:v>
                </c:pt>
                <c:pt idx="37">
                  <c:v>0.1293269230769231</c:v>
                </c:pt>
                <c:pt idx="38">
                  <c:v>0.12359550561797752</c:v>
                </c:pt>
                <c:pt idx="39">
                  <c:v>0.12543323139653414</c:v>
                </c:pt>
                <c:pt idx="40">
                  <c:v>0.13096507313744724</c:v>
                </c:pt>
                <c:pt idx="41">
                  <c:v>0.1206642745422762</c:v>
                </c:pt>
                <c:pt idx="42">
                  <c:v>0.12140700364691581</c:v>
                </c:pt>
                <c:pt idx="43">
                  <c:v>0.13300094800042134</c:v>
                </c:pt>
                <c:pt idx="44">
                  <c:v>0.14654865576726858</c:v>
                </c:pt>
                <c:pt idx="45">
                  <c:v>0.16731320255675555</c:v>
                </c:pt>
                <c:pt idx="46">
                  <c:v>0.1764019187502653</c:v>
                </c:pt>
                <c:pt idx="47">
                  <c:v>0.1716687701884613</c:v>
                </c:pt>
                <c:pt idx="48">
                  <c:v>0.19153248508050896</c:v>
                </c:pt>
                <c:pt idx="49">
                  <c:v>0.22133119486768243</c:v>
                </c:pt>
                <c:pt idx="50">
                  <c:v>0.1820144482271859</c:v>
                </c:pt>
                <c:pt idx="51">
                  <c:v>0.1671104696015728</c:v>
                </c:pt>
                <c:pt idx="52">
                  <c:v>0.1823606150687568</c:v>
                </c:pt>
                <c:pt idx="53">
                  <c:v>0.165633727889347</c:v>
                </c:pt>
                <c:pt idx="54">
                  <c:v>0.15941820276497695</c:v>
                </c:pt>
                <c:pt idx="55">
                  <c:v>0.1570630582190758</c:v>
                </c:pt>
                <c:pt idx="56">
                  <c:v>0.17284360475644353</c:v>
                </c:pt>
                <c:pt idx="57">
                  <c:v>0.16677579027315823</c:v>
                </c:pt>
                <c:pt idx="58">
                  <c:v>0.1796740265733926</c:v>
                </c:pt>
                <c:pt idx="59">
                  <c:v>0.1848297810782139</c:v>
                </c:pt>
                <c:pt idx="60">
                  <c:v>0.1911824354113394</c:v>
                </c:pt>
                <c:pt idx="61">
                  <c:v>0.1938988416432837</c:v>
                </c:pt>
                <c:pt idx="62">
                  <c:v>0.1979644124767882</c:v>
                </c:pt>
                <c:pt idx="63">
                  <c:v>0.21463529815824497</c:v>
                </c:pt>
                <c:pt idx="64">
                  <c:v>0.20133358416421063</c:v>
                </c:pt>
                <c:pt idx="65">
                  <c:v>0.1998720672560711</c:v>
                </c:pt>
                <c:pt idx="66">
                  <c:v>0.19738022185508614</c:v>
                </c:pt>
                <c:pt idx="67">
                  <c:v>0.193351193375548</c:v>
                </c:pt>
                <c:pt idx="68">
                  <c:v>0.1764843521497514</c:v>
                </c:pt>
                <c:pt idx="69">
                  <c:v>0.15879038317054847</c:v>
                </c:pt>
                <c:pt idx="70">
                  <c:v>0.14821472630502977</c:v>
                </c:pt>
                <c:pt idx="71">
                  <c:v>0.15706529935153069</c:v>
                </c:pt>
                <c:pt idx="72">
                  <c:v>0.15622956774427896</c:v>
                </c:pt>
                <c:pt idx="73">
                  <c:v>0.16183638768184394</c:v>
                </c:pt>
                <c:pt idx="74">
                  <c:v>0.1592623335378397</c:v>
                </c:pt>
                <c:pt idx="75">
                  <c:v>0.15497225778915918</c:v>
                </c:pt>
                <c:pt idx="76">
                  <c:v>0.1459560670411472</c:v>
                </c:pt>
                <c:pt idx="77">
                  <c:v>0.15498438843386578</c:v>
                </c:pt>
                <c:pt idx="78">
                  <c:v>0.1446161907257008</c:v>
                </c:pt>
                <c:pt idx="79">
                  <c:v>0.18320854638422207</c:v>
                </c:pt>
                <c:pt idx="80">
                  <c:v>0.1774726788502158</c:v>
                </c:pt>
                <c:pt idx="81">
                  <c:v>0.1575934534557609</c:v>
                </c:pt>
                <c:pt idx="82">
                  <c:v>0.14378602039308408</c:v>
                </c:pt>
                <c:pt idx="83">
                  <c:v>0.1329802220093537</c:v>
                </c:pt>
                <c:pt idx="84">
                  <c:v>0.12998102466793168</c:v>
                </c:pt>
                <c:pt idx="85">
                  <c:v>0.1331891549741534</c:v>
                </c:pt>
                <c:pt idx="86">
                  <c:v>0.13664497698777972</c:v>
                </c:pt>
                <c:pt idx="87">
                  <c:v>0.15707769558051285</c:v>
                </c:pt>
                <c:pt idx="88">
                  <c:v>0.14278950856926428</c:v>
                </c:pt>
                <c:pt idx="89">
                  <c:v>0.12795285677683832</c:v>
                </c:pt>
                <c:pt idx="90">
                  <c:v>0.12505943889681406</c:v>
                </c:pt>
                <c:pt idx="91">
                  <c:v>0.11934383465435938</c:v>
                </c:pt>
                <c:pt idx="92">
                  <c:v>0.13114754098360656</c:v>
                </c:pt>
                <c:pt idx="93">
                  <c:v>0.11910570731512218</c:v>
                </c:pt>
                <c:pt idx="94">
                  <c:v>0.12265742556198987</c:v>
                </c:pt>
                <c:pt idx="95">
                  <c:v>0.13306545345863913</c:v>
                </c:pt>
                <c:pt idx="96">
                  <c:v>0.12835410689746618</c:v>
                </c:pt>
                <c:pt idx="97">
                  <c:v>0.13635974853526067</c:v>
                </c:pt>
                <c:pt idx="98">
                  <c:v>0.15405743754554457</c:v>
                </c:pt>
                <c:pt idx="99">
                  <c:v>0.1593022876350227</c:v>
                </c:pt>
                <c:pt idx="100">
                  <c:v>0.18337582746602418</c:v>
                </c:pt>
                <c:pt idx="101">
                  <c:v>0.15571918341904317</c:v>
                </c:pt>
                <c:pt idx="102">
                  <c:v>0.1313907284768212</c:v>
                </c:pt>
                <c:pt idx="103">
                  <c:v>0.15021106674272675</c:v>
                </c:pt>
                <c:pt idx="104">
                  <c:v>0.15448211314475874</c:v>
                </c:pt>
              </c:numCache>
            </c:numRef>
          </c:yVal>
          <c:smooth val="0"/>
          <c:extLst>
            <c:ext xmlns:c16="http://schemas.microsoft.com/office/drawing/2014/chart" uri="{C3380CC4-5D6E-409C-BE32-E72D297353CC}">
              <c16:uniqueId val="{00000000-096C-4121-9522-6AB7243CCAAE}"/>
            </c:ext>
          </c:extLst>
        </c:ser>
        <c:ser>
          <c:idx val="1"/>
          <c:order val="1"/>
          <c:tx>
            <c:strRef>
              <c:f>Sheet1!$B$10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9:$A$160</c:f>
              <c:numCache>
                <c:formatCode>General</c:formatCode>
                <c:ptCount val="52"/>
                <c:pt idx="0">
                  <c:v>0.2168172962275357</c:v>
                </c:pt>
                <c:pt idx="1">
                  <c:v>0.22119538066499364</c:v>
                </c:pt>
                <c:pt idx="2">
                  <c:v>0.21329717636258227</c:v>
                </c:pt>
                <c:pt idx="3">
                  <c:v>0.21942700647860774</c:v>
                </c:pt>
                <c:pt idx="4">
                  <c:v>0.21268339064628802</c:v>
                </c:pt>
                <c:pt idx="5">
                  <c:v>0.21347679777371126</c:v>
                </c:pt>
                <c:pt idx="6">
                  <c:v>0.20071370411798775</c:v>
                </c:pt>
                <c:pt idx="7">
                  <c:v>0.1957547440020236</c:v>
                </c:pt>
                <c:pt idx="8">
                  <c:v>0.21409864010053387</c:v>
                </c:pt>
                <c:pt idx="9">
                  <c:v>0.20951814768773286</c:v>
                </c:pt>
                <c:pt idx="10">
                  <c:v>0.2165489747133795</c:v>
                </c:pt>
                <c:pt idx="11">
                  <c:v>0.2025208543874212</c:v>
                </c:pt>
                <c:pt idx="12">
                  <c:v>0.202533734097453</c:v>
                </c:pt>
                <c:pt idx="13">
                  <c:v>0.20484272151710808</c:v>
                </c:pt>
                <c:pt idx="14">
                  <c:v>0.20228453945358227</c:v>
                </c:pt>
                <c:pt idx="15">
                  <c:v>0.1969649194301543</c:v>
                </c:pt>
                <c:pt idx="16">
                  <c:v>0.1912443396463565</c:v>
                </c:pt>
                <c:pt idx="17">
                  <c:v>0.1866561263125896</c:v>
                </c:pt>
                <c:pt idx="18">
                  <c:v>0.1777456039456838</c:v>
                </c:pt>
                <c:pt idx="19">
                  <c:v>0.194119705293298</c:v>
                </c:pt>
                <c:pt idx="20">
                  <c:v>0.178250260105642</c:v>
                </c:pt>
                <c:pt idx="21">
                  <c:v>0.1700486054559059</c:v>
                </c:pt>
                <c:pt idx="22">
                  <c:v>0.17747898371109347</c:v>
                </c:pt>
                <c:pt idx="23">
                  <c:v>0.15616014960955585</c:v>
                </c:pt>
                <c:pt idx="24">
                  <c:v>0.1542039145040172</c:v>
                </c:pt>
                <c:pt idx="25">
                  <c:v>0.15213477744050805</c:v>
                </c:pt>
                <c:pt idx="26">
                  <c:v>0.15705965643622588</c:v>
                </c:pt>
                <c:pt idx="27">
                  <c:v>0.1681593817565031</c:v>
                </c:pt>
                <c:pt idx="28">
                  <c:v>0.17221582636072855</c:v>
                </c:pt>
                <c:pt idx="29">
                  <c:v>0.16642464835211232</c:v>
                </c:pt>
                <c:pt idx="30">
                  <c:v>0.15773039389671434</c:v>
                </c:pt>
                <c:pt idx="31">
                  <c:v>0.14928312671086522</c:v>
                </c:pt>
                <c:pt idx="32">
                  <c:v>0.14855546494145874</c:v>
                </c:pt>
                <c:pt idx="33">
                  <c:v>0.16245042368452642</c:v>
                </c:pt>
                <c:pt idx="34">
                  <c:v>0.18408948875376646</c:v>
                </c:pt>
                <c:pt idx="35">
                  <c:v>0.17526629355672196</c:v>
                </c:pt>
                <c:pt idx="36">
                  <c:v>0.15013209851681927</c:v>
                </c:pt>
                <c:pt idx="37">
                  <c:v>0.17124408534572538</c:v>
                </c:pt>
                <c:pt idx="38">
                  <c:v>0.15624333731003295</c:v>
                </c:pt>
                <c:pt idx="39">
                  <c:v>0.17047509051758433</c:v>
                </c:pt>
                <c:pt idx="40">
                  <c:v>0.17152131921059172</c:v>
                </c:pt>
                <c:pt idx="41">
                  <c:v>0.18402906490259321</c:v>
                </c:pt>
                <c:pt idx="42">
                  <c:v>0.18119485572693064</c:v>
                </c:pt>
                <c:pt idx="43">
                  <c:v>0.18683818035500446</c:v>
                </c:pt>
                <c:pt idx="44">
                  <c:v>0.18875786816117587</c:v>
                </c:pt>
                <c:pt idx="45">
                  <c:v>0.19301851394709954</c:v>
                </c:pt>
                <c:pt idx="46">
                  <c:v>0.1836246614828958</c:v>
                </c:pt>
                <c:pt idx="47">
                  <c:v>0.17985905864651539</c:v>
                </c:pt>
                <c:pt idx="48">
                  <c:v>0.1832188547745707</c:v>
                </c:pt>
                <c:pt idx="49">
                  <c:v>0.19897932509180358</c:v>
                </c:pt>
                <c:pt idx="50">
                  <c:v>0.20327045780622066</c:v>
                </c:pt>
                <c:pt idx="51">
                  <c:v>0.17909467297675974</c:v>
                </c:pt>
              </c:numCache>
            </c:numRef>
          </c:xVal>
          <c:yVal>
            <c:numRef>
              <c:f>Sheet1!$B$109:$B$160</c:f>
              <c:numCache>
                <c:formatCode>General</c:formatCode>
                <c:ptCount val="52"/>
                <c:pt idx="0">
                  <c:v>0.15451908792944893</c:v>
                </c:pt>
                <c:pt idx="1">
                  <c:v>0.1495251769565984</c:v>
                </c:pt>
                <c:pt idx="2">
                  <c:v>0.1573056852513046</c:v>
                </c:pt>
                <c:pt idx="3">
                  <c:v>0.16114564123579903</c:v>
                </c:pt>
                <c:pt idx="4">
                  <c:v>0.14990230926767262</c:v>
                </c:pt>
                <c:pt idx="5">
                  <c:v>0.1484953015344356</c:v>
                </c:pt>
                <c:pt idx="6">
                  <c:v>0.15711038140944683</c:v>
                </c:pt>
                <c:pt idx="7">
                  <c:v>0.15121453736324866</c:v>
                </c:pt>
                <c:pt idx="8">
                  <c:v>0.15143261041961176</c:v>
                </c:pt>
                <c:pt idx="9">
                  <c:v>0.16744904067294666</c:v>
                </c:pt>
                <c:pt idx="10">
                  <c:v>0.164021325209444</c:v>
                </c:pt>
                <c:pt idx="11">
                  <c:v>0.18821387940841866</c:v>
                </c:pt>
                <c:pt idx="12">
                  <c:v>0.17435803948122297</c:v>
                </c:pt>
                <c:pt idx="13">
                  <c:v>0.16749019818465008</c:v>
                </c:pt>
                <c:pt idx="14">
                  <c:v>0.17095239485128863</c:v>
                </c:pt>
                <c:pt idx="15">
                  <c:v>0.156000499001996</c:v>
                </c:pt>
                <c:pt idx="16">
                  <c:v>0.1539690811186382</c:v>
                </c:pt>
                <c:pt idx="17">
                  <c:v>0.13196308416369454</c:v>
                </c:pt>
                <c:pt idx="18">
                  <c:v>0.12945284186334305</c:v>
                </c:pt>
                <c:pt idx="19">
                  <c:v>0.14011156806058878</c:v>
                </c:pt>
                <c:pt idx="20">
                  <c:v>0.13377066619387437</c:v>
                </c:pt>
                <c:pt idx="21">
                  <c:v>0.1418818007254107</c:v>
                </c:pt>
                <c:pt idx="22">
                  <c:v>0.13938531287890768</c:v>
                </c:pt>
                <c:pt idx="23">
                  <c:v>0.14231696624287593</c:v>
                </c:pt>
                <c:pt idx="24">
                  <c:v>0.14298309304014106</c:v>
                </c:pt>
                <c:pt idx="25">
                  <c:v>0.14905650116917724</c:v>
                </c:pt>
                <c:pt idx="26">
                  <c:v>0.13264409408115793</c:v>
                </c:pt>
                <c:pt idx="27">
                  <c:v>0.11831746612962285</c:v>
                </c:pt>
                <c:pt idx="28">
                  <c:v>0.12924941097273646</c:v>
                </c:pt>
                <c:pt idx="29">
                  <c:v>0.11934729615442018</c:v>
                </c:pt>
                <c:pt idx="30">
                  <c:v>0.1400093201470512</c:v>
                </c:pt>
                <c:pt idx="31">
                  <c:v>0.127063560540696</c:v>
                </c:pt>
                <c:pt idx="32">
                  <c:v>0.12952996053103696</c:v>
                </c:pt>
                <c:pt idx="33">
                  <c:v>0.14883720930232558</c:v>
                </c:pt>
                <c:pt idx="34">
                  <c:v>0.16986561050743035</c:v>
                </c:pt>
                <c:pt idx="35">
                  <c:v>0.16272716474640694</c:v>
                </c:pt>
                <c:pt idx="36">
                  <c:v>0.1427751635487203</c:v>
                </c:pt>
                <c:pt idx="37">
                  <c:v>0.1290035587188612</c:v>
                </c:pt>
                <c:pt idx="38">
                  <c:v>0.12835734870317003</c:v>
                </c:pt>
                <c:pt idx="39">
                  <c:v>0.14641995172968625</c:v>
                </c:pt>
                <c:pt idx="40">
                  <c:v>0.1279339131955068</c:v>
                </c:pt>
                <c:pt idx="41">
                  <c:v>0.1306540974117258</c:v>
                </c:pt>
                <c:pt idx="42">
                  <c:v>0.1257999634302432</c:v>
                </c:pt>
                <c:pt idx="43">
                  <c:v>0.12494822587325694</c:v>
                </c:pt>
                <c:pt idx="44">
                  <c:v>0.12619987893113488</c:v>
                </c:pt>
                <c:pt idx="45">
                  <c:v>0.1415380556654795</c:v>
                </c:pt>
                <c:pt idx="46">
                  <c:v>0.13360547800895445</c:v>
                </c:pt>
                <c:pt idx="47">
                  <c:v>0.13851359695704793</c:v>
                </c:pt>
                <c:pt idx="48">
                  <c:v>0.13167355930089986</c:v>
                </c:pt>
                <c:pt idx="49">
                  <c:v>0.14483610451306414</c:v>
                </c:pt>
                <c:pt idx="50">
                  <c:v>0.18246457619315565</c:v>
                </c:pt>
                <c:pt idx="51">
                  <c:v>0.1618862210685702</c:v>
                </c:pt>
              </c:numCache>
            </c:numRef>
          </c:yVal>
          <c:smooth val="0"/>
          <c:extLst>
            <c:ext xmlns:c16="http://schemas.microsoft.com/office/drawing/2014/chart" uri="{C3380CC4-5D6E-409C-BE32-E72D297353CC}">
              <c16:uniqueId val="{00000002-096C-4121-9522-6AB7243CCAAE}"/>
            </c:ext>
          </c:extLst>
        </c:ser>
        <c:ser>
          <c:idx val="2"/>
          <c:order val="2"/>
          <c:tx>
            <c:strRef>
              <c:f>Sheet1!$B$16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3:$A$164</c:f>
              <c:numCache>
                <c:formatCode>General</c:formatCode>
                <c:ptCount val="2"/>
                <c:pt idx="0">
                  <c:v>0</c:v>
                </c:pt>
                <c:pt idx="1">
                  <c:v>0.2869988711216287</c:v>
                </c:pt>
              </c:numCache>
            </c:numRef>
          </c:xVal>
          <c:yVal>
            <c:numRef>
              <c:f>Sheet1!$B$163:$B$164</c:f>
              <c:numCache>
                <c:formatCode>General</c:formatCode>
                <c:ptCount val="2"/>
                <c:pt idx="0">
                  <c:v>0.19090649372808102</c:v>
                </c:pt>
                <c:pt idx="1">
                  <c:v>0.19090649372808102</c:v>
                </c:pt>
              </c:numCache>
            </c:numRef>
          </c:yVal>
          <c:smooth val="0"/>
          <c:extLst>
            <c:ext xmlns:c16="http://schemas.microsoft.com/office/drawing/2014/chart" uri="{C3380CC4-5D6E-409C-BE32-E72D297353CC}">
              <c16:uniqueId val="{00000005-096C-4121-9522-6AB7243CCAAE}"/>
            </c:ext>
          </c:extLst>
        </c:ser>
        <c:ser>
          <c:idx val="3"/>
          <c:order val="3"/>
          <c:tx>
            <c:strRef>
              <c:f>Sheet1!$B$16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0.2869988711216287</c:v>
                </c:pt>
                <c:pt idx="1">
                  <c:v>0.2869988711216287</c:v>
                </c:pt>
              </c:numCache>
            </c:numRef>
          </c:xVal>
          <c:yVal>
            <c:numRef>
              <c:f>Sheet1!$B$167:$B$168</c:f>
              <c:numCache>
                <c:formatCode>General</c:formatCode>
                <c:ptCount val="2"/>
                <c:pt idx="0">
                  <c:v>0.1909064937280810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1:$A$172</c:f>
              <c:numCache>
                <c:formatCode>General</c:formatCode>
                <c:ptCount val="2"/>
                <c:pt idx="0">
                  <c:v>0</c:v>
                </c:pt>
                <c:pt idx="1">
                  <c:v>0.20681639691817177</c:v>
                </c:pt>
              </c:numCache>
            </c:numRef>
          </c:xVal>
          <c:yVal>
            <c:numRef>
              <c:f>Sheet1!$B$171:$B$172</c:f>
              <c:numCache>
                <c:formatCode>General</c:formatCode>
                <c:ptCount val="2"/>
                <c:pt idx="0">
                  <c:v>0.1553564937642705</c:v>
                </c:pt>
                <c:pt idx="1">
                  <c:v>0.1553564937642705</c:v>
                </c:pt>
              </c:numCache>
            </c:numRef>
          </c:yVal>
          <c:smooth val="0"/>
          <c:extLst>
            <c:ext xmlns:c16="http://schemas.microsoft.com/office/drawing/2014/chart" uri="{C3380CC4-5D6E-409C-BE32-E72D297353CC}">
              <c16:uniqueId val="{0000000D-096C-4121-9522-6AB7243CCAAE}"/>
            </c:ext>
          </c:extLst>
        </c:ser>
        <c:ser>
          <c:idx val="5"/>
          <c:order val="5"/>
          <c:tx>
            <c:strRef>
              <c:f>Sheet1!$B$17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0.20681639691817177</c:v>
                </c:pt>
                <c:pt idx="1">
                  <c:v>0.20681639691817177</c:v>
                </c:pt>
              </c:numCache>
            </c:numRef>
          </c:xVal>
          <c:yVal>
            <c:numRef>
              <c:f>Sheet1!$B$175:$B$176</c:f>
              <c:numCache>
                <c:formatCode>General</c:formatCode>
                <c:ptCount val="2"/>
                <c:pt idx="0">
                  <c:v>0.15535649376427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9:$A$180</c:f>
              <c:numCache>
                <c:formatCode>General</c:formatCode>
                <c:ptCount val="2"/>
                <c:pt idx="0">
                  <c:v>0</c:v>
                </c:pt>
                <c:pt idx="1">
                  <c:v>0.1715682407920875</c:v>
                </c:pt>
              </c:numCache>
            </c:numRef>
          </c:xVal>
          <c:yVal>
            <c:numRef>
              <c:f>Sheet1!$B$179:$B$180</c:f>
              <c:numCache>
                <c:formatCode>General</c:formatCode>
                <c:ptCount val="2"/>
                <c:pt idx="0">
                  <c:v>0.13972874017528658</c:v>
                </c:pt>
                <c:pt idx="1">
                  <c:v>0.13972874017528658</c:v>
                </c:pt>
              </c:numCache>
            </c:numRef>
          </c:yVal>
          <c:smooth val="0"/>
          <c:extLst>
            <c:ext xmlns:c16="http://schemas.microsoft.com/office/drawing/2014/chart" uri="{C3380CC4-5D6E-409C-BE32-E72D297353CC}">
              <c16:uniqueId val="{00000015-096C-4121-9522-6AB7243CCAAE}"/>
            </c:ext>
          </c:extLst>
        </c:ser>
        <c:ser>
          <c:idx val="7"/>
          <c:order val="7"/>
          <c:tx>
            <c:strRef>
              <c:f>Sheet1!$B$18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0.1715682407920875</c:v>
                </c:pt>
                <c:pt idx="1">
                  <c:v>0.1715682407920875</c:v>
                </c:pt>
              </c:numCache>
            </c:numRef>
          </c:xVal>
          <c:yVal>
            <c:numRef>
              <c:f>Sheet1!$B$183:$B$184</c:f>
              <c:numCache>
                <c:formatCode>General</c:formatCode>
                <c:ptCount val="2"/>
                <c:pt idx="0">
                  <c:v>0.1397287401752865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7:$A$241</c:f>
              <c:numCache>
                <c:formatCode>General</c:formatCode>
                <c:ptCount val="55"/>
                <c:pt idx="0">
                  <c:v>0.2168172962275357</c:v>
                </c:pt>
                <c:pt idx="1">
                  <c:v>0.22119538066499364</c:v>
                </c:pt>
                <c:pt idx="2">
                  <c:v>0.21329717636258227</c:v>
                </c:pt>
                <c:pt idx="3">
                  <c:v>0.21942700647860774</c:v>
                </c:pt>
                <c:pt idx="4">
                  <c:v>0.21268339064628802</c:v>
                </c:pt>
                <c:pt idx="5">
                  <c:v>0.21347679777371126</c:v>
                </c:pt>
                <c:pt idx="6">
                  <c:v>0.20071370411798775</c:v>
                </c:pt>
                <c:pt idx="7">
                  <c:v>0.1957547440020236</c:v>
                </c:pt>
                <c:pt idx="8">
                  <c:v>0.21409864010053387</c:v>
                </c:pt>
                <c:pt idx="9">
                  <c:v>0.20951814768773286</c:v>
                </c:pt>
                <c:pt idx="10">
                  <c:v>0.2165489747133795</c:v>
                </c:pt>
                <c:pt idx="11">
                  <c:v>0.2025208543874212</c:v>
                </c:pt>
                <c:pt idx="12">
                  <c:v>0.202533734097453</c:v>
                </c:pt>
                <c:pt idx="13">
                  <c:v>0.20484272151710808</c:v>
                </c:pt>
                <c:pt idx="14">
                  <c:v>0.20228453945358227</c:v>
                </c:pt>
                <c:pt idx="15">
                  <c:v>0.1969649194301543</c:v>
                </c:pt>
                <c:pt idx="16">
                  <c:v>0.1912443396463565</c:v>
                </c:pt>
                <c:pt idx="17">
                  <c:v>0.1866561263125896</c:v>
                </c:pt>
                <c:pt idx="18">
                  <c:v>0.1777456039456838</c:v>
                </c:pt>
                <c:pt idx="19">
                  <c:v>0.194119705293298</c:v>
                </c:pt>
                <c:pt idx="20">
                  <c:v>0.178250260105642</c:v>
                </c:pt>
                <c:pt idx="21">
                  <c:v>0.1700486054559059</c:v>
                </c:pt>
                <c:pt idx="22">
                  <c:v>0.17747898371109347</c:v>
                </c:pt>
                <c:pt idx="23">
                  <c:v>0.15616014960955585</c:v>
                </c:pt>
                <c:pt idx="24">
                  <c:v>0.1542039145040172</c:v>
                </c:pt>
                <c:pt idx="25">
                  <c:v>0.15213477744050805</c:v>
                </c:pt>
                <c:pt idx="26">
                  <c:v>0.15705965643622588</c:v>
                </c:pt>
                <c:pt idx="27">
                  <c:v>0.1681593817565031</c:v>
                </c:pt>
                <c:pt idx="28">
                  <c:v>0.17221582636072855</c:v>
                </c:pt>
                <c:pt idx="29">
                  <c:v>0.16642464835211232</c:v>
                </c:pt>
                <c:pt idx="30">
                  <c:v>0.15773039389671434</c:v>
                </c:pt>
                <c:pt idx="31">
                  <c:v>0.14928312671086522</c:v>
                </c:pt>
                <c:pt idx="32">
                  <c:v>0.14855546494145874</c:v>
                </c:pt>
                <c:pt idx="33">
                  <c:v>0.16245042368452642</c:v>
                </c:pt>
                <c:pt idx="34">
                  <c:v>0.18408948875376646</c:v>
                </c:pt>
                <c:pt idx="35">
                  <c:v>0.17526629355672196</c:v>
                </c:pt>
                <c:pt idx="36">
                  <c:v>0.15013209851681927</c:v>
                </c:pt>
                <c:pt idx="37">
                  <c:v>0.17124408534572538</c:v>
                </c:pt>
                <c:pt idx="38">
                  <c:v>0.15624333731003295</c:v>
                </c:pt>
                <c:pt idx="39">
                  <c:v>0.17047509051758433</c:v>
                </c:pt>
                <c:pt idx="40">
                  <c:v>0.17152131921059172</c:v>
                </c:pt>
                <c:pt idx="41">
                  <c:v>0.18402906490259321</c:v>
                </c:pt>
                <c:pt idx="42">
                  <c:v>0.18119485572693064</c:v>
                </c:pt>
                <c:pt idx="43">
                  <c:v>0.18683818035500446</c:v>
                </c:pt>
                <c:pt idx="44">
                  <c:v>0.18875786816117587</c:v>
                </c:pt>
                <c:pt idx="45">
                  <c:v>0.19301851394709954</c:v>
                </c:pt>
                <c:pt idx="46">
                  <c:v>0.1836246614828958</c:v>
                </c:pt>
                <c:pt idx="47">
                  <c:v>0.17985905864651539</c:v>
                </c:pt>
                <c:pt idx="48">
                  <c:v>0.1832188547745707</c:v>
                </c:pt>
                <c:pt idx="49">
                  <c:v>0.19897932509180358</c:v>
                </c:pt>
                <c:pt idx="50">
                  <c:v>0.20327045780622066</c:v>
                </c:pt>
                <c:pt idx="51">
                  <c:v>0.17909467297675974</c:v>
                </c:pt>
                <c:pt idx="52">
                  <c:v>0.20681639691817177</c:v>
                </c:pt>
                <c:pt idx="53">
                  <c:v>0.2869988711216287</c:v>
                </c:pt>
                <c:pt idx="54">
                  <c:v>0.1715682407920875</c:v>
                </c:pt>
              </c:numCache>
            </c:numRef>
          </c:xVal>
          <c:yVal>
            <c:numRef>
              <c:f>Sheet1!$B$187:$B$241</c:f>
              <c:numCache>
                <c:formatCode>General</c:formatCode>
                <c:ptCount val="55"/>
                <c:pt idx="0">
                  <c:v>0.159790529675707</c:v>
                </c:pt>
                <c:pt idx="1">
                  <c:v>0.1617316134741224</c:v>
                </c:pt>
                <c:pt idx="2">
                  <c:v>0.15822983624095255</c:v>
                </c:pt>
                <c:pt idx="3">
                  <c:v>0.16094758051821104</c:v>
                </c:pt>
                <c:pt idx="4">
                  <c:v>0.15795770592308933</c:v>
                </c:pt>
                <c:pt idx="5">
                  <c:v>0.158309473857808</c:v>
                </c:pt>
                <c:pt idx="6">
                  <c:v>0.15265078118828795</c:v>
                </c:pt>
                <c:pt idx="7">
                  <c:v>0.15045215818875646</c:v>
                </c:pt>
                <c:pt idx="8">
                  <c:v>0.15858517618447787</c:v>
                </c:pt>
                <c:pt idx="9">
                  <c:v>0.15655435203335322</c:v>
                </c:pt>
                <c:pt idx="10">
                  <c:v>0.15967156565129517</c:v>
                </c:pt>
                <c:pt idx="11">
                  <c:v>0.15345200605258866</c:v>
                </c:pt>
                <c:pt idx="12">
                  <c:v>0.15345771644872838</c:v>
                </c:pt>
                <c:pt idx="13">
                  <c:v>0.15448143769829836</c:v>
                </c:pt>
                <c:pt idx="14">
                  <c:v>0.15334723258465968</c:v>
                </c:pt>
                <c:pt idx="15">
                  <c:v>0.15098870606725026</c:v>
                </c:pt>
                <c:pt idx="16">
                  <c:v>0.1484524085393022</c:v>
                </c:pt>
                <c:pt idx="17">
                  <c:v>0.1464181612119438</c:v>
                </c:pt>
                <c:pt idx="18">
                  <c:v>0.14246755887685922</c:v>
                </c:pt>
                <c:pt idx="19">
                  <c:v>0.1497272413460991</c:v>
                </c:pt>
                <c:pt idx="20">
                  <c:v>0.1426913051087693</c:v>
                </c:pt>
                <c:pt idx="21">
                  <c:v>0.13905498900106886</c:v>
                </c:pt>
                <c:pt idx="22">
                  <c:v>0.14234934913808278</c:v>
                </c:pt>
                <c:pt idx="23">
                  <c:v>0.13289735156545773</c:v>
                </c:pt>
                <c:pt idx="24">
                  <c:v>0.13203002789377058</c:v>
                </c:pt>
                <c:pt idx="25">
                  <c:v>0.13111264759011193</c:v>
                </c:pt>
                <c:pt idx="26">
                  <c:v>0.13329616025742236</c:v>
                </c:pt>
                <c:pt idx="27">
                  <c:v>0.13821737575562348</c:v>
                </c:pt>
                <c:pt idx="28">
                  <c:v>0.14001585612138895</c:v>
                </c:pt>
                <c:pt idx="29">
                  <c:v>0.13744825790192852</c:v>
                </c:pt>
                <c:pt idx="30">
                  <c:v>0.13359354091239675</c:v>
                </c:pt>
                <c:pt idx="31">
                  <c:v>0.12984832911724503</c:v>
                </c:pt>
                <c:pt idx="32">
                  <c:v>0.1295257102889656</c:v>
                </c:pt>
                <c:pt idx="33">
                  <c:v>0.1356862308730499</c:v>
                </c:pt>
                <c:pt idx="34">
                  <c:v>0.14528020723846383</c:v>
                </c:pt>
                <c:pt idx="35">
                  <c:v>0.14136832260218127</c:v>
                </c:pt>
                <c:pt idx="36">
                  <c:v>0.1302247324144838</c:v>
                </c:pt>
                <c:pt idx="37">
                  <c:v>0.1395850214110439</c:v>
                </c:pt>
                <c:pt idx="38">
                  <c:v>0.13293423397371879</c:v>
                </c:pt>
                <c:pt idx="39">
                  <c:v>0.13924407700412503</c:v>
                </c:pt>
                <c:pt idx="40">
                  <c:v>0.13970793684841187</c:v>
                </c:pt>
                <c:pt idx="41">
                  <c:v>0.14525341749508958</c:v>
                </c:pt>
                <c:pt idx="42">
                  <c:v>0.14399683197446103</c:v>
                </c:pt>
                <c:pt idx="43">
                  <c:v>0.14649887736925313</c:v>
                </c:pt>
                <c:pt idx="44">
                  <c:v>0.14734999729437237</c:v>
                </c:pt>
                <c:pt idx="45">
                  <c:v>0.14923901305548573</c:v>
                </c:pt>
                <c:pt idx="46">
                  <c:v>0.14507411969094441</c:v>
                </c:pt>
                <c:pt idx="47">
                  <c:v>0.14340458801301972</c:v>
                </c:pt>
                <c:pt idx="48">
                  <c:v>0.14489419971953438</c:v>
                </c:pt>
                <c:pt idx="49">
                  <c:v>0.15188182045303264</c:v>
                </c:pt>
                <c:pt idx="50">
                  <c:v>0.1537843530121446</c:v>
                </c:pt>
                <c:pt idx="51">
                  <c:v>0.14306568713970422</c:v>
                </c:pt>
                <c:pt idx="52">
                  <c:v>0.1553564937642705</c:v>
                </c:pt>
                <c:pt idx="53">
                  <c:v>0.19090649372808105</c:v>
                </c:pt>
                <c:pt idx="54">
                  <c:v>0.1397287401752865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Isdi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55974338412189"/>
          <c:min val="0.0946539729036982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02/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xml"/></Relationships>
</file>

<file path=ppt/notesSlides/_rels/notesSlide1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8.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xml"/></Relationships>
</file>

<file path=ppt/notesSlides/_rels/notesSlide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xml"/></Relationships>
</file>

<file path=ppt/notesSlides/_rels/notesSlide1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xml"/></Relationships>
</file>

<file path=ppt/notesSlides/_rels/notesSlide1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3.xml"/></Relationships>
</file>

<file path=ppt/notesSlides/_rels/notesSlide1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6.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xml"/></Relationships>
</file>

<file path=ppt/notesSlides/_rels/notesSlide1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1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xml"/></Relationships>
</file>

<file path=ppt/notesSlides/_rels/notesSlide1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xml"/></Relationships>
</file>

<file path=ppt/notesSlides/_rels/notesSlide1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xml"/></Relationships>
</file>

<file path=ppt/notesSlides/_rels/notesSlide1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xml"/></Relationships>
</file>

<file path=ppt/notesSlides/_rels/notesSlide1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7.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xml"/></Relationships>
</file>

<file path=ppt/notesSlides/_rels/notesSlide1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1.xml"/></Relationships>
</file>

<file path=ppt/notesSlides/_rels/notesSlide1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xml"/></Relationships>
</file>

<file path=ppt/notesSlides/_rels/notesSlide1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3.xml"/></Relationships>
</file>

<file path=ppt/notesSlides/_rels/notesSlide1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xml"/></Relationships>
</file>

<file path=ppt/notesSlides/_rels/notesSlide1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xml"/></Relationships>
</file>

<file path=ppt/notesSlides/_rels/notesSlide1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xml"/></Relationships>
</file>

<file path=ppt/notesSlides/_rels/notesSlide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8.xml"/></Relationships>
</file>

<file path=ppt/notesSlides/_rels/notesSlide1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xml"/></Relationships>
</file>

<file path=ppt/notesSlides/_rels/notesSlide1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xml"/></Relationships>
</file>

<file path=ppt/notesSlides/_rels/notesSlide1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2.xml"/></Relationships>
</file>

<file path=ppt/notesSlides/_rels/notesSlide1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xml"/></Relationships>
</file>

<file path=ppt/notesSlides/_rels/notesSlide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xml"/></Relationships>
</file>

<file path=ppt/notesSlides/_rels/notesSlide1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5.xml"/></Relationships>
</file>

<file path=ppt/notesSlides/_rels/notesSlide1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xml"/></Relationships>
</file>

<file path=ppt/notesSlides/_rels/notesSlide1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7.xml"/></Relationships>
</file>

<file path=ppt/notesSlides/_rels/notesSlide1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8.xml"/></Relationships>
</file>

<file path=ppt/notesSlides/_rels/notesSlide1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xml"/></Relationships>
</file>

<file path=ppt/notesSlides/_rels/notesSlide1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xml"/></Relationships>
</file>

<file path=ppt/notesSlides/_rels/notesSlide1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xml"/></Relationships>
</file>

<file path=ppt/notesSlides/_rels/notesSlide1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3.xml"/></Relationships>
</file>

<file path=ppt/notesSlides/_rels/notesSlide1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xml"/></Relationships>
</file>

<file path=ppt/notesSlides/_rels/notesSlide1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xml"/></Relationships>
</file>

<file path=ppt/notesSlides/_rels/notesSlide1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6.xml"/></Relationships>
</file>

<file path=ppt/notesSlides/_rels/notesSlide1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xml"/></Relationships>
</file>

<file path=ppt/notesSlides/_rels/notesSlide1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xml"/></Relationships>
</file>

<file path=ppt/notesSlides/_rels/notesSlide1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xml"/></Relationships>
</file>

<file path=ppt/notesSlides/_rels/notesSlide1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xml"/></Relationships>
</file>

<file path=ppt/notesSlides/_rels/notesSlide1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2.xml"/></Relationships>
</file>

<file path=ppt/notesSlides/_rels/notesSlide1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xml"/></Relationships>
</file>

<file path=ppt/notesSlides/_rels/notesSlide1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xml"/></Relationships>
</file>

<file path=ppt/notesSlides/_rels/notesSlide1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5.xml"/></Relationships>
</file>

<file path=ppt/notesSlides/_rels/notesSlide1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xml"/></Relationships>
</file>

<file path=ppt/notesSlides/_rels/notesSlide1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7.xml"/></Relationships>
</file>

<file path=ppt/notesSlides/_rels/notesSlide1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xml"/></Relationships>
</file>

<file path=ppt/notesSlides/_rels/notesSlide1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xml"/></Relationships>
</file>

<file path=ppt/notesSlides/_rels/notesSlide2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xml"/></Relationships>
</file>

<file path=ppt/notesSlides/_rels/notesSlide2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2.xml"/></Relationships>
</file>

<file path=ppt/notesSlides/_rels/notesSlide2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3.xml"/></Relationships>
</file>

<file path=ppt/notesSlides/_rels/notesSlide2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4.xml"/></Relationships>
</file>

<file path=ppt/notesSlides/_rels/notesSlide2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5.xml"/></Relationships>
</file>

<file path=ppt/notesSlides/_rels/notesSlide2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6.xml"/></Relationships>
</file>

<file path=ppt/notesSlides/_rels/notesSlide2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7.xml"/></Relationships>
</file>

<file path=ppt/notesSlides/_rels/notesSlide2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8.xml"/></Relationships>
</file>

<file path=ppt/notesSlides/_rels/notesSlide2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9.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0.xml"/></Relationships>
</file>

<file path=ppt/notesSlides/_rels/notesSlide2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1.xml"/></Relationships>
</file>

<file path=ppt/notesSlides/_rels/notesSlide2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2.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3.xml"/></Relationships>
</file>

<file path=ppt/notesSlides/_rels/notesSlide2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4.xml"/></Relationships>
</file>

<file path=ppt/notesSlides/_rels/notesSlide2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5.xml"/></Relationships>
</file>

<file path=ppt/notesSlides/_rels/notesSlide2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6.xml"/></Relationships>
</file>

<file path=ppt/notesSlides/_rels/notesSlide2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7.xml"/></Relationships>
</file>

<file path=ppt/notesSlides/_rels/notesSlide2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8.xml"/></Relationships>
</file>

<file path=ppt/notesSlides/_rels/notesSlide2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9.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0.xml"/></Relationships>
</file>

<file path=ppt/notesSlides/_rels/notesSlide2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1.xml"/></Relationships>
</file>

<file path=ppt/notesSlides/_rels/notesSlide2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2.xml"/></Relationships>
</file>

<file path=ppt/notesSlides/_rels/notesSlide2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3.xml"/></Relationships>
</file>

<file path=ppt/notesSlides/_rels/notesSlide2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4.xml"/></Relationships>
</file>

<file path=ppt/notesSlides/_rels/notesSlide2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5.xml"/></Relationships>
</file>

<file path=ppt/notesSlides/_rels/notesSlide2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6.xml"/></Relationships>
</file>

<file path=ppt/notesSlides/_rels/notesSlide2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7.xml"/></Relationships>
</file>

<file path=ppt/notesSlides/_rels/notesSlide2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8.xml"/></Relationships>
</file>

<file path=ppt/notesSlides/_rels/notesSlide2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9.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0.xml"/></Relationships>
</file>

<file path=ppt/notesSlides/_rels/notesSlide2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1.xml"/></Relationships>
</file>

<file path=ppt/notesSlides/_rels/notesSlide2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2.xml"/></Relationships>
</file>

<file path=ppt/notesSlides/_rels/notesSlide2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3.xml"/></Relationships>
</file>

<file path=ppt/notesSlides/_rels/notesSlide2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4.xml"/></Relationships>
</file>

<file path=ppt/notesSlides/_rels/notesSlide2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5.xml"/></Relationships>
</file>

<file path=ppt/notesSlides/_rels/notesSlide2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6.xml"/></Relationships>
</file>

<file path=ppt/notesSlides/_rels/notesSlide2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7.xml"/></Relationships>
</file>

<file path=ppt/notesSlides/_rels/notesSlide2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8.xml"/></Relationships>
</file>

<file path=ppt/notesSlides/_rels/notesSlide2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9.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0.xml"/></Relationships>
</file>

<file path=ppt/notesSlides/_rels/notesSlide2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1.xml"/></Relationships>
</file>

<file path=ppt/notesSlides/_rels/notesSlide2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2.xml"/></Relationships>
</file>

<file path=ppt/notesSlides/_rels/notesSlide2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3.xml"/></Relationships>
</file>

<file path=ppt/notesSlides/_rels/notesSlide2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4.xml"/></Relationships>
</file>

<file path=ppt/notesSlides/_rels/notesSlide2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5.xml"/></Relationships>
</file>

<file path=ppt/notesSlides/_rels/notesSlide2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6.xml"/></Relationships>
</file>

<file path=ppt/notesSlides/_rels/notesSlide2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7.xml"/></Relationships>
</file>

<file path=ppt/notesSlides/_rels/notesSlide2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8.xml"/></Relationships>
</file>

<file path=ppt/notesSlides/_rels/notesSlide2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9.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0.xml"/></Relationships>
</file>

<file path=ppt/notesSlides/_rels/notesSlide2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1.xml"/></Relationships>
</file>

<file path=ppt/notesSlides/_rels/notesSlide2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2.xml"/></Relationships>
</file>

<file path=ppt/notesSlides/_rels/notesSlide2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3.xml"/></Relationships>
</file>

<file path=ppt/notesSlides/_rels/notesSlide2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4.xml"/></Relationships>
</file>

<file path=ppt/notesSlides/_rels/notesSlide2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5.xml"/></Relationships>
</file>

<file path=ppt/notesSlides/_rels/notesSlide2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6.xml"/></Relationships>
</file>

<file path=ppt/notesSlides/_rels/notesSlide2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7.xml"/></Relationships>
</file>

<file path=ppt/notesSlides/_rels/notesSlide2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8.xml"/></Relationships>
</file>

<file path=ppt/notesSlides/_rels/notesSlide2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9.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0.xml"/></Relationships>
</file>

<file path=ppt/notesSlides/_rels/notesSlide2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1.xml"/></Relationships>
</file>

<file path=ppt/notesSlides/_rels/notesSlide2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2.xml"/></Relationships>
</file>

<file path=ppt/notesSlides/_rels/notesSlide2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3.xml"/></Relationships>
</file>

<file path=ppt/notesSlides/_rels/notesSlide2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4.xml"/></Relationships>
</file>

<file path=ppt/notesSlides/_rels/notesSlide2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5.xml"/></Relationships>
</file>

<file path=ppt/notesSlides/_rels/notesSlide2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 Id="rId7" Type="http://schemas.openxmlformats.org/officeDocument/2006/relationships/chart" Target="../charts/chart2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3.xml"/><Relationship Id="rId7" Type="http://schemas.openxmlformats.org/officeDocument/2006/relationships/chart" Target="../charts/chart204.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notesSlide" Target="../notesSlides/notesSlide1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notesSlide" Target="../notesSlides/notesSlide1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7.xml"/><Relationship Id="rId7" Type="http://schemas.openxmlformats.org/officeDocument/2006/relationships/chart" Target="../charts/chart208.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notesSlide" Target="../notesSlides/notesSlide1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1.xml"/><Relationship Id="rId7" Type="http://schemas.openxmlformats.org/officeDocument/2006/relationships/chart" Target="../charts/chart212.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notesSlide" Target="../notesSlides/notesSlide1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3.xml"/><Relationship Id="rId7" Type="http://schemas.openxmlformats.org/officeDocument/2006/relationships/chart" Target="../charts/chart214.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5.xml"/><Relationship Id="rId7" Type="http://schemas.openxmlformats.org/officeDocument/2006/relationships/chart" Target="../charts/chart216.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notesSlide" Target="../notesSlides/notesSlide1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 Id="rId7" Type="http://schemas.openxmlformats.org/officeDocument/2006/relationships/chart" Target="../charts/chart22.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notesSlide" Target="../notesSlides/notesSlide1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9.xml"/><Relationship Id="rId7" Type="http://schemas.openxmlformats.org/officeDocument/2006/relationships/chart" Target="../charts/chart22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notesSlide" Target="../notesSlides/notesSlide1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notesSlide" Target="../notesSlides/notesSlide1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3.xml"/><Relationship Id="rId7" Type="http://schemas.openxmlformats.org/officeDocument/2006/relationships/chart" Target="../charts/chart224.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notesSlide" Target="../notesSlides/notesSlide1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notesSlide" Target="../notesSlides/notesSlide1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7.xml"/><Relationship Id="rId7" Type="http://schemas.openxmlformats.org/officeDocument/2006/relationships/chart" Target="../charts/chart228.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notesSlide" Target="../notesSlides/notesSlide1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notesSlide" Target="../notesSlides/notesSlide1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1.xml"/><Relationship Id="rId7" Type="http://schemas.openxmlformats.org/officeDocument/2006/relationships/chart" Target="../charts/chart232.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notesSlide" Target="../notesSlides/notesSlide1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notesSlide" Target="../notesSlides/notesSlide1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5.xml"/><Relationship Id="rId7" Type="http://schemas.openxmlformats.org/officeDocument/2006/relationships/chart" Target="../charts/chart236.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notesSlide" Target="../notesSlides/notesSlide1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7.xml"/><Relationship Id="rId7" Type="http://schemas.openxmlformats.org/officeDocument/2006/relationships/chart" Target="../charts/chart23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notesSlide" Target="../notesSlides/notesSlide1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9.xml"/><Relationship Id="rId7" Type="http://schemas.openxmlformats.org/officeDocument/2006/relationships/chart" Target="../charts/chart24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notesSlide" Target="../notesSlides/notesSlide1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notesSlide" Target="../notesSlides/notesSlide1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notesSlide" Target="../notesSlides/notesSlide1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5.xml"/><Relationship Id="rId7" Type="http://schemas.openxmlformats.org/officeDocument/2006/relationships/chart" Target="../charts/chart246.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notesSlide" Target="../notesSlides/notesSlide1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7.xml"/><Relationship Id="rId7" Type="http://schemas.openxmlformats.org/officeDocument/2006/relationships/chart" Target="../charts/chart248.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notesSlide" Target="../notesSlides/notesSlide1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notesSlide" Target="../notesSlides/notesSlide1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1.xml"/><Relationship Id="rId7" Type="http://schemas.openxmlformats.org/officeDocument/2006/relationships/chart" Target="../charts/chart252.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notesSlide" Target="../notesSlides/notesSlide1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notesSlide" Target="../notesSlides/notesSlide1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5.xml"/><Relationship Id="rId7" Type="http://schemas.openxmlformats.org/officeDocument/2006/relationships/chart" Target="../charts/chart256.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notesSlide" Target="../notesSlides/notesSlide1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notesSlide" Target="../notesSlides/notesSlide1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9.xml"/><Relationship Id="rId7" Type="http://schemas.openxmlformats.org/officeDocument/2006/relationships/chart" Target="../charts/chart26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notesSlide" Target="../notesSlides/notesSlide1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1.xml"/><Relationship Id="rId7" Type="http://schemas.openxmlformats.org/officeDocument/2006/relationships/chart" Target="../charts/chart262.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notesSlide" Target="../notesSlides/notesSlide1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3.xml"/><Relationship Id="rId7" Type="http://schemas.openxmlformats.org/officeDocument/2006/relationships/chart" Target="../charts/chart264.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notesSlide" Target="../notesSlides/notesSlide1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notesSlide" Target="../notesSlides/notesSlide1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7.xml"/><Relationship Id="rId7" Type="http://schemas.openxmlformats.org/officeDocument/2006/relationships/chart" Target="../charts/chart268.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notesSlide" Target="../notesSlides/notesSlide1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9.xml"/><Relationship Id="rId7" Type="http://schemas.openxmlformats.org/officeDocument/2006/relationships/chart" Target="../charts/chart270.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notesSlide" Target="../notesSlides/notesSlide1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1.xml"/><Relationship Id="rId7" Type="http://schemas.openxmlformats.org/officeDocument/2006/relationships/chart" Target="../charts/chart272.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notesSlide" Target="../notesSlides/notesSlide1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notesSlide" Target="../notesSlides/notesSlide1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5.xml"/><Relationship Id="rId7" Type="http://schemas.openxmlformats.org/officeDocument/2006/relationships/chart" Target="../charts/chart276.xml"/></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notesSlide" Target="../notesSlides/notesSlide1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 Id="rId7" Type="http://schemas.openxmlformats.org/officeDocument/2006/relationships/chart" Target="../charts/chart28.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notesSlide" Target="../notesSlides/notesSlide1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9.xml"/><Relationship Id="rId7" Type="http://schemas.openxmlformats.org/officeDocument/2006/relationships/chart" Target="../charts/chart28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notesSlide" Target="../notesSlides/notesSlide1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notesSlide" Target="../notesSlides/notesSlide1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3.xml"/><Relationship Id="rId7" Type="http://schemas.openxmlformats.org/officeDocument/2006/relationships/chart" Target="../charts/chart284.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notesSlide" Target="../notesSlides/notesSlide1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5.xml"/><Relationship Id="rId7" Type="http://schemas.openxmlformats.org/officeDocument/2006/relationships/chart" Target="../charts/chart286.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notesSlide" Target="../notesSlides/notesSlide1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notesSlide" Target="../notesSlides/notesSlide1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notesSlide" Target="../notesSlides/notesSlide1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1.xml"/><Relationship Id="rId7" Type="http://schemas.openxmlformats.org/officeDocument/2006/relationships/chart" Target="../charts/chart292.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notesSlide" Target="../notesSlides/notesSlide1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3.xml"/><Relationship Id="rId7" Type="http://schemas.openxmlformats.org/officeDocument/2006/relationships/chart" Target="../charts/chart294.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notesSlide" Target="../notesSlides/notesSlide1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5.xml"/><Relationship Id="rId7" Type="http://schemas.openxmlformats.org/officeDocument/2006/relationships/chart" Target="../charts/chart296.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notesSlide" Target="../notesSlides/notesSlide1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7.xml"/><Relationship Id="rId7" Type="http://schemas.openxmlformats.org/officeDocument/2006/relationships/chart" Target="../charts/chart29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 Id="rId7" Type="http://schemas.openxmlformats.org/officeDocument/2006/relationships/chart" Target="../charts/chart30.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notesSlide" Target="../notesSlides/notesSlide1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9.xml"/><Relationship Id="rId7" Type="http://schemas.openxmlformats.org/officeDocument/2006/relationships/chart" Target="../charts/chart300.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notesSlide" Target="../notesSlides/notesSlide1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notesSlide" Target="../notesSlides/notesSlide1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3.xml"/><Relationship Id="rId7" Type="http://schemas.openxmlformats.org/officeDocument/2006/relationships/chart" Target="../charts/chart304.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notesSlide" Target="../notesSlides/notesSlide1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5.xml"/><Relationship Id="rId7" Type="http://schemas.openxmlformats.org/officeDocument/2006/relationships/chart" Target="../charts/chart306.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notesSlide" Target="../notesSlides/notesSlide1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7.xml"/><Relationship Id="rId7" Type="http://schemas.openxmlformats.org/officeDocument/2006/relationships/chart" Target="../charts/chart308.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notesSlide" Target="../notesSlides/notesSlide1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9.xml"/><Relationship Id="rId7" Type="http://schemas.openxmlformats.org/officeDocument/2006/relationships/chart" Target="../charts/chart310.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notesSlide" Target="../notesSlides/notesSlide1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1.xml"/><Relationship Id="rId7" Type="http://schemas.openxmlformats.org/officeDocument/2006/relationships/chart" Target="../charts/chart312.xml"/></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notesSlide" Target="../notesSlides/notesSlide1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notesSlide" Target="../notesSlides/notesSlide1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5.xml"/><Relationship Id="rId7" Type="http://schemas.openxmlformats.org/officeDocument/2006/relationships/chart" Target="../charts/chart316.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notesSlide" Target="../notesSlides/notesSlide1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7.xml"/><Relationship Id="rId7" Type="http://schemas.openxmlformats.org/officeDocument/2006/relationships/chart" Target="../charts/chart318.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 Id="rId7" Type="http://schemas.openxmlformats.org/officeDocument/2006/relationships/chart" Target="../charts/chart32.xml"/></Relationships>
</file>

<file path=ppt/slides/_rels/slide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slideLayout" Target="../slideLayouts/slideLayout7.xml"/><Relationship Id="rId3" Type="http://schemas.openxmlformats.org/officeDocument/2006/relationships/notesSlide" Target="../notesSlides/notesSlide1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9.xml"/><Relationship Id="rId7" Type="http://schemas.openxmlformats.org/officeDocument/2006/relationships/chart" Target="../charts/chart320.xml"/></Relationships>
</file>

<file path=ppt/slides/_rels/slide161.xml.rels><?xml version='1.0' encoding='UTF-8' standalone='yes'?>
<Relationships xmlns="http://schemas.openxmlformats.org/package/2006/relationships"><Relationship Id="rId1" Type="http://schemas.openxmlformats.org/officeDocument/2006/relationships/tags" Target="../tags/tag188.xml"/><Relationship Id="rId2" Type="http://schemas.openxmlformats.org/officeDocument/2006/relationships/slideLayout" Target="../slideLayouts/slideLayout7.xml"/><Relationship Id="rId3" Type="http://schemas.openxmlformats.org/officeDocument/2006/relationships/notesSlide" Target="../notesSlides/notesSlide1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1.xml"/><Relationship Id="rId7" Type="http://schemas.openxmlformats.org/officeDocument/2006/relationships/chart" Target="../charts/chart322.xml"/></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notesSlide" Target="../notesSlides/notesSlide1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3.xml"/><Relationship Id="rId7" Type="http://schemas.openxmlformats.org/officeDocument/2006/relationships/chart" Target="../charts/chart324.xml"/></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notesSlide" Target="../notesSlides/notesSlide1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s>
</file>

<file path=ppt/slides/_rels/slide164.xml.rels><?xml version='1.0' encoding='UTF-8' standalone='yes'?>
<Relationships xmlns="http://schemas.openxmlformats.org/package/2006/relationships"><Relationship Id="rId1" Type="http://schemas.openxmlformats.org/officeDocument/2006/relationships/tags" Target="../tags/tag191.xml"/><Relationship Id="rId2" Type="http://schemas.openxmlformats.org/officeDocument/2006/relationships/slideLayout" Target="../slideLayouts/slideLayout7.xml"/><Relationship Id="rId3" Type="http://schemas.openxmlformats.org/officeDocument/2006/relationships/notesSlide" Target="../notesSlides/notesSlide1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7.xml"/><Relationship Id="rId7" Type="http://schemas.openxmlformats.org/officeDocument/2006/relationships/chart" Target="../charts/chart328.xml"/></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notesSlide" Target="../notesSlides/notesSlide1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9.xml"/><Relationship Id="rId7" Type="http://schemas.openxmlformats.org/officeDocument/2006/relationships/chart" Target="../charts/chart330.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notesSlide" Target="../notesSlides/notesSlide1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1.xml"/><Relationship Id="rId7" Type="http://schemas.openxmlformats.org/officeDocument/2006/relationships/chart" Target="../charts/chart332.xml"/></Relationships>
</file>

<file path=ppt/slides/_rels/slide167.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notesSlide" Target="../notesSlides/notesSlide1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3.xml"/><Relationship Id="rId7" Type="http://schemas.openxmlformats.org/officeDocument/2006/relationships/chart" Target="../charts/chart334.xml"/></Relationships>
</file>

<file path=ppt/slides/_rels/slide168.xml.rels><?xml version='1.0' encoding='UTF-8' standalone='yes'?>
<Relationships xmlns="http://schemas.openxmlformats.org/package/2006/relationships"><Relationship Id="rId1" Type="http://schemas.openxmlformats.org/officeDocument/2006/relationships/tags" Target="../tags/tag195.xml"/><Relationship Id="rId2" Type="http://schemas.openxmlformats.org/officeDocument/2006/relationships/slideLayout" Target="../slideLayouts/slideLayout7.xml"/><Relationship Id="rId3" Type="http://schemas.openxmlformats.org/officeDocument/2006/relationships/notesSlide" Target="../notesSlides/notesSlide1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5.xml"/><Relationship Id="rId7" Type="http://schemas.openxmlformats.org/officeDocument/2006/relationships/chart" Target="../charts/chart336.xml"/></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notesSlide" Target="../notesSlides/notesSlide1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notesSlide" Target="../notesSlides/notesSlide1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9.xml"/><Relationship Id="rId7" Type="http://schemas.openxmlformats.org/officeDocument/2006/relationships/chart" Target="../charts/chart340.xml"/></Relationships>
</file>

<file path=ppt/slides/_rels/slide171.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notesSlide" Target="../notesSlides/notesSlide1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1.xml"/><Relationship Id="rId7" Type="http://schemas.openxmlformats.org/officeDocument/2006/relationships/chart" Target="../charts/chart342.xml"/></Relationships>
</file>

<file path=ppt/slides/_rels/slide172.xml.rels><?xml version='1.0' encoding='UTF-8' standalone='yes'?>
<Relationships xmlns="http://schemas.openxmlformats.org/package/2006/relationships"><Relationship Id="rId1" Type="http://schemas.openxmlformats.org/officeDocument/2006/relationships/tags" Target="../tags/tag199.xml"/><Relationship Id="rId2" Type="http://schemas.openxmlformats.org/officeDocument/2006/relationships/slideLayout" Target="../slideLayouts/slideLayout7.xml"/><Relationship Id="rId3" Type="http://schemas.openxmlformats.org/officeDocument/2006/relationships/notesSlide" Target="../notesSlides/notesSlide1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3.xml"/><Relationship Id="rId7" Type="http://schemas.openxmlformats.org/officeDocument/2006/relationships/chart" Target="../charts/chart344.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notesSlide" Target="../notesSlides/notesSlide1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5.xml"/><Relationship Id="rId7" Type="http://schemas.openxmlformats.org/officeDocument/2006/relationships/chart" Target="../charts/chart346.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notesSlide" Target="../notesSlides/notesSlide1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7.xml"/><Relationship Id="rId7" Type="http://schemas.openxmlformats.org/officeDocument/2006/relationships/chart" Target="../charts/chart348.xml"/></Relationships>
</file>

<file path=ppt/slides/_rels/slide175.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notesSlide" Target="../notesSlides/notesSlide1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notesSlide" Target="../notesSlides/notesSlide1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1.xml"/><Relationship Id="rId7" Type="http://schemas.openxmlformats.org/officeDocument/2006/relationships/chart" Target="../charts/chart352.xml"/></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notesSlide" Target="../notesSlides/notesSlide1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3.xml"/><Relationship Id="rId7" Type="http://schemas.openxmlformats.org/officeDocument/2006/relationships/chart" Target="../charts/chart354.xml"/></Relationships>
</file>

<file path=ppt/slides/_rels/slide178.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notesSlide" Target="../notesSlides/notesSlide1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5.xml"/><Relationship Id="rId7" Type="http://schemas.openxmlformats.org/officeDocument/2006/relationships/chart" Target="../charts/chart356.xml"/></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notesSlide" Target="../notesSlides/notesSlide1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7.xml"/><Relationship Id="rId7" Type="http://schemas.openxmlformats.org/officeDocument/2006/relationships/chart" Target="../charts/chart358.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 Id="rId7" Type="http://schemas.openxmlformats.org/officeDocument/2006/relationships/chart" Target="../charts/chart36.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notesSlide" Target="../notesSlides/notesSlide1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9.xml"/><Relationship Id="rId7" Type="http://schemas.openxmlformats.org/officeDocument/2006/relationships/chart" Target="../charts/chart360.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notesSlide" Target="../notesSlides/notesSlide1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s>
</file>

<file path=ppt/slides/_rels/slide182.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notesSlide" Target="../notesSlides/notesSlide1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3.xml"/><Relationship Id="rId7" Type="http://schemas.openxmlformats.org/officeDocument/2006/relationships/chart" Target="../charts/chart364.xml"/></Relationships>
</file>

<file path=ppt/slides/_rels/slide183.xml.rels><?xml version='1.0' encoding='UTF-8' standalone='yes'?>
<Relationships xmlns="http://schemas.openxmlformats.org/package/2006/relationships"><Relationship Id="rId1" Type="http://schemas.openxmlformats.org/officeDocument/2006/relationships/tags" Target="../tags/tag210.xml"/><Relationship Id="rId2" Type="http://schemas.openxmlformats.org/officeDocument/2006/relationships/slideLayout" Target="../slideLayouts/slideLayout7.xml"/><Relationship Id="rId3" Type="http://schemas.openxmlformats.org/officeDocument/2006/relationships/notesSlide" Target="../notesSlides/notesSlide1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5.xml"/><Relationship Id="rId7" Type="http://schemas.openxmlformats.org/officeDocument/2006/relationships/chart" Target="../charts/chart366.xml"/></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notesSlide" Target="../notesSlides/notesSlide1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7.xml"/><Relationship Id="rId7" Type="http://schemas.openxmlformats.org/officeDocument/2006/relationships/chart" Target="../charts/chart368.xml"/></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notesSlide" Target="../notesSlides/notesSlide1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9.xml"/><Relationship Id="rId7" Type="http://schemas.openxmlformats.org/officeDocument/2006/relationships/chart" Target="../charts/chart370.xml"/></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notesSlide" Target="../notesSlides/notesSlide1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1.xml"/><Relationship Id="rId7" Type="http://schemas.openxmlformats.org/officeDocument/2006/relationships/chart" Target="../charts/chart372.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notesSlide" Target="../notesSlides/notesSlide1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notesSlide" Target="../notesSlides/notesSlide1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5.xml"/><Relationship Id="rId7" Type="http://schemas.openxmlformats.org/officeDocument/2006/relationships/chart" Target="../charts/chart376.xml"/></Relationships>
</file>

<file path=ppt/slides/_rels/slide189.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notesSlide" Target="../notesSlides/notesSlide1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7.xml"/><Relationship Id="rId7" Type="http://schemas.openxmlformats.org/officeDocument/2006/relationships/chart" Target="../charts/chart37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s>
</file>

<file path=ppt/slides/_rels/slide190.xml.rels><?xml version='1.0' encoding='UTF-8' standalone='yes'?>
<Relationships xmlns="http://schemas.openxmlformats.org/package/2006/relationships"><Relationship Id="rId1" Type="http://schemas.openxmlformats.org/officeDocument/2006/relationships/tags" Target="../tags/tag217.xml"/><Relationship Id="rId2" Type="http://schemas.openxmlformats.org/officeDocument/2006/relationships/slideLayout" Target="../slideLayouts/slideLayout7.xml"/><Relationship Id="rId3" Type="http://schemas.openxmlformats.org/officeDocument/2006/relationships/notesSlide" Target="../notesSlides/notesSlide1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9.xml"/><Relationship Id="rId7" Type="http://schemas.openxmlformats.org/officeDocument/2006/relationships/chart" Target="../charts/chart380.xml"/></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notesSlide" Target="../notesSlides/notesSlide1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1.xml"/><Relationship Id="rId7" Type="http://schemas.openxmlformats.org/officeDocument/2006/relationships/chart" Target="../charts/chart382.xml"/></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notesSlide" Target="../notesSlides/notesSlide1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3.xml"/><Relationship Id="rId7" Type="http://schemas.openxmlformats.org/officeDocument/2006/relationships/chart" Target="../charts/chart384.xml"/></Relationships>
</file>

<file path=ppt/slides/_rels/slide193.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notesSlide" Target="../notesSlides/notesSlide1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s>
</file>

<file path=ppt/slides/_rels/slide194.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notesSlide" Target="../notesSlides/notesSlide1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7.xml"/><Relationship Id="rId7" Type="http://schemas.openxmlformats.org/officeDocument/2006/relationships/chart" Target="../charts/chart388.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notesSlide" Target="../notesSlides/notesSlide1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9.xml"/><Relationship Id="rId7" Type="http://schemas.openxmlformats.org/officeDocument/2006/relationships/chart" Target="../charts/chart390.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notesSlide" Target="../notesSlides/notesSlide1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1.xml"/><Relationship Id="rId7" Type="http://schemas.openxmlformats.org/officeDocument/2006/relationships/chart" Target="../charts/chart392.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notesSlide" Target="../notesSlides/notesSlide1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3.xml"/><Relationship Id="rId7" Type="http://schemas.openxmlformats.org/officeDocument/2006/relationships/chart" Target="../charts/chart394.xml"/></Relationships>
</file>

<file path=ppt/slides/_rels/slide198.xml.rels><?xml version='1.0' encoding='UTF-8' standalone='yes'?>
<Relationships xmlns="http://schemas.openxmlformats.org/package/2006/relationships"><Relationship Id="rId1" Type="http://schemas.openxmlformats.org/officeDocument/2006/relationships/tags" Target="../tags/tag225.xml"/><Relationship Id="rId2" Type="http://schemas.openxmlformats.org/officeDocument/2006/relationships/slideLayout" Target="../slideLayouts/slideLayout7.xml"/><Relationship Id="rId3" Type="http://schemas.openxmlformats.org/officeDocument/2006/relationships/notesSlide" Target="../notesSlides/notesSlide1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5.xml"/><Relationship Id="rId7" Type="http://schemas.openxmlformats.org/officeDocument/2006/relationships/chart" Target="../charts/chart396.xml"/></Relationships>
</file>

<file path=ppt/slides/_rels/slide199.xml.rels><?xml version='1.0' encoding='UTF-8' standalone='yes'?>
<Relationships xmlns="http://schemas.openxmlformats.org/package/2006/relationships"><Relationship Id="rId1" Type="http://schemas.openxmlformats.org/officeDocument/2006/relationships/tags" Target="../tags/tag226.xml"/><Relationship Id="rId2" Type="http://schemas.openxmlformats.org/officeDocument/2006/relationships/slideLayout" Target="../slideLayouts/slideLayout7.xml"/><Relationship Id="rId3" Type="http://schemas.openxmlformats.org/officeDocument/2006/relationships/notesSlide" Target="../notesSlides/notesSlide1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 Id="rId7" Type="http://schemas.openxmlformats.org/officeDocument/2006/relationships/chart" Target="../charts/chart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 Id="rId7" Type="http://schemas.openxmlformats.org/officeDocument/2006/relationships/chart" Target="../charts/chart40.xml"/></Relationships>
</file>

<file path=ppt/slides/_rels/slide200.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notesSlide" Target="../notesSlides/notesSlide2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9.xml"/><Relationship Id="rId7" Type="http://schemas.openxmlformats.org/officeDocument/2006/relationships/chart" Target="../charts/chart400.xml"/></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notesSlide" Target="../notesSlides/notesSlide2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1.xml"/><Relationship Id="rId7" Type="http://schemas.openxmlformats.org/officeDocument/2006/relationships/chart" Target="../charts/chart402.xml"/></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notesSlide" Target="../notesSlides/notesSlide2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3.xml"/><Relationship Id="rId7" Type="http://schemas.openxmlformats.org/officeDocument/2006/relationships/chart" Target="../charts/chart404.xml"/></Relationships>
</file>

<file path=ppt/slides/_rels/slide203.xml.rels><?xml version='1.0' encoding='UTF-8' standalone='yes'?>
<Relationships xmlns="http://schemas.openxmlformats.org/package/2006/relationships"><Relationship Id="rId1" Type="http://schemas.openxmlformats.org/officeDocument/2006/relationships/tags" Target="../tags/tag230.xml"/><Relationship Id="rId2" Type="http://schemas.openxmlformats.org/officeDocument/2006/relationships/slideLayout" Target="../slideLayouts/slideLayout7.xml"/><Relationship Id="rId3" Type="http://schemas.openxmlformats.org/officeDocument/2006/relationships/notesSlide" Target="../notesSlides/notesSlide2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5.xml"/><Relationship Id="rId7" Type="http://schemas.openxmlformats.org/officeDocument/2006/relationships/chart" Target="../charts/chart406.xml"/></Relationships>
</file>

<file path=ppt/slides/_rels/slide204.xml.rels><?xml version='1.0' encoding='UTF-8' standalone='yes'?>
<Relationships xmlns="http://schemas.openxmlformats.org/package/2006/relationships"><Relationship Id="rId1" Type="http://schemas.openxmlformats.org/officeDocument/2006/relationships/tags" Target="../tags/tag231.xml"/><Relationship Id="rId2" Type="http://schemas.openxmlformats.org/officeDocument/2006/relationships/slideLayout" Target="../slideLayouts/slideLayout7.xml"/><Relationship Id="rId3" Type="http://schemas.openxmlformats.org/officeDocument/2006/relationships/notesSlide" Target="../notesSlides/notesSlide2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7.xml"/><Relationship Id="rId7" Type="http://schemas.openxmlformats.org/officeDocument/2006/relationships/chart" Target="../charts/chart408.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notesSlide" Target="../notesSlides/notesSlide2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s>
</file>

<file path=ppt/slides/_rels/slide206.xml.rels><?xml version='1.0' encoding='UTF-8' standalone='yes'?>
<Relationships xmlns="http://schemas.openxmlformats.org/package/2006/relationships"><Relationship Id="rId1" Type="http://schemas.openxmlformats.org/officeDocument/2006/relationships/tags" Target="../tags/tag233.xml"/><Relationship Id="rId2" Type="http://schemas.openxmlformats.org/officeDocument/2006/relationships/slideLayout" Target="../slideLayouts/slideLayout7.xml"/><Relationship Id="rId3" Type="http://schemas.openxmlformats.org/officeDocument/2006/relationships/notesSlide" Target="../notesSlides/notesSlide2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1.xml"/><Relationship Id="rId7" Type="http://schemas.openxmlformats.org/officeDocument/2006/relationships/chart" Target="../charts/chart412.xml"/></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notesSlide" Target="../notesSlides/notesSlide2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3.xml"/><Relationship Id="rId7" Type="http://schemas.openxmlformats.org/officeDocument/2006/relationships/chart" Target="../charts/chart414.xml"/></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notesSlide" Target="../notesSlides/notesSlide2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5.xml"/><Relationship Id="rId7" Type="http://schemas.openxmlformats.org/officeDocument/2006/relationships/chart" Target="../charts/chart416.xml"/></Relationships>
</file>

<file path=ppt/slides/_rels/slide209.xml.rels><?xml version='1.0' encoding='UTF-8' standalone='yes'?>
<Relationships xmlns="http://schemas.openxmlformats.org/package/2006/relationships"><Relationship Id="rId1" Type="http://schemas.openxmlformats.org/officeDocument/2006/relationships/tags" Target="../tags/tag236.xml"/><Relationship Id="rId2" Type="http://schemas.openxmlformats.org/officeDocument/2006/relationships/slideLayout" Target="../slideLayouts/slideLayout7.xml"/><Relationship Id="rId3" Type="http://schemas.openxmlformats.org/officeDocument/2006/relationships/notesSlide" Target="../notesSlides/notesSlide2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7.xml"/><Relationship Id="rId7" Type="http://schemas.openxmlformats.org/officeDocument/2006/relationships/chart" Target="../charts/chart418.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s>
</file>

<file path=ppt/slides/_rels/slide210.xml.rels><?xml version='1.0' encoding='UTF-8' standalone='yes'?>
<Relationships xmlns="http://schemas.openxmlformats.org/package/2006/relationships"><Relationship Id="rId1" Type="http://schemas.openxmlformats.org/officeDocument/2006/relationships/tags" Target="../tags/tag237.xml"/><Relationship Id="rId2" Type="http://schemas.openxmlformats.org/officeDocument/2006/relationships/slideLayout" Target="../slideLayouts/slideLayout7.xml"/><Relationship Id="rId3" Type="http://schemas.openxmlformats.org/officeDocument/2006/relationships/notesSlide" Target="../notesSlides/notesSlide2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9.xml"/><Relationship Id="rId7" Type="http://schemas.openxmlformats.org/officeDocument/2006/relationships/chart" Target="../charts/chart420.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notesSlide" Target="../notesSlides/notesSlide2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notesSlide" Target="../notesSlides/notesSlide2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3.xml"/><Relationship Id="rId7" Type="http://schemas.openxmlformats.org/officeDocument/2006/relationships/chart" Target="../charts/chart424.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notesSlide" Target="../notesSlides/notesSlide2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5.xml"/><Relationship Id="rId7" Type="http://schemas.openxmlformats.org/officeDocument/2006/relationships/chart" Target="../charts/chart426.xml"/></Relationships>
</file>

<file path=ppt/slides/_rels/slide214.xml.rels><?xml version='1.0' encoding='UTF-8' standalone='yes'?>
<Relationships xmlns="http://schemas.openxmlformats.org/package/2006/relationships"><Relationship Id="rId1" Type="http://schemas.openxmlformats.org/officeDocument/2006/relationships/tags" Target="../tags/tag241.xml"/><Relationship Id="rId2" Type="http://schemas.openxmlformats.org/officeDocument/2006/relationships/slideLayout" Target="../slideLayouts/slideLayout7.xml"/><Relationship Id="rId3" Type="http://schemas.openxmlformats.org/officeDocument/2006/relationships/notesSlide" Target="../notesSlides/notesSlide2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7.xml"/><Relationship Id="rId7" Type="http://schemas.openxmlformats.org/officeDocument/2006/relationships/chart" Target="../charts/chart428.xml"/></Relationships>
</file>

<file path=ppt/slides/_rels/slide215.xml.rels><?xml version='1.0' encoding='UTF-8' standalone='yes'?>
<Relationships xmlns="http://schemas.openxmlformats.org/package/2006/relationships"><Relationship Id="rId1" Type="http://schemas.openxmlformats.org/officeDocument/2006/relationships/tags" Target="../tags/tag242.xml"/><Relationship Id="rId2" Type="http://schemas.openxmlformats.org/officeDocument/2006/relationships/slideLayout" Target="../slideLayouts/slideLayout7.xml"/><Relationship Id="rId3" Type="http://schemas.openxmlformats.org/officeDocument/2006/relationships/notesSlide" Target="../notesSlides/notesSlide2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9.xml"/><Relationship Id="rId7" Type="http://schemas.openxmlformats.org/officeDocument/2006/relationships/chart" Target="../charts/chart430.xml"/></Relationships>
</file>

<file path=ppt/slides/_rels/slide216.xml.rels><?xml version='1.0' encoding='UTF-8' standalone='yes'?>
<Relationships xmlns="http://schemas.openxmlformats.org/package/2006/relationships"><Relationship Id="rId1" Type="http://schemas.openxmlformats.org/officeDocument/2006/relationships/tags" Target="../tags/tag243.xml"/><Relationship Id="rId2" Type="http://schemas.openxmlformats.org/officeDocument/2006/relationships/slideLayout" Target="../slideLayouts/slideLayout7.xml"/><Relationship Id="rId3" Type="http://schemas.openxmlformats.org/officeDocument/2006/relationships/notesSlide" Target="../notesSlides/notesSlide2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1.xml"/><Relationship Id="rId7" Type="http://schemas.openxmlformats.org/officeDocument/2006/relationships/chart" Target="../charts/chart432.xml"/></Relationships>
</file>

<file path=ppt/slides/_rels/slide217.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notesSlide" Target="../notesSlides/notesSlide2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notesSlide" Target="../notesSlides/notesSlide2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5.xml"/><Relationship Id="rId7" Type="http://schemas.openxmlformats.org/officeDocument/2006/relationships/chart" Target="../charts/chart436.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notesSlide" Target="../notesSlides/notesSlide2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7.xml"/><Relationship Id="rId7" Type="http://schemas.openxmlformats.org/officeDocument/2006/relationships/chart" Target="../charts/chart43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 Id="rId7" Type="http://schemas.openxmlformats.org/officeDocument/2006/relationships/chart" Target="../charts/chart44.xml"/></Relationships>
</file>

<file path=ppt/slides/_rels/slide220.xml.rels><?xml version='1.0' encoding='UTF-8' standalone='yes'?>
<Relationships xmlns="http://schemas.openxmlformats.org/package/2006/relationships"><Relationship Id="rId1" Type="http://schemas.openxmlformats.org/officeDocument/2006/relationships/tags" Target="../tags/tag247.xml"/><Relationship Id="rId2" Type="http://schemas.openxmlformats.org/officeDocument/2006/relationships/slideLayout" Target="../slideLayouts/slideLayout7.xml"/><Relationship Id="rId3" Type="http://schemas.openxmlformats.org/officeDocument/2006/relationships/notesSlide" Target="../notesSlides/notesSlide2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9.xml"/><Relationship Id="rId7" Type="http://schemas.openxmlformats.org/officeDocument/2006/relationships/chart" Target="../charts/chart440.xml"/></Relationships>
</file>

<file path=ppt/slides/_rels/slide221.xml.rels><?xml version='1.0' encoding='UTF-8' standalone='yes'?>
<Relationships xmlns="http://schemas.openxmlformats.org/package/2006/relationships"><Relationship Id="rId1" Type="http://schemas.openxmlformats.org/officeDocument/2006/relationships/tags" Target="../tags/tag248.xml"/><Relationship Id="rId2" Type="http://schemas.openxmlformats.org/officeDocument/2006/relationships/slideLayout" Target="../slideLayouts/slideLayout7.xml"/><Relationship Id="rId3" Type="http://schemas.openxmlformats.org/officeDocument/2006/relationships/notesSlide" Target="../notesSlides/notesSlide2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1.xml"/><Relationship Id="rId7" Type="http://schemas.openxmlformats.org/officeDocument/2006/relationships/chart" Target="../charts/chart442.xml"/></Relationships>
</file>

<file path=ppt/slides/_rels/slide222.xml.rels><?xml version='1.0' encoding='UTF-8' standalone='yes'?>
<Relationships xmlns="http://schemas.openxmlformats.org/package/2006/relationships"><Relationship Id="rId1" Type="http://schemas.openxmlformats.org/officeDocument/2006/relationships/tags" Target="../tags/tag249.xml"/><Relationship Id="rId2" Type="http://schemas.openxmlformats.org/officeDocument/2006/relationships/slideLayout" Target="../slideLayouts/slideLayout7.xml"/><Relationship Id="rId3" Type="http://schemas.openxmlformats.org/officeDocument/2006/relationships/notesSlide" Target="../notesSlides/notesSlide2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3.xml"/><Relationship Id="rId7" Type="http://schemas.openxmlformats.org/officeDocument/2006/relationships/chart" Target="../charts/chart444.xml"/></Relationships>
</file>

<file path=ppt/slides/_rels/slide223.xml.rels><?xml version='1.0' encoding='UTF-8' standalone='yes'?>
<Relationships xmlns="http://schemas.openxmlformats.org/package/2006/relationships"><Relationship Id="rId1" Type="http://schemas.openxmlformats.org/officeDocument/2006/relationships/tags" Target="../tags/tag250.xml"/><Relationship Id="rId2" Type="http://schemas.openxmlformats.org/officeDocument/2006/relationships/slideLayout" Target="../slideLayouts/slideLayout7.xml"/><Relationship Id="rId3" Type="http://schemas.openxmlformats.org/officeDocument/2006/relationships/notesSlide" Target="../notesSlides/notesSlide2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5.xml"/><Relationship Id="rId7" Type="http://schemas.openxmlformats.org/officeDocument/2006/relationships/chart" Target="../charts/chart446.xml"/></Relationships>
</file>

<file path=ppt/slides/_rels/slide224.xml.rels><?xml version='1.0' encoding='UTF-8' standalone='yes'?>
<Relationships xmlns="http://schemas.openxmlformats.org/package/2006/relationships"><Relationship Id="rId1" Type="http://schemas.openxmlformats.org/officeDocument/2006/relationships/tags" Target="../tags/tag251.xml"/><Relationship Id="rId2" Type="http://schemas.openxmlformats.org/officeDocument/2006/relationships/slideLayout" Target="../slideLayouts/slideLayout7.xml"/><Relationship Id="rId3" Type="http://schemas.openxmlformats.org/officeDocument/2006/relationships/notesSlide" Target="../notesSlides/notesSlide2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7.xml"/><Relationship Id="rId7" Type="http://schemas.openxmlformats.org/officeDocument/2006/relationships/chart" Target="../charts/chart448.xml"/></Relationships>
</file>

<file path=ppt/slides/_rels/slide225.xml.rels><?xml version='1.0' encoding='UTF-8' standalone='yes'?>
<Relationships xmlns="http://schemas.openxmlformats.org/package/2006/relationships"><Relationship Id="rId1" Type="http://schemas.openxmlformats.org/officeDocument/2006/relationships/tags" Target="../tags/tag252.xml"/><Relationship Id="rId2" Type="http://schemas.openxmlformats.org/officeDocument/2006/relationships/slideLayout" Target="../slideLayouts/slideLayout7.xml"/><Relationship Id="rId3" Type="http://schemas.openxmlformats.org/officeDocument/2006/relationships/notesSlide" Target="../notesSlides/notesSlide2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9.xml"/><Relationship Id="rId7" Type="http://schemas.openxmlformats.org/officeDocument/2006/relationships/chart" Target="../charts/chart450.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notesSlide" Target="../notesSlides/notesSlide2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1.xml"/><Relationship Id="rId7" Type="http://schemas.openxmlformats.org/officeDocument/2006/relationships/chart" Target="../charts/chart452.xml"/></Relationships>
</file>

<file path=ppt/slides/_rels/slide227.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Layout" Target="../slideLayouts/slideLayout7.xml"/><Relationship Id="rId3" Type="http://schemas.openxmlformats.org/officeDocument/2006/relationships/notesSlide" Target="../notesSlides/notesSlide2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3.xml"/><Relationship Id="rId7" Type="http://schemas.openxmlformats.org/officeDocument/2006/relationships/chart" Target="../charts/chart454.xml"/></Relationships>
</file>

<file path=ppt/slides/_rels/slide228.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Layout" Target="../slideLayouts/slideLayout7.xml"/><Relationship Id="rId3" Type="http://schemas.openxmlformats.org/officeDocument/2006/relationships/notesSlide" Target="../notesSlides/notesSlide2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5.xml"/><Relationship Id="rId7" Type="http://schemas.openxmlformats.org/officeDocument/2006/relationships/chart" Target="../charts/chart456.xml"/></Relationships>
</file>

<file path=ppt/slides/_rels/slide229.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notesSlide" Target="../notesSlides/notesSlide2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s>
</file>

<file path=ppt/slides/_rels/slide230.xml.rels><?xml version='1.0' encoding='UTF-8' standalone='yes'?>
<Relationships xmlns="http://schemas.openxmlformats.org/package/2006/relationships"><Relationship Id="rId1" Type="http://schemas.openxmlformats.org/officeDocument/2006/relationships/tags" Target="../tags/tag257.xml"/><Relationship Id="rId2" Type="http://schemas.openxmlformats.org/officeDocument/2006/relationships/slideLayout" Target="../slideLayouts/slideLayout7.xml"/><Relationship Id="rId3" Type="http://schemas.openxmlformats.org/officeDocument/2006/relationships/notesSlide" Target="../notesSlides/notesSlide2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9.xml"/><Relationship Id="rId7" Type="http://schemas.openxmlformats.org/officeDocument/2006/relationships/chart" Target="../charts/chart460.xml"/></Relationships>
</file>

<file path=ppt/slides/_rels/slide231.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7.xml"/><Relationship Id="rId3" Type="http://schemas.openxmlformats.org/officeDocument/2006/relationships/notesSlide" Target="../notesSlides/notesSlide2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1.xml"/><Relationship Id="rId7" Type="http://schemas.openxmlformats.org/officeDocument/2006/relationships/chart" Target="../charts/chart462.xml"/></Relationships>
</file>

<file path=ppt/slides/_rels/slide232.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7.xml"/><Relationship Id="rId3" Type="http://schemas.openxmlformats.org/officeDocument/2006/relationships/notesSlide" Target="../notesSlides/notesSlide2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3.xml"/><Relationship Id="rId7" Type="http://schemas.openxmlformats.org/officeDocument/2006/relationships/chart" Target="../charts/chart464.xml"/></Relationships>
</file>

<file path=ppt/slides/_rels/slide233.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7.xml"/><Relationship Id="rId3" Type="http://schemas.openxmlformats.org/officeDocument/2006/relationships/notesSlide" Target="../notesSlides/notesSlide2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5.xml"/><Relationship Id="rId7" Type="http://schemas.openxmlformats.org/officeDocument/2006/relationships/chart" Target="../charts/chart466.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notesSlide" Target="../notesSlides/notesSlide2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7.xml"/><Relationship Id="rId7" Type="http://schemas.openxmlformats.org/officeDocument/2006/relationships/chart" Target="../charts/chart468.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notesSlide" Target="../notesSlides/notesSlide2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9.xml"/><Relationship Id="rId7" Type="http://schemas.openxmlformats.org/officeDocument/2006/relationships/chart" Target="../charts/chart470.xml"/></Relationships>
</file>

<file path=ppt/slides/_rels/slide236.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notesSlide" Target="../notesSlides/notesSlide2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1.xml"/><Relationship Id="rId7" Type="http://schemas.openxmlformats.org/officeDocument/2006/relationships/chart" Target="../charts/chart472.xml"/></Relationships>
</file>

<file path=ppt/slides/_rels/slide237.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7.xml"/><Relationship Id="rId3" Type="http://schemas.openxmlformats.org/officeDocument/2006/relationships/notesSlide" Target="../notesSlides/notesSlide2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3.xml"/><Relationship Id="rId7" Type="http://schemas.openxmlformats.org/officeDocument/2006/relationships/chart" Target="../charts/chart474.xml"/></Relationships>
</file>

<file path=ppt/slides/_rels/slide238.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7.xml"/><Relationship Id="rId3" Type="http://schemas.openxmlformats.org/officeDocument/2006/relationships/notesSlide" Target="../notesSlides/notesSlide2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5.xml"/><Relationship Id="rId7" Type="http://schemas.openxmlformats.org/officeDocument/2006/relationships/chart" Target="../charts/chart476.xml"/></Relationships>
</file>

<file path=ppt/slides/_rels/slide239.xml.rels><?xml version='1.0' encoding='UTF-8' standalone='yes'?>
<Relationships xmlns="http://schemas.openxmlformats.org/package/2006/relationships"><Relationship Id="rId1" Type="http://schemas.openxmlformats.org/officeDocument/2006/relationships/tags" Target="../tags/tag266.xml"/><Relationship Id="rId2" Type="http://schemas.openxmlformats.org/officeDocument/2006/relationships/slideLayout" Target="../slideLayouts/slideLayout7.xml"/><Relationship Id="rId3" Type="http://schemas.openxmlformats.org/officeDocument/2006/relationships/notesSlide" Target="../notesSlides/notesSlide2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7.xml"/><Relationship Id="rId7" Type="http://schemas.openxmlformats.org/officeDocument/2006/relationships/chart" Target="../charts/chart478.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 Id="rId7" Type="http://schemas.openxmlformats.org/officeDocument/2006/relationships/chart" Target="../charts/chart48.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notesSlide" Target="../notesSlides/notesSlide2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9.xml"/><Relationship Id="rId7" Type="http://schemas.openxmlformats.org/officeDocument/2006/relationships/chart" Target="../charts/chart48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notesSlide" Target="../notesSlides/notesSlide2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s>
</file>

<file path=ppt/slides/_rels/slide242.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7.xml"/><Relationship Id="rId3" Type="http://schemas.openxmlformats.org/officeDocument/2006/relationships/notesSlide" Target="../notesSlides/notesSlide2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3.xml"/><Relationship Id="rId7" Type="http://schemas.openxmlformats.org/officeDocument/2006/relationships/chart" Target="../charts/chart484.xml"/></Relationships>
</file>

<file path=ppt/slides/_rels/slide243.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7.xml"/><Relationship Id="rId3" Type="http://schemas.openxmlformats.org/officeDocument/2006/relationships/notesSlide" Target="../notesSlides/notesSlide2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5.xml"/><Relationship Id="rId7" Type="http://schemas.openxmlformats.org/officeDocument/2006/relationships/chart" Target="../charts/chart486.xml"/></Relationships>
</file>

<file path=ppt/slides/_rels/slide244.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7.xml"/><Relationship Id="rId3" Type="http://schemas.openxmlformats.org/officeDocument/2006/relationships/notesSlide" Target="../notesSlides/notesSlide2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7.xml"/><Relationship Id="rId7" Type="http://schemas.openxmlformats.org/officeDocument/2006/relationships/chart" Target="../charts/chart488.xml"/></Relationships>
</file>

<file path=ppt/slides/_rels/slide245.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7.xml"/><Relationship Id="rId3" Type="http://schemas.openxmlformats.org/officeDocument/2006/relationships/notesSlide" Target="../notesSlides/notesSlide2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9.xml"/><Relationship Id="rId7" Type="http://schemas.openxmlformats.org/officeDocument/2006/relationships/chart" Target="../charts/chart490.xml"/></Relationships>
</file>

<file path=ppt/slides/_rels/slide246.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7.xml"/><Relationship Id="rId3" Type="http://schemas.openxmlformats.org/officeDocument/2006/relationships/notesSlide" Target="../notesSlides/notesSlide2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1.xml"/><Relationship Id="rId7" Type="http://schemas.openxmlformats.org/officeDocument/2006/relationships/chart" Target="../charts/chart492.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notesSlide" Target="../notesSlides/notesSlide2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 Id="rId7" Type="http://schemas.openxmlformats.org/officeDocument/2006/relationships/chart" Target="../charts/chart494.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notesSlide" Target="../notesSlides/notesSlide2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5.xml"/><Relationship Id="rId7" Type="http://schemas.openxmlformats.org/officeDocument/2006/relationships/chart" Target="../charts/chart496.xml"/></Relationships>
</file>

<file path=ppt/slides/_rels/slide249.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7.xml"/><Relationship Id="rId3" Type="http://schemas.openxmlformats.org/officeDocument/2006/relationships/notesSlide" Target="../notesSlides/notesSlide2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7.xml"/><Relationship Id="rId7" Type="http://schemas.openxmlformats.org/officeDocument/2006/relationships/chart" Target="../charts/chart49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s>
</file>

<file path=ppt/slides/_rels/slide250.xml.rels><?xml version='1.0' encoding='UTF-8' standalone='yes'?>
<Relationships xmlns="http://schemas.openxmlformats.org/package/2006/relationships"><Relationship Id="rId1" Type="http://schemas.openxmlformats.org/officeDocument/2006/relationships/tags" Target="../tags/tag277.xml"/><Relationship Id="rId2" Type="http://schemas.openxmlformats.org/officeDocument/2006/relationships/slideLayout" Target="../slideLayouts/slideLayout7.xml"/><Relationship Id="rId3" Type="http://schemas.openxmlformats.org/officeDocument/2006/relationships/notesSlide" Target="../notesSlides/notesSlide2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9.xml"/><Relationship Id="rId7" Type="http://schemas.openxmlformats.org/officeDocument/2006/relationships/chart" Target="../charts/chart500.xml"/></Relationships>
</file>

<file path=ppt/slides/_rels/slide251.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notesSlide" Target="../notesSlides/notesSlide2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1.xml"/><Relationship Id="rId7" Type="http://schemas.openxmlformats.org/officeDocument/2006/relationships/chart" Target="../charts/chart502.xml"/></Relationships>
</file>

<file path=ppt/slides/_rels/slide252.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7.xml"/><Relationship Id="rId3" Type="http://schemas.openxmlformats.org/officeDocument/2006/relationships/notesSlide" Target="../notesSlides/notesSlide2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3.xml"/><Relationship Id="rId7" Type="http://schemas.openxmlformats.org/officeDocument/2006/relationships/chart" Target="../charts/chart504.xml"/></Relationships>
</file>

<file path=ppt/slides/_rels/slide253.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7.xml"/><Relationship Id="rId3" Type="http://schemas.openxmlformats.org/officeDocument/2006/relationships/notesSlide" Target="../notesSlides/notesSlide2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s>
</file>

<file path=ppt/slides/_rels/slide254.xml.rels><?xml version='1.0' encoding='UTF-8' standalone='yes'?>
<Relationships xmlns="http://schemas.openxmlformats.org/package/2006/relationships"><Relationship Id="rId1" Type="http://schemas.openxmlformats.org/officeDocument/2006/relationships/tags" Target="../tags/tag281.xml"/><Relationship Id="rId2" Type="http://schemas.openxmlformats.org/officeDocument/2006/relationships/slideLayout" Target="../slideLayouts/slideLayout7.xml"/><Relationship Id="rId3" Type="http://schemas.openxmlformats.org/officeDocument/2006/relationships/notesSlide" Target="../notesSlides/notesSlide2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7.xml"/><Relationship Id="rId7" Type="http://schemas.openxmlformats.org/officeDocument/2006/relationships/chart" Target="../charts/chart508.xml"/></Relationships>
</file>

<file path=ppt/slides/_rels/slide255.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7.xml"/><Relationship Id="rId3" Type="http://schemas.openxmlformats.org/officeDocument/2006/relationships/notesSlide" Target="../notesSlides/notesSlide2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9.xml"/><Relationship Id="rId7" Type="http://schemas.openxmlformats.org/officeDocument/2006/relationships/chart" Target="../charts/chart510.xml"/></Relationships>
</file>

<file path=ppt/slides/_rels/slide256.xml.rels><?xml version='1.0' encoding='UTF-8' standalone='yes'?>
<Relationships xmlns="http://schemas.openxmlformats.org/package/2006/relationships"><Relationship Id="rId1" Type="http://schemas.openxmlformats.org/officeDocument/2006/relationships/tags" Target="../tags/tag283.xml"/><Relationship Id="rId2" Type="http://schemas.openxmlformats.org/officeDocument/2006/relationships/slideLayout" Target="../slideLayouts/slideLayout7.xml"/><Relationship Id="rId3" Type="http://schemas.openxmlformats.org/officeDocument/2006/relationships/notesSlide" Target="../notesSlides/notesSlide2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1.xml"/><Relationship Id="rId7" Type="http://schemas.openxmlformats.org/officeDocument/2006/relationships/chart" Target="../charts/chart512.xml"/></Relationships>
</file>

<file path=ppt/slides/_rels/slide257.xml.rels><?xml version='1.0' encoding='UTF-8' standalone='yes'?>
<Relationships xmlns="http://schemas.openxmlformats.org/package/2006/relationships"><Relationship Id="rId1" Type="http://schemas.openxmlformats.org/officeDocument/2006/relationships/tags" Target="../tags/tag284.xml"/><Relationship Id="rId2" Type="http://schemas.openxmlformats.org/officeDocument/2006/relationships/slideLayout" Target="../slideLayouts/slideLayout7.xml"/><Relationship Id="rId3" Type="http://schemas.openxmlformats.org/officeDocument/2006/relationships/notesSlide" Target="../notesSlides/notesSlide2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3.xml"/><Relationship Id="rId7" Type="http://schemas.openxmlformats.org/officeDocument/2006/relationships/chart" Target="../charts/chart514.xml"/></Relationships>
</file>

<file path=ppt/slides/_rels/slide258.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notesSlide" Target="../notesSlides/notesSlide2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5.xml"/><Relationship Id="rId7" Type="http://schemas.openxmlformats.org/officeDocument/2006/relationships/chart" Target="../charts/chart516.xml"/></Relationships>
</file>

<file path=ppt/slides/_rels/slide259.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7.xml"/><Relationship Id="rId3" Type="http://schemas.openxmlformats.org/officeDocument/2006/relationships/notesSlide" Target="../notesSlides/notesSlide2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7.xml"/><Relationship Id="rId7" Type="http://schemas.openxmlformats.org/officeDocument/2006/relationships/chart" Target="../charts/chart518.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xml"/><Relationship Id="rId7" Type="http://schemas.openxmlformats.org/officeDocument/2006/relationships/chart" Target="../charts/chart52.xml"/></Relationships>
</file>

<file path=ppt/slides/_rels/slide260.xml.rels><?xml version='1.0' encoding='UTF-8' standalone='yes'?>
<Relationships xmlns="http://schemas.openxmlformats.org/package/2006/relationships"><Relationship Id="rId1" Type="http://schemas.openxmlformats.org/officeDocument/2006/relationships/tags" Target="../tags/tag287.xml"/><Relationship Id="rId2" Type="http://schemas.openxmlformats.org/officeDocument/2006/relationships/slideLayout" Target="../slideLayouts/slideLayout7.xml"/><Relationship Id="rId3" Type="http://schemas.openxmlformats.org/officeDocument/2006/relationships/notesSlide" Target="../notesSlides/notesSlide2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9.xml"/><Relationship Id="rId7" Type="http://schemas.openxmlformats.org/officeDocument/2006/relationships/chart" Target="../charts/chart520.xml"/></Relationships>
</file>

<file path=ppt/slides/_rels/slide261.xml.rels><?xml version='1.0' encoding='UTF-8' standalone='yes'?>
<Relationships xmlns="http://schemas.openxmlformats.org/package/2006/relationships"><Relationship Id="rId1" Type="http://schemas.openxmlformats.org/officeDocument/2006/relationships/tags" Target="../tags/tag288.xml"/><Relationship Id="rId2" Type="http://schemas.openxmlformats.org/officeDocument/2006/relationships/slideLayout" Target="../slideLayouts/slideLayout7.xml"/><Relationship Id="rId3" Type="http://schemas.openxmlformats.org/officeDocument/2006/relationships/notesSlide" Target="../notesSlides/notesSlide2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1.xml"/><Relationship Id="rId7" Type="http://schemas.openxmlformats.org/officeDocument/2006/relationships/chart" Target="../charts/chart522.xml"/></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notesSlide" Target="../notesSlides/notesSlide2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3.xml"/><Relationship Id="rId7" Type="http://schemas.openxmlformats.org/officeDocument/2006/relationships/chart" Target="../charts/chart524.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notesSlide" Target="../notesSlides/notesSlide2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5.xml"/><Relationship Id="rId7" Type="http://schemas.openxmlformats.org/officeDocument/2006/relationships/chart" Target="../charts/chart526.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notesSlide" Target="../notesSlides/notesSlide2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7.xml"/><Relationship Id="rId7" Type="http://schemas.openxmlformats.org/officeDocument/2006/relationships/chart" Target="../charts/chart528.xml"/></Relationships>
</file>

<file path=ppt/slides/_rels/slide265.xml.rels><?xml version='1.0' encoding='UTF-8' standalone='yes'?>
<Relationships xmlns="http://schemas.openxmlformats.org/package/2006/relationships"><Relationship Id="rId1" Type="http://schemas.openxmlformats.org/officeDocument/2006/relationships/tags" Target="../tags/tag292.xml"/><Relationship Id="rId2" Type="http://schemas.openxmlformats.org/officeDocument/2006/relationships/slideLayout" Target="../slideLayouts/slideLayout7.xml"/><Relationship Id="rId3" Type="http://schemas.openxmlformats.org/officeDocument/2006/relationships/notesSlide" Target="../notesSlides/notesSlide2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s>
</file>

<file path=ppt/slides/_rels/slide266.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7.xml"/><Relationship Id="rId3" Type="http://schemas.openxmlformats.org/officeDocument/2006/relationships/notesSlide" Target="../notesSlides/notesSlide2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1.xml"/><Relationship Id="rId7" Type="http://schemas.openxmlformats.org/officeDocument/2006/relationships/chart" Target="../charts/chart53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 Id="rId7" Type="http://schemas.openxmlformats.org/officeDocument/2006/relationships/chart" Target="../charts/chart5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xml"/><Relationship Id="rId7" Type="http://schemas.openxmlformats.org/officeDocument/2006/relationships/chart" Target="../charts/chart5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 Id="rId7" Type="http://schemas.openxmlformats.org/officeDocument/2006/relationships/chart" Target="../charts/chart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xml"/><Relationship Id="rId7" Type="http://schemas.openxmlformats.org/officeDocument/2006/relationships/chart" Target="../charts/chart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xml"/><Relationship Id="rId7" Type="http://schemas.openxmlformats.org/officeDocument/2006/relationships/chart" Target="../charts/chart6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xml"/><Relationship Id="rId7" Type="http://schemas.openxmlformats.org/officeDocument/2006/relationships/chart" Target="../charts/chart7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xml"/><Relationship Id="rId7" Type="http://schemas.openxmlformats.org/officeDocument/2006/relationships/chart" Target="../charts/chart7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xml"/><Relationship Id="rId7" Type="http://schemas.openxmlformats.org/officeDocument/2006/relationships/chart" Target="../charts/chart7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xml"/><Relationship Id="rId7" Type="http://schemas.openxmlformats.org/officeDocument/2006/relationships/chart" Target="../charts/chart7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 Id="rId7" Type="http://schemas.openxmlformats.org/officeDocument/2006/relationships/chart" Target="../charts/chart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xml"/><Relationship Id="rId7" Type="http://schemas.openxmlformats.org/officeDocument/2006/relationships/chart" Target="../charts/chart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xml"/><Relationship Id="rId7" Type="http://schemas.openxmlformats.org/officeDocument/2006/relationships/chart" Target="../charts/chart8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xml"/><Relationship Id="rId7" Type="http://schemas.openxmlformats.org/officeDocument/2006/relationships/chart" Target="../charts/chart8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xml"/><Relationship Id="rId7" Type="http://schemas.openxmlformats.org/officeDocument/2006/relationships/chart" Target="../charts/chart92.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xml"/><Relationship Id="rId7" Type="http://schemas.openxmlformats.org/officeDocument/2006/relationships/chart" Target="../charts/chart94.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5.xml"/><Relationship Id="rId7" Type="http://schemas.openxmlformats.org/officeDocument/2006/relationships/chart" Target="../charts/chart96.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xml"/><Relationship Id="rId7" Type="http://schemas.openxmlformats.org/officeDocument/2006/relationships/chart" Target="../charts/chart10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xml"/><Relationship Id="rId7" Type="http://schemas.openxmlformats.org/officeDocument/2006/relationships/chart" Target="../charts/chart102.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xml"/><Relationship Id="rId7" Type="http://schemas.openxmlformats.org/officeDocument/2006/relationships/chart" Target="../charts/chart104.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xml"/><Relationship Id="rId7" Type="http://schemas.openxmlformats.org/officeDocument/2006/relationships/chart" Target="../charts/chart108.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5.xml"/><Relationship Id="rId7" Type="http://schemas.openxmlformats.org/officeDocument/2006/relationships/chart" Target="../charts/chart116.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7.xml"/><Relationship Id="rId7" Type="http://schemas.openxmlformats.org/officeDocument/2006/relationships/chart" Target="../charts/chart118.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 Id="rId7" Type="http://schemas.openxmlformats.org/officeDocument/2006/relationships/chart" Target="../charts/chart12.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9.xml"/><Relationship Id="rId7" Type="http://schemas.openxmlformats.org/officeDocument/2006/relationships/chart" Target="../charts/chart12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3.xml"/><Relationship Id="rId7" Type="http://schemas.openxmlformats.org/officeDocument/2006/relationships/chart" Target="../charts/chart124.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5.xml"/><Relationship Id="rId7" Type="http://schemas.openxmlformats.org/officeDocument/2006/relationships/chart" Target="../charts/chart126.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xml"/><Relationship Id="rId7" Type="http://schemas.openxmlformats.org/officeDocument/2006/relationships/chart" Target="../charts/chart128.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1.xml"/><Relationship Id="rId7" Type="http://schemas.openxmlformats.org/officeDocument/2006/relationships/chart" Target="../charts/chart132.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5.xml"/><Relationship Id="rId7" Type="http://schemas.openxmlformats.org/officeDocument/2006/relationships/chart" Target="../charts/chart136.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9.xml"/><Relationship Id="rId7" Type="http://schemas.openxmlformats.org/officeDocument/2006/relationships/chart" Target="../charts/chart14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1.xml"/><Relationship Id="rId7" Type="http://schemas.openxmlformats.org/officeDocument/2006/relationships/chart" Target="../charts/chart142.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3.xml"/><Relationship Id="rId7" Type="http://schemas.openxmlformats.org/officeDocument/2006/relationships/chart" Target="../charts/chart144.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7.xml"/><Relationship Id="rId7" Type="http://schemas.openxmlformats.org/officeDocument/2006/relationships/chart" Target="../charts/chart148.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9.xml"/><Relationship Id="rId7" Type="http://schemas.openxmlformats.org/officeDocument/2006/relationships/chart" Target="../charts/chart150.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1.xml"/><Relationship Id="rId7" Type="http://schemas.openxmlformats.org/officeDocument/2006/relationships/chart" Target="../charts/chart152.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 Id="rId7" Type="http://schemas.openxmlformats.org/officeDocument/2006/relationships/chart" Target="../charts/chart16.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9.xml"/><Relationship Id="rId7" Type="http://schemas.openxmlformats.org/officeDocument/2006/relationships/chart" Target="../charts/chart16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3.xml"/><Relationship Id="rId7" Type="http://schemas.openxmlformats.org/officeDocument/2006/relationships/chart" Target="../charts/chart164.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5.xml"/><Relationship Id="rId7" Type="http://schemas.openxmlformats.org/officeDocument/2006/relationships/chart" Target="../charts/chart166.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7.xml"/><Relationship Id="rId7" Type="http://schemas.openxmlformats.org/officeDocument/2006/relationships/chart" Target="../charts/chart168.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1.xml"/><Relationship Id="rId7" Type="http://schemas.openxmlformats.org/officeDocument/2006/relationships/chart" Target="../charts/chart172.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3.xml"/><Relationship Id="rId7" Type="http://schemas.openxmlformats.org/officeDocument/2006/relationships/chart" Target="../charts/chart174.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5.xml"/><Relationship Id="rId7" Type="http://schemas.openxmlformats.org/officeDocument/2006/relationships/chart" Target="../charts/chart176.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9.xml"/><Relationship Id="rId7" Type="http://schemas.openxmlformats.org/officeDocument/2006/relationships/chart" Target="../charts/chart18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3.xml"/><Relationship Id="rId7" Type="http://schemas.openxmlformats.org/officeDocument/2006/relationships/chart" Target="../charts/chart184.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7.xml"/><Relationship Id="rId7" Type="http://schemas.openxmlformats.org/officeDocument/2006/relationships/chart" Target="../charts/chart188.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9.xml"/><Relationship Id="rId7" Type="http://schemas.openxmlformats.org/officeDocument/2006/relationships/chart" Target="../charts/chart190.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1.xml"/><Relationship Id="rId7" Type="http://schemas.openxmlformats.org/officeDocument/2006/relationships/chart" Target="../charts/chart192.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notesSlide" Target="../notesSlides/notesSlide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5.xml"/><Relationship Id="rId7" Type="http://schemas.openxmlformats.org/officeDocument/2006/relationships/chart" Target="../charts/chart196.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notesSlide" Target="../notesSlides/notesSlide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7.xml"/><Relationship Id="rId7" Type="http://schemas.openxmlformats.org/officeDocument/2006/relationships/chart" Target="../charts/chart19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Sun Care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78321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Sun Care | Canal Modern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6974549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National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796901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National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302324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National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5677659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National | Sunscreen Cosmetics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6281735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National | Sunscreen Cosmetics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2814554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National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0517419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National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9044900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ustralian Gold | National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1814219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National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7439516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National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905255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Sun Care | Canal Modern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5359636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National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8201447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National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1997206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Others Marca Unif. | National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0447633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Australian Gold | National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6753353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National | Sunscreen Cosmetics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2430611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ustralian Gold | National | Sunscreen Cosmetics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7788930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Mustela | National | Sunscreen Cosmetics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5906983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National | Sunscreen Cosmetics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3839690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National | Sunscreen Cosmetics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8304179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National | Sunscreen Cosmetics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961904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Sun Care | Canal Modern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8582370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National | Sunscreen Cosmetics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2922396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cean Potion | National | Sunscreen Cosmetics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9462487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National | Sunscreen Sport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0740053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National | Sunscreen Sport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3465196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National | Sunscreen Sport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74957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National | Sunscreen Sport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6643158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oppertone | National | Sunscreen Sport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1465561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ustralian Gold | National | Sunscreen Sport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700645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oppertone | National | Sunscreen Sport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8852680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National | Sunscreen Sport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189484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Sun Care | Canal Modern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8080311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oppertone | National | Sunscreen Sport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5617269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National | Sunscreen Sport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192053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oppertone | National | Sunscreen Sport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8780755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National | Sunscreen Sport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4966638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National | Sunscreen Sport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1899726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National | Sunscreen Sport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0150502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cean Potion | National | Sunscreen Sport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9803871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Canal Moderno | Sunscreen Cosmetics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9620192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Canal Moderno | Sunscreen Cosmetics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8866604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ustralian Gold | Canal Moderno | Sunscreen Cosmetics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534119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Sun Care | Canal Modern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8373042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anal Moderno | Sunscreen Cosmetics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3997549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Canal Moderno | Sunscreen Cosmetics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539011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Canal Moderno | Sunscreen Cosmetics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0720375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Canal Moderno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7462407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Canal Moderno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75720196"/>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uvel | Canal Moderno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8412883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Canal Moderno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8165308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Canal Moderno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870246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uvel | Canal Moderno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3034083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Canal Moderno | Sunscreen Cosmetics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17880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Sun Care | Canal Modern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7655082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anal Moderno | Sunscreen Cosmetics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1537765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Canal Moderno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56704077"/>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Canal Moderno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6492795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ustralian Gold | Canal Moderno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3994986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Canal Moderno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4282795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anal Moderno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99798514"/>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Canal Moderno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1699640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Canal Moderno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9851377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Others Marca Unif. | Canal Moderno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26219660"/>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Australian Gold | Canal Moderno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626489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Sun Care | Canal Modern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0706085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Canal Moderno | Sunscreen Cosmetics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39034295"/>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ustralian Gold | Canal Moderno | Sunscreen Cosmetics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985731"/>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Mustela | Canal Moderno | Sunscreen Cosmetics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1559082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anal Moderno | Sunscreen Cosmetics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18008325"/>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Canal Moderno | Sunscreen Cosmetics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9312541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Canal Moderno | Sunscreen Cosmetics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4143738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cean Potion | Canal Moderno | Sunscreen Cosmetics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8083325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anal Moderno | Sunscreen Cosmetics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94740570"/>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Canal Moderno | Sunscreen Sport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5654800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Canal Moderno | Sunscreen Sport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07104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Sun Care | Canal Modern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17131620"/>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Canal Moderno | Sunscreen Sport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42666411"/>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anal Moderno | Sunscreen Sport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3535745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oppertone | Canal Moderno | Sunscreen Sport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49553876"/>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ustralian Gold | Canal Moderno | Sunscreen Sport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3305596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oppertone | Canal Moderno | Sunscreen Sport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5183163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Canal Moderno | Sunscreen Sport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17325013"/>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oppertone | Canal Moderno | Sunscreen Sport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4176220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anal Moderno | Sunscreen Sport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8943714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Canal Moderno | Sunscreen Sport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07436345"/>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oppertone | Canal Moderno | Sunscreen Sport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592638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La Roche-Posay | Sun Care | Canal Modern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21928763"/>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Canal Moderno | Sunscreen Sport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70072756"/>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cean Potion | Canal Moderno | Sunscreen Sport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3695633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anal Moderno | Sunscreen Sport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6487667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onvenience + Farmacias Cad + Hard Discounters | Sunscreen Cosmetics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9564226"/>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oppertone | Convenience + Farmacias Cad + Hard Discounters | Sunscreen Cosmetics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6167786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Mustela | Convenience + Farmacias Cad + Hard Discounters | Sunscreen Cosmetics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76479906"/>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Convenience + Farmacias Cad + Hard Discounters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17583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Convenience + Farmacias Cad + Hard Discounters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7285851"/>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Convenience + Farmacias Cad + Hard Discounters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62713323"/>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Convenience + Farmacias Cad + Hard Discounters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782456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Sun Care | Convenience + Farmacias Cad + Hard Discounter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19558512"/>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Convenience + Farmacias Cad + Hard Discounters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44326523"/>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onvenience + Farmacias Cad + Hard Discounters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83951617"/>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Convenience + Farmacias Cad + Hard Discounters | Sunscreen Cosmetics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16123509"/>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Convenience + Farmacias Cad + Hard Discounters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5023195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Convenience + Farmacias Cad + Hard Discounters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0051253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Mustela | Convenience + Farmacias Cad + Hard Discounters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3330576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Convenience + Farmacias Cad + Hard Discounters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86627988"/>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onvenience + Farmacias Cad + Hard Discounters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02776504"/>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Mustela | Convenience + Farmacias Cad + Hard Discounters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8096614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Convenience + Farmacias Cad + Hard Discounters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430948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Sun Care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461588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Sun Care | Convenience + Farmacias Cad + Hard Discounter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61775303"/>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Others Marca Unif. | Convenience + Farmacias Cad + Hard Discounters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72892138"/>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Mustela | Convenience + Farmacias Cad + Hard Discounters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727735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Mustela | Convenience + Farmacias Cad + Hard Discounters | Sunscreen Cosmetics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85598982"/>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onvenience + Farmacias Cad + Hard Discounters | Sunscreen Cosmetics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2505425"/>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Convenience + Farmacias Cad + Hard Discounters | Sunscreen Cosmetics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54759680"/>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onvenience + Farmacias Cad + Hard Discounters | Sunscreen Cosmetics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99177641"/>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Convenience + Farmacias Cad + Hard Discounters | Sunscreen Sport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5923343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Convenience + Farmacias Cad + Hard Discounters | Sunscreen Sport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77210245"/>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Convenience + Farmacias Cad + Hard Discounters | Sunscreen Sport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28375737"/>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onvenience + Farmacias Cad + Hard Discounters | Sunscreen Sport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979506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Eucerin | Sun Care | Convenience + Farmacias Cad + Hard Discounter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17907523"/>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oppertone | Convenience + Farmacias Cad + Hard Discounters | Sunscreen Sport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64641102"/>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ustralian Gold | Convenience + Farmacias Cad + Hard Discounters | Sunscreen Sport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4685101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Convenience + Farmacias Cad + Hard Discounters | Sunscreen Sport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27025712"/>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onvenience + Farmacias Cad + Hard Discounters | Sunscreen Sport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25350846"/>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oppertone | Convenience + Farmacias Cad + Hard Discounters | Sunscreen Sport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7787539"/>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Canal Tradicional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09472919"/>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Canal Tradicional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74062871"/>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uvel | Canal Tradicional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47018457"/>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Canal Tradicional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4173789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anal Tradicional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063145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Sun Care | Convenience + Farmacias Cad + Hard Discounter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02455191"/>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uvel | Canal Tradicional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59740197"/>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Canal Tradicional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74840250"/>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Canal Tradicional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5060495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anal Tradicional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39583454"/>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Canal Tradicional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5081693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Canal Tradicional | Sunscreen Sport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4847660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oppertone | Canal Tradicional | Sunscreen Sport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21630831"/>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 Sunscreen Cosmetics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0448312"/>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 Sunscreen Cosmetics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66073207"/>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ustralian Gold | Autos Scanning | Sunscreen Cosmetics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500255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Sun Care | Convenience + Farmacias Cad + Hard Discounter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43380892"/>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27652384"/>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Autos Scanning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46813062"/>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uvel | Autos Scanning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5556663"/>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00625801"/>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10351159"/>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uvel | Autos Scanning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22594821"/>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 Sunscreen Cosmetics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41815601"/>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 Sunscreen Cosmetics Fl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46790502"/>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26278257"/>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718337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Eucerin | Sun Care | Convenience + Farmacias Cad + Hard Discounter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4373880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ustralian Gold | Autos Scanning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2535377"/>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34309895"/>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05297671"/>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Autos Scanning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42732987"/>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08244603"/>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Others Marca Unif. | Autos Scanning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70330221"/>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Australian Gold | Autos Scanning | Sunscreen Cosmetics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12254993"/>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Autos Scanning | Sunscreen Cosmetics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59652543"/>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Mustela | Autos Scanning | Sunscreen Cosmetics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99051422"/>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 Sunscreen Cosmetics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773896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Sun Care | Convenience + Farmacias Cad + Hard Discounter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14040222"/>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cean Potion | Autos Scanning | Sunscreen Cosmetics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81211769"/>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Autos Scanning | Sunscreen Cosmetics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83968895"/>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cean Potion | Autos Scanning | Sunscreen Cosmetics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0487434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 Sunscreen Cosmetics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09367446"/>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Autos Scanning | Sunscreen Sport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8360199"/>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 Sunscreen Sport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19051455"/>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oppertone | Autos Scanning | Sunscreen Sport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44030494"/>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ustralian Gold | Autos Scanning | Sunscreen Sport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75301504"/>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oppertone | Autos Scanning | Sunscreen Sport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23203523"/>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Autos Scanning | Sunscreen Sport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166086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La Roche-Posay | Sun Care | Convenience + Farmacias Cad + Hard Discounter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90326476"/>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oppertone | Autos Scanning | Sunscreen Sport Liquido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1562615"/>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 Sunscreen Sport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25069682"/>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Autos Scanning | Sunscreen Sport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64707754"/>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eutrogena | Autos Scanning | Sunscreen Sport Loc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9645049"/>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Autos Scanning | Sunscreen Sport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45587947"/>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cean Potion | Autos Scanning | Sunscreen Sport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56099732"/>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Autos Scanning | Sunscreen Sport Spra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811475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Eucerin | Sun Care | Convenience + Farmacias Cad + Hard Discounter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705607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Sun Care | Canal Tradic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944582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Sun Care | Canal Tradic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086562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Sun Care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314341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Sun Care | Canal Tradic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195203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Sun Care | Canal Tradic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767595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Sun Care | Canal Tradic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856313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Sun Care | Canal Tradic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637582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Sun Care | Canal Tradic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48904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Others Marca Unif. | Sun Care | Canal Tradic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563034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Caribbean Beach | Sun Care | Canal Tradic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032774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491794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627274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90338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Sun Care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144866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833889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503928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047079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769620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190878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Caribbean Beach | Sun Care | Autos Scanning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777484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Nat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4612357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Nat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067694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Nat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058124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Nat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039463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Sun Care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7354130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Nat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1831447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Nat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0759919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Nat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2965451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Nat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577487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La Roche-Posay | Nat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5211852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Canal Modern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758658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Canal Modern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216863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Canal Modern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6505238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Canal Modern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655824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Canal Modern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091743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Sun Care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743118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Canal Modern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979931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Canal Modern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751134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Canal Modern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3995124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La Roche-Posay | Canal Moderno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7501865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Convenience + Farmacias Cad + Hard Discounters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101363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La Roche-Posay | Convenience + Farmacias Cad + Hard Discounters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88889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Eucerin | Convenience + Farmacias Cad + Hard Discounters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0071250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Convenience + Farmacias Cad + Hard Discounters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4483508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La Roche-Posay | Convenience + Farmacias Cad + Hard Discounters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857689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Eucerin | Convenience + Farmacias Cad + Hard Discounters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219785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Sun Care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012351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Convenience + Farmacias Cad + Hard Discounters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017460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La Roche-Posay | Convenience + Farmacias Cad + Hard Discounters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5594955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Eucerin | Convenience + Farmacias Cad + Hard Discounters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7203854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Canal Tradic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0423707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Canal Tradic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6328969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Canal Tradic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428519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Canal Tradic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883788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Canal Tradic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0263520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Canal Tradic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3462946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Canal Tradic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10208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Sun Care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912502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Others Marca Unif. | Canal Tradic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775561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Caribbean Beach | Canal Tradicional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5084672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9160076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Isdin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1262976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eutrogena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9786481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ivea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046273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Isdin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6343247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Neutrogena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6111931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9512208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Isdin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852892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La Roche-Posay | Sun Care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2316113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eutrogena | Autos Scanning | Sunscree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7384886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National | Sunscreen Cosmetics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7457074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National | Sunscreen Cosmetics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8641550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Australian Gold | National | Sunscreen Cosmetics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7104786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Others Marca Unif. | National | Sunscreen Cosmetics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4006476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Caribbean Beach | National | Sunscreen Cosmetics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5932050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anana Boat vs Australian Gold | National | Sunscreen Cosmetics Aceit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1290518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Nivea | National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4131138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Caribbean Beach | National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1352366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Hawaiian Tropic vs Others Marca Unif. | National | Sunscreen Cosmetics Crem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86562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8</TotalTime>
  <Words>18886</Words>
  <Application>Microsoft Office PowerPoint</Application>
  <PresentationFormat>On-screen Show (16:9)</PresentationFormat>
  <Paragraphs>3458</Paragraphs>
  <Slides>266</Slides>
  <Notes>26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6</vt:i4>
      </vt:variant>
    </vt:vector>
  </HeadingPairs>
  <TitlesOfParts>
    <vt:vector size="275" baseType="lpstr">
      <vt:lpstr>Aptos</vt:lpstr>
      <vt:lpstr>Arial</vt:lpstr>
      <vt:lpstr>Nexa</vt:lpstr>
      <vt:lpstr>Nexa Bold</vt:lpstr>
      <vt:lpstr>Nexa Book</vt:lpstr>
      <vt:lpstr>Nexa Book Italic</vt:lpstr>
      <vt:lpstr>Open Sans</vt:lpstr>
      <vt:lpstr>PricingOne Light Template Oct 2024</vt:lpstr>
      <vt:lpstr>think-cell Slide</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0</cp:revision>
  <dcterms:created xsi:type="dcterms:W3CDTF">2024-07-05T14:56:51Z</dcterms:created>
  <dcterms:modified xsi:type="dcterms:W3CDTF">2025-07-02T15:0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